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9.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0.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1.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2.xml" ContentType="application/vnd.openxmlformats-officedocument.them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3.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4.xml" ContentType="application/vnd.openxmlformats-officedocument.them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5.xml" ContentType="application/vnd.openxmlformats-officedocument.them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6.xml" ContentType="application/vnd.openxmlformats-officedocument.them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7.xml" ContentType="application/vnd.openxmlformats-officedocument.them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8.xml" ContentType="application/vnd.openxmlformats-officedocument.theme+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9.xml" ContentType="application/vnd.openxmlformats-officedocument.them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20.xml" ContentType="application/vnd.openxmlformats-officedocument.them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21.xml" ContentType="application/vnd.openxmlformats-officedocument.theme+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heme/theme22.xml" ContentType="application/vnd.openxmlformats-officedocument.theme+xml"/>
  <Override PartName="/ppt/tags/tag38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88.xml" ContentType="application/vnd.openxmlformats-officedocument.presentationml.tags+xml"/>
  <Override PartName="/ppt/tags/tag389.xml" ContentType="application/vnd.openxmlformats-officedocument.presentationml.tags+xml"/>
  <Override PartName="/ppt/notesSlides/notesSlide4.xml" ContentType="application/vnd.openxmlformats-officedocument.presentationml.notesSlide+xml"/>
  <Override PartName="/ppt/tags/tag390.xml" ContentType="application/vnd.openxmlformats-officedocument.presentationml.tags+xml"/>
  <Override PartName="/ppt/tags/tag391.xml" ContentType="application/vnd.openxmlformats-officedocument.presentationml.tags+xml"/>
  <Override PartName="/ppt/notesSlides/notesSlide5.xml" ContentType="application/vnd.openxmlformats-officedocument.presentationml.notesSlide+xml"/>
  <Override PartName="/ppt/tags/tag392.xml" ContentType="application/vnd.openxmlformats-officedocument.presentationml.tags+xml"/>
  <Override PartName="/ppt/tags/tag393.xml" ContentType="application/vnd.openxmlformats-officedocument.presentationml.tags+xml"/>
  <Override PartName="/ppt/notesSlides/notesSlide6.xml" ContentType="application/vnd.openxmlformats-officedocument.presentationml.notesSlide+xml"/>
  <Override PartName="/ppt/tags/tag394.xml" ContentType="application/vnd.openxmlformats-officedocument.presentationml.tags+xml"/>
  <Override PartName="/ppt/tags/tag395.xml" ContentType="application/vnd.openxmlformats-officedocument.presentationml.tags+xml"/>
  <Override PartName="/ppt/notesSlides/notesSlide7.xml" ContentType="application/vnd.openxmlformats-officedocument.presentationml.notesSlid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notesSlides/notesSlide8.xml" ContentType="application/vnd.openxmlformats-officedocument.presentationml.notesSlide+xml"/>
  <Override PartName="/ppt/tags/tag399.xml" ContentType="application/vnd.openxmlformats-officedocument.presentationml.tags+xml"/>
  <Override PartName="/ppt/notesSlides/notesSlide9.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notesSlides/notesSlide10.xml" ContentType="application/vnd.openxmlformats-officedocument.presentationml.notesSlide+xml"/>
  <Override PartName="/ppt/tags/tag402.xml" ContentType="application/vnd.openxmlformats-officedocument.presentationml.tags+xml"/>
  <Override PartName="/ppt/notesSlides/notesSlide11.xml" ContentType="application/vnd.openxmlformats-officedocument.presentationml.notesSlide+xml"/>
  <Override PartName="/ppt/tags/tag403.xml" ContentType="application/vnd.openxmlformats-officedocument.presentationml.tags+xml"/>
  <Override PartName="/ppt/notesSlides/notesSlide12.xml" ContentType="application/vnd.openxmlformats-officedocument.presentationml.notesSlide+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notesSlides/notesSlide13.xml" ContentType="application/vnd.openxmlformats-officedocument.presentationml.notesSlide+xml"/>
  <Override PartName="/ppt/tags/tag435.xml" ContentType="application/vnd.openxmlformats-officedocument.presentationml.tags+xml"/>
  <Override PartName="/ppt/tags/tag436.xml" ContentType="application/vnd.openxmlformats-officedocument.presentationml.tags+xml"/>
  <Override PartName="/ppt/notesSlides/notesSlide14.xml" ContentType="application/vnd.openxmlformats-officedocument.presentationml.notesSlide+xml"/>
  <Override PartName="/ppt/tags/tag437.xml" ContentType="application/vnd.openxmlformats-officedocument.presentationml.tags+xml"/>
  <Override PartName="/ppt/tags/tag438.xml" ContentType="application/vnd.openxmlformats-officedocument.presentationml.tags+xml"/>
  <Override PartName="/ppt/notesSlides/notesSlide15.xml" ContentType="application/vnd.openxmlformats-officedocument.presentationml.notesSlide+xml"/>
  <Override PartName="/ppt/tags/tag439.xml" ContentType="application/vnd.openxmlformats-officedocument.presentationml.tags+xml"/>
  <Override PartName="/ppt/tags/tag440.xml" ContentType="application/vnd.openxmlformats-officedocument.presentationml.tags+xml"/>
  <Override PartName="/ppt/notesSlides/notesSlide16.xml" ContentType="application/vnd.openxmlformats-officedocument.presentationml.notesSlide+xml"/>
  <Override PartName="/ppt/tags/tag441.xml" ContentType="application/vnd.openxmlformats-officedocument.presentationml.tags+xml"/>
  <Override PartName="/ppt/tags/tag442.xml" ContentType="application/vnd.openxmlformats-officedocument.presentationml.tags+xml"/>
  <Override PartName="/ppt/notesSlides/notesSlide17.xml" ContentType="application/vnd.openxmlformats-officedocument.presentationml.notesSlide+xml"/>
  <Override PartName="/ppt/tags/tag443.xml" ContentType="application/vnd.openxmlformats-officedocument.presentationml.tags+xml"/>
  <Override PartName="/ppt/tags/tag444.xml" ContentType="application/vnd.openxmlformats-officedocument.presentationml.tags+xml"/>
  <Override PartName="/ppt/notesSlides/notesSlide18.xml" ContentType="application/vnd.openxmlformats-officedocument.presentationml.notesSlide+xml"/>
  <Override PartName="/ppt/tags/tag445.xml" ContentType="application/vnd.openxmlformats-officedocument.presentationml.tags+xml"/>
  <Override PartName="/ppt/tags/tag446.xml" ContentType="application/vnd.openxmlformats-officedocument.presentationml.tags+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charts/chart1.xml" ContentType="application/vnd.openxmlformats-officedocument.drawingml.chart+xml"/>
  <Override PartName="/ppt/tags/tag473.xml" ContentType="application/vnd.openxmlformats-officedocument.presentationml.tags+xml"/>
  <Override PartName="/ppt/tags/tag474.xml" ContentType="application/vnd.openxmlformats-officedocument.presentationml.tags+xml"/>
  <Override PartName="/ppt/notesSlides/notesSlide20.xml" ContentType="application/vnd.openxmlformats-officedocument.presentationml.notesSlide+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notesSlides/notesSlide21.xml" ContentType="application/vnd.openxmlformats-officedocument.presentationml.notesSlid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notesSlides/notesSlide22.xml" ContentType="application/vnd.openxmlformats-officedocument.presentationml.notesSlide+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notesSlides/notesSlide23.xml" ContentType="application/vnd.openxmlformats-officedocument.presentationml.notesSlide+xml"/>
  <Override PartName="/ppt/tags/tag501.xml" ContentType="application/vnd.openxmlformats-officedocument.presentationml.tags+xml"/>
  <Override PartName="/ppt/tags/tag50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notesSlides/notesSlide27.xml" ContentType="application/vnd.openxmlformats-officedocument.presentationml.notesSlide+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9" r:id="rId1"/>
    <p:sldMasterId id="2147483670" r:id="rId2"/>
    <p:sldMasterId id="2147483675" r:id="rId3"/>
    <p:sldMasterId id="2147483688" r:id="rId4"/>
    <p:sldMasterId id="2147483701" r:id="rId5"/>
    <p:sldMasterId id="2147483733" r:id="rId6"/>
    <p:sldMasterId id="2147483742" r:id="rId7"/>
    <p:sldMasterId id="2147483747" r:id="rId8"/>
    <p:sldMasterId id="2147483755" r:id="rId9"/>
    <p:sldMasterId id="2147483759" r:id="rId10"/>
    <p:sldMasterId id="2147483765" r:id="rId11"/>
    <p:sldMasterId id="2147483768" r:id="rId12"/>
    <p:sldMasterId id="2147483771" r:id="rId13"/>
    <p:sldMasterId id="2147483777" r:id="rId14"/>
    <p:sldMasterId id="2147483784" r:id="rId15"/>
    <p:sldMasterId id="2147483790" r:id="rId16"/>
    <p:sldMasterId id="2147483795" r:id="rId17"/>
    <p:sldMasterId id="2147483804" r:id="rId18"/>
    <p:sldMasterId id="2147483812" r:id="rId19"/>
    <p:sldMasterId id="2147483820" r:id="rId20"/>
    <p:sldMasterId id="2147483826" r:id="rId21"/>
  </p:sldMasterIdLst>
  <p:notesMasterIdLst>
    <p:notesMasterId r:id="rId93"/>
  </p:notesMasterIdLst>
  <p:sldIdLst>
    <p:sldId id="256" r:id="rId22"/>
    <p:sldId id="257" r:id="rId23"/>
    <p:sldId id="258" r:id="rId24"/>
    <p:sldId id="525" r:id="rId25"/>
    <p:sldId id="563" r:id="rId26"/>
    <p:sldId id="564" r:id="rId27"/>
    <p:sldId id="605" r:id="rId28"/>
    <p:sldId id="567" r:id="rId29"/>
    <p:sldId id="526" r:id="rId30"/>
    <p:sldId id="527" r:id="rId31"/>
    <p:sldId id="568" r:id="rId32"/>
    <p:sldId id="529" r:id="rId33"/>
    <p:sldId id="524" r:id="rId34"/>
    <p:sldId id="555" r:id="rId35"/>
    <p:sldId id="558" r:id="rId36"/>
    <p:sldId id="591" r:id="rId37"/>
    <p:sldId id="559" r:id="rId38"/>
    <p:sldId id="520" r:id="rId39"/>
    <p:sldId id="570" r:id="rId40"/>
    <p:sldId id="550" r:id="rId41"/>
    <p:sldId id="613" r:id="rId42"/>
    <p:sldId id="572" r:id="rId43"/>
    <p:sldId id="615" r:id="rId44"/>
    <p:sldId id="614" r:id="rId45"/>
    <p:sldId id="612" r:id="rId46"/>
    <p:sldId id="523" r:id="rId47"/>
    <p:sldId id="611" r:id="rId48"/>
    <p:sldId id="589" r:id="rId49"/>
    <p:sldId id="590" r:id="rId50"/>
    <p:sldId id="592" r:id="rId51"/>
    <p:sldId id="593" r:id="rId52"/>
    <p:sldId id="469" r:id="rId53"/>
    <p:sldId id="595" r:id="rId54"/>
    <p:sldId id="596" r:id="rId55"/>
    <p:sldId id="597" r:id="rId56"/>
    <p:sldId id="598" r:id="rId57"/>
    <p:sldId id="599" r:id="rId58"/>
    <p:sldId id="600" r:id="rId59"/>
    <p:sldId id="617" r:id="rId60"/>
    <p:sldId id="618" r:id="rId61"/>
    <p:sldId id="415" r:id="rId62"/>
    <p:sldId id="562" r:id="rId63"/>
    <p:sldId id="481" r:id="rId64"/>
    <p:sldId id="578" r:id="rId65"/>
    <p:sldId id="579" r:id="rId66"/>
    <p:sldId id="602" r:id="rId67"/>
    <p:sldId id="580" r:id="rId68"/>
    <p:sldId id="603" r:id="rId69"/>
    <p:sldId id="604" r:id="rId70"/>
    <p:sldId id="380" r:id="rId71"/>
    <p:sldId id="561" r:id="rId72"/>
    <p:sldId id="546" r:id="rId73"/>
    <p:sldId id="582" r:id="rId74"/>
    <p:sldId id="609" r:id="rId75"/>
    <p:sldId id="610" r:id="rId76"/>
    <p:sldId id="545" r:id="rId77"/>
    <p:sldId id="488" r:id="rId78"/>
    <p:sldId id="606" r:id="rId79"/>
    <p:sldId id="548" r:id="rId80"/>
    <p:sldId id="437" r:id="rId81"/>
    <p:sldId id="373" r:id="rId82"/>
    <p:sldId id="601" r:id="rId83"/>
    <p:sldId id="293" r:id="rId84"/>
    <p:sldId id="607" r:id="rId85"/>
    <p:sldId id="608" r:id="rId86"/>
    <p:sldId id="584" r:id="rId87"/>
    <p:sldId id="616" r:id="rId88"/>
    <p:sldId id="586" r:id="rId89"/>
    <p:sldId id="587" r:id="rId90"/>
    <p:sldId id="588" r:id="rId91"/>
    <p:sldId id="294" r:id="rId92"/>
  </p:sldIdLst>
  <p:sldSz cx="9906000" cy="6858000" type="A4"/>
  <p:notesSz cx="7010400" cy="9296400"/>
  <p:custDataLst>
    <p:tags r:id="rId9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86">
          <p15:clr>
            <a:srgbClr val="A4A3A4"/>
          </p15:clr>
        </p15:guide>
        <p15:guide id="2" orient="horz" pos="3997" userDrawn="1">
          <p15:clr>
            <a:srgbClr val="A4A3A4"/>
          </p15:clr>
        </p15:guide>
        <p15:guide id="3" orient="horz" pos="618">
          <p15:clr>
            <a:srgbClr val="A4A3A4"/>
          </p15:clr>
        </p15:guide>
        <p15:guide id="4" orient="horz" pos="822" userDrawn="1">
          <p15:clr>
            <a:srgbClr val="A4A3A4"/>
          </p15:clr>
        </p15:guide>
        <p15:guide id="5" pos="284">
          <p15:clr>
            <a:srgbClr val="A4A3A4"/>
          </p15:clr>
        </p15:guide>
        <p15:guide id="6" pos="5932">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mau, Pauline" initials="KP" lastIdx="3" clrIdx="0">
    <p:extLst>
      <p:ext uri="{19B8F6BF-5375-455C-9EA6-DF929625EA0E}">
        <p15:presenceInfo xmlns:p15="http://schemas.microsoft.com/office/powerpoint/2012/main" userId="S-1-5-21-505118114-2931306973-2436653383-1310" providerId="AD"/>
      </p:ext>
    </p:extLst>
  </p:cmAuthor>
  <p:cmAuthor id="2" name="Hatibu, Nuhu" initials="HN" lastIdx="22" clrIdx="1">
    <p:extLst>
      <p:ext uri="{19B8F6BF-5375-455C-9EA6-DF929625EA0E}">
        <p15:presenceInfo xmlns:p15="http://schemas.microsoft.com/office/powerpoint/2012/main" userId="S-1-5-21-505118114-2931306973-2436653383-6885" providerId="AD"/>
      </p:ext>
    </p:extLst>
  </p:cmAuthor>
  <p:cmAuthor id="3" name="Anyango, Ezra" initials="AE" lastIdx="1" clrIdx="2">
    <p:extLst>
      <p:ext uri="{19B8F6BF-5375-455C-9EA6-DF929625EA0E}">
        <p15:presenceInfo xmlns:p15="http://schemas.microsoft.com/office/powerpoint/2012/main" userId="S-1-5-21-505118114-2931306973-2436653383-8712" providerId="AD"/>
      </p:ext>
    </p:extLst>
  </p:cmAuthor>
  <p:cmAuthor id="4" name="Seward, Paul" initials="SP" lastIdx="5" clrIdx="3">
    <p:extLst>
      <p:ext uri="{19B8F6BF-5375-455C-9EA6-DF929625EA0E}">
        <p15:presenceInfo xmlns:p15="http://schemas.microsoft.com/office/powerpoint/2012/main" userId="S-1-5-21-505118114-2931306973-2436653383-8720" providerId="AD"/>
      </p:ext>
    </p:extLst>
  </p:cmAuthor>
  <p:cmAuthor id="5" name="Jacoyange, Kevin" initials="JK" lastIdx="1" clrIdx="4">
    <p:extLst>
      <p:ext uri="{19B8F6BF-5375-455C-9EA6-DF929625EA0E}">
        <p15:presenceInfo xmlns:p15="http://schemas.microsoft.com/office/powerpoint/2012/main" userId="S-1-5-21-505118114-2931306973-2436653383-70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5F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18E6629-4EBB-4D30-9DD3-6ACEAB857B28}">
  <a:tblStyle styleId="{318E6629-4EBB-4D30-9DD3-6ACEAB857B28}" styleName="Table_0">
    <a:wholeTbl>
      <a:tcTxStyle b="off" i="off">
        <a:font>
          <a:latin typeface="Calibri"/>
          <a:ea typeface="Calibri"/>
          <a:cs typeface="Calibri"/>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12700" cap="flat" cmpd="sng">
              <a:solidFill>
                <a:schemeClr val="accent6"/>
              </a:solidFill>
              <a:prstDash val="solid"/>
              <a:round/>
              <a:headEnd type="none" w="sm" len="sm"/>
              <a:tailEnd type="none" w="sm" len="sm"/>
            </a:ln>
          </a:top>
          <a:bottom>
            <a:ln w="12700" cap="flat" cmpd="sng">
              <a:solidFill>
                <a:schemeClr val="accent6"/>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fill>
          <a:solidFill>
            <a:schemeClr val="accent6">
              <a:alpha val="20000"/>
            </a:schemeClr>
          </a:solidFill>
        </a:fill>
      </a:tcStyle>
    </a:band1H>
    <a:band2H>
      <a:tcTxStyle/>
      <a:tcStyle>
        <a:tcBdr/>
      </a:tcStyle>
    </a:band2H>
    <a:band1V>
      <a:tcTxStyle/>
      <a:tcStyle>
        <a:tcBdr/>
        <a:fill>
          <a:solidFill>
            <a:schemeClr val="accent6">
              <a:alpha val="20000"/>
            </a:schemeClr>
          </a:solidFill>
        </a:fill>
      </a:tcStyle>
    </a:band1V>
    <a:band2V>
      <a:tcTxStyle/>
      <a:tcStyle>
        <a:tcBdr/>
      </a:tcStyle>
    </a:band2V>
    <a:lastCol>
      <a:tcTxStyle b="on" i="off"/>
      <a:tcStyle>
        <a:tcBdr/>
      </a:tcStyle>
    </a:lastCol>
    <a:firstCol>
      <a:tcTxStyle b="on" i="off"/>
      <a:tcStyle>
        <a:tcBdr/>
      </a:tcStyle>
    </a:firstCol>
    <a:lastRow>
      <a:tcTxStyle b="on" i="off"/>
      <a:tcStyle>
        <a:tcBdr>
          <a:top>
            <a:ln w="12700" cap="flat" cmpd="sng">
              <a:solidFill>
                <a:schemeClr val="accent6"/>
              </a:solidFill>
              <a:prstDash val="solid"/>
              <a:round/>
              <a:headEnd type="none" w="sm" len="sm"/>
              <a:tailEnd type="none" w="sm" len="sm"/>
            </a:ln>
          </a:top>
        </a:tcBdr>
        <a:fill>
          <a:solidFill>
            <a:srgbClr val="FFFFFF">
              <a:alpha val="0"/>
            </a:srgbClr>
          </a:solidFill>
        </a:fill>
      </a:tcStyle>
    </a:lastRow>
    <a:seCell>
      <a:tcTxStyle/>
      <a:tcStyle>
        <a:tcBdr/>
      </a:tcStyle>
    </a:seCell>
    <a:swCell>
      <a:tcTxStyle/>
      <a:tcStyle>
        <a:tcBdr/>
      </a:tcStyle>
    </a:swCell>
    <a:firstRow>
      <a:tcTxStyle b="on" i="off"/>
      <a:tcStyle>
        <a:tcBdr>
          <a:bottom>
            <a:ln w="12700" cap="flat" cmpd="sng">
              <a:solidFill>
                <a:schemeClr val="accent6"/>
              </a:solidFill>
              <a:prstDash val="solid"/>
              <a:round/>
              <a:headEnd type="none" w="sm" len="sm"/>
              <a:tailEnd type="none" w="sm" len="sm"/>
            </a:ln>
          </a:bottom>
        </a:tcBdr>
        <a:fill>
          <a:solidFill>
            <a:srgbClr val="FFFFFF">
              <a:alpha val="0"/>
            </a:srgbClr>
          </a:solidFill>
        </a:fill>
      </a:tcStyle>
    </a:firstRow>
    <a:neCell>
      <a:tcTxStyle/>
      <a:tcStyle>
        <a:tcBdr/>
      </a:tcStyle>
    </a:neCell>
    <a:nwCell>
      <a:tcTxStyle/>
      <a:tcStyle>
        <a:tcBdr/>
      </a:tcStyle>
    </a:nwCell>
  </a:tblStyle>
  <a:tblStyle styleId="{41E0FAD3-7C2D-4B5A-B7BA-DEB1A53D0DEB}" styleName="Table_1">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BF1E8"/>
          </a:solidFill>
        </a:fill>
      </a:tcStyle>
    </a:wholeTbl>
    <a:band1H>
      <a:tcTxStyle/>
      <a:tcStyle>
        <a:tcBdr/>
        <a:fill>
          <a:solidFill>
            <a:srgbClr val="D4E2CE"/>
          </a:solidFill>
        </a:fill>
      </a:tcStyle>
    </a:band1H>
    <a:band2H>
      <a:tcTxStyle/>
      <a:tcStyle>
        <a:tcBdr/>
      </a:tcStyle>
    </a:band2H>
    <a:band1V>
      <a:tcTxStyle/>
      <a:tcStyle>
        <a:tcBdr/>
        <a:fill>
          <a:solidFill>
            <a:srgbClr val="D4E2CE"/>
          </a:solidFill>
        </a:fill>
      </a:tcStyle>
    </a:band1V>
    <a:band2V>
      <a:tcTxStyle/>
      <a:tcStyle>
        <a:tcBdr/>
      </a:tcStyle>
    </a:band2V>
    <a:lastCol>
      <a:tcTxStyle b="on" i="off">
        <a:font>
          <a:latin typeface="Calibri"/>
          <a:ea typeface="Calibri"/>
          <a:cs typeface="Calibri"/>
        </a:font>
        <a:schemeClr val="lt1"/>
      </a:tcTxStyle>
      <a:tcStyle>
        <a:tcBdr/>
        <a:fill>
          <a:solidFill>
            <a:schemeClr val="accent6"/>
          </a:solidFill>
        </a:fill>
      </a:tcStyle>
    </a:lastCol>
    <a:firstCol>
      <a:tcTxStyle b="on" i="off">
        <a:font>
          <a:latin typeface="Calibri"/>
          <a:ea typeface="Calibri"/>
          <a:cs typeface="Calibri"/>
        </a:font>
        <a:schemeClr val="lt1"/>
      </a:tcTxStyle>
      <a:tcStyle>
        <a:tcBdr/>
        <a:fill>
          <a:solidFill>
            <a:schemeClr val="accent6"/>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6"/>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6"/>
          </a:solidFill>
        </a:fill>
      </a:tcStyle>
    </a:firstRow>
    <a:neCell>
      <a:tcTxStyle/>
      <a:tcStyle>
        <a:tcBdr/>
      </a:tcStyle>
    </a:neCell>
    <a:nwCell>
      <a:tcTxStyle/>
      <a:tcStyle>
        <a:tcBdr/>
      </a:tcStyle>
    </a:nwCell>
  </a:tblStyle>
  <a:tblStyle styleId="{333DCFE8-B7AC-4D4A-B88C-A1AB9587156B}" styleName="Table_2">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97" autoAdjust="0"/>
    <p:restoredTop sz="93402" autoAdjust="0"/>
  </p:normalViewPr>
  <p:slideViewPr>
    <p:cSldViewPr snapToGrid="0">
      <p:cViewPr varScale="1">
        <p:scale>
          <a:sx n="69" d="100"/>
          <a:sy n="69" d="100"/>
        </p:scale>
        <p:origin x="1002" y="78"/>
      </p:cViewPr>
      <p:guideLst>
        <p:guide orient="horz" pos="86"/>
        <p:guide orient="horz" pos="3997"/>
        <p:guide orient="horz" pos="618"/>
        <p:guide orient="horz" pos="822"/>
        <p:guide pos="284"/>
        <p:guide pos="5932"/>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21.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5" Type="http://schemas.openxmlformats.org/officeDocument/2006/relationships/slideMaster" Target="slideMasters/slideMaster5.xml"/><Relationship Id="rId90" Type="http://schemas.openxmlformats.org/officeDocument/2006/relationships/slide" Target="slides/slide69.xml"/><Relationship Id="rId95" Type="http://schemas.openxmlformats.org/officeDocument/2006/relationships/commentAuthors" Target="commentAuthors.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80" Type="http://schemas.openxmlformats.org/officeDocument/2006/relationships/slide" Target="slides/slide59.xml"/><Relationship Id="rId85" Type="http://schemas.openxmlformats.org/officeDocument/2006/relationships/slide" Target="slides/slide64.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slide" Target="slides/slide62.xml"/><Relationship Id="rId88" Type="http://schemas.openxmlformats.org/officeDocument/2006/relationships/slide" Target="slides/slide67.xml"/><Relationship Id="rId91" Type="http://schemas.openxmlformats.org/officeDocument/2006/relationships/slide" Target="slides/slide70.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slide" Target="slides/slide65.xml"/><Relationship Id="rId94" Type="http://schemas.openxmlformats.org/officeDocument/2006/relationships/tags" Target="tags/tag1.xml"/><Relationship Id="rId9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slideMaster" Target="slideMasters/slideMaster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notesMaster" Target="notesMasters/notesMaster1.xml"/><Relationship Id="rId98"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891924467657693E-2"/>
          <c:y val="2.355072463768116E-2"/>
          <c:w val="0.95821615106468461"/>
          <c:h val="0.95289855072463769"/>
        </c:manualLayout>
      </c:layout>
      <c:scatterChart>
        <c:scatterStyle val="lineMarker"/>
        <c:varyColors val="0"/>
        <c:ser>
          <c:idx val="0"/>
          <c:order val="0"/>
          <c:spPr>
            <a:ln>
              <a:noFill/>
            </a:ln>
          </c:spPr>
          <c:marker>
            <c:symbol val="square"/>
            <c:size val="7"/>
            <c:spPr>
              <a:solidFill>
                <a:srgbClr val="543A26"/>
              </a:solidFill>
              <a:ln w="9525" algn="ctr">
                <a:solidFill>
                  <a:srgbClr val="543A26"/>
                </a:solidFill>
                <a:prstDash val="solid"/>
              </a:ln>
            </c:spPr>
          </c:marker>
          <c:xVal>
            <c:numRef>
              <c:f>Sheet1!$A$1:$A$8</c:f>
              <c:numCache>
                <c:formatCode>General</c:formatCode>
                <c:ptCount val="8"/>
                <c:pt idx="0">
                  <c:v>3</c:v>
                </c:pt>
                <c:pt idx="1">
                  <c:v>2.3333333333333335</c:v>
                </c:pt>
                <c:pt idx="2">
                  <c:v>3</c:v>
                </c:pt>
                <c:pt idx="3">
                  <c:v>1.6666666666666667</c:v>
                </c:pt>
                <c:pt idx="4">
                  <c:v>1.6666666666666667</c:v>
                </c:pt>
                <c:pt idx="5">
                  <c:v>1</c:v>
                </c:pt>
                <c:pt idx="6">
                  <c:v>1</c:v>
                </c:pt>
                <c:pt idx="7">
                  <c:v>1.6666666666666667</c:v>
                </c:pt>
              </c:numCache>
            </c:numRef>
          </c:xVal>
          <c:yVal>
            <c:numRef>
              <c:f>Sheet1!$B$1:$B$8</c:f>
              <c:numCache>
                <c:formatCode>General</c:formatCode>
                <c:ptCount val="8"/>
                <c:pt idx="0">
                  <c:v>72.215000000000003</c:v>
                </c:pt>
                <c:pt idx="1">
                  <c:v>51.531801779932323</c:v>
                </c:pt>
                <c:pt idx="2">
                  <c:v>49.060456429082663</c:v>
                </c:pt>
                <c:pt idx="3">
                  <c:v>54.870634391807911</c:v>
                </c:pt>
                <c:pt idx="4">
                  <c:v>52.596831871025898</c:v>
                </c:pt>
                <c:pt idx="5">
                  <c:v>47.972619913893965</c:v>
                </c:pt>
                <c:pt idx="6">
                  <c:v>48.990736546555581</c:v>
                </c:pt>
                <c:pt idx="7">
                  <c:v>44.541103027981904</c:v>
                </c:pt>
              </c:numCache>
            </c:numRef>
          </c:yVal>
          <c:smooth val="0"/>
          <c:extLst xmlns:c16r2="http://schemas.microsoft.com/office/drawing/2015/06/chart">
            <c:ext xmlns:c16="http://schemas.microsoft.com/office/drawing/2014/chart" uri="{C3380CC4-5D6E-409C-BE32-E72D297353CC}">
              <c16:uniqueId val="{00000000-D1F0-40C7-BCD8-1E0A0C390931}"/>
            </c:ext>
          </c:extLst>
        </c:ser>
        <c:dLbls>
          <c:showLegendKey val="0"/>
          <c:showVal val="0"/>
          <c:showCatName val="0"/>
          <c:showSerName val="0"/>
          <c:showPercent val="0"/>
          <c:showBubbleSize val="0"/>
        </c:dLbls>
        <c:axId val="-435336176"/>
        <c:axId val="-435336720"/>
      </c:scatterChart>
      <c:valAx>
        <c:axId val="-435336176"/>
        <c:scaling>
          <c:orientation val="minMax"/>
          <c:max val="3"/>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435336720"/>
        <c:crosses val="min"/>
        <c:crossBetween val="midCat"/>
      </c:valAx>
      <c:valAx>
        <c:axId val="-435336720"/>
        <c:scaling>
          <c:orientation val="minMax"/>
          <c:max val="1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435336176"/>
        <c:crosses val="min"/>
        <c:crossBetween val="midCat"/>
      </c:valAx>
      <c:spPr>
        <a:noFill/>
        <a:ln w="9525" algn="ctr">
          <a:solidFill>
            <a:schemeClr val="tx1"/>
          </a:solidFill>
          <a:prstDash val="solid"/>
        </a:ln>
      </c:spPr>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1CECFBB-CC5A-4A41-9F1B-24D31A905B6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EAD54AB-026E-4136-9106-BE93770EC9AA}">
      <dgm:prSet/>
      <dgm:spPr/>
      <dgm:t>
        <a:bodyPr/>
        <a:lstStyle/>
        <a:p>
          <a:pPr rtl="0"/>
          <a:r>
            <a:rPr lang="en-US" baseline="0" dirty="0" smtClean="0"/>
            <a:t>Policy and State Capability</a:t>
          </a:r>
          <a:endParaRPr lang="en-US" dirty="0"/>
        </a:p>
      </dgm:t>
    </dgm:pt>
    <dgm:pt modelId="{6D531238-7DE1-4200-A2D8-5DE5F5695824}" type="parTrans" cxnId="{CB369F31-6C94-46F8-998F-B35DF33AA570}">
      <dgm:prSet/>
      <dgm:spPr/>
      <dgm:t>
        <a:bodyPr/>
        <a:lstStyle/>
        <a:p>
          <a:endParaRPr lang="en-US"/>
        </a:p>
      </dgm:t>
    </dgm:pt>
    <dgm:pt modelId="{BED8D193-8142-4FC4-9B59-4C6E011F8C3D}" type="sibTrans" cxnId="{CB369F31-6C94-46F8-998F-B35DF33AA570}">
      <dgm:prSet/>
      <dgm:spPr/>
      <dgm:t>
        <a:bodyPr/>
        <a:lstStyle/>
        <a:p>
          <a:endParaRPr lang="en-US"/>
        </a:p>
      </dgm:t>
    </dgm:pt>
    <dgm:pt modelId="{1803FB4D-94D7-47CD-98A4-123107B8C2E4}">
      <dgm:prSet/>
      <dgm:spPr/>
      <dgm:t>
        <a:bodyPr/>
        <a:lstStyle/>
        <a:p>
          <a:pPr rtl="0"/>
          <a:r>
            <a:rPr lang="en-US" dirty="0" smtClean="0">
              <a:solidFill>
                <a:schemeClr val="tx1"/>
              </a:solidFill>
            </a:rPr>
            <a:t>Strengthen national coordinating ASDP II coordination, implementation and  alignment between national, regional and local governments.</a:t>
          </a:r>
          <a:endParaRPr lang="en-US" dirty="0">
            <a:solidFill>
              <a:schemeClr val="tx1"/>
            </a:solidFill>
          </a:endParaRPr>
        </a:p>
      </dgm:t>
    </dgm:pt>
    <dgm:pt modelId="{E035A673-1DB6-418A-B4C8-6DEC385696F9}" type="parTrans" cxnId="{B10B5B16-83C8-4459-8A90-97639C4044F8}">
      <dgm:prSet/>
      <dgm:spPr/>
      <dgm:t>
        <a:bodyPr/>
        <a:lstStyle/>
        <a:p>
          <a:endParaRPr lang="en-US"/>
        </a:p>
      </dgm:t>
    </dgm:pt>
    <dgm:pt modelId="{868C6A19-DD86-4C51-879D-00FAE4563CA0}" type="sibTrans" cxnId="{B10B5B16-83C8-4459-8A90-97639C4044F8}">
      <dgm:prSet/>
      <dgm:spPr/>
      <dgm:t>
        <a:bodyPr/>
        <a:lstStyle/>
        <a:p>
          <a:endParaRPr lang="en-US"/>
        </a:p>
      </dgm:t>
    </dgm:pt>
    <dgm:pt modelId="{F7A1C7D9-CC0A-4355-828D-A48EF740C523}">
      <dgm:prSet/>
      <dgm:spPr/>
      <dgm:t>
        <a:bodyPr/>
        <a:lstStyle/>
        <a:p>
          <a:pPr rtl="0"/>
          <a:r>
            <a:rPr lang="en-US" baseline="0" dirty="0" smtClean="0">
              <a:solidFill>
                <a:schemeClr val="bg1"/>
              </a:solidFill>
            </a:rPr>
            <a:t>Partnerships and Systems development</a:t>
          </a:r>
          <a:endParaRPr lang="en-US" dirty="0">
            <a:solidFill>
              <a:schemeClr val="bg1"/>
            </a:solidFill>
          </a:endParaRPr>
        </a:p>
      </dgm:t>
    </dgm:pt>
    <dgm:pt modelId="{59D192E1-7D42-4CF6-98CE-56E707CC5293}" type="parTrans" cxnId="{D004A83A-22BF-4758-B2BC-FED3F9AD2289}">
      <dgm:prSet/>
      <dgm:spPr/>
      <dgm:t>
        <a:bodyPr/>
        <a:lstStyle/>
        <a:p>
          <a:endParaRPr lang="en-US"/>
        </a:p>
      </dgm:t>
    </dgm:pt>
    <dgm:pt modelId="{C94FB125-79F3-442F-9AAB-4859903D5635}" type="sibTrans" cxnId="{D004A83A-22BF-4758-B2BC-FED3F9AD2289}">
      <dgm:prSet/>
      <dgm:spPr/>
      <dgm:t>
        <a:bodyPr/>
        <a:lstStyle/>
        <a:p>
          <a:endParaRPr lang="en-US"/>
        </a:p>
      </dgm:t>
    </dgm:pt>
    <dgm:pt modelId="{69646B3A-E2D1-47F6-B7AF-66EEC03866FC}">
      <dgm:prSet/>
      <dgm:spPr/>
      <dgm:t>
        <a:bodyPr/>
        <a:lstStyle/>
        <a:p>
          <a:pPr rtl="0"/>
          <a:r>
            <a:rPr lang="en-US" dirty="0" smtClean="0">
              <a:solidFill>
                <a:schemeClr val="tx1"/>
              </a:solidFill>
            </a:rPr>
            <a:t>Enhance supply chain efficiency through effective agribusiness deal-making platforms  in the Northern Highlands</a:t>
          </a:r>
          <a:endParaRPr lang="en-US" dirty="0">
            <a:solidFill>
              <a:schemeClr val="tx1"/>
            </a:solidFill>
          </a:endParaRPr>
        </a:p>
      </dgm:t>
    </dgm:pt>
    <dgm:pt modelId="{889FFD16-A0AA-44F0-8F27-C1923E9610F8}" type="parTrans" cxnId="{D997B3B9-848D-400E-90E8-3EF5327816A5}">
      <dgm:prSet/>
      <dgm:spPr/>
      <dgm:t>
        <a:bodyPr/>
        <a:lstStyle/>
        <a:p>
          <a:endParaRPr lang="en-US"/>
        </a:p>
      </dgm:t>
    </dgm:pt>
    <dgm:pt modelId="{843373EE-7AE1-4886-B51C-8E06B7CCD928}" type="sibTrans" cxnId="{D997B3B9-848D-400E-90E8-3EF5327816A5}">
      <dgm:prSet/>
      <dgm:spPr/>
      <dgm:t>
        <a:bodyPr/>
        <a:lstStyle/>
        <a:p>
          <a:endParaRPr lang="en-US"/>
        </a:p>
      </dgm:t>
    </dgm:pt>
    <dgm:pt modelId="{5FAA6269-8805-495B-8693-B4012F78490F}">
      <dgm:prSet/>
      <dgm:spPr/>
      <dgm:t>
        <a:bodyPr/>
        <a:lstStyle/>
        <a:p>
          <a:pPr rtl="0"/>
          <a:r>
            <a:rPr lang="en-US" dirty="0" smtClean="0">
              <a:solidFill>
                <a:schemeClr val="tx1"/>
              </a:solidFill>
            </a:rPr>
            <a:t>Enhance planning and coordination between MOA, other ASLMs and external stakeholders (donors, private sector, civil society etc.) </a:t>
          </a:r>
          <a:endParaRPr lang="en-US" dirty="0">
            <a:solidFill>
              <a:schemeClr val="tx1"/>
            </a:solidFill>
          </a:endParaRPr>
        </a:p>
      </dgm:t>
    </dgm:pt>
    <dgm:pt modelId="{F0C54795-524B-4828-8D6C-067ED4575C22}" type="sibTrans" cxnId="{810A2870-2D94-4CC2-96C0-A27D774955FA}">
      <dgm:prSet/>
      <dgm:spPr/>
      <dgm:t>
        <a:bodyPr/>
        <a:lstStyle/>
        <a:p>
          <a:endParaRPr lang="en-US"/>
        </a:p>
      </dgm:t>
    </dgm:pt>
    <dgm:pt modelId="{0798E9F4-8C0D-4561-91E0-96FCC93359DF}" type="parTrans" cxnId="{810A2870-2D94-4CC2-96C0-A27D774955FA}">
      <dgm:prSet/>
      <dgm:spPr/>
      <dgm:t>
        <a:bodyPr/>
        <a:lstStyle/>
        <a:p>
          <a:endParaRPr lang="en-US"/>
        </a:p>
      </dgm:t>
    </dgm:pt>
    <dgm:pt modelId="{49DEEA75-B6A2-4705-A2F9-FB965B7EECD7}">
      <dgm:prSet/>
      <dgm:spPr/>
      <dgm:t>
        <a:bodyPr/>
        <a:lstStyle/>
        <a:p>
          <a:pPr rtl="0"/>
          <a:r>
            <a:rPr lang="en-US" baseline="0" dirty="0" smtClean="0">
              <a:solidFill>
                <a:schemeClr val="tx1"/>
              </a:solidFill>
            </a:rPr>
            <a:t>Support development of an enabling environment for private sector</a:t>
          </a:r>
          <a:endParaRPr lang="en-US" dirty="0">
            <a:solidFill>
              <a:schemeClr val="tx1"/>
            </a:solidFill>
          </a:endParaRPr>
        </a:p>
      </dgm:t>
    </dgm:pt>
    <dgm:pt modelId="{0583F4D5-50C1-4CE3-AA93-3BB882AEDF04}" type="sibTrans" cxnId="{17424E61-0D0F-4EEB-A9BB-64017103BE63}">
      <dgm:prSet/>
      <dgm:spPr/>
      <dgm:t>
        <a:bodyPr/>
        <a:lstStyle/>
        <a:p>
          <a:endParaRPr lang="en-US"/>
        </a:p>
      </dgm:t>
    </dgm:pt>
    <dgm:pt modelId="{CB99B00B-1838-49FD-9EB6-EF5E85A77063}" type="parTrans" cxnId="{17424E61-0D0F-4EEB-A9BB-64017103BE63}">
      <dgm:prSet/>
      <dgm:spPr/>
      <dgm:t>
        <a:bodyPr/>
        <a:lstStyle/>
        <a:p>
          <a:endParaRPr lang="en-US"/>
        </a:p>
      </dgm:t>
    </dgm:pt>
    <dgm:pt modelId="{632009EC-464E-46CE-BA80-9EE1A971851F}">
      <dgm:prSet/>
      <dgm:spPr/>
      <dgm:t>
        <a:bodyPr/>
        <a:lstStyle/>
        <a:p>
          <a:pPr rtl="0"/>
          <a:r>
            <a:rPr lang="en-US" dirty="0" smtClean="0">
              <a:solidFill>
                <a:schemeClr val="tx1"/>
              </a:solidFill>
            </a:rPr>
            <a:t>Expand market access through value addition, structured trade, quality enhancement and aggregation in the Southern Highlands</a:t>
          </a:r>
          <a:endParaRPr lang="en-US" dirty="0">
            <a:solidFill>
              <a:schemeClr val="tx1"/>
            </a:solidFill>
          </a:endParaRPr>
        </a:p>
      </dgm:t>
    </dgm:pt>
    <dgm:pt modelId="{60B6BF35-602D-4C20-AA7A-F8796EF9C1F3}" type="sibTrans" cxnId="{886DA003-0A5D-415F-A83B-CD266168F583}">
      <dgm:prSet/>
      <dgm:spPr/>
      <dgm:t>
        <a:bodyPr/>
        <a:lstStyle/>
        <a:p>
          <a:endParaRPr lang="en-US"/>
        </a:p>
      </dgm:t>
    </dgm:pt>
    <dgm:pt modelId="{854DE6FE-8947-438D-9EA1-4199616BF9B2}" type="parTrans" cxnId="{886DA003-0A5D-415F-A83B-CD266168F583}">
      <dgm:prSet/>
      <dgm:spPr/>
      <dgm:t>
        <a:bodyPr/>
        <a:lstStyle/>
        <a:p>
          <a:endParaRPr lang="en-US"/>
        </a:p>
      </dgm:t>
    </dgm:pt>
    <dgm:pt modelId="{641B3B7F-33BE-4AB3-801E-4589CE622CBD}">
      <dgm:prSet/>
      <dgm:spPr/>
      <dgm:t>
        <a:bodyPr/>
        <a:lstStyle/>
        <a:p>
          <a:pPr rtl="0"/>
          <a:r>
            <a:rPr lang="en-US" dirty="0" smtClean="0">
              <a:solidFill>
                <a:schemeClr val="tx1"/>
              </a:solidFill>
            </a:rPr>
            <a:t>Strengthen input supply systems and linkages to output markets to facilitate the uptake of yield-enhancing agricultural technologies in the Western Highlands</a:t>
          </a:r>
          <a:endParaRPr lang="en-US" dirty="0">
            <a:solidFill>
              <a:schemeClr val="tx1"/>
            </a:solidFill>
          </a:endParaRPr>
        </a:p>
      </dgm:t>
    </dgm:pt>
    <dgm:pt modelId="{549B9168-EFDD-4FC3-A16B-CEE00A2460EC}" type="sibTrans" cxnId="{C41A7E93-2F77-4ACE-B5D9-FA57A96853A8}">
      <dgm:prSet/>
      <dgm:spPr/>
      <dgm:t>
        <a:bodyPr/>
        <a:lstStyle/>
        <a:p>
          <a:endParaRPr lang="en-US"/>
        </a:p>
      </dgm:t>
    </dgm:pt>
    <dgm:pt modelId="{9D60179C-34BD-4EBA-A4B2-288277906D24}" type="parTrans" cxnId="{C41A7E93-2F77-4ACE-B5D9-FA57A96853A8}">
      <dgm:prSet/>
      <dgm:spPr/>
      <dgm:t>
        <a:bodyPr/>
        <a:lstStyle/>
        <a:p>
          <a:endParaRPr lang="en-US"/>
        </a:p>
      </dgm:t>
    </dgm:pt>
    <dgm:pt modelId="{9A841ADB-F9C8-43FC-B31A-8C5D9FA8EA42}">
      <dgm:prSet/>
      <dgm:spPr/>
      <dgm:t>
        <a:bodyPr/>
        <a:lstStyle/>
        <a:p>
          <a:pPr rtl="0"/>
          <a:r>
            <a:rPr lang="en-US" dirty="0" smtClean="0">
              <a:solidFill>
                <a:schemeClr val="tx1"/>
              </a:solidFill>
            </a:rPr>
            <a:t>Promote women empowerment in agriculture and active participation in decision making and benefit more from the downstream portion of value chain activities such as marketing, processing and trade</a:t>
          </a:r>
          <a:endParaRPr lang="en-US" dirty="0">
            <a:solidFill>
              <a:schemeClr val="tx1"/>
            </a:solidFill>
          </a:endParaRPr>
        </a:p>
      </dgm:t>
    </dgm:pt>
    <dgm:pt modelId="{ACDFB742-5ECF-4362-BC7D-37E347969BAC}" type="sibTrans" cxnId="{0A4657B4-B66C-42FF-9645-34DF7EAE43B8}">
      <dgm:prSet/>
      <dgm:spPr/>
      <dgm:t>
        <a:bodyPr/>
        <a:lstStyle/>
        <a:p>
          <a:endParaRPr lang="en-US"/>
        </a:p>
      </dgm:t>
    </dgm:pt>
    <dgm:pt modelId="{526F8101-2731-4812-9F1E-49B9DBB980BB}" type="parTrans" cxnId="{0A4657B4-B66C-42FF-9645-34DF7EAE43B8}">
      <dgm:prSet/>
      <dgm:spPr/>
      <dgm:t>
        <a:bodyPr/>
        <a:lstStyle/>
        <a:p>
          <a:endParaRPr lang="en-US"/>
        </a:p>
      </dgm:t>
    </dgm:pt>
    <dgm:pt modelId="{33D37EDC-07F6-4944-8796-ECCFD0D437F6}">
      <dgm:prSet/>
      <dgm:spPr/>
      <dgm:t>
        <a:bodyPr/>
        <a:lstStyle/>
        <a:p>
          <a:pPr rtl="0"/>
          <a:r>
            <a:rPr lang="en-US" dirty="0" smtClean="0">
              <a:solidFill>
                <a:schemeClr val="tx1"/>
              </a:solidFill>
            </a:rPr>
            <a:t>Support ASLMs in development of agro-industrialization flagship as part of ASDP II realization</a:t>
          </a:r>
          <a:endParaRPr lang="en-US" dirty="0">
            <a:solidFill>
              <a:schemeClr val="tx1"/>
            </a:solidFill>
          </a:endParaRPr>
        </a:p>
      </dgm:t>
    </dgm:pt>
    <dgm:pt modelId="{B415E54F-F209-4940-809E-B9EA452AD907}" type="parTrans" cxnId="{420A30FD-769F-4539-8785-5797356E0FC9}">
      <dgm:prSet/>
      <dgm:spPr/>
      <dgm:t>
        <a:bodyPr/>
        <a:lstStyle/>
        <a:p>
          <a:endParaRPr lang="en-US"/>
        </a:p>
      </dgm:t>
    </dgm:pt>
    <dgm:pt modelId="{7406EACE-0DEC-43A3-9540-FCB5832DD6E6}" type="sibTrans" cxnId="{420A30FD-769F-4539-8785-5797356E0FC9}">
      <dgm:prSet/>
      <dgm:spPr/>
      <dgm:t>
        <a:bodyPr/>
        <a:lstStyle/>
        <a:p>
          <a:endParaRPr lang="en-US"/>
        </a:p>
      </dgm:t>
    </dgm:pt>
    <dgm:pt modelId="{51FB3973-6A06-4607-9DE2-D398EFF98B44}" type="pres">
      <dgm:prSet presAssocID="{31CECFBB-CC5A-4A41-9F1B-24D31A905B6F}" presName="linear" presStyleCnt="0">
        <dgm:presLayoutVars>
          <dgm:animLvl val="lvl"/>
          <dgm:resizeHandles val="exact"/>
        </dgm:presLayoutVars>
      </dgm:prSet>
      <dgm:spPr/>
      <dgm:t>
        <a:bodyPr/>
        <a:lstStyle/>
        <a:p>
          <a:endParaRPr lang="en-US"/>
        </a:p>
      </dgm:t>
    </dgm:pt>
    <dgm:pt modelId="{6F0FDCE1-7977-4778-BB55-BFD55AAF07A7}" type="pres">
      <dgm:prSet presAssocID="{5EAD54AB-026E-4136-9106-BE93770EC9AA}" presName="parentText" presStyleLbl="node1" presStyleIdx="0" presStyleCnt="2">
        <dgm:presLayoutVars>
          <dgm:chMax val="0"/>
          <dgm:bulletEnabled val="1"/>
        </dgm:presLayoutVars>
      </dgm:prSet>
      <dgm:spPr/>
      <dgm:t>
        <a:bodyPr/>
        <a:lstStyle/>
        <a:p>
          <a:endParaRPr lang="en-US"/>
        </a:p>
      </dgm:t>
    </dgm:pt>
    <dgm:pt modelId="{04C9A3AB-80A8-4130-BACE-151D3225B815}" type="pres">
      <dgm:prSet presAssocID="{5EAD54AB-026E-4136-9106-BE93770EC9AA}" presName="childText" presStyleLbl="revTx" presStyleIdx="0" presStyleCnt="2">
        <dgm:presLayoutVars>
          <dgm:bulletEnabled val="1"/>
        </dgm:presLayoutVars>
      </dgm:prSet>
      <dgm:spPr/>
      <dgm:t>
        <a:bodyPr/>
        <a:lstStyle/>
        <a:p>
          <a:endParaRPr lang="en-US"/>
        </a:p>
      </dgm:t>
    </dgm:pt>
    <dgm:pt modelId="{8D46507D-238A-49FF-A07B-A23823FE78B6}" type="pres">
      <dgm:prSet presAssocID="{F7A1C7D9-CC0A-4355-828D-A48EF740C523}" presName="parentText" presStyleLbl="node1" presStyleIdx="1" presStyleCnt="2">
        <dgm:presLayoutVars>
          <dgm:chMax val="0"/>
          <dgm:bulletEnabled val="1"/>
        </dgm:presLayoutVars>
      </dgm:prSet>
      <dgm:spPr/>
      <dgm:t>
        <a:bodyPr/>
        <a:lstStyle/>
        <a:p>
          <a:endParaRPr lang="en-US"/>
        </a:p>
      </dgm:t>
    </dgm:pt>
    <dgm:pt modelId="{7C48CF6F-5273-45C6-A78F-F5D1938A73C8}" type="pres">
      <dgm:prSet presAssocID="{F7A1C7D9-CC0A-4355-828D-A48EF740C523}" presName="childText" presStyleLbl="revTx" presStyleIdx="1" presStyleCnt="2">
        <dgm:presLayoutVars>
          <dgm:bulletEnabled val="1"/>
        </dgm:presLayoutVars>
      </dgm:prSet>
      <dgm:spPr/>
      <dgm:t>
        <a:bodyPr/>
        <a:lstStyle/>
        <a:p>
          <a:endParaRPr lang="en-US"/>
        </a:p>
      </dgm:t>
    </dgm:pt>
  </dgm:ptLst>
  <dgm:cxnLst>
    <dgm:cxn modelId="{0A4657B4-B66C-42FF-9645-34DF7EAE43B8}" srcId="{F7A1C7D9-CC0A-4355-828D-A48EF740C523}" destId="{9A841ADB-F9C8-43FC-B31A-8C5D9FA8EA42}" srcOrd="3" destOrd="0" parTransId="{526F8101-2731-4812-9F1E-49B9DBB980BB}" sibTransId="{ACDFB742-5ECF-4362-BC7D-37E347969BAC}"/>
    <dgm:cxn modelId="{D997B3B9-848D-400E-90E8-3EF5327816A5}" srcId="{F7A1C7D9-CC0A-4355-828D-A48EF740C523}" destId="{69646B3A-E2D1-47F6-B7AF-66EEC03866FC}" srcOrd="0" destOrd="0" parTransId="{889FFD16-A0AA-44F0-8F27-C1923E9610F8}" sibTransId="{843373EE-7AE1-4886-B51C-8E06B7CCD928}"/>
    <dgm:cxn modelId="{17424E61-0D0F-4EEB-A9BB-64017103BE63}" srcId="{5EAD54AB-026E-4136-9106-BE93770EC9AA}" destId="{49DEEA75-B6A2-4705-A2F9-FB965B7EECD7}" srcOrd="2" destOrd="0" parTransId="{CB99B00B-1838-49FD-9EB6-EF5E85A77063}" sibTransId="{0583F4D5-50C1-4CE3-AA93-3BB882AEDF04}"/>
    <dgm:cxn modelId="{420A30FD-769F-4539-8785-5797356E0FC9}" srcId="{5EAD54AB-026E-4136-9106-BE93770EC9AA}" destId="{33D37EDC-07F6-4944-8796-ECCFD0D437F6}" srcOrd="3" destOrd="0" parTransId="{B415E54F-F209-4940-809E-B9EA452AD907}" sibTransId="{7406EACE-0DEC-43A3-9540-FCB5832DD6E6}"/>
    <dgm:cxn modelId="{B10B5B16-83C8-4459-8A90-97639C4044F8}" srcId="{5EAD54AB-026E-4136-9106-BE93770EC9AA}" destId="{1803FB4D-94D7-47CD-98A4-123107B8C2E4}" srcOrd="0" destOrd="0" parTransId="{E035A673-1DB6-418A-B4C8-6DEC385696F9}" sibTransId="{868C6A19-DD86-4C51-879D-00FAE4563CA0}"/>
    <dgm:cxn modelId="{C41A7E93-2F77-4ACE-B5D9-FA57A96853A8}" srcId="{F7A1C7D9-CC0A-4355-828D-A48EF740C523}" destId="{641B3B7F-33BE-4AB3-801E-4589CE622CBD}" srcOrd="2" destOrd="0" parTransId="{9D60179C-34BD-4EBA-A4B2-288277906D24}" sibTransId="{549B9168-EFDD-4FC3-A16B-CEE00A2460EC}"/>
    <dgm:cxn modelId="{C9797AC5-208E-4281-82D0-97C044DDC7AD}" type="presOf" srcId="{1803FB4D-94D7-47CD-98A4-123107B8C2E4}" destId="{04C9A3AB-80A8-4130-BACE-151D3225B815}" srcOrd="0" destOrd="0" presId="urn:microsoft.com/office/officeart/2005/8/layout/vList2"/>
    <dgm:cxn modelId="{1BD5F4F0-9496-4103-91F7-529358F5F2D6}" type="presOf" srcId="{641B3B7F-33BE-4AB3-801E-4589CE622CBD}" destId="{7C48CF6F-5273-45C6-A78F-F5D1938A73C8}" srcOrd="0" destOrd="2" presId="urn:microsoft.com/office/officeart/2005/8/layout/vList2"/>
    <dgm:cxn modelId="{CB369F31-6C94-46F8-998F-B35DF33AA570}" srcId="{31CECFBB-CC5A-4A41-9F1B-24D31A905B6F}" destId="{5EAD54AB-026E-4136-9106-BE93770EC9AA}" srcOrd="0" destOrd="0" parTransId="{6D531238-7DE1-4200-A2D8-5DE5F5695824}" sibTransId="{BED8D193-8142-4FC4-9B59-4C6E011F8C3D}"/>
    <dgm:cxn modelId="{810A2870-2D94-4CC2-96C0-A27D774955FA}" srcId="{5EAD54AB-026E-4136-9106-BE93770EC9AA}" destId="{5FAA6269-8805-495B-8693-B4012F78490F}" srcOrd="1" destOrd="0" parTransId="{0798E9F4-8C0D-4561-91E0-96FCC93359DF}" sibTransId="{F0C54795-524B-4828-8D6C-067ED4575C22}"/>
    <dgm:cxn modelId="{2C3CB023-C4D3-4605-B1F1-DB7D1E7EB899}" type="presOf" srcId="{5FAA6269-8805-495B-8693-B4012F78490F}" destId="{04C9A3AB-80A8-4130-BACE-151D3225B815}" srcOrd="0" destOrd="1" presId="urn:microsoft.com/office/officeart/2005/8/layout/vList2"/>
    <dgm:cxn modelId="{55A81293-131F-4855-86E5-94F95C605908}" type="presOf" srcId="{31CECFBB-CC5A-4A41-9F1B-24D31A905B6F}" destId="{51FB3973-6A06-4607-9DE2-D398EFF98B44}" srcOrd="0" destOrd="0" presId="urn:microsoft.com/office/officeart/2005/8/layout/vList2"/>
    <dgm:cxn modelId="{5CFC87F3-B417-486B-8538-DF61B6282E86}" type="presOf" srcId="{F7A1C7D9-CC0A-4355-828D-A48EF740C523}" destId="{8D46507D-238A-49FF-A07B-A23823FE78B6}" srcOrd="0" destOrd="0" presId="urn:microsoft.com/office/officeart/2005/8/layout/vList2"/>
    <dgm:cxn modelId="{47C65B30-4027-434B-A396-411F2554A0E2}" type="presOf" srcId="{5EAD54AB-026E-4136-9106-BE93770EC9AA}" destId="{6F0FDCE1-7977-4778-BB55-BFD55AAF07A7}" srcOrd="0" destOrd="0" presId="urn:microsoft.com/office/officeart/2005/8/layout/vList2"/>
    <dgm:cxn modelId="{3F5FBC5E-7337-4865-B35F-43BC9BD79D03}" type="presOf" srcId="{49DEEA75-B6A2-4705-A2F9-FB965B7EECD7}" destId="{04C9A3AB-80A8-4130-BACE-151D3225B815}" srcOrd="0" destOrd="2" presId="urn:microsoft.com/office/officeart/2005/8/layout/vList2"/>
    <dgm:cxn modelId="{5EAD162A-763E-4000-9392-B34E86C263CD}" type="presOf" srcId="{9A841ADB-F9C8-43FC-B31A-8C5D9FA8EA42}" destId="{7C48CF6F-5273-45C6-A78F-F5D1938A73C8}" srcOrd="0" destOrd="3" presId="urn:microsoft.com/office/officeart/2005/8/layout/vList2"/>
    <dgm:cxn modelId="{C7E30169-D56B-460D-939A-BB800907EA93}" type="presOf" srcId="{632009EC-464E-46CE-BA80-9EE1A971851F}" destId="{7C48CF6F-5273-45C6-A78F-F5D1938A73C8}" srcOrd="0" destOrd="1" presId="urn:microsoft.com/office/officeart/2005/8/layout/vList2"/>
    <dgm:cxn modelId="{D004A83A-22BF-4758-B2BC-FED3F9AD2289}" srcId="{31CECFBB-CC5A-4A41-9F1B-24D31A905B6F}" destId="{F7A1C7D9-CC0A-4355-828D-A48EF740C523}" srcOrd="1" destOrd="0" parTransId="{59D192E1-7D42-4CF6-98CE-56E707CC5293}" sibTransId="{C94FB125-79F3-442F-9AAB-4859903D5635}"/>
    <dgm:cxn modelId="{886DA003-0A5D-415F-A83B-CD266168F583}" srcId="{F7A1C7D9-CC0A-4355-828D-A48EF740C523}" destId="{632009EC-464E-46CE-BA80-9EE1A971851F}" srcOrd="1" destOrd="0" parTransId="{854DE6FE-8947-438D-9EA1-4199616BF9B2}" sibTransId="{60B6BF35-602D-4C20-AA7A-F8796EF9C1F3}"/>
    <dgm:cxn modelId="{1F7B286F-1653-4634-9A30-E595BE04A838}" type="presOf" srcId="{33D37EDC-07F6-4944-8796-ECCFD0D437F6}" destId="{04C9A3AB-80A8-4130-BACE-151D3225B815}" srcOrd="0" destOrd="3" presId="urn:microsoft.com/office/officeart/2005/8/layout/vList2"/>
    <dgm:cxn modelId="{99E59C9A-2928-4E83-9FCA-384217CC4862}" type="presOf" srcId="{69646B3A-E2D1-47F6-B7AF-66EEC03866FC}" destId="{7C48CF6F-5273-45C6-A78F-F5D1938A73C8}" srcOrd="0" destOrd="0" presId="urn:microsoft.com/office/officeart/2005/8/layout/vList2"/>
    <dgm:cxn modelId="{2AAB07F2-0A65-4496-88ED-0ED270C7B2CB}" type="presParOf" srcId="{51FB3973-6A06-4607-9DE2-D398EFF98B44}" destId="{6F0FDCE1-7977-4778-BB55-BFD55AAF07A7}" srcOrd="0" destOrd="0" presId="urn:microsoft.com/office/officeart/2005/8/layout/vList2"/>
    <dgm:cxn modelId="{CFFB6A56-2949-465A-8131-CE0014285F8F}" type="presParOf" srcId="{51FB3973-6A06-4607-9DE2-D398EFF98B44}" destId="{04C9A3AB-80A8-4130-BACE-151D3225B815}" srcOrd="1" destOrd="0" presId="urn:microsoft.com/office/officeart/2005/8/layout/vList2"/>
    <dgm:cxn modelId="{6CA04604-C688-4697-B581-C355BF2C3EB4}" type="presParOf" srcId="{51FB3973-6A06-4607-9DE2-D398EFF98B44}" destId="{8D46507D-238A-49FF-A07B-A23823FE78B6}" srcOrd="2" destOrd="0" presId="urn:microsoft.com/office/officeart/2005/8/layout/vList2"/>
    <dgm:cxn modelId="{AB8DA5BE-0A56-4445-9F2C-8AD821847F54}" type="presParOf" srcId="{51FB3973-6A06-4607-9DE2-D398EFF98B44}" destId="{7C48CF6F-5273-45C6-A78F-F5D1938A73C8}" srcOrd="3"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0FDCE1-7977-4778-BB55-BFD55AAF07A7}">
      <dsp:nvSpPr>
        <dsp:cNvPr id="0" name=""/>
        <dsp:cNvSpPr/>
      </dsp:nvSpPr>
      <dsp:spPr>
        <a:xfrm>
          <a:off x="0" y="126764"/>
          <a:ext cx="9005453" cy="397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US" sz="1700" kern="1200" baseline="0" dirty="0" smtClean="0"/>
            <a:t>Policy and State Capability</a:t>
          </a:r>
          <a:endParaRPr lang="en-US" sz="1700" kern="1200" dirty="0"/>
        </a:p>
      </dsp:txBody>
      <dsp:txXfrm>
        <a:off x="19419" y="146183"/>
        <a:ext cx="8966615" cy="358962"/>
      </dsp:txXfrm>
    </dsp:sp>
    <dsp:sp modelId="{04C9A3AB-80A8-4130-BACE-151D3225B815}">
      <dsp:nvSpPr>
        <dsp:cNvPr id="0" name=""/>
        <dsp:cNvSpPr/>
      </dsp:nvSpPr>
      <dsp:spPr>
        <a:xfrm>
          <a:off x="0" y="524564"/>
          <a:ext cx="9005453" cy="11964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5923"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en-US" sz="1300" kern="1200" dirty="0" smtClean="0">
              <a:solidFill>
                <a:schemeClr val="tx1"/>
              </a:solidFill>
            </a:rPr>
            <a:t>Strengthen national coordinating ASDP II coordination, implementation and  alignment between national, regional and local governments.</a:t>
          </a:r>
          <a:endParaRPr lang="en-US" sz="1300" kern="1200" dirty="0">
            <a:solidFill>
              <a:schemeClr val="tx1"/>
            </a:solidFill>
          </a:endParaRPr>
        </a:p>
        <a:p>
          <a:pPr marL="114300" lvl="1" indent="-114300" algn="l" defTabSz="577850" rtl="0">
            <a:lnSpc>
              <a:spcPct val="90000"/>
            </a:lnSpc>
            <a:spcBef>
              <a:spcPct val="0"/>
            </a:spcBef>
            <a:spcAft>
              <a:spcPct val="20000"/>
            </a:spcAft>
            <a:buChar char="••"/>
          </a:pPr>
          <a:r>
            <a:rPr lang="en-US" sz="1300" kern="1200" dirty="0" smtClean="0">
              <a:solidFill>
                <a:schemeClr val="tx1"/>
              </a:solidFill>
            </a:rPr>
            <a:t>Enhance planning and coordination between MOA, other ASLMs and external stakeholders (donors, private sector, civil society etc.) </a:t>
          </a:r>
          <a:endParaRPr lang="en-US" sz="1300" kern="1200" dirty="0">
            <a:solidFill>
              <a:schemeClr val="tx1"/>
            </a:solidFill>
          </a:endParaRPr>
        </a:p>
        <a:p>
          <a:pPr marL="114300" lvl="1" indent="-114300" algn="l" defTabSz="577850" rtl="0">
            <a:lnSpc>
              <a:spcPct val="90000"/>
            </a:lnSpc>
            <a:spcBef>
              <a:spcPct val="0"/>
            </a:spcBef>
            <a:spcAft>
              <a:spcPct val="20000"/>
            </a:spcAft>
            <a:buChar char="••"/>
          </a:pPr>
          <a:r>
            <a:rPr lang="en-US" sz="1300" kern="1200" baseline="0" dirty="0" smtClean="0">
              <a:solidFill>
                <a:schemeClr val="tx1"/>
              </a:solidFill>
            </a:rPr>
            <a:t>Support development of an enabling environment for private sector</a:t>
          </a:r>
          <a:endParaRPr lang="en-US" sz="1300" kern="1200" dirty="0">
            <a:solidFill>
              <a:schemeClr val="tx1"/>
            </a:solidFill>
          </a:endParaRPr>
        </a:p>
        <a:p>
          <a:pPr marL="114300" lvl="1" indent="-114300" algn="l" defTabSz="577850" rtl="0">
            <a:lnSpc>
              <a:spcPct val="90000"/>
            </a:lnSpc>
            <a:spcBef>
              <a:spcPct val="0"/>
            </a:spcBef>
            <a:spcAft>
              <a:spcPct val="20000"/>
            </a:spcAft>
            <a:buChar char="••"/>
          </a:pPr>
          <a:r>
            <a:rPr lang="en-US" sz="1300" kern="1200" dirty="0" smtClean="0">
              <a:solidFill>
                <a:schemeClr val="tx1"/>
              </a:solidFill>
            </a:rPr>
            <a:t>Support ASLMs in development of agro-industrialization flagship as part of ASDP II realization</a:t>
          </a:r>
          <a:endParaRPr lang="en-US" sz="1300" kern="1200" dirty="0">
            <a:solidFill>
              <a:schemeClr val="tx1"/>
            </a:solidFill>
          </a:endParaRPr>
        </a:p>
      </dsp:txBody>
      <dsp:txXfrm>
        <a:off x="0" y="524564"/>
        <a:ext cx="9005453" cy="1196460"/>
      </dsp:txXfrm>
    </dsp:sp>
    <dsp:sp modelId="{8D46507D-238A-49FF-A07B-A23823FE78B6}">
      <dsp:nvSpPr>
        <dsp:cNvPr id="0" name=""/>
        <dsp:cNvSpPr/>
      </dsp:nvSpPr>
      <dsp:spPr>
        <a:xfrm>
          <a:off x="0" y="1721024"/>
          <a:ext cx="9005453" cy="397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US" sz="1700" kern="1200" baseline="0" dirty="0" smtClean="0">
              <a:solidFill>
                <a:schemeClr val="bg1"/>
              </a:solidFill>
            </a:rPr>
            <a:t>Partnerships and Systems development</a:t>
          </a:r>
          <a:endParaRPr lang="en-US" sz="1700" kern="1200" dirty="0">
            <a:solidFill>
              <a:schemeClr val="bg1"/>
            </a:solidFill>
          </a:endParaRPr>
        </a:p>
      </dsp:txBody>
      <dsp:txXfrm>
        <a:off x="19419" y="1740443"/>
        <a:ext cx="8966615" cy="358962"/>
      </dsp:txXfrm>
    </dsp:sp>
    <dsp:sp modelId="{7C48CF6F-5273-45C6-A78F-F5D1938A73C8}">
      <dsp:nvSpPr>
        <dsp:cNvPr id="0" name=""/>
        <dsp:cNvSpPr/>
      </dsp:nvSpPr>
      <dsp:spPr>
        <a:xfrm>
          <a:off x="0" y="2118824"/>
          <a:ext cx="9005453" cy="13724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5923" tIns="21590" rIns="120904" bIns="21590" numCol="1" spcCol="1270" anchor="t" anchorCtr="0">
          <a:noAutofit/>
        </a:bodyPr>
        <a:lstStyle/>
        <a:p>
          <a:pPr marL="114300" lvl="1" indent="-114300" algn="l" defTabSz="577850" rtl="0">
            <a:lnSpc>
              <a:spcPct val="90000"/>
            </a:lnSpc>
            <a:spcBef>
              <a:spcPct val="0"/>
            </a:spcBef>
            <a:spcAft>
              <a:spcPct val="20000"/>
            </a:spcAft>
            <a:buChar char="••"/>
          </a:pPr>
          <a:r>
            <a:rPr lang="en-US" sz="1300" kern="1200" dirty="0" smtClean="0">
              <a:solidFill>
                <a:schemeClr val="tx1"/>
              </a:solidFill>
            </a:rPr>
            <a:t>Enhance supply chain efficiency through effective agribusiness deal-making platforms  in the Northern Highlands</a:t>
          </a:r>
          <a:endParaRPr lang="en-US" sz="1300" kern="1200" dirty="0">
            <a:solidFill>
              <a:schemeClr val="tx1"/>
            </a:solidFill>
          </a:endParaRPr>
        </a:p>
        <a:p>
          <a:pPr marL="114300" lvl="1" indent="-114300" algn="l" defTabSz="577850" rtl="0">
            <a:lnSpc>
              <a:spcPct val="90000"/>
            </a:lnSpc>
            <a:spcBef>
              <a:spcPct val="0"/>
            </a:spcBef>
            <a:spcAft>
              <a:spcPct val="20000"/>
            </a:spcAft>
            <a:buChar char="••"/>
          </a:pPr>
          <a:r>
            <a:rPr lang="en-US" sz="1300" kern="1200" dirty="0" smtClean="0">
              <a:solidFill>
                <a:schemeClr val="tx1"/>
              </a:solidFill>
            </a:rPr>
            <a:t>Expand market access through value addition, structured trade, quality enhancement and aggregation in the Southern Highlands</a:t>
          </a:r>
          <a:endParaRPr lang="en-US" sz="1300" kern="1200" dirty="0">
            <a:solidFill>
              <a:schemeClr val="tx1"/>
            </a:solidFill>
          </a:endParaRPr>
        </a:p>
        <a:p>
          <a:pPr marL="114300" lvl="1" indent="-114300" algn="l" defTabSz="577850" rtl="0">
            <a:lnSpc>
              <a:spcPct val="90000"/>
            </a:lnSpc>
            <a:spcBef>
              <a:spcPct val="0"/>
            </a:spcBef>
            <a:spcAft>
              <a:spcPct val="20000"/>
            </a:spcAft>
            <a:buChar char="••"/>
          </a:pPr>
          <a:r>
            <a:rPr lang="en-US" sz="1300" kern="1200" dirty="0" smtClean="0">
              <a:solidFill>
                <a:schemeClr val="tx1"/>
              </a:solidFill>
            </a:rPr>
            <a:t>Strengthen input supply systems and linkages to output markets to facilitate the uptake of yield-enhancing agricultural technologies in the Western Highlands</a:t>
          </a:r>
          <a:endParaRPr lang="en-US" sz="1300" kern="1200" dirty="0">
            <a:solidFill>
              <a:schemeClr val="tx1"/>
            </a:solidFill>
          </a:endParaRPr>
        </a:p>
        <a:p>
          <a:pPr marL="114300" lvl="1" indent="-114300" algn="l" defTabSz="577850" rtl="0">
            <a:lnSpc>
              <a:spcPct val="90000"/>
            </a:lnSpc>
            <a:spcBef>
              <a:spcPct val="0"/>
            </a:spcBef>
            <a:spcAft>
              <a:spcPct val="20000"/>
            </a:spcAft>
            <a:buChar char="••"/>
          </a:pPr>
          <a:r>
            <a:rPr lang="en-US" sz="1300" kern="1200" dirty="0" smtClean="0">
              <a:solidFill>
                <a:schemeClr val="tx1"/>
              </a:solidFill>
            </a:rPr>
            <a:t>Promote women empowerment in agriculture and active participation in decision making and benefit more from the downstream portion of value chain activities such as marketing, processing and trade</a:t>
          </a:r>
          <a:endParaRPr lang="en-US" sz="1300" kern="1200" dirty="0">
            <a:solidFill>
              <a:schemeClr val="tx1"/>
            </a:solidFill>
          </a:endParaRPr>
        </a:p>
      </dsp:txBody>
      <dsp:txXfrm>
        <a:off x="0" y="2118824"/>
        <a:ext cx="9005453" cy="137240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37840" cy="464820"/>
          </a:xfrm>
          <a:prstGeom prst="rect">
            <a:avLst/>
          </a:prstGeom>
          <a:noFill/>
          <a:ln>
            <a:noFill/>
          </a:ln>
        </p:spPr>
        <p:txBody>
          <a:bodyPr spcFirstLastPara="1" wrap="square" lIns="93175" tIns="46575" rIns="93175" bIns="46575"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970938" y="0"/>
            <a:ext cx="3037840" cy="464820"/>
          </a:xfrm>
          <a:prstGeom prst="rect">
            <a:avLst/>
          </a:prstGeom>
          <a:noFill/>
          <a:ln>
            <a:noFill/>
          </a:ln>
        </p:spPr>
        <p:txBody>
          <a:bodyPr spcFirstLastPara="1" wrap="square" lIns="93175" tIns="46575" rIns="93175" bIns="46575"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829967"/>
            <a:ext cx="3037840" cy="464820"/>
          </a:xfrm>
          <a:prstGeom prst="rect">
            <a:avLst/>
          </a:prstGeom>
          <a:noFill/>
          <a:ln>
            <a:noFill/>
          </a:ln>
        </p:spPr>
        <p:txBody>
          <a:bodyPr spcFirstLastPara="1" wrap="square" lIns="93175" tIns="46575" rIns="93175" bIns="46575"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09548250"/>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1:notes"/>
          <p:cNvSpPr txBox="1">
            <a:spLocks noGrp="1"/>
          </p:cNvSpPr>
          <p:nvPr>
            <p:ph type="body" idx="1"/>
          </p:nvPr>
        </p:nvSpPr>
        <p:spPr>
          <a:xfrm>
            <a:off x="701040"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156" name="Google Shape;156;p1: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000908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701041"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200" b="0" i="0" u="none" strike="noStrike" kern="0" cap="none" spc="0" normalizeH="0" baseline="0" noProof="0" dirty="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2512478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701040"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249" name="Google Shape;249;p14: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272883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701040"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412288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050006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977425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3</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3270792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52839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413028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681464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6426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p:cNvGrpSpPr/>
        <p:nvPr/>
      </p:nvGrpSpPr>
      <p:grpSpPr>
        <a:xfrm>
          <a:off x="0" y="0"/>
          <a:ext cx="0" cy="0"/>
          <a:chOff x="0" y="0"/>
          <a:chExt cx="0" cy="0"/>
        </a:xfrm>
      </p:grpSpPr>
      <p:sp>
        <p:nvSpPr>
          <p:cNvPr id="163" name="Google Shape;163;p2:notes"/>
          <p:cNvSpPr txBox="1">
            <a:spLocks noGrp="1"/>
          </p:cNvSpPr>
          <p:nvPr>
            <p:ph type="body" idx="1"/>
          </p:nvPr>
        </p:nvSpPr>
        <p:spPr>
          <a:xfrm>
            <a:off x="701040"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164" name="Google Shape;164;p2: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705179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111026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36266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42</a:t>
            </a:fld>
            <a:endParaRPr lang="en-US" dirty="0"/>
          </a:p>
        </p:txBody>
      </p:sp>
    </p:spTree>
    <p:extLst>
      <p:ext uri="{BB962C8B-B14F-4D97-AF65-F5344CB8AC3E}">
        <p14:creationId xmlns:p14="http://schemas.microsoft.com/office/powerpoint/2010/main" val="515203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346696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75557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515443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219395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8"/>
        <p:cNvGrpSpPr/>
        <p:nvPr/>
      </p:nvGrpSpPr>
      <p:grpSpPr>
        <a:xfrm>
          <a:off x="0" y="0"/>
          <a:ext cx="0" cy="0"/>
          <a:chOff x="0" y="0"/>
          <a:chExt cx="0" cy="0"/>
        </a:xfrm>
      </p:grpSpPr>
      <p:sp>
        <p:nvSpPr>
          <p:cNvPr id="539" name="Google Shape;539;p38:notes"/>
          <p:cNvSpPr txBox="1">
            <a:spLocks noGrp="1"/>
          </p:cNvSpPr>
          <p:nvPr>
            <p:ph type="body" idx="1"/>
          </p:nvPr>
        </p:nvSpPr>
        <p:spPr>
          <a:xfrm>
            <a:off x="701040"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540" name="Google Shape;540;p38: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77566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8"/>
        <p:cNvGrpSpPr/>
        <p:nvPr/>
      </p:nvGrpSpPr>
      <p:grpSpPr>
        <a:xfrm>
          <a:off x="0" y="0"/>
          <a:ext cx="0" cy="0"/>
          <a:chOff x="0" y="0"/>
          <a:chExt cx="0" cy="0"/>
        </a:xfrm>
      </p:grpSpPr>
      <p:sp>
        <p:nvSpPr>
          <p:cNvPr id="539" name="Google Shape;539;p38:notes"/>
          <p:cNvSpPr txBox="1">
            <a:spLocks noGrp="1"/>
          </p:cNvSpPr>
          <p:nvPr>
            <p:ph type="body" idx="1"/>
          </p:nvPr>
        </p:nvSpPr>
        <p:spPr>
          <a:xfrm>
            <a:off x="701041"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540" name="Google Shape;540;p38: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dirty="0"/>
          </a:p>
        </p:txBody>
      </p:sp>
    </p:spTree>
    <p:extLst>
      <p:ext uri="{BB962C8B-B14F-4D97-AF65-F5344CB8AC3E}">
        <p14:creationId xmlns:p14="http://schemas.microsoft.com/office/powerpoint/2010/main" val="23087632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73025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
        <p:cNvGrpSpPr/>
        <p:nvPr/>
      </p:nvGrpSpPr>
      <p:grpSpPr>
        <a:xfrm>
          <a:off x="0" y="0"/>
          <a:ext cx="0" cy="0"/>
          <a:chOff x="0" y="0"/>
          <a:chExt cx="0" cy="0"/>
        </a:xfrm>
      </p:grpSpPr>
      <p:sp>
        <p:nvSpPr>
          <p:cNvPr id="171" name="Google Shape;171;p3:notes"/>
          <p:cNvSpPr txBox="1">
            <a:spLocks noGrp="1"/>
          </p:cNvSpPr>
          <p:nvPr>
            <p:ph type="body" idx="1"/>
          </p:nvPr>
        </p:nvSpPr>
        <p:spPr>
          <a:xfrm>
            <a:off x="701040"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172" name="Google Shape;172;p3: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369910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4"/>
        <p:cNvGrpSpPr/>
        <p:nvPr/>
      </p:nvGrpSpPr>
      <p:grpSpPr>
        <a:xfrm>
          <a:off x="0" y="0"/>
          <a:ext cx="0" cy="0"/>
          <a:chOff x="0" y="0"/>
          <a:chExt cx="0" cy="0"/>
        </a:xfrm>
      </p:grpSpPr>
      <p:sp>
        <p:nvSpPr>
          <p:cNvPr id="545" name="Google Shape;545;p39:notes"/>
          <p:cNvSpPr txBox="1">
            <a:spLocks noGrp="1"/>
          </p:cNvSpPr>
          <p:nvPr>
            <p:ph type="body" idx="1"/>
          </p:nvPr>
        </p:nvSpPr>
        <p:spPr>
          <a:xfrm>
            <a:off x="701040"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546" name="Google Shape;546;p39: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750506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39900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14062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67143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853396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701040"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439852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701040"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58382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316.xml"/><Relationship Id="rId1" Type="http://schemas.openxmlformats.org/officeDocument/2006/relationships/vmlDrawing" Target="../drawings/vmlDrawing87.vml"/><Relationship Id="rId5" Type="http://schemas.openxmlformats.org/officeDocument/2006/relationships/image" Target="../media/image11.emf"/><Relationship Id="rId4" Type="http://schemas.openxmlformats.org/officeDocument/2006/relationships/oleObject" Target="../embeddings/oleObject87.bin"/></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318.xml"/><Relationship Id="rId2" Type="http://schemas.openxmlformats.org/officeDocument/2006/relationships/tags" Target="../tags/tag317.xml"/><Relationship Id="rId1" Type="http://schemas.openxmlformats.org/officeDocument/2006/relationships/vmlDrawing" Target="../drawings/vmlDrawing88.vml"/><Relationship Id="rId6" Type="http://schemas.openxmlformats.org/officeDocument/2006/relationships/image" Target="../media/image12.emf"/><Relationship Id="rId5" Type="http://schemas.openxmlformats.org/officeDocument/2006/relationships/oleObject" Target="../embeddings/oleObject88.bin"/><Relationship Id="rId4"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336.xml"/><Relationship Id="rId1" Type="http://schemas.openxmlformats.org/officeDocument/2006/relationships/vmlDrawing" Target="../drawings/vmlDrawing90.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90.bin"/></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338.xml"/><Relationship Id="rId2" Type="http://schemas.openxmlformats.org/officeDocument/2006/relationships/tags" Target="../tags/tag337.xml"/><Relationship Id="rId1" Type="http://schemas.openxmlformats.org/officeDocument/2006/relationships/vmlDrawing" Target="../drawings/vmlDrawing91.vml"/><Relationship Id="rId6" Type="http://schemas.openxmlformats.org/officeDocument/2006/relationships/image" Target="../media/image12.emf"/><Relationship Id="rId5" Type="http://schemas.openxmlformats.org/officeDocument/2006/relationships/oleObject" Target="../embeddings/oleObject91.bin"/><Relationship Id="rId4" Type="http://schemas.openxmlformats.org/officeDocument/2006/relationships/slideMaster" Target="../slideMasters/slideMaster19.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339.xml"/><Relationship Id="rId1" Type="http://schemas.openxmlformats.org/officeDocument/2006/relationships/vmlDrawing" Target="../drawings/vmlDrawing92.vml"/><Relationship Id="rId5" Type="http://schemas.openxmlformats.org/officeDocument/2006/relationships/image" Target="../media/image11.emf"/><Relationship Id="rId4" Type="http://schemas.openxmlformats.org/officeDocument/2006/relationships/oleObject" Target="../embeddings/oleObject92.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340.xml"/><Relationship Id="rId1" Type="http://schemas.openxmlformats.org/officeDocument/2006/relationships/vmlDrawing" Target="../drawings/vmlDrawing93.vml"/><Relationship Id="rId5" Type="http://schemas.openxmlformats.org/officeDocument/2006/relationships/image" Target="../media/image11.emf"/><Relationship Id="rId4" Type="http://schemas.openxmlformats.org/officeDocument/2006/relationships/oleObject" Target="../embeddings/oleObject93.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358.xml"/><Relationship Id="rId1" Type="http://schemas.openxmlformats.org/officeDocument/2006/relationships/vmlDrawing" Target="../drawings/vmlDrawing95.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95.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vmlDrawing" Target="../drawings/vmlDrawing96.vml"/><Relationship Id="rId6" Type="http://schemas.openxmlformats.org/officeDocument/2006/relationships/image" Target="../media/image12.emf"/><Relationship Id="rId5" Type="http://schemas.openxmlformats.org/officeDocument/2006/relationships/oleObject" Target="../embeddings/oleObject96.bin"/><Relationship Id="rId4" Type="http://schemas.openxmlformats.org/officeDocument/2006/relationships/slideMaster" Target="../slideMasters/slideMaster2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361.xml"/><Relationship Id="rId1" Type="http://schemas.openxmlformats.org/officeDocument/2006/relationships/vmlDrawing" Target="../drawings/vmlDrawing97.vml"/><Relationship Id="rId5" Type="http://schemas.openxmlformats.org/officeDocument/2006/relationships/image" Target="../media/image11.emf"/><Relationship Id="rId4" Type="http://schemas.openxmlformats.org/officeDocument/2006/relationships/oleObject" Target="../embeddings/oleObject97.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363.xml"/><Relationship Id="rId2" Type="http://schemas.openxmlformats.org/officeDocument/2006/relationships/tags" Target="../tags/tag362.xml"/><Relationship Id="rId1" Type="http://schemas.openxmlformats.org/officeDocument/2006/relationships/vmlDrawing" Target="../drawings/vmlDrawing98.vml"/><Relationship Id="rId6" Type="http://schemas.openxmlformats.org/officeDocument/2006/relationships/image" Target="../media/image12.emf"/><Relationship Id="rId5" Type="http://schemas.openxmlformats.org/officeDocument/2006/relationships/oleObject" Target="../embeddings/oleObject98.bin"/><Relationship Id="rId4" Type="http://schemas.openxmlformats.org/officeDocument/2006/relationships/slideMaster" Target="../slideMasters/slideMaster20.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81.xml"/><Relationship Id="rId1" Type="http://schemas.openxmlformats.org/officeDocument/2006/relationships/vmlDrawing" Target="../drawings/vmlDrawing100.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100.bin"/></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vmlDrawing" Target="../drawings/vmlDrawing101.vml"/><Relationship Id="rId6" Type="http://schemas.openxmlformats.org/officeDocument/2006/relationships/image" Target="../media/image12.emf"/><Relationship Id="rId5" Type="http://schemas.openxmlformats.org/officeDocument/2006/relationships/oleObject" Target="../embeddings/oleObject101.bin"/><Relationship Id="rId4" Type="http://schemas.openxmlformats.org/officeDocument/2006/relationships/slideMaster" Target="../slideMasters/slideMaster2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384.xml"/><Relationship Id="rId1" Type="http://schemas.openxmlformats.org/officeDocument/2006/relationships/vmlDrawing" Target="../drawings/vmlDrawing102.vml"/><Relationship Id="rId5" Type="http://schemas.openxmlformats.org/officeDocument/2006/relationships/image" Target="../media/image11.emf"/><Relationship Id="rId4" Type="http://schemas.openxmlformats.org/officeDocument/2006/relationships/oleObject" Target="../embeddings/oleObject102.bin"/></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386.xml"/><Relationship Id="rId2" Type="http://schemas.openxmlformats.org/officeDocument/2006/relationships/tags" Target="../tags/tag385.xml"/><Relationship Id="rId1" Type="http://schemas.openxmlformats.org/officeDocument/2006/relationships/vmlDrawing" Target="../drawings/vmlDrawing103.vml"/><Relationship Id="rId6" Type="http://schemas.openxmlformats.org/officeDocument/2006/relationships/image" Target="../media/image12.emf"/><Relationship Id="rId5" Type="http://schemas.openxmlformats.org/officeDocument/2006/relationships/oleObject" Target="../embeddings/oleObject103.bin"/><Relationship Id="rId4"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3.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3.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2.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1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1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11.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image" Target="../media/image13.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image" Target="../media/image13.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image" Target="../media/image13.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image" Target="../media/image12.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6.vml"/><Relationship Id="rId6" Type="http://schemas.openxmlformats.org/officeDocument/2006/relationships/image" Target="../media/image11.emf"/><Relationship Id="rId5" Type="http://schemas.openxmlformats.org/officeDocument/2006/relationships/oleObject" Target="../embeddings/oleObject26.bin"/><Relationship Id="rId4"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7.vml"/><Relationship Id="rId6" Type="http://schemas.openxmlformats.org/officeDocument/2006/relationships/image" Target="../media/image11.emf"/><Relationship Id="rId5" Type="http://schemas.openxmlformats.org/officeDocument/2006/relationships/oleObject" Target="../embeddings/oleObject27.bin"/><Relationship Id="rId4"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image" Target="../media/image11.emf"/><Relationship Id="rId5" Type="http://schemas.openxmlformats.org/officeDocument/2006/relationships/oleObject" Target="../embeddings/oleObject28.bin"/><Relationship Id="rId4"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9.vml"/><Relationship Id="rId6" Type="http://schemas.openxmlformats.org/officeDocument/2006/relationships/image" Target="../media/image11.emf"/><Relationship Id="rId5" Type="http://schemas.openxmlformats.org/officeDocument/2006/relationships/oleObject" Target="../embeddings/oleObject29.bin"/><Relationship Id="rId4"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image" Target="../media/image13.emf"/><Relationship Id="rId5" Type="http://schemas.openxmlformats.org/officeDocument/2006/relationships/oleObject" Target="../embeddings/oleObject30.bin"/><Relationship Id="rId4"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13.emf"/><Relationship Id="rId5" Type="http://schemas.openxmlformats.org/officeDocument/2006/relationships/oleObject" Target="../embeddings/oleObject31.bin"/><Relationship Id="rId4"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13.emf"/><Relationship Id="rId5" Type="http://schemas.openxmlformats.org/officeDocument/2006/relationships/oleObject" Target="../embeddings/oleObject32.bin"/><Relationship Id="rId4"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image" Target="../media/image12.emf"/><Relationship Id="rId5" Type="http://schemas.openxmlformats.org/officeDocument/2006/relationships/oleObject" Target="../embeddings/oleObject33.bin"/><Relationship Id="rId4"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11.emf"/><Relationship Id="rId5" Type="http://schemas.openxmlformats.org/officeDocument/2006/relationships/oleObject" Target="../embeddings/oleObject35.bin"/><Relationship Id="rId4"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11.emf"/><Relationship Id="rId5" Type="http://schemas.openxmlformats.org/officeDocument/2006/relationships/oleObject" Target="../embeddings/oleObject36.bin"/><Relationship Id="rId4"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image" Target="../media/image11.emf"/><Relationship Id="rId5" Type="http://schemas.openxmlformats.org/officeDocument/2006/relationships/oleObject" Target="../embeddings/oleObject37.bin"/><Relationship Id="rId4"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11.emf"/><Relationship Id="rId5" Type="http://schemas.openxmlformats.org/officeDocument/2006/relationships/oleObject" Target="../embeddings/oleObject38.bin"/><Relationship Id="rId4"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image" Target="../media/image13.emf"/><Relationship Id="rId5" Type="http://schemas.openxmlformats.org/officeDocument/2006/relationships/oleObject" Target="../embeddings/oleObject39.bin"/><Relationship Id="rId4"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0.vml"/><Relationship Id="rId6" Type="http://schemas.openxmlformats.org/officeDocument/2006/relationships/image" Target="../media/image13.emf"/><Relationship Id="rId5" Type="http://schemas.openxmlformats.org/officeDocument/2006/relationships/oleObject" Target="../embeddings/oleObject40.bin"/><Relationship Id="rId4"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1.vml"/><Relationship Id="rId6" Type="http://schemas.openxmlformats.org/officeDocument/2006/relationships/image" Target="../media/image13.emf"/><Relationship Id="rId5" Type="http://schemas.openxmlformats.org/officeDocument/2006/relationships/oleObject" Target="../embeddings/oleObject41.bin"/><Relationship Id="rId4"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vmlDrawing" Target="../drawings/vmlDrawing43.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43.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44.vml"/><Relationship Id="rId6" Type="http://schemas.openxmlformats.org/officeDocument/2006/relationships/image" Target="../media/image21.emf"/><Relationship Id="rId5" Type="http://schemas.openxmlformats.org/officeDocument/2006/relationships/oleObject" Target="../embeddings/oleObject44.bin"/><Relationship Id="rId4"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4.xml"/><Relationship Id="rId1" Type="http://schemas.openxmlformats.org/officeDocument/2006/relationships/vmlDrawing" Target="../drawings/vmlDrawing46.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46.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1.xml"/><Relationship Id="rId1" Type="http://schemas.openxmlformats.org/officeDocument/2006/relationships/vmlDrawing" Target="../drawings/vmlDrawing48.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48.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49.vml"/><Relationship Id="rId6" Type="http://schemas.openxmlformats.org/officeDocument/2006/relationships/image" Target="../media/image21.emf"/><Relationship Id="rId5" Type="http://schemas.openxmlformats.org/officeDocument/2006/relationships/oleObject" Target="../embeddings/oleObject49.bin"/><Relationship Id="rId4"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0.xml"/><Relationship Id="rId1" Type="http://schemas.openxmlformats.org/officeDocument/2006/relationships/vmlDrawing" Target="../drawings/vmlDrawing51.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51.bin"/></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vmlDrawing" Target="../drawings/vmlDrawing52.vml"/><Relationship Id="rId6" Type="http://schemas.openxmlformats.org/officeDocument/2006/relationships/image" Target="../media/image12.emf"/><Relationship Id="rId5" Type="http://schemas.openxmlformats.org/officeDocument/2006/relationships/oleObject" Target="../embeddings/oleObject52.bin"/><Relationship Id="rId4"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3.xml"/><Relationship Id="rId1" Type="http://schemas.openxmlformats.org/officeDocument/2006/relationships/vmlDrawing" Target="../drawings/vmlDrawing53.vml"/><Relationship Id="rId5" Type="http://schemas.openxmlformats.org/officeDocument/2006/relationships/image" Target="../media/image11.emf"/><Relationship Id="rId4" Type="http://schemas.openxmlformats.org/officeDocument/2006/relationships/oleObject" Target="../embeddings/oleObject53.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4.xml"/><Relationship Id="rId1" Type="http://schemas.openxmlformats.org/officeDocument/2006/relationships/vmlDrawing" Target="../drawings/vmlDrawing54.vml"/><Relationship Id="rId5" Type="http://schemas.openxmlformats.org/officeDocument/2006/relationships/image" Target="../media/image11.emf"/><Relationship Id="rId4" Type="http://schemas.openxmlformats.org/officeDocument/2006/relationships/oleObject" Target="../embeddings/oleObject54.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1.xml"/><Relationship Id="rId1" Type="http://schemas.openxmlformats.org/officeDocument/2006/relationships/vmlDrawing" Target="../drawings/vmlDrawing56.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56.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57.vml"/><Relationship Id="rId6" Type="http://schemas.openxmlformats.org/officeDocument/2006/relationships/image" Target="../media/image11.emf"/><Relationship Id="rId5" Type="http://schemas.openxmlformats.org/officeDocument/2006/relationships/oleObject" Target="../embeddings/oleObject57.bin"/><Relationship Id="rId4"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90.xml"/><Relationship Id="rId1" Type="http://schemas.openxmlformats.org/officeDocument/2006/relationships/vmlDrawing" Target="../drawings/vmlDrawing59.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59.bin"/></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vmlDrawing" Target="../drawings/vmlDrawing60.vml"/><Relationship Id="rId6" Type="http://schemas.openxmlformats.org/officeDocument/2006/relationships/image" Target="../media/image11.emf"/><Relationship Id="rId5" Type="http://schemas.openxmlformats.org/officeDocument/2006/relationships/oleObject" Target="../embeddings/oleObject60.bin"/><Relationship Id="rId4" Type="http://schemas.openxmlformats.org/officeDocument/2006/relationships/slideMaster" Target="../slideMasters/slideMaster12.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09.xml"/><Relationship Id="rId1" Type="http://schemas.openxmlformats.org/officeDocument/2006/relationships/vmlDrawing" Target="../drawings/vmlDrawing62.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62.bin"/></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63.vml"/><Relationship Id="rId6" Type="http://schemas.openxmlformats.org/officeDocument/2006/relationships/image" Target="../media/image12.emf"/><Relationship Id="rId5" Type="http://schemas.openxmlformats.org/officeDocument/2006/relationships/oleObject" Target="../embeddings/oleObject63.bin"/><Relationship Id="rId4" Type="http://schemas.openxmlformats.org/officeDocument/2006/relationships/slideMaster" Target="../slideMasters/slideMaster1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12.xml"/><Relationship Id="rId1" Type="http://schemas.openxmlformats.org/officeDocument/2006/relationships/vmlDrawing" Target="../drawings/vmlDrawing64.vml"/><Relationship Id="rId5" Type="http://schemas.openxmlformats.org/officeDocument/2006/relationships/image" Target="../media/image11.emf"/><Relationship Id="rId4" Type="http://schemas.openxmlformats.org/officeDocument/2006/relationships/oleObject" Target="../embeddings/oleObject6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13.xml"/><Relationship Id="rId1" Type="http://schemas.openxmlformats.org/officeDocument/2006/relationships/vmlDrawing" Target="../drawings/vmlDrawing65.vml"/><Relationship Id="rId5" Type="http://schemas.openxmlformats.org/officeDocument/2006/relationships/image" Target="../media/image11.emf"/><Relationship Id="rId4" Type="http://schemas.openxmlformats.org/officeDocument/2006/relationships/oleObject" Target="../embeddings/oleObject65.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31.xml"/><Relationship Id="rId1" Type="http://schemas.openxmlformats.org/officeDocument/2006/relationships/vmlDrawing" Target="../drawings/vmlDrawing67.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67.bin"/></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vmlDrawing" Target="../drawings/vmlDrawing68.vml"/><Relationship Id="rId6" Type="http://schemas.openxmlformats.org/officeDocument/2006/relationships/image" Target="../media/image12.emf"/><Relationship Id="rId5" Type="http://schemas.openxmlformats.org/officeDocument/2006/relationships/oleObject" Target="../embeddings/oleObject68.bin"/><Relationship Id="rId4" Type="http://schemas.openxmlformats.org/officeDocument/2006/relationships/slideMaster" Target="../slideMasters/slideMaster1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34.xml"/><Relationship Id="rId1" Type="http://schemas.openxmlformats.org/officeDocument/2006/relationships/vmlDrawing" Target="../drawings/vmlDrawing69.vml"/><Relationship Id="rId5" Type="http://schemas.openxmlformats.org/officeDocument/2006/relationships/image" Target="../media/image11.emf"/><Relationship Id="rId4" Type="http://schemas.openxmlformats.org/officeDocument/2006/relationships/oleObject" Target="../embeddings/oleObject69.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35.xml"/><Relationship Id="rId1" Type="http://schemas.openxmlformats.org/officeDocument/2006/relationships/vmlDrawing" Target="../drawings/vmlDrawing70.vml"/><Relationship Id="rId5" Type="http://schemas.openxmlformats.org/officeDocument/2006/relationships/image" Target="../media/image11.emf"/><Relationship Id="rId4" Type="http://schemas.openxmlformats.org/officeDocument/2006/relationships/oleObject" Target="../embeddings/oleObject70.bin"/></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52.xml"/><Relationship Id="rId1" Type="http://schemas.openxmlformats.org/officeDocument/2006/relationships/vmlDrawing" Target="../drawings/vmlDrawing72.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72.bin"/></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73.vml"/><Relationship Id="rId6" Type="http://schemas.openxmlformats.org/officeDocument/2006/relationships/image" Target="../media/image12.emf"/><Relationship Id="rId5" Type="http://schemas.openxmlformats.org/officeDocument/2006/relationships/oleObject" Target="../embeddings/oleObject73.bin"/><Relationship Id="rId4" Type="http://schemas.openxmlformats.org/officeDocument/2006/relationships/slideMaster" Target="../slideMasters/slideMaster15.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55.xml"/><Relationship Id="rId1" Type="http://schemas.openxmlformats.org/officeDocument/2006/relationships/vmlDrawing" Target="../drawings/vmlDrawing74.vml"/><Relationship Id="rId5" Type="http://schemas.openxmlformats.org/officeDocument/2006/relationships/image" Target="../media/image11.emf"/><Relationship Id="rId4" Type="http://schemas.openxmlformats.org/officeDocument/2006/relationships/oleObject" Target="../embeddings/oleObject74.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56.xml"/><Relationship Id="rId1" Type="http://schemas.openxmlformats.org/officeDocument/2006/relationships/vmlDrawing" Target="../drawings/vmlDrawing75.vml"/><Relationship Id="rId5" Type="http://schemas.openxmlformats.org/officeDocument/2006/relationships/image" Target="../media/image11.emf"/><Relationship Id="rId4" Type="http://schemas.openxmlformats.org/officeDocument/2006/relationships/oleObject" Target="../embeddings/oleObject75.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73.xml"/><Relationship Id="rId1" Type="http://schemas.openxmlformats.org/officeDocument/2006/relationships/vmlDrawing" Target="../drawings/vmlDrawing77.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77.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75.xml"/><Relationship Id="rId2" Type="http://schemas.openxmlformats.org/officeDocument/2006/relationships/tags" Target="../tags/tag274.xml"/><Relationship Id="rId1" Type="http://schemas.openxmlformats.org/officeDocument/2006/relationships/vmlDrawing" Target="../drawings/vmlDrawing78.vml"/><Relationship Id="rId6" Type="http://schemas.openxmlformats.org/officeDocument/2006/relationships/image" Target="../media/image12.emf"/><Relationship Id="rId5" Type="http://schemas.openxmlformats.org/officeDocument/2006/relationships/oleObject" Target="../embeddings/oleObject78.bin"/><Relationship Id="rId4" Type="http://schemas.openxmlformats.org/officeDocument/2006/relationships/slideMaster" Target="../slideMasters/slideMaster1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76.xml"/><Relationship Id="rId1" Type="http://schemas.openxmlformats.org/officeDocument/2006/relationships/vmlDrawing" Target="../drawings/vmlDrawing79.vml"/><Relationship Id="rId5" Type="http://schemas.openxmlformats.org/officeDocument/2006/relationships/image" Target="../media/image11.emf"/><Relationship Id="rId4" Type="http://schemas.openxmlformats.org/officeDocument/2006/relationships/oleObject" Target="../embeddings/oleObject79.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93.xml"/><Relationship Id="rId1" Type="http://schemas.openxmlformats.org/officeDocument/2006/relationships/vmlDrawing" Target="../drawings/vmlDrawing81.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81.bin"/></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295.xml"/><Relationship Id="rId2" Type="http://schemas.openxmlformats.org/officeDocument/2006/relationships/tags" Target="../tags/tag294.xml"/><Relationship Id="rId1" Type="http://schemas.openxmlformats.org/officeDocument/2006/relationships/vmlDrawing" Target="../drawings/vmlDrawing82.vml"/><Relationship Id="rId6" Type="http://schemas.openxmlformats.org/officeDocument/2006/relationships/image" Target="../media/image12.emf"/><Relationship Id="rId5" Type="http://schemas.openxmlformats.org/officeDocument/2006/relationships/oleObject" Target="../embeddings/oleObject82.bin"/><Relationship Id="rId4"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96.xml"/><Relationship Id="rId1" Type="http://schemas.openxmlformats.org/officeDocument/2006/relationships/vmlDrawing" Target="../drawings/vmlDrawing83.vml"/><Relationship Id="rId5" Type="http://schemas.openxmlformats.org/officeDocument/2006/relationships/image" Target="../media/image11.emf"/><Relationship Id="rId4" Type="http://schemas.openxmlformats.org/officeDocument/2006/relationships/oleObject" Target="../embeddings/oleObject83.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313.xml"/><Relationship Id="rId1" Type="http://schemas.openxmlformats.org/officeDocument/2006/relationships/vmlDrawing" Target="../drawings/vmlDrawing85.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85.bin"/></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vmlDrawing" Target="../drawings/vmlDrawing86.vml"/><Relationship Id="rId6" Type="http://schemas.openxmlformats.org/officeDocument/2006/relationships/image" Target="../media/image12.emf"/><Relationship Id="rId5" Type="http://schemas.openxmlformats.org/officeDocument/2006/relationships/oleObject" Target="../embeddings/oleObject86.bin"/><Relationship Id="rId4"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rgbClr val="006547"/>
        </a:solidFill>
        <a:effectLst/>
      </p:bgPr>
    </p:bg>
    <p:spTree>
      <p:nvGrpSpPr>
        <p:cNvPr id="1" name="Shape 11"/>
        <p:cNvGrpSpPr/>
        <p:nvPr/>
      </p:nvGrpSpPr>
      <p:grpSpPr>
        <a:xfrm>
          <a:off x="0" y="0"/>
          <a:ext cx="0" cy="0"/>
          <a:chOff x="0" y="0"/>
          <a:chExt cx="0" cy="0"/>
        </a:xfrm>
      </p:grpSpPr>
      <p:pic>
        <p:nvPicPr>
          <p:cNvPr id="12" name="Google Shape;12;p2"/>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13" name="Google Shape;13;p2"/>
          <p:cNvPicPr preferRelativeResize="0"/>
          <p:nvPr/>
        </p:nvPicPr>
        <p:blipFill rotWithShape="1">
          <a:blip r:embed="rId3">
            <a:alphaModFix/>
          </a:blip>
          <a:srcRect/>
          <a:stretch/>
        </p:blipFill>
        <p:spPr>
          <a:xfrm>
            <a:off x="766" y="1"/>
            <a:ext cx="9904468" cy="4759523"/>
          </a:xfrm>
          <a:prstGeom prst="rect">
            <a:avLst/>
          </a:prstGeom>
          <a:noFill/>
          <a:ln>
            <a:noFill/>
          </a:ln>
        </p:spPr>
      </p:pic>
      <p:sp>
        <p:nvSpPr>
          <p:cNvPr id="14" name="Google Shape;14;p2"/>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3600"/>
              <a:buFont typeface="Arial"/>
              <a:buNone/>
              <a:defRPr sz="36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5" name="Google Shape;15;p2"/>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lt1"/>
              </a:buClr>
              <a:buSzPts val="1600"/>
              <a:buFont typeface="Arial"/>
              <a:buNone/>
              <a:defRPr sz="1600" b="0" i="1"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16" name="Google Shape;16;p2"/>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2_Text">
  <p:cSld name="2_Text">
    <p:spTree>
      <p:nvGrpSpPr>
        <p:cNvPr id="1" name="Shape 92"/>
        <p:cNvGrpSpPr/>
        <p:nvPr/>
      </p:nvGrpSpPr>
      <p:grpSpPr>
        <a:xfrm>
          <a:off x="0" y="0"/>
          <a:ext cx="0" cy="0"/>
          <a:chOff x="0" y="0"/>
          <a:chExt cx="0" cy="0"/>
        </a:xfrm>
      </p:grpSpPr>
      <p:pic>
        <p:nvPicPr>
          <p:cNvPr id="93" name="Google Shape;93;p16"/>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94" name="Google Shape;94;p16"/>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5" name="Google Shape;95;p16"/>
          <p:cNvSpPr txBox="1">
            <a:spLocks noGrp="1"/>
          </p:cNvSpPr>
          <p:nvPr>
            <p:ph type="body" idx="1"/>
          </p:nvPr>
        </p:nvSpPr>
        <p:spPr>
          <a:xfrm>
            <a:off x="450276" y="1066801"/>
            <a:ext cx="9005453" cy="48767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6" name="Google Shape;96;p16"/>
          <p:cNvSpPr txBox="1">
            <a:spLocks noGrp="1"/>
          </p:cNvSpPr>
          <p:nvPr>
            <p:ph type="body" idx="2"/>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8244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75"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1979700435"/>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18346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2" y="1591"/>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8" name="Title Placeholder 2"/>
          <p:cNvSpPr>
            <a:spLocks noGrp="1" noChangeArrowheads="1"/>
          </p:cNvSpPr>
          <p:nvPr>
            <p:ph type="title"/>
          </p:nvPr>
        </p:nvSpPr>
        <p:spPr bwMode="auto">
          <a:xfrm>
            <a:off x="252200" y="40457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smtClean="0"/>
              <a:t>Click to edit Master title style</a:t>
            </a:r>
          </a:p>
        </p:txBody>
      </p:sp>
    </p:spTree>
    <p:extLst>
      <p:ext uri="{BB962C8B-B14F-4D97-AF65-F5344CB8AC3E}">
        <p14:creationId xmlns:p14="http://schemas.microsoft.com/office/powerpoint/2010/main" val="1124104367"/>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2039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Arial"/>
              <a:sym typeface="Arial"/>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lang="x-none"/>
            </a:pPr>
            <a:r>
              <a:rPr kumimoji="0" lang="x-none" sz="1400" b="0" i="0" u="none" strike="noStrike" kern="1200" cap="none" spc="0" normalizeH="0" baseline="0" noProof="0" dirty="0" smtClean="0">
                <a:ln>
                  <a:noFill/>
                </a:ln>
                <a:solidFill>
                  <a:srgbClr val="FFFFFF"/>
                </a:solidFill>
                <a:effectLst/>
                <a:uLnTx/>
                <a:uFillTx/>
                <a:latin typeface="Arial"/>
                <a:ea typeface="+mn-ea"/>
                <a:cs typeface="Arial"/>
                <a:sym typeface="Arial"/>
              </a:rPr>
              <a:t>Document type | Date</a:t>
            </a:r>
          </a:p>
        </p:txBody>
      </p:sp>
    </p:spTree>
    <p:extLst>
      <p:ext uri="{BB962C8B-B14F-4D97-AF65-F5344CB8AC3E}">
        <p14:creationId xmlns:p14="http://schemas.microsoft.com/office/powerpoint/2010/main" val="34697380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204933"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a:ea typeface="+mn-ea"/>
              <a:cs typeface="+mn-cs"/>
              <a:sym typeface="Arial"/>
            </a:endParaRPr>
          </a:p>
        </p:txBody>
      </p:sp>
      <p:sp>
        <p:nvSpPr>
          <p:cNvPr id="2" name="McK 2. Slide Title"/>
          <p:cNvSpPr>
            <a:spLocks noGrp="1"/>
          </p:cNvSpPr>
          <p:nvPr>
            <p:ph type="title"/>
          </p:nvPr>
        </p:nvSpPr>
        <p:spPr>
          <a:xfrm>
            <a:off x="247650" y="342455"/>
            <a:ext cx="8007350" cy="338554"/>
          </a:xfrm>
        </p:spPr>
        <p:txBody>
          <a:bodyPr/>
          <a:lstStyle>
            <a:lvl1pPr>
              <a:defRPr sz="2200"/>
            </a:lvl1pPr>
          </a:lstStyle>
          <a:p>
            <a:r>
              <a:rPr lang="en-US" smtClean="0"/>
              <a:t>Click to edit Master title style</a:t>
            </a:r>
            <a:endParaRPr lang="en-US"/>
          </a:p>
        </p:txBody>
      </p:sp>
    </p:spTree>
    <p:extLst>
      <p:ext uri="{BB962C8B-B14F-4D97-AF65-F5344CB8AC3E}">
        <p14:creationId xmlns:p14="http://schemas.microsoft.com/office/powerpoint/2010/main" val="2296329006"/>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3" y="3"/>
          <a:ext cx="156346" cy="140074"/>
        </p:xfrm>
        <a:graphic>
          <a:graphicData uri="http://schemas.openxmlformats.org/presentationml/2006/ole">
            <mc:AlternateContent xmlns:mc="http://schemas.openxmlformats.org/markup-compatibility/2006">
              <mc:Choice xmlns:v="urn:schemas-microsoft-com:vml" Requires="v">
                <p:oleObj spid="_x0000_s20595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3"/>
                        <a:ext cx="156346"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74543" y="293191"/>
            <a:ext cx="9005454" cy="228268"/>
          </a:xfrm>
          <a:prstGeom prst="rect">
            <a:avLst/>
          </a:prstGeom>
        </p:spPr>
        <p:txBody>
          <a:bodyPr lIns="0" tIns="0" rIns="0" bIns="0" anchor="b"/>
          <a:lstStyle>
            <a:lvl1pPr marL="0" marR="0" indent="0" algn="l" defTabSz="685160" rtl="0" eaLnBrk="1" fontAlgn="auto" latinLnBrk="0" hangingPunct="1">
              <a:lnSpc>
                <a:spcPct val="90000"/>
              </a:lnSpc>
              <a:spcBef>
                <a:spcPct val="0"/>
              </a:spcBef>
              <a:spcAft>
                <a:spcPts val="0"/>
              </a:spcAft>
              <a:buClrTx/>
              <a:buSzTx/>
              <a:buFontTx/>
              <a:buNone/>
              <a:tabLst/>
              <a:defRPr lang="en-US" sz="1648" b="1" smtClean="0">
                <a:solidFill>
                  <a:schemeClr val="tx1"/>
                </a:solidFill>
                <a:latin typeface="+mn-lt"/>
              </a:defRPr>
            </a:lvl1pPr>
          </a:lstStyle>
          <a:p>
            <a:r>
              <a:rPr lang="en-US" sz="1648"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025367819"/>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511"/>
            <a:ext cx="231140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2CBB78D2-3EDF-44DD-BD93-60A225E69B3E}" type="datetimeFigureOut">
              <a:rPr kumimoji="0" lang="en-US" sz="1600" b="0" i="0" u="none" strike="noStrike" kern="1200" cap="none" spc="0" normalizeH="0" baseline="0" noProof="0" smtClean="0">
                <a:ln>
                  <a:noFill/>
                </a:ln>
                <a:solidFill>
                  <a:prstClr val="black">
                    <a:tint val="75000"/>
                  </a:prstClr>
                </a:solidFill>
                <a:effectLst/>
                <a:uLnTx/>
                <a:uFillTx/>
                <a:latin typeface="Arial" charset="0"/>
                <a:ea typeface="+mn-ea"/>
                <a:cs typeface="Arial"/>
                <a:sym typeface="Arial"/>
              </a:rPr>
              <a:pPr marL="0" marR="0" lvl="0" indent="0" algn="l" defTabSz="914400" rtl="0" eaLnBrk="1" fontAlgn="base" latinLnBrk="0" hangingPunct="1">
                <a:lnSpc>
                  <a:spcPct val="100000"/>
                </a:lnSpc>
                <a:spcBef>
                  <a:spcPct val="0"/>
                </a:spcBef>
                <a:spcAft>
                  <a:spcPct val="0"/>
                </a:spcAft>
                <a:buClrTx/>
                <a:buSzTx/>
                <a:buFontTx/>
                <a:buNone/>
                <a:tabLst/>
                <a:defRPr/>
              </a:pPr>
              <a:t>10/4/2019</a:t>
            </a:fld>
            <a:endParaRPr kumimoji="0" lang="en-US" sz="1600" b="0" i="0" u="none" strike="noStrike" kern="1200" cap="none" spc="0" normalizeH="0" baseline="0" noProof="0" dirty="0">
              <a:ln>
                <a:noFill/>
              </a:ln>
              <a:solidFill>
                <a:prstClr val="black">
                  <a:tint val="75000"/>
                </a:prstClr>
              </a:solidFill>
              <a:effectLst/>
              <a:uLnTx/>
              <a:uFillTx/>
              <a:latin typeface="Arial" charset="0"/>
              <a:ea typeface="+mn-ea"/>
              <a:cs typeface="Arial"/>
              <a:sym typeface="Arial"/>
            </a:endParaRPr>
          </a:p>
        </p:txBody>
      </p:sp>
      <p:sp>
        <p:nvSpPr>
          <p:cNvPr id="5" name="Footer Placeholder 4"/>
          <p:cNvSpPr>
            <a:spLocks noGrp="1"/>
          </p:cNvSpPr>
          <p:nvPr>
            <p:ph type="ftr" sz="quarter" idx="11"/>
          </p:nvPr>
        </p:nvSpPr>
        <p:spPr>
          <a:xfrm>
            <a:off x="3384550" y="6356511"/>
            <a:ext cx="313690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tint val="75000"/>
                </a:prstClr>
              </a:solidFill>
              <a:effectLst/>
              <a:uLnTx/>
              <a:uFillTx/>
              <a:latin typeface="Arial" charset="0"/>
              <a:ea typeface="+mn-ea"/>
              <a:cs typeface="Arial"/>
              <a:sym typeface="Arial"/>
            </a:endParaRPr>
          </a:p>
        </p:txBody>
      </p:sp>
      <p:sp>
        <p:nvSpPr>
          <p:cNvPr id="6" name="Slide Number Placeholder 5"/>
          <p:cNvSpPr>
            <a:spLocks noGrp="1"/>
          </p:cNvSpPr>
          <p:nvPr>
            <p:ph type="sldNum" sz="quarter" idx="12"/>
          </p:nvPr>
        </p:nvSpPr>
        <p:spPr>
          <a:xfrm>
            <a:off x="7099300" y="6356511"/>
            <a:ext cx="231140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FAD6F48-C937-4B90-AF1D-01ADEA9D6D76}" type="slidenum">
              <a:rPr kumimoji="0" lang="en-US" sz="1600" b="0" i="0" u="none" strike="noStrike" kern="1200" cap="none" spc="0" normalizeH="0" baseline="0" noProof="0" smtClean="0">
                <a:ln>
                  <a:noFill/>
                </a:ln>
                <a:solidFill>
                  <a:prstClr val="black">
                    <a:tint val="75000"/>
                  </a:prstClr>
                </a:solidFill>
                <a:effectLst/>
                <a:uLnTx/>
                <a:uFillTx/>
                <a:latin typeface="Arial" charset="0"/>
                <a:ea typeface="+mn-ea"/>
                <a:cs typeface="Arial"/>
                <a:sym typeface="Arial"/>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dirty="0">
              <a:ln>
                <a:noFill/>
              </a:ln>
              <a:solidFill>
                <a:prstClr val="black">
                  <a:tint val="75000"/>
                </a:prstClr>
              </a:solidFill>
              <a:effectLst/>
              <a:uLnTx/>
              <a:uFillTx/>
              <a:latin typeface="Arial" charset="0"/>
              <a:ea typeface="+mn-ea"/>
              <a:cs typeface="Arial"/>
              <a:sym typeface="Arial"/>
            </a:endParaRPr>
          </a:p>
        </p:txBody>
      </p:sp>
    </p:spTree>
    <p:extLst>
      <p:ext uri="{BB962C8B-B14F-4D97-AF65-F5344CB8AC3E}">
        <p14:creationId xmlns:p14="http://schemas.microsoft.com/office/powerpoint/2010/main" val="274769800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0698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6"/>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84"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1839633679"/>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2366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lang="x-none"/>
            </a:pPr>
            <a:r>
              <a:rPr kumimoji="0" lang="x-none" sz="1400" b="0" i="0" u="none" strike="noStrike" kern="1200" cap="none" spc="0" normalizeH="0" baseline="0" noProof="0" dirty="0" smtClean="0">
                <a:ln>
                  <a:noFill/>
                </a:ln>
                <a:solidFill>
                  <a:srgbClr val="FFFFFF"/>
                </a:solidFill>
                <a:effectLst/>
                <a:uLnTx/>
                <a:uFillTx/>
                <a:latin typeface="Arial"/>
                <a:ea typeface="+mn-ea"/>
                <a:cs typeface="+mn-cs"/>
              </a:rPr>
              <a:t>Document type | Date</a:t>
            </a:r>
          </a:p>
        </p:txBody>
      </p:sp>
    </p:spTree>
    <p:extLst>
      <p:ext uri="{BB962C8B-B14F-4D97-AF65-F5344CB8AC3E}">
        <p14:creationId xmlns:p14="http://schemas.microsoft.com/office/powerpoint/2010/main" val="229777853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23769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smtClean="0"/>
              <a:t>Click to edit Master title style</a:t>
            </a:r>
            <a:endParaRPr lang="en-US" dirty="0"/>
          </a:p>
        </p:txBody>
      </p:sp>
    </p:spTree>
    <p:extLst>
      <p:ext uri="{BB962C8B-B14F-4D97-AF65-F5344CB8AC3E}">
        <p14:creationId xmlns:p14="http://schemas.microsoft.com/office/powerpoint/2010/main" val="3863135595"/>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pPr fontAlgn="base">
              <a:spcBef>
                <a:spcPct val="0"/>
              </a:spcBef>
              <a:spcAft>
                <a:spcPct val="0"/>
              </a:spcAft>
              <a:buClrTx/>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pPr>
              <a:t>10/4/2019</a:t>
            </a:fld>
            <a:endParaRPr lang="en-US" sz="1600" kern="1200" dirty="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fontAlgn="base">
              <a:spcBef>
                <a:spcPct val="0"/>
              </a:spcBef>
              <a:spcAft>
                <a:spcPct val="0"/>
              </a:spcAft>
              <a:buClrTx/>
            </a:pPr>
            <a:endParaRPr lang="en-US" sz="1600" kern="1200" dirty="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fontAlgn="base">
              <a:spcBef>
                <a:spcPct val="0"/>
              </a:spcBef>
              <a:spcAft>
                <a:spcPct val="0"/>
              </a:spcAft>
              <a:buClrTx/>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pPr>
              <a:t>‹#›</a:t>
            </a:fld>
            <a:endParaRPr lang="en-US" sz="1600" kern="1200" dirty="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213507578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16"/>
        <p:cNvGrpSpPr/>
        <p:nvPr/>
      </p:nvGrpSpPr>
      <p:grpSpPr>
        <a:xfrm>
          <a:off x="0" y="0"/>
          <a:ext cx="0" cy="0"/>
          <a:chOff x="0" y="0"/>
          <a:chExt cx="0" cy="0"/>
        </a:xfrm>
      </p:grpSpPr>
      <p:pic>
        <p:nvPicPr>
          <p:cNvPr id="117" name="Google Shape;117;p18"/>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118" name="Google Shape;118;p18"/>
          <p:cNvSpPr txBox="1">
            <a:spLocks noGrp="1"/>
          </p:cNvSpPr>
          <p:nvPr>
            <p:ph type="body" idx="1"/>
          </p:nvPr>
        </p:nvSpPr>
        <p:spPr>
          <a:xfrm>
            <a:off x="450326" y="1008557"/>
            <a:ext cx="4319158" cy="460302"/>
          </a:xfrm>
          <a:prstGeom prst="rect">
            <a:avLst/>
          </a:prstGeom>
          <a:solidFill>
            <a:srgbClr val="3F5F1F"/>
          </a:solidFill>
          <a:ln>
            <a:noFill/>
          </a:ln>
        </p:spPr>
        <p:txBody>
          <a:bodyPr spcFirstLastPara="1" wrap="square" lIns="0" tIns="0" rIns="0" bIns="0" anchor="ctr" anchorCtr="0"/>
          <a:lstStyle>
            <a:lvl1pPr marL="457200" marR="0" lvl="0" indent="-228600" algn="ctr" rtl="0">
              <a:lnSpc>
                <a:spcPct val="90000"/>
              </a:lnSpc>
              <a:spcBef>
                <a:spcPts val="1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119" name="Google Shape;119;p18"/>
          <p:cNvCxnSpPr/>
          <p:nvPr/>
        </p:nvCxnSpPr>
        <p:spPr>
          <a:xfrm>
            <a:off x="450322" y="1549540"/>
            <a:ext cx="4308549" cy="0"/>
          </a:xfrm>
          <a:prstGeom prst="straightConnector1">
            <a:avLst/>
          </a:prstGeom>
          <a:noFill/>
          <a:ln w="9525" cap="flat" cmpd="sng">
            <a:solidFill>
              <a:schemeClr val="dk1"/>
            </a:solidFill>
            <a:prstDash val="solid"/>
            <a:miter lim="800000"/>
            <a:headEnd type="none" w="sm" len="sm"/>
            <a:tailEnd type="none" w="sm" len="sm"/>
          </a:ln>
        </p:spPr>
      </p:cxnSp>
      <p:sp>
        <p:nvSpPr>
          <p:cNvPr id="120" name="Google Shape;120;p18"/>
          <p:cNvSpPr txBox="1">
            <a:spLocks noGrp="1"/>
          </p:cNvSpPr>
          <p:nvPr>
            <p:ph type="body" idx="2"/>
          </p:nvPr>
        </p:nvSpPr>
        <p:spPr>
          <a:xfrm>
            <a:off x="450326" y="1644574"/>
            <a:ext cx="4319158" cy="4222236"/>
          </a:xfrm>
          <a:prstGeom prst="rect">
            <a:avLst/>
          </a:prstGeom>
          <a:noFill/>
          <a:ln>
            <a:noFill/>
          </a:ln>
        </p:spPr>
        <p:txBody>
          <a:bodyPr spcFirstLastPara="1" wrap="square" lIns="0" tIns="0" rIns="0" bIns="0" anchor="t" anchorCtr="0"/>
          <a:lstStyle>
            <a:lvl1pPr marL="457200" marR="0" lvl="0" indent="-317500" algn="l"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304800" algn="l" rtl="0">
              <a:lnSpc>
                <a:spcPct val="90000"/>
              </a:lnSpc>
              <a:spcBef>
                <a:spcPts val="500"/>
              </a:spcBef>
              <a:spcAft>
                <a:spcPts val="0"/>
              </a:spcAft>
              <a:buClr>
                <a:schemeClr val="dk1"/>
              </a:buClr>
              <a:buSzPts val="1200"/>
              <a:buFont typeface="Noto Sans Symbols"/>
              <a:buChar char="✓"/>
              <a:defRPr sz="1200" b="0" i="0" u="none" strike="noStrike" cap="none">
                <a:solidFill>
                  <a:schemeClr val="dk1"/>
                </a:solidFill>
                <a:latin typeface="Arial"/>
                <a:ea typeface="Arial"/>
                <a:cs typeface="Arial"/>
                <a:sym typeface="Arial"/>
              </a:defRPr>
            </a:lvl2pPr>
            <a:lvl3pPr marL="1371600" marR="0" lvl="2" indent="-304800" algn="l" rtl="0">
              <a:lnSpc>
                <a:spcPct val="90000"/>
              </a:lnSpc>
              <a:spcBef>
                <a:spcPts val="500"/>
              </a:spcBef>
              <a:spcAft>
                <a:spcPts val="0"/>
              </a:spcAft>
              <a:buClr>
                <a:schemeClr val="dk1"/>
              </a:buClr>
              <a:buSzPts val="1200"/>
              <a:buFont typeface="Courier New"/>
              <a:buChar char="o"/>
              <a:defRPr sz="1200" b="0" i="0" u="none" strike="noStrike" cap="none">
                <a:solidFill>
                  <a:schemeClr val="dk1"/>
                </a:solidFill>
                <a:latin typeface="Arial"/>
                <a:ea typeface="Arial"/>
                <a:cs typeface="Arial"/>
                <a:sym typeface="Arial"/>
              </a:defRPr>
            </a:lvl3pPr>
            <a:lvl4pPr marL="1828800" marR="0" lvl="3" indent="-304800" algn="l" rtl="0">
              <a:lnSpc>
                <a:spcPct val="90000"/>
              </a:lnSpc>
              <a:spcBef>
                <a:spcPts val="500"/>
              </a:spcBef>
              <a:spcAft>
                <a:spcPts val="0"/>
              </a:spcAft>
              <a:buClr>
                <a:schemeClr val="dk1"/>
              </a:buClr>
              <a:buSzPts val="1200"/>
              <a:buFont typeface="Noto Sans Symbols"/>
              <a:buChar char="➢"/>
              <a:defRPr sz="12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1" name="Google Shape;121;p18"/>
          <p:cNvSpPr txBox="1">
            <a:spLocks noGrp="1"/>
          </p:cNvSpPr>
          <p:nvPr>
            <p:ph type="body" idx="3"/>
          </p:nvPr>
        </p:nvSpPr>
        <p:spPr>
          <a:xfrm>
            <a:off x="5151120" y="1009149"/>
            <a:ext cx="4304296" cy="460302"/>
          </a:xfrm>
          <a:prstGeom prst="rect">
            <a:avLst/>
          </a:prstGeom>
          <a:solidFill>
            <a:srgbClr val="3F5F1F"/>
          </a:solidFill>
          <a:ln>
            <a:noFill/>
          </a:ln>
        </p:spPr>
        <p:txBody>
          <a:bodyPr spcFirstLastPara="1" wrap="square" lIns="0" tIns="0" rIns="0" bIns="0" anchor="ctr" anchorCtr="0"/>
          <a:lstStyle>
            <a:lvl1pPr marL="457200" marR="0" lvl="0" indent="-228600" algn="ctr" rtl="0">
              <a:lnSpc>
                <a:spcPct val="90000"/>
              </a:lnSpc>
              <a:spcBef>
                <a:spcPts val="1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122" name="Google Shape;122;p18"/>
          <p:cNvCxnSpPr/>
          <p:nvPr/>
        </p:nvCxnSpPr>
        <p:spPr>
          <a:xfrm>
            <a:off x="5151120" y="1550132"/>
            <a:ext cx="4304297" cy="0"/>
          </a:xfrm>
          <a:prstGeom prst="straightConnector1">
            <a:avLst/>
          </a:prstGeom>
          <a:noFill/>
          <a:ln w="9525" cap="flat" cmpd="sng">
            <a:solidFill>
              <a:schemeClr val="dk1"/>
            </a:solidFill>
            <a:prstDash val="solid"/>
            <a:miter lim="800000"/>
            <a:headEnd type="none" w="sm" len="sm"/>
            <a:tailEnd type="none" w="sm" len="sm"/>
          </a:ln>
        </p:spPr>
      </p:cxnSp>
      <p:sp>
        <p:nvSpPr>
          <p:cNvPr id="123" name="Google Shape;123;p18"/>
          <p:cNvSpPr txBox="1">
            <a:spLocks noGrp="1"/>
          </p:cNvSpPr>
          <p:nvPr>
            <p:ph type="body" idx="4"/>
          </p:nvPr>
        </p:nvSpPr>
        <p:spPr>
          <a:xfrm>
            <a:off x="5151120" y="1645165"/>
            <a:ext cx="4304296" cy="4222236"/>
          </a:xfrm>
          <a:prstGeom prst="rect">
            <a:avLst/>
          </a:prstGeom>
          <a:noFill/>
          <a:ln>
            <a:noFill/>
          </a:ln>
        </p:spPr>
        <p:txBody>
          <a:bodyPr spcFirstLastPara="1" wrap="square" lIns="0" tIns="0" rIns="0" bIns="0" anchor="t" anchorCtr="0"/>
          <a:lstStyle>
            <a:lvl1pPr marL="457200" marR="0" lvl="0" indent="-310642" algn="l" rtl="0">
              <a:lnSpc>
                <a:spcPct val="90000"/>
              </a:lnSpc>
              <a:spcBef>
                <a:spcPts val="1000"/>
              </a:spcBef>
              <a:spcAft>
                <a:spcPts val="0"/>
              </a:spcAft>
              <a:buClr>
                <a:schemeClr val="dk1"/>
              </a:buClr>
              <a:buSzPts val="1292"/>
              <a:buFont typeface="Arial"/>
              <a:buChar char="•"/>
              <a:defRPr sz="1292"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Noto Sans Symbols"/>
              <a:buChar char="✓"/>
              <a:defRPr sz="1108" b="0" i="0" u="none" strike="noStrike" cap="none">
                <a:solidFill>
                  <a:schemeClr val="dk1"/>
                </a:solidFill>
                <a:latin typeface="Arial"/>
                <a:ea typeface="Arial"/>
                <a:cs typeface="Arial"/>
                <a:sym typeface="Arial"/>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Arial"/>
                <a:ea typeface="Arial"/>
                <a:cs typeface="Arial"/>
                <a:sym typeface="Arial"/>
              </a:defRPr>
            </a:lvl3pPr>
            <a:lvl4pPr marL="1828800" marR="0" lvl="3" indent="-298958" algn="l" rtl="0">
              <a:lnSpc>
                <a:spcPct val="90000"/>
              </a:lnSpc>
              <a:spcBef>
                <a:spcPts val="500"/>
              </a:spcBef>
              <a:spcAft>
                <a:spcPts val="0"/>
              </a:spcAft>
              <a:buClr>
                <a:schemeClr val="dk1"/>
              </a:buClr>
              <a:buSzPts val="1108"/>
              <a:buFont typeface="Noto Sans Symbols"/>
              <a:buChar char="➢"/>
              <a:defRPr sz="1108"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4" name="Google Shape;124;p18"/>
          <p:cNvSpPr txBox="1">
            <a:spLocks noGrp="1"/>
          </p:cNvSpPr>
          <p:nvPr>
            <p:ph type="body" idx="5"/>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5" name="Google Shape;125;p18"/>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3871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75"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2613465099"/>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23974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2" y="1591"/>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8" name="Title Placeholder 2"/>
          <p:cNvSpPr>
            <a:spLocks noGrp="1" noChangeArrowheads="1"/>
          </p:cNvSpPr>
          <p:nvPr>
            <p:ph type="title"/>
          </p:nvPr>
        </p:nvSpPr>
        <p:spPr bwMode="auto">
          <a:xfrm>
            <a:off x="252200" y="40457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smtClean="0"/>
              <a:t>Click to edit Master title style</a:t>
            </a:r>
          </a:p>
        </p:txBody>
      </p:sp>
    </p:spTree>
    <p:extLst>
      <p:ext uri="{BB962C8B-B14F-4D97-AF65-F5344CB8AC3E}">
        <p14:creationId xmlns:p14="http://schemas.microsoft.com/office/powerpoint/2010/main" val="1583464205"/>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2417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lang="x-none"/>
            </a:pPr>
            <a:r>
              <a:rPr kumimoji="0" lang="x-none" sz="1400" b="0" i="0" u="none" strike="noStrike" kern="1200" cap="none" spc="0" normalizeH="0" baseline="0" noProof="0" dirty="0" smtClean="0">
                <a:ln>
                  <a:noFill/>
                </a:ln>
                <a:solidFill>
                  <a:srgbClr val="FFFFFF"/>
                </a:solidFill>
                <a:effectLst/>
                <a:uLnTx/>
                <a:uFillTx/>
                <a:latin typeface="Arial"/>
                <a:ea typeface="+mn-ea"/>
                <a:cs typeface="+mn-cs"/>
              </a:rPr>
              <a:t>Document type | Date</a:t>
            </a:r>
          </a:p>
        </p:txBody>
      </p:sp>
    </p:spTree>
    <p:extLst>
      <p:ext uri="{BB962C8B-B14F-4D97-AF65-F5344CB8AC3E}">
        <p14:creationId xmlns:p14="http://schemas.microsoft.com/office/powerpoint/2010/main" val="2232142460"/>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24281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smtClean="0"/>
              <a:t>Click to edit Master title style</a:t>
            </a:r>
            <a:endParaRPr lang="en-US" dirty="0"/>
          </a:p>
        </p:txBody>
      </p:sp>
    </p:spTree>
    <p:extLst>
      <p:ext uri="{BB962C8B-B14F-4D97-AF65-F5344CB8AC3E}">
        <p14:creationId xmlns:p14="http://schemas.microsoft.com/office/powerpoint/2010/main" val="3557046343"/>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pPr fontAlgn="base">
              <a:spcBef>
                <a:spcPct val="0"/>
              </a:spcBef>
              <a:spcAft>
                <a:spcPct val="0"/>
              </a:spcAft>
              <a:buClrTx/>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pPr>
              <a:t>10/4/2019</a:t>
            </a:fld>
            <a:endParaRPr lang="en-US" sz="1600" kern="1200" dirty="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fontAlgn="base">
              <a:spcBef>
                <a:spcPct val="0"/>
              </a:spcBef>
              <a:spcAft>
                <a:spcPct val="0"/>
              </a:spcAft>
              <a:buClrTx/>
            </a:pPr>
            <a:endParaRPr lang="en-US" sz="1600" kern="1200" dirty="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fontAlgn="base">
              <a:spcBef>
                <a:spcPct val="0"/>
              </a:spcBef>
              <a:spcAft>
                <a:spcPct val="0"/>
              </a:spcAft>
              <a:buClrTx/>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pPr>
              <a:t>‹#›</a:t>
            </a:fld>
            <a:endParaRPr lang="en-US" sz="1600" kern="1200" dirty="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2306057553"/>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4383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75"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1770765846"/>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24486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2" y="1591"/>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8" name="Title Placeholder 2"/>
          <p:cNvSpPr>
            <a:spLocks noGrp="1" noChangeArrowheads="1"/>
          </p:cNvSpPr>
          <p:nvPr>
            <p:ph type="title"/>
          </p:nvPr>
        </p:nvSpPr>
        <p:spPr bwMode="auto">
          <a:xfrm>
            <a:off x="252200" y="40457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smtClean="0"/>
              <a:t>Click to edit Master title style</a:t>
            </a:r>
          </a:p>
        </p:txBody>
      </p:sp>
    </p:spTree>
    <p:extLst>
      <p:ext uri="{BB962C8B-B14F-4D97-AF65-F5344CB8AC3E}">
        <p14:creationId xmlns:p14="http://schemas.microsoft.com/office/powerpoint/2010/main" val="146036905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2" y="3"/>
          <a:ext cx="156345" cy="140074"/>
        </p:xfrm>
        <a:graphic>
          <a:graphicData uri="http://schemas.openxmlformats.org/presentationml/2006/ole">
            <mc:AlternateContent xmlns:mc="http://schemas.openxmlformats.org/markup-compatibility/2006">
              <mc:Choice xmlns:v="urn:schemas-microsoft-com:vml" Requires="v">
                <p:oleObj spid="_x0000_s7411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031" b="1" i="0" baseline="0">
              <a:latin typeface="Calibri" panose="020F0502020204030204" pitchFamily="34" charset="0"/>
              <a:ea typeface="+mj-ea"/>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6"/>
            <a:ext cx="7245459" cy="582389"/>
          </a:xfrm>
          <a:prstGeom prst="rect">
            <a:avLst/>
          </a:prstGeom>
        </p:spPr>
        <p:txBody>
          <a:bodyPr lIns="0" tIns="0" rIns="0" bIns="0" anchor="b"/>
          <a:lstStyle>
            <a:lvl1pPr marL="0" marR="0" indent="0" algn="l" defTabSz="844078" rtl="0" eaLnBrk="1" fontAlgn="auto" latinLnBrk="0" hangingPunct="1">
              <a:lnSpc>
                <a:spcPct val="90000"/>
              </a:lnSpc>
              <a:spcBef>
                <a:spcPct val="0"/>
              </a:spcBef>
              <a:spcAft>
                <a:spcPts val="0"/>
              </a:spcAft>
              <a:buClrTx/>
              <a:buSzTx/>
              <a:buFontTx/>
              <a:buNone/>
              <a:tabLst/>
              <a:defRPr lang="en-US" sz="2031" b="1" smtClean="0">
                <a:solidFill>
                  <a:schemeClr val="tx1"/>
                </a:solidFill>
                <a:latin typeface="Arial" panose="020B0604020202020204" pitchFamily="34" charset="0"/>
                <a:cs typeface="Arial" panose="020B0604020202020204" pitchFamily="34" charset="0"/>
              </a:defRPr>
            </a:lvl1pPr>
          </a:lstStyle>
          <a:p>
            <a:r>
              <a:rPr lang="en-US" sz="2031"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5500175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7513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9562811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7528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chemeClr val="tx1"/>
              </a:solidFill>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smtClean="0"/>
              <a:t>Click to edit Master title style</a:t>
            </a:r>
            <a:endParaRPr lang="en-US" dirty="0"/>
          </a:p>
        </p:txBody>
      </p:sp>
    </p:spTree>
    <p:extLst>
      <p:ext uri="{BB962C8B-B14F-4D97-AF65-F5344CB8AC3E}">
        <p14:creationId xmlns:p14="http://schemas.microsoft.com/office/powerpoint/2010/main" val="427448649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17732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5" y="1330699"/>
            <a:ext cx="9005453" cy="4989391"/>
          </a:xfrm>
          <a:prstGeom prst="rect">
            <a:avLst/>
          </a:prstGeom>
        </p:spPr>
        <p:txBody>
          <a:bodyPr lIns="0" tIns="0" rIns="0" bIns="0">
            <a:noAutofit/>
          </a:bodyPr>
          <a:lstStyle>
            <a:lvl1pPr marL="173038" indent="-173038">
              <a:spcBef>
                <a:spcPts val="718"/>
              </a:spcBef>
              <a:defRPr sz="1600" baseline="0"/>
            </a:lvl1pPr>
            <a:lvl2pPr marL="347663" indent="-174625">
              <a:spcBef>
                <a:spcPts val="718"/>
              </a:spcBef>
              <a:buFont typeface="Wingdings" panose="05000000000000000000" pitchFamily="2" charset="2"/>
              <a:buChar char="ü"/>
              <a:defRPr sz="1400"/>
            </a:lvl2pPr>
            <a:lvl3pPr marL="509588" indent="-161925">
              <a:buFont typeface="Courier New" pitchFamily="49" charset="0"/>
              <a:buChar char="o"/>
              <a:defRPr sz="1400"/>
            </a:lvl3pPr>
            <a:lvl4pPr marL="682625" indent="-173038">
              <a:defRPr sz="14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p:nvPr>
        </p:nvSpPr>
        <p:spPr>
          <a:xfrm>
            <a:off x="450741" y="289360"/>
            <a:ext cx="9005454" cy="582389"/>
          </a:xfrm>
          <a:prstGeom prst="rect">
            <a:avLst/>
          </a:prstGeom>
        </p:spPr>
        <p:txBody>
          <a:bodyPr lIns="0" tIns="0" rIns="0" bIns="0" anchor="b"/>
          <a:lstStyle>
            <a:lvl1pPr marL="0" marR="0" indent="0" algn="l" defTabSz="914400" rtl="0" eaLnBrk="1" fontAlgn="auto" latinLnBrk="0" hangingPunct="1">
              <a:lnSpc>
                <a:spcPct val="90000"/>
              </a:lnSpc>
              <a:spcBef>
                <a:spcPct val="0"/>
              </a:spcBef>
              <a:spcAft>
                <a:spcPts val="0"/>
              </a:spcAft>
              <a:buClrTx/>
              <a:buSzTx/>
              <a:buFontTx/>
              <a:buNone/>
              <a:tabLst/>
              <a:defRPr lang="en-US" sz="2200" b="1" smtClean="0">
                <a:solidFill>
                  <a:schemeClr val="tx1"/>
                </a:solidFill>
                <a:latin typeface="+mn-lt"/>
              </a:defRPr>
            </a:lvl1pPr>
          </a:lstStyle>
          <a:p>
            <a:r>
              <a:rPr lang="en-US" sz="2200" b="1" dirty="0" smtClean="0">
                <a:solidFill>
                  <a:schemeClr val="tx1"/>
                </a:solidFill>
                <a:latin typeface="+mn-lt"/>
              </a:rPr>
              <a:t>Click to edit Master title style</a:t>
            </a:r>
            <a:endParaRPr lang="en-US" dirty="0"/>
          </a:p>
        </p:txBody>
      </p:sp>
      <p:sp>
        <p:nvSpPr>
          <p:cNvPr id="12" name="Text Placeholder 9"/>
          <p:cNvSpPr>
            <a:spLocks noGrp="1"/>
          </p:cNvSpPr>
          <p:nvPr>
            <p:ph type="body" sz="quarter" idx="37" hasCustomPrompt="1"/>
          </p:nvPr>
        </p:nvSpPr>
        <p:spPr>
          <a:xfrm>
            <a:off x="450274" y="6446487"/>
            <a:ext cx="762692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394754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15378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8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84489"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200" b="1" i="0" baseline="0" dirty="0">
              <a:latin typeface="Calibri" panose="020F0502020204030204" pitchFamily="34" charset="0"/>
              <a:ea typeface="+mj-ea"/>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smtClean="0"/>
              <a:t>Click to edit Master footer. This space is reserved for footnotes and sources only, and cannot be expanded beyond its current size. SOURCE::</a:t>
            </a:r>
            <a:r>
              <a:rPr lang="en-US" dirty="0" err="1" smtClean="0"/>
              <a:t>xxxxxxxxxxxxxxxxxxxxxxxxxxxxxxxxxxxxxxxxxxxxx</a:t>
            </a:r>
            <a:endParaRPr lang="en-US" dirty="0"/>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smtClean="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17656705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9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30527"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Style</a:t>
            </a:r>
            <a:endParaRPr lang="en-US" dirty="0"/>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798084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4850"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Style</a:t>
            </a:r>
            <a:endParaRPr lang="en-US" dirty="0"/>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185043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_Title Slide">
  <p:cSld name="1_Title Slide">
    <p:bg>
      <p:bgPr>
        <a:solidFill>
          <a:srgbClr val="006547"/>
        </a:solidFill>
        <a:effectLst/>
      </p:bgPr>
    </p:bg>
    <p:spTree>
      <p:nvGrpSpPr>
        <p:cNvPr id="1" name="Shape 21"/>
        <p:cNvGrpSpPr/>
        <p:nvPr/>
      </p:nvGrpSpPr>
      <p:grpSpPr>
        <a:xfrm>
          <a:off x="0" y="0"/>
          <a:ext cx="0" cy="0"/>
          <a:chOff x="0" y="0"/>
          <a:chExt cx="0" cy="0"/>
        </a:xfrm>
      </p:grpSpPr>
      <p:pic>
        <p:nvPicPr>
          <p:cNvPr id="22" name="Google Shape;22;p4"/>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23" name="Google Shape;23;p4"/>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3600"/>
              <a:buFont typeface="Arial"/>
              <a:buNone/>
              <a:defRPr sz="36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pic>
        <p:nvPicPr>
          <p:cNvPr id="24" name="Google Shape;24;p4"/>
          <p:cNvPicPr preferRelativeResize="0"/>
          <p:nvPr/>
        </p:nvPicPr>
        <p:blipFill rotWithShape="1">
          <a:blip r:embed="rId3">
            <a:alphaModFix/>
          </a:blip>
          <a:srcRect/>
          <a:stretch/>
        </p:blipFill>
        <p:spPr>
          <a:xfrm>
            <a:off x="767" y="3"/>
            <a:ext cx="9904468" cy="4759523"/>
          </a:xfrm>
          <a:prstGeom prst="rect">
            <a:avLst/>
          </a:prstGeom>
          <a:noFill/>
          <a:ln>
            <a:noFill/>
          </a:ln>
        </p:spPr>
      </p:pic>
      <p:sp>
        <p:nvSpPr>
          <p:cNvPr id="25" name="Google Shape;25;p4"/>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lt1"/>
              </a:buClr>
              <a:buSzPts val="1600"/>
              <a:buFont typeface="Arial"/>
              <a:buNone/>
              <a:defRPr sz="1600" b="0" i="1"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26" name="Google Shape;26;p4"/>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5874"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9753060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689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Tree>
    <p:extLst>
      <p:ext uri="{BB962C8B-B14F-4D97-AF65-F5344CB8AC3E}">
        <p14:creationId xmlns:p14="http://schemas.microsoft.com/office/powerpoint/2010/main" val="16600806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792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2843298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0003878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7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1859505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dirty="0"/>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dirty="0"/>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dirty="0"/>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28967975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4_Text">
  <p:cSld name="6_Text">
    <p:spTree>
      <p:nvGrpSpPr>
        <p:cNvPr id="1" name="Shape 73"/>
        <p:cNvGrpSpPr/>
        <p:nvPr/>
      </p:nvGrpSpPr>
      <p:grpSpPr>
        <a:xfrm>
          <a:off x="0" y="0"/>
          <a:ext cx="0" cy="0"/>
          <a:chOff x="0" y="0"/>
          <a:chExt cx="0" cy="0"/>
        </a:xfrm>
      </p:grpSpPr>
      <p:pic>
        <p:nvPicPr>
          <p:cNvPr id="74" name="Google Shape;74;p12"/>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5" name="Google Shape;75;p12"/>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6" name="Google Shape;76;p12"/>
          <p:cNvSpPr txBox="1">
            <a:spLocks noGrp="1"/>
          </p:cNvSpPr>
          <p:nvPr>
            <p:ph type="body" idx="1"/>
          </p:nvPr>
        </p:nvSpPr>
        <p:spPr>
          <a:xfrm>
            <a:off x="450276" y="1066801"/>
            <a:ext cx="9005453" cy="51815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7050319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7_Title Slide">
  <p:cSld name="8_Title Slide">
    <p:spTree>
      <p:nvGrpSpPr>
        <p:cNvPr id="1" name="Shape 84"/>
        <p:cNvGrpSpPr/>
        <p:nvPr/>
      </p:nvGrpSpPr>
      <p:grpSpPr>
        <a:xfrm>
          <a:off x="0" y="0"/>
          <a:ext cx="0" cy="0"/>
          <a:chOff x="0" y="0"/>
          <a:chExt cx="0" cy="0"/>
        </a:xfrm>
      </p:grpSpPr>
      <p:pic>
        <p:nvPicPr>
          <p:cNvPr id="85" name="Google Shape;85;p15"/>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86" name="Google Shape;86;p15"/>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7" name="Google Shape;87;p15"/>
          <p:cNvSpPr txBox="1">
            <a:spLocks noGrp="1"/>
          </p:cNvSpPr>
          <p:nvPr>
            <p:ph type="body" idx="2"/>
          </p:nvPr>
        </p:nvSpPr>
        <p:spPr>
          <a:xfrm>
            <a:off x="450588" y="127700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p15"/>
          <p:cNvSpPr txBox="1">
            <a:spLocks noGrp="1"/>
          </p:cNvSpPr>
          <p:nvPr>
            <p:ph type="body" idx="3"/>
          </p:nvPr>
        </p:nvSpPr>
        <p:spPr>
          <a:xfrm>
            <a:off x="450588" y="100806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400"/>
              <a:buFont typeface="Arial"/>
              <a:buNone/>
              <a:defRPr sz="1400" b="1"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9" name="Google Shape;89;p15"/>
          <p:cNvSpPr>
            <a:spLocks noGrp="1"/>
          </p:cNvSpPr>
          <p:nvPr>
            <p:ph type="dgm" idx="4"/>
          </p:nvPr>
        </p:nvSpPr>
        <p:spPr>
          <a:xfrm rot="5400000">
            <a:off x="4022002" y="3302283"/>
            <a:ext cx="3577155" cy="360462"/>
          </a:xfrm>
          <a:prstGeom prst="triangle">
            <a:avLst>
              <a:gd name="adj" fmla="val 50232"/>
            </a:avLst>
          </a:prstGeom>
          <a:solidFill>
            <a:srgbClr val="3F5F1F"/>
          </a:solidFill>
          <a:ln>
            <a:noFill/>
          </a:ln>
        </p:spPr>
        <p:txBody>
          <a:bodyPr spcFirstLastPara="1" wrap="square" lIns="82050" tIns="41025" rIns="82050" bIns="41025" anchor="t" anchorCtr="0"/>
          <a:lstStyle>
            <a:lvl1pPr marR="0" lvl="0" algn="l" rtl="0">
              <a:lnSpc>
                <a:spcPct val="90000"/>
              </a:lnSpc>
              <a:spcBef>
                <a:spcPts val="1000"/>
              </a:spcBef>
              <a:spcAft>
                <a:spcPts val="0"/>
              </a:spcAft>
              <a:buClr>
                <a:schemeClr val="dk2"/>
              </a:buClr>
              <a:buSzPts val="2800"/>
              <a:buFont typeface="Arial"/>
              <a:buChar char="•"/>
              <a:defRPr sz="2800" b="0" i="0" u="none" strike="noStrike" cap="none">
                <a:solidFill>
                  <a:schemeClr val="dk2"/>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0" name="Google Shape;90;p15"/>
          <p:cNvSpPr txBox="1">
            <a:spLocks noGrp="1"/>
          </p:cNvSpPr>
          <p:nvPr>
            <p:ph type="body" idx="5"/>
          </p:nvPr>
        </p:nvSpPr>
        <p:spPr>
          <a:xfrm>
            <a:off x="6138356" y="1008064"/>
            <a:ext cx="3317841" cy="4676161"/>
          </a:xfrm>
          <a:prstGeom prst="rect">
            <a:avLst/>
          </a:prstGeom>
          <a:noFill/>
          <a:ln>
            <a:noFill/>
          </a:ln>
        </p:spPr>
        <p:txBody>
          <a:bodyPr spcFirstLastPara="1" wrap="square" lIns="0" tIns="0" rIns="0" bIns="0" anchor="t" anchorCtr="0"/>
          <a:lstStyle>
            <a:lvl1pPr marL="457200" marR="0" lvl="0" indent="-317500" algn="just"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just"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1" name="Google Shape;91;p15"/>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1941900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3_Text">
  <p:cSld name="6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6714608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2304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3">
              <a:buClrTx/>
              <a:buFontTx/>
              <a:buNone/>
            </a:pPr>
            <a:endParaRPr lang="en-US" kern="1200">
              <a:solidFill>
                <a:prstClr val="black"/>
              </a:solidFill>
            </a:endParaRPr>
          </a:p>
        </p:txBody>
      </p:sp>
      <p:sp>
        <p:nvSpPr>
          <p:cNvPr id="2" name="McK 2. Slide Title"/>
          <p:cNvSpPr>
            <a:spLocks noGrp="1"/>
          </p:cNvSpPr>
          <p:nvPr>
            <p:ph type="title"/>
          </p:nvPr>
        </p:nvSpPr>
        <p:spPr>
          <a:xfrm>
            <a:off x="247650" y="388621"/>
            <a:ext cx="8007350" cy="292388"/>
          </a:xfrm>
          <a:prstGeom prst="rect">
            <a:avLst/>
          </a:prstGeom>
        </p:spPr>
        <p:txBody>
          <a:bodyPr/>
          <a:lstStyle>
            <a:lvl1pPr>
              <a:defRPr sz="1900"/>
            </a:lvl1pPr>
          </a:lstStyle>
          <a:p>
            <a:r>
              <a:rPr lang="en-US" dirty="0"/>
              <a:t>Click to edit Master title style</a:t>
            </a:r>
          </a:p>
        </p:txBody>
      </p:sp>
    </p:spTree>
    <p:extLst>
      <p:ext uri="{BB962C8B-B14F-4D97-AF65-F5344CB8AC3E}">
        <p14:creationId xmlns:p14="http://schemas.microsoft.com/office/powerpoint/2010/main" val="29887813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Title Slide">
  <p:cSld name="2_Title Slide">
    <p:bg>
      <p:bgPr>
        <a:solidFill>
          <a:srgbClr val="006547"/>
        </a:solidFill>
        <a:effectLst/>
      </p:bgPr>
    </p:bg>
    <p:spTree>
      <p:nvGrpSpPr>
        <p:cNvPr id="1" name="Shape 27"/>
        <p:cNvGrpSpPr/>
        <p:nvPr/>
      </p:nvGrpSpPr>
      <p:grpSpPr>
        <a:xfrm>
          <a:off x="0" y="0"/>
          <a:ext cx="0" cy="0"/>
          <a:chOff x="0" y="0"/>
          <a:chExt cx="0" cy="0"/>
        </a:xfrm>
      </p:grpSpPr>
      <p:pic>
        <p:nvPicPr>
          <p:cNvPr id="28" name="Google Shape;28;p5"/>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29" name="Google Shape;29;p5"/>
          <p:cNvPicPr preferRelativeResize="0"/>
          <p:nvPr/>
        </p:nvPicPr>
        <p:blipFill rotWithShape="1">
          <a:blip r:embed="rId3">
            <a:alphaModFix/>
          </a:blip>
          <a:srcRect/>
          <a:stretch/>
        </p:blipFill>
        <p:spPr>
          <a:xfrm>
            <a:off x="766" y="1"/>
            <a:ext cx="9904468" cy="4759523"/>
          </a:xfrm>
          <a:prstGeom prst="rect">
            <a:avLst/>
          </a:prstGeom>
          <a:noFill/>
          <a:ln>
            <a:noFill/>
          </a:ln>
        </p:spPr>
      </p:pic>
      <p:sp>
        <p:nvSpPr>
          <p:cNvPr id="30" name="Google Shape;30;p5"/>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3600"/>
              <a:buFont typeface="Arial"/>
              <a:buNone/>
              <a:defRPr sz="36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1" name="Google Shape;31;p5"/>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lt1"/>
              </a:buClr>
              <a:buSzPts val="1600"/>
              <a:buFont typeface="Arial"/>
              <a:buNone/>
              <a:defRPr sz="1600" b="0" i="1"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32" name="Google Shape;32;p5"/>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605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Style</a:t>
            </a:r>
            <a:endParaRPr lang="en-US" dirty="0"/>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119345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7079"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9696228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8103"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Tree>
    <p:extLst>
      <p:ext uri="{BB962C8B-B14F-4D97-AF65-F5344CB8AC3E}">
        <p14:creationId xmlns:p14="http://schemas.microsoft.com/office/powerpoint/2010/main" val="36637692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9127"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2012013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5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9088230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7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1073182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9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dirty="0"/>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dirty="0"/>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dirty="0"/>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41434003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7_Title Slide">
  <p:cSld name="8_Title Slide">
    <p:spTree>
      <p:nvGrpSpPr>
        <p:cNvPr id="1" name="Shape 84"/>
        <p:cNvGrpSpPr/>
        <p:nvPr/>
      </p:nvGrpSpPr>
      <p:grpSpPr>
        <a:xfrm>
          <a:off x="0" y="0"/>
          <a:ext cx="0" cy="0"/>
          <a:chOff x="0" y="0"/>
          <a:chExt cx="0" cy="0"/>
        </a:xfrm>
      </p:grpSpPr>
      <p:pic>
        <p:nvPicPr>
          <p:cNvPr id="85" name="Google Shape;85;p15"/>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86" name="Google Shape;86;p15"/>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7" name="Google Shape;87;p15"/>
          <p:cNvSpPr txBox="1">
            <a:spLocks noGrp="1"/>
          </p:cNvSpPr>
          <p:nvPr>
            <p:ph type="body" idx="2"/>
          </p:nvPr>
        </p:nvSpPr>
        <p:spPr>
          <a:xfrm>
            <a:off x="450588" y="127700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p15"/>
          <p:cNvSpPr txBox="1">
            <a:spLocks noGrp="1"/>
          </p:cNvSpPr>
          <p:nvPr>
            <p:ph type="body" idx="3"/>
          </p:nvPr>
        </p:nvSpPr>
        <p:spPr>
          <a:xfrm>
            <a:off x="450588" y="100806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400"/>
              <a:buFont typeface="Arial"/>
              <a:buNone/>
              <a:defRPr sz="1400" b="1"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9" name="Google Shape;89;p15"/>
          <p:cNvSpPr>
            <a:spLocks noGrp="1"/>
          </p:cNvSpPr>
          <p:nvPr>
            <p:ph type="dgm" idx="4"/>
          </p:nvPr>
        </p:nvSpPr>
        <p:spPr>
          <a:xfrm rot="5400000">
            <a:off x="4022002" y="3302283"/>
            <a:ext cx="3577155" cy="360462"/>
          </a:xfrm>
          <a:prstGeom prst="triangle">
            <a:avLst>
              <a:gd name="adj" fmla="val 50232"/>
            </a:avLst>
          </a:prstGeom>
          <a:solidFill>
            <a:srgbClr val="3F5F1F"/>
          </a:solidFill>
          <a:ln>
            <a:noFill/>
          </a:ln>
        </p:spPr>
        <p:txBody>
          <a:bodyPr spcFirstLastPara="1" wrap="square" lIns="82050" tIns="41025" rIns="82050" bIns="41025" anchor="t" anchorCtr="0"/>
          <a:lstStyle>
            <a:lvl1pPr marR="0" lvl="0" algn="l" rtl="0">
              <a:lnSpc>
                <a:spcPct val="90000"/>
              </a:lnSpc>
              <a:spcBef>
                <a:spcPts val="1000"/>
              </a:spcBef>
              <a:spcAft>
                <a:spcPts val="0"/>
              </a:spcAft>
              <a:buClr>
                <a:schemeClr val="dk2"/>
              </a:buClr>
              <a:buSzPts val="2800"/>
              <a:buFont typeface="Arial"/>
              <a:buChar char="•"/>
              <a:defRPr sz="2800" b="0" i="0" u="none" strike="noStrike" cap="none">
                <a:solidFill>
                  <a:schemeClr val="dk2"/>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0" name="Google Shape;90;p15"/>
          <p:cNvSpPr txBox="1">
            <a:spLocks noGrp="1"/>
          </p:cNvSpPr>
          <p:nvPr>
            <p:ph type="body" idx="5"/>
          </p:nvPr>
        </p:nvSpPr>
        <p:spPr>
          <a:xfrm>
            <a:off x="6138356" y="1008064"/>
            <a:ext cx="3317841" cy="4676161"/>
          </a:xfrm>
          <a:prstGeom prst="rect">
            <a:avLst/>
          </a:prstGeom>
          <a:noFill/>
          <a:ln>
            <a:noFill/>
          </a:ln>
        </p:spPr>
        <p:txBody>
          <a:bodyPr spcFirstLastPara="1" wrap="square" lIns="0" tIns="0" rIns="0" bIns="0" anchor="t" anchorCtr="0"/>
          <a:lstStyle>
            <a:lvl1pPr marL="457200" marR="0" lvl="0" indent="-317500" algn="just"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just"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1" name="Google Shape;91;p15"/>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42773049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3_Text">
  <p:cSld name="6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9131983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3424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3">
              <a:buClrTx/>
              <a:buFontTx/>
              <a:buNone/>
            </a:pPr>
            <a:endParaRPr lang="en-US" kern="1200">
              <a:solidFill>
                <a:prstClr val="black"/>
              </a:solidFill>
            </a:endParaRPr>
          </a:p>
        </p:txBody>
      </p:sp>
      <p:sp>
        <p:nvSpPr>
          <p:cNvPr id="2" name="McK 2. Slide Title"/>
          <p:cNvSpPr>
            <a:spLocks noGrp="1"/>
          </p:cNvSpPr>
          <p:nvPr>
            <p:ph type="title"/>
          </p:nvPr>
        </p:nvSpPr>
        <p:spPr>
          <a:xfrm>
            <a:off x="247650" y="388621"/>
            <a:ext cx="8007350" cy="292388"/>
          </a:xfrm>
          <a:prstGeom prst="rect">
            <a:avLst/>
          </a:prstGeom>
        </p:spPr>
        <p:txBody>
          <a:bodyPr/>
          <a:lstStyle>
            <a:lvl1pPr>
              <a:defRPr sz="1900"/>
            </a:lvl1pPr>
          </a:lstStyle>
          <a:p>
            <a:r>
              <a:rPr lang="en-US" dirty="0"/>
              <a:t>Click to edit Master title style</a:t>
            </a:r>
          </a:p>
        </p:txBody>
      </p:sp>
    </p:spTree>
    <p:extLst>
      <p:ext uri="{BB962C8B-B14F-4D97-AF65-F5344CB8AC3E}">
        <p14:creationId xmlns:p14="http://schemas.microsoft.com/office/powerpoint/2010/main" val="14297898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AGRA cover 1">
  <p:cSld name="AGRA cover 1">
    <p:bg>
      <p:bgPr>
        <a:solidFill>
          <a:srgbClr val="F9FCF6"/>
        </a:solidFill>
        <a:effectLst/>
      </p:bgPr>
    </p:bg>
    <p:spTree>
      <p:nvGrpSpPr>
        <p:cNvPr id="1" name="Shape 33"/>
        <p:cNvGrpSpPr/>
        <p:nvPr/>
      </p:nvGrpSpPr>
      <p:grpSpPr>
        <a:xfrm>
          <a:off x="0" y="0"/>
          <a:ext cx="0" cy="0"/>
          <a:chOff x="0" y="0"/>
          <a:chExt cx="0" cy="0"/>
        </a:xfrm>
      </p:grpSpPr>
      <p:sp>
        <p:nvSpPr>
          <p:cNvPr id="34" name="Google Shape;34;p6"/>
          <p:cNvSpPr/>
          <p:nvPr/>
        </p:nvSpPr>
        <p:spPr>
          <a:xfrm>
            <a:off x="0" y="0"/>
            <a:ext cx="171979" cy="158750"/>
          </a:xfrm>
          <a:prstGeom prst="rect">
            <a:avLst/>
          </a:prstGeom>
          <a:noFill/>
          <a:ln>
            <a:noFill/>
          </a:ln>
        </p:spPr>
      </p:sp>
      <p:pic>
        <p:nvPicPr>
          <p:cNvPr id="35" name="Google Shape;35;p6" descr="http://downloads.clipart.com/24666832.jpg?t=1279123826&amp;h=f68d76e4ad2619ae90f6543f6c0c93e0&amp;u=design.admin"/>
          <p:cNvPicPr preferRelativeResize="0"/>
          <p:nvPr/>
        </p:nvPicPr>
        <p:blipFill rotWithShape="1">
          <a:blip r:embed="rId2">
            <a:alphaModFix/>
          </a:blip>
          <a:srcRect/>
          <a:stretch/>
        </p:blipFill>
        <p:spPr>
          <a:xfrm>
            <a:off x="0" y="0"/>
            <a:ext cx="2022475" cy="6858000"/>
          </a:xfrm>
          <a:prstGeom prst="rect">
            <a:avLst/>
          </a:prstGeom>
          <a:noFill/>
          <a:ln>
            <a:noFill/>
          </a:ln>
        </p:spPr>
      </p:pic>
      <p:sp>
        <p:nvSpPr>
          <p:cNvPr id="36" name="Google Shape;36;p6"/>
          <p:cNvSpPr/>
          <p:nvPr/>
        </p:nvSpPr>
        <p:spPr>
          <a:xfrm rot="5400000">
            <a:off x="-1259482" y="3280330"/>
            <a:ext cx="6858000" cy="297523"/>
          </a:xfrm>
          <a:prstGeom prst="rect">
            <a:avLst/>
          </a:prstGeom>
          <a:solidFill>
            <a:srgbClr val="3F5F1F"/>
          </a:solidFill>
          <a:ln>
            <a:noFill/>
          </a:ln>
        </p:spPr>
        <p:txBody>
          <a:bodyPr spcFirstLastPara="1" wrap="square" lIns="45700" tIns="45700" rIns="45700" bIns="45700" anchor="ctr" anchorCtr="0">
            <a:noAutofit/>
          </a:bodyPr>
          <a:lstStyle/>
          <a:p>
            <a:pPr marL="0" marR="0" lvl="0" indent="0" algn="ctr" rtl="0">
              <a:spcBef>
                <a:spcPts val="0"/>
              </a:spcBef>
              <a:spcAft>
                <a:spcPts val="0"/>
              </a:spcAft>
              <a:buNone/>
            </a:pPr>
            <a:endParaRPr sz="1200">
              <a:solidFill>
                <a:srgbClr val="000000"/>
              </a:solidFill>
              <a:latin typeface="Calibri"/>
              <a:ea typeface="Calibri"/>
              <a:cs typeface="Calibri"/>
              <a:sym typeface="Calibri"/>
            </a:endParaRPr>
          </a:p>
        </p:txBody>
      </p:sp>
      <p:sp>
        <p:nvSpPr>
          <p:cNvPr id="37" name="Google Shape;37;p6"/>
          <p:cNvSpPr txBox="1">
            <a:spLocks noGrp="1"/>
          </p:cNvSpPr>
          <p:nvPr>
            <p:ph type="ctrTitle"/>
          </p:nvPr>
        </p:nvSpPr>
        <p:spPr>
          <a:xfrm>
            <a:off x="2916055" y="1524000"/>
            <a:ext cx="6508954"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dk1"/>
              </a:buClr>
              <a:buSzPts val="3200"/>
              <a:buFont typeface="Arial"/>
              <a:buNone/>
              <a:defRPr sz="3200" b="0"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8" name="Google Shape;38;p6"/>
          <p:cNvSpPr txBox="1">
            <a:spLocks noGrp="1"/>
          </p:cNvSpPr>
          <p:nvPr>
            <p:ph type="body" idx="1"/>
          </p:nvPr>
        </p:nvSpPr>
        <p:spPr>
          <a:xfrm>
            <a:off x="2916767" y="2948676"/>
            <a:ext cx="6508242" cy="546100"/>
          </a:xfrm>
          <a:prstGeom prst="rect">
            <a:avLst/>
          </a:prstGeom>
          <a:noFill/>
          <a:ln>
            <a:noFill/>
          </a:ln>
        </p:spPr>
        <p:txBody>
          <a:bodyPr spcFirstLastPara="1" wrap="square" lIns="91425" tIns="45700" rIns="91425" bIns="45700" anchor="t" anchorCtr="0"/>
          <a:lstStyle>
            <a:lvl1pPr marL="457200" marR="0" lvl="0" indent="-228600" algn="l" rtl="0">
              <a:lnSpc>
                <a:spcPct val="90000"/>
              </a:lnSpc>
              <a:spcBef>
                <a:spcPts val="1000"/>
              </a:spcBef>
              <a:spcAft>
                <a:spcPts val="0"/>
              </a:spcAft>
              <a:buClr>
                <a:schemeClr val="dk1"/>
              </a:buClr>
              <a:buSzPts val="2400"/>
              <a:buFont typeface="Arial"/>
              <a:buNone/>
              <a:defRPr sz="2400" b="0" i="1"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9" name="Google Shape;39;p6"/>
          <p:cNvSpPr txBox="1">
            <a:spLocks noGrp="1"/>
          </p:cNvSpPr>
          <p:nvPr>
            <p:ph type="body" idx="2"/>
          </p:nvPr>
        </p:nvSpPr>
        <p:spPr>
          <a:xfrm>
            <a:off x="2916767" y="3657600"/>
            <a:ext cx="6508242" cy="546100"/>
          </a:xfrm>
          <a:prstGeom prst="rect">
            <a:avLst/>
          </a:prstGeom>
          <a:noFill/>
          <a:ln>
            <a:noFill/>
          </a:ln>
        </p:spPr>
        <p:txBody>
          <a:bodyPr spcFirstLastPara="1" wrap="square" lIns="91425" tIns="45700" rIns="91425" bIns="45700" anchor="t" anchorCtr="0"/>
          <a:lstStyle>
            <a:lvl1pPr marL="457200" marR="0" lvl="0" indent="-228600" algn="l" rtl="0">
              <a:lnSpc>
                <a:spcPct val="90000"/>
              </a:lnSpc>
              <a:spcBef>
                <a:spcPts val="1000"/>
              </a:spcBef>
              <a:spcAft>
                <a:spcPts val="0"/>
              </a:spcAft>
              <a:buClr>
                <a:schemeClr val="dk1"/>
              </a:buClr>
              <a:buSzPts val="1800"/>
              <a:buFont typeface="Arial"/>
              <a:buNone/>
              <a:defRPr sz="1800" b="0" i="1"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40" name="Google Shape;40;p6"/>
          <p:cNvPicPr preferRelativeResize="0"/>
          <p:nvPr/>
        </p:nvPicPr>
        <p:blipFill rotWithShape="1">
          <a:blip r:embed="rId3">
            <a:alphaModFix/>
          </a:blip>
          <a:srcRect/>
          <a:stretch/>
        </p:blipFill>
        <p:spPr>
          <a:xfrm>
            <a:off x="7162800" y="5360773"/>
            <a:ext cx="2448862" cy="820700"/>
          </a:xfrm>
          <a:prstGeom prst="rect">
            <a:avLst/>
          </a:prstGeom>
          <a:noFill/>
          <a:ln>
            <a:noFill/>
          </a:ln>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38343"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Style</a:t>
            </a:r>
            <a:endParaRPr lang="en-US" dirty="0"/>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39985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39367"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1989289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40391"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Tree>
    <p:extLst>
      <p:ext uri="{BB962C8B-B14F-4D97-AF65-F5344CB8AC3E}">
        <p14:creationId xmlns:p14="http://schemas.microsoft.com/office/powerpoint/2010/main" val="5362015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4141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0718530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3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6887910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46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4466400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48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dirty="0"/>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dirty="0"/>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dirty="0"/>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23404359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4_Text">
  <p:cSld name="6_Text">
    <p:spTree>
      <p:nvGrpSpPr>
        <p:cNvPr id="1" name="Shape 73"/>
        <p:cNvGrpSpPr/>
        <p:nvPr/>
      </p:nvGrpSpPr>
      <p:grpSpPr>
        <a:xfrm>
          <a:off x="0" y="0"/>
          <a:ext cx="0" cy="0"/>
          <a:chOff x="0" y="0"/>
          <a:chExt cx="0" cy="0"/>
        </a:xfrm>
      </p:grpSpPr>
      <p:pic>
        <p:nvPicPr>
          <p:cNvPr id="74" name="Google Shape;74;p12"/>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5" name="Google Shape;75;p12"/>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6" name="Google Shape;76;p12"/>
          <p:cNvSpPr txBox="1">
            <a:spLocks noGrp="1"/>
          </p:cNvSpPr>
          <p:nvPr>
            <p:ph type="body" idx="1"/>
          </p:nvPr>
        </p:nvSpPr>
        <p:spPr>
          <a:xfrm>
            <a:off x="450276" y="1066801"/>
            <a:ext cx="9005453" cy="51815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9340030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7_Title Slide">
  <p:cSld name="8_Title Slide">
    <p:spTree>
      <p:nvGrpSpPr>
        <p:cNvPr id="1" name="Shape 84"/>
        <p:cNvGrpSpPr/>
        <p:nvPr/>
      </p:nvGrpSpPr>
      <p:grpSpPr>
        <a:xfrm>
          <a:off x="0" y="0"/>
          <a:ext cx="0" cy="0"/>
          <a:chOff x="0" y="0"/>
          <a:chExt cx="0" cy="0"/>
        </a:xfrm>
      </p:grpSpPr>
      <p:pic>
        <p:nvPicPr>
          <p:cNvPr id="85" name="Google Shape;85;p15"/>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86" name="Google Shape;86;p15"/>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7" name="Google Shape;87;p15"/>
          <p:cNvSpPr txBox="1">
            <a:spLocks noGrp="1"/>
          </p:cNvSpPr>
          <p:nvPr>
            <p:ph type="body" idx="2"/>
          </p:nvPr>
        </p:nvSpPr>
        <p:spPr>
          <a:xfrm>
            <a:off x="450588" y="127700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p15"/>
          <p:cNvSpPr txBox="1">
            <a:spLocks noGrp="1"/>
          </p:cNvSpPr>
          <p:nvPr>
            <p:ph type="body" idx="3"/>
          </p:nvPr>
        </p:nvSpPr>
        <p:spPr>
          <a:xfrm>
            <a:off x="450588" y="100806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400"/>
              <a:buFont typeface="Arial"/>
              <a:buNone/>
              <a:defRPr sz="1400" b="1"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9" name="Google Shape;89;p15"/>
          <p:cNvSpPr>
            <a:spLocks noGrp="1"/>
          </p:cNvSpPr>
          <p:nvPr>
            <p:ph type="dgm" idx="4"/>
          </p:nvPr>
        </p:nvSpPr>
        <p:spPr>
          <a:xfrm rot="5400000">
            <a:off x="4022002" y="3302283"/>
            <a:ext cx="3577155" cy="360462"/>
          </a:xfrm>
          <a:prstGeom prst="triangle">
            <a:avLst>
              <a:gd name="adj" fmla="val 50232"/>
            </a:avLst>
          </a:prstGeom>
          <a:solidFill>
            <a:srgbClr val="3F5F1F"/>
          </a:solidFill>
          <a:ln>
            <a:noFill/>
          </a:ln>
        </p:spPr>
        <p:txBody>
          <a:bodyPr spcFirstLastPara="1" wrap="square" lIns="82050" tIns="41025" rIns="82050" bIns="41025" anchor="t" anchorCtr="0"/>
          <a:lstStyle>
            <a:lvl1pPr marR="0" lvl="0" algn="l" rtl="0">
              <a:lnSpc>
                <a:spcPct val="90000"/>
              </a:lnSpc>
              <a:spcBef>
                <a:spcPts val="1000"/>
              </a:spcBef>
              <a:spcAft>
                <a:spcPts val="0"/>
              </a:spcAft>
              <a:buClr>
                <a:schemeClr val="dk2"/>
              </a:buClr>
              <a:buSzPts val="2800"/>
              <a:buFont typeface="Arial"/>
              <a:buChar char="•"/>
              <a:defRPr sz="2800" b="0" i="0" u="none" strike="noStrike" cap="none">
                <a:solidFill>
                  <a:schemeClr val="dk2"/>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0" name="Google Shape;90;p15"/>
          <p:cNvSpPr txBox="1">
            <a:spLocks noGrp="1"/>
          </p:cNvSpPr>
          <p:nvPr>
            <p:ph type="body" idx="5"/>
          </p:nvPr>
        </p:nvSpPr>
        <p:spPr>
          <a:xfrm>
            <a:off x="6138356" y="1008064"/>
            <a:ext cx="3317841" cy="4676161"/>
          </a:xfrm>
          <a:prstGeom prst="rect">
            <a:avLst/>
          </a:prstGeom>
          <a:noFill/>
          <a:ln>
            <a:noFill/>
          </a:ln>
        </p:spPr>
        <p:txBody>
          <a:bodyPr spcFirstLastPara="1" wrap="square" lIns="0" tIns="0" rIns="0" bIns="0" anchor="t" anchorCtr="0"/>
          <a:lstStyle>
            <a:lvl1pPr marL="457200" marR="0" lvl="0" indent="-317500" algn="just"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just"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1" name="Google Shape;91;p15"/>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16960745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3_Text">
  <p:cSld name="6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9997706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_Standard/Deliverable Cover Page">
  <p:cSld name="1_Standard/Deliverable Cover Page">
    <p:bg>
      <p:bgPr>
        <a:gradFill>
          <a:gsLst>
            <a:gs pos="0">
              <a:schemeClr val="lt1"/>
            </a:gs>
            <a:gs pos="75000">
              <a:srgbClr val="FAFAFA"/>
            </a:gs>
            <a:gs pos="100000">
              <a:srgbClr val="E1EFD8"/>
            </a:gs>
          </a:gsLst>
          <a:lin ang="5400000" scaled="0"/>
        </a:gradFill>
        <a:effectLst/>
      </p:bgPr>
    </p:bg>
    <p:spTree>
      <p:nvGrpSpPr>
        <p:cNvPr id="1" name="Shape 49"/>
        <p:cNvGrpSpPr/>
        <p:nvPr/>
      </p:nvGrpSpPr>
      <p:grpSpPr>
        <a:xfrm>
          <a:off x="0" y="0"/>
          <a:ext cx="0" cy="0"/>
          <a:chOff x="0" y="0"/>
          <a:chExt cx="0" cy="0"/>
        </a:xfrm>
      </p:grpSpPr>
      <p:pic>
        <p:nvPicPr>
          <p:cNvPr id="50" name="Google Shape;50;p8"/>
          <p:cNvPicPr preferRelativeResize="0"/>
          <p:nvPr/>
        </p:nvPicPr>
        <p:blipFill rotWithShape="1">
          <a:blip r:embed="rId2">
            <a:alphaModFix/>
          </a:blip>
          <a:srcRect/>
          <a:stretch/>
        </p:blipFill>
        <p:spPr>
          <a:xfrm>
            <a:off x="0" y="0"/>
            <a:ext cx="171979" cy="158750"/>
          </a:xfrm>
          <a:prstGeom prst="rect">
            <a:avLst/>
          </a:prstGeom>
          <a:noFill/>
          <a:ln>
            <a:noFill/>
          </a:ln>
        </p:spPr>
      </p:pic>
      <p:sp>
        <p:nvSpPr>
          <p:cNvPr id="51" name="Google Shape;51;p8"/>
          <p:cNvSpPr txBox="1">
            <a:spLocks noGrp="1"/>
          </p:cNvSpPr>
          <p:nvPr>
            <p:ph type="ctrTitle"/>
          </p:nvPr>
        </p:nvSpPr>
        <p:spPr>
          <a:xfrm>
            <a:off x="1058260" y="3726066"/>
            <a:ext cx="8397935" cy="1156710"/>
          </a:xfrm>
          <a:prstGeom prst="rect">
            <a:avLst/>
          </a:prstGeom>
          <a:noFill/>
          <a:ln>
            <a:noFill/>
          </a:ln>
        </p:spPr>
        <p:txBody>
          <a:bodyPr spcFirstLastPara="1" wrap="square" lIns="0" tIns="0" rIns="0" bIns="0" anchor="t" anchorCtr="0"/>
          <a:lstStyle>
            <a:lvl1pPr marR="0" lvl="0" algn="l" rtl="0">
              <a:lnSpc>
                <a:spcPct val="90000"/>
              </a:lnSpc>
              <a:spcBef>
                <a:spcPts val="0"/>
              </a:spcBef>
              <a:spcAft>
                <a:spcPts val="0"/>
              </a:spcAft>
              <a:buClr>
                <a:srgbClr val="385623"/>
              </a:buClr>
              <a:buSzPts val="2800"/>
              <a:buFont typeface="Arial"/>
              <a:buNone/>
              <a:defRPr sz="2800" b="1" i="0" u="none" strike="noStrike" cap="none">
                <a:solidFill>
                  <a:srgbClr val="38562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2" name="Google Shape;52;p8"/>
          <p:cNvSpPr txBox="1">
            <a:spLocks noGrp="1"/>
          </p:cNvSpPr>
          <p:nvPr>
            <p:ph type="subTitle" idx="1"/>
          </p:nvPr>
        </p:nvSpPr>
        <p:spPr>
          <a:xfrm>
            <a:off x="1058260" y="4882778"/>
            <a:ext cx="8397935" cy="826221"/>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rgbClr val="548135"/>
              </a:buClr>
              <a:buSzPts val="2200"/>
              <a:buFont typeface="Arial"/>
              <a:buNone/>
              <a:defRPr sz="2200" b="0" i="1" u="none" strike="noStrike" cap="none">
                <a:solidFill>
                  <a:srgbClr val="548135"/>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53" name="Google Shape;53;p8"/>
          <p:cNvSpPr txBox="1">
            <a:spLocks noGrp="1"/>
          </p:cNvSpPr>
          <p:nvPr>
            <p:ph type="body" idx="2"/>
          </p:nvPr>
        </p:nvSpPr>
        <p:spPr>
          <a:xfrm>
            <a:off x="1058365" y="5700181"/>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rgbClr val="548135"/>
              </a:buClr>
              <a:buSzPts val="1800"/>
              <a:buFont typeface="Arial"/>
              <a:buNone/>
              <a:defRPr sz="1800" b="0" i="0" u="none" strike="noStrike" cap="none">
                <a:solidFill>
                  <a:srgbClr val="548135"/>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4" name="Google Shape;54;p8"/>
          <p:cNvSpPr/>
          <p:nvPr/>
        </p:nvSpPr>
        <p:spPr>
          <a:xfrm>
            <a:off x="457200" y="3726066"/>
            <a:ext cx="457200" cy="365736"/>
          </a:xfrm>
          <a:prstGeom prst="rect">
            <a:avLst/>
          </a:prstGeom>
          <a:solidFill>
            <a:srgbClr val="3856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rgbClr val="FFFFFF"/>
              </a:solidFill>
              <a:latin typeface="Calibri"/>
              <a:ea typeface="Calibri"/>
              <a:cs typeface="Calibri"/>
              <a:sym typeface="Calibri"/>
            </a:endParaRPr>
          </a:p>
        </p:txBody>
      </p:sp>
      <p:sp>
        <p:nvSpPr>
          <p:cNvPr id="55" name="Google Shape;55;p8"/>
          <p:cNvSpPr>
            <a:spLocks noGrp="1"/>
          </p:cNvSpPr>
          <p:nvPr>
            <p:ph type="pic" idx="3"/>
          </p:nvPr>
        </p:nvSpPr>
        <p:spPr>
          <a:xfrm>
            <a:off x="3308000" y="0"/>
            <a:ext cx="3291840" cy="3118104"/>
          </a:xfrm>
          <a:prstGeom prst="rect">
            <a:avLst/>
          </a:prstGeom>
          <a:noFill/>
          <a:ln>
            <a:noFill/>
          </a:ln>
        </p:spPr>
        <p:txBody>
          <a:bodyPr spcFirstLastPara="1" wrap="square" lIns="91425" tIns="822950" rIns="91425" bIns="45700" anchor="t" anchorCtr="0"/>
          <a:lstStyle>
            <a:lvl1pPr marR="0" lvl="0" algn="ctr" rtl="0">
              <a:lnSpc>
                <a:spcPct val="90000"/>
              </a:lnSpc>
              <a:spcBef>
                <a:spcPts val="10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6" name="Google Shape;56;p8"/>
          <p:cNvSpPr>
            <a:spLocks noGrp="1"/>
          </p:cNvSpPr>
          <p:nvPr>
            <p:ph type="pic" idx="4"/>
          </p:nvPr>
        </p:nvSpPr>
        <p:spPr>
          <a:xfrm>
            <a:off x="0" y="0"/>
            <a:ext cx="3291840" cy="3119846"/>
          </a:xfrm>
          <a:prstGeom prst="rect">
            <a:avLst/>
          </a:prstGeom>
          <a:noFill/>
          <a:ln>
            <a:noFill/>
          </a:ln>
        </p:spPr>
        <p:txBody>
          <a:bodyPr spcFirstLastPara="1" wrap="square" lIns="91425" tIns="822950" rIns="91425" bIns="45700" anchor="t" anchorCtr="0"/>
          <a:lstStyle>
            <a:lvl1pPr marR="0" lvl="0" algn="ctr" rtl="0">
              <a:lnSpc>
                <a:spcPct val="90000"/>
              </a:lnSpc>
              <a:spcBef>
                <a:spcPts val="10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7" name="Google Shape;57;p8"/>
          <p:cNvSpPr>
            <a:spLocks noGrp="1"/>
          </p:cNvSpPr>
          <p:nvPr>
            <p:ph type="pic" idx="5"/>
          </p:nvPr>
        </p:nvSpPr>
        <p:spPr>
          <a:xfrm>
            <a:off x="6616000" y="0"/>
            <a:ext cx="3291840" cy="3118104"/>
          </a:xfrm>
          <a:prstGeom prst="rect">
            <a:avLst/>
          </a:prstGeom>
          <a:noFill/>
          <a:ln>
            <a:noFill/>
          </a:ln>
        </p:spPr>
        <p:txBody>
          <a:bodyPr spcFirstLastPara="1" wrap="square" lIns="91425" tIns="822950" rIns="91425" bIns="45700" anchor="t" anchorCtr="0"/>
          <a:lstStyle>
            <a:lvl1pPr marR="0" lvl="0" algn="ctr" rtl="0">
              <a:lnSpc>
                <a:spcPct val="90000"/>
              </a:lnSpc>
              <a:spcBef>
                <a:spcPts val="10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58" name="Google Shape;58;p8"/>
          <p:cNvPicPr preferRelativeResize="0"/>
          <p:nvPr/>
        </p:nvPicPr>
        <p:blipFill rotWithShape="1">
          <a:blip r:embed="rId3">
            <a:alphaModFix/>
          </a:blip>
          <a:srcRect/>
          <a:stretch/>
        </p:blipFill>
        <p:spPr>
          <a:xfrm>
            <a:off x="8305800" y="6172200"/>
            <a:ext cx="1391895" cy="466473"/>
          </a:xfrm>
          <a:prstGeom prst="rect">
            <a:avLst/>
          </a:prstGeom>
          <a:noFill/>
          <a:ln>
            <a:noFill/>
          </a:ln>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4653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3">
              <a:buClrTx/>
              <a:buFontTx/>
              <a:buNone/>
            </a:pPr>
            <a:endParaRPr lang="en-US" kern="1200">
              <a:solidFill>
                <a:prstClr val="black"/>
              </a:solidFill>
            </a:endParaRPr>
          </a:p>
        </p:txBody>
      </p:sp>
      <p:sp>
        <p:nvSpPr>
          <p:cNvPr id="2" name="McK 2. Slide Title"/>
          <p:cNvSpPr>
            <a:spLocks noGrp="1"/>
          </p:cNvSpPr>
          <p:nvPr>
            <p:ph type="title"/>
          </p:nvPr>
        </p:nvSpPr>
        <p:spPr>
          <a:xfrm>
            <a:off x="247650" y="388621"/>
            <a:ext cx="8007350" cy="292388"/>
          </a:xfrm>
          <a:prstGeom prst="rect">
            <a:avLst/>
          </a:prstGeom>
        </p:spPr>
        <p:txBody>
          <a:bodyPr/>
          <a:lstStyle>
            <a:lvl1pPr>
              <a:defRPr sz="1900"/>
            </a:lvl1pPr>
          </a:lstStyle>
          <a:p>
            <a:r>
              <a:rPr lang="en-US" dirty="0"/>
              <a:t>Click to edit Master title style</a:t>
            </a:r>
          </a:p>
        </p:txBody>
      </p:sp>
    </p:spTree>
    <p:extLst>
      <p:ext uri="{BB962C8B-B14F-4D97-AF65-F5344CB8AC3E}">
        <p14:creationId xmlns:p14="http://schemas.microsoft.com/office/powerpoint/2010/main" val="18341703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55729"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Style</a:t>
            </a:r>
            <a:endParaRPr lang="en-US" dirty="0"/>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4352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56753"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26510814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57777"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Tree>
    <p:extLst>
      <p:ext uri="{BB962C8B-B14F-4D97-AF65-F5344CB8AC3E}">
        <p14:creationId xmlns:p14="http://schemas.microsoft.com/office/powerpoint/2010/main" val="40473064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58801"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9291311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82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4405521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84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8579079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7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dirty="0"/>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dirty="0"/>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dirty="0"/>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8882824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679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smtClean="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smtClean="0">
                <a:solidFill>
                  <a:srgbClr val="FFFFFF"/>
                </a:solidFill>
                <a:latin typeface="Arial"/>
                <a:ea typeface="+mn-ea"/>
                <a:cs typeface="+mn-cs"/>
              </a:rPr>
              <a:t>Document type | Date</a:t>
            </a:r>
          </a:p>
        </p:txBody>
      </p:sp>
    </p:spTree>
    <p:extLst>
      <p:ext uri="{BB962C8B-B14F-4D97-AF65-F5344CB8AC3E}">
        <p14:creationId xmlns:p14="http://schemas.microsoft.com/office/powerpoint/2010/main" val="61890119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69006"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smtClean="0">
              <a:solidFill>
                <a:srgbClr val="000000"/>
              </a:solidFill>
            </a:endParaRPr>
          </a:p>
        </p:txBody>
      </p:sp>
      <p:sp>
        <p:nvSpPr>
          <p:cNvPr id="2" name="McK 2. Slide Title"/>
          <p:cNvSpPr>
            <a:spLocks noGrp="1"/>
          </p:cNvSpPr>
          <p:nvPr>
            <p:ph type="title"/>
          </p:nvPr>
        </p:nvSpPr>
        <p:spPr>
          <a:xfrm>
            <a:off x="247650" y="404011"/>
            <a:ext cx="8007350" cy="276999"/>
          </a:xfrm>
        </p:spPr>
        <p:txBody>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195049842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3_Blank">
  <p:cSld name="3_Blank">
    <p:bg>
      <p:bgPr>
        <a:solidFill>
          <a:srgbClr val="006547"/>
        </a:solidFill>
        <a:effectLst/>
      </p:bgPr>
    </p:bg>
    <p:spTree>
      <p:nvGrpSpPr>
        <p:cNvPr id="1" name="Shape 59"/>
        <p:cNvGrpSpPr/>
        <p:nvPr/>
      </p:nvGrpSpPr>
      <p:grpSpPr>
        <a:xfrm>
          <a:off x="0" y="0"/>
          <a:ext cx="0" cy="0"/>
          <a:chOff x="0" y="0"/>
          <a:chExt cx="0" cy="0"/>
        </a:xfrm>
      </p:grpSpPr>
      <p:pic>
        <p:nvPicPr>
          <p:cNvPr id="60" name="Google Shape;60;p9"/>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61" name="Google Shape;61;p9"/>
          <p:cNvPicPr preferRelativeResize="0"/>
          <p:nvPr/>
        </p:nvPicPr>
        <p:blipFill rotWithShape="1">
          <a:blip r:embed="rId3">
            <a:alphaModFix/>
          </a:blip>
          <a:srcRect/>
          <a:stretch/>
        </p:blipFill>
        <p:spPr>
          <a:xfrm>
            <a:off x="0" y="5947172"/>
            <a:ext cx="9906000" cy="910828"/>
          </a:xfrm>
          <a:prstGeom prst="rect">
            <a:avLst/>
          </a:prstGeom>
          <a:noFill/>
          <a:ln>
            <a:noFill/>
          </a:ln>
        </p:spPr>
      </p:pic>
      <p:sp>
        <p:nvSpPr>
          <p:cNvPr id="62" name="Google Shape;62;p9"/>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4400"/>
              <a:buFont typeface="Arial"/>
              <a:buNone/>
              <a:defRPr sz="44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7650" y="404011"/>
            <a:ext cx="8007350" cy="276999"/>
          </a:xfrm>
        </p:spPr>
        <p:txBody>
          <a:bodyPr/>
          <a:lstStyle>
            <a:lvl1pPr>
              <a:defRPr sz="1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511"/>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10/4/2019</a:t>
            </a:fld>
            <a:endParaRPr lang="en-US" sz="1600" kern="120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511"/>
            <a:ext cx="3136900" cy="365125"/>
          </a:xfrm>
          <a:prstGeom prst="rect">
            <a:avLst/>
          </a:prstGeom>
        </p:spPr>
        <p:txBody>
          <a:bodyPr/>
          <a:lstStyle/>
          <a:p>
            <a:pPr fontAlgn="base">
              <a:spcBef>
                <a:spcPct val="0"/>
              </a:spcBef>
              <a:spcAft>
                <a:spcPct val="0"/>
              </a:spcAft>
              <a:buClrTx/>
              <a:buFontTx/>
              <a:buNone/>
            </a:pPr>
            <a:endParaRPr lang="en-US" sz="1600" kern="120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511"/>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a:t>
            </a:fld>
            <a:endParaRPr lang="en-US" sz="1600" kern="120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1520590997"/>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20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smtClean="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smtClean="0">
                <a:solidFill>
                  <a:srgbClr val="FFFFFF"/>
                </a:solidFill>
                <a:latin typeface="Arial"/>
                <a:ea typeface="+mn-ea"/>
                <a:cs typeface="+mn-cs"/>
              </a:rPr>
              <a:t>Document type | Date</a:t>
            </a:r>
          </a:p>
        </p:txBody>
      </p:sp>
    </p:spTree>
    <p:extLst>
      <p:ext uri="{BB962C8B-B14F-4D97-AF65-F5344CB8AC3E}">
        <p14:creationId xmlns:p14="http://schemas.microsoft.com/office/powerpoint/2010/main" val="4263523598"/>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5816043"/>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098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smtClean="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smtClean="0">
                <a:solidFill>
                  <a:srgbClr val="FFFFFF"/>
                </a:solidFill>
                <a:latin typeface="Arial"/>
                <a:ea typeface="+mn-ea"/>
                <a:cs typeface="+mn-cs"/>
              </a:rPr>
              <a:t>Document type | Date</a:t>
            </a:r>
          </a:p>
        </p:txBody>
      </p:sp>
    </p:spTree>
    <p:extLst>
      <p:ext uri="{BB962C8B-B14F-4D97-AF65-F5344CB8AC3E}">
        <p14:creationId xmlns:p14="http://schemas.microsoft.com/office/powerpoint/2010/main" val="3660739257"/>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10885"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smtClean="0">
              <a:solidFill>
                <a:srgbClr val="000000"/>
              </a:solidFill>
            </a:endParaRPr>
          </a:p>
        </p:txBody>
      </p:sp>
      <p:sp>
        <p:nvSpPr>
          <p:cNvPr id="2" name="McK 2. Slide Title"/>
          <p:cNvSpPr>
            <a:spLocks noGrp="1"/>
          </p:cNvSpPr>
          <p:nvPr>
            <p:ph type="title"/>
          </p:nvPr>
        </p:nvSpPr>
        <p:spPr>
          <a:xfrm>
            <a:off x="247650" y="404011"/>
            <a:ext cx="8007350" cy="276999"/>
          </a:xfrm>
        </p:spPr>
        <p:txBody>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79009327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7650" y="404011"/>
            <a:ext cx="8007350" cy="276999"/>
          </a:xfrm>
        </p:spPr>
        <p:txBody>
          <a:bodyPr/>
          <a:lstStyle>
            <a:lvl1pPr>
              <a:defRPr sz="1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511"/>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10/4/2019</a:t>
            </a:fld>
            <a:endParaRPr lang="en-US" sz="1600" kern="120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511"/>
            <a:ext cx="3136900" cy="365125"/>
          </a:xfrm>
          <a:prstGeom prst="rect">
            <a:avLst/>
          </a:prstGeom>
        </p:spPr>
        <p:txBody>
          <a:bodyPr/>
          <a:lstStyle/>
          <a:p>
            <a:pPr fontAlgn="base">
              <a:spcBef>
                <a:spcPct val="0"/>
              </a:spcBef>
              <a:spcAft>
                <a:spcPct val="0"/>
              </a:spcAft>
              <a:buClrTx/>
              <a:buFontTx/>
              <a:buNone/>
            </a:pPr>
            <a:endParaRPr lang="en-US" sz="1600" kern="120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511"/>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a:t>
            </a:fld>
            <a:endParaRPr lang="en-US" sz="1600" kern="120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818796213"/>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139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smtClean="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smtClean="0">
                <a:solidFill>
                  <a:srgbClr val="FFFFFF"/>
                </a:solidFill>
                <a:latin typeface="Arial"/>
                <a:ea typeface="+mn-ea"/>
                <a:cs typeface="+mn-cs"/>
              </a:rPr>
              <a:t>Document type | Date</a:t>
            </a:r>
          </a:p>
        </p:txBody>
      </p:sp>
    </p:spTree>
    <p:extLst>
      <p:ext uri="{BB962C8B-B14F-4D97-AF65-F5344CB8AC3E}">
        <p14:creationId xmlns:p14="http://schemas.microsoft.com/office/powerpoint/2010/main" val="416158078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1497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smtClean="0">
              <a:solidFill>
                <a:srgbClr val="000000"/>
              </a:solidFill>
            </a:endParaRPr>
          </a:p>
        </p:txBody>
      </p:sp>
      <p:sp>
        <p:nvSpPr>
          <p:cNvPr id="2" name="McK 2. Slide Title"/>
          <p:cNvSpPr>
            <a:spLocks noGrp="1"/>
          </p:cNvSpPr>
          <p:nvPr>
            <p:ph type="title"/>
          </p:nvPr>
        </p:nvSpPr>
        <p:spPr>
          <a:xfrm>
            <a:off x="247650" y="342455"/>
            <a:ext cx="8007350" cy="338554"/>
          </a:xfrm>
        </p:spPr>
        <p:txBody>
          <a:bodyPr/>
          <a:lstStyle>
            <a:lvl1pPr>
              <a:defRPr sz="2200"/>
            </a:lvl1pPr>
          </a:lstStyle>
          <a:p>
            <a:r>
              <a:rPr lang="en-US" smtClean="0"/>
              <a:t>Click to edit Master title style</a:t>
            </a:r>
            <a:endParaRPr lang="en-US"/>
          </a:p>
        </p:txBody>
      </p:sp>
    </p:spTree>
    <p:extLst>
      <p:ext uri="{BB962C8B-B14F-4D97-AF65-F5344CB8AC3E}">
        <p14:creationId xmlns:p14="http://schemas.microsoft.com/office/powerpoint/2010/main" val="2569179701"/>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3" y="3"/>
          <a:ext cx="156346" cy="140074"/>
        </p:xfrm>
        <a:graphic>
          <a:graphicData uri="http://schemas.openxmlformats.org/presentationml/2006/ole">
            <mc:AlternateContent xmlns:mc="http://schemas.openxmlformats.org/markup-compatibility/2006">
              <mc:Choice xmlns:v="urn:schemas-microsoft-com:vml" Requires="v">
                <p:oleObj spid="_x0000_s11600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3"/>
                        <a:ext cx="156346"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74543" y="293191"/>
            <a:ext cx="9005454" cy="228268"/>
          </a:xfrm>
          <a:prstGeom prst="rect">
            <a:avLst/>
          </a:prstGeom>
        </p:spPr>
        <p:txBody>
          <a:bodyPr lIns="0" tIns="0" rIns="0" bIns="0" anchor="b"/>
          <a:lstStyle>
            <a:lvl1pPr marL="0" marR="0" indent="0" algn="l" defTabSz="685160" rtl="0" eaLnBrk="1" fontAlgn="auto" latinLnBrk="0" hangingPunct="1">
              <a:lnSpc>
                <a:spcPct val="90000"/>
              </a:lnSpc>
              <a:spcBef>
                <a:spcPct val="0"/>
              </a:spcBef>
              <a:spcAft>
                <a:spcPts val="0"/>
              </a:spcAft>
              <a:buClrTx/>
              <a:buSzTx/>
              <a:buFontTx/>
              <a:buNone/>
              <a:tabLst/>
              <a:defRPr lang="en-US" sz="1648" b="1" smtClean="0">
                <a:solidFill>
                  <a:schemeClr val="tx1"/>
                </a:solidFill>
                <a:latin typeface="+mn-lt"/>
              </a:defRPr>
            </a:lvl1pPr>
          </a:lstStyle>
          <a:p>
            <a:r>
              <a:rPr lang="en-US" sz="1648"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97996450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1702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6"/>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84"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272528844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_Text">
  <p:cSld name="3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190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smtClean="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smtClean="0">
                <a:solidFill>
                  <a:srgbClr val="FFFFFF"/>
                </a:solidFill>
                <a:latin typeface="Arial"/>
                <a:ea typeface="+mn-ea"/>
                <a:cs typeface="+mn-cs"/>
              </a:rPr>
              <a:t>Document type | Date</a:t>
            </a:r>
          </a:p>
        </p:txBody>
      </p:sp>
    </p:spTree>
    <p:extLst>
      <p:ext uri="{BB962C8B-B14F-4D97-AF65-F5344CB8AC3E}">
        <p14:creationId xmlns:p14="http://schemas.microsoft.com/office/powerpoint/2010/main" val="60710977"/>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200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3"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smtClean="0">
              <a:solidFill>
                <a:srgbClr val="000000"/>
              </a:solidFill>
            </a:endParaRPr>
          </a:p>
        </p:txBody>
      </p:sp>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91049689"/>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221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smtClean="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smtClean="0">
                <a:solidFill>
                  <a:srgbClr val="FFFFFF"/>
                </a:solidFill>
                <a:latin typeface="Arial"/>
                <a:ea typeface="+mn-ea"/>
                <a:cs typeface="+mn-cs"/>
              </a:rPr>
              <a:t>Document type | Date</a:t>
            </a:r>
          </a:p>
        </p:txBody>
      </p:sp>
    </p:spTree>
    <p:extLst>
      <p:ext uri="{BB962C8B-B14F-4D97-AF65-F5344CB8AC3E}">
        <p14:creationId xmlns:p14="http://schemas.microsoft.com/office/powerpoint/2010/main" val="1234857969"/>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231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3"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smtClean="0">
              <a:solidFill>
                <a:srgbClr val="000000"/>
              </a:solidFill>
            </a:endParaRPr>
          </a:p>
        </p:txBody>
      </p:sp>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6410182"/>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292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smtClean="0">
              <a:solidFill>
                <a:srgbClr val="000000"/>
              </a:solidFill>
              <a:latin typeface="Arial"/>
              <a:ea typeface="+mn-ea"/>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smtClean="0">
                <a:solidFill>
                  <a:srgbClr val="FFFFFF"/>
                </a:solidFill>
                <a:latin typeface="Arial"/>
                <a:ea typeface="+mn-ea"/>
              </a:rPr>
              <a:t>Document type | Date</a:t>
            </a:r>
          </a:p>
        </p:txBody>
      </p:sp>
    </p:spTree>
    <p:extLst>
      <p:ext uri="{BB962C8B-B14F-4D97-AF65-F5344CB8AC3E}">
        <p14:creationId xmlns:p14="http://schemas.microsoft.com/office/powerpoint/2010/main" val="415312064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3031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smtClean="0">
              <a:solidFill>
                <a:srgbClr val="000000"/>
              </a:solidFill>
            </a:endParaRPr>
          </a:p>
        </p:txBody>
      </p:sp>
      <p:sp>
        <p:nvSpPr>
          <p:cNvPr id="2" name="McK 2. Slide Title"/>
          <p:cNvSpPr>
            <a:spLocks noGrp="1"/>
          </p:cNvSpPr>
          <p:nvPr>
            <p:ph type="title"/>
          </p:nvPr>
        </p:nvSpPr>
        <p:spPr>
          <a:xfrm>
            <a:off x="247650" y="342455"/>
            <a:ext cx="8007350" cy="338554"/>
          </a:xfrm>
        </p:spPr>
        <p:txBody>
          <a:bodyPr/>
          <a:lstStyle>
            <a:lvl1pPr>
              <a:defRPr sz="2200"/>
            </a:lvl1pPr>
          </a:lstStyle>
          <a:p>
            <a:r>
              <a:rPr lang="en-US" smtClean="0"/>
              <a:t>Click to edit Master title style</a:t>
            </a:r>
            <a:endParaRPr lang="en-US"/>
          </a:p>
        </p:txBody>
      </p:sp>
    </p:spTree>
    <p:extLst>
      <p:ext uri="{BB962C8B-B14F-4D97-AF65-F5344CB8AC3E}">
        <p14:creationId xmlns:p14="http://schemas.microsoft.com/office/powerpoint/2010/main" val="2054170708"/>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3" y="3"/>
          <a:ext cx="156346" cy="140074"/>
        </p:xfrm>
        <a:graphic>
          <a:graphicData uri="http://schemas.openxmlformats.org/presentationml/2006/ole">
            <mc:AlternateContent xmlns:mc="http://schemas.openxmlformats.org/markup-compatibility/2006">
              <mc:Choice xmlns:v="urn:schemas-microsoft-com:vml" Requires="v">
                <p:oleObj spid="_x0000_s13134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3"/>
                        <a:ext cx="156346"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74543" y="293191"/>
            <a:ext cx="9005454" cy="228268"/>
          </a:xfrm>
          <a:prstGeom prst="rect">
            <a:avLst/>
          </a:prstGeom>
        </p:spPr>
        <p:txBody>
          <a:bodyPr lIns="0" tIns="0" rIns="0" bIns="0" anchor="b"/>
          <a:lstStyle>
            <a:lvl1pPr marL="0" marR="0" indent="0" algn="l" defTabSz="685160" rtl="0" eaLnBrk="1" fontAlgn="auto" latinLnBrk="0" hangingPunct="1">
              <a:lnSpc>
                <a:spcPct val="90000"/>
              </a:lnSpc>
              <a:spcBef>
                <a:spcPct val="0"/>
              </a:spcBef>
              <a:spcAft>
                <a:spcPts val="0"/>
              </a:spcAft>
              <a:buClrTx/>
              <a:buSzTx/>
              <a:buFontTx/>
              <a:buNone/>
              <a:tabLst/>
              <a:defRPr lang="en-US" sz="1648" b="1" smtClean="0">
                <a:solidFill>
                  <a:schemeClr val="tx1"/>
                </a:solidFill>
                <a:latin typeface="+mn-lt"/>
              </a:defRPr>
            </a:lvl1pPr>
          </a:lstStyle>
          <a:p>
            <a:r>
              <a:rPr lang="en-US" sz="1648"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250386892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3236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6"/>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84"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789445581"/>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384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endParaRPr lang="en-US" noProof="0" dirty="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lang="x-none"/>
            </a:pPr>
            <a:r>
              <a:rPr kumimoji="0" lang="x-none" sz="1400" b="0" i="0" u="none" strike="noStrike" kern="1200" cap="none" spc="0" normalizeH="0" baseline="0" noProof="0">
                <a:ln>
                  <a:noFill/>
                </a:ln>
                <a:solidFill>
                  <a:srgbClr val="FFFFFF"/>
                </a:solidFill>
                <a:effectLst/>
                <a:uLnTx/>
                <a:uFillTx/>
                <a:latin typeface="Arial"/>
                <a:ea typeface="+mn-ea"/>
                <a:cs typeface="+mn-cs"/>
              </a:rPr>
              <a:t>Document type | Date</a:t>
            </a:r>
          </a:p>
        </p:txBody>
      </p:sp>
    </p:spTree>
    <p:extLst>
      <p:ext uri="{BB962C8B-B14F-4D97-AF65-F5344CB8AC3E}">
        <p14:creationId xmlns:p14="http://schemas.microsoft.com/office/powerpoint/2010/main" val="37784788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3951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a:t>Click to edit Master title style</a:t>
            </a:r>
          </a:p>
        </p:txBody>
      </p:sp>
    </p:spTree>
    <p:extLst>
      <p:ext uri="{BB962C8B-B14F-4D97-AF65-F5344CB8AC3E}">
        <p14:creationId xmlns:p14="http://schemas.microsoft.com/office/powerpoint/2010/main" val="37518095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4_Text">
  <p:cSld name="4_Text">
    <p:spTree>
      <p:nvGrpSpPr>
        <p:cNvPr id="1" name="Shape 73"/>
        <p:cNvGrpSpPr/>
        <p:nvPr/>
      </p:nvGrpSpPr>
      <p:grpSpPr>
        <a:xfrm>
          <a:off x="0" y="0"/>
          <a:ext cx="0" cy="0"/>
          <a:chOff x="0" y="0"/>
          <a:chExt cx="0" cy="0"/>
        </a:xfrm>
      </p:grpSpPr>
      <p:pic>
        <p:nvPicPr>
          <p:cNvPr id="74" name="Google Shape;74;p12"/>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5" name="Google Shape;75;p12"/>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6" name="Google Shape;76;p12"/>
          <p:cNvSpPr txBox="1">
            <a:spLocks noGrp="1"/>
          </p:cNvSpPr>
          <p:nvPr>
            <p:ph type="body" idx="1"/>
          </p:nvPr>
        </p:nvSpPr>
        <p:spPr>
          <a:xfrm>
            <a:off x="450276" y="1066801"/>
            <a:ext cx="9005453" cy="51815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6" cy="140074"/>
        </p:xfrm>
        <a:graphic>
          <a:graphicData uri="http://schemas.openxmlformats.org/presentationml/2006/ole">
            <mc:AlternateContent xmlns:mc="http://schemas.openxmlformats.org/markup-compatibility/2006">
              <mc:Choice xmlns:v="urn:schemas-microsoft-com:vml" Requires="v">
                <p:oleObj spid="_x0000_s14053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6"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74543" y="293191"/>
            <a:ext cx="9005454" cy="228268"/>
          </a:xfrm>
          <a:prstGeom prst="rect">
            <a:avLst/>
          </a:prstGeom>
        </p:spPr>
        <p:txBody>
          <a:bodyPr lIns="0" tIns="0" rIns="0" bIns="0" anchor="b"/>
          <a:lstStyle>
            <a:lvl1pPr marL="0" marR="0" indent="0" algn="l" defTabSz="685160" rtl="0" eaLnBrk="1" fontAlgn="auto" latinLnBrk="0" hangingPunct="1">
              <a:lnSpc>
                <a:spcPct val="90000"/>
              </a:lnSpc>
              <a:spcBef>
                <a:spcPct val="0"/>
              </a:spcBef>
              <a:spcAft>
                <a:spcPts val="0"/>
              </a:spcAft>
              <a:buClrTx/>
              <a:buSzTx/>
              <a:buFontTx/>
              <a:buNone/>
              <a:tabLst/>
              <a:defRPr lang="en-US" sz="1648" b="1" smtClean="0">
                <a:solidFill>
                  <a:schemeClr val="tx1"/>
                </a:solidFill>
                <a:latin typeface="+mn-lt"/>
              </a:defRPr>
            </a:lvl1pPr>
          </a:lstStyle>
          <a:p>
            <a:r>
              <a:rPr lang="en-US" sz="1648"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58217130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351"/>
            <a:ext cx="231140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2CBB78D2-3EDF-44DD-BD93-60A225E69B3E}" type="datetimeFigureOut">
              <a:rPr kumimoji="0" lang="en-US" sz="16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0/4/2019</a:t>
            </a:fld>
            <a:endParaRPr kumimoji="0" lang="en-US" sz="16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FAD6F48-C937-4B90-AF1D-01ADEA9D6D76}" type="slidenum">
              <a:rPr kumimoji="0" lang="en-US" sz="16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312694206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4155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dirty="0"/>
              <a:t>Click to edit </a:t>
            </a:r>
            <a:br>
              <a:rPr lang="en-US" dirty="0"/>
            </a:br>
            <a:r>
              <a:rPr lang="en-US" dirty="0"/>
              <a:t>Master title</a:t>
            </a:r>
          </a:p>
        </p:txBody>
      </p:sp>
      <p:sp>
        <p:nvSpPr>
          <p:cNvPr id="12" name="Text Placeholder 9"/>
          <p:cNvSpPr>
            <a:spLocks noGrp="1"/>
          </p:cNvSpPr>
          <p:nvPr>
            <p:ph type="body" sz="quarter" idx="37" hasCustomPrompt="1"/>
          </p:nvPr>
        </p:nvSpPr>
        <p:spPr>
          <a:xfrm>
            <a:off x="450275" y="6549116"/>
            <a:ext cx="7626926" cy="284052"/>
          </a:xfrm>
          <a:prstGeom prst="rect">
            <a:avLst/>
          </a:prstGeom>
        </p:spPr>
        <p:txBody>
          <a:bodyPr lIns="0" tIns="0" rIns="0" bIns="0" anchor="b"/>
          <a:lstStyle>
            <a:lvl1pPr marL="0" indent="0">
              <a:buNone/>
              <a:defRPr sz="923"/>
            </a:lvl1pPr>
          </a:lstStyle>
          <a:p>
            <a:r>
              <a:rPr lang="en-US" dirty="0"/>
              <a:t>Click to edit Master footer. This space is reserved for footnotes and sources only, and cannot be expanded beyond its current size.                                        </a:t>
            </a:r>
            <a:r>
              <a:rPr lang="en-IN" dirty="0"/>
              <a:t>Source: [Author/Publisher Name], [Report Name], [Year]</a:t>
            </a:r>
          </a:p>
        </p:txBody>
      </p:sp>
    </p:spTree>
    <p:extLst>
      <p:ext uri="{BB962C8B-B14F-4D97-AF65-F5344CB8AC3E}">
        <p14:creationId xmlns:p14="http://schemas.microsoft.com/office/powerpoint/2010/main" val="25691675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2_Blank">
  <p:cSld name="2_Blank">
    <p:bg>
      <p:bgPr>
        <a:solidFill>
          <a:srgbClr val="A8D08C"/>
        </a:solidFill>
        <a:effectLst/>
      </p:bgPr>
    </p:bg>
    <p:spTree>
      <p:nvGrpSpPr>
        <p:cNvPr id="1" name="Shape 77"/>
        <p:cNvGrpSpPr/>
        <p:nvPr/>
      </p:nvGrpSpPr>
      <p:grpSpPr>
        <a:xfrm>
          <a:off x="0" y="0"/>
          <a:ext cx="0" cy="0"/>
          <a:chOff x="0" y="0"/>
          <a:chExt cx="0" cy="0"/>
        </a:xfrm>
      </p:grpSpPr>
      <p:pic>
        <p:nvPicPr>
          <p:cNvPr id="78" name="Google Shape;78;p13"/>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79" name="Google Shape;79;p13"/>
          <p:cNvPicPr preferRelativeResize="0"/>
          <p:nvPr/>
        </p:nvPicPr>
        <p:blipFill rotWithShape="1">
          <a:blip r:embed="rId3">
            <a:alphaModFix/>
          </a:blip>
          <a:srcRect/>
          <a:stretch/>
        </p:blipFill>
        <p:spPr>
          <a:xfrm>
            <a:off x="0" y="5947172"/>
            <a:ext cx="9906000" cy="910828"/>
          </a:xfrm>
          <a:prstGeom prst="rect">
            <a:avLst/>
          </a:prstGeom>
          <a:noFill/>
          <a:ln>
            <a:noFill/>
          </a:ln>
        </p:spPr>
      </p:pic>
      <p:sp>
        <p:nvSpPr>
          <p:cNvPr id="80" name="Google Shape;80;p13"/>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rgbClr val="385623"/>
              </a:buClr>
              <a:buSzPts val="4400"/>
              <a:buFont typeface="Arial"/>
              <a:buNone/>
              <a:defRPr sz="4400" b="0" i="0" u="none" strike="noStrike" cap="none">
                <a:solidFill>
                  <a:srgbClr val="38562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1661762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436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smtClean="0">
              <a:ln>
                <a:noFill/>
              </a:ln>
              <a:solidFill>
                <a:srgbClr val="000000"/>
              </a:solidFill>
              <a:effectLst/>
              <a:uLnTx/>
              <a:uFillTx/>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lang="x-none"/>
            </a:pPr>
            <a:r>
              <a:rPr kumimoji="0" lang="x-none" sz="1400" b="0" i="0" u="none" strike="noStrike" kern="1200" cap="none" spc="0" normalizeH="0" baseline="0" noProof="0" smtClean="0">
                <a:ln>
                  <a:noFill/>
                </a:ln>
                <a:solidFill>
                  <a:srgbClr val="FFFFFF"/>
                </a:solidFill>
                <a:effectLst/>
                <a:uLnTx/>
                <a:uFillTx/>
                <a:latin typeface="Arial"/>
                <a:ea typeface="+mn-ea"/>
                <a:cs typeface="+mn-cs"/>
              </a:rPr>
              <a:t>Document type | Date</a:t>
            </a:r>
          </a:p>
        </p:txBody>
      </p:sp>
    </p:spTree>
    <p:extLst>
      <p:ext uri="{BB962C8B-B14F-4D97-AF65-F5344CB8AC3E}">
        <p14:creationId xmlns:p14="http://schemas.microsoft.com/office/powerpoint/2010/main" val="2565281123"/>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44627"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smtClean="0">
              <a:ln>
                <a:noFill/>
              </a:ln>
              <a:solidFill>
                <a:srgbClr val="000000"/>
              </a:solidFill>
              <a:effectLst/>
              <a:uLnTx/>
              <a:uFillTx/>
              <a:latin typeface="Arial"/>
              <a:ea typeface="+mn-ea"/>
              <a:cs typeface="+mn-cs"/>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smtClean="0"/>
              <a:t>Click to edit Master title style</a:t>
            </a:r>
            <a:endParaRPr lang="en-US" dirty="0"/>
          </a:p>
        </p:txBody>
      </p:sp>
    </p:spTree>
    <p:extLst>
      <p:ext uri="{BB962C8B-B14F-4D97-AF65-F5344CB8AC3E}">
        <p14:creationId xmlns:p14="http://schemas.microsoft.com/office/powerpoint/2010/main" val="63076007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6" cy="140074"/>
        </p:xfrm>
        <a:graphic>
          <a:graphicData uri="http://schemas.openxmlformats.org/presentationml/2006/ole">
            <mc:AlternateContent xmlns:mc="http://schemas.openxmlformats.org/markup-compatibility/2006">
              <mc:Choice xmlns:v="urn:schemas-microsoft-com:vml" Requires="v">
                <p:oleObj spid="_x0000_s14565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6"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74543" y="293191"/>
            <a:ext cx="9005454" cy="228268"/>
          </a:xfrm>
          <a:prstGeom prst="rect">
            <a:avLst/>
          </a:prstGeom>
        </p:spPr>
        <p:txBody>
          <a:bodyPr lIns="0" tIns="0" rIns="0" bIns="0" anchor="b"/>
          <a:lstStyle>
            <a:lvl1pPr marL="0" marR="0" indent="0" algn="l" defTabSz="685160" rtl="0" eaLnBrk="1" fontAlgn="auto" latinLnBrk="0" hangingPunct="1">
              <a:lnSpc>
                <a:spcPct val="90000"/>
              </a:lnSpc>
              <a:spcBef>
                <a:spcPct val="0"/>
              </a:spcBef>
              <a:spcAft>
                <a:spcPts val="0"/>
              </a:spcAft>
              <a:buClrTx/>
              <a:buSzTx/>
              <a:buFontTx/>
              <a:buNone/>
              <a:tabLst/>
              <a:defRPr lang="en-US" sz="1648" b="1" smtClean="0">
                <a:solidFill>
                  <a:schemeClr val="tx1"/>
                </a:solidFill>
                <a:latin typeface="+mn-lt"/>
              </a:defRPr>
            </a:lvl1pPr>
          </a:lstStyle>
          <a:p>
            <a:r>
              <a:rPr lang="en-US" sz="1648"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2909891047"/>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pPr fontAlgn="base">
              <a:spcBef>
                <a:spcPct val="0"/>
              </a:spcBef>
              <a:spcAft>
                <a:spcPct val="0"/>
              </a:spcAft>
              <a:buClrTx/>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pPr>
              <a:t>10/4/2019</a:t>
            </a:fld>
            <a:endParaRPr lang="en-US" sz="1600" kern="120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fontAlgn="base">
              <a:spcBef>
                <a:spcPct val="0"/>
              </a:spcBef>
              <a:spcAft>
                <a:spcPct val="0"/>
              </a:spcAft>
              <a:buClrTx/>
            </a:pPr>
            <a:endParaRPr lang="en-US" sz="1600" kern="120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fontAlgn="base">
              <a:spcBef>
                <a:spcPct val="0"/>
              </a:spcBef>
              <a:spcAft>
                <a:spcPct val="0"/>
              </a:spcAft>
              <a:buClrTx/>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pPr>
              <a:t>‹#›</a:t>
            </a:fld>
            <a:endParaRPr lang="en-US" sz="1600" kern="120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474095655"/>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4667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75"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1610779930"/>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487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smtClean="0">
              <a:ln>
                <a:noFill/>
              </a:ln>
              <a:solidFill>
                <a:srgbClr val="000000"/>
              </a:solidFill>
              <a:effectLst/>
              <a:uLnTx/>
              <a:uFillTx/>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lang="x-none"/>
            </a:pPr>
            <a:r>
              <a:rPr kumimoji="0" lang="x-none" sz="1400" b="0" i="0" u="none" strike="noStrike" kern="1200" cap="none" spc="0" normalizeH="0" baseline="0" noProof="0" smtClean="0">
                <a:ln>
                  <a:noFill/>
                </a:ln>
                <a:solidFill>
                  <a:srgbClr val="FFFFFF"/>
                </a:solidFill>
                <a:effectLst/>
                <a:uLnTx/>
                <a:uFillTx/>
                <a:latin typeface="Arial"/>
                <a:ea typeface="+mn-ea"/>
                <a:cs typeface="+mn-cs"/>
              </a:rPr>
              <a:t>Document type | Date</a:t>
            </a:r>
          </a:p>
        </p:txBody>
      </p:sp>
    </p:spTree>
    <p:extLst>
      <p:ext uri="{BB962C8B-B14F-4D97-AF65-F5344CB8AC3E}">
        <p14:creationId xmlns:p14="http://schemas.microsoft.com/office/powerpoint/2010/main" val="326277053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2_Blank">
  <p:cSld name="2_Blank">
    <p:bg>
      <p:bgPr>
        <a:solidFill>
          <a:srgbClr val="A8D08C"/>
        </a:solidFill>
        <a:effectLst/>
      </p:bgPr>
    </p:bg>
    <p:spTree>
      <p:nvGrpSpPr>
        <p:cNvPr id="1" name="Shape 77"/>
        <p:cNvGrpSpPr/>
        <p:nvPr/>
      </p:nvGrpSpPr>
      <p:grpSpPr>
        <a:xfrm>
          <a:off x="0" y="0"/>
          <a:ext cx="0" cy="0"/>
          <a:chOff x="0" y="0"/>
          <a:chExt cx="0" cy="0"/>
        </a:xfrm>
      </p:grpSpPr>
      <p:pic>
        <p:nvPicPr>
          <p:cNvPr id="78" name="Google Shape;78;p13"/>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79" name="Google Shape;79;p13"/>
          <p:cNvPicPr preferRelativeResize="0"/>
          <p:nvPr/>
        </p:nvPicPr>
        <p:blipFill rotWithShape="1">
          <a:blip r:embed="rId3">
            <a:alphaModFix/>
          </a:blip>
          <a:srcRect/>
          <a:stretch/>
        </p:blipFill>
        <p:spPr>
          <a:xfrm>
            <a:off x="0" y="5947172"/>
            <a:ext cx="9906000" cy="910828"/>
          </a:xfrm>
          <a:prstGeom prst="rect">
            <a:avLst/>
          </a:prstGeom>
          <a:noFill/>
          <a:ln>
            <a:noFill/>
          </a:ln>
        </p:spPr>
      </p:pic>
      <p:sp>
        <p:nvSpPr>
          <p:cNvPr id="80" name="Google Shape;80;p13"/>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rgbClr val="385623"/>
              </a:buClr>
              <a:buSzPts val="4400"/>
              <a:buFont typeface="Arial"/>
              <a:buNone/>
              <a:defRPr sz="4400" b="0" i="0" u="none" strike="noStrike" cap="none">
                <a:solidFill>
                  <a:srgbClr val="38562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49747"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smtClean="0">
              <a:ln>
                <a:noFill/>
              </a:ln>
              <a:solidFill>
                <a:srgbClr val="000000"/>
              </a:solidFill>
              <a:effectLst/>
              <a:uLnTx/>
              <a:uFillTx/>
              <a:latin typeface="Arial"/>
              <a:ea typeface="+mn-ea"/>
              <a:cs typeface="+mn-cs"/>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smtClean="0"/>
              <a:t>Click to edit Master title style</a:t>
            </a:r>
            <a:endParaRPr lang="en-US" dirty="0"/>
          </a:p>
        </p:txBody>
      </p:sp>
    </p:spTree>
    <p:extLst>
      <p:ext uri="{BB962C8B-B14F-4D97-AF65-F5344CB8AC3E}">
        <p14:creationId xmlns:p14="http://schemas.microsoft.com/office/powerpoint/2010/main" val="1213705980"/>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pPr fontAlgn="base">
              <a:spcBef>
                <a:spcPct val="0"/>
              </a:spcBef>
              <a:spcAft>
                <a:spcPct val="0"/>
              </a:spcAft>
              <a:buClrTx/>
              <a:defRPr/>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defRPr/>
              </a:pPr>
              <a:t>10/4/2019</a:t>
            </a:fld>
            <a:endParaRPr lang="en-US" sz="1600" kern="120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fontAlgn="base">
              <a:spcBef>
                <a:spcPct val="0"/>
              </a:spcBef>
              <a:spcAft>
                <a:spcPct val="0"/>
              </a:spcAft>
              <a:buClrTx/>
              <a:defRPr/>
            </a:pPr>
            <a:endParaRPr lang="en-US" sz="1600" kern="120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fontAlgn="base">
              <a:spcBef>
                <a:spcPct val="0"/>
              </a:spcBef>
              <a:spcAft>
                <a:spcPct val="0"/>
              </a:spcAft>
              <a:buClrTx/>
              <a:defRPr/>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defRPr/>
              </a:pPr>
              <a:t>‹#›</a:t>
            </a:fld>
            <a:endParaRPr lang="en-US" sz="1600" kern="120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1833883697"/>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5077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75"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242145691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640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smtClean="0">
              <a:ln>
                <a:noFill/>
              </a:ln>
              <a:solidFill>
                <a:srgbClr val="000000"/>
              </a:solidFill>
              <a:effectLst/>
              <a:uLnTx/>
              <a:uFillTx/>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lang="x-none"/>
            </a:pPr>
            <a:r>
              <a:rPr kumimoji="0" lang="x-none" sz="1400" b="0" i="0" u="none" strike="noStrike" kern="1200" cap="none" spc="0" normalizeH="0" baseline="0" noProof="0" smtClean="0">
                <a:ln>
                  <a:noFill/>
                </a:ln>
                <a:solidFill>
                  <a:srgbClr val="FFFFFF"/>
                </a:solidFill>
                <a:effectLst/>
                <a:uLnTx/>
                <a:uFillTx/>
                <a:latin typeface="Arial"/>
                <a:ea typeface="+mn-ea"/>
                <a:cs typeface="+mn-cs"/>
              </a:rPr>
              <a:t>Document type | Date</a:t>
            </a:r>
          </a:p>
        </p:txBody>
      </p:sp>
    </p:spTree>
    <p:extLst>
      <p:ext uri="{BB962C8B-B14F-4D97-AF65-F5344CB8AC3E}">
        <p14:creationId xmlns:p14="http://schemas.microsoft.com/office/powerpoint/2010/main" val="2523849740"/>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6509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smtClean="0">
              <a:ln>
                <a:noFill/>
              </a:ln>
              <a:solidFill>
                <a:srgbClr val="000000"/>
              </a:solidFill>
              <a:effectLst/>
              <a:uLnTx/>
              <a:uFillTx/>
              <a:latin typeface="Arial"/>
              <a:ea typeface="+mn-ea"/>
              <a:cs typeface="+mn-cs"/>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smtClean="0"/>
              <a:t>Click to edit Master title style</a:t>
            </a:r>
            <a:endParaRPr lang="en-US" dirty="0"/>
          </a:p>
        </p:txBody>
      </p:sp>
    </p:spTree>
    <p:extLst>
      <p:ext uri="{BB962C8B-B14F-4D97-AF65-F5344CB8AC3E}">
        <p14:creationId xmlns:p14="http://schemas.microsoft.com/office/powerpoint/2010/main" val="241227274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pPr fontAlgn="base">
              <a:spcBef>
                <a:spcPct val="0"/>
              </a:spcBef>
              <a:spcAft>
                <a:spcPct val="0"/>
              </a:spcAft>
              <a:buClrTx/>
              <a:defRPr/>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defRPr/>
              </a:pPr>
              <a:t>10/4/2019</a:t>
            </a:fld>
            <a:endParaRPr lang="en-US" sz="1600" kern="120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fontAlgn="base">
              <a:spcBef>
                <a:spcPct val="0"/>
              </a:spcBef>
              <a:spcAft>
                <a:spcPct val="0"/>
              </a:spcAft>
              <a:buClrTx/>
              <a:defRPr/>
            </a:pPr>
            <a:endParaRPr lang="en-US" sz="1600" kern="120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fontAlgn="base">
              <a:spcBef>
                <a:spcPct val="0"/>
              </a:spcBef>
              <a:spcAft>
                <a:spcPct val="0"/>
              </a:spcAft>
              <a:buClrTx/>
              <a:defRPr/>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defRPr/>
              </a:pPr>
              <a:t>‹#›</a:t>
            </a:fld>
            <a:endParaRPr lang="en-US" sz="1600" kern="120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2178369928"/>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6612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75"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1807102824"/>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803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lang="x-none"/>
            </a:pPr>
            <a:r>
              <a:rPr kumimoji="0" lang="x-none" sz="1400" b="0" i="0" u="none" strike="noStrike" kern="1200" cap="none" spc="0" normalizeH="0" baseline="0" noProof="0" dirty="0" smtClean="0">
                <a:ln>
                  <a:noFill/>
                </a:ln>
                <a:solidFill>
                  <a:srgbClr val="FFFFFF"/>
                </a:solidFill>
                <a:effectLst/>
                <a:uLnTx/>
                <a:uFillTx/>
                <a:latin typeface="Arial"/>
                <a:ea typeface="+mn-ea"/>
                <a:cs typeface="+mn-cs"/>
              </a:rPr>
              <a:t>Document type | Date</a:t>
            </a:r>
          </a:p>
        </p:txBody>
      </p:sp>
    </p:spTree>
    <p:extLst>
      <p:ext uri="{BB962C8B-B14F-4D97-AF65-F5344CB8AC3E}">
        <p14:creationId xmlns:p14="http://schemas.microsoft.com/office/powerpoint/2010/main" val="275164994"/>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81418"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smtClean="0"/>
              <a:t>Click to edit Master title style</a:t>
            </a:r>
            <a:endParaRPr lang="en-US" dirty="0"/>
          </a:p>
        </p:txBody>
      </p:sp>
    </p:spTree>
    <p:extLst>
      <p:ext uri="{BB962C8B-B14F-4D97-AF65-F5344CB8AC3E}">
        <p14:creationId xmlns:p14="http://schemas.microsoft.com/office/powerpoint/2010/main" val="3369118624"/>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pPr fontAlgn="base">
              <a:spcBef>
                <a:spcPct val="0"/>
              </a:spcBef>
              <a:spcAft>
                <a:spcPct val="0"/>
              </a:spcAft>
              <a:buClrTx/>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pPr>
              <a:t>10/4/2019</a:t>
            </a:fld>
            <a:endParaRPr lang="en-US" sz="1600" kern="1200" dirty="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fontAlgn="base">
              <a:spcBef>
                <a:spcPct val="0"/>
              </a:spcBef>
              <a:spcAft>
                <a:spcPct val="0"/>
              </a:spcAft>
              <a:buClrTx/>
            </a:pPr>
            <a:endParaRPr lang="en-US" sz="1600" kern="1200" dirty="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fontAlgn="base">
              <a:spcBef>
                <a:spcPct val="0"/>
              </a:spcBef>
              <a:spcAft>
                <a:spcPct val="0"/>
              </a:spcAft>
              <a:buClrTx/>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pPr>
              <a:t>‹#›</a:t>
            </a:fld>
            <a:endParaRPr lang="en-US" sz="1600" kern="1200" dirty="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175428412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18" Type="http://schemas.openxmlformats.org/officeDocument/2006/relationships/tags" Target="../tags/tag145.xml"/><Relationship Id="rId26" Type="http://schemas.openxmlformats.org/officeDocument/2006/relationships/image" Target="../media/image18.png"/><Relationship Id="rId3" Type="http://schemas.openxmlformats.org/officeDocument/2006/relationships/slideLayout" Target="../slideLayouts/slideLayout68.xml"/><Relationship Id="rId21" Type="http://schemas.openxmlformats.org/officeDocument/2006/relationships/tags" Target="../tags/tag148.xml"/><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image" Target="../media/image17.emf"/><Relationship Id="rId2" Type="http://schemas.openxmlformats.org/officeDocument/2006/relationships/slideLayout" Target="../slideLayouts/slideLayout67.xml"/><Relationship Id="rId16" Type="http://schemas.openxmlformats.org/officeDocument/2006/relationships/tags" Target="../tags/tag143.xml"/><Relationship Id="rId20" Type="http://schemas.openxmlformats.org/officeDocument/2006/relationships/tags" Target="../tags/tag147.xml"/><Relationship Id="rId1" Type="http://schemas.openxmlformats.org/officeDocument/2006/relationships/slideLayout" Target="../slideLayouts/slideLayout66.xml"/><Relationship Id="rId6" Type="http://schemas.openxmlformats.org/officeDocument/2006/relationships/vmlDrawing" Target="../drawings/vmlDrawing50.vml"/><Relationship Id="rId11" Type="http://schemas.openxmlformats.org/officeDocument/2006/relationships/tags" Target="../tags/tag138.xml"/><Relationship Id="rId24" Type="http://schemas.openxmlformats.org/officeDocument/2006/relationships/image" Target="../media/image16.emf"/><Relationship Id="rId5" Type="http://schemas.openxmlformats.org/officeDocument/2006/relationships/theme" Target="../theme/theme10.xml"/><Relationship Id="rId15" Type="http://schemas.openxmlformats.org/officeDocument/2006/relationships/tags" Target="../tags/tag142.xml"/><Relationship Id="rId23" Type="http://schemas.openxmlformats.org/officeDocument/2006/relationships/oleObject" Target="../embeddings/oleObject50.bin"/><Relationship Id="rId10" Type="http://schemas.openxmlformats.org/officeDocument/2006/relationships/tags" Target="../tags/tag137.xml"/><Relationship Id="rId19" Type="http://schemas.openxmlformats.org/officeDocument/2006/relationships/tags" Target="../tags/tag146.xml"/><Relationship Id="rId4" Type="http://schemas.openxmlformats.org/officeDocument/2006/relationships/slideLayout" Target="../slideLayouts/slideLayout69.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tags" Target="../tags/tag149.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tags" Target="../tags/tag163.xml"/><Relationship Id="rId18" Type="http://schemas.openxmlformats.org/officeDocument/2006/relationships/tags" Target="../tags/tag168.xml"/><Relationship Id="rId3" Type="http://schemas.openxmlformats.org/officeDocument/2006/relationships/theme" Target="../theme/theme11.xml"/><Relationship Id="rId21" Type="http://schemas.openxmlformats.org/officeDocument/2006/relationships/oleObject" Target="../embeddings/oleObject55.bin"/><Relationship Id="rId7" Type="http://schemas.openxmlformats.org/officeDocument/2006/relationships/tags" Target="../tags/tag157.xml"/><Relationship Id="rId12" Type="http://schemas.openxmlformats.org/officeDocument/2006/relationships/tags" Target="../tags/tag162.xml"/><Relationship Id="rId17" Type="http://schemas.openxmlformats.org/officeDocument/2006/relationships/tags" Target="../tags/tag167.xml"/><Relationship Id="rId2" Type="http://schemas.openxmlformats.org/officeDocument/2006/relationships/slideLayout" Target="../slideLayouts/slideLayout71.xml"/><Relationship Id="rId16" Type="http://schemas.openxmlformats.org/officeDocument/2006/relationships/tags" Target="../tags/tag166.xml"/><Relationship Id="rId20" Type="http://schemas.openxmlformats.org/officeDocument/2006/relationships/tags" Target="../tags/tag170.xml"/><Relationship Id="rId1" Type="http://schemas.openxmlformats.org/officeDocument/2006/relationships/slideLayout" Target="../slideLayouts/slideLayout70.xml"/><Relationship Id="rId6" Type="http://schemas.openxmlformats.org/officeDocument/2006/relationships/tags" Target="../tags/tag156.xml"/><Relationship Id="rId11" Type="http://schemas.openxmlformats.org/officeDocument/2006/relationships/tags" Target="../tags/tag161.xml"/><Relationship Id="rId24" Type="http://schemas.openxmlformats.org/officeDocument/2006/relationships/image" Target="../media/image18.png"/><Relationship Id="rId5" Type="http://schemas.openxmlformats.org/officeDocument/2006/relationships/tags" Target="../tags/tag155.xml"/><Relationship Id="rId15" Type="http://schemas.openxmlformats.org/officeDocument/2006/relationships/tags" Target="../tags/tag165.xml"/><Relationship Id="rId23" Type="http://schemas.openxmlformats.org/officeDocument/2006/relationships/image" Target="../media/image17.emf"/><Relationship Id="rId10" Type="http://schemas.openxmlformats.org/officeDocument/2006/relationships/tags" Target="../tags/tag160.xml"/><Relationship Id="rId19" Type="http://schemas.openxmlformats.org/officeDocument/2006/relationships/tags" Target="../tags/tag169.xml"/><Relationship Id="rId4" Type="http://schemas.openxmlformats.org/officeDocument/2006/relationships/vmlDrawing" Target="../drawings/vmlDrawing55.vml"/><Relationship Id="rId9" Type="http://schemas.openxmlformats.org/officeDocument/2006/relationships/tags" Target="../tags/tag159.xml"/><Relationship Id="rId14" Type="http://schemas.openxmlformats.org/officeDocument/2006/relationships/tags" Target="../tags/tag164.xml"/><Relationship Id="rId22" Type="http://schemas.openxmlformats.org/officeDocument/2006/relationships/image" Target="../media/image16.emf"/></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18" Type="http://schemas.openxmlformats.org/officeDocument/2006/relationships/tags" Target="../tags/tag187.xml"/><Relationship Id="rId3" Type="http://schemas.openxmlformats.org/officeDocument/2006/relationships/theme" Target="../theme/theme12.xml"/><Relationship Id="rId21" Type="http://schemas.openxmlformats.org/officeDocument/2006/relationships/oleObject" Target="../embeddings/oleObject58.bin"/><Relationship Id="rId7" Type="http://schemas.openxmlformats.org/officeDocument/2006/relationships/tags" Target="../tags/tag176.xml"/><Relationship Id="rId12" Type="http://schemas.openxmlformats.org/officeDocument/2006/relationships/tags" Target="../tags/tag181.xml"/><Relationship Id="rId17" Type="http://schemas.openxmlformats.org/officeDocument/2006/relationships/tags" Target="../tags/tag186.xml"/><Relationship Id="rId2" Type="http://schemas.openxmlformats.org/officeDocument/2006/relationships/slideLayout" Target="../slideLayouts/slideLayout73.xml"/><Relationship Id="rId16" Type="http://schemas.openxmlformats.org/officeDocument/2006/relationships/tags" Target="../tags/tag185.xml"/><Relationship Id="rId20" Type="http://schemas.openxmlformats.org/officeDocument/2006/relationships/tags" Target="../tags/tag189.xml"/><Relationship Id="rId1" Type="http://schemas.openxmlformats.org/officeDocument/2006/relationships/slideLayout" Target="../slideLayouts/slideLayout72.xml"/><Relationship Id="rId6" Type="http://schemas.openxmlformats.org/officeDocument/2006/relationships/tags" Target="../tags/tag175.xml"/><Relationship Id="rId11" Type="http://schemas.openxmlformats.org/officeDocument/2006/relationships/tags" Target="../tags/tag180.xml"/><Relationship Id="rId24" Type="http://schemas.openxmlformats.org/officeDocument/2006/relationships/image" Target="../media/image18.png"/><Relationship Id="rId5" Type="http://schemas.openxmlformats.org/officeDocument/2006/relationships/tags" Target="../tags/tag174.xml"/><Relationship Id="rId15" Type="http://schemas.openxmlformats.org/officeDocument/2006/relationships/tags" Target="../tags/tag184.xml"/><Relationship Id="rId23" Type="http://schemas.openxmlformats.org/officeDocument/2006/relationships/image" Target="../media/image17.emf"/><Relationship Id="rId10" Type="http://schemas.openxmlformats.org/officeDocument/2006/relationships/tags" Target="../tags/tag179.xml"/><Relationship Id="rId19" Type="http://schemas.openxmlformats.org/officeDocument/2006/relationships/tags" Target="../tags/tag188.xml"/><Relationship Id="rId4" Type="http://schemas.openxmlformats.org/officeDocument/2006/relationships/vmlDrawing" Target="../drawings/vmlDrawing58.vml"/><Relationship Id="rId9" Type="http://schemas.openxmlformats.org/officeDocument/2006/relationships/tags" Target="../tags/tag178.xml"/><Relationship Id="rId14" Type="http://schemas.openxmlformats.org/officeDocument/2006/relationships/tags" Target="../tags/tag183.xml"/><Relationship Id="rId22" Type="http://schemas.openxmlformats.org/officeDocument/2006/relationships/image" Target="../media/image16.emf"/></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tags" Target="../tags/tag199.xml"/><Relationship Id="rId18" Type="http://schemas.openxmlformats.org/officeDocument/2006/relationships/tags" Target="../tags/tag204.xml"/><Relationship Id="rId26" Type="http://schemas.openxmlformats.org/officeDocument/2006/relationships/image" Target="../media/image18.png"/><Relationship Id="rId3" Type="http://schemas.openxmlformats.org/officeDocument/2006/relationships/slideLayout" Target="../slideLayouts/slideLayout76.xml"/><Relationship Id="rId21" Type="http://schemas.openxmlformats.org/officeDocument/2006/relationships/tags" Target="../tags/tag207.xml"/><Relationship Id="rId7" Type="http://schemas.openxmlformats.org/officeDocument/2006/relationships/tags" Target="../tags/tag193.xml"/><Relationship Id="rId12" Type="http://schemas.openxmlformats.org/officeDocument/2006/relationships/tags" Target="../tags/tag198.xml"/><Relationship Id="rId17" Type="http://schemas.openxmlformats.org/officeDocument/2006/relationships/tags" Target="../tags/tag203.xml"/><Relationship Id="rId25" Type="http://schemas.openxmlformats.org/officeDocument/2006/relationships/image" Target="../media/image17.emf"/><Relationship Id="rId2" Type="http://schemas.openxmlformats.org/officeDocument/2006/relationships/slideLayout" Target="../slideLayouts/slideLayout75.xml"/><Relationship Id="rId16" Type="http://schemas.openxmlformats.org/officeDocument/2006/relationships/tags" Target="../tags/tag202.xml"/><Relationship Id="rId20" Type="http://schemas.openxmlformats.org/officeDocument/2006/relationships/tags" Target="../tags/tag206.xml"/><Relationship Id="rId1" Type="http://schemas.openxmlformats.org/officeDocument/2006/relationships/slideLayout" Target="../slideLayouts/slideLayout74.xml"/><Relationship Id="rId6" Type="http://schemas.openxmlformats.org/officeDocument/2006/relationships/vmlDrawing" Target="../drawings/vmlDrawing61.vml"/><Relationship Id="rId11" Type="http://schemas.openxmlformats.org/officeDocument/2006/relationships/tags" Target="../tags/tag197.xml"/><Relationship Id="rId24" Type="http://schemas.openxmlformats.org/officeDocument/2006/relationships/image" Target="../media/image16.emf"/><Relationship Id="rId5" Type="http://schemas.openxmlformats.org/officeDocument/2006/relationships/theme" Target="../theme/theme13.xml"/><Relationship Id="rId15" Type="http://schemas.openxmlformats.org/officeDocument/2006/relationships/tags" Target="../tags/tag201.xml"/><Relationship Id="rId23" Type="http://schemas.openxmlformats.org/officeDocument/2006/relationships/oleObject" Target="../embeddings/oleObject61.bin"/><Relationship Id="rId10" Type="http://schemas.openxmlformats.org/officeDocument/2006/relationships/tags" Target="../tags/tag196.xml"/><Relationship Id="rId19" Type="http://schemas.openxmlformats.org/officeDocument/2006/relationships/tags" Target="../tags/tag205.xml"/><Relationship Id="rId4" Type="http://schemas.openxmlformats.org/officeDocument/2006/relationships/slideLayout" Target="../slideLayouts/slideLayout77.xml"/><Relationship Id="rId9" Type="http://schemas.openxmlformats.org/officeDocument/2006/relationships/tags" Target="../tags/tag195.xml"/><Relationship Id="rId14" Type="http://schemas.openxmlformats.org/officeDocument/2006/relationships/tags" Target="../tags/tag200.xml"/><Relationship Id="rId22" Type="http://schemas.openxmlformats.org/officeDocument/2006/relationships/tags" Target="../tags/tag208.xml"/></Relationships>
</file>

<file path=ppt/slideMasters/_rels/slideMaster14.xml.rels><?xml version="1.0" encoding="UTF-8" standalone="yes"?>
<Relationships xmlns="http://schemas.openxmlformats.org/package/2006/relationships"><Relationship Id="rId8" Type="http://schemas.openxmlformats.org/officeDocument/2006/relationships/vmlDrawing" Target="../drawings/vmlDrawing66.vml"/><Relationship Id="rId13" Type="http://schemas.openxmlformats.org/officeDocument/2006/relationships/tags" Target="../tags/tag218.xml"/><Relationship Id="rId18" Type="http://schemas.openxmlformats.org/officeDocument/2006/relationships/tags" Target="../tags/tag223.xml"/><Relationship Id="rId26" Type="http://schemas.openxmlformats.org/officeDocument/2006/relationships/oleObject" Target="../embeddings/oleObject66.bin"/><Relationship Id="rId3" Type="http://schemas.openxmlformats.org/officeDocument/2006/relationships/slideLayout" Target="../slideLayouts/slideLayout80.xml"/><Relationship Id="rId21" Type="http://schemas.openxmlformats.org/officeDocument/2006/relationships/tags" Target="../tags/tag226.xml"/><Relationship Id="rId7" Type="http://schemas.openxmlformats.org/officeDocument/2006/relationships/theme" Target="../theme/theme14.xml"/><Relationship Id="rId12" Type="http://schemas.openxmlformats.org/officeDocument/2006/relationships/tags" Target="../tags/tag217.xml"/><Relationship Id="rId17" Type="http://schemas.openxmlformats.org/officeDocument/2006/relationships/tags" Target="../tags/tag222.xml"/><Relationship Id="rId25" Type="http://schemas.openxmlformats.org/officeDocument/2006/relationships/tags" Target="../tags/tag230.xml"/><Relationship Id="rId2" Type="http://schemas.openxmlformats.org/officeDocument/2006/relationships/slideLayout" Target="../slideLayouts/slideLayout79.xml"/><Relationship Id="rId16" Type="http://schemas.openxmlformats.org/officeDocument/2006/relationships/tags" Target="../tags/tag221.xml"/><Relationship Id="rId20" Type="http://schemas.openxmlformats.org/officeDocument/2006/relationships/tags" Target="../tags/tag225.xml"/><Relationship Id="rId29" Type="http://schemas.openxmlformats.org/officeDocument/2006/relationships/image" Target="../media/image18.png"/><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tags" Target="../tags/tag216.xml"/><Relationship Id="rId24" Type="http://schemas.openxmlformats.org/officeDocument/2006/relationships/tags" Target="../tags/tag229.xml"/><Relationship Id="rId5" Type="http://schemas.openxmlformats.org/officeDocument/2006/relationships/slideLayout" Target="../slideLayouts/slideLayout82.xml"/><Relationship Id="rId15" Type="http://schemas.openxmlformats.org/officeDocument/2006/relationships/tags" Target="../tags/tag220.xml"/><Relationship Id="rId23" Type="http://schemas.openxmlformats.org/officeDocument/2006/relationships/tags" Target="../tags/tag228.xml"/><Relationship Id="rId28" Type="http://schemas.openxmlformats.org/officeDocument/2006/relationships/image" Target="../media/image17.emf"/><Relationship Id="rId10" Type="http://schemas.openxmlformats.org/officeDocument/2006/relationships/tags" Target="../tags/tag215.xml"/><Relationship Id="rId19" Type="http://schemas.openxmlformats.org/officeDocument/2006/relationships/tags" Target="../tags/tag224.xml"/><Relationship Id="rId4" Type="http://schemas.openxmlformats.org/officeDocument/2006/relationships/slideLayout" Target="../slideLayouts/slideLayout81.xml"/><Relationship Id="rId9" Type="http://schemas.openxmlformats.org/officeDocument/2006/relationships/tags" Target="../tags/tag214.xml"/><Relationship Id="rId14" Type="http://schemas.openxmlformats.org/officeDocument/2006/relationships/tags" Target="../tags/tag219.xml"/><Relationship Id="rId22" Type="http://schemas.openxmlformats.org/officeDocument/2006/relationships/tags" Target="../tags/tag227.xml"/><Relationship Id="rId27" Type="http://schemas.openxmlformats.org/officeDocument/2006/relationships/image" Target="../media/image16.emf"/></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18" Type="http://schemas.openxmlformats.org/officeDocument/2006/relationships/tags" Target="../tags/tag246.xml"/><Relationship Id="rId26" Type="http://schemas.openxmlformats.org/officeDocument/2006/relationships/image" Target="../media/image17.emf"/><Relationship Id="rId3" Type="http://schemas.openxmlformats.org/officeDocument/2006/relationships/slideLayout" Target="../slideLayouts/slideLayout86.xml"/><Relationship Id="rId21" Type="http://schemas.openxmlformats.org/officeDocument/2006/relationships/tags" Target="../tags/tag249.xml"/><Relationship Id="rId7" Type="http://schemas.openxmlformats.org/officeDocument/2006/relationships/vmlDrawing" Target="../drawings/vmlDrawing71.vml"/><Relationship Id="rId12" Type="http://schemas.openxmlformats.org/officeDocument/2006/relationships/tags" Target="../tags/tag240.xml"/><Relationship Id="rId17" Type="http://schemas.openxmlformats.org/officeDocument/2006/relationships/tags" Target="../tags/tag245.xml"/><Relationship Id="rId25" Type="http://schemas.openxmlformats.org/officeDocument/2006/relationships/image" Target="../media/image16.emf"/><Relationship Id="rId2" Type="http://schemas.openxmlformats.org/officeDocument/2006/relationships/slideLayout" Target="../slideLayouts/slideLayout85.xml"/><Relationship Id="rId16" Type="http://schemas.openxmlformats.org/officeDocument/2006/relationships/tags" Target="../tags/tag244.xml"/><Relationship Id="rId20" Type="http://schemas.openxmlformats.org/officeDocument/2006/relationships/tags" Target="../tags/tag248.xml"/><Relationship Id="rId1" Type="http://schemas.openxmlformats.org/officeDocument/2006/relationships/slideLayout" Target="../slideLayouts/slideLayout84.xml"/><Relationship Id="rId6" Type="http://schemas.openxmlformats.org/officeDocument/2006/relationships/theme" Target="../theme/theme15.xml"/><Relationship Id="rId11" Type="http://schemas.openxmlformats.org/officeDocument/2006/relationships/tags" Target="../tags/tag239.xml"/><Relationship Id="rId24" Type="http://schemas.openxmlformats.org/officeDocument/2006/relationships/oleObject" Target="../embeddings/oleObject71.bin"/><Relationship Id="rId5" Type="http://schemas.openxmlformats.org/officeDocument/2006/relationships/slideLayout" Target="../slideLayouts/slideLayout88.xml"/><Relationship Id="rId15" Type="http://schemas.openxmlformats.org/officeDocument/2006/relationships/tags" Target="../tags/tag243.xml"/><Relationship Id="rId23" Type="http://schemas.openxmlformats.org/officeDocument/2006/relationships/tags" Target="../tags/tag251.xml"/><Relationship Id="rId10" Type="http://schemas.openxmlformats.org/officeDocument/2006/relationships/tags" Target="../tags/tag238.xml"/><Relationship Id="rId19" Type="http://schemas.openxmlformats.org/officeDocument/2006/relationships/tags" Target="../tags/tag247.xml"/><Relationship Id="rId4" Type="http://schemas.openxmlformats.org/officeDocument/2006/relationships/slideLayout" Target="../slideLayouts/slideLayout87.xml"/><Relationship Id="rId9" Type="http://schemas.openxmlformats.org/officeDocument/2006/relationships/tags" Target="../tags/tag237.xml"/><Relationship Id="rId14" Type="http://schemas.openxmlformats.org/officeDocument/2006/relationships/tags" Target="../tags/tag242.xml"/><Relationship Id="rId22" Type="http://schemas.openxmlformats.org/officeDocument/2006/relationships/tags" Target="../tags/tag250.xml"/><Relationship Id="rId27" Type="http://schemas.openxmlformats.org/officeDocument/2006/relationships/image" Target="../media/image18.png"/></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tags" Target="../tags/tag263.xml"/><Relationship Id="rId18" Type="http://schemas.openxmlformats.org/officeDocument/2006/relationships/tags" Target="../tags/tag268.xml"/><Relationship Id="rId26" Type="http://schemas.openxmlformats.org/officeDocument/2006/relationships/image" Target="../media/image18.png"/><Relationship Id="rId3" Type="http://schemas.openxmlformats.org/officeDocument/2006/relationships/slideLayout" Target="../slideLayouts/slideLayout91.xml"/><Relationship Id="rId21" Type="http://schemas.openxmlformats.org/officeDocument/2006/relationships/tags" Target="../tags/tag271.xml"/><Relationship Id="rId7" Type="http://schemas.openxmlformats.org/officeDocument/2006/relationships/tags" Target="../tags/tag257.xml"/><Relationship Id="rId12" Type="http://schemas.openxmlformats.org/officeDocument/2006/relationships/tags" Target="../tags/tag262.xml"/><Relationship Id="rId17" Type="http://schemas.openxmlformats.org/officeDocument/2006/relationships/tags" Target="../tags/tag267.xml"/><Relationship Id="rId25" Type="http://schemas.openxmlformats.org/officeDocument/2006/relationships/image" Target="../media/image17.emf"/><Relationship Id="rId2" Type="http://schemas.openxmlformats.org/officeDocument/2006/relationships/slideLayout" Target="../slideLayouts/slideLayout90.xml"/><Relationship Id="rId16" Type="http://schemas.openxmlformats.org/officeDocument/2006/relationships/tags" Target="../tags/tag266.xml"/><Relationship Id="rId20" Type="http://schemas.openxmlformats.org/officeDocument/2006/relationships/tags" Target="../tags/tag270.xml"/><Relationship Id="rId1" Type="http://schemas.openxmlformats.org/officeDocument/2006/relationships/slideLayout" Target="../slideLayouts/slideLayout89.xml"/><Relationship Id="rId6" Type="http://schemas.openxmlformats.org/officeDocument/2006/relationships/vmlDrawing" Target="../drawings/vmlDrawing76.vml"/><Relationship Id="rId11" Type="http://schemas.openxmlformats.org/officeDocument/2006/relationships/tags" Target="../tags/tag261.xml"/><Relationship Id="rId24" Type="http://schemas.openxmlformats.org/officeDocument/2006/relationships/image" Target="../media/image16.emf"/><Relationship Id="rId5" Type="http://schemas.openxmlformats.org/officeDocument/2006/relationships/theme" Target="../theme/theme16.xml"/><Relationship Id="rId15" Type="http://schemas.openxmlformats.org/officeDocument/2006/relationships/tags" Target="../tags/tag265.xml"/><Relationship Id="rId23" Type="http://schemas.openxmlformats.org/officeDocument/2006/relationships/oleObject" Target="../embeddings/oleObject76.bin"/><Relationship Id="rId10" Type="http://schemas.openxmlformats.org/officeDocument/2006/relationships/tags" Target="../tags/tag260.xml"/><Relationship Id="rId19" Type="http://schemas.openxmlformats.org/officeDocument/2006/relationships/tags" Target="../tags/tag269.xml"/><Relationship Id="rId4" Type="http://schemas.openxmlformats.org/officeDocument/2006/relationships/slideLayout" Target="../slideLayouts/slideLayout92.xml"/><Relationship Id="rId9" Type="http://schemas.openxmlformats.org/officeDocument/2006/relationships/tags" Target="../tags/tag259.xml"/><Relationship Id="rId14" Type="http://schemas.openxmlformats.org/officeDocument/2006/relationships/tags" Target="../tags/tag264.xml"/><Relationship Id="rId22" Type="http://schemas.openxmlformats.org/officeDocument/2006/relationships/tags" Target="../tags/tag272.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tags" Target="../tags/tag283.xml"/><Relationship Id="rId18" Type="http://schemas.openxmlformats.org/officeDocument/2006/relationships/tags" Target="../tags/tag288.xml"/><Relationship Id="rId26" Type="http://schemas.openxmlformats.org/officeDocument/2006/relationships/image" Target="../media/image18.png"/><Relationship Id="rId3" Type="http://schemas.openxmlformats.org/officeDocument/2006/relationships/slideLayout" Target="../slideLayouts/slideLayout95.xml"/><Relationship Id="rId21" Type="http://schemas.openxmlformats.org/officeDocument/2006/relationships/tags" Target="../tags/tag291.xml"/><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tags" Target="../tags/tag287.xml"/><Relationship Id="rId25" Type="http://schemas.openxmlformats.org/officeDocument/2006/relationships/image" Target="../media/image17.emf"/><Relationship Id="rId2" Type="http://schemas.openxmlformats.org/officeDocument/2006/relationships/slideLayout" Target="../slideLayouts/slideLayout94.xml"/><Relationship Id="rId16" Type="http://schemas.openxmlformats.org/officeDocument/2006/relationships/tags" Target="../tags/tag286.xml"/><Relationship Id="rId20" Type="http://schemas.openxmlformats.org/officeDocument/2006/relationships/tags" Target="../tags/tag290.xml"/><Relationship Id="rId1" Type="http://schemas.openxmlformats.org/officeDocument/2006/relationships/slideLayout" Target="../slideLayouts/slideLayout93.xml"/><Relationship Id="rId6" Type="http://schemas.openxmlformats.org/officeDocument/2006/relationships/vmlDrawing" Target="../drawings/vmlDrawing80.vml"/><Relationship Id="rId11" Type="http://schemas.openxmlformats.org/officeDocument/2006/relationships/tags" Target="../tags/tag281.xml"/><Relationship Id="rId24" Type="http://schemas.openxmlformats.org/officeDocument/2006/relationships/image" Target="../media/image16.emf"/><Relationship Id="rId5" Type="http://schemas.openxmlformats.org/officeDocument/2006/relationships/theme" Target="../theme/theme17.xml"/><Relationship Id="rId15" Type="http://schemas.openxmlformats.org/officeDocument/2006/relationships/tags" Target="../tags/tag285.xml"/><Relationship Id="rId23" Type="http://schemas.openxmlformats.org/officeDocument/2006/relationships/oleObject" Target="../embeddings/oleObject80.bin"/><Relationship Id="rId10" Type="http://schemas.openxmlformats.org/officeDocument/2006/relationships/tags" Target="../tags/tag280.xml"/><Relationship Id="rId19" Type="http://schemas.openxmlformats.org/officeDocument/2006/relationships/tags" Target="../tags/tag289.xml"/><Relationship Id="rId4" Type="http://schemas.openxmlformats.org/officeDocument/2006/relationships/slideLayout" Target="../slideLayouts/slideLayout96.xml"/><Relationship Id="rId9" Type="http://schemas.openxmlformats.org/officeDocument/2006/relationships/tags" Target="../tags/tag279.xml"/><Relationship Id="rId14" Type="http://schemas.openxmlformats.org/officeDocument/2006/relationships/tags" Target="../tags/tag284.xml"/><Relationship Id="rId22" Type="http://schemas.openxmlformats.org/officeDocument/2006/relationships/tags" Target="../tags/tag292.xml"/></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297.xml"/><Relationship Id="rId13" Type="http://schemas.openxmlformats.org/officeDocument/2006/relationships/tags" Target="../tags/tag302.xml"/><Relationship Id="rId18" Type="http://schemas.openxmlformats.org/officeDocument/2006/relationships/tags" Target="../tags/tag307.xml"/><Relationship Id="rId26" Type="http://schemas.openxmlformats.org/officeDocument/2006/relationships/image" Target="../media/image17.emf"/><Relationship Id="rId3" Type="http://schemas.openxmlformats.org/officeDocument/2006/relationships/slideLayout" Target="../slideLayouts/slideLayout99.xml"/><Relationship Id="rId21" Type="http://schemas.openxmlformats.org/officeDocument/2006/relationships/tags" Target="../tags/tag310.xml"/><Relationship Id="rId7" Type="http://schemas.openxmlformats.org/officeDocument/2006/relationships/vmlDrawing" Target="../drawings/vmlDrawing84.vml"/><Relationship Id="rId12" Type="http://schemas.openxmlformats.org/officeDocument/2006/relationships/tags" Target="../tags/tag301.xml"/><Relationship Id="rId17" Type="http://schemas.openxmlformats.org/officeDocument/2006/relationships/tags" Target="../tags/tag306.xml"/><Relationship Id="rId25" Type="http://schemas.openxmlformats.org/officeDocument/2006/relationships/image" Target="../media/image16.emf"/><Relationship Id="rId2" Type="http://schemas.openxmlformats.org/officeDocument/2006/relationships/slideLayout" Target="../slideLayouts/slideLayout98.xml"/><Relationship Id="rId16" Type="http://schemas.openxmlformats.org/officeDocument/2006/relationships/tags" Target="../tags/tag305.xml"/><Relationship Id="rId20" Type="http://schemas.openxmlformats.org/officeDocument/2006/relationships/tags" Target="../tags/tag309.xml"/><Relationship Id="rId1" Type="http://schemas.openxmlformats.org/officeDocument/2006/relationships/slideLayout" Target="../slideLayouts/slideLayout97.xml"/><Relationship Id="rId6" Type="http://schemas.openxmlformats.org/officeDocument/2006/relationships/theme" Target="../theme/theme18.xml"/><Relationship Id="rId11" Type="http://schemas.openxmlformats.org/officeDocument/2006/relationships/tags" Target="../tags/tag300.xml"/><Relationship Id="rId24" Type="http://schemas.openxmlformats.org/officeDocument/2006/relationships/oleObject" Target="../embeddings/oleObject84.bin"/><Relationship Id="rId5" Type="http://schemas.openxmlformats.org/officeDocument/2006/relationships/slideLayout" Target="../slideLayouts/slideLayout101.xml"/><Relationship Id="rId15" Type="http://schemas.openxmlformats.org/officeDocument/2006/relationships/tags" Target="../tags/tag304.xml"/><Relationship Id="rId23" Type="http://schemas.openxmlformats.org/officeDocument/2006/relationships/tags" Target="../tags/tag312.xml"/><Relationship Id="rId10" Type="http://schemas.openxmlformats.org/officeDocument/2006/relationships/tags" Target="../tags/tag299.xml"/><Relationship Id="rId19" Type="http://schemas.openxmlformats.org/officeDocument/2006/relationships/tags" Target="../tags/tag308.xml"/><Relationship Id="rId4" Type="http://schemas.openxmlformats.org/officeDocument/2006/relationships/slideLayout" Target="../slideLayouts/slideLayout100.xml"/><Relationship Id="rId9" Type="http://schemas.openxmlformats.org/officeDocument/2006/relationships/tags" Target="../tags/tag298.xml"/><Relationship Id="rId14" Type="http://schemas.openxmlformats.org/officeDocument/2006/relationships/tags" Target="../tags/tag303.xml"/><Relationship Id="rId22" Type="http://schemas.openxmlformats.org/officeDocument/2006/relationships/tags" Target="../tags/tag311.xml"/><Relationship Id="rId27" Type="http://schemas.openxmlformats.org/officeDocument/2006/relationships/image" Target="../media/image18.png"/></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319.xml"/><Relationship Id="rId13" Type="http://schemas.openxmlformats.org/officeDocument/2006/relationships/tags" Target="../tags/tag324.xml"/><Relationship Id="rId18" Type="http://schemas.openxmlformats.org/officeDocument/2006/relationships/tags" Target="../tags/tag329.xml"/><Relationship Id="rId26" Type="http://schemas.openxmlformats.org/officeDocument/2006/relationships/image" Target="../media/image16.emf"/><Relationship Id="rId3" Type="http://schemas.openxmlformats.org/officeDocument/2006/relationships/slideLayout" Target="../slideLayouts/slideLayout104.xml"/><Relationship Id="rId21" Type="http://schemas.openxmlformats.org/officeDocument/2006/relationships/tags" Target="../tags/tag332.xml"/><Relationship Id="rId7" Type="http://schemas.openxmlformats.org/officeDocument/2006/relationships/vmlDrawing" Target="../drawings/vmlDrawing89.vml"/><Relationship Id="rId12" Type="http://schemas.openxmlformats.org/officeDocument/2006/relationships/tags" Target="../tags/tag323.xml"/><Relationship Id="rId17" Type="http://schemas.openxmlformats.org/officeDocument/2006/relationships/tags" Target="../tags/tag328.xml"/><Relationship Id="rId25" Type="http://schemas.openxmlformats.org/officeDocument/2006/relationships/oleObject" Target="../embeddings/oleObject89.bin"/><Relationship Id="rId2" Type="http://schemas.openxmlformats.org/officeDocument/2006/relationships/slideLayout" Target="../slideLayouts/slideLayout103.xml"/><Relationship Id="rId16" Type="http://schemas.openxmlformats.org/officeDocument/2006/relationships/tags" Target="../tags/tag327.xml"/><Relationship Id="rId20" Type="http://schemas.openxmlformats.org/officeDocument/2006/relationships/tags" Target="../tags/tag331.xml"/><Relationship Id="rId1" Type="http://schemas.openxmlformats.org/officeDocument/2006/relationships/slideLayout" Target="../slideLayouts/slideLayout102.xml"/><Relationship Id="rId6" Type="http://schemas.openxmlformats.org/officeDocument/2006/relationships/theme" Target="../theme/theme19.xml"/><Relationship Id="rId11" Type="http://schemas.openxmlformats.org/officeDocument/2006/relationships/tags" Target="../tags/tag322.xml"/><Relationship Id="rId24" Type="http://schemas.openxmlformats.org/officeDocument/2006/relationships/tags" Target="../tags/tag335.xml"/><Relationship Id="rId5" Type="http://schemas.openxmlformats.org/officeDocument/2006/relationships/slideLayout" Target="../slideLayouts/slideLayout106.xml"/><Relationship Id="rId15" Type="http://schemas.openxmlformats.org/officeDocument/2006/relationships/tags" Target="../tags/tag326.xml"/><Relationship Id="rId23" Type="http://schemas.openxmlformats.org/officeDocument/2006/relationships/tags" Target="../tags/tag334.xml"/><Relationship Id="rId28" Type="http://schemas.openxmlformats.org/officeDocument/2006/relationships/image" Target="../media/image18.png"/><Relationship Id="rId10" Type="http://schemas.openxmlformats.org/officeDocument/2006/relationships/tags" Target="../tags/tag321.xml"/><Relationship Id="rId19" Type="http://schemas.openxmlformats.org/officeDocument/2006/relationships/tags" Target="../tags/tag330.xml"/><Relationship Id="rId4" Type="http://schemas.openxmlformats.org/officeDocument/2006/relationships/slideLayout" Target="../slideLayouts/slideLayout105.xml"/><Relationship Id="rId9" Type="http://schemas.openxmlformats.org/officeDocument/2006/relationships/tags" Target="../tags/tag320.xml"/><Relationship Id="rId14" Type="http://schemas.openxmlformats.org/officeDocument/2006/relationships/tags" Target="../tags/tag325.xml"/><Relationship Id="rId22" Type="http://schemas.openxmlformats.org/officeDocument/2006/relationships/tags" Target="../tags/tag333.xml"/><Relationship Id="rId27" Type="http://schemas.openxmlformats.org/officeDocument/2006/relationships/image" Target="../media/image17.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6"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9.png"/><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1.png"/></Relationships>
</file>

<file path=ppt/slideMasters/_rels/slideMaster20.xml.rels><?xml version="1.0" encoding="UTF-8" standalone="yes"?>
<Relationships xmlns="http://schemas.openxmlformats.org/package/2006/relationships"><Relationship Id="rId8" Type="http://schemas.openxmlformats.org/officeDocument/2006/relationships/tags" Target="../tags/tag341.xml"/><Relationship Id="rId13" Type="http://schemas.openxmlformats.org/officeDocument/2006/relationships/tags" Target="../tags/tag346.xml"/><Relationship Id="rId18" Type="http://schemas.openxmlformats.org/officeDocument/2006/relationships/tags" Target="../tags/tag351.xml"/><Relationship Id="rId26" Type="http://schemas.openxmlformats.org/officeDocument/2006/relationships/image" Target="../media/image16.emf"/><Relationship Id="rId3" Type="http://schemas.openxmlformats.org/officeDocument/2006/relationships/slideLayout" Target="../slideLayouts/slideLayout109.xml"/><Relationship Id="rId21" Type="http://schemas.openxmlformats.org/officeDocument/2006/relationships/tags" Target="../tags/tag354.xml"/><Relationship Id="rId7" Type="http://schemas.openxmlformats.org/officeDocument/2006/relationships/vmlDrawing" Target="../drawings/vmlDrawing94.vml"/><Relationship Id="rId12" Type="http://schemas.openxmlformats.org/officeDocument/2006/relationships/tags" Target="../tags/tag345.xml"/><Relationship Id="rId17" Type="http://schemas.openxmlformats.org/officeDocument/2006/relationships/tags" Target="../tags/tag350.xml"/><Relationship Id="rId25" Type="http://schemas.openxmlformats.org/officeDocument/2006/relationships/oleObject" Target="../embeddings/oleObject94.bin"/><Relationship Id="rId2" Type="http://schemas.openxmlformats.org/officeDocument/2006/relationships/slideLayout" Target="../slideLayouts/slideLayout108.xml"/><Relationship Id="rId16" Type="http://schemas.openxmlformats.org/officeDocument/2006/relationships/tags" Target="../tags/tag349.xml"/><Relationship Id="rId20" Type="http://schemas.openxmlformats.org/officeDocument/2006/relationships/tags" Target="../tags/tag353.xml"/><Relationship Id="rId1" Type="http://schemas.openxmlformats.org/officeDocument/2006/relationships/slideLayout" Target="../slideLayouts/slideLayout107.xml"/><Relationship Id="rId6" Type="http://schemas.openxmlformats.org/officeDocument/2006/relationships/theme" Target="../theme/theme20.xml"/><Relationship Id="rId11" Type="http://schemas.openxmlformats.org/officeDocument/2006/relationships/tags" Target="../tags/tag344.xml"/><Relationship Id="rId24" Type="http://schemas.openxmlformats.org/officeDocument/2006/relationships/tags" Target="../tags/tag357.xml"/><Relationship Id="rId5" Type="http://schemas.openxmlformats.org/officeDocument/2006/relationships/slideLayout" Target="../slideLayouts/slideLayout111.xml"/><Relationship Id="rId15" Type="http://schemas.openxmlformats.org/officeDocument/2006/relationships/tags" Target="../tags/tag348.xml"/><Relationship Id="rId23" Type="http://schemas.openxmlformats.org/officeDocument/2006/relationships/tags" Target="../tags/tag356.xml"/><Relationship Id="rId28" Type="http://schemas.openxmlformats.org/officeDocument/2006/relationships/image" Target="../media/image18.png"/><Relationship Id="rId10" Type="http://schemas.openxmlformats.org/officeDocument/2006/relationships/tags" Target="../tags/tag343.xml"/><Relationship Id="rId19" Type="http://schemas.openxmlformats.org/officeDocument/2006/relationships/tags" Target="../tags/tag352.xml"/><Relationship Id="rId4" Type="http://schemas.openxmlformats.org/officeDocument/2006/relationships/slideLayout" Target="../slideLayouts/slideLayout110.xml"/><Relationship Id="rId9" Type="http://schemas.openxmlformats.org/officeDocument/2006/relationships/tags" Target="../tags/tag342.xml"/><Relationship Id="rId14" Type="http://schemas.openxmlformats.org/officeDocument/2006/relationships/tags" Target="../tags/tag347.xml"/><Relationship Id="rId22" Type="http://schemas.openxmlformats.org/officeDocument/2006/relationships/tags" Target="../tags/tag355.xml"/><Relationship Id="rId27" Type="http://schemas.openxmlformats.org/officeDocument/2006/relationships/image" Target="../media/image17.emf"/></Relationships>
</file>

<file path=ppt/slideMasters/_rels/slideMaster21.xml.rels><?xml version="1.0" encoding="UTF-8" standalone="yes"?>
<Relationships xmlns="http://schemas.openxmlformats.org/package/2006/relationships"><Relationship Id="rId8" Type="http://schemas.openxmlformats.org/officeDocument/2006/relationships/tags" Target="../tags/tag364.xml"/><Relationship Id="rId13" Type="http://schemas.openxmlformats.org/officeDocument/2006/relationships/tags" Target="../tags/tag369.xml"/><Relationship Id="rId18" Type="http://schemas.openxmlformats.org/officeDocument/2006/relationships/tags" Target="../tags/tag374.xml"/><Relationship Id="rId26" Type="http://schemas.openxmlformats.org/officeDocument/2006/relationships/image" Target="../media/image16.emf"/><Relationship Id="rId3" Type="http://schemas.openxmlformats.org/officeDocument/2006/relationships/slideLayout" Target="../slideLayouts/slideLayout114.xml"/><Relationship Id="rId21" Type="http://schemas.openxmlformats.org/officeDocument/2006/relationships/tags" Target="../tags/tag377.xml"/><Relationship Id="rId7" Type="http://schemas.openxmlformats.org/officeDocument/2006/relationships/vmlDrawing" Target="../drawings/vmlDrawing99.vml"/><Relationship Id="rId12" Type="http://schemas.openxmlformats.org/officeDocument/2006/relationships/tags" Target="../tags/tag368.xml"/><Relationship Id="rId17" Type="http://schemas.openxmlformats.org/officeDocument/2006/relationships/tags" Target="../tags/tag373.xml"/><Relationship Id="rId25" Type="http://schemas.openxmlformats.org/officeDocument/2006/relationships/oleObject" Target="../embeddings/oleObject99.bin"/><Relationship Id="rId2" Type="http://schemas.openxmlformats.org/officeDocument/2006/relationships/slideLayout" Target="../slideLayouts/slideLayout113.xml"/><Relationship Id="rId16" Type="http://schemas.openxmlformats.org/officeDocument/2006/relationships/tags" Target="../tags/tag372.xml"/><Relationship Id="rId20" Type="http://schemas.openxmlformats.org/officeDocument/2006/relationships/tags" Target="../tags/tag376.xml"/><Relationship Id="rId1" Type="http://schemas.openxmlformats.org/officeDocument/2006/relationships/slideLayout" Target="../slideLayouts/slideLayout112.xml"/><Relationship Id="rId6" Type="http://schemas.openxmlformats.org/officeDocument/2006/relationships/theme" Target="../theme/theme21.xml"/><Relationship Id="rId11" Type="http://schemas.openxmlformats.org/officeDocument/2006/relationships/tags" Target="../tags/tag367.xml"/><Relationship Id="rId24" Type="http://schemas.openxmlformats.org/officeDocument/2006/relationships/tags" Target="../tags/tag380.xml"/><Relationship Id="rId5" Type="http://schemas.openxmlformats.org/officeDocument/2006/relationships/slideLayout" Target="../slideLayouts/slideLayout116.xml"/><Relationship Id="rId15" Type="http://schemas.openxmlformats.org/officeDocument/2006/relationships/tags" Target="../tags/tag371.xml"/><Relationship Id="rId23" Type="http://schemas.openxmlformats.org/officeDocument/2006/relationships/tags" Target="../tags/tag379.xml"/><Relationship Id="rId28" Type="http://schemas.openxmlformats.org/officeDocument/2006/relationships/image" Target="../media/image18.png"/><Relationship Id="rId10" Type="http://schemas.openxmlformats.org/officeDocument/2006/relationships/tags" Target="../tags/tag366.xml"/><Relationship Id="rId19" Type="http://schemas.openxmlformats.org/officeDocument/2006/relationships/tags" Target="../tags/tag375.xml"/><Relationship Id="rId4" Type="http://schemas.openxmlformats.org/officeDocument/2006/relationships/slideLayout" Target="../slideLayouts/slideLayout115.xml"/><Relationship Id="rId9" Type="http://schemas.openxmlformats.org/officeDocument/2006/relationships/tags" Target="../tags/tag365.xml"/><Relationship Id="rId14" Type="http://schemas.openxmlformats.org/officeDocument/2006/relationships/tags" Target="../tags/tag370.xml"/><Relationship Id="rId22" Type="http://schemas.openxmlformats.org/officeDocument/2006/relationships/tags" Target="../tags/tag378.xml"/><Relationship Id="rId27" Type="http://schemas.openxmlformats.org/officeDocument/2006/relationships/image" Target="../media/image17.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vmlDrawing" Target="../drawings/vmlDrawing7.vml"/><Relationship Id="rId18" Type="http://schemas.openxmlformats.org/officeDocument/2006/relationships/image" Target="../media/image15.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17" Type="http://schemas.openxmlformats.org/officeDocument/2006/relationships/image" Target="../media/image14.png"/><Relationship Id="rId2" Type="http://schemas.openxmlformats.org/officeDocument/2006/relationships/slideLayout" Target="../slideLayouts/slideLayout20.xml"/><Relationship Id="rId16" Type="http://schemas.openxmlformats.org/officeDocument/2006/relationships/image" Target="../media/image13.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oleObject" Target="../embeddings/oleObject7.bin"/><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1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ags" Target="../tags/tag30.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vmlDrawing" Target="../drawings/vmlDrawing16.vml"/><Relationship Id="rId17" Type="http://schemas.openxmlformats.org/officeDocument/2006/relationships/image" Target="../media/image15.png"/><Relationship Id="rId2" Type="http://schemas.openxmlformats.org/officeDocument/2006/relationships/slideLayout" Target="../slideLayouts/slideLayout31.xml"/><Relationship Id="rId16" Type="http://schemas.openxmlformats.org/officeDocument/2006/relationships/image" Target="../media/image14.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4.xml"/><Relationship Id="rId5" Type="http://schemas.openxmlformats.org/officeDocument/2006/relationships/slideLayout" Target="../slideLayouts/slideLayout34.xml"/><Relationship Id="rId15" Type="http://schemas.openxmlformats.org/officeDocument/2006/relationships/image" Target="../media/image13.emf"/><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oleObject" Target="../embeddings/oleObject16.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vmlDrawing" Target="../drawings/vmlDrawing25.vml"/><Relationship Id="rId18" Type="http://schemas.openxmlformats.org/officeDocument/2006/relationships/image" Target="../media/image15.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5.xml"/><Relationship Id="rId17" Type="http://schemas.openxmlformats.org/officeDocument/2006/relationships/image" Target="../media/image14.png"/><Relationship Id="rId2" Type="http://schemas.openxmlformats.org/officeDocument/2006/relationships/slideLayout" Target="../slideLayouts/slideLayout41.xml"/><Relationship Id="rId16" Type="http://schemas.openxmlformats.org/officeDocument/2006/relationships/image" Target="../media/image13.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oleObject" Target="../embeddings/oleObject25.bin"/><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ags" Target="../tags/tag47.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image" Target="../media/image14.png"/><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image" Target="../media/image13.emf"/><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oleObject" Target="../embeddings/oleObject34.bin"/><Relationship Id="rId5" Type="http://schemas.openxmlformats.org/officeDocument/2006/relationships/slideLayout" Target="../slideLayouts/slideLayout55.xml"/><Relationship Id="rId10" Type="http://schemas.openxmlformats.org/officeDocument/2006/relationships/tags" Target="../tags/tag64.xml"/><Relationship Id="rId4" Type="http://schemas.openxmlformats.org/officeDocument/2006/relationships/slideLayout" Target="../slideLayouts/slideLayout54.xml"/><Relationship Id="rId9" Type="http://schemas.openxmlformats.org/officeDocument/2006/relationships/vmlDrawing" Target="../drawings/vmlDrawing34.vml"/><Relationship Id="rId14" Type="http://schemas.openxmlformats.org/officeDocument/2006/relationships/image" Target="../media/image15.png"/></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3" Type="http://schemas.openxmlformats.org/officeDocument/2006/relationships/slideLayout" Target="../slideLayouts/slideLayout60.xml"/><Relationship Id="rId21" Type="http://schemas.openxmlformats.org/officeDocument/2006/relationships/tags" Target="../tags/tag94.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image" Target="../media/image18.png"/><Relationship Id="rId2" Type="http://schemas.openxmlformats.org/officeDocument/2006/relationships/slideLayout" Target="../slideLayouts/slideLayout59.xml"/><Relationship Id="rId16" Type="http://schemas.openxmlformats.org/officeDocument/2006/relationships/tags" Target="../tags/tag89.xml"/><Relationship Id="rId20" Type="http://schemas.openxmlformats.org/officeDocument/2006/relationships/tags" Target="../tags/tag93.xml"/><Relationship Id="rId1" Type="http://schemas.openxmlformats.org/officeDocument/2006/relationships/slideLayout" Target="../slideLayouts/slideLayout58.x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image" Target="../media/image17.emf"/><Relationship Id="rId5" Type="http://schemas.openxmlformats.org/officeDocument/2006/relationships/vmlDrawing" Target="../drawings/vmlDrawing42.vml"/><Relationship Id="rId15" Type="http://schemas.openxmlformats.org/officeDocument/2006/relationships/tags" Target="../tags/tag88.xml"/><Relationship Id="rId23" Type="http://schemas.openxmlformats.org/officeDocument/2006/relationships/image" Target="../media/image16.emf"/><Relationship Id="rId10" Type="http://schemas.openxmlformats.org/officeDocument/2006/relationships/tags" Target="../tags/tag83.xml"/><Relationship Id="rId19" Type="http://schemas.openxmlformats.org/officeDocument/2006/relationships/tags" Target="../tags/tag92.xml"/><Relationship Id="rId4" Type="http://schemas.openxmlformats.org/officeDocument/2006/relationships/theme" Target="../theme/theme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oleObject" Target="../embeddings/oleObject42.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3" Type="http://schemas.openxmlformats.org/officeDocument/2006/relationships/theme" Target="../theme/theme8.xml"/><Relationship Id="rId21" Type="http://schemas.openxmlformats.org/officeDocument/2006/relationships/oleObject" Target="../embeddings/oleObject45.bin"/><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image" Target="../media/image18.png"/><Relationship Id="rId2" Type="http://schemas.openxmlformats.org/officeDocument/2006/relationships/slideLayout" Target="../slideLayouts/slideLayout62.xml"/><Relationship Id="rId16" Type="http://schemas.openxmlformats.org/officeDocument/2006/relationships/tags" Target="../tags/tag109.xml"/><Relationship Id="rId20" Type="http://schemas.openxmlformats.org/officeDocument/2006/relationships/tags" Target="../tags/tag113.xml"/><Relationship Id="rId1" Type="http://schemas.openxmlformats.org/officeDocument/2006/relationships/slideLayout" Target="../slideLayouts/slideLayout61.x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image" Target="../media/image17.emf"/><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image" Target="../media/image22.png"/><Relationship Id="rId10" Type="http://schemas.openxmlformats.org/officeDocument/2006/relationships/tags" Target="../tags/tag103.xml"/><Relationship Id="rId19" Type="http://schemas.openxmlformats.org/officeDocument/2006/relationships/tags" Target="../tags/tag112.xml"/><Relationship Id="rId4" Type="http://schemas.openxmlformats.org/officeDocument/2006/relationships/vmlDrawing" Target="../drawings/vmlDrawing45.v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image" Target="../media/image16.emf"/></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18" Type="http://schemas.openxmlformats.org/officeDocument/2006/relationships/tags" Target="../tags/tag127.xml"/><Relationship Id="rId3" Type="http://schemas.openxmlformats.org/officeDocument/2006/relationships/slideLayout" Target="../slideLayouts/slideLayout65.xml"/><Relationship Id="rId21" Type="http://schemas.openxmlformats.org/officeDocument/2006/relationships/tags" Target="../tags/tag130.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5" Type="http://schemas.openxmlformats.org/officeDocument/2006/relationships/image" Target="../media/image18.png"/><Relationship Id="rId2" Type="http://schemas.openxmlformats.org/officeDocument/2006/relationships/slideLayout" Target="../slideLayouts/slideLayout64.xml"/><Relationship Id="rId16" Type="http://schemas.openxmlformats.org/officeDocument/2006/relationships/tags" Target="../tags/tag125.xml"/><Relationship Id="rId20" Type="http://schemas.openxmlformats.org/officeDocument/2006/relationships/tags" Target="../tags/tag129.xml"/><Relationship Id="rId1" Type="http://schemas.openxmlformats.org/officeDocument/2006/relationships/slideLayout" Target="../slideLayouts/slideLayout63.xml"/><Relationship Id="rId6" Type="http://schemas.openxmlformats.org/officeDocument/2006/relationships/tags" Target="../tags/tag115.xml"/><Relationship Id="rId11" Type="http://schemas.openxmlformats.org/officeDocument/2006/relationships/tags" Target="../tags/tag120.xml"/><Relationship Id="rId24" Type="http://schemas.openxmlformats.org/officeDocument/2006/relationships/image" Target="../media/image17.emf"/><Relationship Id="rId5" Type="http://schemas.openxmlformats.org/officeDocument/2006/relationships/vmlDrawing" Target="../drawings/vmlDrawing47.vml"/><Relationship Id="rId15" Type="http://schemas.openxmlformats.org/officeDocument/2006/relationships/tags" Target="../tags/tag124.xml"/><Relationship Id="rId23" Type="http://schemas.openxmlformats.org/officeDocument/2006/relationships/image" Target="../media/image16.emf"/><Relationship Id="rId10" Type="http://schemas.openxmlformats.org/officeDocument/2006/relationships/tags" Target="../tags/tag119.xml"/><Relationship Id="rId19" Type="http://schemas.openxmlformats.org/officeDocument/2006/relationships/tags" Target="../tags/tag128.xml"/><Relationship Id="rId4" Type="http://schemas.openxmlformats.org/officeDocument/2006/relationships/theme" Target="../theme/theme9.xml"/><Relationship Id="rId9" Type="http://schemas.openxmlformats.org/officeDocument/2006/relationships/tags" Target="../tags/tag118.xml"/><Relationship Id="rId14" Type="http://schemas.openxmlformats.org/officeDocument/2006/relationships/tags" Target="../tags/tag123.xml"/><Relationship Id="rId22" Type="http://schemas.openxmlformats.org/officeDocument/2006/relationships/oleObject" Target="../embeddings/oleObject47.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alpha val="10980"/>
          </a:schemeClr>
        </a:solidFill>
        <a:effectLst/>
      </p:bgPr>
    </p:bg>
    <p:spTree>
      <p:nvGrpSpPr>
        <p:cNvPr id="1" name="Shape 9"/>
        <p:cNvGrpSpPr/>
        <p:nvPr/>
      </p:nvGrpSpPr>
      <p:grpSpPr>
        <a:xfrm>
          <a:off x="0" y="0"/>
          <a:ext cx="0" cy="0"/>
          <a:chOff x="0" y="0"/>
          <a:chExt cx="0" cy="0"/>
        </a:xfrm>
      </p:grpSpPr>
      <p:pic>
        <p:nvPicPr>
          <p:cNvPr id="10" name="Google Shape;10;p1"/>
          <p:cNvPicPr preferRelativeResize="0"/>
          <p:nvPr/>
        </p:nvPicPr>
        <p:blipFill rotWithShape="1">
          <a:blip r:embed="rId8">
            <a:alphaModFix/>
          </a:blip>
          <a:srcRect/>
          <a:stretch/>
        </p:blipFill>
        <p:spPr>
          <a:xfrm>
            <a:off x="1588" y="1588"/>
            <a:ext cx="1588" cy="1588"/>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2" r:id="rId4"/>
    <p:sldLayoutId id="2147483654" r:id="rId5"/>
    <p:sldLayoutId id="2147483655"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12931"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5"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smtClean="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smtClean="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a:t>
              </a:r>
              <a:r>
                <a:rPr lang="x-none" sz="800" kern="1200" smtClean="0">
                  <a:ea typeface="+mn-ea"/>
                  <a:cs typeface="+mn-cs"/>
                </a:rPr>
                <a:t>Source</a:t>
              </a:r>
              <a:endParaRPr lang="en-US" sz="800" kern="1200" smtClean="0">
                <a:ea typeface="+mn-ea"/>
                <a:cs typeface="+mn-cs"/>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smtClean="0">
                  <a:solidFill>
                    <a:srgbClr val="808080"/>
                  </a:solidFill>
                  <a:ea typeface="+mn-ea"/>
                  <a:cs typeface="+mn-cs"/>
                </a:rPr>
                <a:t>STICKER</a:t>
              </a:r>
              <a:endParaRPr lang="x-none" sz="800" kern="1200">
                <a:solidFill>
                  <a:srgbClr val="808080"/>
                </a:solidFill>
                <a:ea typeface="+mn-ea"/>
                <a:cs typeface="+mn-cs"/>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8"/>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9"/>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grpSp>
    </p:spTree>
    <p:extLst>
      <p:ext uri="{BB962C8B-B14F-4D97-AF65-F5344CB8AC3E}">
        <p14:creationId xmlns:p14="http://schemas.microsoft.com/office/powerpoint/2010/main" val="2942035210"/>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4" r:id="rId4"/>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18051"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3"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smtClean="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smtClean="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a:t>
              </a:r>
              <a:r>
                <a:rPr lang="x-none" sz="800" kern="1200" smtClean="0">
                  <a:ea typeface="+mn-ea"/>
                  <a:cs typeface="+mn-cs"/>
                </a:rPr>
                <a:t>Source</a:t>
              </a:r>
              <a:endParaRPr lang="en-US" sz="800" kern="1200" smtClean="0">
                <a:ea typeface="+mn-ea"/>
                <a:cs typeface="+mn-cs"/>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smtClean="0">
                  <a:solidFill>
                    <a:srgbClr val="808080"/>
                  </a:solidFill>
                  <a:ea typeface="+mn-ea"/>
                  <a:cs typeface="+mn-cs"/>
                </a:rPr>
                <a:t>STICKER</a:t>
              </a:r>
              <a:endParaRPr lang="x-none" sz="800" kern="1200">
                <a:solidFill>
                  <a:srgbClr val="808080"/>
                </a:solidFill>
                <a:ea typeface="+mn-ea"/>
                <a:cs typeface="+mn-cs"/>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6"/>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7"/>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1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8"/>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9"/>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0"/>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grpSp>
    </p:spTree>
    <p:extLst>
      <p:ext uri="{BB962C8B-B14F-4D97-AF65-F5344CB8AC3E}">
        <p14:creationId xmlns:p14="http://schemas.microsoft.com/office/powerpoint/2010/main" val="3051468500"/>
      </p:ext>
    </p:extLst>
  </p:cSld>
  <p:clrMap bg1="lt1" tx1="dk1" bg2="lt2" tx2="dk2" accent1="accent1" accent2="accent2" accent3="accent3" accent4="accent4" accent5="accent5" accent6="accent6" hlink="hlink" folHlink="folHlink"/>
  <p:sldLayoutIdLst>
    <p:sldLayoutId id="2147483766" r:id="rId1"/>
    <p:sldLayoutId id="2147483767" r:id="rId2"/>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21123"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3"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smtClean="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smtClean="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a:t>
              </a:r>
              <a:r>
                <a:rPr lang="x-none" sz="800" kern="1200" smtClean="0">
                  <a:ea typeface="+mn-ea"/>
                  <a:cs typeface="+mn-cs"/>
                </a:rPr>
                <a:t>Source</a:t>
              </a:r>
              <a:endParaRPr lang="en-US" sz="800" kern="1200" smtClean="0">
                <a:ea typeface="+mn-ea"/>
                <a:cs typeface="+mn-cs"/>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smtClean="0">
                  <a:solidFill>
                    <a:srgbClr val="808080"/>
                  </a:solidFill>
                  <a:ea typeface="+mn-ea"/>
                  <a:cs typeface="+mn-cs"/>
                </a:rPr>
                <a:t>STICKER</a:t>
              </a:r>
              <a:endParaRPr lang="x-none" sz="800" kern="1200">
                <a:solidFill>
                  <a:srgbClr val="808080"/>
                </a:solidFill>
                <a:ea typeface="+mn-ea"/>
                <a:cs typeface="+mn-cs"/>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6"/>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7"/>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1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8"/>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9"/>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0"/>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grpSp>
    </p:spTree>
    <p:extLst>
      <p:ext uri="{BB962C8B-B14F-4D97-AF65-F5344CB8AC3E}">
        <p14:creationId xmlns:p14="http://schemas.microsoft.com/office/powerpoint/2010/main" val="3356735623"/>
      </p:ext>
    </p:extLst>
  </p:cSld>
  <p:clrMap bg1="lt1" tx1="dk1" bg2="lt2" tx2="dk2" accent1="accent1" accent2="accent2" accent3="accent3" accent4="accent4" accent5="accent5" accent6="accent6" hlink="hlink" folHlink="folHlink"/>
  <p:sldLayoutIdLst>
    <p:sldLayoutId id="2147483769" r:id="rId1"/>
    <p:sldLayoutId id="2147483770" r:id="rId2"/>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28268"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5"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smtClean="0">
                <a:solidFill>
                  <a:srgbClr val="808080"/>
                </a:solidFill>
                <a:latin typeface="Arial"/>
                <a:ea typeface="+mn-ea"/>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rPr>
                <a:t>Title</a:t>
              </a:r>
            </a:p>
            <a:p>
              <a:pPr fontAlgn="base">
                <a:spcBef>
                  <a:spcPct val="0"/>
                </a:spcBef>
                <a:spcAft>
                  <a:spcPct val="0"/>
                </a:spcAft>
                <a:buClrTx/>
                <a:buFontTx/>
                <a:buNone/>
              </a:pPr>
              <a:r>
                <a:rPr lang="en-US" sz="1600" kern="1200">
                  <a:solidFill>
                    <a:srgbClr val="808080"/>
                  </a:solidFill>
                  <a:ea typeface="+mn-ea"/>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rPr>
              <a:pPr algn="r" fontAlgn="base">
                <a:spcBef>
                  <a:spcPct val="0"/>
                </a:spcBef>
                <a:spcAft>
                  <a:spcPct val="0"/>
                </a:spcAft>
                <a:buClrTx/>
                <a:buFontTx/>
                <a:buNone/>
              </a:pPr>
              <a:t>‹#›</a:t>
            </a:fld>
            <a:endParaRPr lang="en-US" sz="800" kern="1200">
              <a:ea typeface="+mn-ea"/>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smtClean="0">
                  <a:solidFill>
                    <a:srgbClr val="000000"/>
                  </a:solidFill>
                  <a:latin typeface="Arial"/>
                  <a:ea typeface="+mn-ea"/>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rPr>
                <a:t>SOURCE : </a:t>
              </a:r>
              <a:r>
                <a:rPr lang="x-none" sz="800" kern="1200" smtClean="0">
                  <a:ea typeface="+mn-ea"/>
                </a:rPr>
                <a:t>Source</a:t>
              </a:r>
              <a:endParaRPr lang="en-US" sz="800" kern="1200" smtClean="0">
                <a:ea typeface="+mn-ea"/>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smtClean="0">
                  <a:solidFill>
                    <a:srgbClr val="808080"/>
                  </a:solidFill>
                  <a:ea typeface="+mn-ea"/>
                </a:rPr>
                <a:t>STICKER</a:t>
              </a:r>
              <a:endParaRPr lang="x-none" sz="800" kern="1200">
                <a:solidFill>
                  <a:srgbClr val="808080"/>
                </a:solidFill>
                <a:ea typeface="+mn-ea"/>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rPr>
                <a:t>Legend</a:t>
              </a:r>
              <a:endParaRPr lang="x-none" sz="1200" kern="1200">
                <a:ea typeface="+mn-ea"/>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rPr>
                <a:t>Legend</a:t>
              </a:r>
              <a:endParaRPr lang="x-none" sz="1200" kern="1200">
                <a:ea typeface="+mn-ea"/>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rPr>
                <a:t>Legend</a:t>
              </a:r>
              <a:endParaRPr lang="x-none" sz="1200" kern="1200">
                <a:ea typeface="+mn-ea"/>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rPr>
                <a:t>Legend</a:t>
              </a:r>
              <a:endParaRPr lang="x-none" sz="1200" kern="1200">
                <a:ea typeface="+mn-ea"/>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rPr>
                <a:t>Legend</a:t>
              </a:r>
              <a:endParaRPr lang="x-none" sz="1200" kern="1200">
                <a:ea typeface="+mn-ea"/>
              </a:endParaRP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8"/>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8"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grpSp>
          <p:nvGrpSpPr>
            <p:cNvPr id="130" name="MoonLegend2"/>
            <p:cNvGrpSpPr>
              <a:grpSpLocks noChangeAspect="1"/>
            </p:cNvGrpSpPr>
            <p:nvPr>
              <p:custDataLst>
                <p:tags r:id="rId9"/>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6"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grpSp>
          <p:nvGrpSpPr>
            <p:cNvPr id="131"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4"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grpSp>
          <p:nvGrpSpPr>
            <p:cNvPr id="132"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2"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grpSp>
          <p:nvGrpSpPr>
            <p:cNvPr id="133"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0"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rPr>
                <a:t>Legend</a:t>
              </a:r>
              <a:endParaRPr lang="x-none" sz="1200" kern="1200">
                <a:ea typeface="+mn-ea"/>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rPr>
                <a:t>Legend</a:t>
              </a:r>
              <a:endParaRPr lang="x-none" sz="1200" kern="1200">
                <a:ea typeface="+mn-ea"/>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rPr>
                <a:t>Legend</a:t>
              </a:r>
              <a:endParaRPr lang="x-none" sz="1200" kern="1200">
                <a:ea typeface="+mn-ea"/>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rPr>
                <a:t>Legend</a:t>
              </a:r>
              <a:endParaRPr lang="x-none" sz="1200" kern="1200">
                <a:ea typeface="+mn-ea"/>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rPr>
                <a:t>Legend</a:t>
              </a:r>
              <a:endParaRPr lang="x-none" sz="1200" kern="1200">
                <a:ea typeface="+mn-ea"/>
              </a:endParaRPr>
            </a:p>
          </p:txBody>
        </p:sp>
      </p:grpSp>
    </p:spTree>
    <p:extLst>
      <p:ext uri="{BB962C8B-B14F-4D97-AF65-F5344CB8AC3E}">
        <p14:creationId xmlns:p14="http://schemas.microsoft.com/office/powerpoint/2010/main" val="399668478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6" r:id="rId4"/>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37462"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10"/>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293" rtl="0" eaLnBrk="1" fontAlgn="auto" latinLnBrk="0" hangingPunct="1">
              <a:lnSpc>
                <a:spcPct val="100000"/>
              </a:lnSpc>
              <a:spcBef>
                <a:spcPct val="0"/>
              </a:spcBef>
              <a:spcAft>
                <a:spcPct val="0"/>
              </a:spcAft>
              <a:buClrTx/>
              <a:buSzTx/>
              <a:buFontTx/>
              <a:buNone/>
              <a:tabLst/>
              <a:defRPr/>
            </a:pPr>
            <a:endParaRPr kumimoji="0" lang="en-US" sz="1900" b="1" i="0" u="none" strike="noStrike" kern="1200" cap="none" spc="0" normalizeH="0" baseline="0" noProof="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pic>
        <p:nvPicPr>
          <p:cNvPr id="59" name="Picture 58"/>
          <p:cNvPicPr>
            <a:picLocks/>
          </p:cNvPicPr>
          <p:nvPr userDrawn="1"/>
        </p:nvPicPr>
        <p:blipFill>
          <a:blip r:embed="rId28"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42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808080"/>
                </a:solidFill>
                <a:effectLst/>
                <a:uLnTx/>
                <a:uFillTx/>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808080"/>
                  </a:solidFill>
                  <a:effectLst/>
                  <a:uLnTx/>
                  <a:uFillTx/>
                  <a:latin typeface="Aria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x-none" sz="800" b="0" i="0" u="none" strike="noStrike" kern="1200" cap="none" spc="0" normalizeH="0" baseline="0" noProof="0">
                  <a:ln>
                    <a:noFill/>
                  </a:ln>
                  <a:solidFill>
                    <a:srgbClr val="000000"/>
                  </a:solidFill>
                  <a:effectLst/>
                  <a:uLnTx/>
                  <a:uFillTx/>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marR="0" lvl="0" indent="-519113" algn="l" defTabSz="895350" rtl="0" eaLnBrk="1" fontAlgn="base" latinLnBrk="0" hangingPunct="1">
                <a:lnSpc>
                  <a:spcPct val="100000"/>
                </a:lnSpc>
                <a:spcBef>
                  <a:spcPct val="0"/>
                </a:spcBef>
                <a:spcAft>
                  <a:spcPct val="0"/>
                </a:spcAft>
                <a:buClrTx/>
                <a:buSzTx/>
                <a:buFontTx/>
                <a:buNone/>
                <a:tabLst>
                  <a:tab pos="612775" algn="l"/>
                </a:tabLst>
                <a:defRPr/>
              </a:pPr>
              <a:r>
                <a:rPr kumimoji="0" lang="x-none" sz="800" b="0" i="0" u="none" strike="noStrike" kern="1200" cap="none" spc="0" normalizeH="0" baseline="0" noProof="0">
                  <a:ln>
                    <a:noFill/>
                  </a:ln>
                  <a:solidFill>
                    <a:srgbClr val="000000"/>
                  </a:solidFill>
                  <a:effectLst/>
                  <a:uLnTx/>
                  <a:uFillTx/>
                  <a:latin typeface="Arial"/>
                  <a:ea typeface="+mn-ea"/>
                  <a:cs typeface="+mn-cs"/>
                </a:rPr>
                <a:t>SOURCE : Source</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002960"/>
                </a:buClr>
                <a:buSzTx/>
                <a:buFontTx/>
                <a:buNone/>
                <a:tabLst/>
                <a:defRPr/>
              </a:pPr>
              <a:r>
                <a:rPr kumimoji="0" lang="x-none" sz="800" b="0" i="0" u="none" strike="noStrike" kern="1200" cap="none" spc="0" normalizeH="0" baseline="0" noProof="0">
                  <a:ln>
                    <a:noFill/>
                  </a:ln>
                  <a:solidFill>
                    <a:srgbClr val="808080"/>
                  </a:solidFill>
                  <a:effectLst/>
                  <a:uLnTx/>
                  <a:uFillTx/>
                  <a:latin typeface="Aria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11"/>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8"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0" name="MoonLegend2"/>
            <p:cNvGrpSpPr>
              <a:grpSpLocks noChangeAspect="1"/>
            </p:cNvGrpSpPr>
            <p:nvPr>
              <p:custDataLst>
                <p:tags r:id="rId12"/>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6" name="Arc 42"/>
              <p:cNvSpPr>
                <a:spLocks noChangeAspect="1"/>
              </p:cNvSpPr>
              <p:nvPr>
                <p:custDataLst>
                  <p:tags r:id="rId23"/>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 name="MoonLegend4"/>
            <p:cNvGrpSpPr>
              <a:grpSpLocks noChangeAspect="1"/>
            </p:cNvGrpSpPr>
            <p:nvPr>
              <p:custDataLst>
                <p:tags r:id="rId13"/>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4"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2" name="MoonLegend5"/>
            <p:cNvGrpSpPr>
              <a:grpSpLocks noChangeAspect="1"/>
            </p:cNvGrpSpPr>
            <p:nvPr>
              <p:custDataLst>
                <p:tags r:id="rId14"/>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2"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3" name="MoonLegend3"/>
            <p:cNvGrpSpPr>
              <a:grpSpLocks noChangeAspect="1"/>
            </p:cNvGrpSpPr>
            <p:nvPr>
              <p:custDataLst>
                <p:tags r:id="rId15"/>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0"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grpSp>
    </p:spTree>
    <p:extLst>
      <p:ext uri="{BB962C8B-B14F-4D97-AF65-F5344CB8AC3E}">
        <p14:creationId xmlns:p14="http://schemas.microsoft.com/office/powerpoint/2010/main" val="2184100290"/>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42579"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6"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42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smtClean="0">
                <a:ln>
                  <a:noFill/>
                </a:ln>
                <a:solidFill>
                  <a:srgbClr val="808080"/>
                </a:solidFill>
                <a:effectLst/>
                <a:uLnTx/>
                <a:uFillTx/>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808080"/>
                  </a:solidFill>
                  <a:effectLst/>
                  <a:uLnTx/>
                  <a:uFillTx/>
                  <a:latin typeface="Aria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x-none" sz="800" b="0" i="0" u="none" strike="noStrike" kern="1200" cap="none" spc="0" normalizeH="0" baseline="0" noProof="0" smtClean="0">
                  <a:ln>
                    <a:noFill/>
                  </a:ln>
                  <a:solidFill>
                    <a:srgbClr val="000000"/>
                  </a:solidFill>
                  <a:effectLst/>
                  <a:uLnTx/>
                  <a:uFillTx/>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marR="0" lvl="0" indent="-519113" algn="l" defTabSz="895350" rtl="0" eaLnBrk="1" fontAlgn="base" latinLnBrk="0" hangingPunct="1">
                <a:lnSpc>
                  <a:spcPct val="100000"/>
                </a:lnSpc>
                <a:spcBef>
                  <a:spcPct val="0"/>
                </a:spcBef>
                <a:spcAft>
                  <a:spcPct val="0"/>
                </a:spcAft>
                <a:buClrTx/>
                <a:buSzTx/>
                <a:buFontTx/>
                <a:buNone/>
                <a:tabLst>
                  <a:tab pos="612775" algn="l"/>
                </a:tabLst>
                <a:defRPr/>
              </a:pPr>
              <a:r>
                <a:rPr kumimoji="0" lang="x-none" sz="800" b="0" i="0" u="none" strike="noStrike" kern="1200" cap="none" spc="0" normalizeH="0" baseline="0" noProof="0">
                  <a:ln>
                    <a:noFill/>
                  </a:ln>
                  <a:solidFill>
                    <a:srgbClr val="000000"/>
                  </a:solidFill>
                  <a:effectLst/>
                  <a:uLnTx/>
                  <a:uFillTx/>
                  <a:latin typeface="Arial"/>
                  <a:ea typeface="+mn-ea"/>
                  <a:cs typeface="+mn-cs"/>
                </a:rPr>
                <a:t>SOURCE : </a:t>
              </a:r>
              <a:r>
                <a:rPr kumimoji="0" lang="x-none" sz="800" b="0" i="0" u="none" strike="noStrike" kern="1200" cap="none" spc="0" normalizeH="0" baseline="0" noProof="0" smtClean="0">
                  <a:ln>
                    <a:noFill/>
                  </a:ln>
                  <a:solidFill>
                    <a:srgbClr val="000000"/>
                  </a:solidFill>
                  <a:effectLst/>
                  <a:uLnTx/>
                  <a:uFillTx/>
                  <a:latin typeface="Arial"/>
                  <a:ea typeface="+mn-ea"/>
                  <a:cs typeface="+mn-cs"/>
                </a:rPr>
                <a:t>Source</a:t>
              </a:r>
              <a:endParaRPr kumimoji="0" lang="en-US" sz="800" b="0" i="0" u="none" strike="noStrike" kern="1200" cap="none" spc="0" normalizeH="0" baseline="0" noProof="0" smtClean="0">
                <a:ln>
                  <a:noFill/>
                </a:ln>
                <a:solidFill>
                  <a:srgbClr val="000000"/>
                </a:solidFill>
                <a:effectLst/>
                <a:uLnTx/>
                <a:uFillTx/>
                <a:latin typeface="Arial"/>
                <a:ea typeface="+mn-ea"/>
                <a:cs typeface="+mn-cs"/>
              </a:endParaRPr>
            </a:p>
          </p:txBody>
        </p:sp>
      </p:grpSp>
      <p:grpSp>
        <p:nvGrpSpPr>
          <p:cNvPr id="108" name="McKSticker" hidden="1"/>
          <p:cNvGrpSpPr/>
          <p:nvPr userDrawn="1"/>
        </p:nvGrpSpPr>
        <p:grpSpPr bwMode="auto">
          <a:xfrm>
            <a:off x="9170647" y="981080"/>
            <a:ext cx="512780" cy="150811"/>
            <a:chOff x="8267440" y="285750"/>
            <a:chExt cx="473335"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002960"/>
                </a:buClr>
                <a:buSzTx/>
                <a:buFontTx/>
                <a:buNone/>
                <a:tabLst/>
                <a:defRPr/>
              </a:pPr>
              <a:r>
                <a:rPr kumimoji="0" lang="x-none" sz="800" b="0" i="0" u="none" strike="noStrike" kern="1200" cap="none" spc="0" normalizeH="0" baseline="0" noProof="0" smtClean="0">
                  <a:ln>
                    <a:noFill/>
                  </a:ln>
                  <a:solidFill>
                    <a:srgbClr val="808080"/>
                  </a:solidFill>
                  <a:effectLst/>
                  <a:uLnTx/>
                  <a:uFillTx/>
                  <a:latin typeface="Arial"/>
                  <a:ea typeface="+mn-ea"/>
                  <a:cs typeface="+mn-cs"/>
                </a:rPr>
                <a:t>STICKER</a:t>
              </a:r>
              <a:endParaRPr kumimoji="0" lang="x-none" sz="800" b="0" i="0" u="none" strike="noStrike" kern="1200" cap="none" spc="0" normalizeH="0" baseline="0" noProof="0">
                <a:ln>
                  <a:noFill/>
                </a:ln>
                <a:solidFill>
                  <a:srgbClr val="808080"/>
                </a:solidFill>
                <a:effectLst/>
                <a:uLnTx/>
                <a:uFillTx/>
                <a:latin typeface="Arial"/>
                <a:ea typeface="+mn-ea"/>
                <a:cs typeface="+mn-cs"/>
              </a:endParaRPr>
            </a:p>
          </p:txBody>
        </p:sp>
        <p:cxnSp>
          <p:nvCxnSpPr>
            <p:cNvPr id="110" name="AutoShape 31"/>
            <p:cNvCxnSpPr>
              <a:cxnSpLocks noChangeShapeType="1"/>
              <a:stCxn id="109" idx="2"/>
              <a:endCxn id="109"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9"/>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8"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0" name="MoonLegend2"/>
            <p:cNvGrpSpPr>
              <a:grpSpLocks noChangeAspect="1"/>
            </p:cNvGrpSpPr>
            <p:nvPr>
              <p:custDataLst>
                <p:tags r:id="rId10"/>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6"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 name="MoonLegend4"/>
            <p:cNvGrpSpPr>
              <a:grpSpLocks noChangeAspect="1"/>
            </p:cNvGrpSpPr>
            <p:nvPr>
              <p:custDataLst>
                <p:tags r:id="rId11"/>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4"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2" name="MoonLegend5"/>
            <p:cNvGrpSpPr>
              <a:grpSpLocks noChangeAspect="1"/>
            </p:cNvGrpSpPr>
            <p:nvPr>
              <p:custDataLst>
                <p:tags r:id="rId12"/>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2"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3" name="MoonLegend3"/>
            <p:cNvGrpSpPr>
              <a:grpSpLocks noChangeAspect="1"/>
            </p:cNvGrpSpPr>
            <p:nvPr>
              <p:custDataLst>
                <p:tags r:id="rId13"/>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0"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3238315628"/>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47699"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5"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42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smtClean="0">
                <a:ln>
                  <a:noFill/>
                </a:ln>
                <a:solidFill>
                  <a:srgbClr val="808080"/>
                </a:solidFill>
                <a:effectLst/>
                <a:uLnTx/>
                <a:uFillTx/>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808080"/>
                  </a:solidFill>
                  <a:effectLst/>
                  <a:uLnTx/>
                  <a:uFillTx/>
                  <a:latin typeface="Aria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x-none" sz="800" b="0" i="0" u="none" strike="noStrike" kern="1200" cap="none" spc="0" normalizeH="0" baseline="0" noProof="0" smtClean="0">
                  <a:ln>
                    <a:noFill/>
                  </a:ln>
                  <a:solidFill>
                    <a:srgbClr val="000000"/>
                  </a:solidFill>
                  <a:effectLst/>
                  <a:uLnTx/>
                  <a:uFillTx/>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marR="0" lvl="0" indent="-519113" algn="l" defTabSz="895350" rtl="0" eaLnBrk="1" fontAlgn="base" latinLnBrk="0" hangingPunct="1">
                <a:lnSpc>
                  <a:spcPct val="100000"/>
                </a:lnSpc>
                <a:spcBef>
                  <a:spcPct val="0"/>
                </a:spcBef>
                <a:spcAft>
                  <a:spcPct val="0"/>
                </a:spcAft>
                <a:buClrTx/>
                <a:buSzTx/>
                <a:buFontTx/>
                <a:buNone/>
                <a:tabLst>
                  <a:tab pos="612775" algn="l"/>
                </a:tabLst>
                <a:defRPr/>
              </a:pPr>
              <a:r>
                <a:rPr kumimoji="0" lang="x-none" sz="800" b="0" i="0" u="none" strike="noStrike" kern="1200" cap="none" spc="0" normalizeH="0" baseline="0" noProof="0">
                  <a:ln>
                    <a:noFill/>
                  </a:ln>
                  <a:solidFill>
                    <a:srgbClr val="000000"/>
                  </a:solidFill>
                  <a:effectLst/>
                  <a:uLnTx/>
                  <a:uFillTx/>
                  <a:latin typeface="Arial"/>
                  <a:ea typeface="+mn-ea"/>
                  <a:cs typeface="+mn-cs"/>
                </a:rPr>
                <a:t>SOURCE : </a:t>
              </a:r>
              <a:r>
                <a:rPr kumimoji="0" lang="x-none" sz="800" b="0" i="0" u="none" strike="noStrike" kern="1200" cap="none" spc="0" normalizeH="0" baseline="0" noProof="0" smtClean="0">
                  <a:ln>
                    <a:noFill/>
                  </a:ln>
                  <a:solidFill>
                    <a:srgbClr val="000000"/>
                  </a:solidFill>
                  <a:effectLst/>
                  <a:uLnTx/>
                  <a:uFillTx/>
                  <a:latin typeface="Arial"/>
                  <a:ea typeface="+mn-ea"/>
                  <a:cs typeface="+mn-cs"/>
                </a:rPr>
                <a:t>Source</a:t>
              </a:r>
              <a:endParaRPr kumimoji="0" lang="en-US" sz="800" b="0" i="0" u="none" strike="noStrike" kern="1200" cap="none" spc="0" normalizeH="0" baseline="0" noProof="0" smtClean="0">
                <a:ln>
                  <a:noFill/>
                </a:ln>
                <a:solidFill>
                  <a:srgbClr val="000000"/>
                </a:solidFill>
                <a:effectLst/>
                <a:uLnTx/>
                <a:uFillTx/>
                <a:latin typeface="Arial"/>
                <a:ea typeface="+mn-ea"/>
                <a:cs typeface="+mn-cs"/>
              </a:endParaRPr>
            </a:p>
          </p:txBody>
        </p:sp>
      </p:grpSp>
      <p:grpSp>
        <p:nvGrpSpPr>
          <p:cNvPr id="108" name="McKSticker" hidden="1"/>
          <p:cNvGrpSpPr/>
          <p:nvPr userDrawn="1"/>
        </p:nvGrpSpPr>
        <p:grpSpPr bwMode="auto">
          <a:xfrm>
            <a:off x="9170647" y="981080"/>
            <a:ext cx="512780" cy="150811"/>
            <a:chOff x="8267440" y="285750"/>
            <a:chExt cx="473335"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002960"/>
                </a:buClr>
                <a:buSzTx/>
                <a:buFontTx/>
                <a:buNone/>
                <a:tabLst/>
                <a:defRPr/>
              </a:pPr>
              <a:r>
                <a:rPr kumimoji="0" lang="x-none" sz="800" b="0" i="0" u="none" strike="noStrike" kern="1200" cap="none" spc="0" normalizeH="0" baseline="0" noProof="0" smtClean="0">
                  <a:ln>
                    <a:noFill/>
                  </a:ln>
                  <a:solidFill>
                    <a:srgbClr val="808080"/>
                  </a:solidFill>
                  <a:effectLst/>
                  <a:uLnTx/>
                  <a:uFillTx/>
                  <a:latin typeface="Arial"/>
                  <a:ea typeface="+mn-ea"/>
                  <a:cs typeface="+mn-cs"/>
                </a:rPr>
                <a:t>STICKER</a:t>
              </a:r>
              <a:endParaRPr kumimoji="0" lang="x-none" sz="800" b="0" i="0" u="none" strike="noStrike" kern="1200" cap="none" spc="0" normalizeH="0" baseline="0" noProof="0">
                <a:ln>
                  <a:noFill/>
                </a:ln>
                <a:solidFill>
                  <a:srgbClr val="808080"/>
                </a:solidFill>
                <a:effectLst/>
                <a:uLnTx/>
                <a:uFillTx/>
                <a:latin typeface="Arial"/>
                <a:ea typeface="+mn-ea"/>
                <a:cs typeface="+mn-cs"/>
              </a:endParaRPr>
            </a:p>
          </p:txBody>
        </p:sp>
        <p:cxnSp>
          <p:nvCxnSpPr>
            <p:cNvPr id="110" name="AutoShape 31"/>
            <p:cNvCxnSpPr>
              <a:cxnSpLocks noChangeShapeType="1"/>
              <a:stCxn id="109" idx="2"/>
              <a:endCxn id="109"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8"/>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8"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0" name="MoonLegend2"/>
            <p:cNvGrpSpPr>
              <a:grpSpLocks noChangeAspect="1"/>
            </p:cNvGrpSpPr>
            <p:nvPr>
              <p:custDataLst>
                <p:tags r:id="rId9"/>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6"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4"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2"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2"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3"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0"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267001675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63048"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5"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42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smtClean="0">
                <a:ln>
                  <a:noFill/>
                </a:ln>
                <a:solidFill>
                  <a:srgbClr val="808080"/>
                </a:solidFill>
                <a:effectLst/>
                <a:uLnTx/>
                <a:uFillTx/>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808080"/>
                  </a:solidFill>
                  <a:effectLst/>
                  <a:uLnTx/>
                  <a:uFillTx/>
                  <a:latin typeface="Aria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x-none" sz="800" b="0" i="0" u="none" strike="noStrike" kern="1200" cap="none" spc="0" normalizeH="0" baseline="0" noProof="0" smtClean="0">
                  <a:ln>
                    <a:noFill/>
                  </a:ln>
                  <a:solidFill>
                    <a:srgbClr val="000000"/>
                  </a:solidFill>
                  <a:effectLst/>
                  <a:uLnTx/>
                  <a:uFillTx/>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marR="0" lvl="0" indent="-519113" algn="l" defTabSz="895350" rtl="0" eaLnBrk="1" fontAlgn="base" latinLnBrk="0" hangingPunct="1">
                <a:lnSpc>
                  <a:spcPct val="100000"/>
                </a:lnSpc>
                <a:spcBef>
                  <a:spcPct val="0"/>
                </a:spcBef>
                <a:spcAft>
                  <a:spcPct val="0"/>
                </a:spcAft>
                <a:buClrTx/>
                <a:buSzTx/>
                <a:buFontTx/>
                <a:buNone/>
                <a:tabLst>
                  <a:tab pos="612775" algn="l"/>
                </a:tabLst>
                <a:defRPr/>
              </a:pPr>
              <a:r>
                <a:rPr kumimoji="0" lang="x-none" sz="800" b="0" i="0" u="none" strike="noStrike" kern="1200" cap="none" spc="0" normalizeH="0" baseline="0" noProof="0">
                  <a:ln>
                    <a:noFill/>
                  </a:ln>
                  <a:solidFill>
                    <a:srgbClr val="000000"/>
                  </a:solidFill>
                  <a:effectLst/>
                  <a:uLnTx/>
                  <a:uFillTx/>
                  <a:latin typeface="Arial"/>
                  <a:ea typeface="+mn-ea"/>
                  <a:cs typeface="+mn-cs"/>
                </a:rPr>
                <a:t>SOURCE : </a:t>
              </a:r>
              <a:r>
                <a:rPr kumimoji="0" lang="x-none" sz="800" b="0" i="0" u="none" strike="noStrike" kern="1200" cap="none" spc="0" normalizeH="0" baseline="0" noProof="0" smtClean="0">
                  <a:ln>
                    <a:noFill/>
                  </a:ln>
                  <a:solidFill>
                    <a:srgbClr val="000000"/>
                  </a:solidFill>
                  <a:effectLst/>
                  <a:uLnTx/>
                  <a:uFillTx/>
                  <a:latin typeface="Arial"/>
                  <a:ea typeface="+mn-ea"/>
                  <a:cs typeface="+mn-cs"/>
                </a:rPr>
                <a:t>Source</a:t>
              </a:r>
              <a:endParaRPr kumimoji="0" lang="en-US" sz="800" b="0" i="0" u="none" strike="noStrike" kern="1200" cap="none" spc="0" normalizeH="0" baseline="0" noProof="0" smtClean="0">
                <a:ln>
                  <a:noFill/>
                </a:ln>
                <a:solidFill>
                  <a:srgbClr val="000000"/>
                </a:solidFill>
                <a:effectLst/>
                <a:uLnTx/>
                <a:uFillTx/>
                <a:latin typeface="Arial"/>
                <a:ea typeface="+mn-ea"/>
                <a:cs typeface="+mn-cs"/>
              </a:endParaRPr>
            </a:p>
          </p:txBody>
        </p:sp>
      </p:grpSp>
      <p:grpSp>
        <p:nvGrpSpPr>
          <p:cNvPr id="108" name="McKSticker" hidden="1"/>
          <p:cNvGrpSpPr/>
          <p:nvPr userDrawn="1"/>
        </p:nvGrpSpPr>
        <p:grpSpPr bwMode="auto">
          <a:xfrm>
            <a:off x="9170647" y="981080"/>
            <a:ext cx="512780" cy="150811"/>
            <a:chOff x="8267440" y="285750"/>
            <a:chExt cx="473335"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002960"/>
                </a:buClr>
                <a:buSzTx/>
                <a:buFontTx/>
                <a:buNone/>
                <a:tabLst/>
                <a:defRPr/>
              </a:pPr>
              <a:r>
                <a:rPr kumimoji="0" lang="x-none" sz="800" b="0" i="0" u="none" strike="noStrike" kern="1200" cap="none" spc="0" normalizeH="0" baseline="0" noProof="0" smtClean="0">
                  <a:ln>
                    <a:noFill/>
                  </a:ln>
                  <a:solidFill>
                    <a:srgbClr val="808080"/>
                  </a:solidFill>
                  <a:effectLst/>
                  <a:uLnTx/>
                  <a:uFillTx/>
                  <a:latin typeface="Arial"/>
                  <a:ea typeface="+mn-ea"/>
                  <a:cs typeface="+mn-cs"/>
                </a:rPr>
                <a:t>STICKER</a:t>
              </a:r>
              <a:endParaRPr kumimoji="0" lang="x-none" sz="800" b="0" i="0" u="none" strike="noStrike" kern="1200" cap="none" spc="0" normalizeH="0" baseline="0" noProof="0">
                <a:ln>
                  <a:noFill/>
                </a:ln>
                <a:solidFill>
                  <a:srgbClr val="808080"/>
                </a:solidFill>
                <a:effectLst/>
                <a:uLnTx/>
                <a:uFillTx/>
                <a:latin typeface="Arial"/>
                <a:ea typeface="+mn-ea"/>
                <a:cs typeface="+mn-cs"/>
              </a:endParaRPr>
            </a:p>
          </p:txBody>
        </p:sp>
        <p:cxnSp>
          <p:nvCxnSpPr>
            <p:cNvPr id="110" name="AutoShape 31"/>
            <p:cNvCxnSpPr>
              <a:cxnSpLocks noChangeShapeType="1"/>
              <a:stCxn id="109" idx="2"/>
              <a:endCxn id="109"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a:ln>
                    <a:noFill/>
                  </a:ln>
                  <a:solidFill>
                    <a:srgbClr val="000000"/>
                  </a:solidFill>
                  <a:effectLst/>
                  <a:uLnTx/>
                  <a:uFillTx/>
                  <a:latin typeface="Arial"/>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8"/>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8"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0" name="MoonLegend2"/>
            <p:cNvGrpSpPr>
              <a:grpSpLocks noChangeAspect="1"/>
            </p:cNvGrpSpPr>
            <p:nvPr>
              <p:custDataLst>
                <p:tags r:id="rId9"/>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6"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1"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4"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2"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2"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3"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sp>
            <p:nvSpPr>
              <p:cNvPr id="140"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a:ln>
                    <a:noFill/>
                  </a:ln>
                  <a:solidFill>
                    <a:srgbClr val="000000"/>
                  </a:solidFill>
                  <a:effectLst/>
                  <a:uLnTx/>
                  <a:uFillTx/>
                  <a:latin typeface="Arial"/>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3258971804"/>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79370"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6"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42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x-none" sz="800" b="0" i="0" u="none" strike="noStrike" kern="1200" cap="none" spc="0" normalizeH="0" baseline="0" noProof="0" dirty="0" smtClean="0">
                  <a:ln>
                    <a:noFill/>
                  </a:ln>
                  <a:solidFill>
                    <a:srgbClr val="000000"/>
                  </a:solidFill>
                  <a:effectLst/>
                  <a:uLnTx/>
                  <a:uFillTx/>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marR="0" lvl="0" indent="-519113" algn="l" defTabSz="895350" rtl="0" eaLnBrk="1" fontAlgn="base" latinLnBrk="0" hangingPunct="1">
                <a:lnSpc>
                  <a:spcPct val="100000"/>
                </a:lnSpc>
                <a:spcBef>
                  <a:spcPct val="0"/>
                </a:spcBef>
                <a:spcAft>
                  <a:spcPct val="0"/>
                </a:spcAft>
                <a:buClrTx/>
                <a:buSzTx/>
                <a:buFontTx/>
                <a:buNone/>
                <a:tabLst>
                  <a:tab pos="612775" algn="l"/>
                </a:tabLst>
                <a:defRPr/>
              </a:pPr>
              <a:r>
                <a:rPr kumimoji="0" lang="x-none" sz="800" b="0" i="0" u="none" strike="noStrike" kern="1200" cap="none" spc="0" normalizeH="0" baseline="0" noProof="0" dirty="0">
                  <a:ln>
                    <a:noFill/>
                  </a:ln>
                  <a:solidFill>
                    <a:srgbClr val="000000"/>
                  </a:solidFill>
                  <a:effectLst/>
                  <a:uLnTx/>
                  <a:uFillTx/>
                  <a:latin typeface="Arial"/>
                  <a:ea typeface="+mn-ea"/>
                  <a:cs typeface="+mn-cs"/>
                </a:rPr>
                <a:t>SOURCE : </a:t>
              </a:r>
              <a:r>
                <a:rPr kumimoji="0" lang="x-none" sz="800" b="0" i="0" u="none" strike="noStrike" kern="1200" cap="none" spc="0" normalizeH="0" baseline="0" noProof="0" dirty="0" smtClean="0">
                  <a:ln>
                    <a:noFill/>
                  </a:ln>
                  <a:solidFill>
                    <a:srgbClr val="000000"/>
                  </a:solidFill>
                  <a:effectLst/>
                  <a:uLnTx/>
                  <a:uFillTx/>
                  <a:latin typeface="Arial"/>
                  <a:ea typeface="+mn-ea"/>
                  <a:cs typeface="+mn-cs"/>
                </a:rPr>
                <a:t>Source</a:t>
              </a: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grpSp>
      <p:grpSp>
        <p:nvGrpSpPr>
          <p:cNvPr id="108" name="McKSticker" hidden="1"/>
          <p:cNvGrpSpPr/>
          <p:nvPr userDrawn="1"/>
        </p:nvGrpSpPr>
        <p:grpSpPr bwMode="auto">
          <a:xfrm>
            <a:off x="9170647" y="981080"/>
            <a:ext cx="512780" cy="150811"/>
            <a:chOff x="8267440" y="285750"/>
            <a:chExt cx="473335"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002960"/>
                </a:buClr>
                <a:buSzTx/>
                <a:buFontTx/>
                <a:buNone/>
                <a:tabLst/>
                <a:defRPr/>
              </a:pPr>
              <a:r>
                <a:rPr kumimoji="0" lang="x-none" sz="800" b="0" i="0" u="none" strike="noStrike" kern="1200" cap="none" spc="0" normalizeH="0" baseline="0" noProof="0" dirty="0" smtClean="0">
                  <a:ln>
                    <a:noFill/>
                  </a:ln>
                  <a:solidFill>
                    <a:srgbClr val="808080"/>
                  </a:solidFill>
                  <a:effectLst/>
                  <a:uLnTx/>
                  <a:uFillTx/>
                  <a:latin typeface="Arial"/>
                  <a:ea typeface="+mn-ea"/>
                  <a:cs typeface="+mn-cs"/>
                </a:rPr>
                <a:t>STICKER</a:t>
              </a:r>
              <a:endParaRPr kumimoji="0" lang="x-none" sz="800" b="0" i="0" u="none" strike="noStrike" kern="1200" cap="none" spc="0" normalizeH="0" baseline="0" noProof="0" dirty="0">
                <a:ln>
                  <a:noFill/>
                </a:ln>
                <a:solidFill>
                  <a:srgbClr val="808080"/>
                </a:solidFill>
                <a:effectLst/>
                <a:uLnTx/>
                <a:uFillTx/>
                <a:latin typeface="Arial"/>
                <a:ea typeface="+mn-ea"/>
                <a:cs typeface="+mn-cs"/>
              </a:endParaRPr>
            </a:p>
          </p:txBody>
        </p:sp>
        <p:cxnSp>
          <p:nvCxnSpPr>
            <p:cNvPr id="110" name="AutoShape 31"/>
            <p:cNvCxnSpPr>
              <a:cxnSpLocks noChangeShapeType="1"/>
              <a:stCxn id="109" idx="2"/>
              <a:endCxn id="109"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9"/>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0" name="MoonLegend2"/>
            <p:cNvGrpSpPr>
              <a:grpSpLocks noChangeAspect="1"/>
            </p:cNvGrpSpPr>
            <p:nvPr>
              <p:custDataLst>
                <p:tags r:id="rId10"/>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1" name="MoonLegend4"/>
            <p:cNvGrpSpPr>
              <a:grpSpLocks noChangeAspect="1"/>
            </p:cNvGrpSpPr>
            <p:nvPr>
              <p:custDataLst>
                <p:tags r:id="rId11"/>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2" name="MoonLegend5"/>
            <p:cNvGrpSpPr>
              <a:grpSpLocks noChangeAspect="1"/>
            </p:cNvGrpSpPr>
            <p:nvPr>
              <p:custDataLst>
                <p:tags r:id="rId12"/>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3" name="MoonLegend3"/>
            <p:cNvGrpSpPr>
              <a:grpSpLocks noChangeAspect="1"/>
            </p:cNvGrpSpPr>
            <p:nvPr>
              <p:custDataLst>
                <p:tags r:id="rId13"/>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2057206849"/>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202885"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9"/>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endParaRPr kumimoji="0" lang="en-US" sz="1900" b="1" i="0" u="none" strike="noStrike" kern="0" cap="none" spc="0" normalizeH="0" baseline="0" noProof="0" dirty="0" err="1" smtClean="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pic>
        <p:nvPicPr>
          <p:cNvPr id="59" name="Picture 58"/>
          <p:cNvPicPr>
            <a:picLocks/>
          </p:cNvPicPr>
          <p:nvPr userDrawn="1"/>
        </p:nvPicPr>
        <p:blipFill>
          <a:blip r:embed="rId27"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42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808080"/>
                </a:solidFill>
                <a:effectLst/>
                <a:uLnTx/>
                <a:uFillTx/>
                <a:latin typeface="Arial"/>
                <a:ea typeface="+mn-ea"/>
                <a:cs typeface="Arial"/>
                <a:sym typeface="Arial"/>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mn-ea"/>
                <a:cs typeface="Arial"/>
                <a:sym typeface="Arial"/>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a:sym typeface="Arial"/>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mn-ea"/>
                  <a:cs typeface="Arial"/>
                  <a:sym typeface="Arial"/>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x-none" sz="800" b="0" i="0" u="none" strike="noStrike" kern="1200" cap="none" spc="0" normalizeH="0" baseline="0" noProof="0" dirty="0" smtClean="0">
                  <a:ln>
                    <a:noFill/>
                  </a:ln>
                  <a:solidFill>
                    <a:srgbClr val="000000"/>
                  </a:solidFill>
                  <a:effectLst/>
                  <a:uLnTx/>
                  <a:uFillTx/>
                  <a:latin typeface="Arial"/>
                  <a:ea typeface="+mn-ea"/>
                  <a:cs typeface="Arial"/>
                  <a:sym typeface="Arial"/>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marR="0" lvl="0" indent="-519113" algn="l" defTabSz="895350" rtl="0" eaLnBrk="1" fontAlgn="base" latinLnBrk="0" hangingPunct="1">
                <a:lnSpc>
                  <a:spcPct val="100000"/>
                </a:lnSpc>
                <a:spcBef>
                  <a:spcPct val="0"/>
                </a:spcBef>
                <a:spcAft>
                  <a:spcPct val="0"/>
                </a:spcAft>
                <a:buClrTx/>
                <a:buSzTx/>
                <a:buFontTx/>
                <a:buNone/>
                <a:tabLst>
                  <a:tab pos="612775" algn="l"/>
                </a:tabLst>
                <a:defRPr/>
              </a:pPr>
              <a:r>
                <a:rPr kumimoji="0" lang="x-none" sz="800" b="0" i="0" u="none" strike="noStrike" kern="1200" cap="none" spc="0" normalizeH="0" baseline="0" noProof="0" dirty="0">
                  <a:ln>
                    <a:noFill/>
                  </a:ln>
                  <a:solidFill>
                    <a:srgbClr val="000000"/>
                  </a:solidFill>
                  <a:effectLst/>
                  <a:uLnTx/>
                  <a:uFillTx/>
                  <a:latin typeface="Arial"/>
                  <a:ea typeface="+mn-ea"/>
                  <a:cs typeface="Arial"/>
                  <a:sym typeface="Arial"/>
                </a:rPr>
                <a:t>SOURCE : </a:t>
              </a:r>
              <a:r>
                <a:rPr kumimoji="0" lang="x-none" sz="800" b="0" i="0" u="none" strike="noStrike" kern="1200" cap="none" spc="0" normalizeH="0" baseline="0" noProof="0" dirty="0" smtClean="0">
                  <a:ln>
                    <a:noFill/>
                  </a:ln>
                  <a:solidFill>
                    <a:srgbClr val="000000"/>
                  </a:solidFill>
                  <a:effectLst/>
                  <a:uLnTx/>
                  <a:uFillTx/>
                  <a:latin typeface="Arial"/>
                  <a:ea typeface="+mn-ea"/>
                  <a:cs typeface="Arial"/>
                  <a:sym typeface="Arial"/>
                </a:rPr>
                <a:t>Source</a:t>
              </a:r>
              <a:endParaRPr kumimoji="0" lang="en-US" sz="800" b="0" i="0" u="none" strike="noStrike" kern="1200" cap="none" spc="0" normalizeH="0" baseline="0" noProof="0" dirty="0" smtClean="0">
                <a:ln>
                  <a:noFill/>
                </a:ln>
                <a:solidFill>
                  <a:srgbClr val="000000"/>
                </a:solidFill>
                <a:effectLst/>
                <a:uLnTx/>
                <a:uFillTx/>
                <a:latin typeface="Arial"/>
                <a:ea typeface="+mn-ea"/>
                <a:cs typeface="Arial"/>
                <a:sym typeface="Arial"/>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002960"/>
                </a:buClr>
                <a:buSzTx/>
                <a:buFontTx/>
                <a:buNone/>
                <a:tabLst/>
                <a:defRPr/>
              </a:pPr>
              <a:r>
                <a:rPr kumimoji="0" lang="x-none" sz="800" b="0" i="0" u="none" strike="noStrike" kern="1200" cap="none" spc="0" normalizeH="0" baseline="0" noProof="0" dirty="0" smtClean="0">
                  <a:ln>
                    <a:noFill/>
                  </a:ln>
                  <a:solidFill>
                    <a:srgbClr val="808080"/>
                  </a:solidFill>
                  <a:effectLst/>
                  <a:uLnTx/>
                  <a:uFillTx/>
                  <a:latin typeface="Arial"/>
                  <a:ea typeface="+mn-ea"/>
                  <a:cs typeface="Arial"/>
                  <a:sym typeface="Arial"/>
                </a:rPr>
                <a:t>STICKER</a:t>
              </a:r>
              <a:endParaRPr kumimoji="0" lang="x-none" sz="800" b="0" i="0" u="none" strike="noStrike" kern="1200" cap="none" spc="0" normalizeH="0" baseline="0" noProof="0" dirty="0">
                <a:ln>
                  <a:noFill/>
                </a:ln>
                <a:solidFill>
                  <a:srgbClr val="808080"/>
                </a:solidFill>
                <a:effectLst/>
                <a:uLnTx/>
                <a:uFillTx/>
                <a:latin typeface="Arial"/>
                <a:ea typeface="+mn-ea"/>
                <a:cs typeface="Arial"/>
                <a:sym typeface="Arial"/>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Arial"/>
                  <a:sym typeface="Arial"/>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Arial"/>
                  <a:sym typeface="Arial"/>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Arial"/>
                  <a:sym typeface="Arial"/>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Arial"/>
                  <a:sym typeface="Arial"/>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Arial"/>
                  <a:sym typeface="Arial"/>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Arial"/>
                  <a:sym typeface="Arial"/>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Arial"/>
                  <a:sym typeface="Arial"/>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10"/>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48"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130" name="MoonLegend2"/>
            <p:cNvGrpSpPr>
              <a:grpSpLocks noChangeAspect="1"/>
            </p:cNvGrpSpPr>
            <p:nvPr>
              <p:custDataLst>
                <p:tags r:id="rId11"/>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46" name="Arc 42"/>
              <p:cNvSpPr>
                <a:spLocks noChangeAspect="1"/>
              </p:cNvSpPr>
              <p:nvPr>
                <p:custDataLst>
                  <p:tags r:id="rId22"/>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131" name="MoonLegend4"/>
            <p:cNvGrpSpPr>
              <a:grpSpLocks noChangeAspect="1"/>
            </p:cNvGrpSpPr>
            <p:nvPr>
              <p:custDataLst>
                <p:tags r:id="rId12"/>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44"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132" name="MoonLegend5"/>
            <p:cNvGrpSpPr>
              <a:grpSpLocks noChangeAspect="1"/>
            </p:cNvGrpSpPr>
            <p:nvPr>
              <p:custDataLst>
                <p:tags r:id="rId13"/>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42"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grpSp>
          <p:nvGrpSpPr>
            <p:cNvPr id="133" name="MoonLegend3"/>
            <p:cNvGrpSpPr>
              <a:grpSpLocks noChangeAspect="1"/>
            </p:cNvGrpSpPr>
            <p:nvPr>
              <p:custDataLst>
                <p:tags r:id="rId14"/>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40"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Arial"/>
                  <a:sym typeface="Arial"/>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Arial"/>
                  <a:sym typeface="Arial"/>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Arial"/>
                  <a:sym typeface="Arial"/>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Arial"/>
                  <a:sym typeface="Arial"/>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Arial"/>
                  <a:sym typeface="Arial"/>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spTree>
    <p:extLst>
      <p:ext uri="{BB962C8B-B14F-4D97-AF65-F5344CB8AC3E}">
        <p14:creationId xmlns:p14="http://schemas.microsoft.com/office/powerpoint/2010/main" val="3659675978"/>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3"/>
        <p:cNvGrpSpPr/>
        <p:nvPr/>
      </p:nvGrpSpPr>
      <p:grpSpPr>
        <a:xfrm>
          <a:off x="0" y="0"/>
          <a:ext cx="0" cy="0"/>
          <a:chOff x="0" y="0"/>
          <a:chExt cx="0" cy="0"/>
        </a:xfrm>
      </p:grpSpPr>
      <p:pic>
        <p:nvPicPr>
          <p:cNvPr id="64" name="Google Shape;64;p10"/>
          <p:cNvPicPr preferRelativeResize="0"/>
          <p:nvPr/>
        </p:nvPicPr>
        <p:blipFill rotWithShape="1">
          <a:blip r:embed="rId14">
            <a:alphaModFix/>
          </a:blip>
          <a:srcRect/>
          <a:stretch/>
        </p:blipFill>
        <p:spPr>
          <a:xfrm>
            <a:off x="1589" y="1590"/>
            <a:ext cx="1587" cy="1587"/>
          </a:xfrm>
          <a:prstGeom prst="rect">
            <a:avLst/>
          </a:prstGeom>
          <a:noFill/>
          <a:ln>
            <a:noFill/>
          </a:ln>
        </p:spPr>
      </p:pic>
      <p:sp>
        <p:nvSpPr>
          <p:cNvPr id="65" name="Google Shape;65;p10"/>
          <p:cNvSpPr txBox="1"/>
          <p:nvPr/>
        </p:nvSpPr>
        <p:spPr>
          <a:xfrm>
            <a:off x="7234959" y="6355212"/>
            <a:ext cx="2310775" cy="365592"/>
          </a:xfrm>
          <a:prstGeom prst="rect">
            <a:avLst/>
          </a:prstGeom>
          <a:noFill/>
          <a:ln>
            <a:noFill/>
          </a:ln>
        </p:spPr>
        <p:txBody>
          <a:bodyPr spcFirstLastPara="1" wrap="square" lIns="82050" tIns="41025" rIns="82050" bIns="41025" anchor="ctr" anchorCtr="0">
            <a:noAutofit/>
          </a:bodyPr>
          <a:lstStyle/>
          <a:p>
            <a:pPr marL="0" marR="0" lvl="0" indent="0" algn="r" rtl="0">
              <a:lnSpc>
                <a:spcPct val="100000"/>
              </a:lnSpc>
              <a:spcBef>
                <a:spcPts val="0"/>
              </a:spcBef>
              <a:spcAft>
                <a:spcPts val="0"/>
              </a:spcAft>
              <a:buClr>
                <a:srgbClr val="3F5F1F"/>
              </a:buClr>
              <a:buSzPts val="900"/>
              <a:buFont typeface="Calibri"/>
              <a:buNone/>
            </a:pPr>
            <a:fld id="{00000000-1234-1234-1234-123412341234}" type="slidenum">
              <a:rPr lang="en-US" sz="900" b="0" i="0" u="none" strike="noStrike" cap="none">
                <a:solidFill>
                  <a:srgbClr val="3F5F1F"/>
                </a:solidFill>
                <a:latin typeface="Calibri"/>
                <a:ea typeface="Calibri"/>
                <a:cs typeface="Calibri"/>
                <a:sym typeface="Calibri"/>
              </a:rPr>
              <a:t>‹#›</a:t>
            </a:fld>
            <a:endParaRPr sz="900" b="0" i="0" u="none" strike="noStrike" cap="none">
              <a:solidFill>
                <a:srgbClr val="3F5F1F"/>
              </a:solidFill>
              <a:latin typeface="Calibri"/>
              <a:ea typeface="Calibri"/>
              <a:cs typeface="Calibri"/>
              <a:sym typeface="Calibri"/>
            </a:endParaRPr>
          </a:p>
        </p:txBody>
      </p:sp>
      <p:cxnSp>
        <p:nvCxnSpPr>
          <p:cNvPr id="66" name="Google Shape;66;p10"/>
          <p:cNvCxnSpPr/>
          <p:nvPr/>
        </p:nvCxnSpPr>
        <p:spPr>
          <a:xfrm>
            <a:off x="450741" y="851340"/>
            <a:ext cx="7315200" cy="0"/>
          </a:xfrm>
          <a:prstGeom prst="straightConnector1">
            <a:avLst/>
          </a:prstGeom>
          <a:noFill/>
          <a:ln w="19050" cap="flat" cmpd="sng">
            <a:solidFill>
              <a:srgbClr val="548135"/>
            </a:solidFill>
            <a:prstDash val="dot"/>
            <a:miter lim="800000"/>
            <a:headEnd type="none" w="sm" len="sm"/>
            <a:tailEnd type="none" w="sm" len="sm"/>
          </a:ln>
        </p:spPr>
      </p:cxnSp>
      <p:pic>
        <p:nvPicPr>
          <p:cNvPr id="67" name="Google Shape;67;p10"/>
          <p:cNvPicPr preferRelativeResize="0"/>
          <p:nvPr/>
        </p:nvPicPr>
        <p:blipFill rotWithShape="1">
          <a:blip r:embed="rId15">
            <a:alphaModFix/>
          </a:blip>
          <a:srcRect/>
          <a:stretch/>
        </p:blipFill>
        <p:spPr>
          <a:xfrm>
            <a:off x="0" y="6564694"/>
            <a:ext cx="4343400" cy="293305"/>
          </a:xfrm>
          <a:prstGeom prst="rect">
            <a:avLst/>
          </a:prstGeom>
          <a:noFill/>
          <a:ln>
            <a:noFill/>
          </a:ln>
        </p:spPr>
      </p:pic>
      <p:pic>
        <p:nvPicPr>
          <p:cNvPr id="68" name="Google Shape;68;p10"/>
          <p:cNvPicPr preferRelativeResize="0"/>
          <p:nvPr/>
        </p:nvPicPr>
        <p:blipFill rotWithShape="1">
          <a:blip r:embed="rId16">
            <a:alphaModFix/>
          </a:blip>
          <a:srcRect/>
          <a:stretch/>
        </p:blipFill>
        <p:spPr>
          <a:xfrm>
            <a:off x="7924800" y="323850"/>
            <a:ext cx="1534754" cy="51435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6" r:id="rId1"/>
    <p:sldLayoutId id="2147483657" r:id="rId2"/>
    <p:sldLayoutId id="2147483658" r:id="rId3"/>
    <p:sldLayoutId id="2147483661" r:id="rId4"/>
    <p:sldLayoutId id="2147483663" r:id="rId5"/>
    <p:sldLayoutId id="2147483750" r:id="rId6"/>
    <p:sldLayoutId id="2147483751" r:id="rId7"/>
    <p:sldLayoutId id="2147483802" r:id="rId8"/>
    <p:sldLayoutId id="2147483803" r:id="rId9"/>
    <p:sldLayoutId id="2147483810" r:id="rId10"/>
    <p:sldLayoutId id="2147483811" r:id="rId11"/>
    <p:sldLayoutId id="2147483819"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240717939"/>
              </p:ex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235646"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9"/>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900" b="1" i="0" baseline="0" dirty="0" err="1" smtClean="0">
              <a:solidFill>
                <a:schemeClr val="tx1"/>
              </a:solidFill>
              <a:latin typeface="Arial" panose="020B0604020202020204" pitchFamily="34" charset="0"/>
              <a:ea typeface="+mj-ea"/>
              <a:cs typeface="+mj-cs"/>
              <a:sym typeface="Arial" panose="020B0604020202020204" pitchFamily="34" charset="0"/>
            </a:endParaRPr>
          </a:p>
        </p:txBody>
      </p:sp>
      <p:pic>
        <p:nvPicPr>
          <p:cNvPr id="59" name="Picture 58"/>
          <p:cNvPicPr>
            <a:picLocks/>
          </p:cNvPicPr>
          <p:nvPr userDrawn="1"/>
        </p:nvPicPr>
        <p:blipFill>
          <a:blip r:embed="rId27"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42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x-none" sz="800" b="0" i="0" u="none" strike="noStrike" kern="1200" cap="none" spc="0" normalizeH="0" baseline="0" noProof="0" dirty="0" smtClean="0">
                  <a:ln>
                    <a:noFill/>
                  </a:ln>
                  <a:solidFill>
                    <a:srgbClr val="000000"/>
                  </a:solidFill>
                  <a:effectLst/>
                  <a:uLnTx/>
                  <a:uFillTx/>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marR="0" lvl="0" indent="-519113" algn="l" defTabSz="895350" rtl="0" eaLnBrk="1" fontAlgn="base" latinLnBrk="0" hangingPunct="1">
                <a:lnSpc>
                  <a:spcPct val="100000"/>
                </a:lnSpc>
                <a:spcBef>
                  <a:spcPct val="0"/>
                </a:spcBef>
                <a:spcAft>
                  <a:spcPct val="0"/>
                </a:spcAft>
                <a:buClrTx/>
                <a:buSzTx/>
                <a:buFontTx/>
                <a:buNone/>
                <a:tabLst>
                  <a:tab pos="612775" algn="l"/>
                </a:tabLst>
                <a:defRPr/>
              </a:pPr>
              <a:r>
                <a:rPr kumimoji="0" lang="x-none" sz="800" b="0" i="0" u="none" strike="noStrike" kern="1200" cap="none" spc="0" normalizeH="0" baseline="0" noProof="0" dirty="0">
                  <a:ln>
                    <a:noFill/>
                  </a:ln>
                  <a:solidFill>
                    <a:srgbClr val="000000"/>
                  </a:solidFill>
                  <a:effectLst/>
                  <a:uLnTx/>
                  <a:uFillTx/>
                  <a:latin typeface="Arial"/>
                  <a:ea typeface="+mn-ea"/>
                  <a:cs typeface="+mn-cs"/>
                </a:rPr>
                <a:t>SOURCE : </a:t>
              </a:r>
              <a:r>
                <a:rPr kumimoji="0" lang="x-none" sz="800" b="0" i="0" u="none" strike="noStrike" kern="1200" cap="none" spc="0" normalizeH="0" baseline="0" noProof="0" dirty="0" smtClean="0">
                  <a:ln>
                    <a:noFill/>
                  </a:ln>
                  <a:solidFill>
                    <a:srgbClr val="000000"/>
                  </a:solidFill>
                  <a:effectLst/>
                  <a:uLnTx/>
                  <a:uFillTx/>
                  <a:latin typeface="Arial"/>
                  <a:ea typeface="+mn-ea"/>
                  <a:cs typeface="+mn-cs"/>
                </a:rPr>
                <a:t>Source</a:t>
              </a: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grpSp>
      <p:grpSp>
        <p:nvGrpSpPr>
          <p:cNvPr id="108" name="McKSticker" hidden="1"/>
          <p:cNvGrpSpPr/>
          <p:nvPr userDrawn="1"/>
        </p:nvGrpSpPr>
        <p:grpSpPr bwMode="auto">
          <a:xfrm>
            <a:off x="9170647" y="981080"/>
            <a:ext cx="512780" cy="150811"/>
            <a:chOff x="8267440" y="285750"/>
            <a:chExt cx="473335"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002960"/>
                </a:buClr>
                <a:buSzTx/>
                <a:buFontTx/>
                <a:buNone/>
                <a:tabLst/>
                <a:defRPr/>
              </a:pPr>
              <a:r>
                <a:rPr kumimoji="0" lang="x-none" sz="800" b="0" i="0" u="none" strike="noStrike" kern="1200" cap="none" spc="0" normalizeH="0" baseline="0" noProof="0" dirty="0" smtClean="0">
                  <a:ln>
                    <a:noFill/>
                  </a:ln>
                  <a:solidFill>
                    <a:srgbClr val="808080"/>
                  </a:solidFill>
                  <a:effectLst/>
                  <a:uLnTx/>
                  <a:uFillTx/>
                  <a:latin typeface="Arial"/>
                  <a:ea typeface="+mn-ea"/>
                  <a:cs typeface="+mn-cs"/>
                </a:rPr>
                <a:t>STICKER</a:t>
              </a:r>
              <a:endParaRPr kumimoji="0" lang="x-none" sz="800" b="0" i="0" u="none" strike="noStrike" kern="1200" cap="none" spc="0" normalizeH="0" baseline="0" noProof="0" dirty="0">
                <a:ln>
                  <a:noFill/>
                </a:ln>
                <a:solidFill>
                  <a:srgbClr val="808080"/>
                </a:solidFill>
                <a:effectLst/>
                <a:uLnTx/>
                <a:uFillTx/>
                <a:latin typeface="Arial"/>
                <a:ea typeface="+mn-ea"/>
                <a:cs typeface="+mn-cs"/>
              </a:endParaRPr>
            </a:p>
          </p:txBody>
        </p:sp>
        <p:cxnSp>
          <p:nvCxnSpPr>
            <p:cNvPr id="110" name="AutoShape 31"/>
            <p:cNvCxnSpPr>
              <a:cxnSpLocks noChangeShapeType="1"/>
              <a:stCxn id="109" idx="2"/>
              <a:endCxn id="109"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10"/>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0" name="MoonLegend2"/>
            <p:cNvGrpSpPr>
              <a:grpSpLocks noChangeAspect="1"/>
            </p:cNvGrpSpPr>
            <p:nvPr>
              <p:custDataLst>
                <p:tags r:id="rId11"/>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Arc 42"/>
              <p:cNvSpPr>
                <a:spLocks noChangeAspect="1"/>
              </p:cNvSpPr>
              <p:nvPr>
                <p:custDataLst>
                  <p:tags r:id="rId22"/>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1" name="MoonLegend4"/>
            <p:cNvGrpSpPr>
              <a:grpSpLocks noChangeAspect="1"/>
            </p:cNvGrpSpPr>
            <p:nvPr>
              <p:custDataLst>
                <p:tags r:id="rId12"/>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2" name="MoonLegend5"/>
            <p:cNvGrpSpPr>
              <a:grpSpLocks noChangeAspect="1"/>
            </p:cNvGrpSpPr>
            <p:nvPr>
              <p:custDataLst>
                <p:tags r:id="rId13"/>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3" name="MoonLegend3"/>
            <p:cNvGrpSpPr>
              <a:grpSpLocks noChangeAspect="1"/>
            </p:cNvGrpSpPr>
            <p:nvPr>
              <p:custDataLst>
                <p:tags r:id="rId14"/>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4306124"/>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88055568"/>
              </p:ex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240766"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9"/>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900" b="1" i="0" baseline="0" dirty="0" err="1" smtClean="0">
              <a:solidFill>
                <a:schemeClr val="tx1"/>
              </a:solidFill>
              <a:latin typeface="Arial" panose="020B0604020202020204" pitchFamily="34" charset="0"/>
              <a:ea typeface="+mj-ea"/>
              <a:cs typeface="+mj-cs"/>
              <a:sym typeface="Arial" panose="020B0604020202020204" pitchFamily="34" charset="0"/>
            </a:endParaRPr>
          </a:p>
        </p:txBody>
      </p:sp>
      <p:pic>
        <p:nvPicPr>
          <p:cNvPr id="59" name="Picture 58"/>
          <p:cNvPicPr>
            <a:picLocks/>
          </p:cNvPicPr>
          <p:nvPr userDrawn="1"/>
        </p:nvPicPr>
        <p:blipFill>
          <a:blip r:embed="rId27"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42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x-none" sz="800" b="0" i="0" u="none" strike="noStrike" kern="1200" cap="none" spc="0" normalizeH="0" baseline="0" noProof="0" dirty="0" smtClean="0">
                  <a:ln>
                    <a:noFill/>
                  </a:ln>
                  <a:solidFill>
                    <a:srgbClr val="000000"/>
                  </a:solidFill>
                  <a:effectLst/>
                  <a:uLnTx/>
                  <a:uFillTx/>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marR="0" lvl="0" indent="-519113" algn="l" defTabSz="895350" rtl="0" eaLnBrk="1" fontAlgn="base" latinLnBrk="0" hangingPunct="1">
                <a:lnSpc>
                  <a:spcPct val="100000"/>
                </a:lnSpc>
                <a:spcBef>
                  <a:spcPct val="0"/>
                </a:spcBef>
                <a:spcAft>
                  <a:spcPct val="0"/>
                </a:spcAft>
                <a:buClrTx/>
                <a:buSzTx/>
                <a:buFontTx/>
                <a:buNone/>
                <a:tabLst>
                  <a:tab pos="612775" algn="l"/>
                </a:tabLst>
                <a:defRPr/>
              </a:pPr>
              <a:r>
                <a:rPr kumimoji="0" lang="x-none" sz="800" b="0" i="0" u="none" strike="noStrike" kern="1200" cap="none" spc="0" normalizeH="0" baseline="0" noProof="0" dirty="0">
                  <a:ln>
                    <a:noFill/>
                  </a:ln>
                  <a:solidFill>
                    <a:srgbClr val="000000"/>
                  </a:solidFill>
                  <a:effectLst/>
                  <a:uLnTx/>
                  <a:uFillTx/>
                  <a:latin typeface="Arial"/>
                  <a:ea typeface="+mn-ea"/>
                  <a:cs typeface="+mn-cs"/>
                </a:rPr>
                <a:t>SOURCE : </a:t>
              </a:r>
              <a:r>
                <a:rPr kumimoji="0" lang="x-none" sz="800" b="0" i="0" u="none" strike="noStrike" kern="1200" cap="none" spc="0" normalizeH="0" baseline="0" noProof="0" dirty="0" smtClean="0">
                  <a:ln>
                    <a:noFill/>
                  </a:ln>
                  <a:solidFill>
                    <a:srgbClr val="000000"/>
                  </a:solidFill>
                  <a:effectLst/>
                  <a:uLnTx/>
                  <a:uFillTx/>
                  <a:latin typeface="Arial"/>
                  <a:ea typeface="+mn-ea"/>
                  <a:cs typeface="+mn-cs"/>
                </a:rPr>
                <a:t>Source</a:t>
              </a: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grpSp>
      <p:grpSp>
        <p:nvGrpSpPr>
          <p:cNvPr id="108" name="McKSticker" hidden="1"/>
          <p:cNvGrpSpPr/>
          <p:nvPr userDrawn="1"/>
        </p:nvGrpSpPr>
        <p:grpSpPr bwMode="auto">
          <a:xfrm>
            <a:off x="9170647" y="981080"/>
            <a:ext cx="512780" cy="150811"/>
            <a:chOff x="8267440" y="285750"/>
            <a:chExt cx="473335"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002960"/>
                </a:buClr>
                <a:buSzTx/>
                <a:buFontTx/>
                <a:buNone/>
                <a:tabLst/>
                <a:defRPr/>
              </a:pPr>
              <a:r>
                <a:rPr kumimoji="0" lang="x-none" sz="800" b="0" i="0" u="none" strike="noStrike" kern="1200" cap="none" spc="0" normalizeH="0" baseline="0" noProof="0" dirty="0" smtClean="0">
                  <a:ln>
                    <a:noFill/>
                  </a:ln>
                  <a:solidFill>
                    <a:srgbClr val="808080"/>
                  </a:solidFill>
                  <a:effectLst/>
                  <a:uLnTx/>
                  <a:uFillTx/>
                  <a:latin typeface="Arial"/>
                  <a:ea typeface="+mn-ea"/>
                  <a:cs typeface="+mn-cs"/>
                </a:rPr>
                <a:t>STICKER</a:t>
              </a:r>
              <a:endParaRPr kumimoji="0" lang="x-none" sz="800" b="0" i="0" u="none" strike="noStrike" kern="1200" cap="none" spc="0" normalizeH="0" baseline="0" noProof="0" dirty="0">
                <a:ln>
                  <a:noFill/>
                </a:ln>
                <a:solidFill>
                  <a:srgbClr val="808080"/>
                </a:solidFill>
                <a:effectLst/>
                <a:uLnTx/>
                <a:uFillTx/>
                <a:latin typeface="Arial"/>
                <a:ea typeface="+mn-ea"/>
                <a:cs typeface="+mn-cs"/>
              </a:endParaRPr>
            </a:p>
          </p:txBody>
        </p:sp>
        <p:cxnSp>
          <p:nvCxnSpPr>
            <p:cNvPr id="110" name="AutoShape 31"/>
            <p:cNvCxnSpPr>
              <a:cxnSpLocks noChangeShapeType="1"/>
              <a:stCxn id="109" idx="2"/>
              <a:endCxn id="109"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10"/>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0" name="MoonLegend2"/>
            <p:cNvGrpSpPr>
              <a:grpSpLocks noChangeAspect="1"/>
            </p:cNvGrpSpPr>
            <p:nvPr>
              <p:custDataLst>
                <p:tags r:id="rId11"/>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Arc 42"/>
              <p:cNvSpPr>
                <a:spLocks noChangeAspect="1"/>
              </p:cNvSpPr>
              <p:nvPr>
                <p:custDataLst>
                  <p:tags r:id="rId22"/>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1" name="MoonLegend4"/>
            <p:cNvGrpSpPr>
              <a:grpSpLocks noChangeAspect="1"/>
            </p:cNvGrpSpPr>
            <p:nvPr>
              <p:custDataLst>
                <p:tags r:id="rId12"/>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2" name="MoonLegend5"/>
            <p:cNvGrpSpPr>
              <a:grpSpLocks noChangeAspect="1"/>
            </p:cNvGrpSpPr>
            <p:nvPr>
              <p:custDataLst>
                <p:tags r:id="rId13"/>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3" name="MoonLegend3"/>
            <p:cNvGrpSpPr>
              <a:grpSpLocks noChangeAspect="1"/>
            </p:cNvGrpSpPr>
            <p:nvPr>
              <p:custDataLst>
                <p:tags r:id="rId14"/>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2926140059"/>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82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286996192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4" r:id="rId8"/>
    <p:sldLayoutId id="2147483685" r:id="rId9"/>
    <p:sldLayoutId id="2147483686" r:id="rId10"/>
    <p:sldLayoutId id="2147483687" r:id="rId11"/>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503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106943160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8" r:id="rId8"/>
    <p:sldLayoutId id="2147483699" r:id="rId9"/>
    <p:sldLayoutId id="2147483700" r:id="rId10"/>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7319"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62903952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10" r:id="rId8"/>
    <p:sldLayoutId id="2147483711" r:id="rId9"/>
    <p:sldLayoutId id="2147483712" r:id="rId10"/>
    <p:sldLayoutId id="2147483713" r:id="rId11"/>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470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203037499"/>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6695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4"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smtClean="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smtClean="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a:t>
              </a:r>
              <a:r>
                <a:rPr lang="x-none" sz="800" kern="1200" smtClean="0">
                  <a:ea typeface="+mn-ea"/>
                  <a:cs typeface="+mn-cs"/>
                </a:rPr>
                <a:t>Source</a:t>
              </a:r>
              <a:endParaRPr lang="en-US" sz="800" kern="1200" smtClean="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smtClean="0">
                  <a:solidFill>
                    <a:srgbClr val="808080"/>
                  </a:solidFill>
                  <a:ea typeface="+mn-ea"/>
                  <a:cs typeface="+mn-cs"/>
                </a:rPr>
                <a:t>STICKER</a:t>
              </a:r>
              <a:endParaRPr lang="x-none" sz="800" kern="1200">
                <a:solidFill>
                  <a:srgbClr val="808080"/>
                </a:solidFill>
                <a:ea typeface="+mn-ea"/>
                <a:cs typeface="+mn-cs"/>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grpSp>
    </p:spTree>
    <p:extLst>
      <p:ext uri="{BB962C8B-B14F-4D97-AF65-F5344CB8AC3E}">
        <p14:creationId xmlns:p14="http://schemas.microsoft.com/office/powerpoint/2010/main" val="1175683248"/>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7105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75483" cy="161974"/>
                      </a:xfrm>
                      <a:prstGeom prst="rect">
                        <a:avLst/>
                      </a:prstGeom>
                    </p:spPr>
                  </p:pic>
                </p:oleObj>
              </mc:Fallback>
            </mc:AlternateContent>
          </a:graphicData>
        </a:graphic>
      </p:graphicFrame>
      <p:grpSp>
        <p:nvGrpSpPr>
          <p:cNvPr id="4" name="Group 3"/>
          <p:cNvGrpSpPr/>
          <p:nvPr userDrawn="1"/>
        </p:nvGrpSpPr>
        <p:grpSpPr bwMode="ltGray">
          <a:xfrm>
            <a:off x="-2064" y="5612520"/>
            <a:ext cx="2703856" cy="1243195"/>
            <a:chOff x="-9526" y="5620139"/>
            <a:chExt cx="2495867" cy="1243195"/>
          </a:xfrm>
        </p:grpSpPr>
        <p:pic>
          <p:nvPicPr>
            <p:cNvPr id="58" name="Picture 57" descr="inside.png"/>
            <p:cNvPicPr>
              <a:picLocks/>
            </p:cNvPicPr>
            <p:nvPr userDrawn="1"/>
          </p:nvPicPr>
          <p:blipFill rotWithShape="1">
            <a:blip r:embed="rId23" cstate="print">
              <a:extLst>
                <a:ext uri="{28A0092B-C50C-407E-A947-70E740481C1C}">
                  <a14:useLocalDpi xmlns:a14="http://schemas.microsoft.com/office/drawing/2010/main" val="0"/>
                </a:ext>
              </a:extLst>
            </a:blip>
            <a:srcRect l="-116" t="80821" r="71535" b="-60"/>
            <a:stretch/>
          </p:blipFill>
          <p:spPr bwMode="ltGray">
            <a:xfrm>
              <a:off x="-9526" y="5620139"/>
              <a:ext cx="2495867" cy="1243195"/>
            </a:xfrm>
            <a:prstGeom prst="rect">
              <a:avLst/>
            </a:prstGeom>
          </p:spPr>
        </p:pic>
        <p:sp>
          <p:nvSpPr>
            <p:cNvPr id="3" name="Rectangle 2"/>
            <p:cNvSpPr>
              <a:spLocks/>
            </p:cNvSpPr>
            <p:nvPr userDrawn="1"/>
          </p:nvSpPr>
          <p:spPr bwMode="ltGray">
            <a:xfrm>
              <a:off x="-9526" y="5620139"/>
              <a:ext cx="2495867" cy="1243195"/>
            </a:xfrm>
            <a:prstGeom prst="rect">
              <a:avLst/>
            </a:prstGeom>
            <a:solidFill>
              <a:schemeClr val="bg1">
                <a:alpha val="8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smtClean="0">
                <a:solidFill>
                  <a:srgbClr val="000000"/>
                </a:solidFill>
              </a:endParaRPr>
            </a:p>
          </p:txBody>
        </p:sp>
      </p:grpSp>
      <p:pic>
        <p:nvPicPr>
          <p:cNvPr id="59" name="Picture 58"/>
          <p:cNvPicPr>
            <a:picLocks/>
          </p:cNvPicPr>
          <p:nvPr userDrawn="1"/>
        </p:nvPicPr>
        <p:blipFill>
          <a:blip r:embed="rId24"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smtClean="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smtClean="0">
                  <a:ea typeface="+mn-ea"/>
                  <a:cs typeface="+mn-cs"/>
                </a:rPr>
                <a:t>Title</a:t>
              </a:r>
              <a:endParaRPr lang="en-US" sz="1600" b="1" kern="1200">
                <a:ea typeface="+mn-ea"/>
                <a:cs typeface="+mn-cs"/>
              </a:endParaRPr>
            </a:p>
            <a:p>
              <a:pPr fontAlgn="base">
                <a:spcBef>
                  <a:spcPct val="0"/>
                </a:spcBef>
                <a:spcAft>
                  <a:spcPct val="0"/>
                </a:spcAft>
                <a:buClrTx/>
                <a:buFontTx/>
                <a:buNone/>
              </a:pPr>
              <a:r>
                <a:rPr lang="en-US" sz="1600" kern="1200" smtClean="0">
                  <a:solidFill>
                    <a:srgbClr val="808080"/>
                  </a:solidFill>
                  <a:ea typeface="+mn-ea"/>
                  <a:cs typeface="+mn-cs"/>
                </a:rPr>
                <a:t>Unit </a:t>
              </a:r>
              <a:r>
                <a:rPr lang="en-US" sz="1600" kern="1200">
                  <a:solidFill>
                    <a:srgbClr val="808080"/>
                  </a:solidFill>
                  <a:ea typeface="+mn-ea"/>
                  <a:cs typeface="+mn-cs"/>
                </a:rPr>
                <a:t>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smtClean="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a:t>
              </a:r>
              <a:r>
                <a:rPr lang="x-none" sz="800" kern="1200" smtClean="0">
                  <a:ea typeface="+mn-ea"/>
                  <a:cs typeface="+mn-cs"/>
                </a:rPr>
                <a:t>Source</a:t>
              </a:r>
              <a:endParaRPr lang="en-US" sz="800" kern="1200" smtClean="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smtClean="0">
                  <a:solidFill>
                    <a:srgbClr val="808080"/>
                  </a:solidFill>
                  <a:ea typeface="+mn-ea"/>
                  <a:cs typeface="+mn-cs"/>
                </a:rPr>
                <a:t>STICKER</a:t>
              </a:r>
              <a:endParaRPr lang="x-none" sz="800" kern="1200">
                <a:solidFill>
                  <a:srgbClr val="808080"/>
                </a:solidFill>
                <a:ea typeface="+mn-ea"/>
                <a:cs typeface="+mn-cs"/>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6"/>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7"/>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1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8"/>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9"/>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0"/>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grpSp>
    </p:spTree>
    <p:extLst>
      <p:ext uri="{BB962C8B-B14F-4D97-AF65-F5344CB8AC3E}">
        <p14:creationId xmlns:p14="http://schemas.microsoft.com/office/powerpoint/2010/main" val="2184658173"/>
      </p:ext>
    </p:extLst>
  </p:cSld>
  <p:clrMap bg1="lt1" tx1="dk1" bg2="lt2" tx2="dk2" accent1="accent1" accent2="accent2" accent3="accent3" accent4="accent4" accent5="accent5" accent6="accent6" hlink="hlink" folHlink="folHlink"/>
  <p:sldLayoutIdLst>
    <p:sldLayoutId id="2147483748" r:id="rId1"/>
    <p:sldLayoutId id="2147483749" r:id="rId2"/>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0883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4"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smtClean="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smtClean="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a:t>
              </a:r>
              <a:r>
                <a:rPr lang="x-none" sz="800" kern="1200" smtClean="0">
                  <a:ea typeface="+mn-ea"/>
                  <a:cs typeface="+mn-cs"/>
                </a:rPr>
                <a:t>Source</a:t>
              </a:r>
              <a:endParaRPr lang="en-US" sz="800" kern="1200" smtClean="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smtClean="0">
                  <a:solidFill>
                    <a:srgbClr val="808080"/>
                  </a:solidFill>
                  <a:ea typeface="+mn-ea"/>
                  <a:cs typeface="+mn-cs"/>
                </a:rPr>
                <a:t>STICKER</a:t>
              </a:r>
              <a:endParaRPr lang="x-none" sz="800" kern="1200">
                <a:solidFill>
                  <a:srgbClr val="808080"/>
                </a:solidFill>
                <a:ea typeface="+mn-ea"/>
                <a:cs typeface="+mn-cs"/>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smtClean="0">
                  <a:ea typeface="+mn-ea"/>
                  <a:cs typeface="+mn-cs"/>
                </a:rPr>
                <a:t>Legend</a:t>
              </a:r>
              <a:endParaRPr lang="x-none" sz="1200" kern="1200">
                <a:ea typeface="+mn-ea"/>
                <a:cs typeface="+mn-cs"/>
              </a:endParaRPr>
            </a:p>
          </p:txBody>
        </p:sp>
      </p:grpSp>
    </p:spTree>
    <p:extLst>
      <p:ext uri="{BB962C8B-B14F-4D97-AF65-F5344CB8AC3E}">
        <p14:creationId xmlns:p14="http://schemas.microsoft.com/office/powerpoint/2010/main" val="1090894706"/>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png"/><Relationship Id="rId2" Type="http://schemas.openxmlformats.org/officeDocument/2006/relationships/tags" Target="../tags/tag387.xml"/><Relationship Id="rId1" Type="http://schemas.openxmlformats.org/officeDocument/2006/relationships/vmlDrawing" Target="../drawings/vmlDrawing104.vml"/><Relationship Id="rId6" Type="http://schemas.openxmlformats.org/officeDocument/2006/relationships/image" Target="../media/image23.emf"/><Relationship Id="rId5" Type="http://schemas.openxmlformats.org/officeDocument/2006/relationships/oleObject" Target="../embeddings/oleObject10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tags" Target="../tags/tag397.xml"/><Relationship Id="rId2" Type="http://schemas.openxmlformats.org/officeDocument/2006/relationships/tags" Target="../tags/tag396.xml"/><Relationship Id="rId1" Type="http://schemas.openxmlformats.org/officeDocument/2006/relationships/vmlDrawing" Target="../drawings/vmlDrawing109.vml"/><Relationship Id="rId6" Type="http://schemas.openxmlformats.org/officeDocument/2006/relationships/image" Target="../media/image13.emf"/><Relationship Id="rId5" Type="http://schemas.openxmlformats.org/officeDocument/2006/relationships/oleObject" Target="../embeddings/oleObject109.bin"/><Relationship Id="rId4"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hyperlink" Target="https://datacatalog.worldbank.org/" TargetMode="External"/><Relationship Id="rId3" Type="http://schemas.openxmlformats.org/officeDocument/2006/relationships/slideLayout" Target="../slideLayouts/slideLayout8.xml"/><Relationship Id="rId7" Type="http://schemas.openxmlformats.org/officeDocument/2006/relationships/image" Target="../media/image1.png"/><Relationship Id="rId2" Type="http://schemas.openxmlformats.org/officeDocument/2006/relationships/tags" Target="../tags/tag398.xml"/><Relationship Id="rId1" Type="http://schemas.openxmlformats.org/officeDocument/2006/relationships/vmlDrawing" Target="../drawings/vmlDrawing110.vml"/><Relationship Id="rId6" Type="http://schemas.openxmlformats.org/officeDocument/2006/relationships/image" Target="../media/image23.emf"/><Relationship Id="rId11" Type="http://schemas.openxmlformats.org/officeDocument/2006/relationships/image" Target="../media/image28.png"/><Relationship Id="rId5" Type="http://schemas.openxmlformats.org/officeDocument/2006/relationships/oleObject" Target="../embeddings/oleObject110.bin"/><Relationship Id="rId10" Type="http://schemas.openxmlformats.org/officeDocument/2006/relationships/hyperlink" Target="http://www.fao.org/tanzania/fao-in-tanzania/tanzania-at-a-glance/en/" TargetMode="External"/><Relationship Id="rId4" Type="http://schemas.openxmlformats.org/officeDocument/2006/relationships/notesSlide" Target="../notesSlides/notesSlide8.xml"/><Relationship Id="rId9" Type="http://schemas.openxmlformats.org/officeDocument/2006/relationships/hyperlink" Target="http://www.fao.org/faostat"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www.tzdpg.or.tz/fileadmin/documents/external/national_development_frameworks/ASDP2_Final_Document_20_May._2016__after_edit__1_.pdf" TargetMode="External"/><Relationship Id="rId3" Type="http://schemas.openxmlformats.org/officeDocument/2006/relationships/slideLayout" Target="../slideLayouts/slideLayout8.xml"/><Relationship Id="rId7" Type="http://schemas.openxmlformats.org/officeDocument/2006/relationships/image" Target="../media/image1.png"/><Relationship Id="rId2" Type="http://schemas.openxmlformats.org/officeDocument/2006/relationships/tags" Target="../tags/tag399.xml"/><Relationship Id="rId1" Type="http://schemas.openxmlformats.org/officeDocument/2006/relationships/vmlDrawing" Target="../drawings/vmlDrawing111.vml"/><Relationship Id="rId6" Type="http://schemas.openxmlformats.org/officeDocument/2006/relationships/image" Target="../media/image23.emf"/><Relationship Id="rId5" Type="http://schemas.openxmlformats.org/officeDocument/2006/relationships/oleObject" Target="../embeddings/oleObject111.bin"/><Relationship Id="rId4" Type="http://schemas.openxmlformats.org/officeDocument/2006/relationships/notesSlide" Target="../notesSlides/notesSlide9.xml"/><Relationship Id="rId9" Type="http://schemas.openxmlformats.org/officeDocument/2006/relationships/image" Target="../media/image29.png"/></Relationships>
</file>

<file path=ppt/slides/_rels/slide1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401.xml"/><Relationship Id="rId7" Type="http://schemas.openxmlformats.org/officeDocument/2006/relationships/image" Target="../media/image23.emf"/><Relationship Id="rId2" Type="http://schemas.openxmlformats.org/officeDocument/2006/relationships/tags" Target="../tags/tag400.xml"/><Relationship Id="rId1" Type="http://schemas.openxmlformats.org/officeDocument/2006/relationships/vmlDrawing" Target="../drawings/vmlDrawing112.vml"/><Relationship Id="rId6" Type="http://schemas.openxmlformats.org/officeDocument/2006/relationships/oleObject" Target="../embeddings/oleObject112.bin"/><Relationship Id="rId5" Type="http://schemas.openxmlformats.org/officeDocument/2006/relationships/notesSlide" Target="../notesSlides/notesSlide10.xml"/><Relationship Id="rId4" Type="http://schemas.openxmlformats.org/officeDocument/2006/relationships/slideLayout" Target="../slideLayouts/slideLayout19.xml"/><Relationship Id="rId9" Type="http://schemas.openxmlformats.org/officeDocument/2006/relationships/image" Target="../media/image30.png"/></Relationships>
</file>

<file path=ppt/slides/_rels/slide17.xml.rels><?xml version="1.0" encoding="UTF-8" standalone="yes"?>
<Relationships xmlns="http://schemas.openxmlformats.org/package/2006/relationships"><Relationship Id="rId8" Type="http://schemas.openxmlformats.org/officeDocument/2006/relationships/hyperlink" Target="https://www.swedenabroad.se/en/about-sweden-non-swedish-citizens/tanzania/development-cooperation-with-Tanzania/private-sector-development-and-agricultural-markets/" TargetMode="External"/><Relationship Id="rId3" Type="http://schemas.openxmlformats.org/officeDocument/2006/relationships/slideLayout" Target="../slideLayouts/slideLayout8.xml"/><Relationship Id="rId7" Type="http://schemas.openxmlformats.org/officeDocument/2006/relationships/image" Target="../media/image1.png"/><Relationship Id="rId2" Type="http://schemas.openxmlformats.org/officeDocument/2006/relationships/tags" Target="../tags/tag402.xml"/><Relationship Id="rId1" Type="http://schemas.openxmlformats.org/officeDocument/2006/relationships/vmlDrawing" Target="../drawings/vmlDrawing113.vml"/><Relationship Id="rId6" Type="http://schemas.openxmlformats.org/officeDocument/2006/relationships/image" Target="../media/image23.emf"/><Relationship Id="rId5" Type="http://schemas.openxmlformats.org/officeDocument/2006/relationships/oleObject" Target="../embeddings/oleObject113.bin"/><Relationship Id="rId4" Type="http://schemas.openxmlformats.org/officeDocument/2006/relationships/notesSlide" Target="../notesSlides/notesSlide11.xml"/><Relationship Id="rId9" Type="http://schemas.openxmlformats.org/officeDocument/2006/relationships/image" Target="../media/image31.png"/></Relationships>
</file>

<file path=ppt/slides/_rels/slide18.xml.rels><?xml version="1.0" encoding="UTF-8" standalone="yes"?>
<Relationships xmlns="http://schemas.openxmlformats.org/package/2006/relationships"><Relationship Id="rId8" Type="http://schemas.openxmlformats.org/officeDocument/2006/relationships/hyperlink" Target="http://www.fao.org/3/a-i5251e.pdf" TargetMode="External"/><Relationship Id="rId3" Type="http://schemas.openxmlformats.org/officeDocument/2006/relationships/slideLayout" Target="../slideLayouts/slideLayout8.xml"/><Relationship Id="rId7" Type="http://schemas.openxmlformats.org/officeDocument/2006/relationships/image" Target="../media/image1.png"/><Relationship Id="rId2" Type="http://schemas.openxmlformats.org/officeDocument/2006/relationships/tags" Target="../tags/tag403.xml"/><Relationship Id="rId1" Type="http://schemas.openxmlformats.org/officeDocument/2006/relationships/vmlDrawing" Target="../drawings/vmlDrawing114.vml"/><Relationship Id="rId6" Type="http://schemas.openxmlformats.org/officeDocument/2006/relationships/image" Target="../media/image23.emf"/><Relationship Id="rId5" Type="http://schemas.openxmlformats.org/officeDocument/2006/relationships/oleObject" Target="../embeddings/oleObject114.bin"/><Relationship Id="rId10" Type="http://schemas.openxmlformats.org/officeDocument/2006/relationships/image" Target="../media/image32.png"/><Relationship Id="rId4" Type="http://schemas.openxmlformats.org/officeDocument/2006/relationships/notesSlide" Target="../notesSlides/notesSlide12.xml"/><Relationship Id="rId9" Type="http://schemas.openxmlformats.org/officeDocument/2006/relationships/hyperlink" Target="https://www.cgap.org/sites/default/files/Working-Paper-Smallholder-Survey-Tanzania-May-2016.pdf" TargetMode="External"/></Relationships>
</file>

<file path=ppt/slides/_rels/slide19.xml.rels><?xml version="1.0" encoding="UTF-8" standalone="yes"?>
<Relationships xmlns="http://schemas.openxmlformats.org/package/2006/relationships"><Relationship Id="rId3" Type="http://schemas.openxmlformats.org/officeDocument/2006/relationships/tags" Target="../tags/tag405.xml"/><Relationship Id="rId2" Type="http://schemas.openxmlformats.org/officeDocument/2006/relationships/tags" Target="../tags/tag404.xml"/><Relationship Id="rId1" Type="http://schemas.openxmlformats.org/officeDocument/2006/relationships/vmlDrawing" Target="../drawings/vmlDrawing115.vml"/><Relationship Id="rId6" Type="http://schemas.openxmlformats.org/officeDocument/2006/relationships/image" Target="../media/image33.emf"/><Relationship Id="rId5" Type="http://schemas.openxmlformats.org/officeDocument/2006/relationships/oleObject" Target="../embeddings/oleObject115.bin"/><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6" Type="http://schemas.openxmlformats.org/officeDocument/2006/relationships/tags" Target="../tags/tag431.xml"/><Relationship Id="rId21" Type="http://schemas.openxmlformats.org/officeDocument/2006/relationships/tags" Target="../tags/tag426.xml"/><Relationship Id="rId34" Type="http://schemas.openxmlformats.org/officeDocument/2006/relationships/image" Target="../media/image39.png"/><Relationship Id="rId42" Type="http://schemas.openxmlformats.org/officeDocument/2006/relationships/image" Target="../media/image47.png"/><Relationship Id="rId47" Type="http://schemas.openxmlformats.org/officeDocument/2006/relationships/image" Target="../media/image52.png"/><Relationship Id="rId50" Type="http://schemas.openxmlformats.org/officeDocument/2006/relationships/image" Target="../media/image55.png"/><Relationship Id="rId55" Type="http://schemas.openxmlformats.org/officeDocument/2006/relationships/image" Target="../media/image60.png"/><Relationship Id="rId63" Type="http://schemas.openxmlformats.org/officeDocument/2006/relationships/image" Target="../media/image68.png"/><Relationship Id="rId7" Type="http://schemas.openxmlformats.org/officeDocument/2006/relationships/tags" Target="../tags/tag412.xml"/><Relationship Id="rId2" Type="http://schemas.openxmlformats.org/officeDocument/2006/relationships/tags" Target="../tags/tag407.xml"/><Relationship Id="rId16" Type="http://schemas.openxmlformats.org/officeDocument/2006/relationships/tags" Target="../tags/tag421.xml"/><Relationship Id="rId29" Type="http://schemas.openxmlformats.org/officeDocument/2006/relationships/image" Target="../media/image34.png"/><Relationship Id="rId11" Type="http://schemas.openxmlformats.org/officeDocument/2006/relationships/tags" Target="../tags/tag416.xml"/><Relationship Id="rId24" Type="http://schemas.openxmlformats.org/officeDocument/2006/relationships/tags" Target="../tags/tag429.xml"/><Relationship Id="rId32" Type="http://schemas.openxmlformats.org/officeDocument/2006/relationships/image" Target="../media/image37.png"/><Relationship Id="rId37" Type="http://schemas.openxmlformats.org/officeDocument/2006/relationships/image" Target="../media/image42.png"/><Relationship Id="rId40" Type="http://schemas.openxmlformats.org/officeDocument/2006/relationships/image" Target="../media/image45.png"/><Relationship Id="rId45" Type="http://schemas.openxmlformats.org/officeDocument/2006/relationships/image" Target="../media/image50.png"/><Relationship Id="rId53" Type="http://schemas.openxmlformats.org/officeDocument/2006/relationships/image" Target="../media/image58.png"/><Relationship Id="rId58" Type="http://schemas.openxmlformats.org/officeDocument/2006/relationships/image" Target="../media/image63.gif"/><Relationship Id="rId66" Type="http://schemas.openxmlformats.org/officeDocument/2006/relationships/image" Target="../media/image26.jpg"/><Relationship Id="rId5" Type="http://schemas.openxmlformats.org/officeDocument/2006/relationships/tags" Target="../tags/tag410.xml"/><Relationship Id="rId61" Type="http://schemas.openxmlformats.org/officeDocument/2006/relationships/image" Target="../media/image66.jpeg"/><Relationship Id="rId19" Type="http://schemas.openxmlformats.org/officeDocument/2006/relationships/tags" Target="../tags/tag424.xml"/><Relationship Id="rId14" Type="http://schemas.openxmlformats.org/officeDocument/2006/relationships/tags" Target="../tags/tag419.xml"/><Relationship Id="rId22" Type="http://schemas.openxmlformats.org/officeDocument/2006/relationships/tags" Target="../tags/tag427.xml"/><Relationship Id="rId27" Type="http://schemas.openxmlformats.org/officeDocument/2006/relationships/tags" Target="../tags/tag432.xml"/><Relationship Id="rId30" Type="http://schemas.openxmlformats.org/officeDocument/2006/relationships/image" Target="../media/image35.png"/><Relationship Id="rId35" Type="http://schemas.openxmlformats.org/officeDocument/2006/relationships/image" Target="../media/image40.png"/><Relationship Id="rId43" Type="http://schemas.openxmlformats.org/officeDocument/2006/relationships/image" Target="../media/image48.png"/><Relationship Id="rId48" Type="http://schemas.openxmlformats.org/officeDocument/2006/relationships/image" Target="../media/image53.png"/><Relationship Id="rId56" Type="http://schemas.openxmlformats.org/officeDocument/2006/relationships/image" Target="../media/image61.jpeg"/><Relationship Id="rId64" Type="http://schemas.openxmlformats.org/officeDocument/2006/relationships/image" Target="../media/image69.jpeg"/><Relationship Id="rId8" Type="http://schemas.openxmlformats.org/officeDocument/2006/relationships/tags" Target="../tags/tag413.xml"/><Relationship Id="rId51" Type="http://schemas.openxmlformats.org/officeDocument/2006/relationships/image" Target="../media/image56.png"/><Relationship Id="rId3" Type="http://schemas.openxmlformats.org/officeDocument/2006/relationships/tags" Target="../tags/tag408.xml"/><Relationship Id="rId12" Type="http://schemas.openxmlformats.org/officeDocument/2006/relationships/tags" Target="../tags/tag417.xml"/><Relationship Id="rId17" Type="http://schemas.openxmlformats.org/officeDocument/2006/relationships/tags" Target="../tags/tag422.xml"/><Relationship Id="rId25" Type="http://schemas.openxmlformats.org/officeDocument/2006/relationships/tags" Target="../tags/tag430.xml"/><Relationship Id="rId33" Type="http://schemas.openxmlformats.org/officeDocument/2006/relationships/image" Target="../media/image38.png"/><Relationship Id="rId38" Type="http://schemas.openxmlformats.org/officeDocument/2006/relationships/image" Target="../media/image43.png"/><Relationship Id="rId46" Type="http://schemas.openxmlformats.org/officeDocument/2006/relationships/image" Target="../media/image51.png"/><Relationship Id="rId59" Type="http://schemas.openxmlformats.org/officeDocument/2006/relationships/image" Target="../media/image64.jpeg"/><Relationship Id="rId20" Type="http://schemas.openxmlformats.org/officeDocument/2006/relationships/tags" Target="../tags/tag425.xml"/><Relationship Id="rId41" Type="http://schemas.openxmlformats.org/officeDocument/2006/relationships/image" Target="../media/image46.png"/><Relationship Id="rId54" Type="http://schemas.openxmlformats.org/officeDocument/2006/relationships/image" Target="../media/image59.png"/><Relationship Id="rId62" Type="http://schemas.openxmlformats.org/officeDocument/2006/relationships/image" Target="../media/image67.png"/><Relationship Id="rId1" Type="http://schemas.openxmlformats.org/officeDocument/2006/relationships/tags" Target="../tags/tag406.xml"/><Relationship Id="rId6" Type="http://schemas.openxmlformats.org/officeDocument/2006/relationships/tags" Target="../tags/tag411.xml"/><Relationship Id="rId15" Type="http://schemas.openxmlformats.org/officeDocument/2006/relationships/tags" Target="../tags/tag420.xml"/><Relationship Id="rId23" Type="http://schemas.openxmlformats.org/officeDocument/2006/relationships/tags" Target="../tags/tag428.xml"/><Relationship Id="rId28" Type="http://schemas.openxmlformats.org/officeDocument/2006/relationships/slideLayout" Target="../slideLayouts/slideLayout8.xml"/><Relationship Id="rId36" Type="http://schemas.openxmlformats.org/officeDocument/2006/relationships/image" Target="../media/image41.png"/><Relationship Id="rId49" Type="http://schemas.openxmlformats.org/officeDocument/2006/relationships/image" Target="../media/image54.png"/><Relationship Id="rId57" Type="http://schemas.openxmlformats.org/officeDocument/2006/relationships/image" Target="../media/image62.jpeg"/><Relationship Id="rId10" Type="http://schemas.openxmlformats.org/officeDocument/2006/relationships/tags" Target="../tags/tag415.xml"/><Relationship Id="rId31" Type="http://schemas.openxmlformats.org/officeDocument/2006/relationships/image" Target="../media/image36.png"/><Relationship Id="rId44" Type="http://schemas.openxmlformats.org/officeDocument/2006/relationships/image" Target="../media/image49.png"/><Relationship Id="rId52" Type="http://schemas.openxmlformats.org/officeDocument/2006/relationships/image" Target="../media/image57.png"/><Relationship Id="rId60" Type="http://schemas.openxmlformats.org/officeDocument/2006/relationships/image" Target="../media/image65.png"/><Relationship Id="rId65" Type="http://schemas.openxmlformats.org/officeDocument/2006/relationships/image" Target="../media/image70.png"/><Relationship Id="rId4" Type="http://schemas.openxmlformats.org/officeDocument/2006/relationships/tags" Target="../tags/tag409.xml"/><Relationship Id="rId9" Type="http://schemas.openxmlformats.org/officeDocument/2006/relationships/tags" Target="../tags/tag414.xml"/><Relationship Id="rId13" Type="http://schemas.openxmlformats.org/officeDocument/2006/relationships/tags" Target="../tags/tag418.xml"/><Relationship Id="rId18" Type="http://schemas.openxmlformats.org/officeDocument/2006/relationships/tags" Target="../tags/tag423.xml"/><Relationship Id="rId39"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tags" Target="../tags/tag434.xml"/><Relationship Id="rId7" Type="http://schemas.openxmlformats.org/officeDocument/2006/relationships/image" Target="../media/image33.emf"/><Relationship Id="rId2" Type="http://schemas.openxmlformats.org/officeDocument/2006/relationships/tags" Target="../tags/tag433.xml"/><Relationship Id="rId1" Type="http://schemas.openxmlformats.org/officeDocument/2006/relationships/vmlDrawing" Target="../drawings/vmlDrawing116.vml"/><Relationship Id="rId6" Type="http://schemas.openxmlformats.org/officeDocument/2006/relationships/oleObject" Target="../embeddings/oleObject116.bin"/><Relationship Id="rId5" Type="http://schemas.openxmlformats.org/officeDocument/2006/relationships/notesSlide" Target="../notesSlides/notesSlide13.xml"/><Relationship Id="rId4"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tags" Target="../tags/tag436.xml"/><Relationship Id="rId7" Type="http://schemas.openxmlformats.org/officeDocument/2006/relationships/image" Target="../media/image33.emf"/><Relationship Id="rId2" Type="http://schemas.openxmlformats.org/officeDocument/2006/relationships/tags" Target="../tags/tag435.xml"/><Relationship Id="rId1" Type="http://schemas.openxmlformats.org/officeDocument/2006/relationships/vmlDrawing" Target="../drawings/vmlDrawing117.vml"/><Relationship Id="rId6" Type="http://schemas.openxmlformats.org/officeDocument/2006/relationships/oleObject" Target="../embeddings/oleObject117.bin"/><Relationship Id="rId5" Type="http://schemas.openxmlformats.org/officeDocument/2006/relationships/notesSlide" Target="../notesSlides/notesSlide14.xml"/><Relationship Id="rId4"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tags" Target="../tags/tag438.xml"/><Relationship Id="rId7" Type="http://schemas.openxmlformats.org/officeDocument/2006/relationships/image" Target="../media/image33.emf"/><Relationship Id="rId2" Type="http://schemas.openxmlformats.org/officeDocument/2006/relationships/tags" Target="../tags/tag437.xml"/><Relationship Id="rId1" Type="http://schemas.openxmlformats.org/officeDocument/2006/relationships/vmlDrawing" Target="../drawings/vmlDrawing118.vml"/><Relationship Id="rId6" Type="http://schemas.openxmlformats.org/officeDocument/2006/relationships/oleObject" Target="../embeddings/oleObject118.bin"/><Relationship Id="rId5" Type="http://schemas.openxmlformats.org/officeDocument/2006/relationships/notesSlide" Target="../notesSlides/notesSlide15.xml"/><Relationship Id="rId4"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tags" Target="../tags/tag440.xml"/><Relationship Id="rId7" Type="http://schemas.openxmlformats.org/officeDocument/2006/relationships/image" Target="../media/image33.emf"/><Relationship Id="rId2" Type="http://schemas.openxmlformats.org/officeDocument/2006/relationships/tags" Target="../tags/tag439.xml"/><Relationship Id="rId1" Type="http://schemas.openxmlformats.org/officeDocument/2006/relationships/vmlDrawing" Target="../drawings/vmlDrawing119.vml"/><Relationship Id="rId6" Type="http://schemas.openxmlformats.org/officeDocument/2006/relationships/oleObject" Target="../embeddings/oleObject119.bin"/><Relationship Id="rId5" Type="http://schemas.openxmlformats.org/officeDocument/2006/relationships/notesSlide" Target="../notesSlides/notesSlide16.xml"/><Relationship Id="rId4"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tags" Target="../tags/tag442.xml"/><Relationship Id="rId7" Type="http://schemas.openxmlformats.org/officeDocument/2006/relationships/image" Target="../media/image33.emf"/><Relationship Id="rId2" Type="http://schemas.openxmlformats.org/officeDocument/2006/relationships/tags" Target="../tags/tag441.xml"/><Relationship Id="rId1" Type="http://schemas.openxmlformats.org/officeDocument/2006/relationships/vmlDrawing" Target="../drawings/vmlDrawing120.vml"/><Relationship Id="rId6" Type="http://schemas.openxmlformats.org/officeDocument/2006/relationships/oleObject" Target="../embeddings/oleObject120.bin"/><Relationship Id="rId5" Type="http://schemas.openxmlformats.org/officeDocument/2006/relationships/notesSlide" Target="../notesSlides/notesSlide17.xml"/><Relationship Id="rId4"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tags" Target="../tags/tag444.xml"/><Relationship Id="rId7" Type="http://schemas.openxmlformats.org/officeDocument/2006/relationships/image" Target="../media/image21.emf"/><Relationship Id="rId2" Type="http://schemas.openxmlformats.org/officeDocument/2006/relationships/tags" Target="../tags/tag443.xml"/><Relationship Id="rId1" Type="http://schemas.openxmlformats.org/officeDocument/2006/relationships/vmlDrawing" Target="../drawings/vmlDrawing121.vml"/><Relationship Id="rId6" Type="http://schemas.openxmlformats.org/officeDocument/2006/relationships/oleObject" Target="../embeddings/oleObject121.bin"/><Relationship Id="rId5" Type="http://schemas.openxmlformats.org/officeDocument/2006/relationships/notesSlide" Target="../notesSlides/notesSlide18.xml"/><Relationship Id="rId4"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446.xml"/><Relationship Id="rId7" Type="http://schemas.openxmlformats.org/officeDocument/2006/relationships/image" Target="../media/image33.emf"/><Relationship Id="rId12" Type="http://schemas.microsoft.com/office/2007/relationships/diagramDrawing" Target="../diagrams/drawing1.xml"/><Relationship Id="rId2" Type="http://schemas.openxmlformats.org/officeDocument/2006/relationships/tags" Target="../tags/tag445.xml"/><Relationship Id="rId1" Type="http://schemas.openxmlformats.org/officeDocument/2006/relationships/vmlDrawing" Target="../drawings/vmlDrawing122.vml"/><Relationship Id="rId6" Type="http://schemas.openxmlformats.org/officeDocument/2006/relationships/oleObject" Target="../embeddings/oleObject122.bin"/><Relationship Id="rId11" Type="http://schemas.openxmlformats.org/officeDocument/2006/relationships/diagramColors" Target="../diagrams/colors1.xml"/><Relationship Id="rId5" Type="http://schemas.openxmlformats.org/officeDocument/2006/relationships/notesSlide" Target="../notesSlides/notesSlide19.xml"/><Relationship Id="rId10" Type="http://schemas.openxmlformats.org/officeDocument/2006/relationships/diagramQuickStyle" Target="../diagrams/quickStyle1.xml"/><Relationship Id="rId4" Type="http://schemas.openxmlformats.org/officeDocument/2006/relationships/slideLayout" Target="../slideLayouts/slideLayout18.xml"/><Relationship Id="rId9"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tags" Target="../tags/tag448.xml"/><Relationship Id="rId7" Type="http://schemas.openxmlformats.org/officeDocument/2006/relationships/image" Target="../media/image71.png"/><Relationship Id="rId2" Type="http://schemas.openxmlformats.org/officeDocument/2006/relationships/tags" Target="../tags/tag447.xml"/><Relationship Id="rId1" Type="http://schemas.openxmlformats.org/officeDocument/2006/relationships/vmlDrawing" Target="../drawings/vmlDrawing123.vml"/><Relationship Id="rId6" Type="http://schemas.openxmlformats.org/officeDocument/2006/relationships/image" Target="../media/image33.emf"/><Relationship Id="rId5" Type="http://schemas.openxmlformats.org/officeDocument/2006/relationships/oleObject" Target="../embeddings/oleObject123.bin"/><Relationship Id="rId10" Type="http://schemas.openxmlformats.org/officeDocument/2006/relationships/image" Target="../media/image74.png"/><Relationship Id="rId4" Type="http://schemas.openxmlformats.org/officeDocument/2006/relationships/slideLayout" Target="../slideLayouts/slideLayout8.xml"/><Relationship Id="rId9" Type="http://schemas.openxmlformats.org/officeDocument/2006/relationships/image" Target="../media/image73.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tags" Target="../tags/tag455.xml"/><Relationship Id="rId3" Type="http://schemas.openxmlformats.org/officeDocument/2006/relationships/tags" Target="../tags/tag450.xml"/><Relationship Id="rId7" Type="http://schemas.openxmlformats.org/officeDocument/2006/relationships/tags" Target="../tags/tag454.xml"/><Relationship Id="rId12" Type="http://schemas.openxmlformats.org/officeDocument/2006/relationships/image" Target="../media/image24.emf"/><Relationship Id="rId2" Type="http://schemas.openxmlformats.org/officeDocument/2006/relationships/tags" Target="../tags/tag449.xml"/><Relationship Id="rId1" Type="http://schemas.openxmlformats.org/officeDocument/2006/relationships/vmlDrawing" Target="../drawings/vmlDrawing124.vml"/><Relationship Id="rId6" Type="http://schemas.openxmlformats.org/officeDocument/2006/relationships/tags" Target="../tags/tag453.xml"/><Relationship Id="rId11" Type="http://schemas.openxmlformats.org/officeDocument/2006/relationships/oleObject" Target="../embeddings/oleObject124.bin"/><Relationship Id="rId5" Type="http://schemas.openxmlformats.org/officeDocument/2006/relationships/tags" Target="../tags/tag452.xml"/><Relationship Id="rId10" Type="http://schemas.openxmlformats.org/officeDocument/2006/relationships/slideLayout" Target="../slideLayouts/slideLayout108.xml"/><Relationship Id="rId4" Type="http://schemas.openxmlformats.org/officeDocument/2006/relationships/tags" Target="../tags/tag451.xml"/><Relationship Id="rId9" Type="http://schemas.openxmlformats.org/officeDocument/2006/relationships/tags" Target="../tags/tag456.xml"/></Relationships>
</file>

<file path=ppt/slides/_rels/slide31.xml.rels><?xml version="1.0" encoding="UTF-8" standalone="yes"?>
<Relationships xmlns="http://schemas.openxmlformats.org/package/2006/relationships"><Relationship Id="rId8" Type="http://schemas.openxmlformats.org/officeDocument/2006/relationships/tags" Target="../tags/tag463.xml"/><Relationship Id="rId13" Type="http://schemas.openxmlformats.org/officeDocument/2006/relationships/tags" Target="../tags/tag468.xml"/><Relationship Id="rId18" Type="http://schemas.openxmlformats.org/officeDocument/2006/relationships/slideLayout" Target="../slideLayouts/slideLayout113.xml"/><Relationship Id="rId3" Type="http://schemas.openxmlformats.org/officeDocument/2006/relationships/tags" Target="../tags/tag458.xml"/><Relationship Id="rId21" Type="http://schemas.openxmlformats.org/officeDocument/2006/relationships/chart" Target="../charts/chart1.xml"/><Relationship Id="rId7" Type="http://schemas.openxmlformats.org/officeDocument/2006/relationships/tags" Target="../tags/tag462.xml"/><Relationship Id="rId12" Type="http://schemas.openxmlformats.org/officeDocument/2006/relationships/tags" Target="../tags/tag467.xml"/><Relationship Id="rId17" Type="http://schemas.openxmlformats.org/officeDocument/2006/relationships/tags" Target="../tags/tag472.xml"/><Relationship Id="rId2" Type="http://schemas.openxmlformats.org/officeDocument/2006/relationships/tags" Target="../tags/tag457.xml"/><Relationship Id="rId16" Type="http://schemas.openxmlformats.org/officeDocument/2006/relationships/tags" Target="../tags/tag471.xml"/><Relationship Id="rId20" Type="http://schemas.openxmlformats.org/officeDocument/2006/relationships/image" Target="../media/image75.emf"/><Relationship Id="rId1" Type="http://schemas.openxmlformats.org/officeDocument/2006/relationships/vmlDrawing" Target="../drawings/vmlDrawing125.vml"/><Relationship Id="rId6" Type="http://schemas.openxmlformats.org/officeDocument/2006/relationships/tags" Target="../tags/tag461.xml"/><Relationship Id="rId11" Type="http://schemas.openxmlformats.org/officeDocument/2006/relationships/tags" Target="../tags/tag466.xml"/><Relationship Id="rId5" Type="http://schemas.openxmlformats.org/officeDocument/2006/relationships/tags" Target="../tags/tag460.xml"/><Relationship Id="rId15" Type="http://schemas.openxmlformats.org/officeDocument/2006/relationships/tags" Target="../tags/tag470.xml"/><Relationship Id="rId10" Type="http://schemas.openxmlformats.org/officeDocument/2006/relationships/tags" Target="../tags/tag465.xml"/><Relationship Id="rId19" Type="http://schemas.openxmlformats.org/officeDocument/2006/relationships/oleObject" Target="../embeddings/oleObject125.bin"/><Relationship Id="rId4" Type="http://schemas.openxmlformats.org/officeDocument/2006/relationships/tags" Target="../tags/tag459.xml"/><Relationship Id="rId9" Type="http://schemas.openxmlformats.org/officeDocument/2006/relationships/tags" Target="../tags/tag464.xml"/><Relationship Id="rId14" Type="http://schemas.openxmlformats.org/officeDocument/2006/relationships/tags" Target="../tags/tag469.xml"/></Relationships>
</file>

<file path=ppt/slides/_rels/slide3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tags" Target="../tags/tag474.xml"/><Relationship Id="rId7" Type="http://schemas.openxmlformats.org/officeDocument/2006/relationships/image" Target="../media/image24.emf"/><Relationship Id="rId2" Type="http://schemas.openxmlformats.org/officeDocument/2006/relationships/tags" Target="../tags/tag473.xml"/><Relationship Id="rId1" Type="http://schemas.openxmlformats.org/officeDocument/2006/relationships/vmlDrawing" Target="../drawings/vmlDrawing126.vml"/><Relationship Id="rId6" Type="http://schemas.openxmlformats.org/officeDocument/2006/relationships/oleObject" Target="../embeddings/oleObject126.bin"/><Relationship Id="rId5" Type="http://schemas.openxmlformats.org/officeDocument/2006/relationships/notesSlide" Target="../notesSlides/notesSlide20.xml"/><Relationship Id="rId10" Type="http://schemas.openxmlformats.org/officeDocument/2006/relationships/image" Target="../media/image78.png"/><Relationship Id="rId4" Type="http://schemas.openxmlformats.org/officeDocument/2006/relationships/slideLayout" Target="../slideLayouts/slideLayout8.xml"/><Relationship Id="rId9" Type="http://schemas.openxmlformats.org/officeDocument/2006/relationships/image" Target="../media/image77.png"/></Relationships>
</file>

<file path=ppt/slides/_rels/slide33.xml.rels><?xml version="1.0" encoding="UTF-8" standalone="yes"?>
<Relationships xmlns="http://schemas.openxmlformats.org/package/2006/relationships"><Relationship Id="rId3" Type="http://schemas.openxmlformats.org/officeDocument/2006/relationships/tags" Target="../tags/tag476.xml"/><Relationship Id="rId2" Type="http://schemas.openxmlformats.org/officeDocument/2006/relationships/tags" Target="../tags/tag475.xml"/><Relationship Id="rId1" Type="http://schemas.openxmlformats.org/officeDocument/2006/relationships/vmlDrawing" Target="../drawings/vmlDrawing127.vml"/><Relationship Id="rId6" Type="http://schemas.openxmlformats.org/officeDocument/2006/relationships/image" Target="../media/image13.emf"/><Relationship Id="rId5" Type="http://schemas.openxmlformats.org/officeDocument/2006/relationships/oleObject" Target="../embeddings/oleObject127.bin"/><Relationship Id="rId4"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tags" Target="../tags/tag478.xml"/><Relationship Id="rId2" Type="http://schemas.openxmlformats.org/officeDocument/2006/relationships/tags" Target="../tags/tag477.xml"/><Relationship Id="rId1" Type="http://schemas.openxmlformats.org/officeDocument/2006/relationships/vmlDrawing" Target="../drawings/vmlDrawing128.vml"/><Relationship Id="rId6" Type="http://schemas.openxmlformats.org/officeDocument/2006/relationships/image" Target="../media/image13.emf"/><Relationship Id="rId5" Type="http://schemas.openxmlformats.org/officeDocument/2006/relationships/oleObject" Target="../embeddings/oleObject128.bin"/><Relationship Id="rId4"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tags" Target="../tags/tag480.xml"/><Relationship Id="rId2" Type="http://schemas.openxmlformats.org/officeDocument/2006/relationships/tags" Target="../tags/tag479.xml"/><Relationship Id="rId1" Type="http://schemas.openxmlformats.org/officeDocument/2006/relationships/vmlDrawing" Target="../drawings/vmlDrawing129.vml"/><Relationship Id="rId6" Type="http://schemas.openxmlformats.org/officeDocument/2006/relationships/image" Target="../media/image13.emf"/><Relationship Id="rId5" Type="http://schemas.openxmlformats.org/officeDocument/2006/relationships/oleObject" Target="../embeddings/oleObject129.bin"/><Relationship Id="rId4"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tags" Target="../tags/tag482.xml"/><Relationship Id="rId2" Type="http://schemas.openxmlformats.org/officeDocument/2006/relationships/tags" Target="../tags/tag481.xml"/><Relationship Id="rId1" Type="http://schemas.openxmlformats.org/officeDocument/2006/relationships/vmlDrawing" Target="../drawings/vmlDrawing130.vml"/><Relationship Id="rId6" Type="http://schemas.openxmlformats.org/officeDocument/2006/relationships/image" Target="../media/image13.emf"/><Relationship Id="rId5" Type="http://schemas.openxmlformats.org/officeDocument/2006/relationships/oleObject" Target="../embeddings/oleObject130.bin"/><Relationship Id="rId4"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tags" Target="../tags/tag484.xml"/><Relationship Id="rId2" Type="http://schemas.openxmlformats.org/officeDocument/2006/relationships/tags" Target="../tags/tag483.xml"/><Relationship Id="rId1" Type="http://schemas.openxmlformats.org/officeDocument/2006/relationships/vmlDrawing" Target="../drawings/vmlDrawing131.vml"/><Relationship Id="rId6" Type="http://schemas.openxmlformats.org/officeDocument/2006/relationships/image" Target="../media/image13.emf"/><Relationship Id="rId5" Type="http://schemas.openxmlformats.org/officeDocument/2006/relationships/oleObject" Target="../embeddings/oleObject131.bin"/><Relationship Id="rId4"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tags" Target="../tags/tag486.xml"/><Relationship Id="rId7" Type="http://schemas.openxmlformats.org/officeDocument/2006/relationships/image" Target="../media/image13.emf"/><Relationship Id="rId2" Type="http://schemas.openxmlformats.org/officeDocument/2006/relationships/tags" Target="../tags/tag485.xml"/><Relationship Id="rId1" Type="http://schemas.openxmlformats.org/officeDocument/2006/relationships/vmlDrawing" Target="../drawings/vmlDrawing132.vml"/><Relationship Id="rId6" Type="http://schemas.openxmlformats.org/officeDocument/2006/relationships/oleObject" Target="../embeddings/oleObject132.bin"/><Relationship Id="rId5" Type="http://schemas.openxmlformats.org/officeDocument/2006/relationships/notesSlide" Target="../notesSlides/notesSlide21.xml"/><Relationship Id="rId4"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vmlDrawing" Target="../drawings/vmlDrawing133.vml"/><Relationship Id="rId6" Type="http://schemas.openxmlformats.org/officeDocument/2006/relationships/image" Target="../media/image13.emf"/><Relationship Id="rId5" Type="http://schemas.openxmlformats.org/officeDocument/2006/relationships/oleObject" Target="../embeddings/oleObject133.bin"/><Relationship Id="rId4"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tags" Target="../tags/tag490.xml"/><Relationship Id="rId2" Type="http://schemas.openxmlformats.org/officeDocument/2006/relationships/tags" Target="../tags/tag489.xml"/><Relationship Id="rId1" Type="http://schemas.openxmlformats.org/officeDocument/2006/relationships/vmlDrawing" Target="../drawings/vmlDrawing134.vml"/><Relationship Id="rId6" Type="http://schemas.openxmlformats.org/officeDocument/2006/relationships/image" Target="../media/image13.emf"/><Relationship Id="rId5" Type="http://schemas.openxmlformats.org/officeDocument/2006/relationships/oleObject" Target="../embeddings/oleObject134.bin"/><Relationship Id="rId4"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tags" Target="../tags/tag492.xml"/><Relationship Id="rId7" Type="http://schemas.openxmlformats.org/officeDocument/2006/relationships/image" Target="../media/image75.emf"/><Relationship Id="rId2" Type="http://schemas.openxmlformats.org/officeDocument/2006/relationships/tags" Target="../tags/tag491.xml"/><Relationship Id="rId1" Type="http://schemas.openxmlformats.org/officeDocument/2006/relationships/vmlDrawing" Target="../drawings/vmlDrawing135.vml"/><Relationship Id="rId6" Type="http://schemas.openxmlformats.org/officeDocument/2006/relationships/oleObject" Target="../embeddings/oleObject135.bin"/><Relationship Id="rId5" Type="http://schemas.openxmlformats.org/officeDocument/2006/relationships/notesSlide" Target="../notesSlides/notesSlide22.xml"/><Relationship Id="rId4"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jpg"/><Relationship Id="rId18" Type="http://schemas.openxmlformats.org/officeDocument/2006/relationships/image" Target="../media/image61.jpeg"/><Relationship Id="rId3" Type="http://schemas.openxmlformats.org/officeDocument/2006/relationships/image" Target="../media/image80.png"/><Relationship Id="rId21" Type="http://schemas.openxmlformats.org/officeDocument/2006/relationships/image" Target="../media/image93.png"/><Relationship Id="rId7" Type="http://schemas.openxmlformats.org/officeDocument/2006/relationships/image" Target="../media/image84.png"/><Relationship Id="rId12" Type="http://schemas.openxmlformats.org/officeDocument/2006/relationships/image" Target="../media/image89.png"/><Relationship Id="rId17" Type="http://schemas.openxmlformats.org/officeDocument/2006/relationships/image" Target="../media/image60.png"/><Relationship Id="rId25" Type="http://schemas.openxmlformats.org/officeDocument/2006/relationships/image" Target="../media/image97.jpg"/><Relationship Id="rId2" Type="http://schemas.openxmlformats.org/officeDocument/2006/relationships/image" Target="../media/image79.png"/><Relationship Id="rId16" Type="http://schemas.openxmlformats.org/officeDocument/2006/relationships/image" Target="../media/image69.jpeg"/><Relationship Id="rId20" Type="http://schemas.openxmlformats.org/officeDocument/2006/relationships/image" Target="../media/image38.png"/><Relationship Id="rId1" Type="http://schemas.openxmlformats.org/officeDocument/2006/relationships/slideLayout" Target="../slideLayouts/slideLayout12.xml"/><Relationship Id="rId6" Type="http://schemas.openxmlformats.org/officeDocument/2006/relationships/image" Target="../media/image83.png"/><Relationship Id="rId11" Type="http://schemas.openxmlformats.org/officeDocument/2006/relationships/image" Target="../media/image88.jpg"/><Relationship Id="rId24" Type="http://schemas.openxmlformats.org/officeDocument/2006/relationships/image" Target="../media/image96.png"/><Relationship Id="rId5" Type="http://schemas.openxmlformats.org/officeDocument/2006/relationships/image" Target="../media/image82.png"/><Relationship Id="rId15" Type="http://schemas.openxmlformats.org/officeDocument/2006/relationships/image" Target="../media/image92.jpg"/><Relationship Id="rId23" Type="http://schemas.openxmlformats.org/officeDocument/2006/relationships/image" Target="../media/image95.png"/><Relationship Id="rId10" Type="http://schemas.openxmlformats.org/officeDocument/2006/relationships/image" Target="../media/image87.png"/><Relationship Id="rId19" Type="http://schemas.openxmlformats.org/officeDocument/2006/relationships/image" Target="../media/image62.jpeg"/><Relationship Id="rId4" Type="http://schemas.openxmlformats.org/officeDocument/2006/relationships/image" Target="../media/image81.png"/><Relationship Id="rId9" Type="http://schemas.openxmlformats.org/officeDocument/2006/relationships/image" Target="../media/image86.png"/><Relationship Id="rId14" Type="http://schemas.openxmlformats.org/officeDocument/2006/relationships/image" Target="../media/image91.jpg"/><Relationship Id="rId22" Type="http://schemas.openxmlformats.org/officeDocument/2006/relationships/image" Target="../media/image94.png"/></Relationships>
</file>

<file path=ppt/slides/_rels/slide44.xml.rels><?xml version="1.0" encoding="UTF-8" standalone="yes"?>
<Relationships xmlns="http://schemas.openxmlformats.org/package/2006/relationships"><Relationship Id="rId3" Type="http://schemas.openxmlformats.org/officeDocument/2006/relationships/tags" Target="../tags/tag494.xml"/><Relationship Id="rId2" Type="http://schemas.openxmlformats.org/officeDocument/2006/relationships/tags" Target="../tags/tag493.xml"/><Relationship Id="rId1" Type="http://schemas.openxmlformats.org/officeDocument/2006/relationships/vmlDrawing" Target="../drawings/vmlDrawing136.vml"/><Relationship Id="rId6" Type="http://schemas.openxmlformats.org/officeDocument/2006/relationships/image" Target="../media/image13.emf"/><Relationship Id="rId5" Type="http://schemas.openxmlformats.org/officeDocument/2006/relationships/oleObject" Target="../embeddings/oleObject136.bin"/><Relationship Id="rId4"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tags" Target="../tags/tag496.xml"/><Relationship Id="rId2" Type="http://schemas.openxmlformats.org/officeDocument/2006/relationships/tags" Target="../tags/tag495.xml"/><Relationship Id="rId1" Type="http://schemas.openxmlformats.org/officeDocument/2006/relationships/vmlDrawing" Target="../drawings/vmlDrawing137.vml"/><Relationship Id="rId6" Type="http://schemas.openxmlformats.org/officeDocument/2006/relationships/image" Target="../media/image33.emf"/><Relationship Id="rId5" Type="http://schemas.openxmlformats.org/officeDocument/2006/relationships/oleObject" Target="../embeddings/oleObject137.bin"/><Relationship Id="rId4"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tags" Target="../tags/tag498.xml"/><Relationship Id="rId2" Type="http://schemas.openxmlformats.org/officeDocument/2006/relationships/tags" Target="../tags/tag497.xml"/><Relationship Id="rId1" Type="http://schemas.openxmlformats.org/officeDocument/2006/relationships/vmlDrawing" Target="../drawings/vmlDrawing138.vml"/><Relationship Id="rId6" Type="http://schemas.openxmlformats.org/officeDocument/2006/relationships/image" Target="../media/image33.emf"/><Relationship Id="rId5" Type="http://schemas.openxmlformats.org/officeDocument/2006/relationships/oleObject" Target="../embeddings/oleObject138.bin"/><Relationship Id="rId4"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vmlDrawing" Target="../drawings/vmlDrawing139.vml"/><Relationship Id="rId6" Type="http://schemas.openxmlformats.org/officeDocument/2006/relationships/image" Target="../media/image33.emf"/><Relationship Id="rId5" Type="http://schemas.openxmlformats.org/officeDocument/2006/relationships/oleObject" Target="../embeddings/oleObject139.bin"/><Relationship Id="rId4" Type="http://schemas.openxmlformats.org/officeDocument/2006/relationships/slideLayout" Target="../slideLayouts/slideLayout10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5.xml.rels><?xml version="1.0" encoding="UTF-8" standalone="yes"?>
<Relationships xmlns="http://schemas.openxmlformats.org/package/2006/relationships"><Relationship Id="rId8" Type="http://schemas.openxmlformats.org/officeDocument/2006/relationships/hyperlink" Target="https://datacatalog.worldbank.org/" TargetMode="External"/><Relationship Id="rId3" Type="http://schemas.openxmlformats.org/officeDocument/2006/relationships/tags" Target="../tags/tag389.xml"/><Relationship Id="rId7" Type="http://schemas.openxmlformats.org/officeDocument/2006/relationships/image" Target="../media/image24.emf"/><Relationship Id="rId2" Type="http://schemas.openxmlformats.org/officeDocument/2006/relationships/tags" Target="../tags/tag388.xml"/><Relationship Id="rId1" Type="http://schemas.openxmlformats.org/officeDocument/2006/relationships/vmlDrawing" Target="../drawings/vmlDrawing105.vml"/><Relationship Id="rId6" Type="http://schemas.openxmlformats.org/officeDocument/2006/relationships/oleObject" Target="../embeddings/oleObject105.bin"/><Relationship Id="rId5" Type="http://schemas.openxmlformats.org/officeDocument/2006/relationships/notesSlide" Target="../notesSlides/notesSlide4.xml"/><Relationship Id="rId4" Type="http://schemas.openxmlformats.org/officeDocument/2006/relationships/slideLayout" Target="../slideLayouts/slideLayout10.xml"/><Relationship Id="rId9" Type="http://schemas.openxmlformats.org/officeDocument/2006/relationships/hyperlink" Target="http://www.tzdpg.or.tz/fileadmin/documents/external/national_development_frameworks/ASDP2_Final_Document_20_May._2016__after_edit__1_.pdf"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tags" Target="../tags/tag502.xml"/><Relationship Id="rId7" Type="http://schemas.openxmlformats.org/officeDocument/2006/relationships/image" Target="../media/image98.png"/><Relationship Id="rId2" Type="http://schemas.openxmlformats.org/officeDocument/2006/relationships/tags" Target="../tags/tag501.xml"/><Relationship Id="rId1" Type="http://schemas.openxmlformats.org/officeDocument/2006/relationships/vmlDrawing" Target="../drawings/vmlDrawing140.vml"/><Relationship Id="rId6" Type="http://schemas.openxmlformats.org/officeDocument/2006/relationships/image" Target="../media/image24.emf"/><Relationship Id="rId5" Type="http://schemas.openxmlformats.org/officeDocument/2006/relationships/oleObject" Target="../embeddings/oleObject140.bin"/><Relationship Id="rId4"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tags" Target="../tags/tag504.xml"/><Relationship Id="rId2" Type="http://schemas.openxmlformats.org/officeDocument/2006/relationships/tags" Target="../tags/tag503.xml"/><Relationship Id="rId1" Type="http://schemas.openxmlformats.org/officeDocument/2006/relationships/vmlDrawing" Target="../drawings/vmlDrawing141.vml"/><Relationship Id="rId6" Type="http://schemas.openxmlformats.org/officeDocument/2006/relationships/image" Target="../media/image13.emf"/><Relationship Id="rId5" Type="http://schemas.openxmlformats.org/officeDocument/2006/relationships/oleObject" Target="../embeddings/oleObject141.bin"/><Relationship Id="rId4"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tags" Target="../tags/tag391.xml"/><Relationship Id="rId7" Type="http://schemas.openxmlformats.org/officeDocument/2006/relationships/image" Target="../media/image24.emf"/><Relationship Id="rId2" Type="http://schemas.openxmlformats.org/officeDocument/2006/relationships/tags" Target="../tags/tag390.xml"/><Relationship Id="rId1" Type="http://schemas.openxmlformats.org/officeDocument/2006/relationships/vmlDrawing" Target="../drawings/vmlDrawing106.vml"/><Relationship Id="rId6" Type="http://schemas.openxmlformats.org/officeDocument/2006/relationships/oleObject" Target="../embeddings/oleObject106.bin"/><Relationship Id="rId5" Type="http://schemas.openxmlformats.org/officeDocument/2006/relationships/notesSlide" Target="../notesSlides/notesSlide5.xml"/><Relationship Id="rId4"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8" Type="http://schemas.openxmlformats.org/officeDocument/2006/relationships/tags" Target="../tags/tag511.xml"/><Relationship Id="rId13" Type="http://schemas.openxmlformats.org/officeDocument/2006/relationships/tags" Target="../tags/tag516.xml"/><Relationship Id="rId18" Type="http://schemas.openxmlformats.org/officeDocument/2006/relationships/tags" Target="../tags/tag521.xml"/><Relationship Id="rId26" Type="http://schemas.openxmlformats.org/officeDocument/2006/relationships/image" Target="../media/image24.emf"/><Relationship Id="rId3" Type="http://schemas.openxmlformats.org/officeDocument/2006/relationships/tags" Target="../tags/tag506.xml"/><Relationship Id="rId21" Type="http://schemas.openxmlformats.org/officeDocument/2006/relationships/tags" Target="../tags/tag524.xml"/><Relationship Id="rId7" Type="http://schemas.openxmlformats.org/officeDocument/2006/relationships/tags" Target="../tags/tag510.xml"/><Relationship Id="rId12" Type="http://schemas.openxmlformats.org/officeDocument/2006/relationships/tags" Target="../tags/tag515.xml"/><Relationship Id="rId17" Type="http://schemas.openxmlformats.org/officeDocument/2006/relationships/tags" Target="../tags/tag520.xml"/><Relationship Id="rId25" Type="http://schemas.openxmlformats.org/officeDocument/2006/relationships/oleObject" Target="../embeddings/oleObject142.bin"/><Relationship Id="rId2" Type="http://schemas.openxmlformats.org/officeDocument/2006/relationships/tags" Target="../tags/tag505.xml"/><Relationship Id="rId16" Type="http://schemas.openxmlformats.org/officeDocument/2006/relationships/tags" Target="../tags/tag519.xml"/><Relationship Id="rId20" Type="http://schemas.openxmlformats.org/officeDocument/2006/relationships/tags" Target="../tags/tag523.xml"/><Relationship Id="rId1" Type="http://schemas.openxmlformats.org/officeDocument/2006/relationships/vmlDrawing" Target="../drawings/vmlDrawing142.vml"/><Relationship Id="rId6" Type="http://schemas.openxmlformats.org/officeDocument/2006/relationships/tags" Target="../tags/tag509.xml"/><Relationship Id="rId11" Type="http://schemas.openxmlformats.org/officeDocument/2006/relationships/tags" Target="../tags/tag514.xml"/><Relationship Id="rId24" Type="http://schemas.openxmlformats.org/officeDocument/2006/relationships/slideLayout" Target="../slideLayouts/slideLayout20.xml"/><Relationship Id="rId5" Type="http://schemas.openxmlformats.org/officeDocument/2006/relationships/tags" Target="../tags/tag508.xml"/><Relationship Id="rId15" Type="http://schemas.openxmlformats.org/officeDocument/2006/relationships/tags" Target="../tags/tag518.xml"/><Relationship Id="rId23" Type="http://schemas.openxmlformats.org/officeDocument/2006/relationships/tags" Target="../tags/tag526.xml"/><Relationship Id="rId10" Type="http://schemas.openxmlformats.org/officeDocument/2006/relationships/tags" Target="../tags/tag513.xml"/><Relationship Id="rId19" Type="http://schemas.openxmlformats.org/officeDocument/2006/relationships/tags" Target="../tags/tag522.xml"/><Relationship Id="rId4" Type="http://schemas.openxmlformats.org/officeDocument/2006/relationships/tags" Target="../tags/tag507.xml"/><Relationship Id="rId9" Type="http://schemas.openxmlformats.org/officeDocument/2006/relationships/tags" Target="../tags/tag512.xml"/><Relationship Id="rId14" Type="http://schemas.openxmlformats.org/officeDocument/2006/relationships/tags" Target="../tags/tag517.xml"/><Relationship Id="rId22" Type="http://schemas.openxmlformats.org/officeDocument/2006/relationships/tags" Target="../tags/tag525.xml"/></Relationships>
</file>

<file path=ppt/slides/_rels/slide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528.xml"/><Relationship Id="rId1" Type="http://schemas.openxmlformats.org/officeDocument/2006/relationships/tags" Target="../tags/tag527.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01.png"/><Relationship Id="rId2" Type="http://schemas.openxmlformats.org/officeDocument/2006/relationships/tags" Target="../tags/tag529.xml"/><Relationship Id="rId1" Type="http://schemas.openxmlformats.org/officeDocument/2006/relationships/vmlDrawing" Target="../drawings/vmlDrawing143.vml"/><Relationship Id="rId6" Type="http://schemas.openxmlformats.org/officeDocument/2006/relationships/image" Target="../media/image100.png"/><Relationship Id="rId5" Type="http://schemas.openxmlformats.org/officeDocument/2006/relationships/image" Target="../media/image13.emf"/><Relationship Id="rId4" Type="http://schemas.openxmlformats.org/officeDocument/2006/relationships/oleObject" Target="../embeddings/oleObject143.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png"/><Relationship Id="rId2" Type="http://schemas.openxmlformats.org/officeDocument/2006/relationships/tags" Target="../tags/tag530.xml"/><Relationship Id="rId1" Type="http://schemas.openxmlformats.org/officeDocument/2006/relationships/vmlDrawing" Target="../drawings/vmlDrawing144.vml"/><Relationship Id="rId6" Type="http://schemas.openxmlformats.org/officeDocument/2006/relationships/image" Target="../media/image13.emf"/><Relationship Id="rId5" Type="http://schemas.openxmlformats.org/officeDocument/2006/relationships/oleObject" Target="../embeddings/oleObject144.bin"/><Relationship Id="rId4" Type="http://schemas.openxmlformats.org/officeDocument/2006/relationships/notesSlide" Target="../notesSlides/notesSlide2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3.xml"/></Relationships>
</file>

<file path=ppt/slides/_rels/slide68.xml.rels><?xml version="1.0" encoding="UTF-8" standalone="yes"?>
<Relationships xmlns="http://schemas.openxmlformats.org/package/2006/relationships"><Relationship Id="rId3" Type="http://schemas.openxmlformats.org/officeDocument/2006/relationships/tags" Target="../tags/tag532.xml"/><Relationship Id="rId2" Type="http://schemas.openxmlformats.org/officeDocument/2006/relationships/tags" Target="../tags/tag531.xml"/><Relationship Id="rId1" Type="http://schemas.openxmlformats.org/officeDocument/2006/relationships/vmlDrawing" Target="../drawings/vmlDrawing145.vml"/><Relationship Id="rId6" Type="http://schemas.openxmlformats.org/officeDocument/2006/relationships/image" Target="../media/image21.emf"/><Relationship Id="rId5" Type="http://schemas.openxmlformats.org/officeDocument/2006/relationships/oleObject" Target="../embeddings/oleObject145.bin"/><Relationship Id="rId4"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3" Type="http://schemas.openxmlformats.org/officeDocument/2006/relationships/tags" Target="../tags/tag534.xml"/><Relationship Id="rId2" Type="http://schemas.openxmlformats.org/officeDocument/2006/relationships/tags" Target="../tags/tag533.xml"/><Relationship Id="rId1" Type="http://schemas.openxmlformats.org/officeDocument/2006/relationships/vmlDrawing" Target="../drawings/vmlDrawing146.vml"/><Relationship Id="rId6" Type="http://schemas.openxmlformats.org/officeDocument/2006/relationships/image" Target="../media/image21.emf"/><Relationship Id="rId5" Type="http://schemas.openxmlformats.org/officeDocument/2006/relationships/oleObject" Target="../embeddings/oleObject146.bin"/><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393.xml"/><Relationship Id="rId7" Type="http://schemas.openxmlformats.org/officeDocument/2006/relationships/image" Target="../media/image13.emf"/><Relationship Id="rId2" Type="http://schemas.openxmlformats.org/officeDocument/2006/relationships/tags" Target="../tags/tag392.xml"/><Relationship Id="rId1" Type="http://schemas.openxmlformats.org/officeDocument/2006/relationships/vmlDrawing" Target="../drawings/vmlDrawing107.vml"/><Relationship Id="rId6" Type="http://schemas.openxmlformats.org/officeDocument/2006/relationships/oleObject" Target="../embeddings/oleObject107.bin"/><Relationship Id="rId5" Type="http://schemas.openxmlformats.org/officeDocument/2006/relationships/notesSlide" Target="../notesSlides/notesSlide6.xml"/><Relationship Id="rId4" Type="http://schemas.openxmlformats.org/officeDocument/2006/relationships/slideLayout" Target="../slideLayouts/slideLayout12.xml"/><Relationship Id="rId9" Type="http://schemas.openxmlformats.org/officeDocument/2006/relationships/image" Target="../media/image26.jpg"/></Relationships>
</file>

<file path=ppt/slides/_rels/slide70.xml.rels><?xml version="1.0" encoding="UTF-8" standalone="yes"?>
<Relationships xmlns="http://schemas.openxmlformats.org/package/2006/relationships"><Relationship Id="rId3" Type="http://schemas.openxmlformats.org/officeDocument/2006/relationships/tags" Target="../tags/tag536.xml"/><Relationship Id="rId2" Type="http://schemas.openxmlformats.org/officeDocument/2006/relationships/tags" Target="../tags/tag535.xml"/><Relationship Id="rId1" Type="http://schemas.openxmlformats.org/officeDocument/2006/relationships/vmlDrawing" Target="../drawings/vmlDrawing147.vml"/><Relationship Id="rId6" Type="http://schemas.openxmlformats.org/officeDocument/2006/relationships/image" Target="../media/image21.emf"/><Relationship Id="rId5" Type="http://schemas.openxmlformats.org/officeDocument/2006/relationships/oleObject" Target="../embeddings/oleObject147.bin"/><Relationship Id="rId4"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8" Type="http://schemas.openxmlformats.org/officeDocument/2006/relationships/hyperlink" Target="http://www.fao.org/faostat" TargetMode="External"/><Relationship Id="rId3" Type="http://schemas.openxmlformats.org/officeDocument/2006/relationships/image" Target="../media/image1.png"/><Relationship Id="rId7" Type="http://schemas.openxmlformats.org/officeDocument/2006/relationships/hyperlink" Target="http://www.fao.org/3/a-i5251e.pdf"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 Id="rId6" Type="http://schemas.openxmlformats.org/officeDocument/2006/relationships/hyperlink" Target="https://www.swedenabroad.se/en/about-sweden-non-swedish-citizens/tanzania/development-cooperation-with-Tanzania/private-sector-development-and-agricultural-markets/" TargetMode="External"/><Relationship Id="rId5" Type="http://schemas.openxmlformats.org/officeDocument/2006/relationships/hyperlink" Target="https://datacatalog.worldbank.org/" TargetMode="External"/><Relationship Id="rId4" Type="http://schemas.openxmlformats.org/officeDocument/2006/relationships/hyperlink" Target="http://www.tzdpg.or.tz/fileadmin/documents/external/national_development_frameworks/ASDP2_Final_Document_20_May._2016__after_edit__1_.pdf"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95.xml"/><Relationship Id="rId7" Type="http://schemas.openxmlformats.org/officeDocument/2006/relationships/image" Target="../media/image13.emf"/><Relationship Id="rId2" Type="http://schemas.openxmlformats.org/officeDocument/2006/relationships/tags" Target="../tags/tag394.xml"/><Relationship Id="rId1" Type="http://schemas.openxmlformats.org/officeDocument/2006/relationships/vmlDrawing" Target="../drawings/vmlDrawing108.vml"/><Relationship Id="rId6" Type="http://schemas.openxmlformats.org/officeDocument/2006/relationships/oleObject" Target="../embeddings/oleObject108.bin"/><Relationship Id="rId5" Type="http://schemas.openxmlformats.org/officeDocument/2006/relationships/notesSlide" Target="../notesSlides/notesSlide7.xml"/><Relationship Id="rId4" Type="http://schemas.openxmlformats.org/officeDocument/2006/relationships/slideLayout" Target="../slideLayouts/slideLayout12.xml"/><Relationship Id="rId9" Type="http://schemas.microsoft.com/office/2007/relationships/hdphoto" Target="../media/hdphoto1.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7"/>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23600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8" name="Google Shape;158;p25"/>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159" name="Google Shape;159;p25"/>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noAutofit/>
          </a:bodyPr>
          <a:lstStyle/>
          <a:p>
            <a:pPr lvl="0">
              <a:buSzPts val="4000"/>
            </a:pPr>
            <a:r>
              <a:rPr lang="en-US" sz="4000" b="0" i="0" u="none" strike="noStrike" cap="none" dirty="0">
                <a:solidFill>
                  <a:schemeClr val="lt1"/>
                </a:solidFill>
                <a:latin typeface="Arial"/>
                <a:ea typeface="Arial"/>
                <a:cs typeface="Arial"/>
                <a:sym typeface="Arial"/>
              </a:rPr>
              <a:t>AGRA </a:t>
            </a:r>
            <a:r>
              <a:rPr lang="en-US" sz="4000" dirty="0" smtClean="0"/>
              <a:t>Tanzania</a:t>
            </a:r>
            <a:r>
              <a:rPr lang="en-US" sz="4000" b="0" i="0" u="none" strike="noStrike" cap="none" dirty="0" smtClean="0">
                <a:solidFill>
                  <a:schemeClr val="lt1"/>
                </a:solidFill>
                <a:latin typeface="Arial"/>
                <a:ea typeface="Arial"/>
                <a:cs typeface="Arial"/>
                <a:sym typeface="Arial"/>
              </a:rPr>
              <a:t> </a:t>
            </a:r>
            <a:r>
              <a:rPr lang="en-US" sz="4000" b="0" i="0" u="none" strike="noStrike" cap="none" dirty="0">
                <a:solidFill>
                  <a:schemeClr val="lt1"/>
                </a:solidFill>
                <a:latin typeface="Arial"/>
                <a:ea typeface="Arial"/>
                <a:cs typeface="Arial"/>
                <a:sym typeface="Arial"/>
              </a:rPr>
              <a:t>Operational </a:t>
            </a:r>
            <a:r>
              <a:rPr lang="en-US" sz="4000" b="0" i="0" u="none" strike="noStrike" cap="none" dirty="0" smtClean="0">
                <a:solidFill>
                  <a:schemeClr val="lt1"/>
                </a:solidFill>
                <a:latin typeface="Arial"/>
                <a:ea typeface="Arial"/>
                <a:cs typeface="Arial"/>
                <a:sym typeface="Arial"/>
              </a:rPr>
              <a:t>Plan</a:t>
            </a:r>
            <a:endParaRPr dirty="0"/>
          </a:p>
        </p:txBody>
      </p:sp>
      <p:sp>
        <p:nvSpPr>
          <p:cNvPr id="160" name="Google Shape;160;p25"/>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lt1"/>
              </a:buClr>
              <a:buSzPts val="1600"/>
              <a:buFont typeface="Arial"/>
              <a:buNone/>
            </a:pPr>
            <a:r>
              <a:rPr lang="en-US" sz="1600" b="0" i="1" u="none" strike="noStrike" cap="none" dirty="0">
                <a:solidFill>
                  <a:schemeClr val="lt1"/>
                </a:solidFill>
                <a:latin typeface="Arial"/>
                <a:ea typeface="Arial"/>
                <a:cs typeface="Arial"/>
                <a:sym typeface="Arial"/>
              </a:rPr>
              <a:t>Revised, </a:t>
            </a:r>
            <a:r>
              <a:rPr lang="en-US" sz="1600" b="0" i="1" u="none" strike="noStrike" cap="none" dirty="0" smtClean="0">
                <a:solidFill>
                  <a:schemeClr val="lt1"/>
                </a:solidFill>
                <a:latin typeface="Arial"/>
                <a:ea typeface="Arial"/>
                <a:cs typeface="Arial"/>
                <a:sym typeface="Arial"/>
              </a:rPr>
              <a:t>June 2019</a:t>
            </a:r>
            <a:endParaRPr sz="1600" b="0" i="1" u="none" strike="noStrike" cap="none" dirty="0">
              <a:solidFill>
                <a:schemeClr val="lt1"/>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b"/>
          <a:lstStyle/>
          <a:p>
            <a:r>
              <a:rPr lang="en-US" dirty="0"/>
              <a:t>AGRA’s Vision and Headline Goals 2017 - 2021</a:t>
            </a:r>
          </a:p>
        </p:txBody>
      </p:sp>
      <p:grpSp>
        <p:nvGrpSpPr>
          <p:cNvPr id="8" name="Group 7"/>
          <p:cNvGrpSpPr/>
          <p:nvPr/>
        </p:nvGrpSpPr>
        <p:grpSpPr>
          <a:xfrm>
            <a:off x="678092" y="1031285"/>
            <a:ext cx="7729385" cy="4881834"/>
            <a:chOff x="416068" y="1187481"/>
            <a:chExt cx="7729385" cy="4881834"/>
          </a:xfrm>
        </p:grpSpPr>
        <p:sp>
          <p:nvSpPr>
            <p:cNvPr id="9" name="Rectangle 8"/>
            <p:cNvSpPr>
              <a:spLocks noChangeArrowheads="1"/>
            </p:cNvSpPr>
            <p:nvPr/>
          </p:nvSpPr>
          <p:spPr bwMode="auto">
            <a:xfrm>
              <a:off x="717711" y="2710222"/>
              <a:ext cx="7427742" cy="335909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noAutofit/>
            </a:bodyPr>
            <a:lstStyle>
              <a:lvl1pPr>
                <a:defRPr sz="4200">
                  <a:solidFill>
                    <a:srgbClr val="000000"/>
                  </a:solidFill>
                  <a:latin typeface="Gill Sans"/>
                  <a:ea typeface="ヒラギノ角ゴ ProN W3"/>
                  <a:cs typeface="ヒラギノ角ゴ ProN W3"/>
                  <a:sym typeface="Gill Sans"/>
                </a:defRPr>
              </a:lvl1pPr>
              <a:lvl2pPr marL="742950" indent="-285750">
                <a:defRPr sz="4200">
                  <a:solidFill>
                    <a:srgbClr val="000000"/>
                  </a:solidFill>
                  <a:latin typeface="Gill Sans"/>
                  <a:ea typeface="ヒラギノ角ゴ ProN W3"/>
                  <a:cs typeface="ヒラギノ角ゴ ProN W3"/>
                  <a:sym typeface="Gill Sans"/>
                </a:defRPr>
              </a:lvl2pPr>
              <a:lvl3pPr marL="1143000" indent="-228600">
                <a:defRPr sz="4200">
                  <a:solidFill>
                    <a:srgbClr val="000000"/>
                  </a:solidFill>
                  <a:latin typeface="Gill Sans"/>
                  <a:ea typeface="ヒラギノ角ゴ ProN W3"/>
                  <a:cs typeface="ヒラギノ角ゴ ProN W3"/>
                  <a:sym typeface="Gill Sans"/>
                </a:defRPr>
              </a:lvl3pPr>
              <a:lvl4pPr marL="1600200" indent="-228600">
                <a:defRPr sz="4200">
                  <a:solidFill>
                    <a:srgbClr val="000000"/>
                  </a:solidFill>
                  <a:latin typeface="Gill Sans"/>
                  <a:ea typeface="ヒラギノ角ゴ ProN W3"/>
                  <a:cs typeface="ヒラギノ角ゴ ProN W3"/>
                  <a:sym typeface="Gill Sans"/>
                </a:defRPr>
              </a:lvl4pPr>
              <a:lvl5pPr marL="2057400" indent="-228600">
                <a:defRPr sz="4200">
                  <a:solidFill>
                    <a:srgbClr val="000000"/>
                  </a:solidFill>
                  <a:latin typeface="Gill Sans"/>
                  <a:ea typeface="ヒラギノ角ゴ ProN W3"/>
                  <a:cs typeface="ヒラギノ角ゴ ProN W3"/>
                  <a:sym typeface="Gill Sans"/>
                </a:defRPr>
              </a:lvl5pPr>
              <a:lvl6pPr marL="25146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6pPr>
              <a:lvl7pPr marL="29718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7pPr>
              <a:lvl8pPr marL="34290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8pPr>
              <a:lvl9pPr marL="38862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9pPr>
            </a:lstStyle>
            <a:p>
              <a:pPr defTabSz="779082">
                <a:defRPr/>
              </a:pPr>
              <a:endParaRPr lang="en-US" sz="1400" dirty="0">
                <a:latin typeface="Arial" panose="020B0604020202020204" pitchFamily="34" charset="0"/>
                <a:cs typeface="Arial" panose="020B0604020202020204" pitchFamily="34" charset="0"/>
              </a:endParaRPr>
            </a:p>
            <a:p>
              <a:pPr marL="389586" indent="-389586" defTabSz="779082">
                <a:spcAft>
                  <a:spcPts val="852"/>
                </a:spcAft>
                <a:buFont typeface="+mj-lt"/>
                <a:buAutoNum type="arabicPeriod"/>
                <a:defRPr/>
              </a:pPr>
              <a:r>
                <a:rPr lang="en-US" sz="1400" dirty="0">
                  <a:latin typeface="Arial" panose="020B0604020202020204" pitchFamily="34" charset="0"/>
                  <a:cs typeface="Arial" panose="020B0604020202020204" pitchFamily="34" charset="0"/>
                </a:rPr>
                <a:t>Increase the incomes and improve food security for 9 million farm households through the direct result of activities of AGRA, grantees, and partners to increase productivity and access to markets and finance</a:t>
              </a:r>
            </a:p>
            <a:p>
              <a:pPr marL="389586" indent="-389586" defTabSz="779082">
                <a:spcAft>
                  <a:spcPts val="852"/>
                </a:spcAft>
                <a:buFont typeface="+mj-lt"/>
                <a:buAutoNum type="arabicPeriod"/>
                <a:defRPr/>
              </a:pPr>
              <a:r>
                <a:rPr lang="en-US" sz="1400" dirty="0">
                  <a:latin typeface="Arial" panose="020B0604020202020204" pitchFamily="34" charset="0"/>
                  <a:cs typeface="Arial" panose="020B0604020202020204" pitchFamily="34" charset="0"/>
                </a:rPr>
                <a:t>Contribute to increasing the incomes and improving food security of another 21 million farm households through support to strengthening capacities of governments and private sector and through the contributions of AGRA, grantees, and partners to policies, programs, and partnerships that increase productivity and access to markets and finance</a:t>
              </a:r>
            </a:p>
            <a:p>
              <a:pPr marL="389586" indent="-389586" defTabSz="779082">
                <a:spcAft>
                  <a:spcPts val="852"/>
                </a:spcAft>
                <a:buFont typeface="+mj-lt"/>
                <a:buAutoNum type="arabicPeriod"/>
                <a:defRPr/>
              </a:pPr>
              <a:r>
                <a:rPr lang="en-US" sz="1400" dirty="0">
                  <a:latin typeface="Arial" panose="020B0604020202020204" pitchFamily="34" charset="0"/>
                  <a:cs typeface="Arial" panose="020B0604020202020204" pitchFamily="34" charset="0"/>
                </a:rPr>
                <a:t>Support 11 focus countries on a pathway to attain and sustain an agricultural transformation</a:t>
              </a:r>
            </a:p>
          </p:txBody>
        </p:sp>
        <p:sp>
          <p:nvSpPr>
            <p:cNvPr id="10" name="Rectangle 2"/>
            <p:cNvSpPr>
              <a:spLocks noChangeArrowheads="1"/>
            </p:cNvSpPr>
            <p:nvPr/>
          </p:nvSpPr>
          <p:spPr bwMode="auto">
            <a:xfrm>
              <a:off x="717711" y="1330009"/>
              <a:ext cx="7427742" cy="105305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noAutofit/>
            </a:bodyPr>
            <a:lstStyle>
              <a:lvl1pPr>
                <a:defRPr sz="4200">
                  <a:solidFill>
                    <a:srgbClr val="000000"/>
                  </a:solidFill>
                  <a:latin typeface="Gill Sans"/>
                  <a:ea typeface="ヒラギノ角ゴ ProN W3"/>
                  <a:cs typeface="ヒラギノ角ゴ ProN W3"/>
                  <a:sym typeface="Gill Sans"/>
                </a:defRPr>
              </a:lvl1pPr>
              <a:lvl2pPr marL="742950" indent="-285750">
                <a:defRPr sz="4200">
                  <a:solidFill>
                    <a:srgbClr val="000000"/>
                  </a:solidFill>
                  <a:latin typeface="Gill Sans"/>
                  <a:ea typeface="ヒラギノ角ゴ ProN W3"/>
                  <a:cs typeface="ヒラギノ角ゴ ProN W3"/>
                  <a:sym typeface="Gill Sans"/>
                </a:defRPr>
              </a:lvl2pPr>
              <a:lvl3pPr marL="1143000" indent="-228600">
                <a:defRPr sz="4200">
                  <a:solidFill>
                    <a:srgbClr val="000000"/>
                  </a:solidFill>
                  <a:latin typeface="Gill Sans"/>
                  <a:ea typeface="ヒラギノ角ゴ ProN W3"/>
                  <a:cs typeface="ヒラギノ角ゴ ProN W3"/>
                  <a:sym typeface="Gill Sans"/>
                </a:defRPr>
              </a:lvl3pPr>
              <a:lvl4pPr marL="1600200" indent="-228600">
                <a:defRPr sz="4200">
                  <a:solidFill>
                    <a:srgbClr val="000000"/>
                  </a:solidFill>
                  <a:latin typeface="Gill Sans"/>
                  <a:ea typeface="ヒラギノ角ゴ ProN W3"/>
                  <a:cs typeface="ヒラギノ角ゴ ProN W3"/>
                  <a:sym typeface="Gill Sans"/>
                </a:defRPr>
              </a:lvl4pPr>
              <a:lvl5pPr marL="2057400" indent="-228600">
                <a:defRPr sz="4200">
                  <a:solidFill>
                    <a:srgbClr val="000000"/>
                  </a:solidFill>
                  <a:latin typeface="Gill Sans"/>
                  <a:ea typeface="ヒラギノ角ゴ ProN W3"/>
                  <a:cs typeface="ヒラギノ角ゴ ProN W3"/>
                  <a:sym typeface="Gill Sans"/>
                </a:defRPr>
              </a:lvl5pPr>
              <a:lvl6pPr marL="25146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6pPr>
              <a:lvl7pPr marL="29718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7pPr>
              <a:lvl8pPr marL="34290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8pPr>
              <a:lvl9pPr marL="38862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9pPr>
            </a:lstStyle>
            <a:p>
              <a:pPr defTabSz="779082">
                <a:lnSpc>
                  <a:spcPct val="107000"/>
                </a:lnSpc>
                <a:defRPr/>
              </a:pPr>
              <a:endParaRPr lang="en-US" altLang="en-US" sz="1400" dirty="0">
                <a:latin typeface="Arial" panose="020B0604020202020204" pitchFamily="34" charset="0"/>
                <a:ea typeface="Calibri" panose="020F0502020204030204" pitchFamily="34" charset="0"/>
                <a:cs typeface="Arial" panose="020B0604020202020204" pitchFamily="34" charset="0"/>
              </a:endParaRPr>
            </a:p>
            <a:p>
              <a:pPr defTabSz="779082"/>
              <a:r>
                <a:rPr lang="en-US" sz="1400" dirty="0">
                  <a:latin typeface="Arial" panose="020B0604020202020204" pitchFamily="34" charset="0"/>
                  <a:cs typeface="Arial" panose="020B0604020202020204" pitchFamily="34" charset="0"/>
                </a:rPr>
                <a:t>To catalyze and sustain inclusive agriculture transformation in Africa by increasing incomes and improving food security for 30 million smallholder households in Africa and to support countries on a pathway to attain and sustain an agriculture transformation.</a:t>
              </a:r>
            </a:p>
          </p:txBody>
        </p:sp>
        <p:sp>
          <p:nvSpPr>
            <p:cNvPr id="11" name="Rectangle 10"/>
            <p:cNvSpPr/>
            <p:nvPr/>
          </p:nvSpPr>
          <p:spPr>
            <a:xfrm>
              <a:off x="416070" y="1187481"/>
              <a:ext cx="3681948" cy="367925"/>
            </a:xfrm>
            <a:prstGeom prst="rect">
              <a:avLst/>
            </a:prstGeom>
            <a:solidFill>
              <a:srgbClr val="3F5F1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8957" rIns="38957" anchor="ctr"/>
            <a:lstStyle/>
            <a:p>
              <a:pPr defTabSz="779082">
                <a:lnSpc>
                  <a:spcPct val="107000"/>
                </a:lnSpc>
                <a:defRPr/>
              </a:pPr>
              <a:r>
                <a:rPr lang="en-US" altLang="en-US" b="1">
                  <a:solidFill>
                    <a:srgbClr val="FFFFFF"/>
                  </a:solidFill>
                  <a:latin typeface="Arial" panose="020B0604020202020204" pitchFamily="34" charset="0"/>
                  <a:ea typeface="Calibri" panose="020F0502020204030204" pitchFamily="34" charset="0"/>
                  <a:cs typeface="Arial" panose="020B0604020202020204" pitchFamily="34" charset="0"/>
                </a:rPr>
                <a:t> AGRA’s vision </a:t>
              </a:r>
              <a:endParaRPr lang="en-US" altLang="en-US">
                <a:solidFill>
                  <a:srgbClr val="FFFFFF"/>
                </a:solidFill>
                <a:latin typeface="Arial" panose="020B0604020202020204" pitchFamily="34" charset="0"/>
                <a:ea typeface="Calibri" panose="020F0502020204030204" pitchFamily="34" charset="0"/>
                <a:cs typeface="Arial" panose="020B0604020202020204" pitchFamily="34" charset="0"/>
              </a:endParaRPr>
            </a:p>
          </p:txBody>
        </p:sp>
        <p:sp>
          <p:nvSpPr>
            <p:cNvPr id="12" name="Rectangle 11"/>
            <p:cNvSpPr/>
            <p:nvPr/>
          </p:nvSpPr>
          <p:spPr>
            <a:xfrm>
              <a:off x="416068" y="2525589"/>
              <a:ext cx="3681948" cy="369277"/>
            </a:xfrm>
            <a:prstGeom prst="rect">
              <a:avLst/>
            </a:prstGeom>
            <a:solidFill>
              <a:srgbClr val="3F5F1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8957" rIns="38957" anchor="ctr"/>
            <a:lstStyle/>
            <a:p>
              <a:pPr defTabSz="779082">
                <a:lnSpc>
                  <a:spcPct val="107000"/>
                </a:lnSpc>
                <a:defRPr/>
              </a:pPr>
              <a:r>
                <a:rPr lang="en-US" altLang="en-US" b="1" dirty="0">
                  <a:solidFill>
                    <a:srgbClr val="FFFFFF"/>
                  </a:solidFill>
                  <a:latin typeface="Arial" panose="020B0604020202020204" pitchFamily="34" charset="0"/>
                  <a:ea typeface="Calibri" panose="020F0502020204030204" pitchFamily="34" charset="0"/>
                  <a:cs typeface="Arial" panose="020B0604020202020204" pitchFamily="34" charset="0"/>
                </a:rPr>
                <a:t> AGRA’s headline goals</a:t>
              </a:r>
              <a:endParaRPr lang="en-US" altLang="en-US" dirty="0">
                <a:solidFill>
                  <a:srgbClr val="FFFFFF"/>
                </a:solidFill>
                <a:latin typeface="Arial" panose="020B0604020202020204" pitchFamily="34" charset="0"/>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40934420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055" name="think-cell Slide" r:id="rId5" imgW="360" imgH="360" progId="TCLayout.ActiveDocument.1">
                  <p:embed/>
                </p:oleObj>
              </mc:Choice>
              <mc:Fallback>
                <p:oleObj name="think-cell Slide" r:id="rId5" imgW="360" imgH="36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200" b="1" dirty="0" smtClean="0">
              <a:solidFill>
                <a:schemeClr val="accent6">
                  <a:lumMod val="50000"/>
                </a:schemeClr>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p:cNvSpPr>
            <a:spLocks noGrp="1"/>
          </p:cNvSpPr>
          <p:nvPr>
            <p:ph type="title"/>
          </p:nvPr>
        </p:nvSpPr>
        <p:spPr/>
        <p:txBody>
          <a:bodyPr lIns="0" tIns="0" rIns="0" bIns="0" anchor="b"/>
          <a:lstStyle/>
          <a:p>
            <a:r>
              <a:rPr lang="en-US" dirty="0" err="1"/>
              <a:t>AGRA’s</a:t>
            </a:r>
            <a:r>
              <a:rPr lang="en-US" dirty="0"/>
              <a:t> 2017 – 2021 Strategy </a:t>
            </a:r>
          </a:p>
        </p:txBody>
      </p:sp>
      <p:sp>
        <p:nvSpPr>
          <p:cNvPr id="4" name="TextBox 3"/>
          <p:cNvSpPr txBox="1"/>
          <p:nvPr/>
        </p:nvSpPr>
        <p:spPr>
          <a:xfrm rot="16200000">
            <a:off x="-595681" y="5222241"/>
            <a:ext cx="1761489" cy="307777"/>
          </a:xfrm>
          <a:prstGeom prst="rect">
            <a:avLst/>
          </a:prstGeom>
          <a:noFill/>
        </p:spPr>
        <p:txBody>
          <a:bodyPr wrap="square" rtlCol="0">
            <a:spAutoFit/>
          </a:bodyPr>
          <a:lstStyle/>
          <a:p>
            <a:r>
              <a:rPr lang="en-US" sz="1400" b="1" dirty="0" smtClean="0">
                <a:solidFill>
                  <a:srgbClr val="0070C0"/>
                </a:solidFill>
                <a:latin typeface="Arial" panose="020B0604020202020204" pitchFamily="34" charset="0"/>
                <a:cs typeface="Arial" panose="020B0604020202020204" pitchFamily="34" charset="0"/>
              </a:rPr>
              <a:t>Theory of Change</a:t>
            </a:r>
          </a:p>
        </p:txBody>
      </p:sp>
      <p:sp>
        <p:nvSpPr>
          <p:cNvPr id="7" name="TextBox 6"/>
          <p:cNvSpPr txBox="1"/>
          <p:nvPr/>
        </p:nvSpPr>
        <p:spPr>
          <a:xfrm rot="5400000" flipH="1">
            <a:off x="8407464" y="2651413"/>
            <a:ext cx="2298573" cy="307777"/>
          </a:xfrm>
          <a:prstGeom prst="rect">
            <a:avLst/>
          </a:prstGeom>
          <a:noFill/>
        </p:spPr>
        <p:txBody>
          <a:bodyPr wrap="square" rtlCol="0">
            <a:spAutoFit/>
          </a:bodyPr>
          <a:lstStyle/>
          <a:p>
            <a:r>
              <a:rPr lang="en-US" sz="1400" b="1" dirty="0" smtClean="0">
                <a:solidFill>
                  <a:srgbClr val="00B050"/>
                </a:solidFill>
                <a:latin typeface="Arial" panose="020B0604020202020204" pitchFamily="34" charset="0"/>
                <a:cs typeface="Arial" panose="020B0604020202020204" pitchFamily="34" charset="0"/>
              </a:rPr>
              <a:t>Theory of Action</a:t>
            </a:r>
          </a:p>
        </p:txBody>
      </p:sp>
      <p:sp>
        <p:nvSpPr>
          <p:cNvPr id="11" name="Rectangle 10"/>
          <p:cNvSpPr/>
          <p:nvPr/>
        </p:nvSpPr>
        <p:spPr>
          <a:xfrm>
            <a:off x="431694" y="1313308"/>
            <a:ext cx="5069445"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200" b="1" dirty="0" smtClean="0">
              <a:solidFill>
                <a:schemeClr val="accent6">
                  <a:lumMod val="50000"/>
                </a:schemeClr>
              </a:solidFill>
              <a:latin typeface="Arial" panose="020B0604020202020204" pitchFamily="34" charset="0"/>
              <a:cs typeface="Arial" panose="020B0604020202020204" pitchFamily="34" charset="0"/>
            </a:endParaRPr>
          </a:p>
        </p:txBody>
      </p:sp>
      <p:grpSp>
        <p:nvGrpSpPr>
          <p:cNvPr id="30" name="Group 29"/>
          <p:cNvGrpSpPr/>
          <p:nvPr/>
        </p:nvGrpSpPr>
        <p:grpSpPr>
          <a:xfrm>
            <a:off x="536105" y="3744866"/>
            <a:ext cx="6439461" cy="2513953"/>
            <a:chOff x="314813" y="2825094"/>
            <a:chExt cx="5212757" cy="1889394"/>
          </a:xfrm>
        </p:grpSpPr>
        <p:sp>
          <p:nvSpPr>
            <p:cNvPr id="32" name="Rectangle 31"/>
            <p:cNvSpPr/>
            <p:nvPr/>
          </p:nvSpPr>
          <p:spPr>
            <a:xfrm>
              <a:off x="314813" y="2825094"/>
              <a:ext cx="5212757" cy="1889394"/>
            </a:xfrm>
            <a:prstGeom prst="rect">
              <a:avLst/>
            </a:prstGeom>
            <a:solidFill>
              <a:schemeClr val="accent6">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dirty="0" smtClean="0">
                  <a:solidFill>
                    <a:schemeClr val="tx1"/>
                  </a:solidFill>
                  <a:latin typeface="Arial" panose="020B0604020202020204" pitchFamily="34" charset="0"/>
                  <a:cs typeface="Arial" panose="020B0604020202020204" pitchFamily="34" charset="0"/>
                </a:rPr>
                <a:t>Outcomes </a:t>
              </a:r>
            </a:p>
          </p:txBody>
        </p:sp>
        <p:sp>
          <p:nvSpPr>
            <p:cNvPr id="17" name="Rectangle 16"/>
            <p:cNvSpPr/>
            <p:nvPr/>
          </p:nvSpPr>
          <p:spPr>
            <a:xfrm>
              <a:off x="409025"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Improved Input Markets</a:t>
              </a:r>
            </a:p>
          </p:txBody>
        </p:sp>
        <p:sp>
          <p:nvSpPr>
            <p:cNvPr id="18" name="Rectangle 17"/>
            <p:cNvSpPr/>
            <p:nvPr/>
          </p:nvSpPr>
          <p:spPr>
            <a:xfrm>
              <a:off x="1673953"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Increased tech  adoption</a:t>
              </a:r>
            </a:p>
          </p:txBody>
        </p:sp>
        <p:sp>
          <p:nvSpPr>
            <p:cNvPr id="19" name="Rectangle 18"/>
            <p:cNvSpPr/>
            <p:nvPr/>
          </p:nvSpPr>
          <p:spPr>
            <a:xfrm>
              <a:off x="2938881"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Reduced Post Harvest losses</a:t>
              </a:r>
            </a:p>
          </p:txBody>
        </p:sp>
        <p:sp>
          <p:nvSpPr>
            <p:cNvPr id="20" name="Rectangle 19"/>
            <p:cNvSpPr/>
            <p:nvPr/>
          </p:nvSpPr>
          <p:spPr>
            <a:xfrm>
              <a:off x="4203809"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Increased Employment</a:t>
              </a:r>
            </a:p>
          </p:txBody>
        </p:sp>
        <p:sp>
          <p:nvSpPr>
            <p:cNvPr id="21" name="Rectangle 20"/>
            <p:cNvSpPr/>
            <p:nvPr/>
          </p:nvSpPr>
          <p:spPr>
            <a:xfrm>
              <a:off x="409025"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Increase Market access</a:t>
              </a:r>
            </a:p>
          </p:txBody>
        </p:sp>
        <p:sp>
          <p:nvSpPr>
            <p:cNvPr id="22" name="Rectangle 21"/>
            <p:cNvSpPr/>
            <p:nvPr/>
          </p:nvSpPr>
          <p:spPr>
            <a:xfrm>
              <a:off x="1673953"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Increase access to Finance + BDS</a:t>
              </a:r>
            </a:p>
          </p:txBody>
        </p:sp>
        <p:sp>
          <p:nvSpPr>
            <p:cNvPr id="23" name="Rectangle 22"/>
            <p:cNvSpPr/>
            <p:nvPr/>
          </p:nvSpPr>
          <p:spPr>
            <a:xfrm>
              <a:off x="2938881"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Reduced Volatility</a:t>
              </a:r>
            </a:p>
          </p:txBody>
        </p:sp>
        <p:sp>
          <p:nvSpPr>
            <p:cNvPr id="25" name="Rectangle 24"/>
            <p:cNvSpPr/>
            <p:nvPr/>
          </p:nvSpPr>
          <p:spPr>
            <a:xfrm>
              <a:off x="4203809"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Improve Institutional  capacity</a:t>
              </a:r>
            </a:p>
          </p:txBody>
        </p:sp>
        <p:sp>
          <p:nvSpPr>
            <p:cNvPr id="26" name="Rectangle 25"/>
            <p:cNvSpPr/>
            <p:nvPr/>
          </p:nvSpPr>
          <p:spPr>
            <a:xfrm>
              <a:off x="404159" y="3985373"/>
              <a:ext cx="5034066" cy="662827"/>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smtClean="0">
                  <a:solidFill>
                    <a:schemeClr val="tx1"/>
                  </a:solidFill>
                  <a:latin typeface="Arial" panose="020B0604020202020204" pitchFamily="34" charset="0"/>
                  <a:cs typeface="Arial" panose="020B0604020202020204" pitchFamily="34" charset="0"/>
                </a:rPr>
                <a:t>Cross Cutting Outcomes</a:t>
              </a:r>
            </a:p>
            <a:p>
              <a:r>
                <a:rPr lang="en-US" sz="1100" dirty="0" smtClean="0">
                  <a:solidFill>
                    <a:schemeClr val="tx1"/>
                  </a:solidFill>
                  <a:latin typeface="Arial" panose="020B0604020202020204" pitchFamily="34" charset="0"/>
                  <a:cs typeface="Arial" panose="020B0604020202020204" pitchFamily="34" charset="0"/>
                </a:rPr>
                <a:t>Enabling </a:t>
              </a:r>
              <a:r>
                <a:rPr lang="en-US" sz="1100" dirty="0">
                  <a:solidFill>
                    <a:schemeClr val="tx1"/>
                  </a:solidFill>
                  <a:latin typeface="Arial" panose="020B0604020202020204" pitchFamily="34" charset="0"/>
                  <a:cs typeface="Arial" panose="020B0604020202020204" pitchFamily="34" charset="0"/>
                </a:rPr>
                <a:t>environment, Gender and Youth empowerment</a:t>
              </a:r>
            </a:p>
            <a:p>
              <a:r>
                <a:rPr lang="en-US" sz="1100" dirty="0">
                  <a:solidFill>
                    <a:schemeClr val="tx1"/>
                  </a:solidFill>
                  <a:latin typeface="Arial" panose="020B0604020202020204" pitchFamily="34" charset="0"/>
                  <a:cs typeface="Arial" panose="020B0604020202020204" pitchFamily="34" charset="0"/>
                </a:rPr>
                <a:t>Capacity development (</a:t>
              </a:r>
              <a:r>
                <a:rPr lang="en-US" sz="1100" dirty="0" smtClean="0">
                  <a:solidFill>
                    <a:schemeClr val="tx1"/>
                  </a:solidFill>
                  <a:latin typeface="Arial" panose="020B0604020202020204" pitchFamily="34" charset="0"/>
                  <a:cs typeface="Arial" panose="020B0604020202020204" pitchFamily="34" charset="0"/>
                </a:rPr>
                <a:t>SMEs, SHFs</a:t>
              </a:r>
              <a:r>
                <a:rPr lang="en-US" sz="1100" dirty="0">
                  <a:solidFill>
                    <a:schemeClr val="tx1"/>
                  </a:solidFill>
                  <a:latin typeface="Arial" panose="020B0604020202020204" pitchFamily="34" charset="0"/>
                  <a:cs typeface="Arial" panose="020B0604020202020204" pitchFamily="34" charset="0"/>
                </a:rPr>
                <a:t>, </a:t>
              </a:r>
              <a:r>
                <a:rPr lang="en-US" sz="1100" dirty="0" smtClean="0">
                  <a:solidFill>
                    <a:schemeClr val="tx1"/>
                  </a:solidFill>
                  <a:latin typeface="Arial" panose="020B0604020202020204" pitchFamily="34" charset="0"/>
                  <a:cs typeface="Arial" panose="020B0604020202020204" pitchFamily="34" charset="0"/>
                </a:rPr>
                <a:t>Governments, </a:t>
              </a:r>
              <a:r>
                <a:rPr lang="en-US" sz="1100" dirty="0">
                  <a:solidFill>
                    <a:schemeClr val="tx1"/>
                  </a:solidFill>
                  <a:latin typeface="Arial" panose="020B0604020202020204" pitchFamily="34" charset="0"/>
                  <a:cs typeface="Arial" panose="020B0604020202020204" pitchFamily="34" charset="0"/>
                </a:rPr>
                <a:t>Improved access to and update of financial </a:t>
              </a:r>
              <a:r>
                <a:rPr lang="en-US" sz="1100" dirty="0" smtClean="0">
                  <a:solidFill>
                    <a:schemeClr val="tx1"/>
                  </a:solidFill>
                  <a:latin typeface="Arial" panose="020B0604020202020204" pitchFamily="34" charset="0"/>
                  <a:cs typeface="Arial" panose="020B0604020202020204" pitchFamily="34" charset="0"/>
                </a:rPr>
                <a:t>services, </a:t>
              </a:r>
              <a:r>
                <a:rPr lang="en-US" sz="1100" dirty="0">
                  <a:solidFill>
                    <a:schemeClr val="tx1"/>
                  </a:solidFill>
                  <a:latin typeface="Arial" panose="020B0604020202020204" pitchFamily="34" charset="0"/>
                  <a:cs typeface="Arial" panose="020B0604020202020204" pitchFamily="34" charset="0"/>
                </a:rPr>
                <a:t>Improved private sector investment in </a:t>
              </a:r>
              <a:r>
                <a:rPr lang="en-US" sz="1100" dirty="0" smtClean="0">
                  <a:solidFill>
                    <a:schemeClr val="tx1"/>
                  </a:solidFill>
                  <a:latin typeface="Arial" panose="020B0604020202020204" pitchFamily="34" charset="0"/>
                  <a:cs typeface="Arial" panose="020B0604020202020204" pitchFamily="34" charset="0"/>
                </a:rPr>
                <a:t>Agriculture.</a:t>
              </a:r>
              <a:endParaRPr lang="en-US" sz="1100" dirty="0">
                <a:solidFill>
                  <a:schemeClr val="tx1"/>
                </a:solidFill>
                <a:latin typeface="Arial" panose="020B0604020202020204" pitchFamily="34" charset="0"/>
                <a:cs typeface="Arial" panose="020B0604020202020204" pitchFamily="34" charset="0"/>
              </a:endParaRPr>
            </a:p>
          </p:txBody>
        </p:sp>
      </p:grpSp>
      <p:grpSp>
        <p:nvGrpSpPr>
          <p:cNvPr id="3" name="Group 2"/>
          <p:cNvGrpSpPr/>
          <p:nvPr/>
        </p:nvGrpSpPr>
        <p:grpSpPr>
          <a:xfrm>
            <a:off x="521775" y="1735055"/>
            <a:ext cx="6442875" cy="1931363"/>
            <a:chOff x="312186" y="1290625"/>
            <a:chExt cx="5113471" cy="1240344"/>
          </a:xfrm>
        </p:grpSpPr>
        <p:grpSp>
          <p:nvGrpSpPr>
            <p:cNvPr id="31" name="Group 30"/>
            <p:cNvGrpSpPr/>
            <p:nvPr/>
          </p:nvGrpSpPr>
          <p:grpSpPr>
            <a:xfrm>
              <a:off x="312186" y="1290625"/>
              <a:ext cx="5113471" cy="1240344"/>
              <a:chOff x="314813" y="1316707"/>
              <a:chExt cx="5113471" cy="1240344"/>
            </a:xfrm>
          </p:grpSpPr>
          <p:sp>
            <p:nvSpPr>
              <p:cNvPr id="34" name="Rectangle 33"/>
              <p:cNvSpPr/>
              <p:nvPr/>
            </p:nvSpPr>
            <p:spPr>
              <a:xfrm>
                <a:off x="314813" y="1316707"/>
                <a:ext cx="5113471" cy="1240344"/>
              </a:xfrm>
              <a:prstGeom prst="rect">
                <a:avLst/>
              </a:prstGeom>
              <a:solidFill>
                <a:schemeClr val="accent1">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US" sz="1200" b="1" dirty="0">
                    <a:solidFill>
                      <a:schemeClr val="tx1"/>
                    </a:solidFill>
                    <a:latin typeface="Arial" panose="020B0604020202020204" pitchFamily="34" charset="0"/>
                    <a:cs typeface="Arial" panose="020B0604020202020204" pitchFamily="34" charset="0"/>
                  </a:rPr>
                  <a:t>Headlines goals and </a:t>
                </a:r>
                <a:r>
                  <a:rPr lang="en-US" sz="1200" b="1" dirty="0" smtClean="0">
                    <a:solidFill>
                      <a:schemeClr val="tx1"/>
                    </a:solidFill>
                    <a:latin typeface="Arial" panose="020B0604020202020204" pitchFamily="34" charset="0"/>
                    <a:cs typeface="Arial" panose="020B0604020202020204" pitchFamily="34" charset="0"/>
                  </a:rPr>
                  <a:t>objectives</a:t>
                </a:r>
              </a:p>
              <a:p>
                <a:pPr algn="ctr">
                  <a:spcAft>
                    <a:spcPts val="600"/>
                  </a:spcAft>
                </a:pPr>
                <a:r>
                  <a:rPr lang="en-US" sz="1200" dirty="0">
                    <a:solidFill>
                      <a:schemeClr val="tx1"/>
                    </a:solidFill>
                    <a:latin typeface="Arial" panose="020B0604020202020204" pitchFamily="34" charset="0"/>
                    <a:cs typeface="Arial" panose="020B0604020202020204" pitchFamily="34" charset="0"/>
                  </a:rPr>
                  <a:t>the incomes and food security for </a:t>
                </a:r>
                <a:r>
                  <a:rPr lang="en-US" sz="1200" dirty="0" smtClean="0">
                    <a:solidFill>
                      <a:schemeClr val="tx1"/>
                    </a:solidFill>
                    <a:latin typeface="Arial" panose="020B0604020202020204" pitchFamily="34" charset="0"/>
                    <a:cs typeface="Arial" panose="020B0604020202020204" pitchFamily="34" charset="0"/>
                  </a:rPr>
                  <a:t>9 M </a:t>
                </a:r>
                <a:r>
                  <a:rPr lang="en-US" sz="1200" dirty="0">
                    <a:solidFill>
                      <a:schemeClr val="tx1"/>
                    </a:solidFill>
                    <a:latin typeface="Arial" panose="020B0604020202020204" pitchFamily="34" charset="0"/>
                    <a:cs typeface="Arial" panose="020B0604020202020204" pitchFamily="34" charset="0"/>
                  </a:rPr>
                  <a:t>households reached directly and for </a:t>
                </a:r>
                <a:r>
                  <a:rPr lang="en-US" sz="1200" dirty="0" smtClean="0">
                    <a:solidFill>
                      <a:schemeClr val="tx1"/>
                    </a:solidFill>
                    <a:latin typeface="Arial" panose="020B0604020202020204" pitchFamily="34" charset="0"/>
                    <a:cs typeface="Arial" panose="020B0604020202020204" pitchFamily="34" charset="0"/>
                  </a:rPr>
                  <a:t>21 M  </a:t>
                </a:r>
                <a:r>
                  <a:rPr lang="en-US" sz="1200" dirty="0">
                    <a:solidFill>
                      <a:schemeClr val="tx1"/>
                    </a:solidFill>
                    <a:latin typeface="Arial" panose="020B0604020202020204" pitchFamily="34" charset="0"/>
                    <a:cs typeface="Arial" panose="020B0604020202020204" pitchFamily="34" charset="0"/>
                  </a:rPr>
                  <a:t>reached indirectly through AGRA activities; support 11 countries on a path to sustained agriculture transformation</a:t>
                </a:r>
              </a:p>
              <a:p>
                <a:pPr algn="ctr">
                  <a:spcAft>
                    <a:spcPts val="600"/>
                  </a:spcAft>
                </a:pPr>
                <a:endParaRPr lang="en-US" sz="1200" b="1" dirty="0">
                  <a:solidFill>
                    <a:schemeClr val="tx1"/>
                  </a:solidFill>
                  <a:latin typeface="Arial" panose="020B0604020202020204" pitchFamily="34" charset="0"/>
                  <a:cs typeface="Arial" panose="020B0604020202020204" pitchFamily="34" charset="0"/>
                </a:endParaRPr>
              </a:p>
              <a:p>
                <a:pPr algn="ctr">
                  <a:spcAft>
                    <a:spcPts val="600"/>
                  </a:spcAft>
                </a:pPr>
                <a:endParaRPr lang="en-US" sz="1200" b="1" dirty="0" smtClean="0">
                  <a:solidFill>
                    <a:schemeClr val="tx1"/>
                  </a:solidFill>
                  <a:latin typeface="Arial" panose="020B0604020202020204" pitchFamily="34" charset="0"/>
                  <a:cs typeface="Arial" panose="020B0604020202020204" pitchFamily="34" charset="0"/>
                </a:endParaRPr>
              </a:p>
              <a:p>
                <a:pPr algn="ctr">
                  <a:spcAft>
                    <a:spcPts val="600"/>
                  </a:spcAft>
                </a:pPr>
                <a:endParaRPr lang="en-US" sz="1200" b="1" dirty="0" smtClean="0">
                  <a:solidFill>
                    <a:schemeClr val="tx1"/>
                  </a:solidFill>
                  <a:latin typeface="Arial" panose="020B0604020202020204" pitchFamily="34" charset="0"/>
                  <a:cs typeface="Arial" panose="020B0604020202020204" pitchFamily="34" charset="0"/>
                </a:endParaRPr>
              </a:p>
            </p:txBody>
          </p:sp>
          <p:sp>
            <p:nvSpPr>
              <p:cNvPr id="13" name="Rectangle 12"/>
              <p:cNvSpPr/>
              <p:nvPr/>
            </p:nvSpPr>
            <p:spPr>
              <a:xfrm>
                <a:off x="463346" y="1870763"/>
                <a:ext cx="1115240" cy="385246"/>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chemeClr val="tx1"/>
                    </a:solidFill>
                    <a:latin typeface="Arial" panose="020B0604020202020204" pitchFamily="34" charset="0"/>
                    <a:cs typeface="Arial" panose="020B0604020202020204" pitchFamily="34" charset="0"/>
                  </a:rPr>
                  <a:t>Improved staple crop productivity</a:t>
                </a:r>
              </a:p>
            </p:txBody>
          </p:sp>
          <p:sp>
            <p:nvSpPr>
              <p:cNvPr id="14" name="Rectangle 13"/>
              <p:cNvSpPr/>
              <p:nvPr/>
            </p:nvSpPr>
            <p:spPr>
              <a:xfrm>
                <a:off x="1673185" y="1870763"/>
                <a:ext cx="1060885" cy="385246"/>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chemeClr val="tx1"/>
                    </a:solidFill>
                    <a:latin typeface="Arial" panose="020B0604020202020204" pitchFamily="34" charset="0"/>
                    <a:cs typeface="Arial" panose="020B0604020202020204" pitchFamily="34" charset="0"/>
                  </a:rPr>
                  <a:t>Expanded  access to markets</a:t>
                </a:r>
              </a:p>
            </p:txBody>
          </p:sp>
          <p:sp>
            <p:nvSpPr>
              <p:cNvPr id="15" name="Rectangle 14"/>
              <p:cNvSpPr/>
              <p:nvPr/>
            </p:nvSpPr>
            <p:spPr>
              <a:xfrm>
                <a:off x="2828671" y="1870763"/>
                <a:ext cx="848459" cy="385246"/>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chemeClr val="tx1"/>
                    </a:solidFill>
                    <a:latin typeface="Arial" panose="020B0604020202020204" pitchFamily="34" charset="0"/>
                    <a:cs typeface="Arial" panose="020B0604020202020204" pitchFamily="34" charset="0"/>
                  </a:rPr>
                  <a:t>Better resilience</a:t>
                </a:r>
              </a:p>
            </p:txBody>
          </p:sp>
          <p:sp>
            <p:nvSpPr>
              <p:cNvPr id="16" name="Rectangle 15"/>
              <p:cNvSpPr/>
              <p:nvPr/>
            </p:nvSpPr>
            <p:spPr>
              <a:xfrm>
                <a:off x="3744548" y="1870763"/>
                <a:ext cx="1596139" cy="385246"/>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chemeClr val="tx1"/>
                    </a:solidFill>
                    <a:latin typeface="Arial" panose="020B0604020202020204" pitchFamily="34" charset="0"/>
                    <a:cs typeface="Arial" panose="020B0604020202020204" pitchFamily="34" charset="0"/>
                  </a:rPr>
                  <a:t>Improved government coordination and accountability capability</a:t>
                </a:r>
              </a:p>
            </p:txBody>
          </p:sp>
        </p:grpSp>
        <p:sp>
          <p:nvSpPr>
            <p:cNvPr id="2" name="Isosceles Triangle 1"/>
            <p:cNvSpPr/>
            <p:nvPr/>
          </p:nvSpPr>
          <p:spPr>
            <a:xfrm flipV="1">
              <a:off x="721979" y="2310398"/>
              <a:ext cx="4114800" cy="168627"/>
            </a:xfrm>
            <a:prstGeom prst="triangle">
              <a:avLst/>
            </a:prstGeom>
            <a:solidFill>
              <a:srgbClr val="00B05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chemeClr val="accent6">
                    <a:lumMod val="50000"/>
                  </a:schemeClr>
                </a:solidFill>
                <a:latin typeface="Arial" panose="020B0604020202020204" pitchFamily="34" charset="0"/>
                <a:cs typeface="Arial" panose="020B0604020202020204" pitchFamily="34" charset="0"/>
              </a:endParaRPr>
            </a:p>
          </p:txBody>
        </p:sp>
      </p:grpSp>
      <p:sp>
        <p:nvSpPr>
          <p:cNvPr id="28" name="Up Arrow 27"/>
          <p:cNvSpPr/>
          <p:nvPr/>
        </p:nvSpPr>
        <p:spPr>
          <a:xfrm>
            <a:off x="112929" y="1445154"/>
            <a:ext cx="344271" cy="3106683"/>
          </a:xfrm>
          <a:prstGeom prst="upArrow">
            <a:avLst/>
          </a:prstGeom>
          <a:solidFill>
            <a:srgbClr val="00B05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accent6">
                  <a:lumMod val="50000"/>
                </a:schemeClr>
              </a:solidFill>
              <a:latin typeface="Arial" panose="020B0604020202020204" pitchFamily="34" charset="0"/>
              <a:cs typeface="Arial" panose="020B0604020202020204" pitchFamily="34" charset="0"/>
            </a:endParaRPr>
          </a:p>
        </p:txBody>
      </p:sp>
      <p:sp>
        <p:nvSpPr>
          <p:cNvPr id="45" name="Up Arrow 44"/>
          <p:cNvSpPr/>
          <p:nvPr/>
        </p:nvSpPr>
        <p:spPr>
          <a:xfrm>
            <a:off x="9389938" y="3800886"/>
            <a:ext cx="344271" cy="2514600"/>
          </a:xfrm>
          <a:prstGeom prst="upArrow">
            <a:avLst/>
          </a:prstGeom>
          <a:solidFill>
            <a:srgbClr val="00B05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accent6">
                  <a:lumMod val="50000"/>
                </a:schemeClr>
              </a:solidFill>
              <a:latin typeface="Arial" panose="020B0604020202020204" pitchFamily="34" charset="0"/>
              <a:cs typeface="Arial" panose="020B0604020202020204" pitchFamily="34" charset="0"/>
            </a:endParaRPr>
          </a:p>
        </p:txBody>
      </p:sp>
      <p:sp>
        <p:nvSpPr>
          <p:cNvPr id="35" name="TextBox 34"/>
          <p:cNvSpPr txBox="1"/>
          <p:nvPr/>
        </p:nvSpPr>
        <p:spPr>
          <a:xfrm>
            <a:off x="4648200" y="6627168"/>
            <a:ext cx="4562904" cy="230832"/>
          </a:xfrm>
          <a:prstGeom prst="rect">
            <a:avLst/>
          </a:prstGeom>
          <a:noFill/>
        </p:spPr>
        <p:txBody>
          <a:bodyPr wrap="square" rtlCol="0">
            <a:spAutoFit/>
          </a:bodyPr>
          <a:lstStyle/>
          <a:p>
            <a:r>
              <a:rPr lang="en-US" sz="900" dirty="0" smtClean="0">
                <a:latin typeface="Arial" panose="020B0604020202020204" pitchFamily="34" charset="0"/>
                <a:cs typeface="Arial" panose="020B0604020202020204" pitchFamily="34" charset="0"/>
              </a:rPr>
              <a:t>*Source: AGRA Strategy and Business Plan  2017- 2021 </a:t>
            </a:r>
          </a:p>
        </p:txBody>
      </p:sp>
      <p:graphicFrame>
        <p:nvGraphicFramePr>
          <p:cNvPr id="51" name="Table 50"/>
          <p:cNvGraphicFramePr>
            <a:graphicFrameLocks noGrp="1"/>
          </p:cNvGraphicFramePr>
          <p:nvPr>
            <p:extLst/>
          </p:nvPr>
        </p:nvGraphicFramePr>
        <p:xfrm>
          <a:off x="7587832" y="1735055"/>
          <a:ext cx="1623271" cy="4521819"/>
        </p:xfrm>
        <a:graphic>
          <a:graphicData uri="http://schemas.openxmlformats.org/drawingml/2006/table">
            <a:tbl>
              <a:tblPr firstRow="1" bandRow="1">
                <a:tableStyleId>{2D5ABB26-0587-4C30-8999-92F81FD0307C}</a:tableStyleId>
              </a:tblPr>
              <a:tblGrid>
                <a:gridCol w="1623271">
                  <a:extLst>
                    <a:ext uri="{9D8B030D-6E8A-4147-A177-3AD203B41FA5}">
                      <a16:colId xmlns:a16="http://schemas.microsoft.com/office/drawing/2014/main" xmlns="" val="20000"/>
                    </a:ext>
                  </a:extLst>
                </a:gridCol>
              </a:tblGrid>
              <a:tr h="1684599">
                <a:tc>
                  <a:txBody>
                    <a:bodyPr/>
                    <a:lstStyle/>
                    <a:p>
                      <a:pPr algn="ctr"/>
                      <a:r>
                        <a:rPr lang="en-US" sz="1200" b="1" dirty="0" smtClean="0"/>
                        <a:t>Policy</a:t>
                      </a:r>
                      <a:r>
                        <a:rPr lang="en-US" sz="1200" b="1" baseline="0" dirty="0" smtClean="0"/>
                        <a:t> and State Capability</a:t>
                      </a:r>
                      <a:endParaRPr lang="en-US" sz="1200" b="1" dirty="0">
                        <a:latin typeface="Arial" panose="020B0604020202020204" pitchFamily="34" charset="0"/>
                        <a:cs typeface="Arial" panose="020B0604020202020204" pitchFamily="34"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xmlns="" val="10000"/>
                  </a:ext>
                </a:extLst>
              </a:tr>
              <a:tr h="1507273">
                <a:tc>
                  <a:txBody>
                    <a:bodyPr/>
                    <a:lstStyle/>
                    <a:p>
                      <a:pPr algn="ctr"/>
                      <a:r>
                        <a:rPr lang="en-US" sz="1200" b="1" dirty="0" smtClean="0"/>
                        <a:t>Systems</a:t>
                      </a:r>
                    </a:p>
                    <a:p>
                      <a:pPr algn="ctr"/>
                      <a:r>
                        <a:rPr lang="en-US" sz="1200" b="1" dirty="0" smtClean="0"/>
                        <a:t>Development</a:t>
                      </a:r>
                      <a:endParaRPr lang="en-US" sz="1200" b="1" dirty="0">
                        <a:latin typeface="Arial" panose="020B0604020202020204" pitchFamily="34" charset="0"/>
                        <a:cs typeface="Arial" panose="020B0604020202020204" pitchFamily="34"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xmlns="" val="10001"/>
                  </a:ext>
                </a:extLst>
              </a:tr>
              <a:tr h="1329947">
                <a:tc>
                  <a:txBody>
                    <a:bodyPr/>
                    <a:lstStyle/>
                    <a:p>
                      <a:pPr algn="ctr"/>
                      <a:r>
                        <a:rPr lang="en-US" sz="1200" b="1" dirty="0" smtClean="0"/>
                        <a:t>Partnerships</a:t>
                      </a:r>
                      <a:endParaRPr lang="en-US" sz="1200" b="1" dirty="0">
                        <a:latin typeface="Arial" panose="020B0604020202020204" pitchFamily="34" charset="0"/>
                        <a:cs typeface="Arial" panose="020B0604020202020204" pitchFamily="34"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xmlns="" val="10002"/>
                  </a:ext>
                </a:extLst>
              </a:tr>
            </a:tbl>
          </a:graphicData>
        </a:graphic>
      </p:graphicFrame>
      <p:sp>
        <p:nvSpPr>
          <p:cNvPr id="52" name="Isosceles Triangle 32">
            <a:extLst>
              <a:ext uri="{FF2B5EF4-FFF2-40B4-BE49-F238E27FC236}">
                <a16:creationId xmlns:a16="http://schemas.microsoft.com/office/drawing/2014/main" xmlns="" id="{3515A01F-68F0-EB46-92DF-90FAD1177975}"/>
              </a:ext>
            </a:extLst>
          </p:cNvPr>
          <p:cNvSpPr/>
          <p:nvPr/>
        </p:nvSpPr>
        <p:spPr>
          <a:xfrm rot="16200000">
            <a:off x="5061232" y="3986748"/>
            <a:ext cx="4430019" cy="227457"/>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200" dirty="0">
              <a:solidFill>
                <a:schemeClr val="accent6">
                  <a:lumMod val="50000"/>
                </a:schemeClr>
              </a:solidFill>
              <a:latin typeface="Arial" panose="020B0604020202020204" pitchFamily="34" charset="0"/>
              <a:cs typeface="Arial" panose="020B0604020202020204" pitchFamily="34" charset="0"/>
            </a:endParaRPr>
          </a:p>
        </p:txBody>
      </p:sp>
      <p:sp>
        <p:nvSpPr>
          <p:cNvPr id="53" name="Rectangle 52"/>
          <p:cNvSpPr/>
          <p:nvPr/>
        </p:nvSpPr>
        <p:spPr>
          <a:xfrm>
            <a:off x="429509" y="962539"/>
            <a:ext cx="9050822" cy="685188"/>
          </a:xfrm>
          <a:prstGeom prst="rect">
            <a:avLst/>
          </a:prstGeom>
        </p:spPr>
        <p:txBody>
          <a:bodyPr wrap="square">
            <a:spAutoFit/>
          </a:bodyPr>
          <a:lstStyle/>
          <a:p>
            <a:pPr>
              <a:lnSpc>
                <a:spcPct val="107000"/>
              </a:lnSpc>
              <a:spcAft>
                <a:spcPts val="800"/>
              </a:spcAft>
            </a:pPr>
            <a:r>
              <a:rPr lang="en-US" sz="1200" dirty="0">
                <a:latin typeface="+mn-lt"/>
                <a:ea typeface="Calibri" panose="020F0502020204030204" pitchFamily="34" charset="0"/>
                <a:cs typeface="Times New Roman" panose="02020603050405020304" pitchFamily="18" charset="0"/>
              </a:rPr>
              <a:t>AGRA’s strategy is to increase the incomes and improve food security for 9 million farm households directly and </a:t>
            </a:r>
            <a:r>
              <a:rPr lang="en-US" sz="1200" dirty="0" smtClean="0">
                <a:latin typeface="+mn-lt"/>
                <a:ea typeface="Calibri" panose="020F0502020204030204" pitchFamily="34" charset="0"/>
                <a:cs typeface="Times New Roman" panose="02020603050405020304" pitchFamily="18" charset="0"/>
              </a:rPr>
              <a:t>21 million </a:t>
            </a:r>
            <a:r>
              <a:rPr lang="en-US" sz="1200" dirty="0">
                <a:latin typeface="+mn-lt"/>
                <a:ea typeface="Calibri" panose="020F0502020204030204" pitchFamily="34" charset="0"/>
                <a:cs typeface="Times New Roman" panose="02020603050405020304" pitchFamily="18" charset="0"/>
              </a:rPr>
              <a:t>indirectly; and support 11 focus countries on a pathway to attain and sustain an agricultural transformation through its three areas of work:</a:t>
            </a:r>
            <a:r>
              <a:rPr lang="en-US" sz="1200" dirty="0">
                <a:latin typeface="+mn-lt"/>
                <a:ea typeface="Times New Roman" panose="02020603050405020304" pitchFamily="18" charset="0"/>
                <a:cs typeface="Times New Roman" panose="02020603050405020304" pitchFamily="18" charset="0"/>
              </a:rPr>
              <a:t> </a:t>
            </a:r>
            <a:r>
              <a:rPr lang="en-US" sz="1200" dirty="0">
                <a:latin typeface="+mn-lt"/>
                <a:ea typeface="Calibri" panose="020F0502020204030204" pitchFamily="34" charset="0"/>
                <a:cs typeface="Times New Roman" panose="02020603050405020304" pitchFamily="18" charset="0"/>
              </a:rPr>
              <a:t>Policy and State Capability, Systems Development and Partnerships</a:t>
            </a:r>
          </a:p>
        </p:txBody>
      </p:sp>
    </p:spTree>
    <p:extLst>
      <p:ext uri="{BB962C8B-B14F-4D97-AF65-F5344CB8AC3E}">
        <p14:creationId xmlns:p14="http://schemas.microsoft.com/office/powerpoint/2010/main" val="203513699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b"/>
          <a:lstStyle/>
          <a:p>
            <a:pPr defTabSz="914395">
              <a:spcBef>
                <a:spcPct val="0"/>
              </a:spcBef>
              <a:buClrTx/>
              <a:buSzTx/>
              <a:buFontTx/>
            </a:pPr>
            <a:r>
              <a:rPr lang="en-US">
                <a:solidFill>
                  <a:schemeClr val="tx1"/>
                </a:solidFill>
                <a:latin typeface="Arial" panose="020B0604020202020204" pitchFamily="34" charset="0"/>
                <a:cs typeface="Arial" panose="020B0604020202020204" pitchFamily="34" charset="0"/>
              </a:rPr>
              <a:t>Summary of AGRA’s Strategic Approach</a:t>
            </a:r>
          </a:p>
        </p:txBody>
      </p:sp>
      <p:grpSp>
        <p:nvGrpSpPr>
          <p:cNvPr id="17" name="Group 16"/>
          <p:cNvGrpSpPr/>
          <p:nvPr/>
        </p:nvGrpSpPr>
        <p:grpSpPr>
          <a:xfrm>
            <a:off x="450275" y="1066800"/>
            <a:ext cx="9124085" cy="409896"/>
            <a:chOff x="450275" y="1694994"/>
            <a:chExt cx="9124085" cy="409896"/>
          </a:xfrm>
          <a:noFill/>
        </p:grpSpPr>
        <p:sp>
          <p:nvSpPr>
            <p:cNvPr id="18" name="Rectangle 17"/>
            <p:cNvSpPr/>
            <p:nvPr/>
          </p:nvSpPr>
          <p:spPr>
            <a:xfrm>
              <a:off x="450275" y="1694994"/>
              <a:ext cx="3017520" cy="409896"/>
            </a:xfrm>
            <a:prstGeom prst="rect">
              <a:avLst/>
            </a:prstGeom>
            <a:solidFill>
              <a:srgbClr val="92D050"/>
            </a:solidFill>
            <a:ln w="3175">
              <a:solidFill>
                <a:schemeClr val="accent5"/>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200" b="1" smtClean="0">
                  <a:solidFill>
                    <a:schemeClr val="bg1"/>
                  </a:solidFill>
                </a:rPr>
                <a:t>State Capability</a:t>
              </a:r>
              <a:endParaRPr lang="en-US" sz="1200" b="1">
                <a:solidFill>
                  <a:schemeClr val="bg1"/>
                </a:solidFill>
              </a:endParaRPr>
            </a:p>
          </p:txBody>
        </p:sp>
        <p:sp>
          <p:nvSpPr>
            <p:cNvPr id="19" name="Rectangle 18"/>
            <p:cNvSpPr/>
            <p:nvPr/>
          </p:nvSpPr>
          <p:spPr>
            <a:xfrm>
              <a:off x="3503558" y="1694994"/>
              <a:ext cx="3017520" cy="409896"/>
            </a:xfrm>
            <a:prstGeom prst="rect">
              <a:avLst/>
            </a:prstGeom>
            <a:solidFill>
              <a:schemeClr val="accent1">
                <a:lumMod val="75000"/>
              </a:schemeClr>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smtClean="0">
                  <a:solidFill>
                    <a:schemeClr val="bg1"/>
                  </a:solidFill>
                </a:rPr>
                <a:t>Systems Development</a:t>
              </a:r>
              <a:endParaRPr lang="en-US" sz="1200" b="1">
                <a:solidFill>
                  <a:schemeClr val="bg1"/>
                </a:solidFill>
              </a:endParaRPr>
            </a:p>
          </p:txBody>
        </p:sp>
        <p:sp>
          <p:nvSpPr>
            <p:cNvPr id="20" name="Rectangle 19"/>
            <p:cNvSpPr/>
            <p:nvPr/>
          </p:nvSpPr>
          <p:spPr>
            <a:xfrm>
              <a:off x="6556840" y="1694994"/>
              <a:ext cx="3017520" cy="409896"/>
            </a:xfrm>
            <a:prstGeom prst="rect">
              <a:avLst/>
            </a:prstGeom>
            <a:solidFill>
              <a:srgbClr val="00B0F0"/>
            </a:solidFill>
            <a:ln w="3175">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smtClean="0">
                  <a:solidFill>
                    <a:schemeClr val="bg1"/>
                  </a:solidFill>
                </a:rPr>
                <a:t>Partnerships</a:t>
              </a:r>
              <a:endParaRPr lang="en-US" sz="1200" b="1">
                <a:solidFill>
                  <a:schemeClr val="bg1"/>
                </a:solidFill>
              </a:endParaRPr>
            </a:p>
          </p:txBody>
        </p:sp>
      </p:grpSp>
      <p:sp>
        <p:nvSpPr>
          <p:cNvPr id="13" name="Rectangle 12"/>
          <p:cNvSpPr/>
          <p:nvPr/>
        </p:nvSpPr>
        <p:spPr>
          <a:xfrm>
            <a:off x="3503558" y="1507110"/>
            <a:ext cx="3017520" cy="35063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00"/>
              </a:lnSpc>
              <a:spcAft>
                <a:spcPts val="300"/>
              </a:spcAft>
            </a:pPr>
            <a:r>
              <a:rPr lang="en-US" sz="1200" b="1" dirty="0">
                <a:solidFill>
                  <a:schemeClr val="tx1"/>
                </a:solidFill>
              </a:rPr>
              <a:t>Objective</a:t>
            </a:r>
          </a:p>
          <a:p>
            <a:pPr>
              <a:lnSpc>
                <a:spcPts val="1200"/>
              </a:lnSpc>
              <a:spcAft>
                <a:spcPts val="300"/>
              </a:spcAft>
            </a:pPr>
            <a:r>
              <a:rPr lang="en-US" sz="1200" kern="1200" dirty="0">
                <a:solidFill>
                  <a:schemeClr val="tx1"/>
                </a:solidFill>
              </a:rPr>
              <a:t>Building downstream delivery systems closer to smallholder farmers while providing support to local private sector to scale technologies and services which deliver better productivity and incomes</a:t>
            </a:r>
            <a:endParaRPr lang="en-US" sz="1200" dirty="0">
              <a:solidFill>
                <a:schemeClr val="tx1"/>
              </a:solidFill>
            </a:endParaRPr>
          </a:p>
          <a:p>
            <a:pPr>
              <a:lnSpc>
                <a:spcPts val="1200"/>
              </a:lnSpc>
              <a:spcAft>
                <a:spcPts val="300"/>
              </a:spcAft>
            </a:pPr>
            <a:r>
              <a:rPr lang="en-US" sz="1200" b="1" dirty="0">
                <a:solidFill>
                  <a:schemeClr val="tx1"/>
                </a:solidFill>
              </a:rPr>
              <a:t>Activity focus areas</a:t>
            </a:r>
          </a:p>
          <a:p>
            <a:pPr marL="285750" indent="-285750">
              <a:lnSpc>
                <a:spcPts val="1200"/>
              </a:lnSpc>
              <a:spcAft>
                <a:spcPts val="300"/>
              </a:spcAft>
              <a:buFont typeface="Arial" panose="020B0604020202020204" pitchFamily="34" charset="0"/>
              <a:buChar char="•"/>
            </a:pPr>
            <a:r>
              <a:rPr lang="en-US" sz="1200" dirty="0">
                <a:solidFill>
                  <a:schemeClr val="tx1"/>
                </a:solidFill>
              </a:rPr>
              <a:t>Seed systems</a:t>
            </a:r>
          </a:p>
          <a:p>
            <a:pPr marL="285750" indent="-285750">
              <a:lnSpc>
                <a:spcPts val="1200"/>
              </a:lnSpc>
              <a:spcAft>
                <a:spcPts val="300"/>
              </a:spcAft>
              <a:buFont typeface="Arial" panose="020B0604020202020204" pitchFamily="34" charset="0"/>
              <a:buChar char="•"/>
            </a:pPr>
            <a:r>
              <a:rPr lang="en-US" sz="1200" dirty="0">
                <a:solidFill>
                  <a:schemeClr val="tx1"/>
                </a:solidFill>
              </a:rPr>
              <a:t>Soil health and Fertilizer systems</a:t>
            </a:r>
          </a:p>
          <a:p>
            <a:pPr marL="285750" indent="-285750">
              <a:lnSpc>
                <a:spcPts val="1200"/>
              </a:lnSpc>
              <a:spcAft>
                <a:spcPts val="300"/>
              </a:spcAft>
              <a:buFont typeface="Arial" panose="020B0604020202020204" pitchFamily="34" charset="0"/>
              <a:buChar char="•"/>
            </a:pPr>
            <a:r>
              <a:rPr lang="en-US" sz="1200" dirty="0">
                <a:solidFill>
                  <a:schemeClr val="tx1"/>
                </a:solidFill>
              </a:rPr>
              <a:t>Input distribution systems</a:t>
            </a:r>
          </a:p>
          <a:p>
            <a:pPr marL="285750" indent="-285750">
              <a:lnSpc>
                <a:spcPts val="1200"/>
              </a:lnSpc>
              <a:spcAft>
                <a:spcPts val="300"/>
              </a:spcAft>
              <a:buFont typeface="Arial" panose="020B0604020202020204" pitchFamily="34" charset="0"/>
              <a:buChar char="•"/>
            </a:pPr>
            <a:r>
              <a:rPr lang="en-US" sz="1200" dirty="0">
                <a:solidFill>
                  <a:schemeClr val="tx1"/>
                </a:solidFill>
              </a:rPr>
              <a:t>Extension systems</a:t>
            </a:r>
          </a:p>
          <a:p>
            <a:pPr marL="285750" indent="-285750">
              <a:lnSpc>
                <a:spcPts val="1200"/>
              </a:lnSpc>
              <a:spcAft>
                <a:spcPts val="300"/>
              </a:spcAft>
              <a:buFont typeface="Arial" panose="020B0604020202020204" pitchFamily="34" charset="0"/>
              <a:buChar char="•"/>
            </a:pPr>
            <a:r>
              <a:rPr lang="en-US" sz="1200" dirty="0">
                <a:solidFill>
                  <a:schemeClr val="tx1"/>
                </a:solidFill>
              </a:rPr>
              <a:t>Market systems</a:t>
            </a:r>
          </a:p>
          <a:p>
            <a:pPr marL="285750" indent="-285750">
              <a:lnSpc>
                <a:spcPts val="1200"/>
              </a:lnSpc>
              <a:spcAft>
                <a:spcPts val="300"/>
              </a:spcAft>
              <a:buFont typeface="Arial" panose="020B0604020202020204" pitchFamily="34" charset="0"/>
              <a:buChar char="•"/>
            </a:pPr>
            <a:r>
              <a:rPr lang="en-US" sz="1200" dirty="0">
                <a:solidFill>
                  <a:schemeClr val="tx1"/>
                </a:solidFill>
              </a:rPr>
              <a:t>Financial services</a:t>
            </a:r>
          </a:p>
          <a:p>
            <a:pPr marL="285750" indent="-285750">
              <a:lnSpc>
                <a:spcPts val="1200"/>
              </a:lnSpc>
              <a:spcAft>
                <a:spcPts val="300"/>
              </a:spcAft>
              <a:buFont typeface="Arial" panose="020B0604020202020204" pitchFamily="34" charset="0"/>
              <a:buChar char="•"/>
            </a:pPr>
            <a:r>
              <a:rPr lang="en-US" sz="1200" dirty="0">
                <a:solidFill>
                  <a:schemeClr val="tx1"/>
                </a:solidFill>
              </a:rPr>
              <a:t>Cross cutting: Gender and </a:t>
            </a:r>
            <a:r>
              <a:rPr lang="en-US" sz="1200" dirty="0" err="1">
                <a:solidFill>
                  <a:schemeClr val="tx1"/>
                </a:solidFill>
              </a:rPr>
              <a:t>ICT4Ag</a:t>
            </a:r>
            <a:endParaRPr lang="en-US" sz="1200" dirty="0">
              <a:solidFill>
                <a:schemeClr val="tx1"/>
              </a:solidFill>
            </a:endParaRPr>
          </a:p>
          <a:p>
            <a:pPr>
              <a:lnSpc>
                <a:spcPts val="1200"/>
              </a:lnSpc>
              <a:spcAft>
                <a:spcPts val="300"/>
              </a:spcAft>
            </a:pPr>
            <a:r>
              <a:rPr lang="en-US" sz="1200" b="1" dirty="0">
                <a:solidFill>
                  <a:schemeClr val="tx1"/>
                </a:solidFill>
              </a:rPr>
              <a:t>Investment vehicles</a:t>
            </a:r>
          </a:p>
          <a:p>
            <a:pPr marL="285750" indent="-285750">
              <a:lnSpc>
                <a:spcPts val="1200"/>
              </a:lnSpc>
              <a:spcAft>
                <a:spcPts val="300"/>
              </a:spcAft>
              <a:buFont typeface="Arial" panose="020B0604020202020204" pitchFamily="34" charset="0"/>
              <a:buChar char="•"/>
            </a:pPr>
            <a:r>
              <a:rPr lang="en-US" sz="1200" dirty="0">
                <a:solidFill>
                  <a:schemeClr val="tx1"/>
                </a:solidFill>
              </a:rPr>
              <a:t>Consortia grants, Staff time, Grants (standalone), TA, </a:t>
            </a:r>
            <a:r>
              <a:rPr lang="en-US" sz="1200" dirty="0" smtClean="0">
                <a:solidFill>
                  <a:schemeClr val="tx1"/>
                </a:solidFill>
              </a:rPr>
              <a:t>Consultancies, </a:t>
            </a:r>
            <a:r>
              <a:rPr lang="en-US" sz="1200" dirty="0" err="1" smtClean="0">
                <a:solidFill>
                  <a:schemeClr val="tx1"/>
                </a:solidFill>
              </a:rPr>
              <a:t>Convenings</a:t>
            </a:r>
            <a:r>
              <a:rPr lang="en-US" sz="1200" dirty="0" smtClean="0">
                <a:solidFill>
                  <a:schemeClr val="tx1"/>
                </a:solidFill>
              </a:rPr>
              <a:t> </a:t>
            </a:r>
            <a:r>
              <a:rPr lang="en-US" sz="1200" dirty="0">
                <a:solidFill>
                  <a:schemeClr val="tx1"/>
                </a:solidFill>
              </a:rPr>
              <a:t>/ Meetings</a:t>
            </a:r>
          </a:p>
        </p:txBody>
      </p:sp>
      <p:sp>
        <p:nvSpPr>
          <p:cNvPr id="14" name="Rectangle 13"/>
          <p:cNvSpPr/>
          <p:nvPr/>
        </p:nvSpPr>
        <p:spPr>
          <a:xfrm>
            <a:off x="6556840" y="1507110"/>
            <a:ext cx="3017520" cy="35063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00"/>
              </a:lnSpc>
              <a:spcAft>
                <a:spcPts val="300"/>
              </a:spcAft>
            </a:pPr>
            <a:r>
              <a:rPr lang="en-US" sz="1200" b="1" dirty="0">
                <a:solidFill>
                  <a:schemeClr val="tx1"/>
                </a:solidFill>
              </a:rPr>
              <a:t>Objective</a:t>
            </a:r>
          </a:p>
          <a:p>
            <a:pPr>
              <a:lnSpc>
                <a:spcPts val="1200"/>
              </a:lnSpc>
              <a:spcAft>
                <a:spcPts val="300"/>
              </a:spcAft>
            </a:pPr>
            <a:r>
              <a:rPr lang="en-US" sz="1200" kern="1200" dirty="0">
                <a:solidFill>
                  <a:schemeClr val="tx1"/>
                </a:solidFill>
              </a:rPr>
              <a:t>Facilitating the alignment between government priorities and private sector interests; improving integration and coordination which lead to investments beneficial to smallholder farmers</a:t>
            </a:r>
            <a:endParaRPr lang="en-US" sz="1200" dirty="0">
              <a:solidFill>
                <a:schemeClr val="tx1"/>
              </a:solidFill>
            </a:endParaRPr>
          </a:p>
          <a:p>
            <a:pPr>
              <a:lnSpc>
                <a:spcPts val="1200"/>
              </a:lnSpc>
              <a:spcAft>
                <a:spcPts val="300"/>
              </a:spcAft>
            </a:pPr>
            <a:r>
              <a:rPr lang="en-US" sz="1200" b="1" dirty="0" smtClean="0">
                <a:solidFill>
                  <a:schemeClr val="tx1"/>
                </a:solidFill>
              </a:rPr>
              <a:t>Activity </a:t>
            </a:r>
            <a:r>
              <a:rPr lang="en-US" sz="1200" b="1" dirty="0">
                <a:solidFill>
                  <a:schemeClr val="tx1"/>
                </a:solidFill>
              </a:rPr>
              <a:t>focus areas</a:t>
            </a:r>
          </a:p>
          <a:p>
            <a:pPr marL="285750" indent="-285750">
              <a:lnSpc>
                <a:spcPts val="1200"/>
              </a:lnSpc>
              <a:spcAft>
                <a:spcPts val="300"/>
              </a:spcAft>
              <a:buFont typeface="Arial" panose="020B0604020202020204" pitchFamily="34" charset="0"/>
              <a:buChar char="•"/>
            </a:pPr>
            <a:r>
              <a:rPr lang="en-US" sz="1200" dirty="0">
                <a:solidFill>
                  <a:schemeClr val="tx1"/>
                </a:solidFill>
              </a:rPr>
              <a:t>Mobilizing inclusive investments in Agriculture</a:t>
            </a:r>
          </a:p>
          <a:p>
            <a:pPr marL="285750" indent="-285750">
              <a:lnSpc>
                <a:spcPts val="1200"/>
              </a:lnSpc>
              <a:spcAft>
                <a:spcPts val="300"/>
              </a:spcAft>
              <a:buFont typeface="Arial" panose="020B0604020202020204" pitchFamily="34" charset="0"/>
              <a:buChar char="•"/>
            </a:pPr>
            <a:r>
              <a:rPr lang="en-US" sz="1200" dirty="0">
                <a:solidFill>
                  <a:schemeClr val="tx1"/>
                </a:solidFill>
              </a:rPr>
              <a:t>Creating a private-sector led leadership agenda</a:t>
            </a:r>
          </a:p>
          <a:p>
            <a:pPr marL="285750" indent="-285750">
              <a:lnSpc>
                <a:spcPts val="1200"/>
              </a:lnSpc>
              <a:spcAft>
                <a:spcPts val="300"/>
              </a:spcAft>
              <a:buFont typeface="Arial" panose="020B0604020202020204" pitchFamily="34" charset="0"/>
              <a:buChar char="•"/>
            </a:pPr>
            <a:r>
              <a:rPr lang="en-US" sz="1200" dirty="0">
                <a:solidFill>
                  <a:schemeClr val="tx1"/>
                </a:solidFill>
              </a:rPr>
              <a:t>Build partnerships with leading private sector champions to leverage entire ecosystem and build partnerships around knowledge and intelligence sharing</a:t>
            </a:r>
          </a:p>
          <a:p>
            <a:pPr>
              <a:lnSpc>
                <a:spcPts val="1200"/>
              </a:lnSpc>
              <a:spcAft>
                <a:spcPts val="300"/>
              </a:spcAft>
            </a:pPr>
            <a:r>
              <a:rPr lang="en-US" sz="1200" b="1" dirty="0" smtClean="0">
                <a:solidFill>
                  <a:schemeClr val="tx1"/>
                </a:solidFill>
              </a:rPr>
              <a:t>Investment </a:t>
            </a:r>
            <a:r>
              <a:rPr lang="en-US" sz="1200" b="1" dirty="0">
                <a:solidFill>
                  <a:schemeClr val="tx1"/>
                </a:solidFill>
              </a:rPr>
              <a:t>vehicles</a:t>
            </a:r>
          </a:p>
          <a:p>
            <a:pPr marL="285750" indent="-285750">
              <a:lnSpc>
                <a:spcPts val="1200"/>
              </a:lnSpc>
              <a:spcAft>
                <a:spcPts val="300"/>
              </a:spcAft>
              <a:buFont typeface="Arial" panose="020B0604020202020204" pitchFamily="34" charset="0"/>
              <a:buChar char="•"/>
            </a:pPr>
            <a:r>
              <a:rPr lang="en-US" sz="1200" dirty="0">
                <a:solidFill>
                  <a:schemeClr val="tx1"/>
                </a:solidFill>
              </a:rPr>
              <a:t>Staff time, Grants, TA, </a:t>
            </a:r>
            <a:r>
              <a:rPr lang="en-US" sz="1200" dirty="0" smtClean="0">
                <a:solidFill>
                  <a:schemeClr val="tx1"/>
                </a:solidFill>
              </a:rPr>
              <a:t>Consultancies, </a:t>
            </a:r>
            <a:r>
              <a:rPr lang="en-US" sz="1200" dirty="0" err="1" smtClean="0">
                <a:solidFill>
                  <a:schemeClr val="tx1"/>
                </a:solidFill>
              </a:rPr>
              <a:t>Convenings</a:t>
            </a:r>
            <a:r>
              <a:rPr lang="en-US" sz="1200" dirty="0" smtClean="0">
                <a:solidFill>
                  <a:schemeClr val="tx1"/>
                </a:solidFill>
              </a:rPr>
              <a:t> </a:t>
            </a:r>
            <a:r>
              <a:rPr lang="en-US" sz="1200" dirty="0">
                <a:solidFill>
                  <a:schemeClr val="tx1"/>
                </a:solidFill>
              </a:rPr>
              <a:t>/ Meetings, AGRF</a:t>
            </a:r>
          </a:p>
        </p:txBody>
      </p:sp>
      <p:sp>
        <p:nvSpPr>
          <p:cNvPr id="23" name="Rectangle 22"/>
          <p:cNvSpPr/>
          <p:nvPr/>
        </p:nvSpPr>
        <p:spPr>
          <a:xfrm>
            <a:off x="450275" y="1514635"/>
            <a:ext cx="3017520" cy="3498799"/>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00"/>
              </a:lnSpc>
              <a:spcAft>
                <a:spcPts val="300"/>
              </a:spcAft>
            </a:pPr>
            <a:r>
              <a:rPr lang="en-US" sz="1200" b="1" dirty="0">
                <a:solidFill>
                  <a:schemeClr val="tx1"/>
                </a:solidFill>
              </a:rPr>
              <a:t>Objective</a:t>
            </a:r>
          </a:p>
          <a:p>
            <a:pPr>
              <a:lnSpc>
                <a:spcPts val="1200"/>
              </a:lnSpc>
              <a:spcAft>
                <a:spcPts val="300"/>
              </a:spcAft>
            </a:pPr>
            <a:r>
              <a:rPr lang="en-US" sz="1200" kern="1200" dirty="0">
                <a:solidFill>
                  <a:schemeClr val="tx1"/>
                </a:solidFill>
              </a:rPr>
              <a:t>Working with government to strengthen execution capacity while enhancing the transparency, accountability systems and policy environment for increased public and private sector investment in agriculture</a:t>
            </a:r>
            <a:endParaRPr lang="en-US" sz="1200" dirty="0">
              <a:solidFill>
                <a:schemeClr val="tx1"/>
              </a:solidFill>
            </a:endParaRPr>
          </a:p>
          <a:p>
            <a:pPr>
              <a:lnSpc>
                <a:spcPts val="1200"/>
              </a:lnSpc>
              <a:spcAft>
                <a:spcPts val="300"/>
              </a:spcAft>
            </a:pPr>
            <a:r>
              <a:rPr lang="en-US" sz="1200" b="1" dirty="0" smtClean="0">
                <a:solidFill>
                  <a:schemeClr val="tx1"/>
                </a:solidFill>
              </a:rPr>
              <a:t>Activity </a:t>
            </a:r>
            <a:r>
              <a:rPr lang="en-US" sz="1200" b="1" dirty="0">
                <a:solidFill>
                  <a:schemeClr val="tx1"/>
                </a:solidFill>
              </a:rPr>
              <a:t>focus areas</a:t>
            </a:r>
          </a:p>
          <a:p>
            <a:pPr marL="285750" lvl="0" indent="-285750">
              <a:lnSpc>
                <a:spcPts val="1200"/>
              </a:lnSpc>
              <a:spcAft>
                <a:spcPts val="300"/>
              </a:spcAft>
              <a:buFont typeface="Arial" panose="020B0604020202020204" pitchFamily="34" charset="0"/>
              <a:buChar char="•"/>
            </a:pPr>
            <a:r>
              <a:rPr lang="en-US" sz="1200" kern="1200" dirty="0">
                <a:solidFill>
                  <a:schemeClr val="dk1"/>
                </a:solidFill>
              </a:rPr>
              <a:t>Develop and operationalize national agriculture investments plans</a:t>
            </a:r>
          </a:p>
          <a:p>
            <a:pPr marL="285750" lvl="0" indent="-285750">
              <a:lnSpc>
                <a:spcPts val="1200"/>
              </a:lnSpc>
              <a:spcAft>
                <a:spcPts val="300"/>
              </a:spcAft>
              <a:buFont typeface="Arial" panose="020B0604020202020204" pitchFamily="34" charset="0"/>
              <a:buChar char="•"/>
            </a:pPr>
            <a:r>
              <a:rPr lang="en-US" sz="1200" kern="1200" dirty="0">
                <a:solidFill>
                  <a:schemeClr val="dk1"/>
                </a:solidFill>
              </a:rPr>
              <a:t>Micro and macro policy and regulatory reform</a:t>
            </a:r>
          </a:p>
          <a:p>
            <a:pPr marL="285750" lvl="0" indent="-285750">
              <a:lnSpc>
                <a:spcPts val="1200"/>
              </a:lnSpc>
              <a:spcAft>
                <a:spcPts val="300"/>
              </a:spcAft>
              <a:buFont typeface="Arial" panose="020B0604020202020204" pitchFamily="34" charset="0"/>
              <a:buChar char="•"/>
            </a:pPr>
            <a:r>
              <a:rPr lang="en-US" sz="1200" kern="1200" dirty="0">
                <a:solidFill>
                  <a:schemeClr val="dk1"/>
                </a:solidFill>
              </a:rPr>
              <a:t>Implementation of national sector strategies and investment plans</a:t>
            </a:r>
          </a:p>
          <a:p>
            <a:pPr marL="285750" lvl="0" indent="-285750">
              <a:lnSpc>
                <a:spcPts val="1200"/>
              </a:lnSpc>
              <a:spcAft>
                <a:spcPts val="300"/>
              </a:spcAft>
              <a:buFont typeface="Arial" panose="020B0604020202020204" pitchFamily="34" charset="0"/>
              <a:buChar char="•"/>
            </a:pPr>
            <a:r>
              <a:rPr lang="en-US" sz="1200" kern="1200" dirty="0">
                <a:solidFill>
                  <a:schemeClr val="dk1"/>
                </a:solidFill>
              </a:rPr>
              <a:t>Intra and inter-ministerial coordination </a:t>
            </a:r>
          </a:p>
          <a:p>
            <a:pPr marL="285750" lvl="0" indent="-285750">
              <a:lnSpc>
                <a:spcPts val="1200"/>
              </a:lnSpc>
              <a:spcAft>
                <a:spcPts val="300"/>
              </a:spcAft>
              <a:buFont typeface="Arial" panose="020B0604020202020204" pitchFamily="34" charset="0"/>
              <a:buChar char="•"/>
            </a:pPr>
            <a:r>
              <a:rPr lang="en-US" sz="1200" kern="1200" dirty="0">
                <a:solidFill>
                  <a:schemeClr val="dk1"/>
                </a:solidFill>
              </a:rPr>
              <a:t>Mutual accountability mechanisms</a:t>
            </a:r>
          </a:p>
          <a:p>
            <a:pPr>
              <a:lnSpc>
                <a:spcPts val="1200"/>
              </a:lnSpc>
              <a:spcAft>
                <a:spcPts val="300"/>
              </a:spcAft>
            </a:pPr>
            <a:r>
              <a:rPr lang="en-US" sz="1200" b="1" dirty="0" smtClean="0">
                <a:solidFill>
                  <a:schemeClr val="tx1"/>
                </a:solidFill>
              </a:rPr>
              <a:t>Investment </a:t>
            </a:r>
            <a:r>
              <a:rPr lang="en-US" sz="1200" b="1" dirty="0">
                <a:solidFill>
                  <a:schemeClr val="tx1"/>
                </a:solidFill>
              </a:rPr>
              <a:t>vehicles</a:t>
            </a:r>
          </a:p>
          <a:p>
            <a:pPr marL="285750" indent="-285750">
              <a:lnSpc>
                <a:spcPts val="1200"/>
              </a:lnSpc>
              <a:spcAft>
                <a:spcPts val="300"/>
              </a:spcAft>
              <a:buFont typeface="Arial" panose="020B0604020202020204" pitchFamily="34" charset="0"/>
              <a:buChar char="•"/>
            </a:pPr>
            <a:r>
              <a:rPr lang="en-US" sz="1200" dirty="0">
                <a:solidFill>
                  <a:schemeClr val="tx1"/>
                </a:solidFill>
              </a:rPr>
              <a:t>Staff time, Grants, TA, Consultancies, </a:t>
            </a:r>
            <a:r>
              <a:rPr lang="en-US" sz="1200" dirty="0" err="1" smtClean="0">
                <a:solidFill>
                  <a:schemeClr val="tx1"/>
                </a:solidFill>
              </a:rPr>
              <a:t>Convenings</a:t>
            </a:r>
            <a:r>
              <a:rPr lang="en-US" sz="1200" dirty="0" smtClean="0">
                <a:solidFill>
                  <a:schemeClr val="tx1"/>
                </a:solidFill>
              </a:rPr>
              <a:t> </a:t>
            </a:r>
            <a:r>
              <a:rPr lang="en-US" sz="1200" dirty="0">
                <a:solidFill>
                  <a:schemeClr val="tx1"/>
                </a:solidFill>
              </a:rPr>
              <a:t>/ Meetings, AGRF</a:t>
            </a:r>
          </a:p>
        </p:txBody>
      </p:sp>
      <p:grpSp>
        <p:nvGrpSpPr>
          <p:cNvPr id="24" name="Group 23"/>
          <p:cNvGrpSpPr/>
          <p:nvPr/>
        </p:nvGrpSpPr>
        <p:grpSpPr>
          <a:xfrm>
            <a:off x="450275" y="5404166"/>
            <a:ext cx="9124085" cy="903891"/>
            <a:chOff x="272792" y="2962177"/>
            <a:chExt cx="9023043" cy="903891"/>
          </a:xfrm>
        </p:grpSpPr>
        <p:sp>
          <p:nvSpPr>
            <p:cNvPr id="25" name="Rectangle 24"/>
            <p:cNvSpPr/>
            <p:nvPr/>
          </p:nvSpPr>
          <p:spPr>
            <a:xfrm>
              <a:off x="272792" y="2962177"/>
              <a:ext cx="9023043" cy="26449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smtClean="0">
                  <a:solidFill>
                    <a:schemeClr val="tx1"/>
                  </a:solidFill>
                </a:rPr>
                <a:t>Approach to scale and sustainability</a:t>
              </a:r>
            </a:p>
          </p:txBody>
        </p:sp>
        <p:sp>
          <p:nvSpPr>
            <p:cNvPr id="26" name="Rectangle 25"/>
            <p:cNvSpPr/>
            <p:nvPr/>
          </p:nvSpPr>
          <p:spPr>
            <a:xfrm>
              <a:off x="272792" y="3281873"/>
              <a:ext cx="9023043" cy="26449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a:solidFill>
                    <a:schemeClr val="tx1"/>
                  </a:solidFill>
                </a:rPr>
                <a:t>Partnerships and private sector engagement</a:t>
              </a:r>
            </a:p>
          </p:txBody>
        </p:sp>
        <p:sp>
          <p:nvSpPr>
            <p:cNvPr id="27" name="Rectangle 26"/>
            <p:cNvSpPr/>
            <p:nvPr/>
          </p:nvSpPr>
          <p:spPr>
            <a:xfrm>
              <a:off x="272792" y="3601569"/>
              <a:ext cx="9023043" cy="26449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a:solidFill>
                    <a:schemeClr val="tx1"/>
                  </a:solidFill>
                </a:rPr>
                <a:t>Active big plays and technologies, models etc. identification </a:t>
              </a:r>
              <a:r>
                <a:rPr lang="en-US" sz="1200" smtClean="0">
                  <a:solidFill>
                    <a:schemeClr val="tx1"/>
                  </a:solidFill>
                </a:rPr>
                <a:t>for development and scale</a:t>
              </a:r>
              <a:endParaRPr lang="en-US" sz="1200">
                <a:solidFill>
                  <a:schemeClr val="tx1"/>
                </a:solidFill>
              </a:endParaRPr>
            </a:p>
          </p:txBody>
        </p:sp>
      </p:grpSp>
      <p:sp>
        <p:nvSpPr>
          <p:cNvPr id="3" name="Rectangle 2"/>
          <p:cNvSpPr/>
          <p:nvPr/>
        </p:nvSpPr>
        <p:spPr>
          <a:xfrm>
            <a:off x="3628182" y="5033338"/>
            <a:ext cx="2145139" cy="307777"/>
          </a:xfrm>
          <a:prstGeom prst="rect">
            <a:avLst/>
          </a:prstGeom>
        </p:spPr>
        <p:txBody>
          <a:bodyPr wrap="none">
            <a:spAutoFit/>
          </a:bodyPr>
          <a:lstStyle/>
          <a:p>
            <a:pPr algn="ctr"/>
            <a:r>
              <a:rPr lang="en-US" b="1"/>
              <a:t>Overarching Principles</a:t>
            </a:r>
          </a:p>
        </p:txBody>
      </p:sp>
    </p:spTree>
    <p:extLst>
      <p:ext uri="{BB962C8B-B14F-4D97-AF65-F5344CB8AC3E}">
        <p14:creationId xmlns:p14="http://schemas.microsoft.com/office/powerpoint/2010/main" val="375254632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anzania Agricultural Context</a:t>
            </a:r>
            <a:endParaRPr lang="en-US" dirty="0"/>
          </a:p>
        </p:txBody>
      </p:sp>
    </p:spTree>
    <p:extLst>
      <p:ext uri="{BB962C8B-B14F-4D97-AF65-F5344CB8AC3E}">
        <p14:creationId xmlns:p14="http://schemas.microsoft.com/office/powerpoint/2010/main" val="8604216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539" name="think-cell Slide" r:id="rId5" imgW="395" imgH="396" progId="TCLayout.ActiveDocument.1">
                  <p:embed/>
                </p:oleObj>
              </mc:Choice>
              <mc:Fallback>
                <p:oleObj name="think-cell Slide" r:id="rId5" imgW="395" imgH="39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1" name="Google Shape;251;p38"/>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a:xfrm>
            <a:off x="450741" y="134054"/>
            <a:ext cx="7423752" cy="582389"/>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2200"/>
              <a:buFont typeface="Arial"/>
              <a:buNone/>
            </a:pPr>
            <a:r>
              <a:rPr lang="en-US" dirty="0"/>
              <a:t>Tanzania</a:t>
            </a:r>
            <a:r>
              <a:rPr lang="en-US" sz="2200" b="1" i="0" u="none" strike="noStrike" cap="none" dirty="0">
                <a:solidFill>
                  <a:schemeClr val="dk1"/>
                </a:solidFill>
                <a:latin typeface="Arial"/>
                <a:ea typeface="Arial"/>
                <a:cs typeface="Arial"/>
                <a:sym typeface="Arial"/>
              </a:rPr>
              <a:t>’s Agricultural Agenda is Shaped by a Few Macroeconomic Trends and Contextual Factors </a:t>
            </a:r>
            <a:r>
              <a:rPr lang="en-US" sz="1200" b="1" i="1" u="none" strike="noStrike" cap="none" dirty="0">
                <a:solidFill>
                  <a:schemeClr val="dk1"/>
                </a:solidFill>
                <a:latin typeface="Arial"/>
                <a:ea typeface="Arial"/>
                <a:cs typeface="Arial"/>
                <a:sym typeface="Arial"/>
              </a:rPr>
              <a:t>(1/3)</a:t>
            </a:r>
            <a:endParaRPr sz="1200" b="1" i="1" u="none" strike="noStrike" cap="none" dirty="0">
              <a:solidFill>
                <a:schemeClr val="dk1"/>
              </a:solidFill>
              <a:latin typeface="Arial"/>
              <a:ea typeface="Arial"/>
              <a:cs typeface="Arial"/>
              <a:sym typeface="Arial"/>
            </a:endParaRPr>
          </a:p>
        </p:txBody>
      </p:sp>
      <p:grpSp>
        <p:nvGrpSpPr>
          <p:cNvPr id="16" name="Group 15"/>
          <p:cNvGrpSpPr/>
          <p:nvPr/>
        </p:nvGrpSpPr>
        <p:grpSpPr>
          <a:xfrm>
            <a:off x="310284" y="992479"/>
            <a:ext cx="5056556" cy="5274970"/>
            <a:chOff x="756004" y="1113274"/>
            <a:chExt cx="3199911" cy="1276825"/>
          </a:xfrm>
        </p:grpSpPr>
        <p:sp>
          <p:nvSpPr>
            <p:cNvPr id="17" name="Google Shape;253;p38"/>
            <p:cNvSpPr/>
            <p:nvPr/>
          </p:nvSpPr>
          <p:spPr>
            <a:xfrm>
              <a:off x="756004" y="1113274"/>
              <a:ext cx="3199911" cy="68605"/>
            </a:xfrm>
            <a:prstGeom prst="rect">
              <a:avLst/>
            </a:prstGeom>
            <a:solidFill>
              <a:srgbClr val="3F5F1F"/>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100" b="1" dirty="0">
                  <a:solidFill>
                    <a:schemeClr val="bg1"/>
                  </a:solidFill>
                  <a:sym typeface="Arial"/>
                </a:rPr>
                <a:t>1. Agriculture and the Economy</a:t>
              </a:r>
              <a:endParaRPr sz="1100" dirty="0">
                <a:solidFill>
                  <a:schemeClr val="bg1"/>
                </a:solidFill>
              </a:endParaRPr>
            </a:p>
          </p:txBody>
        </p:sp>
        <p:sp>
          <p:nvSpPr>
            <p:cNvPr id="18" name="Google Shape;255;p38"/>
            <p:cNvSpPr/>
            <p:nvPr/>
          </p:nvSpPr>
          <p:spPr>
            <a:xfrm>
              <a:off x="756004" y="1181879"/>
              <a:ext cx="3199911" cy="1208220"/>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indent="-171450">
                <a:lnSpc>
                  <a:spcPts val="1400"/>
                </a:lnSpc>
                <a:spcAft>
                  <a:spcPts val="600"/>
                </a:spcAft>
                <a:buClr>
                  <a:schemeClr val="dk1"/>
                </a:buClr>
                <a:buSzPts val="1050"/>
                <a:buFont typeface="Arial" panose="020B0604020202020204" pitchFamily="34" charset="0"/>
                <a:buChar char="•"/>
              </a:pPr>
              <a:r>
                <a:rPr lang="en-US" sz="1100" dirty="0">
                  <a:solidFill>
                    <a:schemeClr val="tx1"/>
                  </a:solidFill>
                </a:rPr>
                <a:t>Tanzania registered an average economic growth of </a:t>
              </a:r>
              <a:r>
                <a:rPr lang="en-US" sz="1100" dirty="0" smtClean="0">
                  <a:solidFill>
                    <a:schemeClr val="tx1"/>
                  </a:solidFill>
                </a:rPr>
                <a:t>7% </a:t>
              </a:r>
              <a:r>
                <a:rPr lang="en-US" sz="1100" dirty="0">
                  <a:solidFill>
                    <a:schemeClr val="tx1"/>
                  </a:solidFill>
                </a:rPr>
                <a:t>in the past decade, which was well above the </a:t>
              </a:r>
              <a:r>
                <a:rPr lang="en-US" sz="1100" dirty="0" smtClean="0">
                  <a:solidFill>
                    <a:schemeClr val="tx1"/>
                  </a:solidFill>
                </a:rPr>
                <a:t>6% </a:t>
              </a:r>
              <a:r>
                <a:rPr lang="en-US" sz="1100" dirty="0">
                  <a:solidFill>
                    <a:schemeClr val="tx1"/>
                  </a:solidFill>
                </a:rPr>
                <a:t>average for Sub-Saharan Africa (SSA) and East African Community (EAC) members and the global average of </a:t>
              </a:r>
              <a:r>
                <a:rPr lang="en-US" sz="1100" dirty="0" smtClean="0">
                  <a:solidFill>
                    <a:schemeClr val="tx1"/>
                  </a:solidFill>
                </a:rPr>
                <a:t>4%</a:t>
              </a:r>
              <a:r>
                <a:rPr lang="en-US" sz="1100" baseline="30000" dirty="0" smtClean="0">
                  <a:solidFill>
                    <a:schemeClr val="tx1"/>
                  </a:solidFill>
                </a:rPr>
                <a:t>3. </a:t>
              </a:r>
              <a:r>
                <a:rPr lang="en-ZA" sz="1100" dirty="0" smtClean="0">
                  <a:solidFill>
                    <a:schemeClr val="tx1"/>
                  </a:solidFill>
                </a:rPr>
                <a:t>The </a:t>
              </a:r>
              <a:r>
                <a:rPr lang="en-US" sz="1100" dirty="0" smtClean="0">
                  <a:solidFill>
                    <a:schemeClr val="tx1"/>
                  </a:solidFill>
                </a:rPr>
                <a:t>Agricultural </a:t>
              </a:r>
              <a:r>
                <a:rPr lang="en-US" sz="1100" dirty="0">
                  <a:solidFill>
                    <a:schemeClr val="tx1"/>
                  </a:solidFill>
                </a:rPr>
                <a:t>sector </a:t>
              </a:r>
              <a:r>
                <a:rPr lang="en-US" sz="1100" dirty="0" smtClean="0">
                  <a:solidFill>
                    <a:schemeClr val="tx1"/>
                  </a:solidFill>
                </a:rPr>
                <a:t>also </a:t>
              </a:r>
              <a:r>
                <a:rPr lang="en-US" sz="1100" dirty="0">
                  <a:solidFill>
                    <a:schemeClr val="tx1"/>
                  </a:solidFill>
                </a:rPr>
                <a:t>grew at </a:t>
              </a:r>
              <a:r>
                <a:rPr lang="en-US" sz="1100" dirty="0" smtClean="0">
                  <a:solidFill>
                    <a:schemeClr val="tx1"/>
                  </a:solidFill>
                </a:rPr>
                <a:t>an average of 2.9</a:t>
              </a:r>
              <a:r>
                <a:rPr lang="en-US" sz="1100" dirty="0">
                  <a:solidFill>
                    <a:schemeClr val="tx1"/>
                  </a:solidFill>
                </a:rPr>
                <a:t>% per year </a:t>
              </a:r>
              <a:r>
                <a:rPr lang="en-ZA" sz="1100" dirty="0" smtClean="0">
                  <a:solidFill>
                    <a:schemeClr val="tx1"/>
                  </a:solidFill>
                </a:rPr>
                <a:t>over </a:t>
              </a:r>
              <a:r>
                <a:rPr lang="en-ZA" sz="1100" dirty="0">
                  <a:solidFill>
                    <a:schemeClr val="tx1"/>
                  </a:solidFill>
                </a:rPr>
                <a:t>the same period </a:t>
              </a:r>
              <a:r>
                <a:rPr lang="en-ZA" sz="1100" dirty="0" smtClean="0">
                  <a:solidFill>
                    <a:schemeClr val="tx1"/>
                  </a:solidFill>
                </a:rPr>
                <a:t>implying that </a:t>
              </a:r>
              <a:r>
                <a:rPr lang="en-US" sz="1100" dirty="0" smtClean="0">
                  <a:solidFill>
                    <a:schemeClr val="tx1"/>
                  </a:solidFill>
                </a:rPr>
                <a:t>the </a:t>
              </a:r>
              <a:r>
                <a:rPr lang="en-US" sz="1100" dirty="0">
                  <a:solidFill>
                    <a:schemeClr val="tx1"/>
                  </a:solidFill>
                </a:rPr>
                <a:t>performance </a:t>
              </a:r>
              <a:r>
                <a:rPr lang="en-US" sz="1100" dirty="0" smtClean="0">
                  <a:solidFill>
                    <a:schemeClr val="tx1"/>
                  </a:solidFill>
                </a:rPr>
                <a:t>of the </a:t>
              </a:r>
              <a:r>
                <a:rPr lang="en-US" sz="1100" dirty="0">
                  <a:solidFill>
                    <a:schemeClr val="tx1"/>
                  </a:solidFill>
                </a:rPr>
                <a:t>agricultural sector </a:t>
              </a:r>
              <a:r>
                <a:rPr lang="en-US" sz="1100" dirty="0" smtClean="0">
                  <a:solidFill>
                    <a:schemeClr val="tx1"/>
                  </a:solidFill>
                </a:rPr>
                <a:t>may have </a:t>
              </a:r>
              <a:r>
                <a:rPr lang="en-US" sz="1100" dirty="0">
                  <a:solidFill>
                    <a:schemeClr val="tx1"/>
                  </a:solidFill>
                </a:rPr>
                <a:t>a </a:t>
              </a:r>
              <a:r>
                <a:rPr lang="en-US" sz="1100" dirty="0" smtClean="0">
                  <a:solidFill>
                    <a:schemeClr val="tx1"/>
                  </a:solidFill>
                </a:rPr>
                <a:t>relation </a:t>
              </a:r>
              <a:r>
                <a:rPr lang="en-US" sz="1100" dirty="0">
                  <a:solidFill>
                    <a:schemeClr val="tx1"/>
                  </a:solidFill>
                </a:rPr>
                <a:t>with overall economic </a:t>
              </a:r>
              <a:r>
                <a:rPr lang="en-US" sz="1100" dirty="0" smtClean="0">
                  <a:solidFill>
                    <a:schemeClr val="tx1"/>
                  </a:solidFill>
                </a:rPr>
                <a:t>performance</a:t>
              </a:r>
              <a:r>
                <a:rPr lang="en-ZA" sz="1100" baseline="30000" dirty="0" smtClean="0">
                  <a:solidFill>
                    <a:schemeClr val="tx1"/>
                  </a:solidFill>
                </a:rPr>
                <a:t>1.</a:t>
              </a:r>
              <a:endParaRPr lang="en-ZA" sz="1100" dirty="0">
                <a:solidFill>
                  <a:schemeClr val="tx1"/>
                </a:solidFill>
              </a:endParaRPr>
            </a:p>
            <a:p>
              <a:pPr marL="171450" indent="-171450">
                <a:lnSpc>
                  <a:spcPts val="1400"/>
                </a:lnSpc>
                <a:spcAft>
                  <a:spcPts val="600"/>
                </a:spcAft>
                <a:buClr>
                  <a:schemeClr val="dk1"/>
                </a:buClr>
                <a:buSzPts val="1050"/>
                <a:buFont typeface="Arial" panose="020B0604020202020204" pitchFamily="34" charset="0"/>
                <a:buChar char="•"/>
              </a:pPr>
              <a:r>
                <a:rPr lang="en-US" sz="1100" dirty="0">
                  <a:solidFill>
                    <a:schemeClr val="tx1"/>
                  </a:solidFill>
                </a:rPr>
                <a:t>Agriculture accounts for </a:t>
              </a:r>
              <a:r>
                <a:rPr lang="en-US" sz="1100" dirty="0" smtClean="0">
                  <a:solidFill>
                    <a:schemeClr val="tx1"/>
                  </a:solidFill>
                </a:rPr>
                <a:t>26.7% of </a:t>
              </a:r>
              <a:r>
                <a:rPr lang="en-US" sz="1100" dirty="0">
                  <a:solidFill>
                    <a:schemeClr val="tx1"/>
                  </a:solidFill>
                </a:rPr>
                <a:t>Tanzania's GDP and provides employment for majority of the nation’s population. Opportunities exist for agriculture businesses across domestic, regional and international markets, for both traditional and new products. However, productivity is low with modest progress over the past two decades. It is dominated by smallholder farmers dependent on rain-fed production, limited use of improved seeds and fertilizers, and the low share of cultivated over arable land</a:t>
              </a:r>
              <a:r>
                <a:rPr lang="en-US" sz="1100" baseline="30000" dirty="0">
                  <a:solidFill>
                    <a:schemeClr val="tx1"/>
                  </a:solidFill>
                </a:rPr>
                <a:t>3</a:t>
              </a:r>
              <a:r>
                <a:rPr lang="en-US" sz="1100" dirty="0" smtClean="0"/>
                <a:t>.</a:t>
              </a:r>
              <a:endParaRPr lang="en-ZA" sz="1100" baseline="30000" dirty="0">
                <a:solidFill>
                  <a:schemeClr val="tx1"/>
                </a:solidFill>
              </a:endParaRPr>
            </a:p>
            <a:p>
              <a:pPr marL="171450" indent="-171450">
                <a:lnSpc>
                  <a:spcPts val="1400"/>
                </a:lnSpc>
                <a:spcAft>
                  <a:spcPts val="600"/>
                </a:spcAft>
                <a:buClr>
                  <a:schemeClr val="dk1"/>
                </a:buClr>
                <a:buSzPts val="1050"/>
                <a:buFont typeface="Arial" panose="020B0604020202020204" pitchFamily="34" charset="0"/>
                <a:buChar char="•"/>
              </a:pPr>
              <a:r>
                <a:rPr lang="en-ZA" sz="1100" dirty="0">
                  <a:solidFill>
                    <a:schemeClr val="tx1"/>
                  </a:solidFill>
                </a:rPr>
                <a:t>The country population is growing at an average rate of </a:t>
              </a:r>
              <a:r>
                <a:rPr lang="en-ZA" sz="1100" dirty="0" smtClean="0">
                  <a:solidFill>
                    <a:schemeClr val="tx1"/>
                  </a:solidFill>
                </a:rPr>
                <a:t>3.1% per annum. This implies a growth </a:t>
              </a:r>
              <a:r>
                <a:rPr lang="en-ZA" sz="1100" dirty="0">
                  <a:solidFill>
                    <a:schemeClr val="tx1"/>
                  </a:solidFill>
                </a:rPr>
                <a:t>in </a:t>
              </a:r>
              <a:r>
                <a:rPr lang="en-ZA" sz="1100" dirty="0" smtClean="0">
                  <a:solidFill>
                    <a:schemeClr val="tx1"/>
                  </a:solidFill>
                </a:rPr>
                <a:t>human labour </a:t>
              </a:r>
              <a:r>
                <a:rPr lang="en-ZA" sz="1100" dirty="0">
                  <a:solidFill>
                    <a:schemeClr val="tx1"/>
                  </a:solidFill>
                </a:rPr>
                <a:t>force, but also increased </a:t>
              </a:r>
              <a:r>
                <a:rPr lang="en-ZA" sz="1100" dirty="0" smtClean="0">
                  <a:solidFill>
                    <a:schemeClr val="tx1"/>
                  </a:solidFill>
                </a:rPr>
                <a:t>food demand</a:t>
              </a:r>
              <a:r>
                <a:rPr lang="en-ZA" sz="1100" baseline="30000" dirty="0" smtClean="0">
                  <a:solidFill>
                    <a:schemeClr val="tx1"/>
                  </a:solidFill>
                </a:rPr>
                <a:t>1 </a:t>
              </a:r>
              <a:r>
                <a:rPr lang="en-ZA" sz="1100" dirty="0" smtClean="0">
                  <a:solidFill>
                    <a:schemeClr val="tx1"/>
                  </a:solidFill>
                </a:rPr>
                <a:t>. </a:t>
              </a:r>
              <a:r>
                <a:rPr lang="en-US" sz="1100" dirty="0" smtClean="0">
                  <a:solidFill>
                    <a:schemeClr val="tx1"/>
                  </a:solidFill>
                </a:rPr>
                <a:t>Over 67% of the population lives </a:t>
              </a:r>
              <a:r>
                <a:rPr lang="en-US" sz="1100" dirty="0">
                  <a:solidFill>
                    <a:schemeClr val="tx1"/>
                  </a:solidFill>
                </a:rPr>
                <a:t>in rural areas and mostly depend on agriculture for </a:t>
              </a:r>
              <a:r>
                <a:rPr lang="en-US" sz="1100" dirty="0" smtClean="0">
                  <a:solidFill>
                    <a:schemeClr val="tx1"/>
                  </a:solidFill>
                </a:rPr>
                <a:t>livelihoods. The </a:t>
              </a:r>
              <a:r>
                <a:rPr lang="en-ZA" sz="1100" dirty="0" smtClean="0">
                  <a:solidFill>
                    <a:schemeClr val="tx1"/>
                  </a:solidFill>
                </a:rPr>
                <a:t>national </a:t>
              </a:r>
              <a:r>
                <a:rPr lang="en-ZA" sz="1100" dirty="0">
                  <a:solidFill>
                    <a:schemeClr val="tx1"/>
                  </a:solidFill>
                </a:rPr>
                <a:t>poverty headcount </a:t>
              </a:r>
              <a:r>
                <a:rPr lang="en-ZA" sz="1100" dirty="0" smtClean="0">
                  <a:solidFill>
                    <a:schemeClr val="tx1"/>
                  </a:solidFill>
                </a:rPr>
                <a:t>stands </a:t>
              </a:r>
              <a:r>
                <a:rPr lang="en-ZA" sz="1100" dirty="0">
                  <a:solidFill>
                    <a:schemeClr val="tx1"/>
                  </a:solidFill>
                </a:rPr>
                <a:t>at 28</a:t>
              </a:r>
              <a:r>
                <a:rPr lang="en-ZA" sz="1100" dirty="0" smtClean="0">
                  <a:solidFill>
                    <a:schemeClr val="tx1"/>
                  </a:solidFill>
                </a:rPr>
                <a:t>% with the </a:t>
              </a:r>
              <a:r>
                <a:rPr lang="en-ZA" sz="1100" dirty="0">
                  <a:solidFill>
                    <a:schemeClr val="tx1"/>
                  </a:solidFill>
                </a:rPr>
                <a:t>situation </a:t>
              </a:r>
              <a:r>
                <a:rPr lang="en-ZA" sz="1100" dirty="0" smtClean="0">
                  <a:solidFill>
                    <a:schemeClr val="tx1"/>
                  </a:solidFill>
                </a:rPr>
                <a:t>even </a:t>
              </a:r>
              <a:r>
                <a:rPr lang="en-ZA" sz="1100" dirty="0">
                  <a:solidFill>
                    <a:schemeClr val="tx1"/>
                  </a:solidFill>
                </a:rPr>
                <a:t>worse in rural areas at </a:t>
              </a:r>
              <a:r>
                <a:rPr lang="en-ZA" sz="1100" dirty="0" smtClean="0">
                  <a:solidFill>
                    <a:schemeClr val="tx1"/>
                  </a:solidFill>
                </a:rPr>
                <a:t>33%</a:t>
              </a:r>
              <a:r>
                <a:rPr lang="en-ZA" sz="1100" baseline="30000" dirty="0" smtClean="0">
                  <a:solidFill>
                    <a:schemeClr val="tx1"/>
                  </a:solidFill>
                </a:rPr>
                <a:t>1</a:t>
              </a:r>
              <a:endParaRPr lang="en-ZA" sz="1100" baseline="30000" dirty="0">
                <a:solidFill>
                  <a:schemeClr val="tx1"/>
                </a:solidFill>
              </a:endParaRPr>
            </a:p>
            <a:p>
              <a:pPr marL="171450" indent="-171450">
                <a:lnSpc>
                  <a:spcPts val="1400"/>
                </a:lnSpc>
                <a:spcAft>
                  <a:spcPts val="600"/>
                </a:spcAft>
                <a:buClr>
                  <a:schemeClr val="dk1"/>
                </a:buClr>
                <a:buSzPts val="1050"/>
                <a:buFont typeface="Arial" panose="020B0604020202020204" pitchFamily="34" charset="0"/>
                <a:buChar char="•"/>
              </a:pPr>
              <a:r>
                <a:rPr lang="en-ZA" sz="1100" dirty="0" smtClean="0">
                  <a:solidFill>
                    <a:schemeClr val="tx1"/>
                  </a:solidFill>
                </a:rPr>
                <a:t>The country is a net food exporter with food </a:t>
              </a:r>
              <a:r>
                <a:rPr lang="en-ZA" sz="1100" dirty="0">
                  <a:solidFill>
                    <a:schemeClr val="tx1"/>
                  </a:solidFill>
                </a:rPr>
                <a:t>imports </a:t>
              </a:r>
              <a:r>
                <a:rPr lang="en-ZA" sz="1100" dirty="0" smtClean="0">
                  <a:solidFill>
                    <a:schemeClr val="tx1"/>
                  </a:solidFill>
                </a:rPr>
                <a:t>constituting 9</a:t>
              </a:r>
              <a:r>
                <a:rPr lang="en-ZA" sz="1100" dirty="0">
                  <a:solidFill>
                    <a:schemeClr val="tx1"/>
                  </a:solidFill>
                </a:rPr>
                <a:t>% of  merchandised imports and food exports </a:t>
              </a:r>
              <a:r>
                <a:rPr lang="en-ZA" sz="1100" dirty="0" smtClean="0">
                  <a:solidFill>
                    <a:schemeClr val="tx1"/>
                  </a:solidFill>
                </a:rPr>
                <a:t>about </a:t>
              </a:r>
              <a:r>
                <a:rPr lang="en-ZA" sz="1100" dirty="0">
                  <a:solidFill>
                    <a:schemeClr val="tx1"/>
                  </a:solidFill>
                </a:rPr>
                <a:t>55% of merchandised  </a:t>
              </a:r>
              <a:r>
                <a:rPr lang="en-ZA" sz="1100" dirty="0" smtClean="0">
                  <a:solidFill>
                    <a:schemeClr val="tx1"/>
                  </a:solidFill>
                </a:rPr>
                <a:t>exports</a:t>
              </a:r>
              <a:r>
                <a:rPr lang="en-ZA" sz="1100" baseline="30000" dirty="0" smtClean="0">
                  <a:solidFill>
                    <a:schemeClr val="tx1"/>
                  </a:solidFill>
                </a:rPr>
                <a:t>2</a:t>
              </a:r>
              <a:endParaRPr lang="en-ZA" sz="1100" baseline="30000" dirty="0">
                <a:solidFill>
                  <a:schemeClr val="tx1"/>
                </a:solidFill>
              </a:endParaRPr>
            </a:p>
            <a:p>
              <a:pPr marL="171450" indent="-171450">
                <a:lnSpc>
                  <a:spcPts val="1400"/>
                </a:lnSpc>
                <a:spcAft>
                  <a:spcPts val="600"/>
                </a:spcAft>
                <a:buClr>
                  <a:schemeClr val="dk1"/>
                </a:buClr>
                <a:buSzPts val="1050"/>
                <a:buFont typeface="Arial" panose="020B0604020202020204" pitchFamily="34" charset="0"/>
                <a:buChar char="•"/>
              </a:pPr>
              <a:r>
                <a:rPr lang="en-ZA" sz="1100" dirty="0" smtClean="0">
                  <a:solidFill>
                    <a:schemeClr val="tx1"/>
                  </a:solidFill>
                  <a:latin typeface="Arial" panose="020B0604020202020204" pitchFamily="34" charset="0"/>
                  <a:cs typeface="Arial" panose="020B0604020202020204" pitchFamily="34" charset="0"/>
                </a:rPr>
                <a:t>Tobacco</a:t>
              </a:r>
              <a:r>
                <a:rPr lang="en-ZA" sz="1100" dirty="0">
                  <a:solidFill>
                    <a:schemeClr val="tx1"/>
                  </a:solidFill>
                  <a:latin typeface="Arial" panose="020B0604020202020204" pitchFamily="34" charset="0"/>
                  <a:cs typeface="Arial" panose="020B0604020202020204" pitchFamily="34" charset="0"/>
                </a:rPr>
                <a:t>, cashew nuts, and coffee among top agricultural based foreign exchange </a:t>
              </a:r>
              <a:r>
                <a:rPr lang="en-ZA" sz="1100" dirty="0" smtClean="0">
                  <a:solidFill>
                    <a:schemeClr val="tx1"/>
                  </a:solidFill>
                  <a:latin typeface="Arial" panose="020B0604020202020204" pitchFamily="34" charset="0"/>
                  <a:cs typeface="Arial" panose="020B0604020202020204" pitchFamily="34" charset="0"/>
                </a:rPr>
                <a:t>earners - </a:t>
              </a:r>
              <a:r>
                <a:rPr lang="en-US" sz="1100" dirty="0" smtClean="0">
                  <a:solidFill>
                    <a:schemeClr val="tx1"/>
                  </a:solidFill>
                </a:rPr>
                <a:t>exports </a:t>
              </a:r>
              <a:r>
                <a:rPr lang="en-US" sz="1100" dirty="0">
                  <a:solidFill>
                    <a:schemeClr val="tx1"/>
                  </a:solidFill>
                </a:rPr>
                <a:t>total earning estimated to be </a:t>
              </a:r>
              <a:r>
                <a:rPr lang="en-US" sz="1100" dirty="0" smtClean="0">
                  <a:solidFill>
                    <a:schemeClr val="tx1"/>
                  </a:solidFill>
                </a:rPr>
                <a:t>$1,579 million, </a:t>
              </a:r>
              <a:r>
                <a:rPr lang="en-US" sz="1100" dirty="0">
                  <a:solidFill>
                    <a:schemeClr val="tx1"/>
                  </a:solidFill>
                </a:rPr>
                <a:t>while </a:t>
              </a:r>
              <a:r>
                <a:rPr lang="en-ZA" sz="1100" dirty="0">
                  <a:solidFill>
                    <a:schemeClr val="tx1"/>
                  </a:solidFill>
                  <a:latin typeface="Arial" panose="020B0604020202020204" pitchFamily="34" charset="0"/>
                  <a:cs typeface="Arial" panose="020B0604020202020204" pitchFamily="34" charset="0"/>
                </a:rPr>
                <a:t>palm oil, wheat, and sugar are the main </a:t>
              </a:r>
              <a:r>
                <a:rPr lang="en-ZA" sz="1100" dirty="0" smtClean="0">
                  <a:solidFill>
                    <a:schemeClr val="tx1"/>
                  </a:solidFill>
                  <a:latin typeface="Arial" panose="020B0604020202020204" pitchFamily="34" charset="0"/>
                  <a:cs typeface="Arial" panose="020B0604020202020204" pitchFamily="34" charset="0"/>
                </a:rPr>
                <a:t>imports </a:t>
              </a:r>
              <a:r>
                <a:rPr lang="en-US" sz="1100" dirty="0" smtClean="0">
                  <a:solidFill>
                    <a:schemeClr val="tx1"/>
                  </a:solidFill>
                </a:rPr>
                <a:t>-  </a:t>
              </a:r>
              <a:r>
                <a:rPr lang="en-US" sz="1100" dirty="0">
                  <a:solidFill>
                    <a:schemeClr val="tx1"/>
                  </a:solidFill>
                </a:rPr>
                <a:t>estimated cost of food imports about $</a:t>
              </a:r>
              <a:r>
                <a:rPr lang="en-US" sz="1100" dirty="0" smtClean="0">
                  <a:solidFill>
                    <a:schemeClr val="tx1"/>
                  </a:solidFill>
                </a:rPr>
                <a:t>818 </a:t>
              </a:r>
              <a:r>
                <a:rPr lang="en-US" sz="1100" dirty="0">
                  <a:solidFill>
                    <a:schemeClr val="tx1"/>
                  </a:solidFill>
                </a:rPr>
                <a:t>million as per 2016 figures</a:t>
              </a:r>
              <a:r>
                <a:rPr lang="en-ZA" sz="1100" baseline="30000" dirty="0" smtClean="0">
                  <a:solidFill>
                    <a:schemeClr val="tx1"/>
                  </a:solidFill>
                </a:rPr>
                <a:t>2</a:t>
              </a:r>
              <a:endParaRPr lang="en-US" sz="1100" dirty="0">
                <a:solidFill>
                  <a:schemeClr val="tx1"/>
                </a:solidFill>
              </a:endParaRPr>
            </a:p>
          </p:txBody>
        </p:sp>
      </p:grpSp>
      <p:sp>
        <p:nvSpPr>
          <p:cNvPr id="14" name="TextBox 13">
            <a:extLst>
              <a:ext uri="{FF2B5EF4-FFF2-40B4-BE49-F238E27FC236}">
                <a16:creationId xmlns:a16="http://schemas.microsoft.com/office/drawing/2014/main" xmlns="" id="{6E811E03-6731-4470-B789-6D30DA6C407C}"/>
              </a:ext>
            </a:extLst>
          </p:cNvPr>
          <p:cNvSpPr txBox="1"/>
          <p:nvPr/>
        </p:nvSpPr>
        <p:spPr>
          <a:xfrm>
            <a:off x="4335522" y="6513565"/>
            <a:ext cx="4760259" cy="369332"/>
          </a:xfrm>
          <a:prstGeom prst="rect">
            <a:avLst/>
          </a:prstGeom>
          <a:noFill/>
        </p:spPr>
        <p:txBody>
          <a:bodyPr wrap="square" rtlCol="0">
            <a:spAutoFit/>
          </a:bodyPr>
          <a:lstStyle/>
          <a:p>
            <a:r>
              <a:rPr lang="en-US" sz="900" dirty="0">
                <a:solidFill>
                  <a:schemeClr val="tx1"/>
                </a:solidFill>
              </a:rPr>
              <a:t>Sources: 1. </a:t>
            </a:r>
            <a:r>
              <a:rPr lang="en-US" sz="900" dirty="0">
                <a:solidFill>
                  <a:schemeClr val="tx1"/>
                </a:solidFill>
                <a:hlinkClick r:id="rId8"/>
              </a:rPr>
              <a:t>https://datacatalog.worldbank.org</a:t>
            </a:r>
            <a:r>
              <a:rPr lang="en-US" sz="900" dirty="0">
                <a:solidFill>
                  <a:schemeClr val="tx1"/>
                </a:solidFill>
              </a:rPr>
              <a:t> |  2. </a:t>
            </a:r>
            <a:r>
              <a:rPr lang="en-US" sz="900" dirty="0">
                <a:solidFill>
                  <a:schemeClr val="tx1"/>
                </a:solidFill>
                <a:hlinkClick r:id="rId9"/>
              </a:rPr>
              <a:t>www.fao.org/faostat</a:t>
            </a:r>
            <a:r>
              <a:rPr lang="en-US" sz="900" dirty="0">
                <a:solidFill>
                  <a:schemeClr val="tx1"/>
                </a:solidFill>
              </a:rPr>
              <a:t> |  </a:t>
            </a:r>
            <a:r>
              <a:rPr lang="en-US" sz="900" dirty="0" smtClean="0">
                <a:solidFill>
                  <a:schemeClr val="tx1"/>
                </a:solidFill>
              </a:rPr>
              <a:t>3. </a:t>
            </a:r>
            <a:r>
              <a:rPr lang="en-US" sz="900" dirty="0">
                <a:hlinkClick r:id="rId10"/>
              </a:rPr>
              <a:t>http://www.fao.org/tanzania/fao-in-tanzania/tanzania-at-a-glance/en/</a:t>
            </a:r>
            <a:endParaRPr lang="en-US" sz="900" dirty="0">
              <a:solidFill>
                <a:schemeClr val="tx1"/>
              </a:solidFill>
            </a:endParaRPr>
          </a:p>
        </p:txBody>
      </p:sp>
      <p:sp>
        <p:nvSpPr>
          <p:cNvPr id="4" name="Oval 3">
            <a:extLst>
              <a:ext uri="{FF2B5EF4-FFF2-40B4-BE49-F238E27FC236}">
                <a16:creationId xmlns:a16="http://schemas.microsoft.com/office/drawing/2014/main" xmlns="" id="{09361B7B-9B10-4DFA-A3FB-56A715BD3A59}"/>
              </a:ext>
            </a:extLst>
          </p:cNvPr>
          <p:cNvSpPr/>
          <p:nvPr/>
        </p:nvSpPr>
        <p:spPr>
          <a:xfrm rot="21207108">
            <a:off x="6722463" y="4166980"/>
            <a:ext cx="1145219" cy="184963"/>
          </a:xfrm>
          <a:prstGeom prst="ellipse">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2.9%</a:t>
            </a:r>
          </a:p>
        </p:txBody>
      </p:sp>
      <p:cxnSp>
        <p:nvCxnSpPr>
          <p:cNvPr id="5" name="Straight Arrow Connector 4">
            <a:extLst>
              <a:ext uri="{FF2B5EF4-FFF2-40B4-BE49-F238E27FC236}">
                <a16:creationId xmlns:a16="http://schemas.microsoft.com/office/drawing/2014/main" xmlns="" id="{045458E9-0783-409D-B8EC-123D23F00B09}"/>
              </a:ext>
            </a:extLst>
          </p:cNvPr>
          <p:cNvCxnSpPr>
            <a:cxnSpLocks/>
          </p:cNvCxnSpPr>
          <p:nvPr/>
        </p:nvCxnSpPr>
        <p:spPr>
          <a:xfrm flipV="1">
            <a:off x="6178858" y="4259461"/>
            <a:ext cx="3178206" cy="3569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5366840" y="1215682"/>
            <a:ext cx="4359018" cy="5297883"/>
            <a:chOff x="5366840" y="1215682"/>
            <a:chExt cx="4359018" cy="5297883"/>
          </a:xfrm>
        </p:grpSpPr>
        <p:pic>
          <p:nvPicPr>
            <p:cNvPr id="3" name="Picture 2"/>
            <p:cNvPicPr>
              <a:picLocks noChangeAspect="1"/>
            </p:cNvPicPr>
            <p:nvPr/>
          </p:nvPicPr>
          <p:blipFill>
            <a:blip r:embed="rId11"/>
            <a:stretch>
              <a:fillRect/>
            </a:stretch>
          </p:blipFill>
          <p:spPr>
            <a:xfrm>
              <a:off x="5366840" y="1215682"/>
              <a:ext cx="4359018" cy="5297883"/>
            </a:xfrm>
            <a:prstGeom prst="rect">
              <a:avLst/>
            </a:prstGeom>
          </p:spPr>
        </p:pic>
        <p:sp>
          <p:nvSpPr>
            <p:cNvPr id="6" name="Rectangle 5"/>
            <p:cNvSpPr/>
            <p:nvPr/>
          </p:nvSpPr>
          <p:spPr>
            <a:xfrm>
              <a:off x="7078133" y="4102283"/>
              <a:ext cx="666045" cy="2982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t>3.1%</a:t>
              </a:r>
              <a:endParaRPr lang="en-US" sz="1050" dirty="0"/>
            </a:p>
          </p:txBody>
        </p:sp>
      </p:grpSp>
    </p:spTree>
    <p:extLst>
      <p:ext uri="{BB962C8B-B14F-4D97-AF65-F5344CB8AC3E}">
        <p14:creationId xmlns:p14="http://schemas.microsoft.com/office/powerpoint/2010/main" val="32012782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583" name="think-cell Slide" r:id="rId5" imgW="395" imgH="396" progId="TCLayout.ActiveDocument.1">
                  <p:embed/>
                </p:oleObj>
              </mc:Choice>
              <mc:Fallback>
                <p:oleObj name="think-cell Slide" r:id="rId5" imgW="395" imgH="39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1" name="Google Shape;251;p38"/>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a:xfrm>
            <a:off x="450741" y="134054"/>
            <a:ext cx="7423752" cy="582389"/>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2200"/>
              <a:buFont typeface="Arial"/>
              <a:buNone/>
            </a:pPr>
            <a:r>
              <a:rPr lang="en-US" dirty="0"/>
              <a:t>Tanzania</a:t>
            </a:r>
            <a:r>
              <a:rPr lang="en-US" sz="2200" b="1" i="0" u="none" strike="noStrike" cap="none" dirty="0">
                <a:solidFill>
                  <a:schemeClr val="dk1"/>
                </a:solidFill>
                <a:latin typeface="Arial"/>
                <a:ea typeface="Arial"/>
                <a:cs typeface="Arial"/>
                <a:sym typeface="Arial"/>
              </a:rPr>
              <a:t>’s Agricultural Agenda is Shaped by a Few Macroeconomic Trends and Contextual Factors </a:t>
            </a:r>
            <a:r>
              <a:rPr lang="en-US" sz="1200" b="1" i="1" u="none" strike="noStrike" cap="none" dirty="0">
                <a:solidFill>
                  <a:schemeClr val="dk1"/>
                </a:solidFill>
                <a:latin typeface="Arial"/>
                <a:ea typeface="Arial"/>
                <a:cs typeface="Arial"/>
                <a:sym typeface="Arial"/>
              </a:rPr>
              <a:t>(1/3)</a:t>
            </a:r>
            <a:endParaRPr sz="1200" b="1" i="1" u="none" strike="noStrike" cap="none" dirty="0">
              <a:solidFill>
                <a:schemeClr val="dk1"/>
              </a:solidFill>
              <a:latin typeface="Arial"/>
              <a:ea typeface="Arial"/>
              <a:cs typeface="Arial"/>
              <a:sym typeface="Arial"/>
            </a:endParaRPr>
          </a:p>
        </p:txBody>
      </p:sp>
      <p:grpSp>
        <p:nvGrpSpPr>
          <p:cNvPr id="16" name="Group 15"/>
          <p:cNvGrpSpPr/>
          <p:nvPr/>
        </p:nvGrpSpPr>
        <p:grpSpPr>
          <a:xfrm>
            <a:off x="310284" y="992479"/>
            <a:ext cx="5056556" cy="5274970"/>
            <a:chOff x="756004" y="1113274"/>
            <a:chExt cx="3199911" cy="1276825"/>
          </a:xfrm>
        </p:grpSpPr>
        <p:sp>
          <p:nvSpPr>
            <p:cNvPr id="17" name="Google Shape;253;p38"/>
            <p:cNvSpPr/>
            <p:nvPr/>
          </p:nvSpPr>
          <p:spPr>
            <a:xfrm>
              <a:off x="756004" y="1113274"/>
              <a:ext cx="3199911" cy="68605"/>
            </a:xfrm>
            <a:prstGeom prst="rect">
              <a:avLst/>
            </a:prstGeom>
            <a:solidFill>
              <a:srgbClr val="3F5F1F"/>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lvl="0"/>
              <a:r>
                <a:rPr lang="en-US" sz="1100" b="1" dirty="0">
                  <a:solidFill>
                    <a:schemeClr val="bg1"/>
                  </a:solidFill>
                </a:rPr>
                <a:t>2</a:t>
              </a:r>
              <a:r>
                <a:rPr lang="en-US" sz="1100" dirty="0">
                  <a:solidFill>
                    <a:schemeClr val="bg1"/>
                  </a:solidFill>
                </a:rPr>
                <a:t>. </a:t>
              </a:r>
              <a:r>
                <a:rPr lang="en-US" sz="1100" b="1" dirty="0">
                  <a:solidFill>
                    <a:schemeClr val="bg1"/>
                  </a:solidFill>
                </a:rPr>
                <a:t>Government Priorities and Key Challenges in the Sector</a:t>
              </a:r>
              <a:endParaRPr lang="en-US" sz="1100" dirty="0">
                <a:solidFill>
                  <a:schemeClr val="bg1"/>
                </a:solidFill>
              </a:endParaRPr>
            </a:p>
          </p:txBody>
        </p:sp>
        <p:sp>
          <p:nvSpPr>
            <p:cNvPr id="18" name="Google Shape;255;p38"/>
            <p:cNvSpPr/>
            <p:nvPr/>
          </p:nvSpPr>
          <p:spPr>
            <a:xfrm>
              <a:off x="756004" y="1181879"/>
              <a:ext cx="3199911" cy="1208220"/>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indent="-171450">
                <a:lnSpc>
                  <a:spcPts val="1400"/>
                </a:lnSpc>
                <a:spcAft>
                  <a:spcPts val="600"/>
                </a:spcAft>
                <a:buClr>
                  <a:schemeClr val="dk1"/>
                </a:buClr>
                <a:buSzPts val="1050"/>
                <a:buFont typeface="Arial" panose="020B0604020202020204" pitchFamily="34" charset="0"/>
                <a:buChar char="•"/>
              </a:pPr>
              <a:r>
                <a:rPr lang="en-US" sz="1100" dirty="0"/>
                <a:t>The Tanzania Ag. Sector faces a myriad of challenges. The key constraints in the sector include poor implementation of existing policies, inadequate sector  coordination, inadequate infrastructure, weak linkages between the public and private sectors, inadequate extension services and low use of productivity enhancing inputs. Tanzania's dependence on rain fed</a:t>
              </a:r>
              <a:r>
                <a:rPr lang="en-US" sz="1100" dirty="0">
                  <a:solidFill>
                    <a:schemeClr val="tx1"/>
                  </a:solidFill>
                </a:rPr>
                <a:t> agriculture </a:t>
              </a:r>
              <a:r>
                <a:rPr lang="en-US" sz="1100" dirty="0" smtClean="0">
                  <a:solidFill>
                    <a:schemeClr val="tx1"/>
                  </a:solidFill>
                </a:rPr>
                <a:t>in all </a:t>
              </a:r>
              <a:r>
                <a:rPr lang="en-US" sz="1100" dirty="0">
                  <a:solidFill>
                    <a:schemeClr val="tx1"/>
                  </a:solidFill>
                </a:rPr>
                <a:t>agro ecological zones puts farmers at risk of crop failure and losses due to the unpredictable weather patterns. Majority of smallholder farmers see weather-related shocks as the greatest risk to their agricultural activities.</a:t>
              </a:r>
            </a:p>
            <a:p>
              <a:pPr marL="171450" indent="-171450">
                <a:lnSpc>
                  <a:spcPts val="1400"/>
                </a:lnSpc>
                <a:spcAft>
                  <a:spcPts val="600"/>
                </a:spcAft>
                <a:buClr>
                  <a:schemeClr val="dk1"/>
                </a:buClr>
                <a:buSzPts val="1050"/>
                <a:buFont typeface="Arial" panose="020B0604020202020204" pitchFamily="34" charset="0"/>
                <a:buChar char="•"/>
              </a:pPr>
              <a:r>
                <a:rPr lang="en-US" sz="1100" dirty="0"/>
                <a:t>Downstream constraints include </a:t>
              </a:r>
              <a:r>
                <a:rPr lang="en-ZA" sz="1100" dirty="0" smtClean="0">
                  <a:solidFill>
                    <a:schemeClr val="tx1"/>
                  </a:solidFill>
                  <a:latin typeface="Arial" panose="020B0604020202020204" pitchFamily="34" charset="0"/>
                  <a:cs typeface="Arial" panose="020B0604020202020204" pitchFamily="34" charset="0"/>
                </a:rPr>
                <a:t>post-harvest </a:t>
              </a:r>
              <a:r>
                <a:rPr lang="en-ZA" sz="1100" dirty="0">
                  <a:solidFill>
                    <a:schemeClr val="tx1"/>
                  </a:solidFill>
                  <a:latin typeface="Arial" panose="020B0604020202020204" pitchFamily="34" charset="0"/>
                  <a:cs typeface="Arial" panose="020B0604020202020204" pitchFamily="34" charset="0"/>
                </a:rPr>
                <a:t>losses </a:t>
              </a:r>
              <a:r>
                <a:rPr lang="en-ZA" sz="1100" dirty="0" smtClean="0">
                  <a:solidFill>
                    <a:schemeClr val="tx1"/>
                  </a:solidFill>
                  <a:latin typeface="Arial" panose="020B0604020202020204" pitchFamily="34" charset="0"/>
                  <a:cs typeface="Arial" panose="020B0604020202020204" pitchFamily="34" charset="0"/>
                </a:rPr>
                <a:t>(though recent trends showing reduction in trends from max of 30% to 20%</a:t>
              </a:r>
              <a:r>
                <a:rPr lang="en-ZA" sz="1100" baseline="30000" dirty="0" smtClean="0">
                  <a:solidFill>
                    <a:schemeClr val="tx1"/>
                  </a:solidFill>
                  <a:latin typeface="Arial" panose="020B0604020202020204" pitchFamily="34" charset="0"/>
                  <a:cs typeface="Arial" panose="020B0604020202020204" pitchFamily="34" charset="0"/>
                </a:rPr>
                <a:t>4</a:t>
              </a:r>
              <a:r>
                <a:rPr lang="en-US" sz="1100" dirty="0"/>
                <a:t>) and inadequate market information. With less than </a:t>
              </a:r>
              <a:r>
                <a:rPr lang="en-US" sz="1100" dirty="0">
                  <a:solidFill>
                    <a:schemeClr val="tx1"/>
                  </a:solidFill>
                  <a:cs typeface="Arial" panose="020B0604020202020204" pitchFamily="34" charset="0"/>
                </a:rPr>
                <a:t>10% of commercial lending going to Agriculture, there is </a:t>
              </a:r>
              <a:r>
                <a:rPr lang="en-US" sz="1100" dirty="0"/>
                <a:t>limited access to credit/finance and insurance for most players in the sector. </a:t>
              </a:r>
              <a:r>
                <a:rPr lang="en-ZA" sz="1100" dirty="0">
                  <a:solidFill>
                    <a:schemeClr val="tx1"/>
                  </a:solidFill>
                  <a:cs typeface="Arial" panose="020B0604020202020204" pitchFamily="34" charset="0"/>
                </a:rPr>
                <a:t>Other challenges in the sector include low levels of mechanization that limits production capacity; f</a:t>
              </a:r>
              <a:r>
                <a:rPr lang="en-ZA" sz="1100" dirty="0">
                  <a:solidFill>
                    <a:prstClr val="black"/>
                  </a:solidFill>
                  <a:cs typeface="Arial" panose="020B0604020202020204" pitchFamily="34" charset="0"/>
                </a:rPr>
                <a:t>or instance, 64% of smallholder farmers cultivate using the hand hoe, 24% by draught animal power and only 12% by tractors. There are also </a:t>
              </a:r>
              <a:r>
                <a:rPr lang="en-ZA" sz="1100" dirty="0">
                  <a:solidFill>
                    <a:schemeClr val="tx1"/>
                  </a:solidFill>
                  <a:cs typeface="Arial" panose="020B0604020202020204" pitchFamily="34" charset="0"/>
                </a:rPr>
                <a:t>s</a:t>
              </a:r>
              <a:r>
                <a:rPr lang="en-US" sz="1100" dirty="0">
                  <a:solidFill>
                    <a:schemeClr val="tx1"/>
                  </a:solidFill>
                  <a:cs typeface="Arial" panose="020B0604020202020204" pitchFamily="34" charset="0"/>
                </a:rPr>
                <a:t>oil fertility challenges </a:t>
              </a:r>
              <a:r>
                <a:rPr lang="en-US" sz="1100" dirty="0" smtClean="0">
                  <a:solidFill>
                    <a:schemeClr val="tx1"/>
                  </a:solidFill>
                  <a:cs typeface="Arial" panose="020B0604020202020204" pitchFamily="34" charset="0"/>
                </a:rPr>
                <a:t>(acidity </a:t>
              </a:r>
              <a:r>
                <a:rPr lang="en-US" sz="1100" dirty="0">
                  <a:solidFill>
                    <a:schemeClr val="tx1"/>
                  </a:solidFill>
                  <a:cs typeface="Arial" panose="020B0604020202020204" pitchFamily="34" charset="0"/>
                </a:rPr>
                <a:t>&amp; salinity) in pockets of areas in the republic. These challenges could have contributed to the poor </a:t>
              </a:r>
              <a:r>
                <a:rPr lang="en-US" sz="1100" dirty="0" err="1">
                  <a:solidFill>
                    <a:schemeClr val="tx1"/>
                  </a:solidFill>
                  <a:cs typeface="Arial" panose="020B0604020202020204" pitchFamily="34" charset="0"/>
                </a:rPr>
                <a:t>CAADP</a:t>
              </a:r>
              <a:r>
                <a:rPr lang="en-US" sz="1100" dirty="0">
                  <a:solidFill>
                    <a:schemeClr val="tx1"/>
                  </a:solidFill>
                  <a:cs typeface="Arial" panose="020B0604020202020204" pitchFamily="34" charset="0"/>
                </a:rPr>
                <a:t> scores by Tanzania.</a:t>
              </a:r>
            </a:p>
            <a:p>
              <a:pPr marL="171450" indent="-171450">
                <a:lnSpc>
                  <a:spcPts val="1400"/>
                </a:lnSpc>
                <a:spcAft>
                  <a:spcPts val="600"/>
                </a:spcAft>
                <a:buClr>
                  <a:schemeClr val="dk1"/>
                </a:buClr>
                <a:buSzPts val="1050"/>
                <a:buFont typeface="Arial" panose="020B0604020202020204" pitchFamily="34" charset="0"/>
                <a:buChar char="•"/>
              </a:pPr>
              <a:r>
                <a:rPr lang="en-US" sz="1100" dirty="0">
                  <a:solidFill>
                    <a:schemeClr val="tx1"/>
                  </a:solidFill>
                </a:rPr>
                <a:t>The government priorities in order to address some of these challenges include:  </a:t>
              </a:r>
              <a:r>
                <a:rPr lang="en-US" sz="1100" dirty="0"/>
                <a:t>Promoting the effective consultative formulation and implementation of key policy and regulatory reforms, increasing sustainable agricultural productivity of crop, livestock/fish and export commodities, stimulating expanded and inclusive private sector-driven development and integration and strengthening institutional development and effectiveness</a:t>
              </a:r>
              <a:r>
                <a:rPr lang="en-ZA" sz="1100" baseline="30000" dirty="0">
                  <a:solidFill>
                    <a:schemeClr val="tx1"/>
                  </a:solidFill>
                </a:rPr>
                <a:t>1. </a:t>
              </a:r>
              <a:r>
                <a:rPr lang="en-ZA" sz="1100" dirty="0"/>
                <a:t>T</a:t>
              </a:r>
              <a:r>
                <a:rPr lang="en-ZA" sz="1100" dirty="0" smtClean="0"/>
                <a:t>hese </a:t>
              </a:r>
              <a:r>
                <a:rPr lang="en-ZA" sz="1100" dirty="0"/>
                <a:t>are </a:t>
              </a:r>
              <a:r>
                <a:rPr lang="en-US" sz="1100" dirty="0"/>
                <a:t>articulated in the Agricultural Sector Development Strategy II</a:t>
              </a:r>
              <a:r>
                <a:rPr lang="en-US" sz="1100" dirty="0" smtClean="0"/>
                <a:t>.</a:t>
              </a:r>
              <a:endParaRPr lang="en-US" sz="1100" dirty="0">
                <a:solidFill>
                  <a:schemeClr val="accent6"/>
                </a:solidFill>
              </a:endParaRPr>
            </a:p>
          </p:txBody>
        </p:sp>
      </p:grpSp>
      <p:sp>
        <p:nvSpPr>
          <p:cNvPr id="13" name="TextBox 12"/>
          <p:cNvSpPr txBox="1"/>
          <p:nvPr/>
        </p:nvSpPr>
        <p:spPr>
          <a:xfrm>
            <a:off x="707701" y="6331547"/>
            <a:ext cx="8044735" cy="215444"/>
          </a:xfrm>
          <a:prstGeom prst="rect">
            <a:avLst/>
          </a:prstGeom>
          <a:noFill/>
        </p:spPr>
        <p:txBody>
          <a:bodyPr wrap="square" rtlCol="0">
            <a:spAutoFit/>
          </a:bodyPr>
          <a:lstStyle/>
          <a:p>
            <a:r>
              <a:rPr lang="en-US" sz="800" dirty="0">
                <a:solidFill>
                  <a:schemeClr val="tx1"/>
                </a:solidFill>
              </a:rPr>
              <a:t>Sources: 1: </a:t>
            </a:r>
            <a:r>
              <a:rPr lang="en-US" sz="800" dirty="0">
                <a:solidFill>
                  <a:schemeClr val="tx1"/>
                </a:solidFill>
                <a:hlinkClick r:id="rId8"/>
              </a:rPr>
              <a:t>http://www.tzdpg.or.tz/fileadmin/documents/external/national_development_frameworks/ASDP2_Final_Document_20_May._2016__after_edit__1_.pdf</a:t>
            </a:r>
            <a:r>
              <a:rPr lang="en-US" sz="800" dirty="0">
                <a:solidFill>
                  <a:schemeClr val="tx1"/>
                </a:solidFill>
              </a:rPr>
              <a:t> </a:t>
            </a:r>
          </a:p>
        </p:txBody>
      </p:sp>
      <p:pic>
        <p:nvPicPr>
          <p:cNvPr id="3" name="Picture 2"/>
          <p:cNvPicPr>
            <a:picLocks noChangeAspect="1"/>
          </p:cNvPicPr>
          <p:nvPr/>
        </p:nvPicPr>
        <p:blipFill>
          <a:blip r:embed="rId9"/>
          <a:stretch>
            <a:fillRect/>
          </a:stretch>
        </p:blipFill>
        <p:spPr>
          <a:xfrm>
            <a:off x="5454018" y="992480"/>
            <a:ext cx="3700593" cy="5227714"/>
          </a:xfrm>
          <a:prstGeom prst="rect">
            <a:avLst/>
          </a:prstGeom>
        </p:spPr>
      </p:pic>
    </p:spTree>
    <p:extLst>
      <p:ext uri="{BB962C8B-B14F-4D97-AF65-F5344CB8AC3E}">
        <p14:creationId xmlns:p14="http://schemas.microsoft.com/office/powerpoint/2010/main" val="28523601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68011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626" name="think-cell Slide" r:id="rId6" imgW="395" imgH="396" progId="TCLayout.ActiveDocument.1">
                  <p:embed/>
                </p:oleObj>
              </mc:Choice>
              <mc:Fallback>
                <p:oleObj name="think-cell Slide" r:id="rId6" imgW="395" imgH="39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mn-cs"/>
              <a:sym typeface="+mn-lt"/>
            </a:endParaRPr>
          </a:p>
        </p:txBody>
      </p:sp>
      <p:pic>
        <p:nvPicPr>
          <p:cNvPr id="251" name="Google Shape;251;p38"/>
          <p:cNvPicPr preferRelativeResize="0"/>
          <p:nvPr/>
        </p:nvPicPr>
        <p:blipFill rotWithShape="1">
          <a:blip r:embed="rId8">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a:xfrm>
            <a:off x="450741" y="134054"/>
            <a:ext cx="7762081" cy="582389"/>
          </a:xfrm>
        </p:spPr>
        <p:txBody>
          <a:bodyPr/>
          <a:lstStyle/>
          <a:p>
            <a:pPr lvl="0"/>
            <a:r>
              <a:rPr lang="en-US" sz="2000" dirty="0"/>
              <a:t>CAADP biennial review shows that the country is </a:t>
            </a:r>
            <a:r>
              <a:rPr lang="en-US" sz="2000" dirty="0" smtClean="0">
                <a:solidFill>
                  <a:srgbClr val="FF0000"/>
                </a:solidFill>
              </a:rPr>
              <a:t>not</a:t>
            </a:r>
            <a:r>
              <a:rPr lang="en-US" sz="2000" dirty="0" smtClean="0"/>
              <a:t> on-track </a:t>
            </a:r>
            <a:r>
              <a:rPr lang="en-US" sz="2000" dirty="0"/>
              <a:t>and should emphasize ending hunger and boosting trade</a:t>
            </a:r>
            <a:endParaRPr lang="en-US" sz="2000" dirty="0">
              <a:sym typeface="Arial"/>
            </a:endParaRPr>
          </a:p>
        </p:txBody>
      </p:sp>
      <p:sp>
        <p:nvSpPr>
          <p:cNvPr id="6" name="Text Placeholder 5"/>
          <p:cNvSpPr>
            <a:spLocks noGrp="1"/>
          </p:cNvSpPr>
          <p:nvPr>
            <p:ph type="body" sz="quarter" idx="13"/>
          </p:nvPr>
        </p:nvSpPr>
        <p:spPr>
          <a:xfrm>
            <a:off x="450276" y="3347207"/>
            <a:ext cx="9005453" cy="3095538"/>
          </a:xfrm>
        </p:spPr>
        <p:txBody>
          <a:bodyPr/>
          <a:lstStyle/>
          <a:p>
            <a:pPr marL="0" indent="0">
              <a:lnSpc>
                <a:spcPts val="1200"/>
              </a:lnSpc>
              <a:spcBef>
                <a:spcPts val="0"/>
              </a:spcBef>
              <a:spcAft>
                <a:spcPts val="300"/>
              </a:spcAft>
              <a:buNone/>
            </a:pPr>
            <a:r>
              <a:rPr lang="en-US" sz="1200" kern="0" dirty="0">
                <a:solidFill>
                  <a:srgbClr val="000000"/>
                </a:solidFill>
                <a:latin typeface="Arial"/>
                <a:cs typeface="Arial"/>
                <a:sym typeface="Arial"/>
              </a:rPr>
              <a:t>Coming out of the Biennial review process in 2018, Tanzania </a:t>
            </a:r>
            <a:r>
              <a:rPr lang="en-US" sz="1200" kern="0" dirty="0" smtClean="0">
                <a:solidFill>
                  <a:srgbClr val="000000"/>
                </a:solidFill>
                <a:latin typeface="Arial"/>
                <a:cs typeface="Arial"/>
                <a:sym typeface="Arial"/>
              </a:rPr>
              <a:t>had recommendations and priorities for </a:t>
            </a:r>
            <a:r>
              <a:rPr lang="en-US" sz="1200" kern="0" dirty="0">
                <a:solidFill>
                  <a:srgbClr val="000000"/>
                </a:solidFill>
                <a:latin typeface="Arial"/>
                <a:cs typeface="Arial"/>
                <a:sym typeface="Arial"/>
              </a:rPr>
              <a:t>the next 2 years</a:t>
            </a:r>
            <a:r>
              <a:rPr lang="en-US" sz="1200" kern="0" dirty="0" smtClean="0">
                <a:solidFill>
                  <a:srgbClr val="000000"/>
                </a:solidFill>
                <a:latin typeface="Arial"/>
                <a:cs typeface="Arial"/>
                <a:sym typeface="Arial"/>
              </a:rPr>
              <a:t>:</a:t>
            </a:r>
          </a:p>
          <a:p>
            <a:pPr marL="0" indent="0">
              <a:lnSpc>
                <a:spcPts val="1200"/>
              </a:lnSpc>
              <a:spcBef>
                <a:spcPts val="0"/>
              </a:spcBef>
              <a:spcAft>
                <a:spcPts val="300"/>
              </a:spcAft>
              <a:buNone/>
            </a:pPr>
            <a:r>
              <a:rPr lang="en-US" sz="1200" b="1" dirty="0"/>
              <a:t>Recommendations </a:t>
            </a:r>
            <a:endParaRPr lang="en-US" sz="1200" dirty="0"/>
          </a:p>
          <a:p>
            <a:pPr lvl="0">
              <a:lnSpc>
                <a:spcPts val="1200"/>
              </a:lnSpc>
              <a:spcBef>
                <a:spcPts val="0"/>
              </a:spcBef>
              <a:spcAft>
                <a:spcPts val="300"/>
              </a:spcAft>
            </a:pPr>
            <a:r>
              <a:rPr lang="en-US" sz="1200" kern="0" dirty="0">
                <a:solidFill>
                  <a:srgbClr val="000000"/>
                </a:solidFill>
                <a:latin typeface="Arial"/>
                <a:cs typeface="Arial"/>
              </a:rPr>
              <a:t>Tanzania should increase its spending in agriculture sector to meet the </a:t>
            </a:r>
            <a:r>
              <a:rPr lang="en-US" sz="1200" kern="0" dirty="0" err="1">
                <a:solidFill>
                  <a:srgbClr val="000000"/>
                </a:solidFill>
                <a:latin typeface="Arial"/>
                <a:cs typeface="Arial"/>
              </a:rPr>
              <a:t>CAADP</a:t>
            </a:r>
            <a:r>
              <a:rPr lang="en-US" sz="1200" kern="0" dirty="0">
                <a:solidFill>
                  <a:srgbClr val="000000"/>
                </a:solidFill>
                <a:latin typeface="Arial"/>
                <a:cs typeface="Arial"/>
              </a:rPr>
              <a:t> Malabo target of 10%, and increase funding to research and development activities in order to enhance productivity.</a:t>
            </a:r>
          </a:p>
          <a:p>
            <a:pPr lvl="0">
              <a:lnSpc>
                <a:spcPts val="1200"/>
              </a:lnSpc>
              <a:spcBef>
                <a:spcPts val="0"/>
              </a:spcBef>
              <a:spcAft>
                <a:spcPts val="300"/>
              </a:spcAft>
            </a:pPr>
            <a:r>
              <a:rPr lang="en-US" sz="1200" kern="0" dirty="0">
                <a:solidFill>
                  <a:srgbClr val="000000"/>
                </a:solidFill>
                <a:latin typeface="Arial"/>
                <a:cs typeface="Arial"/>
              </a:rPr>
              <a:t>The country should establish evidence-based policies, supportive institutions and corresponding human resources that support planning and implementation to deliver on the Malabo commitments.</a:t>
            </a:r>
          </a:p>
          <a:p>
            <a:pPr lvl="0">
              <a:lnSpc>
                <a:spcPts val="1200"/>
              </a:lnSpc>
              <a:spcBef>
                <a:spcPts val="0"/>
              </a:spcBef>
              <a:spcAft>
                <a:spcPts val="300"/>
              </a:spcAft>
            </a:pPr>
            <a:r>
              <a:rPr lang="en-US" sz="1200" kern="0" dirty="0">
                <a:solidFill>
                  <a:srgbClr val="000000"/>
                </a:solidFill>
                <a:latin typeface="Arial"/>
                <a:cs typeface="Arial"/>
              </a:rPr>
              <a:t>The country should put in place policies that would facilitate and promote intra-regional African trade in agricultural commodities and services.</a:t>
            </a:r>
          </a:p>
          <a:p>
            <a:pPr marL="0" indent="0">
              <a:lnSpc>
                <a:spcPts val="1200"/>
              </a:lnSpc>
              <a:spcBef>
                <a:spcPts val="0"/>
              </a:spcBef>
              <a:spcAft>
                <a:spcPts val="300"/>
              </a:spcAft>
              <a:buNone/>
            </a:pPr>
            <a:r>
              <a:rPr lang="en-US" sz="1200" b="1" kern="0" dirty="0" smtClean="0">
                <a:solidFill>
                  <a:srgbClr val="000000"/>
                </a:solidFill>
                <a:latin typeface="Arial"/>
                <a:cs typeface="Arial"/>
                <a:sym typeface="Arial"/>
              </a:rPr>
              <a:t>Priorities for the next two years:</a:t>
            </a:r>
            <a:endParaRPr lang="en-US" sz="1200" b="1" kern="0" dirty="0">
              <a:solidFill>
                <a:srgbClr val="000000"/>
              </a:solidFill>
              <a:latin typeface="Arial"/>
              <a:cs typeface="Arial"/>
              <a:sym typeface="Arial"/>
            </a:endParaRPr>
          </a:p>
          <a:p>
            <a:pPr marL="342900" lvl="0" indent="-342900">
              <a:lnSpc>
                <a:spcPts val="1200"/>
              </a:lnSpc>
              <a:spcBef>
                <a:spcPts val="0"/>
              </a:spcBef>
              <a:spcAft>
                <a:spcPts val="300"/>
              </a:spcAft>
              <a:buFont typeface="+mj-lt"/>
              <a:buAutoNum type="arabicPeriod"/>
            </a:pPr>
            <a:r>
              <a:rPr lang="en-US" sz="1200" dirty="0" smtClean="0"/>
              <a:t>Sustainable </a:t>
            </a:r>
            <a:r>
              <a:rPr lang="en-US" sz="1200" dirty="0"/>
              <a:t>food and nutrition security</a:t>
            </a:r>
          </a:p>
          <a:p>
            <a:pPr lvl="2">
              <a:lnSpc>
                <a:spcPts val="1200"/>
              </a:lnSpc>
              <a:spcBef>
                <a:spcPts val="0"/>
              </a:spcBef>
              <a:spcAft>
                <a:spcPts val="300"/>
              </a:spcAft>
              <a:buFont typeface="Arial" panose="020B0604020202020204" pitchFamily="34" charset="0"/>
              <a:buChar char="•"/>
            </a:pPr>
            <a:r>
              <a:rPr lang="en-US" sz="1200" dirty="0"/>
              <a:t>Increasing production and productivity</a:t>
            </a:r>
          </a:p>
          <a:p>
            <a:pPr lvl="2">
              <a:lnSpc>
                <a:spcPts val="1200"/>
              </a:lnSpc>
              <a:spcBef>
                <a:spcPts val="0"/>
              </a:spcBef>
              <a:spcAft>
                <a:spcPts val="300"/>
              </a:spcAft>
              <a:buFont typeface="Arial" panose="020B0604020202020204" pitchFamily="34" charset="0"/>
              <a:buChar char="•"/>
            </a:pPr>
            <a:r>
              <a:rPr lang="en-US" sz="1200" dirty="0"/>
              <a:t>Improving agro processing and market access</a:t>
            </a:r>
          </a:p>
          <a:p>
            <a:pPr lvl="2">
              <a:lnSpc>
                <a:spcPts val="1200"/>
              </a:lnSpc>
              <a:spcBef>
                <a:spcPts val="0"/>
              </a:spcBef>
              <a:spcAft>
                <a:spcPts val="300"/>
              </a:spcAft>
              <a:buFont typeface="Arial" panose="020B0604020202020204" pitchFamily="34" charset="0"/>
              <a:buChar char="•"/>
            </a:pPr>
            <a:r>
              <a:rPr lang="en-US" sz="1200" dirty="0"/>
              <a:t>Promote post-harvest loss management</a:t>
            </a:r>
          </a:p>
          <a:p>
            <a:pPr marL="342900" indent="-342900">
              <a:lnSpc>
                <a:spcPts val="1200"/>
              </a:lnSpc>
              <a:spcBef>
                <a:spcPts val="0"/>
              </a:spcBef>
              <a:spcAft>
                <a:spcPts val="300"/>
              </a:spcAft>
              <a:buFont typeface="+mj-lt"/>
              <a:buAutoNum type="arabicPeriod"/>
            </a:pPr>
            <a:r>
              <a:rPr lang="en-US" sz="1200" kern="0" dirty="0">
                <a:solidFill>
                  <a:srgbClr val="000000"/>
                </a:solidFill>
                <a:latin typeface="Arial"/>
                <a:cs typeface="Arial"/>
              </a:rPr>
              <a:t>Increase investments in agriculture</a:t>
            </a:r>
          </a:p>
          <a:p>
            <a:pPr lvl="2">
              <a:lnSpc>
                <a:spcPts val="1200"/>
              </a:lnSpc>
              <a:spcBef>
                <a:spcPts val="0"/>
              </a:spcBef>
              <a:spcAft>
                <a:spcPts val="300"/>
              </a:spcAft>
              <a:buFont typeface="Arial" panose="020B0604020202020204" pitchFamily="34" charset="0"/>
              <a:buChar char="•"/>
            </a:pPr>
            <a:r>
              <a:rPr lang="en-US" sz="1200" dirty="0"/>
              <a:t>Intensify resource mobilization and allocation of public budget to agriculture</a:t>
            </a:r>
          </a:p>
          <a:p>
            <a:pPr marL="342900" lvl="0" indent="-342900">
              <a:lnSpc>
                <a:spcPts val="1200"/>
              </a:lnSpc>
              <a:spcBef>
                <a:spcPts val="0"/>
              </a:spcBef>
              <a:spcAft>
                <a:spcPts val="300"/>
              </a:spcAft>
              <a:buFont typeface="+mj-lt"/>
              <a:buAutoNum type="arabicPeriod"/>
            </a:pPr>
            <a:r>
              <a:rPr lang="en-US" sz="1200" kern="0" dirty="0">
                <a:solidFill>
                  <a:srgbClr val="000000"/>
                </a:solidFill>
                <a:latin typeface="Arial"/>
                <a:cs typeface="Arial"/>
              </a:rPr>
              <a:t>Improve</a:t>
            </a:r>
            <a:r>
              <a:rPr lang="en-US" sz="1200" dirty="0"/>
              <a:t> national statistics system for capturing data in the agricultural </a:t>
            </a:r>
            <a:r>
              <a:rPr lang="en-US" sz="1200" dirty="0" smtClean="0"/>
              <a:t>sector</a:t>
            </a:r>
            <a:endParaRPr lang="en-US" sz="1200" dirty="0"/>
          </a:p>
        </p:txBody>
      </p:sp>
      <p:grpSp>
        <p:nvGrpSpPr>
          <p:cNvPr id="27" name="Group 26"/>
          <p:cNvGrpSpPr/>
          <p:nvPr/>
        </p:nvGrpSpPr>
        <p:grpSpPr>
          <a:xfrm>
            <a:off x="450741" y="1051474"/>
            <a:ext cx="4742446" cy="2199436"/>
            <a:chOff x="756004" y="1113274"/>
            <a:chExt cx="3003263" cy="1114771"/>
          </a:xfrm>
        </p:grpSpPr>
        <p:sp>
          <p:nvSpPr>
            <p:cNvPr id="28" name="Google Shape;253;p38"/>
            <p:cNvSpPr/>
            <p:nvPr/>
          </p:nvSpPr>
          <p:spPr>
            <a:xfrm>
              <a:off x="756004" y="1113274"/>
              <a:ext cx="3003263" cy="193310"/>
            </a:xfrm>
            <a:prstGeom prst="rect">
              <a:avLst/>
            </a:prstGeom>
            <a:solidFill>
              <a:srgbClr val="E1EFD8"/>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0" cap="none" spc="0" normalizeH="0" baseline="0" noProof="0" dirty="0" smtClean="0">
                  <a:ln>
                    <a:noFill/>
                  </a:ln>
                  <a:solidFill>
                    <a:srgbClr val="000000"/>
                  </a:solidFill>
                  <a:effectLst/>
                  <a:uLnTx/>
                  <a:uFillTx/>
                  <a:latin typeface="Arial"/>
                  <a:cs typeface="Arial"/>
                  <a:sym typeface="Arial"/>
                </a:rPr>
                <a:t>Government Priorities from BRR Review</a:t>
              </a:r>
              <a:endParaRPr kumimoji="0" sz="1100" b="0" i="0" u="none" strike="noStrike" kern="0" cap="none" spc="0" normalizeH="0" baseline="0" noProof="0" dirty="0">
                <a:ln>
                  <a:noFill/>
                </a:ln>
                <a:solidFill>
                  <a:srgbClr val="000000"/>
                </a:solidFill>
                <a:effectLst/>
                <a:uLnTx/>
                <a:uFillTx/>
                <a:latin typeface="Arial"/>
                <a:cs typeface="Arial"/>
                <a:sym typeface="Arial"/>
              </a:endParaRPr>
            </a:p>
          </p:txBody>
        </p:sp>
        <p:sp>
          <p:nvSpPr>
            <p:cNvPr id="29" name="Google Shape;255;p38"/>
            <p:cNvSpPr/>
            <p:nvPr/>
          </p:nvSpPr>
          <p:spPr>
            <a:xfrm>
              <a:off x="756004" y="1306584"/>
              <a:ext cx="3003263" cy="921461"/>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marR="0" lvl="0" indent="-171450" algn="just" defTabSz="914400" rtl="0" eaLnBrk="1" fontAlgn="auto" latinLnBrk="0" hangingPunct="1">
                <a:lnSpc>
                  <a:spcPct val="100000"/>
                </a:lnSpc>
                <a:spcBef>
                  <a:spcPts val="0"/>
                </a:spcBef>
                <a:spcAft>
                  <a:spcPts val="0"/>
                </a:spcAft>
                <a:buClr>
                  <a:srgbClr val="385623"/>
                </a:buClr>
                <a:buSzPts val="1050"/>
                <a:buFont typeface="Arial" panose="020B0604020202020204" pitchFamily="34" charset="0"/>
                <a:buChar char="•"/>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The AU, </a:t>
              </a:r>
              <a:r>
                <a:rPr kumimoji="0" lang="en-US" sz="1200" b="0" i="0" u="none" strike="noStrike" kern="0" cap="none" spc="0" normalizeH="0" baseline="0" noProof="0" dirty="0">
                  <a:ln>
                    <a:noFill/>
                  </a:ln>
                  <a:solidFill>
                    <a:srgbClr val="000000"/>
                  </a:solidFill>
                  <a:effectLst/>
                  <a:uLnTx/>
                  <a:uFillTx/>
                  <a:latin typeface="Arial"/>
                  <a:cs typeface="Arial"/>
                  <a:sym typeface="Arial"/>
                </a:rPr>
                <a:t>through </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the CAADP process using </a:t>
              </a:r>
              <a:r>
                <a:rPr kumimoji="0" lang="en-US" sz="1200" b="0" i="0" u="none" strike="noStrike" kern="0" cap="none" spc="0" normalizeH="0" baseline="0" noProof="0" dirty="0">
                  <a:ln>
                    <a:noFill/>
                  </a:ln>
                  <a:solidFill>
                    <a:srgbClr val="000000"/>
                  </a:solidFill>
                  <a:effectLst/>
                  <a:uLnTx/>
                  <a:uFillTx/>
                  <a:latin typeface="Arial"/>
                  <a:cs typeface="Arial"/>
                  <a:sym typeface="Arial"/>
                </a:rPr>
                <a:t>the Biennial Review Rating (BRR</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a:t>
              </a:r>
              <a:r>
                <a:rPr kumimoji="0" lang="en-US" sz="1200" b="0" i="0" u="none" strike="noStrike" kern="0" cap="none" spc="0" normalizeH="0" baseline="0" noProof="0" dirty="0">
                  <a:ln>
                    <a:noFill/>
                  </a:ln>
                  <a:solidFill>
                    <a:srgbClr val="000000"/>
                  </a:solidFill>
                  <a:effectLst/>
                  <a:uLnTx/>
                  <a:uFillTx/>
                  <a:latin typeface="Arial"/>
                  <a:cs typeface="Arial"/>
                  <a:sym typeface="Arial"/>
                </a:rPr>
                <a:t>is tracking </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countries</a:t>
              </a:r>
              <a:r>
                <a:rPr kumimoji="0" lang="en-US" sz="1200" b="0" i="0" u="none" strike="noStrike" kern="0" cap="none" spc="0" normalizeH="0" baseline="0" noProof="0" dirty="0">
                  <a:ln>
                    <a:noFill/>
                  </a:ln>
                  <a:solidFill>
                    <a:srgbClr val="000000"/>
                  </a:solidFill>
                  <a:effectLst/>
                  <a:uLnTx/>
                  <a:uFillTx/>
                  <a:latin typeface="Arial"/>
                  <a:cs typeface="Arial"/>
                  <a:sym typeface="Arial"/>
                </a:rPr>
                <a:t>’ progress towards </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the 7 </a:t>
              </a:r>
              <a:r>
                <a:rPr kumimoji="0" lang="en-US" sz="1200" b="0" i="0" u="none" strike="noStrike" kern="0" cap="none" spc="0" normalizeH="0" baseline="0" noProof="0" dirty="0">
                  <a:ln>
                    <a:noFill/>
                  </a:ln>
                  <a:solidFill>
                    <a:srgbClr val="000000"/>
                  </a:solidFill>
                  <a:effectLst/>
                  <a:uLnTx/>
                  <a:uFillTx/>
                  <a:latin typeface="Arial"/>
                  <a:cs typeface="Arial"/>
                  <a:sym typeface="Arial"/>
                </a:rPr>
                <a:t>(seven) </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commitments. The </a:t>
              </a:r>
              <a:r>
                <a:rPr kumimoji="0" lang="en-US" sz="1200" b="0" i="0" u="none" strike="noStrike" kern="0" cap="none" spc="0" normalizeH="0" baseline="0" noProof="0" dirty="0">
                  <a:ln>
                    <a:noFill/>
                  </a:ln>
                  <a:solidFill>
                    <a:srgbClr val="000000"/>
                  </a:solidFill>
                  <a:effectLst/>
                  <a:uLnTx/>
                  <a:uFillTx/>
                  <a:latin typeface="Arial"/>
                  <a:cs typeface="Arial"/>
                  <a:sym typeface="Arial"/>
                </a:rPr>
                <a:t>first review conducted in 2017 and launched in 2018 rated </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Tanzania </a:t>
              </a:r>
              <a:r>
                <a:rPr kumimoji="0" lang="en-US" sz="1200" b="0" i="0" u="none" strike="noStrike" kern="0" cap="none" spc="0" normalizeH="0" baseline="0" noProof="0" dirty="0">
                  <a:ln>
                    <a:noFill/>
                  </a:ln>
                  <a:solidFill>
                    <a:srgbClr val="000000"/>
                  </a:solidFill>
                  <a:effectLst/>
                  <a:uLnTx/>
                  <a:uFillTx/>
                  <a:latin typeface="Arial"/>
                  <a:cs typeface="Arial"/>
                  <a:sym typeface="Arial"/>
                </a:rPr>
                <a:t>at </a:t>
              </a:r>
              <a:r>
                <a:rPr kumimoji="0" lang="en-US" sz="1200" b="1" i="0" u="sng" strike="noStrike" kern="0" cap="none" spc="0" normalizeH="0" baseline="0" noProof="0" dirty="0" smtClean="0">
                  <a:ln>
                    <a:noFill/>
                  </a:ln>
                  <a:solidFill>
                    <a:srgbClr val="FF0000"/>
                  </a:solidFill>
                  <a:effectLst/>
                  <a:uLnTx/>
                  <a:uFillTx/>
                  <a:latin typeface="Arial"/>
                  <a:cs typeface="Arial"/>
                  <a:sym typeface="Arial"/>
                </a:rPr>
                <a:t>3.1</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a:t>
              </a:r>
              <a:r>
                <a:rPr kumimoji="0" lang="en-US" sz="1200" b="0" i="0" u="none" strike="noStrike" kern="0" cap="none" spc="0" normalizeH="0" baseline="0" noProof="0" dirty="0">
                  <a:ln>
                    <a:noFill/>
                  </a:ln>
                  <a:solidFill>
                    <a:srgbClr val="000000"/>
                  </a:solidFill>
                  <a:effectLst/>
                  <a:uLnTx/>
                  <a:uFillTx/>
                  <a:latin typeface="Arial"/>
                  <a:cs typeface="Arial"/>
                  <a:sym typeface="Arial"/>
                </a:rPr>
                <a:t>against a benchmark of </a:t>
              </a:r>
              <a:r>
                <a:rPr kumimoji="0" lang="en-US" sz="1200" b="1" i="0" u="sng" strike="noStrike" kern="0" cap="none" spc="0" normalizeH="0" baseline="0" noProof="0" dirty="0" smtClean="0">
                  <a:ln>
                    <a:noFill/>
                  </a:ln>
                  <a:solidFill>
                    <a:srgbClr val="FF0000"/>
                  </a:solidFill>
                  <a:effectLst/>
                  <a:uLnTx/>
                  <a:uFillTx/>
                  <a:latin typeface="Arial"/>
                  <a:cs typeface="Arial"/>
                  <a:sym typeface="Arial"/>
                </a:rPr>
                <a:t>3.9</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a:t>
              </a:r>
              <a:r>
                <a:rPr kumimoji="0" lang="en-US" sz="1200" b="0" i="0" u="none" strike="noStrike" kern="0" cap="none" spc="0" normalizeH="0" baseline="0" noProof="0" dirty="0">
                  <a:ln>
                    <a:noFill/>
                  </a:ln>
                  <a:solidFill>
                    <a:srgbClr val="000000"/>
                  </a:solidFill>
                  <a:effectLst/>
                  <a:uLnTx/>
                  <a:uFillTx/>
                  <a:latin typeface="Arial"/>
                  <a:cs typeface="Arial"/>
                  <a:sym typeface="Arial"/>
                </a:rPr>
                <a:t>in 2017 - the average rating a country should score to show positive progress towards achievement of its 2025 targets.  This rating means that </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Tanzania’s </a:t>
              </a:r>
              <a:r>
                <a:rPr kumimoji="0" lang="en-US" sz="1200" b="0" i="0" u="none" strike="noStrike" kern="0" cap="none" spc="0" normalizeH="0" baseline="0" noProof="0" dirty="0">
                  <a:ln>
                    <a:noFill/>
                  </a:ln>
                  <a:solidFill>
                    <a:srgbClr val="000000"/>
                  </a:solidFill>
                  <a:effectLst/>
                  <a:uLnTx/>
                  <a:uFillTx/>
                  <a:latin typeface="Arial"/>
                  <a:cs typeface="Arial"/>
                  <a:sym typeface="Arial"/>
                </a:rPr>
                <a:t>performance is </a:t>
              </a:r>
              <a:r>
                <a:rPr lang="en-US" sz="1200" b="1" u="sng" dirty="0" smtClean="0">
                  <a:solidFill>
                    <a:srgbClr val="FF0000"/>
                  </a:solidFill>
                </a:rPr>
                <a:t>not o</a:t>
              </a:r>
              <a:r>
                <a:rPr kumimoji="0" lang="en-US" sz="1200" b="1" i="0" u="sng" strike="noStrike" kern="0" cap="none" spc="0" normalizeH="0" baseline="0" noProof="0" dirty="0" smtClean="0">
                  <a:ln>
                    <a:noFill/>
                  </a:ln>
                  <a:solidFill>
                    <a:srgbClr val="FF0000"/>
                  </a:solidFill>
                  <a:effectLst/>
                  <a:uLnTx/>
                  <a:uFillTx/>
                  <a:latin typeface="Arial"/>
                  <a:cs typeface="Arial"/>
                  <a:sym typeface="Arial"/>
                </a:rPr>
                <a:t>n track </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and </a:t>
              </a:r>
              <a:r>
                <a:rPr kumimoji="0" lang="en-US" sz="1200" b="0" i="0" u="none" strike="noStrike" kern="0" cap="none" spc="0" normalizeH="0" baseline="0" noProof="0" dirty="0">
                  <a:ln>
                    <a:noFill/>
                  </a:ln>
                  <a:solidFill>
                    <a:srgbClr val="000000"/>
                  </a:solidFill>
                  <a:effectLst/>
                  <a:uLnTx/>
                  <a:uFillTx/>
                  <a:latin typeface="Arial"/>
                  <a:cs typeface="Arial"/>
                  <a:sym typeface="Arial"/>
                </a:rPr>
                <a:t>it is hoped this performance will be </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improved and surpassed </a:t>
              </a:r>
              <a:r>
                <a:rPr kumimoji="0" lang="en-US" sz="1200" b="0" i="0" u="none" strike="noStrike" kern="0" cap="none" spc="0" normalizeH="0" baseline="0" noProof="0" dirty="0">
                  <a:ln>
                    <a:noFill/>
                  </a:ln>
                  <a:solidFill>
                    <a:srgbClr val="000000"/>
                  </a:solidFill>
                  <a:effectLst/>
                  <a:uLnTx/>
                  <a:uFillTx/>
                  <a:latin typeface="Arial"/>
                  <a:cs typeface="Arial"/>
                  <a:sym typeface="Arial"/>
                </a:rPr>
                <a:t>during the next review scheduled for 2020</a:t>
              </a:r>
              <a:r>
                <a:rPr kumimoji="0" lang="en-US" sz="1200" b="0" i="0" u="none" strike="noStrike" kern="0" cap="none" spc="0" normalizeH="0" baseline="30000" noProof="0" dirty="0">
                  <a:ln>
                    <a:noFill/>
                  </a:ln>
                  <a:solidFill>
                    <a:srgbClr val="000000"/>
                  </a:solidFill>
                  <a:effectLst/>
                  <a:uLnTx/>
                  <a:uFillTx/>
                  <a:latin typeface="Arial"/>
                  <a:cs typeface="Arial"/>
                  <a:sym typeface="Arial"/>
                </a:rPr>
                <a:t>9</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endParaRPr kumimoji="0" lang="en-US" sz="1200" b="0" i="0" u="none" strike="noStrike" kern="0" cap="none" spc="0" normalizeH="0" baseline="0" noProof="0" dirty="0" smtClean="0">
                <a:ln>
                  <a:noFill/>
                </a:ln>
                <a:solidFill>
                  <a:srgbClr val="FF0000"/>
                </a:solidFill>
                <a:effectLst/>
                <a:uLnTx/>
                <a:uFillTx/>
                <a:latin typeface="Arial"/>
                <a:ea typeface="MS Mincho" panose="02020609040205080304" pitchFamily="49" charset="-128"/>
                <a:cs typeface="Arial" panose="020B0604020202020204" pitchFamily="34" charset="0"/>
                <a:sym typeface="Arial"/>
              </a:endParaRPr>
            </a:p>
          </p:txBody>
        </p:sp>
      </p:grpSp>
      <p:pic>
        <p:nvPicPr>
          <p:cNvPr id="5" name="Picture 4"/>
          <p:cNvPicPr>
            <a:picLocks noChangeAspect="1"/>
          </p:cNvPicPr>
          <p:nvPr/>
        </p:nvPicPr>
        <p:blipFill>
          <a:blip r:embed="rId9"/>
          <a:stretch>
            <a:fillRect/>
          </a:stretch>
        </p:blipFill>
        <p:spPr>
          <a:xfrm>
            <a:off x="5193187" y="1046854"/>
            <a:ext cx="3992255" cy="2390030"/>
          </a:xfrm>
          <a:prstGeom prst="rect">
            <a:avLst/>
          </a:prstGeom>
        </p:spPr>
      </p:pic>
    </p:spTree>
    <p:extLst>
      <p:ext uri="{BB962C8B-B14F-4D97-AF65-F5344CB8AC3E}">
        <p14:creationId xmlns:p14="http://schemas.microsoft.com/office/powerpoint/2010/main" val="78402831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608" name="think-cell Slide" r:id="rId5" imgW="395" imgH="396" progId="TCLayout.ActiveDocument.1">
                  <p:embed/>
                </p:oleObj>
              </mc:Choice>
              <mc:Fallback>
                <p:oleObj name="think-cell Slide" r:id="rId5" imgW="395" imgH="39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1" name="Google Shape;251;p38"/>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a:xfrm>
            <a:off x="450741" y="134054"/>
            <a:ext cx="7245459" cy="582389"/>
          </a:xfrm>
          <a:prstGeom prst="rect">
            <a:avLst/>
          </a:prstGeom>
        </p:spPr>
        <p:txBody>
          <a:bodyPr lIns="0" tIns="0" rIns="0" bIns="0" anchor="b"/>
          <a:lstStyle/>
          <a:p>
            <a:pPr defTabSz="914395">
              <a:spcBef>
                <a:spcPct val="0"/>
              </a:spcBef>
              <a:buClrTx/>
              <a:buSzTx/>
              <a:buFontTx/>
            </a:pPr>
            <a:r>
              <a:rPr lang="en-US" dirty="0" smtClean="0">
                <a:solidFill>
                  <a:schemeClr val="tx1"/>
                </a:solidFill>
                <a:latin typeface="Arial" panose="020B0604020202020204" pitchFamily="34" charset="0"/>
                <a:cs typeface="Arial" panose="020B0604020202020204" pitchFamily="34" charset="0"/>
              </a:rPr>
              <a:t>Tanzania’s </a:t>
            </a:r>
            <a:r>
              <a:rPr lang="en-US" dirty="0">
                <a:solidFill>
                  <a:schemeClr val="tx1"/>
                </a:solidFill>
                <a:latin typeface="Arial" panose="020B0604020202020204" pitchFamily="34" charset="0"/>
                <a:cs typeface="Arial" panose="020B0604020202020204" pitchFamily="34" charset="0"/>
              </a:rPr>
              <a:t>Agricultural Agenda is Shaped by a Few Macroeconomic Trends and Contextual Factors (3/4) </a:t>
            </a:r>
            <a:endParaRPr dirty="0">
              <a:solidFill>
                <a:schemeClr val="tx1"/>
              </a:solidFill>
              <a:latin typeface="Arial" panose="020B0604020202020204" pitchFamily="34" charset="0"/>
              <a:cs typeface="Arial" panose="020B0604020202020204" pitchFamily="34" charset="0"/>
            </a:endParaRPr>
          </a:p>
        </p:txBody>
      </p:sp>
      <p:grpSp>
        <p:nvGrpSpPr>
          <p:cNvPr id="13" name="Group 12"/>
          <p:cNvGrpSpPr/>
          <p:nvPr/>
        </p:nvGrpSpPr>
        <p:grpSpPr>
          <a:xfrm>
            <a:off x="450741" y="992479"/>
            <a:ext cx="5227272" cy="5358361"/>
            <a:chOff x="756004" y="1113274"/>
            <a:chExt cx="3003263" cy="1297010"/>
          </a:xfrm>
        </p:grpSpPr>
        <p:sp>
          <p:nvSpPr>
            <p:cNvPr id="14" name="Google Shape;253;p38"/>
            <p:cNvSpPr/>
            <p:nvPr/>
          </p:nvSpPr>
          <p:spPr>
            <a:xfrm>
              <a:off x="756004" y="1113274"/>
              <a:ext cx="3003263" cy="57423"/>
            </a:xfrm>
            <a:prstGeom prst="rect">
              <a:avLst/>
            </a:prstGeom>
            <a:solidFill>
              <a:srgbClr val="00B050"/>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lvl="0"/>
              <a:r>
                <a:rPr lang="en-US" sz="1100" b="1">
                  <a:solidFill>
                    <a:schemeClr val="bg1"/>
                  </a:solidFill>
                </a:rPr>
                <a:t>3. The Private Sector Landscape</a:t>
              </a:r>
              <a:endParaRPr lang="en-US" sz="1100">
                <a:solidFill>
                  <a:schemeClr val="bg1"/>
                </a:solidFill>
              </a:endParaRPr>
            </a:p>
          </p:txBody>
        </p:sp>
        <p:sp>
          <p:nvSpPr>
            <p:cNvPr id="15" name="Google Shape;255;p38"/>
            <p:cNvSpPr/>
            <p:nvPr/>
          </p:nvSpPr>
          <p:spPr>
            <a:xfrm>
              <a:off x="756004" y="1170697"/>
              <a:ext cx="3003263" cy="1239587"/>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indent="-171450">
                <a:buFont typeface="Arial" panose="020B0604020202020204" pitchFamily="34" charset="0"/>
                <a:buChar char="•"/>
              </a:pPr>
              <a:r>
                <a:rPr lang="en-US" sz="1100" dirty="0"/>
                <a:t>The World Bank interviewed a representative sample of the private sector in five of the most active economic regions in Tanzania. The sample consisted of 813 business establishments surveyed from January 2013 through August 2014. According to the survey, access to finance and electricity continue to be the biggest obstacles to private firms’ operations</a:t>
              </a:r>
              <a:r>
                <a:rPr lang="en-US" sz="1100" baseline="30000" dirty="0"/>
                <a:t>1.</a:t>
              </a:r>
              <a:endParaRPr lang="en-US" sz="1100" dirty="0"/>
            </a:p>
            <a:p>
              <a:pPr marL="171450" indent="-171450">
                <a:buFont typeface="Arial" panose="020B0604020202020204" pitchFamily="34" charset="0"/>
                <a:buChar char="•"/>
              </a:pPr>
              <a:r>
                <a:rPr lang="en-US" sz="1100" dirty="0"/>
                <a:t>Tanzania ranks 116 out of 176 countries in Transparency International’s Corruption Perceptions Index 2016. the World Bank Enterprise Survey noted that approximately 65% of firms expected to give gifts to secure a government contract</a:t>
              </a:r>
              <a:r>
                <a:rPr lang="en-US" sz="1100" baseline="30000" dirty="0"/>
                <a:t>1</a:t>
              </a:r>
              <a:endParaRPr lang="en-US" sz="1100" dirty="0"/>
            </a:p>
            <a:p>
              <a:pPr marL="171450" indent="-171450">
                <a:buFont typeface="Arial" panose="020B0604020202020204" pitchFamily="34" charset="0"/>
                <a:buChar char="•"/>
              </a:pPr>
              <a:r>
                <a:rPr lang="en-US" sz="1100" dirty="0"/>
                <a:t>The majority of micro enterprises in Tanzania operate in the informal sector</a:t>
              </a:r>
              <a:r>
                <a:rPr lang="en-US" sz="1100" baseline="30000" dirty="0"/>
                <a:t>2</a:t>
              </a:r>
              <a:r>
                <a:rPr lang="en-US" sz="1100" dirty="0"/>
                <a:t>. The Sustainable Industrial Development Policy - SIDP (1996 - </a:t>
              </a:r>
              <a:r>
                <a:rPr lang="en-US" sz="1100" dirty="0" smtClean="0"/>
                <a:t>2020)</a:t>
              </a:r>
              <a:r>
                <a:rPr lang="en-US" sz="1100" baseline="30000" dirty="0" smtClean="0"/>
                <a:t>1</a:t>
              </a:r>
              <a:r>
                <a:rPr lang="en-US" sz="1100" dirty="0" smtClean="0"/>
                <a:t> </a:t>
              </a:r>
              <a:r>
                <a:rPr lang="en-US" sz="1100" dirty="0"/>
                <a:t>places specific emphasis on the promotion of SMEs through: supporting existing and new promotion institutions, simplifying taxation, licensing and registering SMEs, and improving access to financial services. In addition, SIDP encourages informal sector businesses to grow and become formalized, and identifies measures that would enable indigenous entrepreneurs, women, youth and people with disabilities to take part in economic activities</a:t>
              </a:r>
              <a:r>
                <a:rPr lang="en-US" sz="1100" baseline="30000" dirty="0"/>
                <a:t>2</a:t>
              </a:r>
              <a:endParaRPr lang="en-US" sz="1100" dirty="0"/>
            </a:p>
            <a:p>
              <a:pPr marL="171450" lvl="1" indent="-171450">
                <a:buFont typeface="Arial" panose="020B0604020202020204" pitchFamily="34" charset="0"/>
                <a:buChar char="•"/>
              </a:pPr>
              <a:r>
                <a:rPr lang="en-US" sz="1100" dirty="0">
                  <a:solidFill>
                    <a:schemeClr val="tx1"/>
                  </a:solidFill>
                </a:rPr>
                <a:t>The private sector, especially the </a:t>
              </a:r>
              <a:r>
                <a:rPr lang="en-US" sz="1100" dirty="0" smtClean="0">
                  <a:solidFill>
                    <a:schemeClr val="tx1"/>
                  </a:solidFill>
                </a:rPr>
                <a:t>informal sector, </a:t>
              </a:r>
              <a:r>
                <a:rPr lang="en-US" sz="1100" dirty="0">
                  <a:solidFill>
                    <a:schemeClr val="tx1"/>
                  </a:solidFill>
                </a:rPr>
                <a:t>is the main creator of employment opportunities in Tanzania. It is estimated that there are 3.1 million micro, small and medium sized enterprises (MSMEs) in Tanzania. The jobs created, are however insufficient to move people </a:t>
              </a:r>
              <a:r>
                <a:rPr lang="en-US" sz="1100" dirty="0" smtClean="0">
                  <a:solidFill>
                    <a:schemeClr val="tx1"/>
                  </a:solidFill>
                </a:rPr>
                <a:t>out </a:t>
              </a:r>
              <a:r>
                <a:rPr lang="en-US" sz="1100" dirty="0">
                  <a:solidFill>
                    <a:schemeClr val="tx1"/>
                  </a:solidFill>
                </a:rPr>
                <a:t>of poverty. 65 to </a:t>
              </a:r>
              <a:r>
                <a:rPr lang="en-US" sz="1100" dirty="0" smtClean="0">
                  <a:solidFill>
                    <a:schemeClr val="tx1"/>
                  </a:solidFill>
                </a:rPr>
                <a:t>70% of </a:t>
              </a:r>
              <a:r>
                <a:rPr lang="en-US" sz="1100" dirty="0">
                  <a:solidFill>
                    <a:schemeClr val="tx1"/>
                  </a:solidFill>
                </a:rPr>
                <a:t>the labor force is active in agriculture sector, yet agriculture only contributes to about 1/3 of Tanzania's GDP. Barriers that prevent growth in Tanzania include: </a:t>
              </a:r>
              <a:r>
                <a:rPr lang="en-US" sz="1100" dirty="0" smtClean="0">
                  <a:solidFill>
                    <a:schemeClr val="tx1"/>
                  </a:solidFill>
                </a:rPr>
                <a:t>access </a:t>
              </a:r>
              <a:r>
                <a:rPr lang="en-US" sz="1100" dirty="0">
                  <a:solidFill>
                    <a:schemeClr val="tx1"/>
                  </a:solidFill>
                </a:rPr>
                <a:t>to financial services, extensive trade barriers, limited land rights, low productivity in the agricultural sector and a non-conducive business environment</a:t>
              </a:r>
              <a:r>
                <a:rPr lang="en-US" sz="1100" baseline="30000" dirty="0">
                  <a:solidFill>
                    <a:schemeClr val="tx1"/>
                  </a:solidFill>
                </a:rPr>
                <a:t>3</a:t>
              </a:r>
              <a:r>
                <a:rPr lang="en-US" sz="1100" dirty="0"/>
                <a:t>.</a:t>
              </a:r>
            </a:p>
            <a:p>
              <a:pPr marL="171450" indent="-171450">
                <a:buFont typeface="Arial" panose="020B0604020202020204" pitchFamily="34" charset="0"/>
                <a:buChar char="•"/>
              </a:pPr>
              <a:r>
                <a:rPr lang="en-US" sz="1100" dirty="0" smtClean="0">
                  <a:solidFill>
                    <a:schemeClr val="tx1"/>
                  </a:solidFill>
                </a:rPr>
                <a:t>Engagement </a:t>
              </a:r>
              <a:r>
                <a:rPr lang="en-US" sz="1100" dirty="0">
                  <a:solidFill>
                    <a:schemeClr val="tx1"/>
                  </a:solidFill>
                </a:rPr>
                <a:t>of private sector with Government and its constituent bodies must continue to be deepened to ensure that there is a conducive business environment for the private sector in agriculture because the private sector holds the key </a:t>
              </a:r>
              <a:r>
                <a:rPr lang="en-US" sz="1100" dirty="0" smtClean="0">
                  <a:solidFill>
                    <a:schemeClr val="tx1"/>
                  </a:solidFill>
                </a:rPr>
                <a:t>to sustainable scaling of </a:t>
              </a:r>
              <a:r>
                <a:rPr lang="en-US" sz="1100" dirty="0">
                  <a:solidFill>
                    <a:schemeClr val="tx1"/>
                  </a:solidFill>
                </a:rPr>
                <a:t>transformative </a:t>
              </a:r>
              <a:r>
                <a:rPr lang="en-US" sz="1100" dirty="0" smtClean="0">
                  <a:solidFill>
                    <a:schemeClr val="tx1"/>
                  </a:solidFill>
                </a:rPr>
                <a:t>interventions.</a:t>
              </a:r>
              <a:endParaRPr lang="en-ZA" sz="1100" dirty="0">
                <a:solidFill>
                  <a:schemeClr val="tx1"/>
                </a:solidFill>
              </a:endParaRPr>
            </a:p>
          </p:txBody>
        </p:sp>
      </p:grpSp>
      <p:sp>
        <p:nvSpPr>
          <p:cNvPr id="31" name="TextBox 30">
            <a:extLst>
              <a:ext uri="{FF2B5EF4-FFF2-40B4-BE49-F238E27FC236}">
                <a16:creationId xmlns:a16="http://schemas.microsoft.com/office/drawing/2014/main" xmlns="" id="{82467878-6164-4F57-BD64-D7BAF47CE956}"/>
              </a:ext>
            </a:extLst>
          </p:cNvPr>
          <p:cNvSpPr txBox="1"/>
          <p:nvPr/>
        </p:nvSpPr>
        <p:spPr>
          <a:xfrm>
            <a:off x="4210664" y="6458739"/>
            <a:ext cx="5900287" cy="461665"/>
          </a:xfrm>
          <a:prstGeom prst="rect">
            <a:avLst/>
          </a:prstGeom>
          <a:noFill/>
        </p:spPr>
        <p:txBody>
          <a:bodyPr wrap="square" rtlCol="0">
            <a:spAutoFit/>
          </a:bodyPr>
          <a:lstStyle/>
          <a:p>
            <a:pPr lvl="0"/>
            <a:r>
              <a:rPr lang="en-US" sz="800" dirty="0">
                <a:solidFill>
                  <a:schemeClr val="tx1"/>
                </a:solidFill>
              </a:rPr>
              <a:t> Sources:</a:t>
            </a:r>
            <a:r>
              <a:rPr lang="en-ZA" sz="800" dirty="0">
                <a:solidFill>
                  <a:schemeClr val="tx1"/>
                </a:solidFill>
              </a:rPr>
              <a:t> 1. </a:t>
            </a:r>
            <a:r>
              <a:rPr lang="en-US" sz="800" dirty="0"/>
              <a:t>Tanzania Ministry of Industry and Trade. Small and Medium Enterprise Policy. 2003</a:t>
            </a:r>
            <a:r>
              <a:rPr lang="en-US" sz="800" dirty="0" smtClean="0"/>
              <a:t>.</a:t>
            </a:r>
            <a:r>
              <a:rPr lang="en-US" sz="800" dirty="0" smtClean="0">
                <a:solidFill>
                  <a:schemeClr val="tx1"/>
                </a:solidFill>
              </a:rPr>
              <a:t>|  </a:t>
            </a:r>
            <a:r>
              <a:rPr lang="en-US" sz="800" dirty="0">
                <a:solidFill>
                  <a:schemeClr val="tx1"/>
                </a:solidFill>
              </a:rPr>
              <a:t>2. </a:t>
            </a:r>
            <a:r>
              <a:rPr lang="en-US" sz="800" dirty="0"/>
              <a:t>World Bank Enterprise Surveys. Tanzania Country Profile </a:t>
            </a:r>
            <a:r>
              <a:rPr lang="en-US" sz="800" dirty="0" smtClean="0"/>
              <a:t>2013 </a:t>
            </a:r>
            <a:r>
              <a:rPr lang="en-US" sz="800" dirty="0" smtClean="0">
                <a:solidFill>
                  <a:schemeClr val="tx1"/>
                </a:solidFill>
              </a:rPr>
              <a:t>|  3. </a:t>
            </a:r>
            <a:r>
              <a:rPr lang="en-US" sz="800" dirty="0">
                <a:hlinkClick r:id="rId8"/>
              </a:rPr>
              <a:t>https://www.swedenabroad.se/en/about-sweden-non-swedish-citizens/tanzania/development-cooperation-with-Tanzania/private-sector-development-and-agricultural-markets/</a:t>
            </a:r>
            <a:endParaRPr lang="en-US" sz="800" dirty="0">
              <a:solidFill>
                <a:schemeClr val="tx1"/>
              </a:solidFill>
            </a:endParaRPr>
          </a:p>
        </p:txBody>
      </p:sp>
      <p:pic>
        <p:nvPicPr>
          <p:cNvPr id="3" name="Picture 2"/>
          <p:cNvPicPr>
            <a:picLocks noChangeAspect="1"/>
          </p:cNvPicPr>
          <p:nvPr/>
        </p:nvPicPr>
        <p:blipFill>
          <a:blip r:embed="rId9"/>
          <a:stretch>
            <a:fillRect/>
          </a:stretch>
        </p:blipFill>
        <p:spPr>
          <a:xfrm>
            <a:off x="5881255" y="1461135"/>
            <a:ext cx="3629890" cy="3761558"/>
          </a:xfrm>
          <a:prstGeom prst="rect">
            <a:avLst/>
          </a:prstGeom>
        </p:spPr>
      </p:pic>
    </p:spTree>
    <p:extLst>
      <p:ext uri="{BB962C8B-B14F-4D97-AF65-F5344CB8AC3E}">
        <p14:creationId xmlns:p14="http://schemas.microsoft.com/office/powerpoint/2010/main" val="2566178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177" name="think-cell Slide" r:id="rId5" imgW="395" imgH="396" progId="TCLayout.ActiveDocument.1">
                  <p:embed/>
                </p:oleObj>
              </mc:Choice>
              <mc:Fallback>
                <p:oleObj name="think-cell Slide" r:id="rId5" imgW="395" imgH="39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1" name="Google Shape;251;p38"/>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a:xfrm>
            <a:off x="450741" y="134054"/>
            <a:ext cx="7245459" cy="582389"/>
          </a:xfrm>
          <a:prstGeom prst="rect">
            <a:avLst/>
          </a:prstGeom>
        </p:spPr>
        <p:txBody>
          <a:bodyPr lIns="0" tIns="0" rIns="0" bIns="0" anchor="b"/>
          <a:lstStyle/>
          <a:p>
            <a:pPr defTabSz="914395">
              <a:spcBef>
                <a:spcPct val="0"/>
              </a:spcBef>
              <a:buClrTx/>
              <a:buSzTx/>
              <a:buFontTx/>
            </a:pPr>
            <a:r>
              <a:rPr lang="en-US" dirty="0" smtClean="0">
                <a:solidFill>
                  <a:schemeClr val="tx1"/>
                </a:solidFill>
                <a:latin typeface="Arial" panose="020B0604020202020204" pitchFamily="34" charset="0"/>
                <a:cs typeface="Arial" panose="020B0604020202020204" pitchFamily="34" charset="0"/>
              </a:rPr>
              <a:t>Tanzania’s </a:t>
            </a:r>
            <a:r>
              <a:rPr lang="en-US" dirty="0">
                <a:solidFill>
                  <a:schemeClr val="tx1"/>
                </a:solidFill>
                <a:latin typeface="Arial" panose="020B0604020202020204" pitchFamily="34" charset="0"/>
                <a:cs typeface="Arial" panose="020B0604020202020204" pitchFamily="34" charset="0"/>
              </a:rPr>
              <a:t>Agricultural Agenda is Shaped by a Few Macroeconomic Trends and Contextual Factors (4/4) </a:t>
            </a:r>
            <a:endParaRPr dirty="0">
              <a:solidFill>
                <a:schemeClr val="tx1"/>
              </a:solidFill>
              <a:latin typeface="Arial" panose="020B0604020202020204" pitchFamily="34" charset="0"/>
              <a:cs typeface="Arial" panose="020B0604020202020204" pitchFamily="34" charset="0"/>
            </a:endParaRPr>
          </a:p>
        </p:txBody>
      </p:sp>
      <p:grpSp>
        <p:nvGrpSpPr>
          <p:cNvPr id="13" name="Group 12"/>
          <p:cNvGrpSpPr/>
          <p:nvPr/>
        </p:nvGrpSpPr>
        <p:grpSpPr>
          <a:xfrm>
            <a:off x="450740" y="992479"/>
            <a:ext cx="4513146" cy="5358361"/>
            <a:chOff x="756003" y="1113274"/>
            <a:chExt cx="3003264" cy="1297010"/>
          </a:xfrm>
        </p:grpSpPr>
        <p:sp>
          <p:nvSpPr>
            <p:cNvPr id="14" name="Google Shape;253;p38"/>
            <p:cNvSpPr/>
            <p:nvPr/>
          </p:nvSpPr>
          <p:spPr>
            <a:xfrm>
              <a:off x="756004" y="1113274"/>
              <a:ext cx="3003263" cy="57423"/>
            </a:xfrm>
            <a:prstGeom prst="rect">
              <a:avLst/>
            </a:prstGeom>
            <a:solidFill>
              <a:srgbClr val="00B050"/>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lvl="0"/>
              <a:r>
                <a:rPr lang="en-US" sz="1100" b="1" dirty="0" smtClean="0">
                  <a:solidFill>
                    <a:schemeClr val="bg1"/>
                  </a:solidFill>
                </a:rPr>
                <a:t>4</a:t>
              </a:r>
              <a:r>
                <a:rPr lang="en-US" sz="1100" dirty="0" smtClean="0">
                  <a:solidFill>
                    <a:schemeClr val="bg1"/>
                  </a:solidFill>
                </a:rPr>
                <a:t>. </a:t>
              </a:r>
              <a:r>
                <a:rPr lang="en-US" sz="1100" b="1" dirty="0" smtClean="0">
                  <a:solidFill>
                    <a:schemeClr val="bg1"/>
                  </a:solidFill>
                </a:rPr>
                <a:t>The Smallholder Farmer Landscape</a:t>
              </a:r>
              <a:endParaRPr lang="en-US" sz="1100" dirty="0">
                <a:solidFill>
                  <a:schemeClr val="bg1"/>
                </a:solidFill>
              </a:endParaRPr>
            </a:p>
          </p:txBody>
        </p:sp>
        <p:sp>
          <p:nvSpPr>
            <p:cNvPr id="21" name="Google Shape;255;p38"/>
            <p:cNvSpPr/>
            <p:nvPr/>
          </p:nvSpPr>
          <p:spPr>
            <a:xfrm>
              <a:off x="756003" y="1170697"/>
              <a:ext cx="3003264" cy="1239587"/>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indent="-171450">
                <a:buFont typeface="Arial" panose="020B0604020202020204" pitchFamily="34" charset="0"/>
                <a:buChar char="•"/>
              </a:pPr>
              <a:r>
                <a:rPr lang="en-US" sz="1100" dirty="0"/>
                <a:t>There are about 3.7 million smallholdings in Tanzania (those smaller than the middle size farm threshold of 2.2 hectares), which make up for 80 percent of total </a:t>
              </a:r>
              <a:r>
                <a:rPr lang="en-US" sz="1100" dirty="0" err="1"/>
                <a:t>farms</a:t>
              </a:r>
              <a:r>
                <a:rPr lang="en-US" sz="1100" baseline="30000" dirty="0" err="1"/>
                <a:t>1</a:t>
              </a:r>
              <a:r>
                <a:rPr lang="en-US" sz="1100" baseline="30000" dirty="0"/>
                <a:t>.</a:t>
              </a:r>
              <a:r>
                <a:rPr lang="en-US" sz="1100" dirty="0"/>
                <a:t> These Tanzanian small farmers produce 69 percent of the food in the </a:t>
              </a:r>
              <a:r>
                <a:rPr lang="en-US" sz="1100" dirty="0" err="1"/>
                <a:t>country</a:t>
              </a:r>
              <a:r>
                <a:rPr lang="en-US" sz="1100" baseline="30000" dirty="0" err="1"/>
                <a:t>1</a:t>
              </a:r>
              <a:r>
                <a:rPr lang="en-US" sz="1100" baseline="30000" dirty="0"/>
                <a:t>.</a:t>
              </a:r>
              <a:endParaRPr lang="en-US" sz="1100" dirty="0"/>
            </a:p>
            <a:p>
              <a:pPr marL="171450" indent="-171450">
                <a:buFont typeface="Arial" panose="020B0604020202020204" pitchFamily="34" charset="0"/>
                <a:buChar char="•"/>
              </a:pPr>
              <a:r>
                <a:rPr lang="en-US" sz="1100" dirty="0"/>
                <a:t>Low incomes mean that small farmers spend less on education and health. Books and fees are the most important items of household expenditure on education. Smallholder families, in Tanzania, only allocate 2-3 </a:t>
              </a:r>
              <a:r>
                <a:rPr lang="en-US" sz="1100" dirty="0" smtClean="0"/>
                <a:t>% </a:t>
              </a:r>
              <a:r>
                <a:rPr lang="en-US" sz="1100" dirty="0"/>
                <a:t>of their budget to education translating to an average smallholder farm head attaining just 4.6 years of school. Most of smallholders’ income is allocated to food. For example, an average smallholder family of five persons - living on $1.9 a day each spends 81 percent of this budget on </a:t>
              </a:r>
              <a:r>
                <a:rPr lang="en-US" sz="1100" dirty="0" err="1"/>
                <a:t>food</a:t>
              </a:r>
              <a:r>
                <a:rPr lang="en-US" sz="1100" baseline="30000" dirty="0" err="1"/>
                <a:t>1</a:t>
              </a:r>
              <a:r>
                <a:rPr lang="en-US" sz="1100" dirty="0"/>
                <a:t>.</a:t>
              </a:r>
            </a:p>
            <a:p>
              <a:pPr marL="171450" indent="-171450">
                <a:buFont typeface="Arial" panose="020B0604020202020204" pitchFamily="34" charset="0"/>
                <a:buChar char="•"/>
              </a:pPr>
              <a:r>
                <a:rPr lang="en-US" sz="1100" dirty="0" smtClean="0"/>
                <a:t>Smallholder </a:t>
              </a:r>
              <a:r>
                <a:rPr lang="en-US" sz="1100" dirty="0"/>
                <a:t>families in Tanzania primarily grow food and staple crops (as opposed to cash </a:t>
              </a:r>
              <a:r>
                <a:rPr lang="en-US" sz="1100" dirty="0" smtClean="0"/>
                <a:t>crops). 63% </a:t>
              </a:r>
              <a:r>
                <a:rPr lang="en-US" sz="1100" dirty="0"/>
                <a:t>of smallholders grow only staple crops, while only </a:t>
              </a:r>
              <a:r>
                <a:rPr lang="en-US" sz="1100" dirty="0" smtClean="0"/>
                <a:t>1% </a:t>
              </a:r>
              <a:r>
                <a:rPr lang="en-US" sz="1100" dirty="0"/>
                <a:t>grow only cash crops. </a:t>
              </a:r>
              <a:r>
                <a:rPr lang="en-US" sz="1100" dirty="0" smtClean="0"/>
                <a:t>37% of </a:t>
              </a:r>
              <a:r>
                <a:rPr lang="en-US" sz="1100" dirty="0"/>
                <a:t>smallholders grow both types. Maize is the most commonly grown staple crop, followed distantly by beans, cassava, sweet potatoes, and </a:t>
              </a:r>
              <a:r>
                <a:rPr lang="en-US" sz="1100" dirty="0" smtClean="0"/>
                <a:t>rice. </a:t>
              </a:r>
              <a:r>
                <a:rPr lang="en-US" sz="1100" dirty="0"/>
                <a:t>Only a few grow cash crops, which tend to be sunflower, </a:t>
              </a:r>
              <a:r>
                <a:rPr lang="en-US" sz="1100" dirty="0" smtClean="0"/>
                <a:t>sesame, </a:t>
              </a:r>
              <a:r>
                <a:rPr lang="en-US" sz="1100" dirty="0"/>
                <a:t>coffee, cotton, cashew nut, and sugar </a:t>
              </a:r>
              <a:r>
                <a:rPr lang="en-US" sz="1100" dirty="0" smtClean="0"/>
                <a:t>cane</a:t>
              </a:r>
              <a:r>
                <a:rPr lang="en-US" sz="1100" baseline="30000" dirty="0" smtClean="0"/>
                <a:t>2</a:t>
              </a:r>
              <a:r>
                <a:rPr lang="en-US" sz="1100" dirty="0" smtClean="0"/>
                <a:t>.</a:t>
              </a:r>
            </a:p>
            <a:p>
              <a:pPr marL="171450" indent="-171450">
                <a:buFont typeface="Arial" panose="020B0604020202020204" pitchFamily="34" charset="0"/>
                <a:buChar char="•"/>
              </a:pPr>
              <a:r>
                <a:rPr lang="en-US" sz="1100" dirty="0" smtClean="0"/>
                <a:t>SHFs in </a:t>
              </a:r>
              <a:r>
                <a:rPr lang="en-US" sz="1100" dirty="0"/>
                <a:t>Tanzania continue to face a range of challenges, including obtaining and paying for quality seeds, fertilizer, and pesticide, and transporting goods to market</a:t>
              </a:r>
              <a:r>
                <a:rPr lang="en-US" sz="1100" dirty="0" smtClean="0"/>
                <a:t>. Compounding </a:t>
              </a:r>
              <a:r>
                <a:rPr lang="en-US" sz="1100" dirty="0"/>
                <a:t>this is a lack of post-harvest storage facilities for crops and, if available, their prohibitive </a:t>
              </a:r>
              <a:r>
                <a:rPr lang="en-US" sz="1100" dirty="0" err="1" smtClean="0"/>
                <a:t>cost</a:t>
              </a:r>
              <a:r>
                <a:rPr lang="en-US" sz="1100" baseline="30000" dirty="0" err="1" smtClean="0"/>
                <a:t>3</a:t>
              </a:r>
              <a:r>
                <a:rPr lang="en-US" sz="1100" dirty="0" smtClean="0"/>
                <a:t>. </a:t>
              </a:r>
              <a:r>
                <a:rPr lang="en-US" sz="1100" dirty="0"/>
                <a:t>This is in addition to limited access to </a:t>
              </a:r>
              <a:r>
                <a:rPr lang="en-US" sz="1100" dirty="0" smtClean="0"/>
                <a:t>credit with only 17% receiving </a:t>
              </a:r>
              <a:r>
                <a:rPr lang="en-US" sz="1100" dirty="0" err="1" smtClean="0"/>
                <a:t>credit</a:t>
              </a:r>
              <a:r>
                <a:rPr lang="en-US" sz="1100" baseline="30000" dirty="0" err="1" smtClean="0"/>
                <a:t>1</a:t>
              </a:r>
              <a:r>
                <a:rPr lang="en-US" sz="1100" dirty="0" smtClean="0"/>
                <a:t>, </a:t>
              </a:r>
              <a:r>
                <a:rPr lang="en-US" sz="1100" dirty="0"/>
                <a:t>insurance, and payments facilities despite significant investments in the country’s financial infrastructure in recent years</a:t>
              </a:r>
              <a:r>
                <a:rPr lang="en-US" sz="1100" dirty="0" smtClean="0"/>
                <a:t>.</a:t>
              </a:r>
              <a:r>
                <a:rPr lang="en-US" sz="1100" dirty="0"/>
                <a:t> </a:t>
              </a:r>
              <a:r>
                <a:rPr lang="en-US" sz="1100" dirty="0" smtClean="0"/>
                <a:t>Further</a:t>
              </a:r>
              <a:r>
                <a:rPr lang="en-US" sz="1100" dirty="0"/>
                <a:t>, only </a:t>
              </a:r>
              <a:r>
                <a:rPr lang="en-US" sz="1100" dirty="0" smtClean="0"/>
                <a:t>17% </a:t>
              </a:r>
              <a:r>
                <a:rPr lang="en-US" sz="1100" dirty="0"/>
                <a:t>of smallholders have access to </a:t>
              </a:r>
              <a:r>
                <a:rPr lang="en-US" sz="1100" dirty="0" smtClean="0"/>
                <a:t>seeds of improved crop </a:t>
              </a:r>
              <a:r>
                <a:rPr lang="en-US" sz="1100" dirty="0"/>
                <a:t>varieties according to an analysis by FAO</a:t>
              </a:r>
              <a:r>
                <a:rPr lang="en-US" sz="1100" baseline="30000" dirty="0"/>
                <a:t>1.</a:t>
              </a:r>
            </a:p>
            <a:p>
              <a:pPr marL="171450" indent="-171450">
                <a:buFont typeface="Arial" panose="020B0604020202020204" pitchFamily="34" charset="0"/>
                <a:buChar char="•"/>
              </a:pPr>
              <a:endParaRPr lang="en-US" sz="1100" dirty="0"/>
            </a:p>
            <a:p>
              <a:pPr marL="171450" indent="-171450">
                <a:lnSpc>
                  <a:spcPts val="1400"/>
                </a:lnSpc>
                <a:spcBef>
                  <a:spcPts val="600"/>
                </a:spcBef>
                <a:buClr>
                  <a:schemeClr val="dk1"/>
                </a:buClr>
                <a:buSzPts val="1050"/>
                <a:buFont typeface="Arial" panose="020B0604020202020204" pitchFamily="34" charset="0"/>
                <a:buChar char="•"/>
              </a:pPr>
              <a:endParaRPr lang="en-ZA" sz="1100" dirty="0"/>
            </a:p>
            <a:p>
              <a:pPr>
                <a:lnSpc>
                  <a:spcPts val="1400"/>
                </a:lnSpc>
                <a:spcBef>
                  <a:spcPts val="600"/>
                </a:spcBef>
                <a:buClr>
                  <a:schemeClr val="dk1"/>
                </a:buClr>
                <a:buSzPts val="1050"/>
              </a:pPr>
              <a:endParaRPr lang="en-US" sz="1100" dirty="0"/>
            </a:p>
          </p:txBody>
        </p:sp>
      </p:grpSp>
      <p:sp>
        <p:nvSpPr>
          <p:cNvPr id="22" name="TextBox 21">
            <a:extLst>
              <a:ext uri="{FF2B5EF4-FFF2-40B4-BE49-F238E27FC236}">
                <a16:creationId xmlns:a16="http://schemas.microsoft.com/office/drawing/2014/main" xmlns="" id="{82467878-6164-4F57-BD64-D7BAF47CE956}"/>
              </a:ext>
            </a:extLst>
          </p:cNvPr>
          <p:cNvSpPr txBox="1"/>
          <p:nvPr/>
        </p:nvSpPr>
        <p:spPr>
          <a:xfrm>
            <a:off x="4235669" y="6458739"/>
            <a:ext cx="5471857" cy="461665"/>
          </a:xfrm>
          <a:prstGeom prst="rect">
            <a:avLst/>
          </a:prstGeom>
          <a:noFill/>
        </p:spPr>
        <p:txBody>
          <a:bodyPr wrap="square" rtlCol="0">
            <a:spAutoFit/>
          </a:bodyPr>
          <a:lstStyle/>
          <a:p>
            <a:r>
              <a:rPr lang="en-US" sz="800" dirty="0">
                <a:solidFill>
                  <a:schemeClr val="tx1"/>
                </a:solidFill>
              </a:rPr>
              <a:t> Sources:</a:t>
            </a:r>
            <a:r>
              <a:rPr lang="en-ZA" sz="800" dirty="0">
                <a:solidFill>
                  <a:schemeClr val="tx1"/>
                </a:solidFill>
              </a:rPr>
              <a:t> 1. </a:t>
            </a:r>
            <a:r>
              <a:rPr lang="en-US" sz="800" dirty="0"/>
              <a:t>The economic lives of smallholder farmers: </a:t>
            </a:r>
            <a:r>
              <a:rPr lang="en-US" sz="800" dirty="0">
                <a:hlinkClick r:id="rId8"/>
              </a:rPr>
              <a:t>http://www.fao.org/3/a-i5251e.pdf</a:t>
            </a:r>
            <a:r>
              <a:rPr lang="en-US" sz="800" dirty="0"/>
              <a:t> </a:t>
            </a:r>
            <a:endParaRPr lang="en-US" sz="800" dirty="0">
              <a:solidFill>
                <a:schemeClr val="tx1"/>
              </a:solidFill>
            </a:endParaRPr>
          </a:p>
          <a:p>
            <a:r>
              <a:rPr lang="en-US" sz="800" dirty="0" smtClean="0">
                <a:solidFill>
                  <a:schemeClr val="tx1"/>
                </a:solidFill>
              </a:rPr>
              <a:t>|  </a:t>
            </a:r>
            <a:r>
              <a:rPr lang="en-US" sz="800" dirty="0">
                <a:solidFill>
                  <a:schemeClr val="tx1"/>
                </a:solidFill>
              </a:rPr>
              <a:t>2. </a:t>
            </a:r>
            <a:r>
              <a:rPr lang="en-US" sz="800" dirty="0"/>
              <a:t>National Survey and Segmentation of Smallholder Households in </a:t>
            </a:r>
            <a:r>
              <a:rPr lang="en-US" sz="800" dirty="0" err="1" smtClean="0"/>
              <a:t>Tanzania:</a:t>
            </a:r>
            <a:r>
              <a:rPr lang="en-US" sz="800" dirty="0" err="1">
                <a:hlinkClick r:id="rId9"/>
              </a:rPr>
              <a:t>https</a:t>
            </a:r>
            <a:r>
              <a:rPr lang="en-US" sz="800" dirty="0">
                <a:hlinkClick r:id="rId9"/>
              </a:rPr>
              <a:t>://www.cgap.org/sites/default/files/Working-Paper-Smallholder-Survey-Tanzania-May-2016.pdf</a:t>
            </a:r>
            <a:r>
              <a:rPr lang="en-US" sz="800" dirty="0" smtClean="0">
                <a:solidFill>
                  <a:schemeClr val="tx1"/>
                </a:solidFill>
              </a:rPr>
              <a:t> |</a:t>
            </a:r>
            <a:endParaRPr lang="en-US" sz="800" dirty="0">
              <a:solidFill>
                <a:schemeClr val="tx1"/>
              </a:solidFill>
            </a:endParaRPr>
          </a:p>
        </p:txBody>
      </p:sp>
      <p:sp>
        <p:nvSpPr>
          <p:cNvPr id="4" name="TextBox 3"/>
          <p:cNvSpPr txBox="1"/>
          <p:nvPr/>
        </p:nvSpPr>
        <p:spPr>
          <a:xfrm>
            <a:off x="5052060" y="6197129"/>
            <a:ext cx="3457905" cy="261610"/>
          </a:xfrm>
          <a:prstGeom prst="rect">
            <a:avLst/>
          </a:prstGeom>
          <a:noFill/>
        </p:spPr>
        <p:txBody>
          <a:bodyPr wrap="square" rtlCol="0">
            <a:spAutoFit/>
          </a:bodyPr>
          <a:lstStyle/>
          <a:p>
            <a:r>
              <a:rPr lang="en-US" sz="1100" dirty="0" smtClean="0"/>
              <a:t>Photo Credit: AGRA Communications</a:t>
            </a:r>
            <a:endParaRPr lang="en-US" sz="1100" dirty="0"/>
          </a:p>
        </p:txBody>
      </p:sp>
      <p:pic>
        <p:nvPicPr>
          <p:cNvPr id="11" name="Picture 10"/>
          <p:cNvPicPr>
            <a:picLocks noChangeAspect="1"/>
          </p:cNvPicPr>
          <p:nvPr/>
        </p:nvPicPr>
        <p:blipFill>
          <a:blip r:embed="rId10"/>
          <a:stretch>
            <a:fillRect/>
          </a:stretch>
        </p:blipFill>
        <p:spPr>
          <a:xfrm>
            <a:off x="4963886" y="755291"/>
            <a:ext cx="4942114" cy="5441838"/>
          </a:xfrm>
          <a:prstGeom prst="rect">
            <a:avLst/>
          </a:prstGeom>
        </p:spPr>
      </p:pic>
    </p:spTree>
    <p:extLst>
      <p:ext uri="{BB962C8B-B14F-4D97-AF65-F5344CB8AC3E}">
        <p14:creationId xmlns:p14="http://schemas.microsoft.com/office/powerpoint/2010/main" val="10788479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6291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104" name="think-cell Slide" r:id="rId5" imgW="327" imgH="327" progId="TCLayout.ActiveDocument.1">
                  <p:embed/>
                </p:oleObj>
              </mc:Choice>
              <mc:Fallback>
                <p:oleObj name="think-cell Slide" r:id="rId5" imgW="327" imgH="327"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Changes in assumptions/ New development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458011815"/>
              </p:ext>
            </p:extLst>
          </p:nvPr>
        </p:nvGraphicFramePr>
        <p:xfrm>
          <a:off x="193964" y="1240444"/>
          <a:ext cx="9372600" cy="3874654"/>
        </p:xfrm>
        <a:graphic>
          <a:graphicData uri="http://schemas.openxmlformats.org/drawingml/2006/table">
            <a:tbl>
              <a:tblPr firstRow="1" bandRow="1">
                <a:tableStyleId>{2A488322-F2BA-4B5B-9748-0D474271808F}</a:tableStyleId>
              </a:tblPr>
              <a:tblGrid>
                <a:gridCol w="4686300">
                  <a:extLst>
                    <a:ext uri="{9D8B030D-6E8A-4147-A177-3AD203B41FA5}">
                      <a16:colId xmlns:a16="http://schemas.microsoft.com/office/drawing/2014/main" xmlns="" val="20000"/>
                    </a:ext>
                  </a:extLst>
                </a:gridCol>
                <a:gridCol w="4686300">
                  <a:extLst>
                    <a:ext uri="{9D8B030D-6E8A-4147-A177-3AD203B41FA5}">
                      <a16:colId xmlns:a16="http://schemas.microsoft.com/office/drawing/2014/main" xmlns="" val="20001"/>
                    </a:ext>
                  </a:extLst>
                </a:gridCol>
              </a:tblGrid>
              <a:tr h="420933">
                <a:tc>
                  <a:txBody>
                    <a:bodyPr/>
                    <a:lstStyle/>
                    <a:p>
                      <a:r>
                        <a:rPr lang="en-US" sz="1200" dirty="0" smtClean="0">
                          <a:solidFill>
                            <a:schemeClr val="tx1"/>
                          </a:solidFill>
                          <a:latin typeface="Arial" panose="020B0604020202020204" pitchFamily="34" charset="0"/>
                          <a:cs typeface="Arial" panose="020B0604020202020204" pitchFamily="34" charset="0"/>
                        </a:rPr>
                        <a:t>Issue</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r>
                        <a:rPr lang="en-US" sz="1200" dirty="0" smtClean="0">
                          <a:solidFill>
                            <a:schemeClr val="tx1"/>
                          </a:solidFill>
                          <a:latin typeface="Arial" panose="020B0604020202020204" pitchFamily="34" charset="0"/>
                          <a:cs typeface="Arial" panose="020B0604020202020204" pitchFamily="34" charset="0"/>
                        </a:rPr>
                        <a:t>Proposed Mitigation</a:t>
                      </a:r>
                      <a:endParaRPr lang="en-US" sz="12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444514">
                <a:tc>
                  <a:txBody>
                    <a:bodyPr/>
                    <a:lstStyle/>
                    <a:p>
                      <a:pPr marL="0" algn="l" defTabSz="914395" rtl="0" eaLnBrk="1" latinLnBrk="0" hangingPunct="1"/>
                      <a:r>
                        <a:rPr lang="en-US" sz="1200" kern="1200" dirty="0" smtClean="0">
                          <a:solidFill>
                            <a:schemeClr val="tx1"/>
                          </a:solidFill>
                          <a:latin typeface="+mn-lt"/>
                          <a:ea typeface="+mn-ea"/>
                          <a:cs typeface="+mn-cs"/>
                        </a:rPr>
                        <a:t>Capacity for</a:t>
                      </a:r>
                      <a:r>
                        <a:rPr lang="en-US" sz="1200" kern="1200" baseline="0" dirty="0" smtClean="0">
                          <a:solidFill>
                            <a:schemeClr val="tx1"/>
                          </a:solidFill>
                          <a:latin typeface="+mn-lt"/>
                          <a:ea typeface="+mn-ea"/>
                          <a:cs typeface="+mn-cs"/>
                        </a:rPr>
                        <a:t> LGAs to plan, coordinate and implement agricultural transformation activities</a:t>
                      </a:r>
                      <a:endParaRPr lang="en-US" sz="1200" kern="1200" dirty="0">
                        <a:solidFill>
                          <a:schemeClr val="tx1"/>
                        </a:solidFill>
                        <a:latin typeface="+mn-lt"/>
                        <a:ea typeface="+mn-ea"/>
                        <a:cs typeface="+mn-cs"/>
                      </a:endParaRPr>
                    </a:p>
                  </a:txBody>
                  <a:tcPr/>
                </a:tc>
                <a:tc>
                  <a:txBody>
                    <a:bodyPr/>
                    <a:lstStyle/>
                    <a:p>
                      <a:pPr marL="0" algn="l" defTabSz="914395" rtl="0" eaLnBrk="1" latinLnBrk="0" hangingPunct="1"/>
                      <a:r>
                        <a:rPr lang="en-GB" sz="1200" kern="1200" dirty="0" smtClean="0">
                          <a:solidFill>
                            <a:schemeClr val="tx1"/>
                          </a:solidFill>
                          <a:latin typeface="+mn-lt"/>
                          <a:ea typeface="+mn-ea"/>
                          <a:cs typeface="+mn-cs"/>
                        </a:rPr>
                        <a:t>Strengthen Coordination of ASDPII, planning</a:t>
                      </a:r>
                      <a:r>
                        <a:rPr lang="en-GB" sz="1200" kern="1200" baseline="0" dirty="0" smtClean="0">
                          <a:solidFill>
                            <a:schemeClr val="tx1"/>
                          </a:solidFill>
                          <a:latin typeface="+mn-lt"/>
                          <a:ea typeface="+mn-ea"/>
                          <a:cs typeface="+mn-cs"/>
                        </a:rPr>
                        <a:t> and resource mobilization at</a:t>
                      </a:r>
                      <a:r>
                        <a:rPr lang="en-GB" sz="1200" kern="1200" dirty="0" smtClean="0">
                          <a:solidFill>
                            <a:schemeClr val="tx1"/>
                          </a:solidFill>
                          <a:latin typeface="+mn-lt"/>
                          <a:ea typeface="+mn-ea"/>
                          <a:cs typeface="+mn-cs"/>
                        </a:rPr>
                        <a:t> at the Local Government Level is important for scaling</a:t>
                      </a:r>
                      <a:r>
                        <a:rPr lang="en-GB" sz="1200" kern="1200" baseline="0" dirty="0" smtClean="0">
                          <a:solidFill>
                            <a:schemeClr val="tx1"/>
                          </a:solidFill>
                          <a:latin typeface="+mn-lt"/>
                          <a:ea typeface="+mn-ea"/>
                          <a:cs typeface="+mn-cs"/>
                        </a:rPr>
                        <a:t> and sustaining AGRA models</a:t>
                      </a:r>
                      <a:endParaRPr lang="en-US" sz="1200" kern="1200" dirty="0">
                        <a:solidFill>
                          <a:schemeClr val="tx1"/>
                        </a:solidFill>
                        <a:latin typeface="+mn-lt"/>
                        <a:ea typeface="+mn-ea"/>
                        <a:cs typeface="+mn-cs"/>
                      </a:endParaRPr>
                    </a:p>
                  </a:txBody>
                  <a:tcPr/>
                </a:tc>
                <a:extLst>
                  <a:ext uri="{0D108BD9-81ED-4DB2-BD59-A6C34878D82A}">
                    <a16:rowId xmlns:a16="http://schemas.microsoft.com/office/drawing/2014/main" xmlns="" val="10001"/>
                  </a:ext>
                </a:extLst>
              </a:tr>
              <a:tr h="410936">
                <a:tc>
                  <a:txBody>
                    <a:bodyPr/>
                    <a:lstStyle/>
                    <a:p>
                      <a:pPr marL="0" algn="l" defTabSz="914395" rtl="0" eaLnBrk="1" latinLnBrk="0" hangingPunct="1"/>
                      <a:r>
                        <a:rPr lang="en-US" sz="1200" kern="1200" dirty="0" smtClean="0">
                          <a:solidFill>
                            <a:schemeClr val="tx1"/>
                          </a:solidFill>
                          <a:latin typeface="+mn-lt"/>
                          <a:ea typeface="+mn-ea"/>
                          <a:cs typeface="+mn-cs"/>
                        </a:rPr>
                        <a:t>Donor resources not well coordinated at</a:t>
                      </a:r>
                      <a:r>
                        <a:rPr lang="en-US" sz="1200" kern="1200" baseline="0" dirty="0" smtClean="0">
                          <a:solidFill>
                            <a:schemeClr val="tx1"/>
                          </a:solidFill>
                          <a:latin typeface="+mn-lt"/>
                          <a:ea typeface="+mn-ea"/>
                          <a:cs typeface="+mn-cs"/>
                        </a:rPr>
                        <a:t> implementing partners’ level</a:t>
                      </a:r>
                      <a:endParaRPr lang="en-US" sz="1200" kern="1200" dirty="0">
                        <a:solidFill>
                          <a:schemeClr val="tx1"/>
                        </a:solidFill>
                        <a:latin typeface="+mn-lt"/>
                        <a:ea typeface="+mn-ea"/>
                        <a:cs typeface="+mn-cs"/>
                      </a:endParaRPr>
                    </a:p>
                  </a:txBody>
                  <a:tcPr/>
                </a:tc>
                <a:tc>
                  <a:txBody>
                    <a:bodyPr/>
                    <a:lstStyle/>
                    <a:p>
                      <a:pPr marL="0" marR="0" indent="0" algn="l" defTabSz="914395"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latin typeface="+mn-lt"/>
                          <a:ea typeface="+mn-ea"/>
                          <a:cs typeface="+mn-cs"/>
                        </a:rPr>
                        <a:t>Country Advisory</a:t>
                      </a:r>
                      <a:r>
                        <a:rPr lang="en-GB" sz="1200" kern="1200" baseline="0" dirty="0" smtClean="0">
                          <a:solidFill>
                            <a:schemeClr val="tx1"/>
                          </a:solidFill>
                          <a:latin typeface="+mn-lt"/>
                          <a:ea typeface="+mn-ea"/>
                          <a:cs typeface="+mn-cs"/>
                        </a:rPr>
                        <a:t> Committee (</a:t>
                      </a:r>
                      <a:r>
                        <a:rPr lang="en-GB" sz="1200" kern="1200" dirty="0" smtClean="0">
                          <a:solidFill>
                            <a:schemeClr val="tx1"/>
                          </a:solidFill>
                          <a:latin typeface="+mn-lt"/>
                          <a:ea typeface="+mn-ea"/>
                          <a:cs typeface="+mn-cs"/>
                        </a:rPr>
                        <a:t>CAC) and active engagements in Agric Sector Working Group</a:t>
                      </a:r>
                      <a:r>
                        <a:rPr lang="en-GB" sz="1200" kern="1200" baseline="0" dirty="0" smtClean="0">
                          <a:solidFill>
                            <a:schemeClr val="tx1"/>
                          </a:solidFill>
                          <a:latin typeface="+mn-lt"/>
                          <a:ea typeface="+mn-ea"/>
                          <a:cs typeface="+mn-cs"/>
                        </a:rPr>
                        <a:t> (</a:t>
                      </a:r>
                      <a:r>
                        <a:rPr lang="en-GB" sz="1200" kern="1200" dirty="0" smtClean="0">
                          <a:solidFill>
                            <a:schemeClr val="tx1"/>
                          </a:solidFill>
                          <a:latin typeface="+mn-lt"/>
                          <a:ea typeface="+mn-ea"/>
                          <a:cs typeface="+mn-cs"/>
                        </a:rPr>
                        <a:t>ASWG) is essential for improving efficiency and effectiveness of interventions</a:t>
                      </a:r>
                      <a:endParaRPr lang="en-US" sz="1200" kern="1200" dirty="0">
                        <a:solidFill>
                          <a:schemeClr val="tx1"/>
                        </a:solidFill>
                        <a:latin typeface="+mn-lt"/>
                        <a:ea typeface="+mn-ea"/>
                        <a:cs typeface="+mn-cs"/>
                      </a:endParaRPr>
                    </a:p>
                  </a:txBody>
                  <a:tcPr/>
                </a:tc>
                <a:extLst>
                  <a:ext uri="{0D108BD9-81ED-4DB2-BD59-A6C34878D82A}">
                    <a16:rowId xmlns:a16="http://schemas.microsoft.com/office/drawing/2014/main" xmlns="" val="10002"/>
                  </a:ext>
                </a:extLst>
              </a:tr>
              <a:tr h="497162">
                <a:tc>
                  <a:txBody>
                    <a:bodyPr/>
                    <a:lstStyle/>
                    <a:p>
                      <a:pPr marL="0" algn="l" defTabSz="914395" rtl="0" eaLnBrk="1" latinLnBrk="0" hangingPunct="1"/>
                      <a:r>
                        <a:rPr lang="en-US" sz="1200" kern="1200" dirty="0" smtClean="0">
                          <a:solidFill>
                            <a:schemeClr val="tx1"/>
                          </a:solidFill>
                          <a:latin typeface="+mn-lt"/>
                          <a:ea typeface="+mn-ea"/>
                          <a:cs typeface="+mn-cs"/>
                        </a:rPr>
                        <a:t>Limited Private sector service delivery models to enhance access to mechanization services to</a:t>
                      </a:r>
                      <a:r>
                        <a:rPr lang="en-US" sz="1200" kern="1200" baseline="0" dirty="0" smtClean="0">
                          <a:solidFill>
                            <a:schemeClr val="tx1"/>
                          </a:solidFill>
                          <a:latin typeface="+mn-lt"/>
                          <a:ea typeface="+mn-ea"/>
                          <a:cs typeface="+mn-cs"/>
                        </a:rPr>
                        <a:t> smallholder </a:t>
                      </a:r>
                      <a:r>
                        <a:rPr lang="en-US" sz="1200" kern="1200" dirty="0" smtClean="0">
                          <a:solidFill>
                            <a:schemeClr val="tx1"/>
                          </a:solidFill>
                          <a:latin typeface="+mn-lt"/>
                          <a:ea typeface="+mn-ea"/>
                          <a:cs typeface="+mn-cs"/>
                        </a:rPr>
                        <a:t>farmers </a:t>
                      </a:r>
                      <a:endParaRPr lang="en-US" sz="1200" kern="1200" dirty="0">
                        <a:solidFill>
                          <a:schemeClr val="tx1"/>
                        </a:solidFill>
                        <a:latin typeface="+mn-lt"/>
                        <a:ea typeface="+mn-ea"/>
                        <a:cs typeface="+mn-cs"/>
                      </a:endParaRPr>
                    </a:p>
                  </a:txBody>
                  <a:tcPr/>
                </a:tc>
                <a:tc>
                  <a:txBody>
                    <a:bodyPr/>
                    <a:lstStyle/>
                    <a:p>
                      <a:pPr marL="0" algn="l" defTabSz="914395" rtl="0" eaLnBrk="1" latinLnBrk="0" hangingPunct="1"/>
                      <a:r>
                        <a:rPr lang="en-US" sz="1200" kern="1200" dirty="0" smtClean="0">
                          <a:solidFill>
                            <a:schemeClr val="tx1"/>
                          </a:solidFill>
                          <a:latin typeface="+mn-lt"/>
                          <a:ea typeface="+mn-ea"/>
                          <a:cs typeface="+mn-cs"/>
                        </a:rPr>
                        <a:t>Develop strategy</a:t>
                      </a:r>
                      <a:r>
                        <a:rPr lang="en-US" sz="1200" kern="1200" baseline="0" dirty="0" smtClean="0">
                          <a:solidFill>
                            <a:schemeClr val="tx1"/>
                          </a:solidFill>
                          <a:latin typeface="+mn-lt"/>
                          <a:ea typeface="+mn-ea"/>
                          <a:cs typeface="+mn-cs"/>
                        </a:rPr>
                        <a:t> and plan for mechanization and irrigation systems for smallholders (MISS) in Africa</a:t>
                      </a:r>
                      <a:endParaRPr lang="en-US" sz="1200" kern="1200" dirty="0">
                        <a:solidFill>
                          <a:schemeClr val="tx1"/>
                        </a:solidFill>
                        <a:latin typeface="+mn-lt"/>
                        <a:ea typeface="+mn-ea"/>
                        <a:cs typeface="+mn-cs"/>
                      </a:endParaRPr>
                    </a:p>
                  </a:txBody>
                  <a:tcPr/>
                </a:tc>
                <a:extLst>
                  <a:ext uri="{0D108BD9-81ED-4DB2-BD59-A6C34878D82A}">
                    <a16:rowId xmlns:a16="http://schemas.microsoft.com/office/drawing/2014/main" xmlns="" val="10003"/>
                  </a:ext>
                </a:extLst>
              </a:tr>
              <a:tr h="554181">
                <a:tc>
                  <a:txBody>
                    <a:bodyPr/>
                    <a:lstStyle/>
                    <a:p>
                      <a:pPr marL="0" marR="0" indent="0" algn="l" defTabSz="914395"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latin typeface="+mn-lt"/>
                          <a:ea typeface="+mn-ea"/>
                          <a:cs typeface="+mn-cs"/>
                        </a:rPr>
                        <a:t>Achieving results in market led interventions requires maximum and constant engagement with private sector partners (market actors)</a:t>
                      </a:r>
                    </a:p>
                    <a:p>
                      <a:pPr marL="0" algn="l" defTabSz="914395" rtl="0" eaLnBrk="1" latinLnBrk="0" hangingPunct="1"/>
                      <a:endParaRPr lang="en-US" sz="1200" kern="1200" dirty="0">
                        <a:solidFill>
                          <a:schemeClr val="tx1"/>
                        </a:solidFill>
                        <a:latin typeface="+mn-lt"/>
                        <a:ea typeface="+mn-ea"/>
                        <a:cs typeface="+mn-cs"/>
                      </a:endParaRPr>
                    </a:p>
                  </a:txBody>
                  <a:tcPr/>
                </a:tc>
                <a:tc>
                  <a:txBody>
                    <a:bodyPr/>
                    <a:lstStyle/>
                    <a:p>
                      <a:pPr marL="0" algn="l" defTabSz="914395" rtl="0" eaLnBrk="1" latinLnBrk="0" hangingPunct="1"/>
                      <a:r>
                        <a:rPr lang="en-US" sz="1200" kern="1200" dirty="0" smtClean="0">
                          <a:solidFill>
                            <a:schemeClr val="tx1"/>
                          </a:solidFill>
                          <a:latin typeface="+mn-lt"/>
                          <a:ea typeface="+mn-ea"/>
                          <a:cs typeface="+mn-cs"/>
                        </a:rPr>
                        <a:t>Identify and</a:t>
                      </a:r>
                      <a:r>
                        <a:rPr lang="en-US" sz="1200" kern="1200" baseline="0" dirty="0" smtClean="0">
                          <a:solidFill>
                            <a:schemeClr val="tx1"/>
                          </a:solidFill>
                          <a:latin typeface="+mn-lt"/>
                          <a:ea typeface="+mn-ea"/>
                          <a:cs typeface="+mn-cs"/>
                        </a:rPr>
                        <a:t> engage prime movers of crop produce volumes in order to sustain off-take of excess production thus sustaining improved  productivity and adoption levels</a:t>
                      </a:r>
                      <a:endParaRPr lang="en-US" sz="1200" kern="1200" dirty="0">
                        <a:solidFill>
                          <a:schemeClr val="tx1"/>
                        </a:solidFill>
                        <a:latin typeface="+mn-lt"/>
                        <a:ea typeface="+mn-ea"/>
                        <a:cs typeface="+mn-cs"/>
                      </a:endParaRPr>
                    </a:p>
                  </a:txBody>
                  <a:tcPr/>
                </a:tc>
                <a:extLst>
                  <a:ext uri="{0D108BD9-81ED-4DB2-BD59-A6C34878D82A}">
                    <a16:rowId xmlns:a16="http://schemas.microsoft.com/office/drawing/2014/main" xmlns="" val="10004"/>
                  </a:ext>
                </a:extLst>
              </a:tr>
              <a:tr h="853439">
                <a:tc>
                  <a:txBody>
                    <a:bodyPr/>
                    <a:lstStyle/>
                    <a:p>
                      <a:pPr marL="0" marR="0" indent="0" algn="l" defTabSz="914395"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Reform</a:t>
                      </a:r>
                      <a:r>
                        <a:rPr lang="en-US" sz="1200" kern="1200" baseline="0" dirty="0" smtClean="0">
                          <a:solidFill>
                            <a:schemeClr val="tx1"/>
                          </a:solidFill>
                          <a:latin typeface="+mn-lt"/>
                          <a:ea typeface="+mn-ea"/>
                          <a:cs typeface="+mn-cs"/>
                        </a:rPr>
                        <a:t> impact analysis (RIA) and political economy assessment for policy options </a:t>
                      </a:r>
                      <a:r>
                        <a:rPr lang="en-US" sz="1200" kern="1200" dirty="0" smtClean="0">
                          <a:solidFill>
                            <a:schemeClr val="tx1"/>
                          </a:solidFill>
                          <a:latin typeface="+mn-lt"/>
                          <a:ea typeface="+mn-ea"/>
                          <a:cs typeface="+mn-cs"/>
                        </a:rPr>
                        <a:t>required to enhance policy and regulatory environment for inclusive agricultural transformation. </a:t>
                      </a:r>
                      <a:endParaRPr lang="en-US" sz="1200" kern="1200" dirty="0">
                        <a:solidFill>
                          <a:schemeClr val="tx1"/>
                        </a:solidFill>
                        <a:latin typeface="+mn-lt"/>
                        <a:ea typeface="+mn-ea"/>
                        <a:cs typeface="+mn-cs"/>
                      </a:endParaRPr>
                    </a:p>
                  </a:txBody>
                  <a:tcPr/>
                </a:tc>
                <a:tc>
                  <a:txBody>
                    <a:bodyPr/>
                    <a:lstStyle/>
                    <a:p>
                      <a:pPr marL="0" marR="0" indent="0" algn="l" defTabSz="914395"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Evidence building: Undertaking political economy analysis, economic and legal analyses to generate evidence is required to support and justify policy reforms required to enhance policy and regulatory environment for inclusive agricultural transformation. </a:t>
                      </a:r>
                      <a:endParaRPr lang="en-US" sz="1200" kern="1200" dirty="0">
                        <a:solidFill>
                          <a:schemeClr val="tx1"/>
                        </a:solidFill>
                        <a:latin typeface="+mn-lt"/>
                        <a:ea typeface="+mn-ea"/>
                        <a:cs typeface="+mn-cs"/>
                      </a:endParaRPr>
                    </a:p>
                  </a:txBody>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14708501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pic>
        <p:nvPicPr>
          <p:cNvPr id="166" name="Google Shape;166;p26"/>
          <p:cNvPicPr preferRelativeResize="0"/>
          <p:nvPr/>
        </p:nvPicPr>
        <p:blipFill rotWithShape="1">
          <a:blip r:embed="rId3">
            <a:alphaModFix/>
          </a:blip>
          <a:srcRect/>
          <a:stretch/>
        </p:blipFill>
        <p:spPr>
          <a:xfrm>
            <a:off x="1588" y="1588"/>
            <a:ext cx="1588" cy="1588"/>
          </a:xfrm>
          <a:prstGeom prst="rect">
            <a:avLst/>
          </a:prstGeom>
          <a:noFill/>
          <a:ln>
            <a:noFill/>
          </a:ln>
        </p:spPr>
      </p:pic>
      <p:sp>
        <p:nvSpPr>
          <p:cNvPr id="167" name="Google Shape;167;p26"/>
          <p:cNvSpPr txBox="1">
            <a:spLocks noGrp="1"/>
          </p:cNvSpPr>
          <p:nvPr>
            <p:ph type="title"/>
          </p:nvPr>
        </p:nvSpPr>
        <p:spPr>
          <a:xfrm>
            <a:off x="450741" y="134054"/>
            <a:ext cx="6788259" cy="582389"/>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2200"/>
              <a:buFont typeface="Arial"/>
              <a:buNone/>
            </a:pPr>
            <a:r>
              <a:rPr lang="en-US" sz="2200" b="1" i="0" u="none" strike="noStrike" cap="none" dirty="0">
                <a:solidFill>
                  <a:schemeClr val="dk1"/>
                </a:solidFill>
                <a:latin typeface="Arial"/>
                <a:ea typeface="Arial"/>
                <a:cs typeface="Arial"/>
                <a:sym typeface="Arial"/>
              </a:rPr>
              <a:t>Table of contents</a:t>
            </a:r>
            <a:endParaRPr sz="2200" b="1" i="0" u="none" strike="noStrike" cap="none" dirty="0">
              <a:solidFill>
                <a:schemeClr val="dk1"/>
              </a:solidFill>
              <a:latin typeface="Arial"/>
              <a:ea typeface="Arial"/>
              <a:cs typeface="Arial"/>
              <a:sym typeface="Arial"/>
            </a:endParaRPr>
          </a:p>
        </p:txBody>
      </p:sp>
      <p:graphicFrame>
        <p:nvGraphicFramePr>
          <p:cNvPr id="5" name="Google Shape;168;p26"/>
          <p:cNvGraphicFramePr/>
          <p:nvPr>
            <p:extLst>
              <p:ext uri="{D42A27DB-BD31-4B8C-83A1-F6EECF244321}">
                <p14:modId xmlns:p14="http://schemas.microsoft.com/office/powerpoint/2010/main" val="2200712108"/>
              </p:ext>
            </p:extLst>
          </p:nvPr>
        </p:nvGraphicFramePr>
        <p:xfrm>
          <a:off x="402932" y="1066800"/>
          <a:ext cx="8940765" cy="3032230"/>
        </p:xfrm>
        <a:graphic>
          <a:graphicData uri="http://schemas.openxmlformats.org/drawingml/2006/table">
            <a:tbl>
              <a:tblPr firstRow="1" bandRow="1">
                <a:noFill/>
                <a:tableStyleId>{318E6629-4EBB-4D30-9DD3-6ACEAB857B28}</a:tableStyleId>
              </a:tblPr>
              <a:tblGrid>
                <a:gridCol w="580108">
                  <a:extLst>
                    <a:ext uri="{9D8B030D-6E8A-4147-A177-3AD203B41FA5}">
                      <a16:colId xmlns:a16="http://schemas.microsoft.com/office/drawing/2014/main" xmlns="" val="20000"/>
                    </a:ext>
                  </a:extLst>
                </a:gridCol>
                <a:gridCol w="6404966">
                  <a:extLst>
                    <a:ext uri="{9D8B030D-6E8A-4147-A177-3AD203B41FA5}">
                      <a16:colId xmlns:a16="http://schemas.microsoft.com/office/drawing/2014/main" xmlns="" val="20001"/>
                    </a:ext>
                  </a:extLst>
                </a:gridCol>
                <a:gridCol w="1955691">
                  <a:extLst>
                    <a:ext uri="{9D8B030D-6E8A-4147-A177-3AD203B41FA5}">
                      <a16:colId xmlns:a16="http://schemas.microsoft.com/office/drawing/2014/main" xmlns="" val="20002"/>
                    </a:ext>
                  </a:extLst>
                </a:gridCol>
              </a:tblGrid>
              <a:tr h="303223">
                <a:tc>
                  <a:txBody>
                    <a:bodyPr/>
                    <a:lstStyle/>
                    <a:p>
                      <a:pPr marL="0" marR="0" lvl="0" indent="0" algn="l" rtl="0">
                        <a:spcBef>
                          <a:spcPts val="0"/>
                        </a:spcBef>
                        <a:spcAft>
                          <a:spcPts val="0"/>
                        </a:spcAft>
                        <a:buNone/>
                      </a:pP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a:latin typeface="+mn-lt"/>
                        </a:rPr>
                        <a:t>Section</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a:latin typeface="+mn-lt"/>
                        </a:rPr>
                        <a:t>Page Number</a:t>
                      </a:r>
                      <a:endParaRPr sz="1200" dirty="0">
                        <a:latin typeface="+mn-lt"/>
                      </a:endParaRPr>
                    </a:p>
                  </a:txBody>
                  <a:tcPr marL="91450" marR="91450" marT="45725" marB="45725"/>
                </a:tc>
                <a:extLst>
                  <a:ext uri="{0D108BD9-81ED-4DB2-BD59-A6C34878D82A}">
                    <a16:rowId xmlns:a16="http://schemas.microsoft.com/office/drawing/2014/main" xmlns="" val="10000"/>
                  </a:ext>
                </a:extLst>
              </a:tr>
              <a:tr h="303223">
                <a:tc>
                  <a:txBody>
                    <a:bodyPr/>
                    <a:lstStyle/>
                    <a:p>
                      <a:pPr marL="0" marR="0" lvl="0" indent="0" algn="l" rtl="0">
                        <a:spcBef>
                          <a:spcPts val="0"/>
                        </a:spcBef>
                        <a:spcAft>
                          <a:spcPts val="0"/>
                        </a:spcAft>
                        <a:buNone/>
                      </a:pPr>
                      <a:r>
                        <a:rPr lang="en-US" sz="1200" dirty="0">
                          <a:latin typeface="+mn-lt"/>
                        </a:rPr>
                        <a:t>1</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ZA" sz="1200" dirty="0">
                          <a:latin typeface="+mn-lt"/>
                        </a:rPr>
                        <a:t>Acronyms</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ZA" sz="1200" dirty="0">
                          <a:latin typeface="+mn-lt"/>
                        </a:rPr>
                        <a:t>3</a:t>
                      </a:r>
                      <a:endParaRPr sz="1200" dirty="0">
                        <a:latin typeface="+mn-lt"/>
                      </a:endParaRPr>
                    </a:p>
                  </a:txBody>
                  <a:tcPr marL="91450" marR="91450" marT="45725" marB="45725"/>
                </a:tc>
                <a:extLst>
                  <a:ext uri="{0D108BD9-81ED-4DB2-BD59-A6C34878D82A}">
                    <a16:rowId xmlns:a16="http://schemas.microsoft.com/office/drawing/2014/main" xmlns="" val="10001"/>
                  </a:ext>
                </a:extLst>
              </a:tr>
              <a:tr h="303223">
                <a:tc>
                  <a:txBody>
                    <a:bodyPr/>
                    <a:lstStyle/>
                    <a:p>
                      <a:pPr marL="0" marR="0" lvl="0" indent="0" algn="l" rtl="0">
                        <a:spcBef>
                          <a:spcPts val="0"/>
                        </a:spcBef>
                        <a:spcAft>
                          <a:spcPts val="0"/>
                        </a:spcAft>
                        <a:buNone/>
                      </a:pPr>
                      <a:r>
                        <a:rPr lang="en-US" sz="1200" dirty="0">
                          <a:latin typeface="+mn-lt"/>
                        </a:rPr>
                        <a:t>2</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ZA" sz="1200" dirty="0">
                          <a:latin typeface="+mn-lt"/>
                        </a:rPr>
                        <a:t>Executive </a:t>
                      </a:r>
                      <a:r>
                        <a:rPr lang="en-ZA" sz="1200" dirty="0" smtClean="0">
                          <a:latin typeface="+mn-lt"/>
                        </a:rPr>
                        <a:t>Summary</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ZA" sz="1200" dirty="0">
                          <a:latin typeface="+mn-lt"/>
                        </a:rPr>
                        <a:t>4</a:t>
                      </a:r>
                      <a:endParaRPr sz="1200" dirty="0">
                        <a:latin typeface="+mn-lt"/>
                      </a:endParaRPr>
                    </a:p>
                  </a:txBody>
                  <a:tcPr marL="91450" marR="91450" marT="45725" marB="45725"/>
                </a:tc>
                <a:extLst>
                  <a:ext uri="{0D108BD9-81ED-4DB2-BD59-A6C34878D82A}">
                    <a16:rowId xmlns:a16="http://schemas.microsoft.com/office/drawing/2014/main" xmlns="" val="10002"/>
                  </a:ext>
                </a:extLst>
              </a:tr>
              <a:tr h="303223">
                <a:tc>
                  <a:txBody>
                    <a:bodyPr/>
                    <a:lstStyle/>
                    <a:p>
                      <a:pPr marL="0" marR="0" lvl="0" indent="0" algn="l" rtl="0">
                        <a:spcBef>
                          <a:spcPts val="0"/>
                        </a:spcBef>
                        <a:spcAft>
                          <a:spcPts val="0"/>
                        </a:spcAft>
                        <a:buNone/>
                      </a:pPr>
                      <a:r>
                        <a:rPr lang="en-US" sz="1200" dirty="0">
                          <a:latin typeface="+mn-lt"/>
                        </a:rPr>
                        <a:t>3</a:t>
                      </a:r>
                      <a:endParaRPr sz="1200" dirty="0">
                        <a:latin typeface="+mn-lt"/>
                      </a:endParaRPr>
                    </a:p>
                  </a:txBody>
                  <a:tcPr marL="91450" marR="91450" marT="45725" marB="45725"/>
                </a:tc>
                <a:tc>
                  <a:txBody>
                    <a:bodyPr/>
                    <a:lstStyle/>
                    <a:p>
                      <a:pPr marL="0" marR="0" lvl="0" indent="0" algn="l" rtl="0">
                        <a:lnSpc>
                          <a:spcPct val="100000"/>
                        </a:lnSpc>
                        <a:spcBef>
                          <a:spcPts val="0"/>
                        </a:spcBef>
                        <a:spcAft>
                          <a:spcPts val="0"/>
                        </a:spcAft>
                        <a:buClr>
                          <a:schemeClr val="dk1"/>
                        </a:buClr>
                        <a:buSzPts val="1800"/>
                        <a:buFont typeface="Calibri"/>
                        <a:buNone/>
                      </a:pPr>
                      <a:r>
                        <a:rPr lang="en-US" sz="1200" dirty="0" smtClean="0">
                          <a:latin typeface="+mn-lt"/>
                        </a:rPr>
                        <a:t>AGRA Strategy Overview</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ZA" sz="1200" dirty="0">
                          <a:latin typeface="+mn-lt"/>
                        </a:rPr>
                        <a:t>7</a:t>
                      </a:r>
                      <a:endParaRPr sz="1200" dirty="0">
                        <a:latin typeface="+mn-lt"/>
                      </a:endParaRPr>
                    </a:p>
                  </a:txBody>
                  <a:tcPr marL="91450" marR="91450" marT="45725" marB="45725"/>
                </a:tc>
                <a:extLst>
                  <a:ext uri="{0D108BD9-81ED-4DB2-BD59-A6C34878D82A}">
                    <a16:rowId xmlns:a16="http://schemas.microsoft.com/office/drawing/2014/main" xmlns="" val="10003"/>
                  </a:ext>
                </a:extLst>
              </a:tr>
              <a:tr h="303223">
                <a:tc>
                  <a:txBody>
                    <a:bodyPr/>
                    <a:lstStyle/>
                    <a:p>
                      <a:pPr marL="0" marR="0" lvl="0" indent="0" algn="l" rtl="0">
                        <a:spcBef>
                          <a:spcPts val="0"/>
                        </a:spcBef>
                        <a:spcAft>
                          <a:spcPts val="0"/>
                        </a:spcAft>
                        <a:buNone/>
                      </a:pPr>
                      <a:r>
                        <a:rPr lang="en-US" sz="1200" dirty="0">
                          <a:latin typeface="+mn-lt"/>
                        </a:rPr>
                        <a:t>4</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Tanzania Agricultural Context</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ZA" sz="1200" dirty="0" smtClean="0">
                          <a:latin typeface="+mn-lt"/>
                        </a:rPr>
                        <a:t>11</a:t>
                      </a:r>
                      <a:endParaRPr sz="1200" dirty="0">
                        <a:latin typeface="+mn-lt"/>
                      </a:endParaRPr>
                    </a:p>
                  </a:txBody>
                  <a:tcPr marL="91450" marR="91450" marT="45725" marB="45725"/>
                </a:tc>
                <a:extLst>
                  <a:ext uri="{0D108BD9-81ED-4DB2-BD59-A6C34878D82A}">
                    <a16:rowId xmlns:a16="http://schemas.microsoft.com/office/drawing/2014/main" xmlns="" val="10004"/>
                  </a:ext>
                </a:extLst>
              </a:tr>
              <a:tr h="303223">
                <a:tc>
                  <a:txBody>
                    <a:bodyPr/>
                    <a:lstStyle/>
                    <a:p>
                      <a:pPr marL="0" marR="0" lvl="0" indent="0" algn="l" rtl="0">
                        <a:spcBef>
                          <a:spcPts val="0"/>
                        </a:spcBef>
                        <a:spcAft>
                          <a:spcPts val="0"/>
                        </a:spcAft>
                        <a:buNone/>
                      </a:pPr>
                      <a:r>
                        <a:rPr lang="en-US" sz="1200" dirty="0">
                          <a:latin typeface="+mn-lt"/>
                        </a:rPr>
                        <a:t>5</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AGRA Tanzania Strategy</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17</a:t>
                      </a:r>
                      <a:endParaRPr sz="1200" dirty="0">
                        <a:latin typeface="+mn-lt"/>
                      </a:endParaRPr>
                    </a:p>
                  </a:txBody>
                  <a:tcPr marL="91450" marR="91450" marT="45725" marB="45725"/>
                </a:tc>
                <a:extLst>
                  <a:ext uri="{0D108BD9-81ED-4DB2-BD59-A6C34878D82A}">
                    <a16:rowId xmlns:a16="http://schemas.microsoft.com/office/drawing/2014/main" xmlns="" val="10005"/>
                  </a:ext>
                </a:extLst>
              </a:tr>
              <a:tr h="303223">
                <a:tc>
                  <a:txBody>
                    <a:bodyPr/>
                    <a:lstStyle/>
                    <a:p>
                      <a:pPr marL="0" marR="0" lvl="0" indent="0" algn="l" rtl="0">
                        <a:spcBef>
                          <a:spcPts val="0"/>
                        </a:spcBef>
                        <a:spcAft>
                          <a:spcPts val="0"/>
                        </a:spcAft>
                        <a:buNone/>
                      </a:pPr>
                      <a:r>
                        <a:rPr lang="en-ZA" sz="1200" dirty="0">
                          <a:latin typeface="+mn-lt"/>
                        </a:rPr>
                        <a:t>6</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Our delivery – Portfolio to date, emerging context, lessons learned, emerging priorities</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27</a:t>
                      </a:r>
                      <a:endParaRPr sz="1200" dirty="0">
                        <a:latin typeface="+mn-lt"/>
                      </a:endParaRPr>
                    </a:p>
                  </a:txBody>
                  <a:tcPr marL="91450" marR="91450" marT="45725" marB="45725"/>
                </a:tc>
                <a:extLst>
                  <a:ext uri="{0D108BD9-81ED-4DB2-BD59-A6C34878D82A}">
                    <a16:rowId xmlns:a16="http://schemas.microsoft.com/office/drawing/2014/main" xmlns="" val="10006"/>
                  </a:ext>
                </a:extLst>
              </a:tr>
              <a:tr h="303223">
                <a:tc>
                  <a:txBody>
                    <a:bodyPr/>
                    <a:lstStyle/>
                    <a:p>
                      <a:pPr marL="0" marR="0" lvl="0" indent="0" algn="l" rtl="0">
                        <a:spcBef>
                          <a:spcPts val="0"/>
                        </a:spcBef>
                        <a:spcAft>
                          <a:spcPts val="0"/>
                        </a:spcAft>
                        <a:buNone/>
                      </a:pPr>
                      <a:r>
                        <a:rPr lang="en-ZA" sz="1200" dirty="0">
                          <a:latin typeface="+mn-lt"/>
                        </a:rPr>
                        <a:t>7</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The</a:t>
                      </a:r>
                      <a:r>
                        <a:rPr lang="en-US" sz="1200" baseline="0" dirty="0" smtClean="0">
                          <a:latin typeface="+mn-lt"/>
                        </a:rPr>
                        <a:t> Team</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35</a:t>
                      </a:r>
                      <a:endParaRPr sz="1200" dirty="0">
                        <a:latin typeface="+mn-lt"/>
                      </a:endParaRPr>
                    </a:p>
                  </a:txBody>
                  <a:tcPr marL="91450" marR="91450" marT="45725" marB="45725"/>
                </a:tc>
                <a:extLst>
                  <a:ext uri="{0D108BD9-81ED-4DB2-BD59-A6C34878D82A}">
                    <a16:rowId xmlns:a16="http://schemas.microsoft.com/office/drawing/2014/main" xmlns="" val="10007"/>
                  </a:ext>
                </a:extLst>
              </a:tr>
              <a:tr h="303223">
                <a:tc>
                  <a:txBody>
                    <a:bodyPr/>
                    <a:lstStyle/>
                    <a:p>
                      <a:pPr marL="0" marR="0" lvl="0" indent="0" algn="l" rtl="0">
                        <a:spcBef>
                          <a:spcPts val="0"/>
                        </a:spcBef>
                        <a:spcAft>
                          <a:spcPts val="0"/>
                        </a:spcAft>
                        <a:buNone/>
                      </a:pPr>
                      <a:r>
                        <a:rPr lang="en-ZA" sz="1200" dirty="0">
                          <a:latin typeface="+mn-lt"/>
                        </a:rPr>
                        <a:t>8 </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Annexes</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37</a:t>
                      </a:r>
                      <a:endParaRPr sz="1200" dirty="0">
                        <a:latin typeface="+mn-lt"/>
                      </a:endParaRPr>
                    </a:p>
                  </a:txBody>
                  <a:tcPr marL="91450" marR="91450" marT="45725" marB="45725"/>
                </a:tc>
                <a:extLst>
                  <a:ext uri="{0D108BD9-81ED-4DB2-BD59-A6C34878D82A}">
                    <a16:rowId xmlns:a16="http://schemas.microsoft.com/office/drawing/2014/main" xmlns="" val="10008"/>
                  </a:ext>
                </a:extLst>
              </a:tr>
              <a:tr h="303223">
                <a:tc>
                  <a:txBody>
                    <a:bodyPr/>
                    <a:lstStyle/>
                    <a:p>
                      <a:pPr marL="0" marR="0" lvl="0" indent="0" algn="l" rtl="0">
                        <a:spcBef>
                          <a:spcPts val="0"/>
                        </a:spcBef>
                        <a:spcAft>
                          <a:spcPts val="0"/>
                        </a:spcAft>
                        <a:buNone/>
                      </a:pPr>
                      <a:endParaRPr sz="1200" dirty="0">
                        <a:latin typeface="+mn-lt"/>
                      </a:endParaRPr>
                    </a:p>
                  </a:txBody>
                  <a:tcPr marL="91450" marR="91450" marT="45725" marB="45725"/>
                </a:tc>
                <a:tc>
                  <a:txBody>
                    <a:bodyPr/>
                    <a:lstStyle/>
                    <a:p>
                      <a:pPr marL="0" marR="0" lvl="0" indent="0" algn="l" rtl="0">
                        <a:spcBef>
                          <a:spcPts val="0"/>
                        </a:spcBef>
                        <a:spcAft>
                          <a:spcPts val="0"/>
                        </a:spcAft>
                        <a:buNone/>
                      </a:pPr>
                      <a:endParaRPr sz="1200" dirty="0">
                        <a:latin typeface="+mn-lt"/>
                      </a:endParaRPr>
                    </a:p>
                  </a:txBody>
                  <a:tcPr marL="91450" marR="91450" marT="45725" marB="45725"/>
                </a:tc>
                <a:tc>
                  <a:txBody>
                    <a:bodyPr/>
                    <a:lstStyle/>
                    <a:p>
                      <a:pPr marL="0" marR="0" lvl="0" indent="0" algn="l" rtl="0">
                        <a:spcBef>
                          <a:spcPts val="0"/>
                        </a:spcBef>
                        <a:spcAft>
                          <a:spcPts val="0"/>
                        </a:spcAft>
                        <a:buNone/>
                      </a:pPr>
                      <a:endParaRPr sz="1200" dirty="0">
                        <a:latin typeface="+mn-lt"/>
                      </a:endParaRPr>
                    </a:p>
                  </a:txBody>
                  <a:tcPr marL="91450" marR="91450" marT="45725" marB="45725"/>
                </a:tc>
                <a:extLst>
                  <a:ext uri="{0D108BD9-81ED-4DB2-BD59-A6C34878D82A}">
                    <a16:rowId xmlns:a16="http://schemas.microsoft.com/office/drawing/2014/main" xmlns="" val="10009"/>
                  </a:ext>
                </a:extLst>
              </a:tr>
            </a:tbl>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741" y="134054"/>
            <a:ext cx="7632757" cy="582389"/>
          </a:xfrm>
        </p:spPr>
        <p:txBody>
          <a:bodyPr/>
          <a:lstStyle/>
          <a:p>
            <a:r>
              <a:rPr lang="en-US" dirty="0"/>
              <a:t>A number of major donors and private sector companies </a:t>
            </a:r>
            <a:r>
              <a:rPr lang="en-US" dirty="0" smtClean="0"/>
              <a:t>are focused </a:t>
            </a:r>
            <a:r>
              <a:rPr lang="en-US" dirty="0"/>
              <a:t>on Southern and Northern </a:t>
            </a:r>
            <a:r>
              <a:rPr lang="en-US" dirty="0" smtClean="0"/>
              <a:t>Highlands</a:t>
            </a:r>
            <a:endParaRPr lang="en-US" dirty="0"/>
          </a:p>
        </p:txBody>
      </p:sp>
      <p:grpSp>
        <p:nvGrpSpPr>
          <p:cNvPr id="212" name="Group 211"/>
          <p:cNvGrpSpPr/>
          <p:nvPr/>
        </p:nvGrpSpPr>
        <p:grpSpPr>
          <a:xfrm>
            <a:off x="515429" y="903685"/>
            <a:ext cx="8872999" cy="5412056"/>
            <a:chOff x="515429" y="903684"/>
            <a:chExt cx="8872999" cy="5730029"/>
          </a:xfrm>
        </p:grpSpPr>
        <p:grpSp>
          <p:nvGrpSpPr>
            <p:cNvPr id="213" name="Group 212"/>
            <p:cNvGrpSpPr/>
            <p:nvPr>
              <p:custDataLst>
                <p:tags r:id="rId1"/>
              </p:custDataLst>
            </p:nvPr>
          </p:nvGrpSpPr>
          <p:grpSpPr>
            <a:xfrm>
              <a:off x="1313823" y="903684"/>
              <a:ext cx="935828" cy="573511"/>
              <a:chOff x="850054" y="1350816"/>
              <a:chExt cx="935828" cy="573511"/>
            </a:xfrm>
          </p:grpSpPr>
          <p:sp>
            <p:nvSpPr>
              <p:cNvPr id="418" name="Freeform 417"/>
              <p:cNvSpPr/>
              <p:nvPr>
                <p:custDataLst>
                  <p:tags r:id="rId26"/>
                </p:custDataLst>
              </p:nvPr>
            </p:nvSpPr>
            <p:spPr>
              <a:xfrm>
                <a:off x="850054"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49787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49787 w 1828800"/>
                  <a:gd name="connsiteY1" fmla="*/ 0 h 914400"/>
                  <a:gd name="connsiteX2" fmla="*/ 1828800 w 1828800"/>
                  <a:gd name="connsiteY2" fmla="*/ 457200 h 914400"/>
                  <a:gd name="connsiteX3" fmla="*/ 164978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49787 w 1828800"/>
                  <a:gd name="connsiteY1" fmla="*/ 0 h 914400"/>
                  <a:gd name="connsiteX2" fmla="*/ 1828800 w 1828800"/>
                  <a:gd name="connsiteY2" fmla="*/ 457200 h 914400"/>
                  <a:gd name="connsiteX3" fmla="*/ 164978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05034 w 1828800"/>
                  <a:gd name="connsiteY1" fmla="*/ 0 h 914400"/>
                  <a:gd name="connsiteX2" fmla="*/ 1828800 w 1828800"/>
                  <a:gd name="connsiteY2" fmla="*/ 457200 h 914400"/>
                  <a:gd name="connsiteX3" fmla="*/ 164978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05034 w 1828800"/>
                  <a:gd name="connsiteY1" fmla="*/ 0 h 914400"/>
                  <a:gd name="connsiteX2" fmla="*/ 1828800 w 1828800"/>
                  <a:gd name="connsiteY2" fmla="*/ 457200 h 914400"/>
                  <a:gd name="connsiteX3" fmla="*/ 160503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05034 w 1828800"/>
                  <a:gd name="connsiteY1" fmla="*/ 0 h 914400"/>
                  <a:gd name="connsiteX2" fmla="*/ 1828800 w 1828800"/>
                  <a:gd name="connsiteY2" fmla="*/ 457200 h 914400"/>
                  <a:gd name="connsiteX3" fmla="*/ 160503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2174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2174 w 1828800"/>
                  <a:gd name="connsiteY1" fmla="*/ 0 h 914400"/>
                  <a:gd name="connsiteX2" fmla="*/ 1828800 w 1828800"/>
                  <a:gd name="connsiteY2" fmla="*/ 457200 h 914400"/>
                  <a:gd name="connsiteX3" fmla="*/ 174217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2174 w 1828800"/>
                  <a:gd name="connsiteY1" fmla="*/ 0 h 914400"/>
                  <a:gd name="connsiteX2" fmla="*/ 1828800 w 1828800"/>
                  <a:gd name="connsiteY2" fmla="*/ 457200 h 914400"/>
                  <a:gd name="connsiteX3" fmla="*/ 174217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0517 w 1828800"/>
                  <a:gd name="connsiteY1" fmla="*/ 0 h 914400"/>
                  <a:gd name="connsiteX2" fmla="*/ 1828800 w 1828800"/>
                  <a:gd name="connsiteY2" fmla="*/ 457200 h 914400"/>
                  <a:gd name="connsiteX3" fmla="*/ 174217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0517 w 1828800"/>
                  <a:gd name="connsiteY1" fmla="*/ 0 h 914400"/>
                  <a:gd name="connsiteX2" fmla="*/ 1828800 w 1828800"/>
                  <a:gd name="connsiteY2" fmla="*/ 457200 h 914400"/>
                  <a:gd name="connsiteX3" fmla="*/ 172051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0517 w 1828800"/>
                  <a:gd name="connsiteY1" fmla="*/ 0 h 914400"/>
                  <a:gd name="connsiteX2" fmla="*/ 1828800 w 1828800"/>
                  <a:gd name="connsiteY2" fmla="*/ 457200 h 914400"/>
                  <a:gd name="connsiteX3" fmla="*/ 172051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2051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81404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81404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81404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9596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9596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139596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39596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39596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139596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27063 w 1828800"/>
                  <a:gd name="connsiteY3" fmla="*/ 914400 h 914400"/>
                  <a:gd name="connsiteX4" fmla="*/ 0 w 1828800"/>
                  <a:gd name="connsiteY4" fmla="*/ 914400 h 914400"/>
                  <a:gd name="connsiteX5" fmla="*/ 0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3" y="0"/>
                    </a:lnTo>
                    <a:lnTo>
                      <a:pt x="1828800" y="457200"/>
                    </a:lnTo>
                    <a:lnTo>
                      <a:pt x="1627063" y="914400"/>
                    </a:lnTo>
                    <a:lnTo>
                      <a:pt x="0" y="914400"/>
                    </a:lnTo>
                    <a:lnTo>
                      <a:pt x="0" y="457204"/>
                    </a:lnTo>
                    <a:close/>
                  </a:path>
                </a:pathLst>
              </a:custGeom>
              <a:solidFill>
                <a:srgbClr val="B5D474"/>
              </a:solidFill>
              <a:ln w="9525" cap="flat" cmpd="sng" algn="ctr">
                <a:noFill/>
                <a:prstDash val="solid"/>
              </a:ln>
              <a:effectLst/>
            </p:spPr>
            <p:txBody>
              <a:bodyPr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419" name="TextBox 418"/>
              <p:cNvSpPr txBox="1"/>
              <p:nvPr>
                <p:custDataLst>
                  <p:tags r:id="rId27"/>
                </p:custDataLst>
              </p:nvPr>
            </p:nvSpPr>
            <p:spPr>
              <a:xfrm>
                <a:off x="913554" y="1390642"/>
                <a:ext cx="769096"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800" b="1" i="0" u="none" strike="noStrike" kern="1200" cap="none" spc="0" normalizeH="0" baseline="0" noProof="0" dirty="0">
                    <a:ln>
                      <a:noFill/>
                    </a:ln>
                    <a:solidFill>
                      <a:srgbClr val="01632F"/>
                    </a:solidFill>
                    <a:effectLst/>
                    <a:uLnTx/>
                    <a:uFillTx/>
                    <a:latin typeface="Arial"/>
                    <a:ea typeface="+mn-ea"/>
                  </a:rPr>
                  <a:t>Seed supply &amp; research</a:t>
                </a:r>
              </a:p>
            </p:txBody>
          </p:sp>
        </p:grpSp>
        <p:grpSp>
          <p:nvGrpSpPr>
            <p:cNvPr id="214" name="Group 213"/>
            <p:cNvGrpSpPr/>
            <p:nvPr>
              <p:custDataLst>
                <p:tags r:id="rId2"/>
              </p:custDataLst>
            </p:nvPr>
          </p:nvGrpSpPr>
          <p:grpSpPr>
            <a:xfrm>
              <a:off x="2206170" y="903684"/>
              <a:ext cx="935828" cy="573511"/>
              <a:chOff x="1760302" y="1350816"/>
              <a:chExt cx="935828" cy="573511"/>
            </a:xfrm>
          </p:grpSpPr>
          <p:sp>
            <p:nvSpPr>
              <p:cNvPr id="416" name="Freeform 415"/>
              <p:cNvSpPr/>
              <p:nvPr>
                <p:custDataLst>
                  <p:tags r:id="rId24"/>
                </p:custDataLst>
              </p:nvPr>
            </p:nvSpPr>
            <p:spPr>
              <a:xfrm>
                <a:off x="1760302"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86626 w 1828800"/>
                  <a:gd name="connsiteY5" fmla="*/ 457203 h 914400"/>
                  <a:gd name="connsiteX0" fmla="*/ 0 w 1828800"/>
                  <a:gd name="connsiteY0" fmla="*/ 0 h 914400"/>
                  <a:gd name="connsiteX1" fmla="*/ 1742174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86626 w 1828800"/>
                  <a:gd name="connsiteY5" fmla="*/ 457203 h 914400"/>
                  <a:gd name="connsiteX0" fmla="*/ 0 w 1828800"/>
                  <a:gd name="connsiteY0" fmla="*/ 0 h 914400"/>
                  <a:gd name="connsiteX1" fmla="*/ 1742174 w 1828800"/>
                  <a:gd name="connsiteY1" fmla="*/ 0 h 914400"/>
                  <a:gd name="connsiteX2" fmla="*/ 1828800 w 1828800"/>
                  <a:gd name="connsiteY2" fmla="*/ 457200 h 914400"/>
                  <a:gd name="connsiteX3" fmla="*/ 1742174 w 1828800"/>
                  <a:gd name="connsiteY3" fmla="*/ 914400 h 914400"/>
                  <a:gd name="connsiteX4" fmla="*/ 0 w 1828800"/>
                  <a:gd name="connsiteY4" fmla="*/ 914400 h 914400"/>
                  <a:gd name="connsiteX5" fmla="*/ 86626 w 1828800"/>
                  <a:gd name="connsiteY5" fmla="*/ 457203 h 914400"/>
                  <a:gd name="connsiteX0" fmla="*/ 0 w 1828800"/>
                  <a:gd name="connsiteY0" fmla="*/ 0 h 914400"/>
                  <a:gd name="connsiteX1" fmla="*/ 1742174 w 1828800"/>
                  <a:gd name="connsiteY1" fmla="*/ 0 h 914400"/>
                  <a:gd name="connsiteX2" fmla="*/ 1828800 w 1828800"/>
                  <a:gd name="connsiteY2" fmla="*/ 457200 h 914400"/>
                  <a:gd name="connsiteX3" fmla="*/ 1742174 w 1828800"/>
                  <a:gd name="connsiteY3" fmla="*/ 914400 h 914400"/>
                  <a:gd name="connsiteX4" fmla="*/ 0 w 1828800"/>
                  <a:gd name="connsiteY4" fmla="*/ 914400 h 914400"/>
                  <a:gd name="connsiteX5" fmla="*/ 108283 w 1828800"/>
                  <a:gd name="connsiteY5" fmla="*/ 457203 h 914400"/>
                  <a:gd name="connsiteX0" fmla="*/ 0 w 1828800"/>
                  <a:gd name="connsiteY0" fmla="*/ 0 h 914400"/>
                  <a:gd name="connsiteX1" fmla="*/ 1720517 w 1828800"/>
                  <a:gd name="connsiteY1" fmla="*/ 0 h 914400"/>
                  <a:gd name="connsiteX2" fmla="*/ 1828800 w 1828800"/>
                  <a:gd name="connsiteY2" fmla="*/ 457200 h 914400"/>
                  <a:gd name="connsiteX3" fmla="*/ 1742174 w 1828800"/>
                  <a:gd name="connsiteY3" fmla="*/ 914400 h 914400"/>
                  <a:gd name="connsiteX4" fmla="*/ 0 w 1828800"/>
                  <a:gd name="connsiteY4" fmla="*/ 914400 h 914400"/>
                  <a:gd name="connsiteX5" fmla="*/ 108283 w 1828800"/>
                  <a:gd name="connsiteY5" fmla="*/ 457203 h 914400"/>
                  <a:gd name="connsiteX0" fmla="*/ 0 w 1828800"/>
                  <a:gd name="connsiteY0" fmla="*/ 0 h 914400"/>
                  <a:gd name="connsiteX1" fmla="*/ 1720517 w 1828800"/>
                  <a:gd name="connsiteY1" fmla="*/ 0 h 914400"/>
                  <a:gd name="connsiteX2" fmla="*/ 1828800 w 1828800"/>
                  <a:gd name="connsiteY2" fmla="*/ 457200 h 914400"/>
                  <a:gd name="connsiteX3" fmla="*/ 1720517 w 1828800"/>
                  <a:gd name="connsiteY3" fmla="*/ 914400 h 914400"/>
                  <a:gd name="connsiteX4" fmla="*/ 0 w 1828800"/>
                  <a:gd name="connsiteY4" fmla="*/ 914400 h 914400"/>
                  <a:gd name="connsiteX5" fmla="*/ 108283 w 1828800"/>
                  <a:gd name="connsiteY5" fmla="*/ 457203 h 914400"/>
                  <a:gd name="connsiteX0" fmla="*/ 0 w 1828800"/>
                  <a:gd name="connsiteY0" fmla="*/ 0 h 914400"/>
                  <a:gd name="connsiteX1" fmla="*/ 1720517 w 1828800"/>
                  <a:gd name="connsiteY1" fmla="*/ 0 h 914400"/>
                  <a:gd name="connsiteX2" fmla="*/ 1828800 w 1828800"/>
                  <a:gd name="connsiteY2" fmla="*/ 457200 h 914400"/>
                  <a:gd name="connsiteX3" fmla="*/ 172051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548 w 1828800"/>
                  <a:gd name="connsiteY1" fmla="*/ 0 h 914400"/>
                  <a:gd name="connsiteX2" fmla="*/ 1828800 w 1828800"/>
                  <a:gd name="connsiteY2" fmla="*/ 457200 h 914400"/>
                  <a:gd name="connsiteX3" fmla="*/ 172051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548 w 1828800"/>
                  <a:gd name="connsiteY1" fmla="*/ 0 h 914400"/>
                  <a:gd name="connsiteX2" fmla="*/ 1828800 w 1828800"/>
                  <a:gd name="connsiteY2" fmla="*/ 457200 h 914400"/>
                  <a:gd name="connsiteX3" fmla="*/ 17315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548 w 1828800"/>
                  <a:gd name="connsiteY1" fmla="*/ 0 h 914400"/>
                  <a:gd name="connsiteX2" fmla="*/ 1828800 w 1828800"/>
                  <a:gd name="connsiteY2" fmla="*/ 457200 h 914400"/>
                  <a:gd name="connsiteX3" fmla="*/ 17315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315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548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548 w 1828800"/>
                  <a:gd name="connsiteY1" fmla="*/ 0 h 914400"/>
                  <a:gd name="connsiteX2" fmla="*/ 1828800 w 1828800"/>
                  <a:gd name="connsiteY2" fmla="*/ 457200 h 914400"/>
                  <a:gd name="connsiteX3" fmla="*/ 17315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548 w 1828800"/>
                  <a:gd name="connsiteY1" fmla="*/ 0 h 914400"/>
                  <a:gd name="connsiteX2" fmla="*/ 1828800 w 1828800"/>
                  <a:gd name="connsiteY2" fmla="*/ 457200 h 914400"/>
                  <a:gd name="connsiteX3" fmla="*/ 17315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315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121565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121565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121565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44212 w 1828800"/>
                  <a:gd name="connsiteY5" fmla="*/ 457203 h 914400"/>
                  <a:gd name="connsiteX0" fmla="*/ 0 w 1828800"/>
                  <a:gd name="connsiteY0" fmla="*/ 0 h 914400"/>
                  <a:gd name="connsiteX1" fmla="*/ 168458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44212 w 1828800"/>
                  <a:gd name="connsiteY5" fmla="*/ 457203 h 914400"/>
                  <a:gd name="connsiteX0" fmla="*/ 0 w 1828800"/>
                  <a:gd name="connsiteY0" fmla="*/ 0 h 914400"/>
                  <a:gd name="connsiteX1" fmla="*/ 1684588 w 1828800"/>
                  <a:gd name="connsiteY1" fmla="*/ 0 h 914400"/>
                  <a:gd name="connsiteX2" fmla="*/ 1828800 w 1828800"/>
                  <a:gd name="connsiteY2" fmla="*/ 457200 h 914400"/>
                  <a:gd name="connsiteX3" fmla="*/ 1684588 w 1828800"/>
                  <a:gd name="connsiteY3" fmla="*/ 914400 h 914400"/>
                  <a:gd name="connsiteX4" fmla="*/ 0 w 1828800"/>
                  <a:gd name="connsiteY4" fmla="*/ 914400 h 914400"/>
                  <a:gd name="connsiteX5" fmla="*/ 144212 w 1828800"/>
                  <a:gd name="connsiteY5" fmla="*/ 457203 h 914400"/>
                  <a:gd name="connsiteX0" fmla="*/ 0 w 1828800"/>
                  <a:gd name="connsiteY0" fmla="*/ 0 h 914400"/>
                  <a:gd name="connsiteX1" fmla="*/ 1684588 w 1828800"/>
                  <a:gd name="connsiteY1" fmla="*/ 0 h 914400"/>
                  <a:gd name="connsiteX2" fmla="*/ 1828800 w 1828800"/>
                  <a:gd name="connsiteY2" fmla="*/ 457200 h 914400"/>
                  <a:gd name="connsiteX3" fmla="*/ 168458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2 w 1828800"/>
                  <a:gd name="connsiteY1" fmla="*/ 0 h 914400"/>
                  <a:gd name="connsiteX2" fmla="*/ 1828800 w 1828800"/>
                  <a:gd name="connsiteY2" fmla="*/ 457200 h 914400"/>
                  <a:gd name="connsiteX3" fmla="*/ 168458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2 w 1828800"/>
                  <a:gd name="connsiteY1" fmla="*/ 0 h 914400"/>
                  <a:gd name="connsiteX2" fmla="*/ 1828800 w 1828800"/>
                  <a:gd name="connsiteY2" fmla="*/ 457200 h 914400"/>
                  <a:gd name="connsiteX3" fmla="*/ 168920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2 w 1828800"/>
                  <a:gd name="connsiteY1" fmla="*/ 0 h 914400"/>
                  <a:gd name="connsiteX2" fmla="*/ 1828800 w 1828800"/>
                  <a:gd name="connsiteY2" fmla="*/ 457200 h 914400"/>
                  <a:gd name="connsiteX3" fmla="*/ 168920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2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2 w 1828800"/>
                  <a:gd name="connsiteY1" fmla="*/ 0 h 914400"/>
                  <a:gd name="connsiteX2" fmla="*/ 1828800 w 1828800"/>
                  <a:gd name="connsiteY2" fmla="*/ 457200 h 914400"/>
                  <a:gd name="connsiteX3" fmla="*/ 168920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2 w 1828800"/>
                  <a:gd name="connsiteY1" fmla="*/ 0 h 914400"/>
                  <a:gd name="connsiteX2" fmla="*/ 1828800 w 1828800"/>
                  <a:gd name="connsiteY2" fmla="*/ 457200 h 914400"/>
                  <a:gd name="connsiteX3" fmla="*/ 168920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27063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3" y="0"/>
                    </a:lnTo>
                    <a:lnTo>
                      <a:pt x="1828800" y="457200"/>
                    </a:lnTo>
                    <a:lnTo>
                      <a:pt x="1627063" y="914400"/>
                    </a:lnTo>
                    <a:lnTo>
                      <a:pt x="0" y="914400"/>
                    </a:lnTo>
                    <a:lnTo>
                      <a:pt x="201737" y="457204"/>
                    </a:lnTo>
                    <a:close/>
                  </a:path>
                </a:pathLst>
              </a:custGeom>
              <a:solidFill>
                <a:srgbClr val="B5D474"/>
              </a:solidFill>
              <a:ln w="9525" cap="flat" cmpd="sng" algn="ctr">
                <a:noFill/>
                <a:prstDash val="solid"/>
              </a:ln>
              <a:effectLst/>
            </p:spPr>
            <p:txBody>
              <a:bodyPr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417" name="TextBox 416"/>
              <p:cNvSpPr txBox="1"/>
              <p:nvPr>
                <p:custDataLst>
                  <p:tags r:id="rId25"/>
                </p:custDataLst>
              </p:nvPr>
            </p:nvSpPr>
            <p:spPr>
              <a:xfrm>
                <a:off x="1914334" y="1390642"/>
                <a:ext cx="678564"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800" b="1" i="0" u="none" strike="noStrike" kern="1200" cap="none" spc="0" normalizeH="0" baseline="0" noProof="0" dirty="0">
                    <a:ln>
                      <a:noFill/>
                    </a:ln>
                    <a:solidFill>
                      <a:srgbClr val="01632F"/>
                    </a:solidFill>
                    <a:effectLst/>
                    <a:uLnTx/>
                    <a:uFillTx/>
                    <a:latin typeface="Arial"/>
                    <a:ea typeface="+mn-ea"/>
                  </a:rPr>
                  <a:t>Fertilizer supply &amp; research</a:t>
                </a:r>
              </a:p>
            </p:txBody>
          </p:sp>
        </p:grpSp>
        <p:grpSp>
          <p:nvGrpSpPr>
            <p:cNvPr id="215" name="Group 214"/>
            <p:cNvGrpSpPr/>
            <p:nvPr>
              <p:custDataLst>
                <p:tags r:id="rId3"/>
              </p:custDataLst>
            </p:nvPr>
          </p:nvGrpSpPr>
          <p:grpSpPr>
            <a:xfrm>
              <a:off x="7560251" y="903684"/>
              <a:ext cx="935828" cy="573511"/>
              <a:chOff x="7078581" y="1350816"/>
              <a:chExt cx="935828" cy="573511"/>
            </a:xfrm>
          </p:grpSpPr>
          <p:sp>
            <p:nvSpPr>
              <p:cNvPr id="414" name="Freeform 413"/>
              <p:cNvSpPr/>
              <p:nvPr>
                <p:custDataLst>
                  <p:tags r:id="rId22"/>
                </p:custDataLst>
              </p:nvPr>
            </p:nvSpPr>
            <p:spPr>
              <a:xfrm>
                <a:off x="7078581"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5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5 w 1828800"/>
                  <a:gd name="connsiteY1" fmla="*/ 0 h 914400"/>
                  <a:gd name="connsiteX2" fmla="*/ 1828800 w 1828800"/>
                  <a:gd name="connsiteY2" fmla="*/ 457200 h 914400"/>
                  <a:gd name="connsiteX3" fmla="*/ 1707205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5 w 1828800"/>
                  <a:gd name="connsiteY1" fmla="*/ 0 h 914400"/>
                  <a:gd name="connsiteX2" fmla="*/ 1828800 w 1828800"/>
                  <a:gd name="connsiteY2" fmla="*/ 457200 h 914400"/>
                  <a:gd name="connsiteX3" fmla="*/ 1707205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7 w 1828800"/>
                  <a:gd name="connsiteY1" fmla="*/ 0 h 914400"/>
                  <a:gd name="connsiteX2" fmla="*/ 1828800 w 1828800"/>
                  <a:gd name="connsiteY2" fmla="*/ 457200 h 914400"/>
                  <a:gd name="connsiteX3" fmla="*/ 1707205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7 w 1828800"/>
                  <a:gd name="connsiteY1" fmla="*/ 0 h 914400"/>
                  <a:gd name="connsiteX2" fmla="*/ 1828800 w 1828800"/>
                  <a:gd name="connsiteY2" fmla="*/ 457200 h 914400"/>
                  <a:gd name="connsiteX3" fmla="*/ 16768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7 w 1828800"/>
                  <a:gd name="connsiteY1" fmla="*/ 0 h 914400"/>
                  <a:gd name="connsiteX2" fmla="*/ 1828800 w 1828800"/>
                  <a:gd name="connsiteY2" fmla="*/ 457200 h 914400"/>
                  <a:gd name="connsiteX3" fmla="*/ 167680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7680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8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8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162738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2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2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203422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8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8 w 1828800"/>
                  <a:gd name="connsiteY1" fmla="*/ 0 h 914400"/>
                  <a:gd name="connsiteX2" fmla="*/ 1828800 w 1828800"/>
                  <a:gd name="connsiteY2" fmla="*/ 457200 h 914400"/>
                  <a:gd name="connsiteX3" fmla="*/ 1649788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8 w 1828800"/>
                  <a:gd name="connsiteY1" fmla="*/ 0 h 914400"/>
                  <a:gd name="connsiteX2" fmla="*/ 1828800 w 1828800"/>
                  <a:gd name="connsiteY2" fmla="*/ 457200 h 914400"/>
                  <a:gd name="connsiteX3" fmla="*/ 1649788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5 w 1828800"/>
                  <a:gd name="connsiteY1" fmla="*/ 0 h 914400"/>
                  <a:gd name="connsiteX2" fmla="*/ 1828800 w 1828800"/>
                  <a:gd name="connsiteY2" fmla="*/ 457200 h 914400"/>
                  <a:gd name="connsiteX3" fmla="*/ 1649788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5 w 1828800"/>
                  <a:gd name="connsiteY1" fmla="*/ 0 h 914400"/>
                  <a:gd name="connsiteX2" fmla="*/ 1828800 w 1828800"/>
                  <a:gd name="connsiteY2" fmla="*/ 457200 h 914400"/>
                  <a:gd name="connsiteX3" fmla="*/ 1605035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5 w 1828800"/>
                  <a:gd name="connsiteY1" fmla="*/ 0 h 914400"/>
                  <a:gd name="connsiteX2" fmla="*/ 1828800 w 1828800"/>
                  <a:gd name="connsiteY2" fmla="*/ 457200 h 914400"/>
                  <a:gd name="connsiteX3" fmla="*/ 1605035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5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9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9 w 1828800"/>
                  <a:gd name="connsiteY1" fmla="*/ 0 h 914400"/>
                  <a:gd name="connsiteX2" fmla="*/ 1828800 w 1828800"/>
                  <a:gd name="connsiteY2" fmla="*/ 457200 h 914400"/>
                  <a:gd name="connsiteX3" fmla="*/ 1747179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9 w 1828800"/>
                  <a:gd name="connsiteY1" fmla="*/ 0 h 914400"/>
                  <a:gd name="connsiteX2" fmla="*/ 1828800 w 1828800"/>
                  <a:gd name="connsiteY2" fmla="*/ 457200 h 914400"/>
                  <a:gd name="connsiteX3" fmla="*/ 1747179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9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58276 w 1828800"/>
                  <a:gd name="connsiteY5" fmla="*/ 457203 h 914400"/>
                  <a:gd name="connsiteX0" fmla="*/ 0 w 1828800"/>
                  <a:gd name="connsiteY0" fmla="*/ 0 h 914400"/>
                  <a:gd name="connsiteX1" fmla="*/ 1770523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58276 w 1828800"/>
                  <a:gd name="connsiteY5" fmla="*/ 457203 h 914400"/>
                  <a:gd name="connsiteX0" fmla="*/ 0 w 1828800"/>
                  <a:gd name="connsiteY0" fmla="*/ 0 h 914400"/>
                  <a:gd name="connsiteX1" fmla="*/ 1770523 w 1828800"/>
                  <a:gd name="connsiteY1" fmla="*/ 0 h 914400"/>
                  <a:gd name="connsiteX2" fmla="*/ 1828800 w 1828800"/>
                  <a:gd name="connsiteY2" fmla="*/ 457200 h 914400"/>
                  <a:gd name="connsiteX3" fmla="*/ 1770523 w 1828800"/>
                  <a:gd name="connsiteY3" fmla="*/ 914400 h 914400"/>
                  <a:gd name="connsiteX4" fmla="*/ 0 w 1828800"/>
                  <a:gd name="connsiteY4" fmla="*/ 914400 h 914400"/>
                  <a:gd name="connsiteX5" fmla="*/ 58276 w 1828800"/>
                  <a:gd name="connsiteY5" fmla="*/ 457203 h 914400"/>
                  <a:gd name="connsiteX0" fmla="*/ 0 w 1828800"/>
                  <a:gd name="connsiteY0" fmla="*/ 0 h 914400"/>
                  <a:gd name="connsiteX1" fmla="*/ 1770523 w 1828800"/>
                  <a:gd name="connsiteY1" fmla="*/ 0 h 914400"/>
                  <a:gd name="connsiteX2" fmla="*/ 1828800 w 1828800"/>
                  <a:gd name="connsiteY2" fmla="*/ 457200 h 914400"/>
                  <a:gd name="connsiteX3" fmla="*/ 1770523 w 1828800"/>
                  <a:gd name="connsiteY3" fmla="*/ 914400 h 914400"/>
                  <a:gd name="connsiteX4" fmla="*/ 0 w 1828800"/>
                  <a:gd name="connsiteY4" fmla="*/ 914400 h 914400"/>
                  <a:gd name="connsiteX5" fmla="*/ 72845 w 1828800"/>
                  <a:gd name="connsiteY5" fmla="*/ 457203 h 914400"/>
                  <a:gd name="connsiteX0" fmla="*/ 0 w 1828800"/>
                  <a:gd name="connsiteY0" fmla="*/ 0 h 914400"/>
                  <a:gd name="connsiteX1" fmla="*/ 1755954 w 1828800"/>
                  <a:gd name="connsiteY1" fmla="*/ 0 h 914400"/>
                  <a:gd name="connsiteX2" fmla="*/ 1828800 w 1828800"/>
                  <a:gd name="connsiteY2" fmla="*/ 457200 h 914400"/>
                  <a:gd name="connsiteX3" fmla="*/ 1770523 w 1828800"/>
                  <a:gd name="connsiteY3" fmla="*/ 914400 h 914400"/>
                  <a:gd name="connsiteX4" fmla="*/ 0 w 1828800"/>
                  <a:gd name="connsiteY4" fmla="*/ 914400 h 914400"/>
                  <a:gd name="connsiteX5" fmla="*/ 72845 w 1828800"/>
                  <a:gd name="connsiteY5" fmla="*/ 457203 h 914400"/>
                  <a:gd name="connsiteX0" fmla="*/ 0 w 1828800"/>
                  <a:gd name="connsiteY0" fmla="*/ 0 h 914400"/>
                  <a:gd name="connsiteX1" fmla="*/ 1755954 w 1828800"/>
                  <a:gd name="connsiteY1" fmla="*/ 0 h 914400"/>
                  <a:gd name="connsiteX2" fmla="*/ 1828800 w 1828800"/>
                  <a:gd name="connsiteY2" fmla="*/ 457200 h 914400"/>
                  <a:gd name="connsiteX3" fmla="*/ 1755954 w 1828800"/>
                  <a:gd name="connsiteY3" fmla="*/ 914400 h 914400"/>
                  <a:gd name="connsiteX4" fmla="*/ 0 w 1828800"/>
                  <a:gd name="connsiteY4" fmla="*/ 914400 h 914400"/>
                  <a:gd name="connsiteX5" fmla="*/ 72845 w 1828800"/>
                  <a:gd name="connsiteY5" fmla="*/ 457203 h 914400"/>
                  <a:gd name="connsiteX0" fmla="*/ 0 w 1828800"/>
                  <a:gd name="connsiteY0" fmla="*/ 0 h 914400"/>
                  <a:gd name="connsiteX1" fmla="*/ 1755954 w 1828800"/>
                  <a:gd name="connsiteY1" fmla="*/ 0 h 914400"/>
                  <a:gd name="connsiteX2" fmla="*/ 1828800 w 1828800"/>
                  <a:gd name="connsiteY2" fmla="*/ 457200 h 914400"/>
                  <a:gd name="connsiteX3" fmla="*/ 175595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5595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81403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81403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81403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70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700 w 1828800"/>
                  <a:gd name="connsiteY1" fmla="*/ 0 h 914400"/>
                  <a:gd name="connsiteX2" fmla="*/ 1828800 w 1828800"/>
                  <a:gd name="connsiteY2" fmla="*/ 457200 h 914400"/>
                  <a:gd name="connsiteX3" fmla="*/ 169770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700 w 1828800"/>
                  <a:gd name="connsiteY1" fmla="*/ 0 h 914400"/>
                  <a:gd name="connsiteX2" fmla="*/ 1828800 w 1828800"/>
                  <a:gd name="connsiteY2" fmla="*/ 457200 h 914400"/>
                  <a:gd name="connsiteX3" fmla="*/ 1697700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700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5 w 1828800"/>
                  <a:gd name="connsiteY1" fmla="*/ 0 h 914400"/>
                  <a:gd name="connsiteX2" fmla="*/ 1828800 w 1828800"/>
                  <a:gd name="connsiteY2" fmla="*/ 457200 h 914400"/>
                  <a:gd name="connsiteX3" fmla="*/ 1627065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5" y="0"/>
                    </a:lnTo>
                    <a:lnTo>
                      <a:pt x="1828800" y="457200"/>
                    </a:lnTo>
                    <a:lnTo>
                      <a:pt x="1627065" y="914400"/>
                    </a:lnTo>
                    <a:lnTo>
                      <a:pt x="0" y="914400"/>
                    </a:lnTo>
                    <a:lnTo>
                      <a:pt x="201737" y="457204"/>
                    </a:lnTo>
                    <a:close/>
                  </a:path>
                </a:pathLst>
              </a:custGeom>
              <a:solidFill>
                <a:srgbClr val="B5D474"/>
              </a:solidFill>
              <a:ln w="9525" cap="flat" cmpd="sng" algn="ctr">
                <a:noFill/>
                <a:prstDash val="solid"/>
              </a:ln>
              <a:effectLst/>
            </p:spPr>
            <p:txBody>
              <a:bodyPr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415" name="TextBox 414"/>
              <p:cNvSpPr txBox="1"/>
              <p:nvPr>
                <p:custDataLst>
                  <p:tags r:id="rId23"/>
                </p:custDataLst>
              </p:nvPr>
            </p:nvSpPr>
            <p:spPr>
              <a:xfrm>
                <a:off x="7232613" y="1390642"/>
                <a:ext cx="678564"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800" b="1" i="0" u="none" strike="noStrike" kern="1200" cap="none" spc="0" normalizeH="0" baseline="0" noProof="0" dirty="0">
                    <a:ln>
                      <a:noFill/>
                    </a:ln>
                    <a:solidFill>
                      <a:srgbClr val="01632F"/>
                    </a:solidFill>
                    <a:effectLst/>
                    <a:uLnTx/>
                    <a:uFillTx/>
                    <a:latin typeface="Arial"/>
                    <a:ea typeface="+mn-ea"/>
                  </a:rPr>
                  <a:t>Market linkages</a:t>
                </a:r>
              </a:p>
            </p:txBody>
          </p:sp>
        </p:grpSp>
        <p:grpSp>
          <p:nvGrpSpPr>
            <p:cNvPr id="216" name="Group 215"/>
            <p:cNvGrpSpPr/>
            <p:nvPr>
              <p:custDataLst>
                <p:tags r:id="rId4"/>
              </p:custDataLst>
            </p:nvPr>
          </p:nvGrpSpPr>
          <p:grpSpPr>
            <a:xfrm>
              <a:off x="3990865" y="903684"/>
              <a:ext cx="935827" cy="573511"/>
              <a:chOff x="3533062" y="1350816"/>
              <a:chExt cx="935827" cy="573511"/>
            </a:xfrm>
          </p:grpSpPr>
          <p:sp>
            <p:nvSpPr>
              <p:cNvPr id="412" name="Freeform 411"/>
              <p:cNvSpPr/>
              <p:nvPr>
                <p:custDataLst>
                  <p:tags r:id="rId20"/>
                </p:custDataLst>
              </p:nvPr>
            </p:nvSpPr>
            <p:spPr>
              <a:xfrm>
                <a:off x="3533062" y="1350816"/>
                <a:ext cx="935827"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04882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04882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04882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174496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174496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174496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27063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3" y="0"/>
                    </a:lnTo>
                    <a:lnTo>
                      <a:pt x="1828800" y="457200"/>
                    </a:lnTo>
                    <a:lnTo>
                      <a:pt x="1627063" y="914400"/>
                    </a:lnTo>
                    <a:lnTo>
                      <a:pt x="0" y="914400"/>
                    </a:lnTo>
                    <a:lnTo>
                      <a:pt x="201737" y="457204"/>
                    </a:lnTo>
                    <a:close/>
                  </a:path>
                </a:pathLst>
              </a:custGeom>
              <a:solidFill>
                <a:srgbClr val="B5D474"/>
              </a:solidFill>
              <a:ln w="9525" cap="flat" cmpd="sng" algn="ctr">
                <a:noFill/>
                <a:prstDash val="solid"/>
              </a:ln>
              <a:effectLst/>
            </p:spPr>
            <p:txBody>
              <a:bodyPr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413" name="TextBox 412"/>
              <p:cNvSpPr txBox="1"/>
              <p:nvPr>
                <p:custDataLst>
                  <p:tags r:id="rId21"/>
                </p:custDataLst>
              </p:nvPr>
            </p:nvSpPr>
            <p:spPr>
              <a:xfrm>
                <a:off x="3687094" y="1390642"/>
                <a:ext cx="678563"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800" b="1" i="0" u="none" strike="noStrike" kern="1200" cap="none" spc="0" normalizeH="0" baseline="0" noProof="0" dirty="0">
                    <a:ln>
                      <a:noFill/>
                    </a:ln>
                    <a:solidFill>
                      <a:srgbClr val="01632F"/>
                    </a:solidFill>
                    <a:effectLst/>
                    <a:uLnTx/>
                    <a:uFillTx/>
                    <a:latin typeface="Arial"/>
                    <a:ea typeface="+mn-ea"/>
                  </a:rPr>
                  <a:t>Infrastructure</a:t>
                </a:r>
              </a:p>
            </p:txBody>
          </p:sp>
        </p:grpSp>
        <p:grpSp>
          <p:nvGrpSpPr>
            <p:cNvPr id="217" name="Group 216"/>
            <p:cNvGrpSpPr/>
            <p:nvPr>
              <p:custDataLst>
                <p:tags r:id="rId5"/>
              </p:custDataLst>
            </p:nvPr>
          </p:nvGrpSpPr>
          <p:grpSpPr>
            <a:xfrm>
              <a:off x="4883210" y="903684"/>
              <a:ext cx="935828" cy="573511"/>
              <a:chOff x="4419441" y="1350816"/>
              <a:chExt cx="935828" cy="573511"/>
            </a:xfrm>
          </p:grpSpPr>
          <p:sp>
            <p:nvSpPr>
              <p:cNvPr id="410" name="Freeform 409"/>
              <p:cNvSpPr/>
              <p:nvPr>
                <p:custDataLst>
                  <p:tags r:id="rId18"/>
                </p:custDataLst>
              </p:nvPr>
            </p:nvSpPr>
            <p:spPr>
              <a:xfrm>
                <a:off x="4419441"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7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7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7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27063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3" y="0"/>
                    </a:lnTo>
                    <a:lnTo>
                      <a:pt x="1828800" y="457200"/>
                    </a:lnTo>
                    <a:lnTo>
                      <a:pt x="1627063" y="914400"/>
                    </a:lnTo>
                    <a:lnTo>
                      <a:pt x="0" y="914400"/>
                    </a:lnTo>
                    <a:lnTo>
                      <a:pt x="201737" y="457204"/>
                    </a:lnTo>
                    <a:close/>
                  </a:path>
                </a:pathLst>
              </a:custGeom>
              <a:solidFill>
                <a:srgbClr val="B5D474"/>
              </a:solidFill>
              <a:ln w="9525" cap="flat" cmpd="sng" algn="ctr">
                <a:noFill/>
                <a:prstDash val="solid"/>
              </a:ln>
              <a:effectLst/>
            </p:spPr>
            <p:txBody>
              <a:bodyPr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411" name="TextBox 410"/>
              <p:cNvSpPr txBox="1"/>
              <p:nvPr>
                <p:custDataLst>
                  <p:tags r:id="rId19"/>
                </p:custDataLst>
              </p:nvPr>
            </p:nvSpPr>
            <p:spPr>
              <a:xfrm>
                <a:off x="4573473" y="1563410"/>
                <a:ext cx="678564" cy="1483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800" b="1" i="0" u="none" strike="noStrike" kern="1200" cap="none" spc="0" normalizeH="0" baseline="0" noProof="0" dirty="0">
                    <a:ln>
                      <a:noFill/>
                    </a:ln>
                    <a:solidFill>
                      <a:srgbClr val="01632F"/>
                    </a:solidFill>
                    <a:effectLst/>
                    <a:uLnTx/>
                    <a:uFillTx/>
                    <a:latin typeface="Arial"/>
                    <a:ea typeface="+mn-ea"/>
                  </a:rPr>
                  <a:t>Extension</a:t>
                </a:r>
              </a:p>
            </p:txBody>
          </p:sp>
        </p:grpSp>
        <p:grpSp>
          <p:nvGrpSpPr>
            <p:cNvPr id="218" name="Group 217"/>
            <p:cNvGrpSpPr/>
            <p:nvPr>
              <p:custDataLst>
                <p:tags r:id="rId6"/>
              </p:custDataLst>
            </p:nvPr>
          </p:nvGrpSpPr>
          <p:grpSpPr>
            <a:xfrm>
              <a:off x="5775557" y="903684"/>
              <a:ext cx="935828" cy="573511"/>
              <a:chOff x="5305821" y="1350816"/>
              <a:chExt cx="935828" cy="573511"/>
            </a:xfrm>
          </p:grpSpPr>
          <p:sp>
            <p:nvSpPr>
              <p:cNvPr id="408" name="Freeform 407"/>
              <p:cNvSpPr/>
              <p:nvPr>
                <p:custDataLst>
                  <p:tags r:id="rId16"/>
                </p:custDataLst>
              </p:nvPr>
            </p:nvSpPr>
            <p:spPr>
              <a:xfrm>
                <a:off x="5305821"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0488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0488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10488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13110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13110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110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27063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3" y="0"/>
                    </a:lnTo>
                    <a:lnTo>
                      <a:pt x="1828800" y="457200"/>
                    </a:lnTo>
                    <a:lnTo>
                      <a:pt x="1627063" y="914400"/>
                    </a:lnTo>
                    <a:lnTo>
                      <a:pt x="0" y="914400"/>
                    </a:lnTo>
                    <a:lnTo>
                      <a:pt x="201737" y="457204"/>
                    </a:lnTo>
                    <a:close/>
                  </a:path>
                </a:pathLst>
              </a:custGeom>
              <a:solidFill>
                <a:srgbClr val="B5D474"/>
              </a:solidFill>
              <a:ln w="9525" cap="flat" cmpd="sng" algn="ctr">
                <a:noFill/>
                <a:prstDash val="solid"/>
              </a:ln>
              <a:effectLst/>
            </p:spPr>
            <p:txBody>
              <a:bodyPr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409" name="TextBox 408"/>
              <p:cNvSpPr txBox="1"/>
              <p:nvPr>
                <p:custDataLst>
                  <p:tags r:id="rId17"/>
                </p:custDataLst>
              </p:nvPr>
            </p:nvSpPr>
            <p:spPr>
              <a:xfrm>
                <a:off x="5459853" y="1489248"/>
                <a:ext cx="678564" cy="2966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800" b="1" i="0" u="none" strike="noStrike" kern="1200" cap="none" spc="0" normalizeH="0" baseline="0" noProof="0" dirty="0">
                    <a:ln>
                      <a:noFill/>
                    </a:ln>
                    <a:solidFill>
                      <a:srgbClr val="01632F"/>
                    </a:solidFill>
                    <a:effectLst/>
                    <a:uLnTx/>
                    <a:uFillTx/>
                    <a:latin typeface="Arial"/>
                    <a:ea typeface="+mn-ea"/>
                  </a:rPr>
                  <a:t>Farmer organization</a:t>
                </a:r>
              </a:p>
            </p:txBody>
          </p:sp>
        </p:grpSp>
        <p:grpSp>
          <p:nvGrpSpPr>
            <p:cNvPr id="219" name="Group 218"/>
            <p:cNvGrpSpPr/>
            <p:nvPr>
              <p:custDataLst>
                <p:tags r:id="rId7"/>
              </p:custDataLst>
            </p:nvPr>
          </p:nvGrpSpPr>
          <p:grpSpPr>
            <a:xfrm>
              <a:off x="6667904" y="903684"/>
              <a:ext cx="935828" cy="573511"/>
              <a:chOff x="6192201" y="1350816"/>
              <a:chExt cx="935828" cy="573511"/>
            </a:xfrm>
          </p:grpSpPr>
          <p:sp>
            <p:nvSpPr>
              <p:cNvPr id="406" name="Freeform 405"/>
              <p:cNvSpPr/>
              <p:nvPr>
                <p:custDataLst>
                  <p:tags r:id="rId14"/>
                </p:custDataLst>
              </p:nvPr>
            </p:nvSpPr>
            <p:spPr>
              <a:xfrm>
                <a:off x="6192201"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4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4 w 1828800"/>
                  <a:gd name="connsiteY1" fmla="*/ 0 h 914400"/>
                  <a:gd name="connsiteX2" fmla="*/ 1828800 w 1828800"/>
                  <a:gd name="connsiteY2" fmla="*/ 457200 h 914400"/>
                  <a:gd name="connsiteX3" fmla="*/ 1637114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4 w 1828800"/>
                  <a:gd name="connsiteY1" fmla="*/ 0 h 914400"/>
                  <a:gd name="connsiteX2" fmla="*/ 1828800 w 1828800"/>
                  <a:gd name="connsiteY2" fmla="*/ 457200 h 914400"/>
                  <a:gd name="connsiteX3" fmla="*/ 1637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37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5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5 w 1828800"/>
                  <a:gd name="connsiteY1" fmla="*/ 0 h 914400"/>
                  <a:gd name="connsiteX2" fmla="*/ 1828800 w 1828800"/>
                  <a:gd name="connsiteY2" fmla="*/ 457200 h 914400"/>
                  <a:gd name="connsiteX3" fmla="*/ 157366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5 w 1828800"/>
                  <a:gd name="connsiteY1" fmla="*/ 0 h 914400"/>
                  <a:gd name="connsiteX2" fmla="*/ 1828800 w 1828800"/>
                  <a:gd name="connsiteY2" fmla="*/ 457200 h 914400"/>
                  <a:gd name="connsiteX3" fmla="*/ 1573665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5 w 1828800"/>
                  <a:gd name="connsiteY1" fmla="*/ 0 h 914400"/>
                  <a:gd name="connsiteX2" fmla="*/ 1828800 w 1828800"/>
                  <a:gd name="connsiteY2" fmla="*/ 457200 h 914400"/>
                  <a:gd name="connsiteX3" fmla="*/ 1573665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5 w 1828800"/>
                  <a:gd name="connsiteY1" fmla="*/ 0 h 914400"/>
                  <a:gd name="connsiteX2" fmla="*/ 1828800 w 1828800"/>
                  <a:gd name="connsiteY2" fmla="*/ 457200 h 914400"/>
                  <a:gd name="connsiteX3" fmla="*/ 1573665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5 w 1828800"/>
                  <a:gd name="connsiteY1" fmla="*/ 0 h 914400"/>
                  <a:gd name="connsiteX2" fmla="*/ 1828800 w 1828800"/>
                  <a:gd name="connsiteY2" fmla="*/ 457200 h 914400"/>
                  <a:gd name="connsiteX3" fmla="*/ 157366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8 w 1828800"/>
                  <a:gd name="connsiteY1" fmla="*/ 0 h 914400"/>
                  <a:gd name="connsiteX2" fmla="*/ 1828800 w 1828800"/>
                  <a:gd name="connsiteY2" fmla="*/ 457200 h 914400"/>
                  <a:gd name="connsiteX3" fmla="*/ 157366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8 w 1828800"/>
                  <a:gd name="connsiteY1" fmla="*/ 0 h 914400"/>
                  <a:gd name="connsiteX2" fmla="*/ 1828800 w 1828800"/>
                  <a:gd name="connsiteY2" fmla="*/ 457200 h 914400"/>
                  <a:gd name="connsiteX3" fmla="*/ 1643248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8 w 1828800"/>
                  <a:gd name="connsiteY1" fmla="*/ 0 h 914400"/>
                  <a:gd name="connsiteX2" fmla="*/ 1828800 w 1828800"/>
                  <a:gd name="connsiteY2" fmla="*/ 457200 h 914400"/>
                  <a:gd name="connsiteX3" fmla="*/ 1643248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8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8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8 w 1828800"/>
                  <a:gd name="connsiteY1" fmla="*/ 0 h 914400"/>
                  <a:gd name="connsiteX2" fmla="*/ 1828800 w 1828800"/>
                  <a:gd name="connsiteY2" fmla="*/ 457200 h 914400"/>
                  <a:gd name="connsiteX3" fmla="*/ 1643248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8 w 1828800"/>
                  <a:gd name="connsiteY1" fmla="*/ 0 h 914400"/>
                  <a:gd name="connsiteX2" fmla="*/ 1828800 w 1828800"/>
                  <a:gd name="connsiteY2" fmla="*/ 457200 h 914400"/>
                  <a:gd name="connsiteX3" fmla="*/ 1643248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643248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5 w 1828800"/>
                  <a:gd name="connsiteY1" fmla="*/ 0 h 914400"/>
                  <a:gd name="connsiteX2" fmla="*/ 1828800 w 1828800"/>
                  <a:gd name="connsiteY2" fmla="*/ 457200 h 914400"/>
                  <a:gd name="connsiteX3" fmla="*/ 1627065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5" y="0"/>
                    </a:lnTo>
                    <a:lnTo>
                      <a:pt x="1828800" y="457200"/>
                    </a:lnTo>
                    <a:lnTo>
                      <a:pt x="1627065" y="914400"/>
                    </a:lnTo>
                    <a:lnTo>
                      <a:pt x="0" y="914400"/>
                    </a:lnTo>
                    <a:lnTo>
                      <a:pt x="201737" y="457204"/>
                    </a:lnTo>
                    <a:close/>
                  </a:path>
                </a:pathLst>
              </a:custGeom>
              <a:solidFill>
                <a:srgbClr val="B5D474"/>
              </a:solidFill>
              <a:ln w="9525" cap="flat" cmpd="sng" algn="ctr">
                <a:noFill/>
                <a:prstDash val="solid"/>
              </a:ln>
              <a:effectLst/>
            </p:spPr>
            <p:txBody>
              <a:bodyPr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407" name="TextBox 406"/>
              <p:cNvSpPr txBox="1"/>
              <p:nvPr>
                <p:custDataLst>
                  <p:tags r:id="rId15"/>
                </p:custDataLst>
              </p:nvPr>
            </p:nvSpPr>
            <p:spPr>
              <a:xfrm>
                <a:off x="6346233" y="1390642"/>
                <a:ext cx="678564"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800" b="1" i="0" u="none" strike="noStrike" kern="1200" cap="none" spc="0" normalizeH="0" baseline="0" noProof="0" dirty="0">
                    <a:ln>
                      <a:noFill/>
                    </a:ln>
                    <a:solidFill>
                      <a:srgbClr val="01632F"/>
                    </a:solidFill>
                    <a:effectLst/>
                    <a:uLnTx/>
                    <a:uFillTx/>
                    <a:latin typeface="Arial"/>
                    <a:ea typeface="+mn-ea"/>
                  </a:rPr>
                  <a:t>Agrodealers</a:t>
                </a:r>
              </a:p>
            </p:txBody>
          </p:sp>
        </p:grpSp>
        <p:grpSp>
          <p:nvGrpSpPr>
            <p:cNvPr id="220" name="Group 219"/>
            <p:cNvGrpSpPr/>
            <p:nvPr>
              <p:custDataLst>
                <p:tags r:id="rId8"/>
              </p:custDataLst>
            </p:nvPr>
          </p:nvGrpSpPr>
          <p:grpSpPr>
            <a:xfrm>
              <a:off x="3098517" y="903684"/>
              <a:ext cx="935828" cy="573511"/>
              <a:chOff x="2646682" y="1350816"/>
              <a:chExt cx="935828" cy="573511"/>
            </a:xfrm>
          </p:grpSpPr>
          <p:sp>
            <p:nvSpPr>
              <p:cNvPr id="404" name="Freeform 403"/>
              <p:cNvSpPr/>
              <p:nvPr>
                <p:custDataLst>
                  <p:tags r:id="rId12"/>
                </p:custDataLst>
              </p:nvPr>
            </p:nvSpPr>
            <p:spPr>
              <a:xfrm>
                <a:off x="2646682"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27063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3" y="0"/>
                    </a:lnTo>
                    <a:lnTo>
                      <a:pt x="1828800" y="457200"/>
                    </a:lnTo>
                    <a:lnTo>
                      <a:pt x="1627063" y="914400"/>
                    </a:lnTo>
                    <a:lnTo>
                      <a:pt x="0" y="914400"/>
                    </a:lnTo>
                    <a:lnTo>
                      <a:pt x="201737" y="457204"/>
                    </a:lnTo>
                    <a:close/>
                  </a:path>
                </a:pathLst>
              </a:custGeom>
              <a:solidFill>
                <a:srgbClr val="B5D474"/>
              </a:solidFill>
              <a:ln w="9525" cap="flat" cmpd="sng" algn="ctr">
                <a:noFill/>
                <a:prstDash val="solid"/>
              </a:ln>
              <a:effectLst/>
            </p:spPr>
            <p:txBody>
              <a:bodyPr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405" name="TextBox 404"/>
              <p:cNvSpPr txBox="1"/>
              <p:nvPr>
                <p:custDataLst>
                  <p:tags r:id="rId13"/>
                </p:custDataLst>
              </p:nvPr>
            </p:nvSpPr>
            <p:spPr>
              <a:xfrm>
                <a:off x="2800714" y="1390642"/>
                <a:ext cx="678564"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800" b="1" i="0" u="none" strike="noStrike" kern="1200" cap="none" spc="0" normalizeH="0" baseline="0" noProof="0" dirty="0">
                    <a:ln>
                      <a:noFill/>
                    </a:ln>
                    <a:solidFill>
                      <a:srgbClr val="01632F"/>
                    </a:solidFill>
                    <a:effectLst/>
                    <a:uLnTx/>
                    <a:uFillTx/>
                    <a:latin typeface="Arial"/>
                    <a:ea typeface="+mn-ea"/>
                  </a:rPr>
                  <a:t>Other ag. inputs</a:t>
                </a:r>
              </a:p>
            </p:txBody>
          </p:sp>
        </p:grpSp>
        <p:cxnSp>
          <p:nvCxnSpPr>
            <p:cNvPr id="221" name="Straight Connector 220"/>
            <p:cNvCxnSpPr>
              <a:cxnSpLocks/>
            </p:cNvCxnSpPr>
            <p:nvPr/>
          </p:nvCxnSpPr>
          <p:spPr>
            <a:xfrm>
              <a:off x="1313823" y="2423998"/>
              <a:ext cx="8074604" cy="0"/>
            </a:xfrm>
            <a:prstGeom prst="line">
              <a:avLst/>
            </a:prstGeom>
            <a:noFill/>
            <a:ln w="9525" cap="flat" cmpd="sng" algn="ctr">
              <a:solidFill>
                <a:srgbClr val="808080"/>
              </a:solidFill>
              <a:prstDash val="dash"/>
            </a:ln>
            <a:effectLst/>
          </p:spPr>
        </p:cxnSp>
        <p:cxnSp>
          <p:nvCxnSpPr>
            <p:cNvPr id="222" name="Straight Connector 221"/>
            <p:cNvCxnSpPr>
              <a:cxnSpLocks/>
            </p:cNvCxnSpPr>
            <p:nvPr/>
          </p:nvCxnSpPr>
          <p:spPr>
            <a:xfrm>
              <a:off x="1313823" y="3358446"/>
              <a:ext cx="8074604" cy="0"/>
            </a:xfrm>
            <a:prstGeom prst="line">
              <a:avLst/>
            </a:prstGeom>
            <a:noFill/>
            <a:ln w="9525" cap="flat" cmpd="sng" algn="ctr">
              <a:solidFill>
                <a:srgbClr val="808080"/>
              </a:solidFill>
              <a:prstDash val="dash"/>
            </a:ln>
            <a:effectLst/>
          </p:spPr>
        </p:cxnSp>
        <p:cxnSp>
          <p:nvCxnSpPr>
            <p:cNvPr id="223" name="Straight Connector 222"/>
            <p:cNvCxnSpPr>
              <a:cxnSpLocks/>
            </p:cNvCxnSpPr>
            <p:nvPr/>
          </p:nvCxnSpPr>
          <p:spPr>
            <a:xfrm>
              <a:off x="517575" y="4292889"/>
              <a:ext cx="8870853" cy="0"/>
            </a:xfrm>
            <a:prstGeom prst="line">
              <a:avLst/>
            </a:prstGeom>
            <a:noFill/>
            <a:ln w="9525" cap="flat" cmpd="sng" algn="ctr">
              <a:solidFill>
                <a:srgbClr val="808080"/>
              </a:solidFill>
              <a:prstDash val="solid"/>
            </a:ln>
            <a:effectLst/>
          </p:spPr>
        </p:cxnSp>
        <p:cxnSp>
          <p:nvCxnSpPr>
            <p:cNvPr id="224" name="Straight Connector 223"/>
            <p:cNvCxnSpPr>
              <a:cxnSpLocks/>
            </p:cNvCxnSpPr>
            <p:nvPr/>
          </p:nvCxnSpPr>
          <p:spPr>
            <a:xfrm>
              <a:off x="1313823" y="5227334"/>
              <a:ext cx="8074604" cy="0"/>
            </a:xfrm>
            <a:prstGeom prst="line">
              <a:avLst/>
            </a:prstGeom>
            <a:noFill/>
            <a:ln w="9525" cap="flat" cmpd="sng" algn="ctr">
              <a:solidFill>
                <a:srgbClr val="808080"/>
              </a:solidFill>
              <a:prstDash val="dash"/>
            </a:ln>
            <a:effectLst/>
          </p:spPr>
        </p:cxnSp>
        <p:sp>
          <p:nvSpPr>
            <p:cNvPr id="225" name="TextBox 224"/>
            <p:cNvSpPr txBox="1"/>
            <p:nvPr/>
          </p:nvSpPr>
          <p:spPr>
            <a:xfrm>
              <a:off x="517575" y="1544916"/>
              <a:ext cx="663548" cy="823720"/>
            </a:xfrm>
            <a:prstGeom prst="rect">
              <a:avLst/>
            </a:prstGeom>
            <a:solidFill>
              <a:srgbClr val="808080">
                <a:lumMod val="20000"/>
                <a:lumOff val="80000"/>
              </a:srgbClr>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800" b="1" i="0" u="none" strike="noStrike" kern="1200" cap="none" spc="0" normalizeH="0" baseline="0" noProof="0" dirty="0">
                  <a:ln>
                    <a:noFill/>
                  </a:ln>
                  <a:solidFill>
                    <a:srgbClr val="01632F"/>
                  </a:solidFill>
                  <a:effectLst/>
                  <a:uLnTx/>
                  <a:uFillTx/>
                  <a:latin typeface="Arial"/>
                  <a:ea typeface="+mn-ea"/>
                </a:rPr>
                <a:t>Southern Highlands</a:t>
              </a:r>
            </a:p>
          </p:txBody>
        </p:sp>
        <p:sp>
          <p:nvSpPr>
            <p:cNvPr id="226" name="TextBox 225"/>
            <p:cNvSpPr txBox="1"/>
            <p:nvPr/>
          </p:nvSpPr>
          <p:spPr>
            <a:xfrm>
              <a:off x="517575" y="2479361"/>
              <a:ext cx="663548" cy="823720"/>
            </a:xfrm>
            <a:prstGeom prst="rect">
              <a:avLst/>
            </a:prstGeom>
            <a:solidFill>
              <a:srgbClr val="808080">
                <a:lumMod val="20000"/>
                <a:lumOff val="80000"/>
              </a:srgbClr>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800" b="1" i="0" u="none" strike="noStrike" kern="1200" cap="none" spc="0" normalizeH="0" baseline="0" noProof="0" dirty="0">
                  <a:ln>
                    <a:noFill/>
                  </a:ln>
                  <a:solidFill>
                    <a:srgbClr val="01632F"/>
                  </a:solidFill>
                  <a:effectLst/>
                  <a:uLnTx/>
                  <a:uFillTx/>
                  <a:latin typeface="Arial"/>
                  <a:ea typeface="+mn-ea"/>
                </a:rPr>
                <a:t>Northern Highlands</a:t>
              </a:r>
            </a:p>
          </p:txBody>
        </p:sp>
        <p:sp>
          <p:nvSpPr>
            <p:cNvPr id="227" name="TextBox 226"/>
            <p:cNvSpPr txBox="1">
              <a:spLocks/>
            </p:cNvSpPr>
            <p:nvPr/>
          </p:nvSpPr>
          <p:spPr>
            <a:xfrm>
              <a:off x="517575" y="4348250"/>
              <a:ext cx="663548" cy="823720"/>
            </a:xfrm>
            <a:prstGeom prst="rect">
              <a:avLst/>
            </a:prstGeom>
            <a:solidFill>
              <a:srgbClr val="018942"/>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FFFFFF"/>
                </a:buClr>
                <a:buSzTx/>
                <a:buFontTx/>
                <a:buNone/>
                <a:tabLst/>
                <a:defRPr/>
              </a:pPr>
              <a:r>
                <a:rPr kumimoji="0" lang="en-US" sz="800" b="1" i="0" u="none" strike="noStrike" kern="1200" cap="none" spc="0" normalizeH="0" baseline="0" noProof="0" dirty="0">
                  <a:ln>
                    <a:noFill/>
                  </a:ln>
                  <a:solidFill>
                    <a:srgbClr val="FFFFFF"/>
                  </a:solidFill>
                  <a:effectLst/>
                  <a:uLnTx/>
                  <a:uFillTx/>
                  <a:latin typeface="Arial"/>
                  <a:ea typeface="+mn-ea"/>
                </a:rPr>
                <a:t>National &amp; regional policy</a:t>
              </a:r>
            </a:p>
          </p:txBody>
        </p:sp>
        <p:sp>
          <p:nvSpPr>
            <p:cNvPr id="228" name="TextBox 227"/>
            <p:cNvSpPr txBox="1">
              <a:spLocks/>
            </p:cNvSpPr>
            <p:nvPr/>
          </p:nvSpPr>
          <p:spPr>
            <a:xfrm>
              <a:off x="517575" y="3413805"/>
              <a:ext cx="663548" cy="823720"/>
            </a:xfrm>
            <a:prstGeom prst="rect">
              <a:avLst/>
            </a:prstGeom>
            <a:solidFill>
              <a:srgbClr val="808080">
                <a:lumMod val="20000"/>
                <a:lumOff val="80000"/>
              </a:srgbClr>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800" b="1" i="0" u="none" strike="noStrike" kern="1200" cap="none" spc="0" normalizeH="0" baseline="0" noProof="0" dirty="0">
                  <a:ln>
                    <a:noFill/>
                  </a:ln>
                  <a:solidFill>
                    <a:srgbClr val="01632F"/>
                  </a:solidFill>
                  <a:effectLst/>
                  <a:uLnTx/>
                  <a:uFillTx/>
                  <a:latin typeface="Arial"/>
                  <a:ea typeface="+mn-ea"/>
                </a:rPr>
                <a:t>Western Highlands</a:t>
              </a:r>
            </a:p>
          </p:txBody>
        </p:sp>
        <p:sp>
          <p:nvSpPr>
            <p:cNvPr id="229" name="TextBox 228"/>
            <p:cNvSpPr txBox="1">
              <a:spLocks/>
            </p:cNvSpPr>
            <p:nvPr/>
          </p:nvSpPr>
          <p:spPr>
            <a:xfrm>
              <a:off x="517575" y="5282696"/>
              <a:ext cx="663548" cy="736325"/>
            </a:xfrm>
            <a:prstGeom prst="rect">
              <a:avLst/>
            </a:prstGeom>
            <a:solidFill>
              <a:srgbClr val="018942"/>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FFFFFF"/>
                </a:buClr>
                <a:buSzTx/>
                <a:buFontTx/>
                <a:buNone/>
                <a:tabLst/>
                <a:defRPr/>
              </a:pPr>
              <a:r>
                <a:rPr kumimoji="0" lang="en-US" sz="800" b="1" i="0" u="none" strike="noStrike" kern="1200" cap="none" spc="0" normalizeH="0" baseline="0" noProof="0" dirty="0">
                  <a:ln>
                    <a:noFill/>
                  </a:ln>
                  <a:solidFill>
                    <a:srgbClr val="FFFFFF"/>
                  </a:solidFill>
                  <a:effectLst/>
                  <a:uLnTx/>
                  <a:uFillTx/>
                  <a:latin typeface="Arial"/>
                  <a:ea typeface="+mn-ea"/>
                </a:rPr>
                <a:t>Agri-cultural finance</a:t>
              </a:r>
            </a:p>
          </p:txBody>
        </p:sp>
        <p:grpSp>
          <p:nvGrpSpPr>
            <p:cNvPr id="230" name="Group 229"/>
            <p:cNvGrpSpPr/>
            <p:nvPr>
              <p:custDataLst>
                <p:tags r:id="rId9"/>
              </p:custDataLst>
            </p:nvPr>
          </p:nvGrpSpPr>
          <p:grpSpPr>
            <a:xfrm>
              <a:off x="8452599" y="903684"/>
              <a:ext cx="935828" cy="573511"/>
              <a:chOff x="7988830" y="1350816"/>
              <a:chExt cx="935828" cy="573511"/>
            </a:xfrm>
          </p:grpSpPr>
          <p:sp>
            <p:nvSpPr>
              <p:cNvPr id="402" name="Freeform 401"/>
              <p:cNvSpPr/>
              <p:nvPr>
                <p:custDataLst>
                  <p:tags r:id="rId10"/>
                </p:custDataLst>
              </p:nvPr>
            </p:nvSpPr>
            <p:spPr>
              <a:xfrm>
                <a:off x="7988830"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5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5 w 1828800"/>
                  <a:gd name="connsiteY1" fmla="*/ 0 h 914400"/>
                  <a:gd name="connsiteX2" fmla="*/ 1828800 w 1828800"/>
                  <a:gd name="connsiteY2" fmla="*/ 457200 h 914400"/>
                  <a:gd name="connsiteX3" fmla="*/ 1707205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5 w 1828800"/>
                  <a:gd name="connsiteY1" fmla="*/ 0 h 914400"/>
                  <a:gd name="connsiteX2" fmla="*/ 1828800 w 1828800"/>
                  <a:gd name="connsiteY2" fmla="*/ 457200 h 914400"/>
                  <a:gd name="connsiteX3" fmla="*/ 1707205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7 w 1828800"/>
                  <a:gd name="connsiteY1" fmla="*/ 0 h 914400"/>
                  <a:gd name="connsiteX2" fmla="*/ 1828800 w 1828800"/>
                  <a:gd name="connsiteY2" fmla="*/ 457200 h 914400"/>
                  <a:gd name="connsiteX3" fmla="*/ 1707205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7 w 1828800"/>
                  <a:gd name="connsiteY1" fmla="*/ 0 h 914400"/>
                  <a:gd name="connsiteX2" fmla="*/ 1828800 w 1828800"/>
                  <a:gd name="connsiteY2" fmla="*/ 457200 h 914400"/>
                  <a:gd name="connsiteX3" fmla="*/ 16768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7 w 1828800"/>
                  <a:gd name="connsiteY1" fmla="*/ 0 h 914400"/>
                  <a:gd name="connsiteX2" fmla="*/ 1828800 w 1828800"/>
                  <a:gd name="connsiteY2" fmla="*/ 457200 h 914400"/>
                  <a:gd name="connsiteX3" fmla="*/ 167680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7680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8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8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162738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2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2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203422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8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8 w 1828800"/>
                  <a:gd name="connsiteY1" fmla="*/ 0 h 914400"/>
                  <a:gd name="connsiteX2" fmla="*/ 1828800 w 1828800"/>
                  <a:gd name="connsiteY2" fmla="*/ 457200 h 914400"/>
                  <a:gd name="connsiteX3" fmla="*/ 1649788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8 w 1828800"/>
                  <a:gd name="connsiteY1" fmla="*/ 0 h 914400"/>
                  <a:gd name="connsiteX2" fmla="*/ 1828800 w 1828800"/>
                  <a:gd name="connsiteY2" fmla="*/ 457200 h 914400"/>
                  <a:gd name="connsiteX3" fmla="*/ 1649788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5 w 1828800"/>
                  <a:gd name="connsiteY1" fmla="*/ 0 h 914400"/>
                  <a:gd name="connsiteX2" fmla="*/ 1828800 w 1828800"/>
                  <a:gd name="connsiteY2" fmla="*/ 457200 h 914400"/>
                  <a:gd name="connsiteX3" fmla="*/ 1649788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5 w 1828800"/>
                  <a:gd name="connsiteY1" fmla="*/ 0 h 914400"/>
                  <a:gd name="connsiteX2" fmla="*/ 1828800 w 1828800"/>
                  <a:gd name="connsiteY2" fmla="*/ 457200 h 914400"/>
                  <a:gd name="connsiteX3" fmla="*/ 1605035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5 w 1828800"/>
                  <a:gd name="connsiteY1" fmla="*/ 0 h 914400"/>
                  <a:gd name="connsiteX2" fmla="*/ 1828800 w 1828800"/>
                  <a:gd name="connsiteY2" fmla="*/ 457200 h 914400"/>
                  <a:gd name="connsiteX3" fmla="*/ 1605035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5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9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9 w 1828800"/>
                  <a:gd name="connsiteY1" fmla="*/ 0 h 914400"/>
                  <a:gd name="connsiteX2" fmla="*/ 1828800 w 1828800"/>
                  <a:gd name="connsiteY2" fmla="*/ 457200 h 914400"/>
                  <a:gd name="connsiteX3" fmla="*/ 1747179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9 w 1828800"/>
                  <a:gd name="connsiteY1" fmla="*/ 0 h 914400"/>
                  <a:gd name="connsiteX2" fmla="*/ 1828800 w 1828800"/>
                  <a:gd name="connsiteY2" fmla="*/ 457200 h 914400"/>
                  <a:gd name="connsiteX3" fmla="*/ 1747179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9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58276 w 1828800"/>
                  <a:gd name="connsiteY5" fmla="*/ 457203 h 914400"/>
                  <a:gd name="connsiteX0" fmla="*/ 0 w 1828800"/>
                  <a:gd name="connsiteY0" fmla="*/ 0 h 914400"/>
                  <a:gd name="connsiteX1" fmla="*/ 1770523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58276 w 1828800"/>
                  <a:gd name="connsiteY5" fmla="*/ 457203 h 914400"/>
                  <a:gd name="connsiteX0" fmla="*/ 0 w 1828800"/>
                  <a:gd name="connsiteY0" fmla="*/ 0 h 914400"/>
                  <a:gd name="connsiteX1" fmla="*/ 1770523 w 1828800"/>
                  <a:gd name="connsiteY1" fmla="*/ 0 h 914400"/>
                  <a:gd name="connsiteX2" fmla="*/ 1828800 w 1828800"/>
                  <a:gd name="connsiteY2" fmla="*/ 457200 h 914400"/>
                  <a:gd name="connsiteX3" fmla="*/ 1770523 w 1828800"/>
                  <a:gd name="connsiteY3" fmla="*/ 914400 h 914400"/>
                  <a:gd name="connsiteX4" fmla="*/ 0 w 1828800"/>
                  <a:gd name="connsiteY4" fmla="*/ 914400 h 914400"/>
                  <a:gd name="connsiteX5" fmla="*/ 58276 w 1828800"/>
                  <a:gd name="connsiteY5" fmla="*/ 457203 h 914400"/>
                  <a:gd name="connsiteX0" fmla="*/ 0 w 1828800"/>
                  <a:gd name="connsiteY0" fmla="*/ 0 h 914400"/>
                  <a:gd name="connsiteX1" fmla="*/ 1770523 w 1828800"/>
                  <a:gd name="connsiteY1" fmla="*/ 0 h 914400"/>
                  <a:gd name="connsiteX2" fmla="*/ 1828800 w 1828800"/>
                  <a:gd name="connsiteY2" fmla="*/ 457200 h 914400"/>
                  <a:gd name="connsiteX3" fmla="*/ 1770523 w 1828800"/>
                  <a:gd name="connsiteY3" fmla="*/ 914400 h 914400"/>
                  <a:gd name="connsiteX4" fmla="*/ 0 w 1828800"/>
                  <a:gd name="connsiteY4" fmla="*/ 914400 h 914400"/>
                  <a:gd name="connsiteX5" fmla="*/ 72845 w 1828800"/>
                  <a:gd name="connsiteY5" fmla="*/ 457203 h 914400"/>
                  <a:gd name="connsiteX0" fmla="*/ 0 w 1828800"/>
                  <a:gd name="connsiteY0" fmla="*/ 0 h 914400"/>
                  <a:gd name="connsiteX1" fmla="*/ 1755954 w 1828800"/>
                  <a:gd name="connsiteY1" fmla="*/ 0 h 914400"/>
                  <a:gd name="connsiteX2" fmla="*/ 1828800 w 1828800"/>
                  <a:gd name="connsiteY2" fmla="*/ 457200 h 914400"/>
                  <a:gd name="connsiteX3" fmla="*/ 1770523 w 1828800"/>
                  <a:gd name="connsiteY3" fmla="*/ 914400 h 914400"/>
                  <a:gd name="connsiteX4" fmla="*/ 0 w 1828800"/>
                  <a:gd name="connsiteY4" fmla="*/ 914400 h 914400"/>
                  <a:gd name="connsiteX5" fmla="*/ 72845 w 1828800"/>
                  <a:gd name="connsiteY5" fmla="*/ 457203 h 914400"/>
                  <a:gd name="connsiteX0" fmla="*/ 0 w 1828800"/>
                  <a:gd name="connsiteY0" fmla="*/ 0 h 914400"/>
                  <a:gd name="connsiteX1" fmla="*/ 1755954 w 1828800"/>
                  <a:gd name="connsiteY1" fmla="*/ 0 h 914400"/>
                  <a:gd name="connsiteX2" fmla="*/ 1828800 w 1828800"/>
                  <a:gd name="connsiteY2" fmla="*/ 457200 h 914400"/>
                  <a:gd name="connsiteX3" fmla="*/ 1755954 w 1828800"/>
                  <a:gd name="connsiteY3" fmla="*/ 914400 h 914400"/>
                  <a:gd name="connsiteX4" fmla="*/ 0 w 1828800"/>
                  <a:gd name="connsiteY4" fmla="*/ 914400 h 914400"/>
                  <a:gd name="connsiteX5" fmla="*/ 72845 w 1828800"/>
                  <a:gd name="connsiteY5" fmla="*/ 457203 h 914400"/>
                  <a:gd name="connsiteX0" fmla="*/ 0 w 1828800"/>
                  <a:gd name="connsiteY0" fmla="*/ 0 h 914400"/>
                  <a:gd name="connsiteX1" fmla="*/ 1755954 w 1828800"/>
                  <a:gd name="connsiteY1" fmla="*/ 0 h 914400"/>
                  <a:gd name="connsiteX2" fmla="*/ 1828800 w 1828800"/>
                  <a:gd name="connsiteY2" fmla="*/ 457200 h 914400"/>
                  <a:gd name="connsiteX3" fmla="*/ 175595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5595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81403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81403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81403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70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700 w 1828800"/>
                  <a:gd name="connsiteY1" fmla="*/ 0 h 914400"/>
                  <a:gd name="connsiteX2" fmla="*/ 1828800 w 1828800"/>
                  <a:gd name="connsiteY2" fmla="*/ 457200 h 914400"/>
                  <a:gd name="connsiteX3" fmla="*/ 169770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700 w 1828800"/>
                  <a:gd name="connsiteY1" fmla="*/ 0 h 914400"/>
                  <a:gd name="connsiteX2" fmla="*/ 1828800 w 1828800"/>
                  <a:gd name="connsiteY2" fmla="*/ 457200 h 914400"/>
                  <a:gd name="connsiteX3" fmla="*/ 1697700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700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5 w 1828800"/>
                  <a:gd name="connsiteY1" fmla="*/ 0 h 914400"/>
                  <a:gd name="connsiteX2" fmla="*/ 1828800 w 1828800"/>
                  <a:gd name="connsiteY2" fmla="*/ 457200 h 914400"/>
                  <a:gd name="connsiteX3" fmla="*/ 1627065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5" y="0"/>
                    </a:lnTo>
                    <a:lnTo>
                      <a:pt x="1828800" y="457200"/>
                    </a:lnTo>
                    <a:lnTo>
                      <a:pt x="1627065" y="914400"/>
                    </a:lnTo>
                    <a:lnTo>
                      <a:pt x="0" y="914400"/>
                    </a:lnTo>
                    <a:lnTo>
                      <a:pt x="201737" y="457204"/>
                    </a:lnTo>
                    <a:close/>
                  </a:path>
                </a:pathLst>
              </a:custGeom>
              <a:solidFill>
                <a:srgbClr val="B5D474"/>
              </a:solidFill>
              <a:ln w="9525" cap="flat" cmpd="sng" algn="ctr">
                <a:noFill/>
                <a:prstDash val="solid"/>
              </a:ln>
              <a:effectLst/>
            </p:spPr>
            <p:txBody>
              <a:bodyPr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403" name="TextBox 402"/>
              <p:cNvSpPr txBox="1"/>
              <p:nvPr>
                <p:custDataLst>
                  <p:tags r:id="rId11"/>
                </p:custDataLst>
              </p:nvPr>
            </p:nvSpPr>
            <p:spPr>
              <a:xfrm>
                <a:off x="8142862" y="1390642"/>
                <a:ext cx="678564"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000000"/>
                  </a:buClr>
                  <a:buSzTx/>
                  <a:buFontTx/>
                  <a:buNone/>
                  <a:tabLst/>
                  <a:defRPr/>
                </a:pPr>
                <a:r>
                  <a:rPr kumimoji="0" lang="en-US" sz="800" b="1" i="0" u="none" strike="noStrike" kern="1200" cap="none" spc="0" normalizeH="0" baseline="0" noProof="0" dirty="0">
                    <a:ln>
                      <a:noFill/>
                    </a:ln>
                    <a:solidFill>
                      <a:srgbClr val="01632F"/>
                    </a:solidFill>
                    <a:effectLst/>
                    <a:uLnTx/>
                    <a:uFillTx/>
                    <a:latin typeface="Arial"/>
                    <a:ea typeface="+mn-ea"/>
                  </a:rPr>
                  <a:t>Post-harvest management, quality and standards</a:t>
                </a:r>
              </a:p>
            </p:txBody>
          </p:sp>
        </p:grpSp>
        <p:pic>
          <p:nvPicPr>
            <p:cNvPr id="231" name="Picture 230"/>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104595" y="3756307"/>
              <a:ext cx="708367" cy="138716"/>
            </a:xfrm>
            <a:prstGeom prst="rect">
              <a:avLst/>
            </a:prstGeom>
          </p:spPr>
        </p:pic>
        <p:grpSp>
          <p:nvGrpSpPr>
            <p:cNvPr id="232" name="Group 231"/>
            <p:cNvGrpSpPr/>
            <p:nvPr/>
          </p:nvGrpSpPr>
          <p:grpSpPr>
            <a:xfrm>
              <a:off x="1413410" y="4348251"/>
              <a:ext cx="736657" cy="752929"/>
              <a:chOff x="847416" y="4688152"/>
              <a:chExt cx="736657" cy="752929"/>
            </a:xfrm>
          </p:grpSpPr>
          <p:pic>
            <p:nvPicPr>
              <p:cNvPr id="400" name="Picture 399"/>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847416" y="5014034"/>
                <a:ext cx="736657" cy="427047"/>
              </a:xfrm>
              <a:prstGeom prst="rect">
                <a:avLst/>
              </a:prstGeom>
            </p:spPr>
          </p:pic>
          <p:pic>
            <p:nvPicPr>
              <p:cNvPr id="401" name="Picture 400"/>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852211" y="4688152"/>
                <a:ext cx="727067" cy="217635"/>
              </a:xfrm>
              <a:prstGeom prst="rect">
                <a:avLst/>
              </a:prstGeom>
            </p:spPr>
          </p:pic>
        </p:grpSp>
        <p:grpSp>
          <p:nvGrpSpPr>
            <p:cNvPr id="233" name="Group 232"/>
            <p:cNvGrpSpPr/>
            <p:nvPr/>
          </p:nvGrpSpPr>
          <p:grpSpPr>
            <a:xfrm>
              <a:off x="2305757" y="4348251"/>
              <a:ext cx="736657" cy="752929"/>
              <a:chOff x="1731700" y="4688152"/>
              <a:chExt cx="736657" cy="752929"/>
            </a:xfrm>
          </p:grpSpPr>
          <p:pic>
            <p:nvPicPr>
              <p:cNvPr id="398" name="Picture 397"/>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731700" y="5014034"/>
                <a:ext cx="736657" cy="427047"/>
              </a:xfrm>
              <a:prstGeom prst="rect">
                <a:avLst/>
              </a:prstGeom>
            </p:spPr>
          </p:pic>
          <p:pic>
            <p:nvPicPr>
              <p:cNvPr id="399" name="Picture 398"/>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736495" y="4688152"/>
                <a:ext cx="727067" cy="217635"/>
              </a:xfrm>
              <a:prstGeom prst="rect">
                <a:avLst/>
              </a:prstGeom>
            </p:spPr>
          </p:pic>
        </p:grpSp>
        <p:grpSp>
          <p:nvGrpSpPr>
            <p:cNvPr id="234" name="Group 233"/>
            <p:cNvGrpSpPr/>
            <p:nvPr/>
          </p:nvGrpSpPr>
          <p:grpSpPr>
            <a:xfrm>
              <a:off x="3198104" y="4348251"/>
              <a:ext cx="736657" cy="752929"/>
              <a:chOff x="1731700" y="4688152"/>
              <a:chExt cx="736657" cy="752929"/>
            </a:xfrm>
          </p:grpSpPr>
          <p:pic>
            <p:nvPicPr>
              <p:cNvPr id="396" name="Picture 395"/>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731700" y="5014034"/>
                <a:ext cx="736657" cy="427047"/>
              </a:xfrm>
              <a:prstGeom prst="rect">
                <a:avLst/>
              </a:prstGeom>
            </p:spPr>
          </p:pic>
          <p:pic>
            <p:nvPicPr>
              <p:cNvPr id="397" name="Picture 396"/>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736495" y="4688152"/>
                <a:ext cx="727067" cy="217635"/>
              </a:xfrm>
              <a:prstGeom prst="rect">
                <a:avLst/>
              </a:prstGeom>
            </p:spPr>
          </p:pic>
        </p:grpSp>
        <p:grpSp>
          <p:nvGrpSpPr>
            <p:cNvPr id="235" name="Group 234"/>
            <p:cNvGrpSpPr/>
            <p:nvPr/>
          </p:nvGrpSpPr>
          <p:grpSpPr>
            <a:xfrm>
              <a:off x="4982797" y="4348251"/>
              <a:ext cx="736657" cy="752929"/>
              <a:chOff x="1731700" y="4688152"/>
              <a:chExt cx="736657" cy="752929"/>
            </a:xfrm>
          </p:grpSpPr>
          <p:pic>
            <p:nvPicPr>
              <p:cNvPr id="394" name="Picture 393"/>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731700" y="5014034"/>
                <a:ext cx="736657" cy="427047"/>
              </a:xfrm>
              <a:prstGeom prst="rect">
                <a:avLst/>
              </a:prstGeom>
            </p:spPr>
          </p:pic>
          <p:pic>
            <p:nvPicPr>
              <p:cNvPr id="395" name="Picture 394"/>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736495" y="4688152"/>
                <a:ext cx="727067" cy="217635"/>
              </a:xfrm>
              <a:prstGeom prst="rect">
                <a:avLst/>
              </a:prstGeom>
            </p:spPr>
          </p:pic>
        </p:grpSp>
        <p:grpSp>
          <p:nvGrpSpPr>
            <p:cNvPr id="236" name="Group 235"/>
            <p:cNvGrpSpPr/>
            <p:nvPr/>
          </p:nvGrpSpPr>
          <p:grpSpPr>
            <a:xfrm>
              <a:off x="5875144" y="4348251"/>
              <a:ext cx="736657" cy="752929"/>
              <a:chOff x="1731700" y="4688152"/>
              <a:chExt cx="736657" cy="752929"/>
            </a:xfrm>
          </p:grpSpPr>
          <p:pic>
            <p:nvPicPr>
              <p:cNvPr id="392" name="Picture 391"/>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731700" y="5014034"/>
                <a:ext cx="736657" cy="427047"/>
              </a:xfrm>
              <a:prstGeom prst="rect">
                <a:avLst/>
              </a:prstGeom>
            </p:spPr>
          </p:pic>
          <p:pic>
            <p:nvPicPr>
              <p:cNvPr id="393" name="Picture 392"/>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736495" y="4688152"/>
                <a:ext cx="727067" cy="217635"/>
              </a:xfrm>
              <a:prstGeom prst="rect">
                <a:avLst/>
              </a:prstGeom>
            </p:spPr>
          </p:pic>
        </p:grpSp>
        <p:grpSp>
          <p:nvGrpSpPr>
            <p:cNvPr id="237" name="Group 236"/>
            <p:cNvGrpSpPr/>
            <p:nvPr/>
          </p:nvGrpSpPr>
          <p:grpSpPr>
            <a:xfrm>
              <a:off x="6767491" y="4348251"/>
              <a:ext cx="736657" cy="752929"/>
              <a:chOff x="1731700" y="4688152"/>
              <a:chExt cx="736657" cy="752929"/>
            </a:xfrm>
          </p:grpSpPr>
          <p:pic>
            <p:nvPicPr>
              <p:cNvPr id="390" name="Picture 389"/>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731700" y="5014034"/>
                <a:ext cx="736657" cy="427047"/>
              </a:xfrm>
              <a:prstGeom prst="rect">
                <a:avLst/>
              </a:prstGeom>
            </p:spPr>
          </p:pic>
          <p:pic>
            <p:nvPicPr>
              <p:cNvPr id="391" name="Picture 390"/>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736495" y="4688152"/>
                <a:ext cx="727067" cy="217635"/>
              </a:xfrm>
              <a:prstGeom prst="rect">
                <a:avLst/>
              </a:prstGeom>
            </p:spPr>
          </p:pic>
        </p:grpSp>
        <p:grpSp>
          <p:nvGrpSpPr>
            <p:cNvPr id="238" name="Group 237"/>
            <p:cNvGrpSpPr/>
            <p:nvPr/>
          </p:nvGrpSpPr>
          <p:grpSpPr>
            <a:xfrm>
              <a:off x="7659838" y="4348251"/>
              <a:ext cx="736657" cy="752929"/>
              <a:chOff x="1731700" y="4688152"/>
              <a:chExt cx="736657" cy="752929"/>
            </a:xfrm>
          </p:grpSpPr>
          <p:pic>
            <p:nvPicPr>
              <p:cNvPr id="388" name="Picture 387"/>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731700" y="5014034"/>
                <a:ext cx="736657" cy="427047"/>
              </a:xfrm>
              <a:prstGeom prst="rect">
                <a:avLst/>
              </a:prstGeom>
            </p:spPr>
          </p:pic>
          <p:pic>
            <p:nvPicPr>
              <p:cNvPr id="389" name="Picture 388"/>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736495" y="4688152"/>
                <a:ext cx="727067" cy="217635"/>
              </a:xfrm>
              <a:prstGeom prst="rect">
                <a:avLst/>
              </a:prstGeom>
            </p:spPr>
          </p:pic>
        </p:grpSp>
        <p:grpSp>
          <p:nvGrpSpPr>
            <p:cNvPr id="239" name="Group 238"/>
            <p:cNvGrpSpPr/>
            <p:nvPr/>
          </p:nvGrpSpPr>
          <p:grpSpPr>
            <a:xfrm>
              <a:off x="8552186" y="4348251"/>
              <a:ext cx="736657" cy="752929"/>
              <a:chOff x="1731700" y="4688152"/>
              <a:chExt cx="736657" cy="752929"/>
            </a:xfrm>
          </p:grpSpPr>
          <p:pic>
            <p:nvPicPr>
              <p:cNvPr id="386" name="Picture 385"/>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731700" y="5014034"/>
                <a:ext cx="736657" cy="427047"/>
              </a:xfrm>
              <a:prstGeom prst="rect">
                <a:avLst/>
              </a:prstGeom>
            </p:spPr>
          </p:pic>
          <p:pic>
            <p:nvPicPr>
              <p:cNvPr id="387" name="Picture 386"/>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736495" y="4688152"/>
                <a:ext cx="727067" cy="217635"/>
              </a:xfrm>
              <a:prstGeom prst="rect">
                <a:avLst/>
              </a:prstGeom>
            </p:spPr>
          </p:pic>
        </p:grpSp>
        <p:sp>
          <p:nvSpPr>
            <p:cNvPr id="240" name="TextBox 239"/>
            <p:cNvSpPr txBox="1"/>
            <p:nvPr/>
          </p:nvSpPr>
          <p:spPr>
            <a:xfrm>
              <a:off x="4235940" y="4698556"/>
              <a:ext cx="445674"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429"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dirty="0">
                  <a:ln>
                    <a:noFill/>
                  </a:ln>
                  <a:solidFill>
                    <a:sysClr val="windowText" lastClr="000000"/>
                  </a:solidFill>
                  <a:effectLst/>
                  <a:uLnTx/>
                  <a:uFillTx/>
                  <a:latin typeface="Arial"/>
                  <a:ea typeface="+mn-ea"/>
                </a:rPr>
                <a:t>n/a</a:t>
              </a:r>
            </a:p>
          </p:txBody>
        </p:sp>
        <p:sp>
          <p:nvSpPr>
            <p:cNvPr id="241" name="TextBox 240"/>
            <p:cNvSpPr txBox="1"/>
            <p:nvPr/>
          </p:nvSpPr>
          <p:spPr>
            <a:xfrm>
              <a:off x="4235940" y="5623100"/>
              <a:ext cx="445674"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429"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dirty="0">
                  <a:ln>
                    <a:noFill/>
                  </a:ln>
                  <a:solidFill>
                    <a:sysClr val="windowText" lastClr="000000"/>
                  </a:solidFill>
                  <a:effectLst/>
                  <a:uLnTx/>
                  <a:uFillTx/>
                  <a:latin typeface="Arial"/>
                  <a:ea typeface="+mn-ea"/>
                </a:rPr>
                <a:t>n/a</a:t>
              </a:r>
            </a:p>
          </p:txBody>
        </p:sp>
        <p:grpSp>
          <p:nvGrpSpPr>
            <p:cNvPr id="242" name="Group 241"/>
            <p:cNvGrpSpPr/>
            <p:nvPr/>
          </p:nvGrpSpPr>
          <p:grpSpPr>
            <a:xfrm>
              <a:off x="1427555" y="5282696"/>
              <a:ext cx="708367" cy="577669"/>
              <a:chOff x="861561" y="5810241"/>
              <a:chExt cx="708367" cy="577669"/>
            </a:xfrm>
          </p:grpSpPr>
          <p:pic>
            <p:nvPicPr>
              <p:cNvPr id="384" name="Picture 383"/>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861561" y="5810241"/>
                <a:ext cx="708367" cy="138716"/>
              </a:xfrm>
              <a:prstGeom prst="rect">
                <a:avLst/>
              </a:prstGeom>
            </p:spPr>
          </p:pic>
          <p:pic>
            <p:nvPicPr>
              <p:cNvPr id="385" name="Picture 384"/>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893406" y="6052096"/>
                <a:ext cx="644677" cy="335814"/>
              </a:xfrm>
              <a:prstGeom prst="rect">
                <a:avLst/>
              </a:prstGeom>
            </p:spPr>
          </p:pic>
        </p:grpSp>
        <p:grpSp>
          <p:nvGrpSpPr>
            <p:cNvPr id="243" name="Group 242"/>
            <p:cNvGrpSpPr/>
            <p:nvPr/>
          </p:nvGrpSpPr>
          <p:grpSpPr>
            <a:xfrm>
              <a:off x="2319902" y="5282696"/>
              <a:ext cx="708367" cy="577669"/>
              <a:chOff x="861561" y="5810241"/>
              <a:chExt cx="708367" cy="577669"/>
            </a:xfrm>
          </p:grpSpPr>
          <p:pic>
            <p:nvPicPr>
              <p:cNvPr id="382" name="Picture 38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861561" y="5810241"/>
                <a:ext cx="708367" cy="138716"/>
              </a:xfrm>
              <a:prstGeom prst="rect">
                <a:avLst/>
              </a:prstGeom>
            </p:spPr>
          </p:pic>
          <p:pic>
            <p:nvPicPr>
              <p:cNvPr id="383" name="Picture 38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893406" y="6052096"/>
                <a:ext cx="644677" cy="335814"/>
              </a:xfrm>
              <a:prstGeom prst="rect">
                <a:avLst/>
              </a:prstGeom>
            </p:spPr>
          </p:pic>
        </p:grpSp>
        <p:grpSp>
          <p:nvGrpSpPr>
            <p:cNvPr id="244" name="Group 243"/>
            <p:cNvGrpSpPr/>
            <p:nvPr/>
          </p:nvGrpSpPr>
          <p:grpSpPr>
            <a:xfrm>
              <a:off x="3212249" y="5282696"/>
              <a:ext cx="708367" cy="577669"/>
              <a:chOff x="861561" y="5810241"/>
              <a:chExt cx="708367" cy="577669"/>
            </a:xfrm>
          </p:grpSpPr>
          <p:pic>
            <p:nvPicPr>
              <p:cNvPr id="380" name="Picture 379"/>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861561" y="5810241"/>
                <a:ext cx="708367" cy="138716"/>
              </a:xfrm>
              <a:prstGeom prst="rect">
                <a:avLst/>
              </a:prstGeom>
            </p:spPr>
          </p:pic>
          <p:pic>
            <p:nvPicPr>
              <p:cNvPr id="381" name="Picture 38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893406" y="6052096"/>
                <a:ext cx="644677" cy="335814"/>
              </a:xfrm>
              <a:prstGeom prst="rect">
                <a:avLst/>
              </a:prstGeom>
            </p:spPr>
          </p:pic>
        </p:grpSp>
        <p:grpSp>
          <p:nvGrpSpPr>
            <p:cNvPr id="245" name="Group 244"/>
            <p:cNvGrpSpPr/>
            <p:nvPr/>
          </p:nvGrpSpPr>
          <p:grpSpPr>
            <a:xfrm>
              <a:off x="4996942" y="5282696"/>
              <a:ext cx="708367" cy="577669"/>
              <a:chOff x="861561" y="5810241"/>
              <a:chExt cx="708367" cy="577669"/>
            </a:xfrm>
          </p:grpSpPr>
          <p:pic>
            <p:nvPicPr>
              <p:cNvPr id="378" name="Picture 37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861561" y="5810241"/>
                <a:ext cx="708367" cy="138716"/>
              </a:xfrm>
              <a:prstGeom prst="rect">
                <a:avLst/>
              </a:prstGeom>
            </p:spPr>
          </p:pic>
          <p:pic>
            <p:nvPicPr>
              <p:cNvPr id="379" name="Picture 378"/>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893406" y="6052096"/>
                <a:ext cx="644677" cy="335814"/>
              </a:xfrm>
              <a:prstGeom prst="rect">
                <a:avLst/>
              </a:prstGeom>
            </p:spPr>
          </p:pic>
        </p:grpSp>
        <p:grpSp>
          <p:nvGrpSpPr>
            <p:cNvPr id="246" name="Group 245"/>
            <p:cNvGrpSpPr/>
            <p:nvPr/>
          </p:nvGrpSpPr>
          <p:grpSpPr>
            <a:xfrm>
              <a:off x="5890809" y="5282696"/>
              <a:ext cx="708367" cy="577669"/>
              <a:chOff x="861561" y="5810241"/>
              <a:chExt cx="708367" cy="577669"/>
            </a:xfrm>
          </p:grpSpPr>
          <p:pic>
            <p:nvPicPr>
              <p:cNvPr id="376" name="Picture 375"/>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861561" y="5810241"/>
                <a:ext cx="708367" cy="138716"/>
              </a:xfrm>
              <a:prstGeom prst="rect">
                <a:avLst/>
              </a:prstGeom>
            </p:spPr>
          </p:pic>
          <p:pic>
            <p:nvPicPr>
              <p:cNvPr id="377" name="Picture 376"/>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893406" y="6052096"/>
                <a:ext cx="644677" cy="335814"/>
              </a:xfrm>
              <a:prstGeom prst="rect">
                <a:avLst/>
              </a:prstGeom>
            </p:spPr>
          </p:pic>
        </p:grpSp>
        <p:grpSp>
          <p:nvGrpSpPr>
            <p:cNvPr id="247" name="Group 246"/>
            <p:cNvGrpSpPr/>
            <p:nvPr/>
          </p:nvGrpSpPr>
          <p:grpSpPr>
            <a:xfrm>
              <a:off x="6784676" y="5282696"/>
              <a:ext cx="708367" cy="577669"/>
              <a:chOff x="861561" y="5810241"/>
              <a:chExt cx="708367" cy="577669"/>
            </a:xfrm>
          </p:grpSpPr>
          <p:pic>
            <p:nvPicPr>
              <p:cNvPr id="374" name="Picture 373"/>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861561" y="5810241"/>
                <a:ext cx="708367" cy="138716"/>
              </a:xfrm>
              <a:prstGeom prst="rect">
                <a:avLst/>
              </a:prstGeom>
            </p:spPr>
          </p:pic>
          <p:pic>
            <p:nvPicPr>
              <p:cNvPr id="375" name="Picture 374"/>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893406" y="6052096"/>
                <a:ext cx="644677" cy="335814"/>
              </a:xfrm>
              <a:prstGeom prst="rect">
                <a:avLst/>
              </a:prstGeom>
            </p:spPr>
          </p:pic>
        </p:grpSp>
        <p:grpSp>
          <p:nvGrpSpPr>
            <p:cNvPr id="248" name="Group 247"/>
            <p:cNvGrpSpPr/>
            <p:nvPr/>
          </p:nvGrpSpPr>
          <p:grpSpPr>
            <a:xfrm>
              <a:off x="7678543" y="5282696"/>
              <a:ext cx="708367" cy="577669"/>
              <a:chOff x="861561" y="5810241"/>
              <a:chExt cx="708367" cy="577669"/>
            </a:xfrm>
          </p:grpSpPr>
          <p:pic>
            <p:nvPicPr>
              <p:cNvPr id="372" name="Picture 37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861561" y="5810241"/>
                <a:ext cx="708367" cy="138716"/>
              </a:xfrm>
              <a:prstGeom prst="rect">
                <a:avLst/>
              </a:prstGeom>
            </p:spPr>
          </p:pic>
          <p:pic>
            <p:nvPicPr>
              <p:cNvPr id="373" name="Picture 37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893406" y="6052096"/>
                <a:ext cx="644677" cy="335814"/>
              </a:xfrm>
              <a:prstGeom prst="rect">
                <a:avLst/>
              </a:prstGeom>
            </p:spPr>
          </p:pic>
        </p:grpSp>
        <p:grpSp>
          <p:nvGrpSpPr>
            <p:cNvPr id="249" name="Group 248"/>
            <p:cNvGrpSpPr/>
            <p:nvPr/>
          </p:nvGrpSpPr>
          <p:grpSpPr>
            <a:xfrm>
              <a:off x="8572412" y="5282696"/>
              <a:ext cx="708367" cy="577669"/>
              <a:chOff x="861561" y="5810241"/>
              <a:chExt cx="708367" cy="577669"/>
            </a:xfrm>
          </p:grpSpPr>
          <p:pic>
            <p:nvPicPr>
              <p:cNvPr id="370" name="Picture 369"/>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861561" y="5810241"/>
                <a:ext cx="708367" cy="138716"/>
              </a:xfrm>
              <a:prstGeom prst="rect">
                <a:avLst/>
              </a:prstGeom>
            </p:spPr>
          </p:pic>
          <p:pic>
            <p:nvPicPr>
              <p:cNvPr id="371" name="Picture 37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893406" y="6052096"/>
                <a:ext cx="644677" cy="335814"/>
              </a:xfrm>
              <a:prstGeom prst="rect">
                <a:avLst/>
              </a:prstGeom>
            </p:spPr>
          </p:pic>
        </p:grpSp>
        <p:pic>
          <p:nvPicPr>
            <p:cNvPr id="250" name="Picture 249"/>
            <p:cNvPicPr>
              <a:picLocks/>
            </p:cNvPicPr>
            <p:nvPr/>
          </p:nvPicPr>
          <p:blipFill>
            <a:blip r:embed="rId33" cstate="print">
              <a:extLst>
                <a:ext uri="{28A0092B-C50C-407E-A947-70E740481C1C}">
                  <a14:useLocalDpi xmlns:a14="http://schemas.microsoft.com/office/drawing/2010/main" val="0"/>
                </a:ext>
              </a:extLst>
            </a:blip>
            <a:stretch>
              <a:fillRect/>
            </a:stretch>
          </p:blipFill>
          <p:spPr>
            <a:xfrm>
              <a:off x="4996861" y="2741305"/>
              <a:ext cx="708526" cy="299832"/>
            </a:xfrm>
            <a:prstGeom prst="rect">
              <a:avLst/>
            </a:prstGeom>
          </p:spPr>
        </p:pic>
        <p:pic>
          <p:nvPicPr>
            <p:cNvPr id="251" name="Picture 250"/>
            <p:cNvPicPr>
              <a:picLocks/>
            </p:cNvPicPr>
            <p:nvPr/>
          </p:nvPicPr>
          <p:blipFill>
            <a:blip r:embed="rId33" cstate="print">
              <a:extLst>
                <a:ext uri="{28A0092B-C50C-407E-A947-70E740481C1C}">
                  <a14:useLocalDpi xmlns:a14="http://schemas.microsoft.com/office/drawing/2010/main" val="0"/>
                </a:ext>
              </a:extLst>
            </a:blip>
            <a:stretch>
              <a:fillRect/>
            </a:stretch>
          </p:blipFill>
          <p:spPr>
            <a:xfrm>
              <a:off x="5889208" y="2741305"/>
              <a:ext cx="708526" cy="299832"/>
            </a:xfrm>
            <a:prstGeom prst="rect">
              <a:avLst/>
            </a:prstGeom>
          </p:spPr>
        </p:pic>
        <p:grpSp>
          <p:nvGrpSpPr>
            <p:cNvPr id="252" name="Group 251"/>
            <p:cNvGrpSpPr/>
            <p:nvPr/>
          </p:nvGrpSpPr>
          <p:grpSpPr>
            <a:xfrm>
              <a:off x="4095245" y="2479362"/>
              <a:ext cx="727067" cy="751869"/>
              <a:chOff x="3505063" y="2640850"/>
              <a:chExt cx="727067" cy="751869"/>
            </a:xfrm>
          </p:grpSpPr>
          <p:pic>
            <p:nvPicPr>
              <p:cNvPr id="368" name="Picture 367"/>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505063" y="2640850"/>
                <a:ext cx="727067" cy="217635"/>
              </a:xfrm>
              <a:prstGeom prst="rect">
                <a:avLst/>
              </a:prstGeom>
            </p:spPr>
          </p:pic>
          <p:pic>
            <p:nvPicPr>
              <p:cNvPr id="369" name="Picture 368"/>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3579276" y="2994694"/>
                <a:ext cx="578641" cy="398025"/>
              </a:xfrm>
              <a:prstGeom prst="rect">
                <a:avLst/>
              </a:prstGeom>
            </p:spPr>
          </p:pic>
        </p:grpSp>
        <p:grpSp>
          <p:nvGrpSpPr>
            <p:cNvPr id="253" name="Group 252"/>
            <p:cNvGrpSpPr/>
            <p:nvPr/>
          </p:nvGrpSpPr>
          <p:grpSpPr>
            <a:xfrm>
              <a:off x="6751270" y="2479361"/>
              <a:ext cx="769096" cy="815070"/>
              <a:chOff x="6136900" y="2688242"/>
              <a:chExt cx="769096" cy="815070"/>
            </a:xfrm>
          </p:grpSpPr>
          <p:pic>
            <p:nvPicPr>
              <p:cNvPr id="360" name="Picture 359"/>
              <p:cNvPicPr>
                <a:picLocks/>
              </p:cNvPicPr>
              <p:nvPr/>
            </p:nvPicPr>
            <p:blipFill>
              <a:blip r:embed="rId33" cstate="print">
                <a:extLst>
                  <a:ext uri="{28A0092B-C50C-407E-A947-70E740481C1C}">
                    <a14:useLocalDpi xmlns:a14="http://schemas.microsoft.com/office/drawing/2010/main" val="0"/>
                  </a:ext>
                </a:extLst>
              </a:blip>
              <a:stretch>
                <a:fillRect/>
              </a:stretch>
            </p:blipFill>
            <p:spPr>
              <a:xfrm>
                <a:off x="6542410" y="2688242"/>
                <a:ext cx="363586" cy="153861"/>
              </a:xfrm>
              <a:prstGeom prst="rect">
                <a:avLst/>
              </a:prstGeom>
            </p:spPr>
          </p:pic>
          <p:pic>
            <p:nvPicPr>
              <p:cNvPr id="361" name="Picture 360"/>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136900" y="2688242"/>
                <a:ext cx="410410" cy="122850"/>
              </a:xfrm>
              <a:prstGeom prst="rect">
                <a:avLst/>
              </a:prstGeom>
            </p:spPr>
          </p:pic>
          <p:grpSp>
            <p:nvGrpSpPr>
              <p:cNvPr id="362" name="Group 361"/>
              <p:cNvGrpSpPr/>
              <p:nvPr/>
            </p:nvGrpSpPr>
            <p:grpSpPr>
              <a:xfrm>
                <a:off x="6184512" y="2860274"/>
                <a:ext cx="673873" cy="643038"/>
                <a:chOff x="6213374" y="1860780"/>
                <a:chExt cx="616149" cy="587955"/>
              </a:xfrm>
            </p:grpSpPr>
            <p:grpSp>
              <p:nvGrpSpPr>
                <p:cNvPr id="363" name="Group 362"/>
                <p:cNvGrpSpPr/>
                <p:nvPr/>
              </p:nvGrpSpPr>
              <p:grpSpPr>
                <a:xfrm>
                  <a:off x="6213374" y="2073755"/>
                  <a:ext cx="616149" cy="172325"/>
                  <a:chOff x="6169119" y="2088595"/>
                  <a:chExt cx="677764" cy="189558"/>
                </a:xfrm>
              </p:grpSpPr>
              <p:pic>
                <p:nvPicPr>
                  <p:cNvPr id="366" name="Picture 365"/>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169119" y="2088595"/>
                    <a:ext cx="363904" cy="189558"/>
                  </a:xfrm>
                  <a:prstGeom prst="rect">
                    <a:avLst/>
                  </a:prstGeom>
                </p:spPr>
              </p:pic>
              <p:pic>
                <p:nvPicPr>
                  <p:cNvPr id="367" name="Picture 366"/>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6555908" y="2102371"/>
                    <a:ext cx="290975" cy="162007"/>
                  </a:xfrm>
                  <a:prstGeom prst="rect">
                    <a:avLst/>
                  </a:prstGeom>
                </p:spPr>
              </p:pic>
            </p:grpSp>
            <p:pic>
              <p:nvPicPr>
                <p:cNvPr id="364" name="Picture 36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6244526" y="2255329"/>
                  <a:ext cx="553845" cy="193406"/>
                </a:xfrm>
                <a:prstGeom prst="rect">
                  <a:avLst/>
                </a:prstGeom>
              </p:spPr>
            </p:pic>
            <p:pic>
              <p:nvPicPr>
                <p:cNvPr id="365" name="Picture 364"/>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236385" y="1860780"/>
                  <a:ext cx="570128" cy="203726"/>
                </a:xfrm>
                <a:prstGeom prst="rect">
                  <a:avLst/>
                </a:prstGeom>
              </p:spPr>
            </p:pic>
          </p:grpSp>
        </p:grpSp>
        <p:grpSp>
          <p:nvGrpSpPr>
            <p:cNvPr id="254" name="Group 253"/>
            <p:cNvGrpSpPr/>
            <p:nvPr/>
          </p:nvGrpSpPr>
          <p:grpSpPr>
            <a:xfrm>
              <a:off x="7643617" y="2479361"/>
              <a:ext cx="769096" cy="815070"/>
              <a:chOff x="6136900" y="2688242"/>
              <a:chExt cx="769096" cy="815070"/>
            </a:xfrm>
          </p:grpSpPr>
          <p:pic>
            <p:nvPicPr>
              <p:cNvPr id="352" name="Picture 351"/>
              <p:cNvPicPr>
                <a:picLocks/>
              </p:cNvPicPr>
              <p:nvPr/>
            </p:nvPicPr>
            <p:blipFill>
              <a:blip r:embed="rId33" cstate="print">
                <a:extLst>
                  <a:ext uri="{28A0092B-C50C-407E-A947-70E740481C1C}">
                    <a14:useLocalDpi xmlns:a14="http://schemas.microsoft.com/office/drawing/2010/main" val="0"/>
                  </a:ext>
                </a:extLst>
              </a:blip>
              <a:stretch>
                <a:fillRect/>
              </a:stretch>
            </p:blipFill>
            <p:spPr>
              <a:xfrm>
                <a:off x="6542410" y="2688242"/>
                <a:ext cx="363586" cy="153861"/>
              </a:xfrm>
              <a:prstGeom prst="rect">
                <a:avLst/>
              </a:prstGeom>
            </p:spPr>
          </p:pic>
          <p:pic>
            <p:nvPicPr>
              <p:cNvPr id="353" name="Picture 352"/>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136900" y="2688242"/>
                <a:ext cx="410410" cy="122850"/>
              </a:xfrm>
              <a:prstGeom prst="rect">
                <a:avLst/>
              </a:prstGeom>
            </p:spPr>
          </p:pic>
          <p:grpSp>
            <p:nvGrpSpPr>
              <p:cNvPr id="354" name="Group 353"/>
              <p:cNvGrpSpPr/>
              <p:nvPr/>
            </p:nvGrpSpPr>
            <p:grpSpPr>
              <a:xfrm>
                <a:off x="6184512" y="2860274"/>
                <a:ext cx="673873" cy="643038"/>
                <a:chOff x="6213374" y="1860780"/>
                <a:chExt cx="616149" cy="587955"/>
              </a:xfrm>
            </p:grpSpPr>
            <p:grpSp>
              <p:nvGrpSpPr>
                <p:cNvPr id="355" name="Group 354"/>
                <p:cNvGrpSpPr/>
                <p:nvPr/>
              </p:nvGrpSpPr>
              <p:grpSpPr>
                <a:xfrm>
                  <a:off x="6213374" y="2073755"/>
                  <a:ext cx="616149" cy="172325"/>
                  <a:chOff x="6169119" y="2088595"/>
                  <a:chExt cx="677764" cy="189558"/>
                </a:xfrm>
              </p:grpSpPr>
              <p:pic>
                <p:nvPicPr>
                  <p:cNvPr id="358" name="Picture 357"/>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169119" y="2088595"/>
                    <a:ext cx="363904" cy="189558"/>
                  </a:xfrm>
                  <a:prstGeom prst="rect">
                    <a:avLst/>
                  </a:prstGeom>
                </p:spPr>
              </p:pic>
              <p:pic>
                <p:nvPicPr>
                  <p:cNvPr id="359" name="Picture 358"/>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6555908" y="2102371"/>
                    <a:ext cx="290975" cy="162007"/>
                  </a:xfrm>
                  <a:prstGeom prst="rect">
                    <a:avLst/>
                  </a:prstGeom>
                </p:spPr>
              </p:pic>
            </p:grpSp>
            <p:pic>
              <p:nvPicPr>
                <p:cNvPr id="356" name="Picture 355"/>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6244526" y="2255329"/>
                  <a:ext cx="553845" cy="193406"/>
                </a:xfrm>
                <a:prstGeom prst="rect">
                  <a:avLst/>
                </a:prstGeom>
              </p:spPr>
            </p:pic>
            <p:pic>
              <p:nvPicPr>
                <p:cNvPr id="357" name="Picture 356"/>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236385" y="1860780"/>
                  <a:ext cx="570128" cy="203726"/>
                </a:xfrm>
                <a:prstGeom prst="rect">
                  <a:avLst/>
                </a:prstGeom>
              </p:spPr>
            </p:pic>
          </p:grpSp>
        </p:grpSp>
        <p:grpSp>
          <p:nvGrpSpPr>
            <p:cNvPr id="255" name="Group 254"/>
            <p:cNvGrpSpPr/>
            <p:nvPr/>
          </p:nvGrpSpPr>
          <p:grpSpPr>
            <a:xfrm>
              <a:off x="8535965" y="2479361"/>
              <a:ext cx="769096" cy="815070"/>
              <a:chOff x="6136900" y="2688242"/>
              <a:chExt cx="769096" cy="815070"/>
            </a:xfrm>
          </p:grpSpPr>
          <p:pic>
            <p:nvPicPr>
              <p:cNvPr id="344" name="Picture 343"/>
              <p:cNvPicPr>
                <a:picLocks/>
              </p:cNvPicPr>
              <p:nvPr/>
            </p:nvPicPr>
            <p:blipFill>
              <a:blip r:embed="rId33" cstate="print">
                <a:extLst>
                  <a:ext uri="{28A0092B-C50C-407E-A947-70E740481C1C}">
                    <a14:useLocalDpi xmlns:a14="http://schemas.microsoft.com/office/drawing/2010/main" val="0"/>
                  </a:ext>
                </a:extLst>
              </a:blip>
              <a:stretch>
                <a:fillRect/>
              </a:stretch>
            </p:blipFill>
            <p:spPr>
              <a:xfrm>
                <a:off x="6542410" y="2688242"/>
                <a:ext cx="363586" cy="153861"/>
              </a:xfrm>
              <a:prstGeom prst="rect">
                <a:avLst/>
              </a:prstGeom>
            </p:spPr>
          </p:pic>
          <p:pic>
            <p:nvPicPr>
              <p:cNvPr id="345" name="Picture 344"/>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6136900" y="2688242"/>
                <a:ext cx="410410" cy="122850"/>
              </a:xfrm>
              <a:prstGeom prst="rect">
                <a:avLst/>
              </a:prstGeom>
            </p:spPr>
          </p:pic>
          <p:grpSp>
            <p:nvGrpSpPr>
              <p:cNvPr id="346" name="Group 345"/>
              <p:cNvGrpSpPr/>
              <p:nvPr/>
            </p:nvGrpSpPr>
            <p:grpSpPr>
              <a:xfrm>
                <a:off x="6184512" y="2860274"/>
                <a:ext cx="673873" cy="643038"/>
                <a:chOff x="6213374" y="1860780"/>
                <a:chExt cx="616149" cy="587955"/>
              </a:xfrm>
            </p:grpSpPr>
            <p:grpSp>
              <p:nvGrpSpPr>
                <p:cNvPr id="347" name="Group 346"/>
                <p:cNvGrpSpPr/>
                <p:nvPr/>
              </p:nvGrpSpPr>
              <p:grpSpPr>
                <a:xfrm>
                  <a:off x="6213374" y="2073755"/>
                  <a:ext cx="616149" cy="172325"/>
                  <a:chOff x="6169119" y="2088595"/>
                  <a:chExt cx="677764" cy="189558"/>
                </a:xfrm>
              </p:grpSpPr>
              <p:pic>
                <p:nvPicPr>
                  <p:cNvPr id="350" name="Picture 34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169119" y="2088595"/>
                    <a:ext cx="363904" cy="189558"/>
                  </a:xfrm>
                  <a:prstGeom prst="rect">
                    <a:avLst/>
                  </a:prstGeom>
                </p:spPr>
              </p:pic>
              <p:pic>
                <p:nvPicPr>
                  <p:cNvPr id="351" name="Picture 350"/>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6555908" y="2102371"/>
                    <a:ext cx="290975" cy="162007"/>
                  </a:xfrm>
                  <a:prstGeom prst="rect">
                    <a:avLst/>
                  </a:prstGeom>
                </p:spPr>
              </p:pic>
            </p:grpSp>
            <p:pic>
              <p:nvPicPr>
                <p:cNvPr id="348" name="Picture 347"/>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6244526" y="2255329"/>
                  <a:ext cx="553845" cy="193406"/>
                </a:xfrm>
                <a:prstGeom prst="rect">
                  <a:avLst/>
                </a:prstGeom>
              </p:spPr>
            </p:pic>
            <p:pic>
              <p:nvPicPr>
                <p:cNvPr id="349" name="Picture 348"/>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236385" y="1860780"/>
                  <a:ext cx="570128" cy="203726"/>
                </a:xfrm>
                <a:prstGeom prst="rect">
                  <a:avLst/>
                </a:prstGeom>
              </p:spPr>
            </p:pic>
          </p:grpSp>
        </p:grpSp>
        <p:cxnSp>
          <p:nvCxnSpPr>
            <p:cNvPr id="256" name="Straight Connector 255"/>
            <p:cNvCxnSpPr/>
            <p:nvPr/>
          </p:nvCxnSpPr>
          <p:spPr>
            <a:xfrm>
              <a:off x="2175810" y="1507105"/>
              <a:ext cx="0" cy="4541698"/>
            </a:xfrm>
            <a:prstGeom prst="line">
              <a:avLst/>
            </a:prstGeom>
            <a:noFill/>
            <a:ln w="9525" cap="flat" cmpd="sng" algn="ctr">
              <a:solidFill>
                <a:srgbClr val="FFFFFF">
                  <a:lumMod val="50000"/>
                </a:srgbClr>
              </a:solidFill>
              <a:prstDash val="sysDot"/>
            </a:ln>
            <a:effectLst/>
          </p:spPr>
        </p:cxnSp>
        <p:cxnSp>
          <p:nvCxnSpPr>
            <p:cNvPr id="257" name="Straight Connector 256"/>
            <p:cNvCxnSpPr/>
            <p:nvPr/>
          </p:nvCxnSpPr>
          <p:spPr>
            <a:xfrm>
              <a:off x="3081792" y="1507105"/>
              <a:ext cx="0" cy="4541698"/>
            </a:xfrm>
            <a:prstGeom prst="line">
              <a:avLst/>
            </a:prstGeom>
            <a:noFill/>
            <a:ln w="9525" cap="flat" cmpd="sng" algn="ctr">
              <a:solidFill>
                <a:srgbClr val="FFFFFF">
                  <a:lumMod val="50000"/>
                </a:srgbClr>
              </a:solidFill>
              <a:prstDash val="sysDot"/>
            </a:ln>
            <a:effectLst/>
          </p:spPr>
        </p:cxnSp>
        <p:cxnSp>
          <p:nvCxnSpPr>
            <p:cNvPr id="258" name="Straight Connector 257"/>
            <p:cNvCxnSpPr/>
            <p:nvPr/>
          </p:nvCxnSpPr>
          <p:spPr>
            <a:xfrm>
              <a:off x="3965721" y="1507105"/>
              <a:ext cx="0" cy="4541698"/>
            </a:xfrm>
            <a:prstGeom prst="line">
              <a:avLst/>
            </a:prstGeom>
            <a:noFill/>
            <a:ln w="9525" cap="flat" cmpd="sng" algn="ctr">
              <a:solidFill>
                <a:srgbClr val="FFFFFF">
                  <a:lumMod val="50000"/>
                </a:srgbClr>
              </a:solidFill>
              <a:prstDash val="sysDot"/>
            </a:ln>
            <a:effectLst/>
          </p:spPr>
        </p:cxnSp>
        <p:cxnSp>
          <p:nvCxnSpPr>
            <p:cNvPr id="259" name="Straight Connector 258"/>
            <p:cNvCxnSpPr/>
            <p:nvPr/>
          </p:nvCxnSpPr>
          <p:spPr>
            <a:xfrm>
              <a:off x="4883210" y="1507105"/>
              <a:ext cx="0" cy="4541698"/>
            </a:xfrm>
            <a:prstGeom prst="line">
              <a:avLst/>
            </a:prstGeom>
            <a:noFill/>
            <a:ln w="9525" cap="flat" cmpd="sng" algn="ctr">
              <a:solidFill>
                <a:srgbClr val="FFFFFF">
                  <a:lumMod val="50000"/>
                </a:srgbClr>
              </a:solidFill>
              <a:prstDash val="sysDot"/>
            </a:ln>
            <a:effectLst/>
          </p:spPr>
        </p:cxnSp>
        <p:cxnSp>
          <p:nvCxnSpPr>
            <p:cNvPr id="260" name="Straight Connector 259"/>
            <p:cNvCxnSpPr/>
            <p:nvPr/>
          </p:nvCxnSpPr>
          <p:spPr>
            <a:xfrm>
              <a:off x="5775557" y="1507105"/>
              <a:ext cx="0" cy="4541698"/>
            </a:xfrm>
            <a:prstGeom prst="line">
              <a:avLst/>
            </a:prstGeom>
            <a:noFill/>
            <a:ln w="9525" cap="flat" cmpd="sng" algn="ctr">
              <a:solidFill>
                <a:srgbClr val="FFFFFF">
                  <a:lumMod val="50000"/>
                </a:srgbClr>
              </a:solidFill>
              <a:prstDash val="sysDot"/>
            </a:ln>
            <a:effectLst/>
          </p:spPr>
        </p:cxnSp>
        <p:cxnSp>
          <p:nvCxnSpPr>
            <p:cNvPr id="261" name="Straight Connector 260"/>
            <p:cNvCxnSpPr/>
            <p:nvPr/>
          </p:nvCxnSpPr>
          <p:spPr>
            <a:xfrm>
              <a:off x="6667904" y="1507105"/>
              <a:ext cx="0" cy="4541698"/>
            </a:xfrm>
            <a:prstGeom prst="line">
              <a:avLst/>
            </a:prstGeom>
            <a:noFill/>
            <a:ln w="9525" cap="flat" cmpd="sng" algn="ctr">
              <a:solidFill>
                <a:srgbClr val="FFFFFF">
                  <a:lumMod val="50000"/>
                </a:srgbClr>
              </a:solidFill>
              <a:prstDash val="sysDot"/>
            </a:ln>
            <a:effectLst/>
          </p:spPr>
        </p:cxnSp>
        <p:cxnSp>
          <p:nvCxnSpPr>
            <p:cNvPr id="262" name="Straight Connector 261"/>
            <p:cNvCxnSpPr/>
            <p:nvPr/>
          </p:nvCxnSpPr>
          <p:spPr>
            <a:xfrm>
              <a:off x="7560251" y="1507105"/>
              <a:ext cx="0" cy="4541698"/>
            </a:xfrm>
            <a:prstGeom prst="line">
              <a:avLst/>
            </a:prstGeom>
            <a:noFill/>
            <a:ln w="9525" cap="flat" cmpd="sng" algn="ctr">
              <a:solidFill>
                <a:srgbClr val="FFFFFF">
                  <a:lumMod val="50000"/>
                </a:srgbClr>
              </a:solidFill>
              <a:prstDash val="sysDot"/>
            </a:ln>
            <a:effectLst/>
          </p:spPr>
        </p:cxnSp>
        <p:cxnSp>
          <p:nvCxnSpPr>
            <p:cNvPr id="263" name="Straight Connector 262"/>
            <p:cNvCxnSpPr/>
            <p:nvPr/>
          </p:nvCxnSpPr>
          <p:spPr>
            <a:xfrm>
              <a:off x="8481174" y="1507105"/>
              <a:ext cx="0" cy="4541698"/>
            </a:xfrm>
            <a:prstGeom prst="line">
              <a:avLst/>
            </a:prstGeom>
            <a:noFill/>
            <a:ln w="9525" cap="flat" cmpd="sng" algn="ctr">
              <a:solidFill>
                <a:srgbClr val="FFFFFF">
                  <a:lumMod val="50000"/>
                </a:srgbClr>
              </a:solidFill>
              <a:prstDash val="sysDot"/>
            </a:ln>
            <a:effectLst/>
          </p:spPr>
        </p:cxnSp>
        <p:grpSp>
          <p:nvGrpSpPr>
            <p:cNvPr id="264" name="Group 263"/>
            <p:cNvGrpSpPr/>
            <p:nvPr/>
          </p:nvGrpSpPr>
          <p:grpSpPr>
            <a:xfrm>
              <a:off x="2335011" y="1544916"/>
              <a:ext cx="678149" cy="550978"/>
              <a:chOff x="1736495" y="1617198"/>
              <a:chExt cx="727067" cy="902356"/>
            </a:xfrm>
          </p:grpSpPr>
          <p:pic>
            <p:nvPicPr>
              <p:cNvPr id="340" name="Picture 339"/>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902419" y="1971293"/>
                <a:ext cx="395219" cy="271856"/>
              </a:xfrm>
              <a:prstGeom prst="rect">
                <a:avLst/>
              </a:prstGeom>
            </p:spPr>
          </p:pic>
          <p:pic>
            <p:nvPicPr>
              <p:cNvPr id="341" name="Picture 34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833633" y="2242022"/>
                <a:ext cx="532791" cy="277532"/>
              </a:xfrm>
              <a:prstGeom prst="rect">
                <a:avLst/>
              </a:prstGeom>
            </p:spPr>
          </p:pic>
          <p:pic>
            <p:nvPicPr>
              <p:cNvPr id="342" name="Picture 341"/>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736495" y="1617198"/>
                <a:ext cx="727067" cy="217635"/>
              </a:xfrm>
              <a:prstGeom prst="rect">
                <a:avLst/>
              </a:prstGeom>
            </p:spPr>
          </p:pic>
          <p:pic>
            <p:nvPicPr>
              <p:cNvPr id="343" name="Picture 342"/>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1745845" y="1833705"/>
                <a:ext cx="708367" cy="138716"/>
              </a:xfrm>
              <a:prstGeom prst="rect">
                <a:avLst/>
              </a:prstGeom>
            </p:spPr>
          </p:pic>
        </p:grpSp>
        <p:grpSp>
          <p:nvGrpSpPr>
            <p:cNvPr id="265" name="Group 264"/>
            <p:cNvGrpSpPr>
              <a:grpSpLocks/>
            </p:cNvGrpSpPr>
            <p:nvPr/>
          </p:nvGrpSpPr>
          <p:grpSpPr>
            <a:xfrm>
              <a:off x="1451252" y="1544917"/>
              <a:ext cx="660970" cy="394708"/>
              <a:chOff x="852211" y="1617198"/>
              <a:chExt cx="727067" cy="838623"/>
            </a:xfrm>
          </p:grpSpPr>
          <p:pic>
            <p:nvPicPr>
              <p:cNvPr id="337" name="Picture 336"/>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852211" y="1617198"/>
                <a:ext cx="727067" cy="217635"/>
              </a:xfrm>
              <a:prstGeom prst="rect">
                <a:avLst/>
              </a:prstGeom>
            </p:spPr>
          </p:pic>
          <p:pic>
            <p:nvPicPr>
              <p:cNvPr id="338" name="Picture 337"/>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61561" y="1883583"/>
                <a:ext cx="708367" cy="138716"/>
              </a:xfrm>
              <a:prstGeom prst="rect">
                <a:avLst/>
              </a:prstGeom>
            </p:spPr>
          </p:pic>
          <p:pic>
            <p:nvPicPr>
              <p:cNvPr id="339" name="Picture 338"/>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926424" y="2057796"/>
                <a:ext cx="578641" cy="398025"/>
              </a:xfrm>
              <a:prstGeom prst="rect">
                <a:avLst/>
              </a:prstGeom>
            </p:spPr>
          </p:pic>
        </p:grpSp>
        <p:grpSp>
          <p:nvGrpSpPr>
            <p:cNvPr id="266" name="Group 265"/>
            <p:cNvGrpSpPr>
              <a:grpSpLocks/>
            </p:cNvGrpSpPr>
            <p:nvPr/>
          </p:nvGrpSpPr>
          <p:grpSpPr>
            <a:xfrm>
              <a:off x="3235946" y="1544917"/>
              <a:ext cx="660970" cy="762385"/>
              <a:chOff x="2620779" y="1617198"/>
              <a:chExt cx="727067" cy="838623"/>
            </a:xfrm>
          </p:grpSpPr>
          <p:pic>
            <p:nvPicPr>
              <p:cNvPr id="334" name="Picture 333"/>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2620779" y="1617198"/>
                <a:ext cx="727067" cy="217635"/>
              </a:xfrm>
              <a:prstGeom prst="rect">
                <a:avLst/>
              </a:prstGeom>
            </p:spPr>
          </p:pic>
          <p:pic>
            <p:nvPicPr>
              <p:cNvPr id="335" name="Picture 334"/>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2630129" y="1883583"/>
                <a:ext cx="708367" cy="138716"/>
              </a:xfrm>
              <a:prstGeom prst="rect">
                <a:avLst/>
              </a:prstGeom>
            </p:spPr>
          </p:pic>
          <p:pic>
            <p:nvPicPr>
              <p:cNvPr id="336" name="Picture 335"/>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2694992" y="2057796"/>
                <a:ext cx="578641" cy="398025"/>
              </a:xfrm>
              <a:prstGeom prst="rect">
                <a:avLst/>
              </a:prstGeom>
            </p:spPr>
          </p:pic>
        </p:grpSp>
        <p:grpSp>
          <p:nvGrpSpPr>
            <p:cNvPr id="267" name="Group 266"/>
            <p:cNvGrpSpPr>
              <a:grpSpLocks/>
            </p:cNvGrpSpPr>
            <p:nvPr/>
          </p:nvGrpSpPr>
          <p:grpSpPr>
            <a:xfrm>
              <a:off x="4128292" y="1544917"/>
              <a:ext cx="660970" cy="762385"/>
              <a:chOff x="3505063" y="1617198"/>
              <a:chExt cx="727067" cy="838623"/>
            </a:xfrm>
          </p:grpSpPr>
          <p:pic>
            <p:nvPicPr>
              <p:cNvPr id="331" name="Picture 330"/>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3505063" y="1617198"/>
                <a:ext cx="727067" cy="217635"/>
              </a:xfrm>
              <a:prstGeom prst="rect">
                <a:avLst/>
              </a:prstGeom>
            </p:spPr>
          </p:pic>
          <p:pic>
            <p:nvPicPr>
              <p:cNvPr id="332" name="Picture 331"/>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3514413" y="1883583"/>
                <a:ext cx="708367" cy="138716"/>
              </a:xfrm>
              <a:prstGeom prst="rect">
                <a:avLst/>
              </a:prstGeom>
            </p:spPr>
          </p:pic>
          <p:pic>
            <p:nvPicPr>
              <p:cNvPr id="333" name="Picture 332"/>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3579276" y="2057796"/>
                <a:ext cx="578641" cy="398025"/>
              </a:xfrm>
              <a:prstGeom prst="rect">
                <a:avLst/>
              </a:prstGeom>
            </p:spPr>
          </p:pic>
        </p:grpSp>
        <p:pic>
          <p:nvPicPr>
            <p:cNvPr id="268" name="Picture 267"/>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4987592" y="1847960"/>
              <a:ext cx="727067" cy="217635"/>
            </a:xfrm>
            <a:prstGeom prst="rect">
              <a:avLst/>
            </a:prstGeom>
          </p:spPr>
        </p:pic>
        <p:grpSp>
          <p:nvGrpSpPr>
            <p:cNvPr id="269" name="Group 268"/>
            <p:cNvGrpSpPr>
              <a:grpSpLocks/>
            </p:cNvGrpSpPr>
            <p:nvPr/>
          </p:nvGrpSpPr>
          <p:grpSpPr>
            <a:xfrm>
              <a:off x="5912986" y="1544917"/>
              <a:ext cx="660970" cy="762385"/>
              <a:chOff x="5273631" y="1617198"/>
              <a:chExt cx="727067" cy="838623"/>
            </a:xfrm>
          </p:grpSpPr>
          <p:pic>
            <p:nvPicPr>
              <p:cNvPr id="328" name="Picture 327"/>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5273631" y="1617198"/>
                <a:ext cx="727067" cy="217635"/>
              </a:xfrm>
              <a:prstGeom prst="rect">
                <a:avLst/>
              </a:prstGeom>
            </p:spPr>
          </p:pic>
          <p:pic>
            <p:nvPicPr>
              <p:cNvPr id="329" name="Picture 328"/>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5282981" y="1883583"/>
                <a:ext cx="708367" cy="138716"/>
              </a:xfrm>
              <a:prstGeom prst="rect">
                <a:avLst/>
              </a:prstGeom>
            </p:spPr>
          </p:pic>
          <p:pic>
            <p:nvPicPr>
              <p:cNvPr id="330" name="Picture 329"/>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5347844" y="2057796"/>
                <a:ext cx="578641" cy="398025"/>
              </a:xfrm>
              <a:prstGeom prst="rect">
                <a:avLst/>
              </a:prstGeom>
            </p:spPr>
          </p:pic>
        </p:grpSp>
        <p:grpSp>
          <p:nvGrpSpPr>
            <p:cNvPr id="270" name="Group 269"/>
            <p:cNvGrpSpPr>
              <a:grpSpLocks/>
            </p:cNvGrpSpPr>
            <p:nvPr/>
          </p:nvGrpSpPr>
          <p:grpSpPr>
            <a:xfrm>
              <a:off x="6840931" y="1591604"/>
              <a:ext cx="589777" cy="703197"/>
              <a:chOff x="6213374" y="1688017"/>
              <a:chExt cx="616149" cy="760718"/>
            </a:xfrm>
          </p:grpSpPr>
          <p:pic>
            <p:nvPicPr>
              <p:cNvPr id="321" name="Picture 320"/>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6248320" y="1688017"/>
                <a:ext cx="546256" cy="163514"/>
              </a:xfrm>
              <a:prstGeom prst="rect">
                <a:avLst/>
              </a:prstGeom>
            </p:spPr>
          </p:pic>
          <p:grpSp>
            <p:nvGrpSpPr>
              <p:cNvPr id="322" name="Group 321"/>
              <p:cNvGrpSpPr/>
              <p:nvPr/>
            </p:nvGrpSpPr>
            <p:grpSpPr>
              <a:xfrm>
                <a:off x="6213374" y="1860780"/>
                <a:ext cx="616149" cy="587955"/>
                <a:chOff x="6213374" y="1860780"/>
                <a:chExt cx="616149" cy="587955"/>
              </a:xfrm>
            </p:grpSpPr>
            <p:grpSp>
              <p:nvGrpSpPr>
                <p:cNvPr id="323" name="Group 322"/>
                <p:cNvGrpSpPr/>
                <p:nvPr/>
              </p:nvGrpSpPr>
              <p:grpSpPr>
                <a:xfrm>
                  <a:off x="6213374" y="2073755"/>
                  <a:ext cx="616149" cy="172325"/>
                  <a:chOff x="6169119" y="2088595"/>
                  <a:chExt cx="677764" cy="189558"/>
                </a:xfrm>
              </p:grpSpPr>
              <p:pic>
                <p:nvPicPr>
                  <p:cNvPr id="326" name="Picture 325"/>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169119" y="2088595"/>
                    <a:ext cx="363904" cy="189558"/>
                  </a:xfrm>
                  <a:prstGeom prst="rect">
                    <a:avLst/>
                  </a:prstGeom>
                </p:spPr>
              </p:pic>
              <p:pic>
                <p:nvPicPr>
                  <p:cNvPr id="327" name="Picture 326"/>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6555908" y="2102371"/>
                    <a:ext cx="290975" cy="162007"/>
                  </a:xfrm>
                  <a:prstGeom prst="rect">
                    <a:avLst/>
                  </a:prstGeom>
                </p:spPr>
              </p:pic>
            </p:grpSp>
            <p:pic>
              <p:nvPicPr>
                <p:cNvPr id="324" name="Picture 323"/>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6244526" y="2255329"/>
                  <a:ext cx="553845" cy="193406"/>
                </a:xfrm>
                <a:prstGeom prst="rect">
                  <a:avLst/>
                </a:prstGeom>
              </p:spPr>
            </p:pic>
            <p:pic>
              <p:nvPicPr>
                <p:cNvPr id="325" name="Picture 324"/>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236385" y="1860780"/>
                  <a:ext cx="570128" cy="203726"/>
                </a:xfrm>
                <a:prstGeom prst="rect">
                  <a:avLst/>
                </a:prstGeom>
              </p:spPr>
            </p:pic>
          </p:grpSp>
        </p:grpSp>
        <p:grpSp>
          <p:nvGrpSpPr>
            <p:cNvPr id="271" name="Group 270"/>
            <p:cNvGrpSpPr>
              <a:grpSpLocks/>
            </p:cNvGrpSpPr>
            <p:nvPr/>
          </p:nvGrpSpPr>
          <p:grpSpPr>
            <a:xfrm>
              <a:off x="7733278" y="1591604"/>
              <a:ext cx="589777" cy="703197"/>
              <a:chOff x="7048917" y="1647341"/>
              <a:chExt cx="713630" cy="850869"/>
            </a:xfrm>
          </p:grpSpPr>
          <p:pic>
            <p:nvPicPr>
              <p:cNvPr id="311" name="Picture 310"/>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7139628" y="1853106"/>
                <a:ext cx="532209" cy="104220"/>
              </a:xfrm>
              <a:prstGeom prst="rect">
                <a:avLst/>
              </a:prstGeom>
            </p:spPr>
          </p:pic>
          <p:grpSp>
            <p:nvGrpSpPr>
              <p:cNvPr id="312" name="Group 311"/>
              <p:cNvGrpSpPr/>
              <p:nvPr/>
            </p:nvGrpSpPr>
            <p:grpSpPr>
              <a:xfrm>
                <a:off x="7048917" y="1647341"/>
                <a:ext cx="713630" cy="199386"/>
                <a:chOff x="7021184" y="1647341"/>
                <a:chExt cx="713630" cy="199386"/>
              </a:xfrm>
            </p:grpSpPr>
            <p:pic>
              <p:nvPicPr>
                <p:cNvPr id="319" name="Picture 318"/>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7021184" y="1664590"/>
                  <a:ext cx="410410" cy="122850"/>
                </a:xfrm>
                <a:prstGeom prst="rect">
                  <a:avLst/>
                </a:prstGeom>
              </p:spPr>
            </p:pic>
            <p:pic>
              <p:nvPicPr>
                <p:cNvPr id="320" name="Picture 319"/>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7444950" y="1647341"/>
                  <a:ext cx="289864" cy="199386"/>
                </a:xfrm>
                <a:prstGeom prst="rect">
                  <a:avLst/>
                </a:prstGeom>
              </p:spPr>
            </p:pic>
          </p:grpSp>
          <p:grpSp>
            <p:nvGrpSpPr>
              <p:cNvPr id="313" name="Group 312"/>
              <p:cNvGrpSpPr/>
              <p:nvPr/>
            </p:nvGrpSpPr>
            <p:grpSpPr>
              <a:xfrm>
                <a:off x="7125665" y="1963705"/>
                <a:ext cx="560135" cy="534505"/>
                <a:chOff x="6950556" y="1860780"/>
                <a:chExt cx="616149" cy="587955"/>
              </a:xfrm>
            </p:grpSpPr>
            <p:grpSp>
              <p:nvGrpSpPr>
                <p:cNvPr id="314" name="Group 313"/>
                <p:cNvGrpSpPr/>
                <p:nvPr/>
              </p:nvGrpSpPr>
              <p:grpSpPr>
                <a:xfrm>
                  <a:off x="6950556" y="2073755"/>
                  <a:ext cx="616149" cy="172325"/>
                  <a:chOff x="6169119" y="2088595"/>
                  <a:chExt cx="677764" cy="189558"/>
                </a:xfrm>
              </p:grpSpPr>
              <p:pic>
                <p:nvPicPr>
                  <p:cNvPr id="317" name="Picture 316"/>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169119" y="2088595"/>
                    <a:ext cx="363904" cy="189558"/>
                  </a:xfrm>
                  <a:prstGeom prst="rect">
                    <a:avLst/>
                  </a:prstGeom>
                </p:spPr>
              </p:pic>
              <p:pic>
                <p:nvPicPr>
                  <p:cNvPr id="318" name="Picture 317"/>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6555908" y="2102371"/>
                    <a:ext cx="290975" cy="162007"/>
                  </a:xfrm>
                  <a:prstGeom prst="rect">
                    <a:avLst/>
                  </a:prstGeom>
                </p:spPr>
              </p:pic>
            </p:grpSp>
            <p:pic>
              <p:nvPicPr>
                <p:cNvPr id="315" name="Picture 314"/>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6981708" y="2255329"/>
                  <a:ext cx="553845" cy="193406"/>
                </a:xfrm>
                <a:prstGeom prst="rect">
                  <a:avLst/>
                </a:prstGeom>
              </p:spPr>
            </p:pic>
            <p:pic>
              <p:nvPicPr>
                <p:cNvPr id="316" name="Picture 315"/>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973567" y="1860780"/>
                  <a:ext cx="570128" cy="203726"/>
                </a:xfrm>
                <a:prstGeom prst="rect">
                  <a:avLst/>
                </a:prstGeom>
              </p:spPr>
            </p:pic>
          </p:grpSp>
        </p:grpSp>
        <p:grpSp>
          <p:nvGrpSpPr>
            <p:cNvPr id="272" name="Group 271"/>
            <p:cNvGrpSpPr>
              <a:grpSpLocks/>
            </p:cNvGrpSpPr>
            <p:nvPr/>
          </p:nvGrpSpPr>
          <p:grpSpPr>
            <a:xfrm>
              <a:off x="8625626" y="1591604"/>
              <a:ext cx="589777" cy="703197"/>
              <a:chOff x="7048917" y="1647341"/>
              <a:chExt cx="713630" cy="850869"/>
            </a:xfrm>
          </p:grpSpPr>
          <p:pic>
            <p:nvPicPr>
              <p:cNvPr id="301" name="Picture 300"/>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7139628" y="1853106"/>
                <a:ext cx="532209" cy="104220"/>
              </a:xfrm>
              <a:prstGeom prst="rect">
                <a:avLst/>
              </a:prstGeom>
            </p:spPr>
          </p:pic>
          <p:grpSp>
            <p:nvGrpSpPr>
              <p:cNvPr id="302" name="Group 301"/>
              <p:cNvGrpSpPr/>
              <p:nvPr/>
            </p:nvGrpSpPr>
            <p:grpSpPr>
              <a:xfrm>
                <a:off x="7048917" y="1647341"/>
                <a:ext cx="713630" cy="199386"/>
                <a:chOff x="7021184" y="1647341"/>
                <a:chExt cx="713630" cy="199386"/>
              </a:xfrm>
            </p:grpSpPr>
            <p:pic>
              <p:nvPicPr>
                <p:cNvPr id="309" name="Picture 308"/>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7021184" y="1664590"/>
                  <a:ext cx="410410" cy="122850"/>
                </a:xfrm>
                <a:prstGeom prst="rect">
                  <a:avLst/>
                </a:prstGeom>
              </p:spPr>
            </p:pic>
            <p:pic>
              <p:nvPicPr>
                <p:cNvPr id="310" name="Picture 309"/>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7444950" y="1647341"/>
                  <a:ext cx="289864" cy="199386"/>
                </a:xfrm>
                <a:prstGeom prst="rect">
                  <a:avLst/>
                </a:prstGeom>
              </p:spPr>
            </p:pic>
          </p:grpSp>
          <p:grpSp>
            <p:nvGrpSpPr>
              <p:cNvPr id="303" name="Group 302"/>
              <p:cNvGrpSpPr/>
              <p:nvPr/>
            </p:nvGrpSpPr>
            <p:grpSpPr>
              <a:xfrm>
                <a:off x="7125665" y="1963705"/>
                <a:ext cx="560135" cy="534505"/>
                <a:chOff x="6950556" y="1860780"/>
                <a:chExt cx="616149" cy="587955"/>
              </a:xfrm>
            </p:grpSpPr>
            <p:grpSp>
              <p:nvGrpSpPr>
                <p:cNvPr id="304" name="Group 303"/>
                <p:cNvGrpSpPr/>
                <p:nvPr/>
              </p:nvGrpSpPr>
              <p:grpSpPr>
                <a:xfrm>
                  <a:off x="6950556" y="2073755"/>
                  <a:ext cx="616149" cy="172325"/>
                  <a:chOff x="6169119" y="2088595"/>
                  <a:chExt cx="677764" cy="189558"/>
                </a:xfrm>
              </p:grpSpPr>
              <p:pic>
                <p:nvPicPr>
                  <p:cNvPr id="307" name="Picture 306"/>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169119" y="2088595"/>
                    <a:ext cx="363904" cy="189558"/>
                  </a:xfrm>
                  <a:prstGeom prst="rect">
                    <a:avLst/>
                  </a:prstGeom>
                </p:spPr>
              </p:pic>
              <p:pic>
                <p:nvPicPr>
                  <p:cNvPr id="308" name="Picture 307"/>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6555908" y="2102371"/>
                    <a:ext cx="290975" cy="162007"/>
                  </a:xfrm>
                  <a:prstGeom prst="rect">
                    <a:avLst/>
                  </a:prstGeom>
                </p:spPr>
              </p:pic>
            </p:grpSp>
            <p:pic>
              <p:nvPicPr>
                <p:cNvPr id="305" name="Picture 304"/>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6981708" y="2255329"/>
                  <a:ext cx="553845" cy="193406"/>
                </a:xfrm>
                <a:prstGeom prst="rect">
                  <a:avLst/>
                </a:prstGeom>
              </p:spPr>
            </p:pic>
            <p:pic>
              <p:nvPicPr>
                <p:cNvPr id="306" name="Picture 305"/>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973567" y="1860780"/>
                  <a:ext cx="570128" cy="203726"/>
                </a:xfrm>
                <a:prstGeom prst="rect">
                  <a:avLst/>
                </a:prstGeom>
              </p:spPr>
            </p:pic>
          </p:grpSp>
        </p:grpSp>
        <p:pic>
          <p:nvPicPr>
            <p:cNvPr id="273" name="Picture 2" descr="http://www.pass.ac.tz/templates/jsn_dome_free/images/colors/cyan/logo.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1492150" y="5878395"/>
              <a:ext cx="579174" cy="228021"/>
            </a:xfrm>
            <a:prstGeom prst="rect">
              <a:avLst/>
            </a:prstGeom>
            <a:noFill/>
            <a:extLst>
              <a:ext uri="{909E8E84-426E-40DD-AFC4-6F175D3DCCD1}">
                <a14:hiddenFill xmlns:a14="http://schemas.microsoft.com/office/drawing/2010/main">
                  <a:solidFill>
                    <a:srgbClr val="FFFFFF"/>
                  </a:solidFill>
                </a14:hiddenFill>
              </a:ext>
            </a:extLst>
          </p:spPr>
        </p:pic>
        <p:pic>
          <p:nvPicPr>
            <p:cNvPr id="274" name="Picture 2" descr="http://www.pass.ac.tz/templates/jsn_dome_free/images/colors/cyan/logo.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2384497" y="5878395"/>
              <a:ext cx="579174" cy="228021"/>
            </a:xfrm>
            <a:prstGeom prst="rect">
              <a:avLst/>
            </a:prstGeom>
            <a:noFill/>
            <a:extLst>
              <a:ext uri="{909E8E84-426E-40DD-AFC4-6F175D3DCCD1}">
                <a14:hiddenFill xmlns:a14="http://schemas.microsoft.com/office/drawing/2010/main">
                  <a:solidFill>
                    <a:srgbClr val="FFFFFF"/>
                  </a:solidFill>
                </a14:hiddenFill>
              </a:ext>
            </a:extLst>
          </p:spPr>
        </p:pic>
        <p:pic>
          <p:nvPicPr>
            <p:cNvPr id="275" name="Picture 2" descr="http://www.pass.ac.tz/templates/jsn_dome_free/images/colors/cyan/logo.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3276844" y="5878395"/>
              <a:ext cx="579174" cy="228021"/>
            </a:xfrm>
            <a:prstGeom prst="rect">
              <a:avLst/>
            </a:prstGeom>
            <a:noFill/>
            <a:extLst>
              <a:ext uri="{909E8E84-426E-40DD-AFC4-6F175D3DCCD1}">
                <a14:hiddenFill xmlns:a14="http://schemas.microsoft.com/office/drawing/2010/main">
                  <a:solidFill>
                    <a:srgbClr val="FFFFFF"/>
                  </a:solidFill>
                </a14:hiddenFill>
              </a:ext>
            </a:extLst>
          </p:spPr>
        </p:pic>
        <p:pic>
          <p:nvPicPr>
            <p:cNvPr id="276" name="Picture 2" descr="http://www.pass.ac.tz/templates/jsn_dome_free/images/colors/cyan/logo.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5061538" y="5878395"/>
              <a:ext cx="579174" cy="228021"/>
            </a:xfrm>
            <a:prstGeom prst="rect">
              <a:avLst/>
            </a:prstGeom>
            <a:noFill/>
            <a:extLst>
              <a:ext uri="{909E8E84-426E-40DD-AFC4-6F175D3DCCD1}">
                <a14:hiddenFill xmlns:a14="http://schemas.microsoft.com/office/drawing/2010/main">
                  <a:solidFill>
                    <a:srgbClr val="FFFFFF"/>
                  </a:solidFill>
                </a14:hiddenFill>
              </a:ext>
            </a:extLst>
          </p:spPr>
        </p:pic>
        <p:pic>
          <p:nvPicPr>
            <p:cNvPr id="277" name="Picture 2" descr="http://www.pass.ac.tz/templates/jsn_dome_free/images/colors/cyan/logo.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5953885" y="5878395"/>
              <a:ext cx="579174" cy="228021"/>
            </a:xfrm>
            <a:prstGeom prst="rect">
              <a:avLst/>
            </a:prstGeom>
            <a:noFill/>
            <a:extLst>
              <a:ext uri="{909E8E84-426E-40DD-AFC4-6F175D3DCCD1}">
                <a14:hiddenFill xmlns:a14="http://schemas.microsoft.com/office/drawing/2010/main">
                  <a:solidFill>
                    <a:srgbClr val="FFFFFF"/>
                  </a:solidFill>
                </a14:hiddenFill>
              </a:ext>
            </a:extLst>
          </p:spPr>
        </p:pic>
        <p:pic>
          <p:nvPicPr>
            <p:cNvPr id="278" name="Picture 2" descr="http://www.pass.ac.tz/templates/jsn_dome_free/images/colors/cyan/logo.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6846232" y="5878395"/>
              <a:ext cx="579174" cy="228021"/>
            </a:xfrm>
            <a:prstGeom prst="rect">
              <a:avLst/>
            </a:prstGeom>
            <a:noFill/>
            <a:extLst>
              <a:ext uri="{909E8E84-426E-40DD-AFC4-6F175D3DCCD1}">
                <a14:hiddenFill xmlns:a14="http://schemas.microsoft.com/office/drawing/2010/main">
                  <a:solidFill>
                    <a:srgbClr val="FFFFFF"/>
                  </a:solidFill>
                </a14:hiddenFill>
              </a:ext>
            </a:extLst>
          </p:spPr>
        </p:pic>
        <p:pic>
          <p:nvPicPr>
            <p:cNvPr id="279" name="Picture 2" descr="http://www.pass.ac.tz/templates/jsn_dome_free/images/colors/cyan/logo.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7738579" y="5878395"/>
              <a:ext cx="579174" cy="228021"/>
            </a:xfrm>
            <a:prstGeom prst="rect">
              <a:avLst/>
            </a:prstGeom>
            <a:noFill/>
            <a:extLst>
              <a:ext uri="{909E8E84-426E-40DD-AFC4-6F175D3DCCD1}">
                <a14:hiddenFill xmlns:a14="http://schemas.microsoft.com/office/drawing/2010/main">
                  <a:solidFill>
                    <a:srgbClr val="FFFFFF"/>
                  </a:solidFill>
                </a14:hiddenFill>
              </a:ext>
            </a:extLst>
          </p:spPr>
        </p:pic>
        <p:pic>
          <p:nvPicPr>
            <p:cNvPr id="280" name="Picture 2" descr="http://www.pass.ac.tz/templates/jsn_dome_free/images/colors/cyan/logo.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8630926" y="5878395"/>
              <a:ext cx="579174" cy="228021"/>
            </a:xfrm>
            <a:prstGeom prst="rect">
              <a:avLst/>
            </a:prstGeom>
            <a:noFill/>
            <a:extLst>
              <a:ext uri="{909E8E84-426E-40DD-AFC4-6F175D3DCCD1}">
                <a14:hiddenFill xmlns:a14="http://schemas.microsoft.com/office/drawing/2010/main">
                  <a:solidFill>
                    <a:srgbClr val="FFFFFF"/>
                  </a:solidFill>
                </a14:hiddenFill>
              </a:ext>
            </a:extLst>
          </p:spPr>
        </p:pic>
        <p:sp>
          <p:nvSpPr>
            <p:cNvPr id="284" name="TextBox 283"/>
            <p:cNvSpPr txBox="1"/>
            <p:nvPr/>
          </p:nvSpPr>
          <p:spPr>
            <a:xfrm>
              <a:off x="1203877" y="2444827"/>
              <a:ext cx="928129" cy="784830"/>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smtClean="0">
                  <a:ln>
                    <a:noFill/>
                  </a:ln>
                  <a:solidFill>
                    <a:srgbClr val="000000">
                      <a:lumMod val="95000"/>
                      <a:lumOff val="5000"/>
                    </a:srgbClr>
                  </a:solidFill>
                  <a:effectLst/>
                  <a:uLnTx/>
                  <a:uFillTx/>
                  <a:latin typeface="Arial" charset="0"/>
                  <a:ea typeface="+mn-ea"/>
                </a:rPr>
                <a:t>Local Seed Companies; previously supported by AGRA</a:t>
              </a:r>
            </a:p>
          </p:txBody>
        </p:sp>
        <p:sp>
          <p:nvSpPr>
            <p:cNvPr id="285" name="TextBox 284"/>
            <p:cNvSpPr txBox="1"/>
            <p:nvPr/>
          </p:nvSpPr>
          <p:spPr>
            <a:xfrm>
              <a:off x="1220502" y="1936997"/>
              <a:ext cx="955308" cy="461665"/>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smtClean="0">
                  <a:ln>
                    <a:noFill/>
                  </a:ln>
                  <a:solidFill>
                    <a:srgbClr val="000000">
                      <a:lumMod val="95000"/>
                      <a:lumOff val="5000"/>
                    </a:srgbClr>
                  </a:solidFill>
                  <a:effectLst/>
                  <a:uLnTx/>
                  <a:uFillTx/>
                  <a:latin typeface="Arial" charset="0"/>
                  <a:ea typeface="+mn-ea"/>
                </a:rPr>
                <a:t>Local Seed Companies; previously supported by AGRA</a:t>
              </a:r>
            </a:p>
          </p:txBody>
        </p:sp>
        <p:sp>
          <p:nvSpPr>
            <p:cNvPr id="286" name="TextBox 285"/>
            <p:cNvSpPr txBox="1"/>
            <p:nvPr/>
          </p:nvSpPr>
          <p:spPr>
            <a:xfrm>
              <a:off x="2288472" y="1991137"/>
              <a:ext cx="732003" cy="369332"/>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smtClean="0">
                  <a:ln>
                    <a:noFill/>
                  </a:ln>
                  <a:solidFill>
                    <a:srgbClr val="000000">
                      <a:lumMod val="95000"/>
                      <a:lumOff val="5000"/>
                    </a:srgbClr>
                  </a:solidFill>
                  <a:effectLst/>
                  <a:uLnTx/>
                  <a:uFillTx/>
                  <a:latin typeface="Arial" charset="0"/>
                  <a:ea typeface="+mn-ea"/>
                </a:rPr>
                <a:t>Yara, ETG, TFC</a:t>
              </a:r>
            </a:p>
          </p:txBody>
        </p:sp>
        <p:sp>
          <p:nvSpPr>
            <p:cNvPr id="287" name="TextBox 286"/>
            <p:cNvSpPr txBox="1">
              <a:spLocks/>
            </p:cNvSpPr>
            <p:nvPr/>
          </p:nvSpPr>
          <p:spPr>
            <a:xfrm>
              <a:off x="515429" y="6074386"/>
              <a:ext cx="663548" cy="559327"/>
            </a:xfrm>
            <a:prstGeom prst="rect">
              <a:avLst/>
            </a:prstGeom>
            <a:solidFill>
              <a:srgbClr val="018942"/>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defTabSz="913429" eaLnBrk="1" fontAlgn="base" latinLnBrk="0" hangingPunct="1">
                <a:lnSpc>
                  <a:spcPct val="100000"/>
                </a:lnSpc>
                <a:spcBef>
                  <a:spcPct val="0"/>
                </a:spcBef>
                <a:spcAft>
                  <a:spcPct val="0"/>
                </a:spcAft>
                <a:buClr>
                  <a:srgbClr val="FFFFFF"/>
                </a:buClr>
                <a:buSzTx/>
                <a:buFontTx/>
                <a:buNone/>
                <a:tabLst/>
                <a:defRPr/>
              </a:pPr>
              <a:r>
                <a:rPr kumimoji="0" lang="en-US" sz="800" b="1" i="0" u="none" strike="noStrike" kern="1200" cap="none" spc="0" normalizeH="0" baseline="0" noProof="0" dirty="0">
                  <a:ln>
                    <a:noFill/>
                  </a:ln>
                  <a:solidFill>
                    <a:srgbClr val="FFFFFF"/>
                  </a:solidFill>
                  <a:effectLst/>
                  <a:uLnTx/>
                  <a:uFillTx/>
                  <a:latin typeface="Arial"/>
                  <a:ea typeface="+mn-ea"/>
                </a:rPr>
                <a:t>Private Sector</a:t>
              </a:r>
            </a:p>
          </p:txBody>
        </p:sp>
        <p:sp>
          <p:nvSpPr>
            <p:cNvPr id="288" name="TextBox 287"/>
            <p:cNvSpPr txBox="1"/>
            <p:nvPr/>
          </p:nvSpPr>
          <p:spPr>
            <a:xfrm>
              <a:off x="2239399" y="2518051"/>
              <a:ext cx="624434" cy="507831"/>
            </a:xfrm>
            <a:prstGeom prst="rect">
              <a:avLst/>
            </a:prstGeom>
            <a:noFill/>
          </p:spPr>
          <p:txBody>
            <a:bodyPr wrap="square" rtlCol="0">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smtClean="0">
                  <a:ln>
                    <a:noFill/>
                  </a:ln>
                  <a:solidFill>
                    <a:srgbClr val="000000">
                      <a:lumMod val="95000"/>
                      <a:lumOff val="5000"/>
                    </a:srgbClr>
                  </a:solidFill>
                  <a:effectLst/>
                  <a:uLnTx/>
                  <a:uFillTx/>
                  <a:latin typeface="Arial" charset="0"/>
                  <a:ea typeface="+mn-ea"/>
                </a:rPr>
                <a:t>Yara, ETG, TFC</a:t>
              </a:r>
            </a:p>
          </p:txBody>
        </p:sp>
        <p:sp>
          <p:nvSpPr>
            <p:cNvPr id="289" name="TextBox 288"/>
            <p:cNvSpPr txBox="1"/>
            <p:nvPr/>
          </p:nvSpPr>
          <p:spPr>
            <a:xfrm>
              <a:off x="1187281" y="6094970"/>
              <a:ext cx="1197217" cy="430887"/>
            </a:xfrm>
            <a:prstGeom prst="rect">
              <a:avLst/>
            </a:prstGeom>
            <a:noFill/>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solidFill>
                    <a:sysClr val="windowText" lastClr="000000"/>
                  </a:solidFill>
                  <a:effectLst/>
                  <a:uLnTx/>
                  <a:uFillTx/>
                  <a:latin typeface="Arial" charset="0"/>
                  <a:ea typeface="+mn-ea"/>
                </a:rPr>
                <a:t>Seed companies</a:t>
              </a:r>
            </a:p>
          </p:txBody>
        </p:sp>
        <p:pic>
          <p:nvPicPr>
            <p:cNvPr id="290" name="Picture 289" descr="Image result for yara tanzania"/>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2310551" y="6260168"/>
              <a:ext cx="315034" cy="339627"/>
            </a:xfrm>
            <a:prstGeom prst="rect">
              <a:avLst/>
            </a:prstGeom>
            <a:noFill/>
            <a:ln>
              <a:noFill/>
            </a:ln>
          </p:spPr>
        </p:pic>
        <p:pic>
          <p:nvPicPr>
            <p:cNvPr id="291" name="Picture 290" descr="Image result for ETG tanzania"/>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2613131" y="6225778"/>
              <a:ext cx="383292" cy="374016"/>
            </a:xfrm>
            <a:prstGeom prst="rect">
              <a:avLst/>
            </a:prstGeom>
            <a:noFill/>
            <a:ln>
              <a:noFill/>
            </a:ln>
          </p:spPr>
        </p:pic>
        <p:pic>
          <p:nvPicPr>
            <p:cNvPr id="292" name="Picture 291" descr="Image result for ETG tanzania"/>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7891851" y="6132698"/>
              <a:ext cx="383292" cy="374016"/>
            </a:xfrm>
            <a:prstGeom prst="rect">
              <a:avLst/>
            </a:prstGeom>
            <a:noFill/>
            <a:ln>
              <a:noFill/>
            </a:ln>
          </p:spPr>
        </p:pic>
        <p:pic>
          <p:nvPicPr>
            <p:cNvPr id="293" name="Picture 292" descr="Image result for Bakhresa tanzania"/>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8741171" y="6115818"/>
              <a:ext cx="600075" cy="466090"/>
            </a:xfrm>
            <a:prstGeom prst="rect">
              <a:avLst/>
            </a:prstGeom>
            <a:noFill/>
            <a:ln>
              <a:noFill/>
            </a:ln>
          </p:spPr>
        </p:pic>
        <p:pic>
          <p:nvPicPr>
            <p:cNvPr id="294" name="Picture 293" descr="Image result for Rubuye agrobusiness"/>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6874380" y="6260167"/>
              <a:ext cx="685871" cy="299444"/>
            </a:xfrm>
            <a:prstGeom prst="rect">
              <a:avLst/>
            </a:prstGeom>
            <a:noFill/>
            <a:ln>
              <a:noFill/>
            </a:ln>
          </p:spPr>
        </p:pic>
        <p:pic>
          <p:nvPicPr>
            <p:cNvPr id="295" name="Picture 294" descr="Image result for agro dealers in Tanzania"/>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7237811" y="6104164"/>
              <a:ext cx="504825" cy="466725"/>
            </a:xfrm>
            <a:prstGeom prst="rect">
              <a:avLst/>
            </a:prstGeom>
            <a:noFill/>
            <a:ln>
              <a:noFill/>
            </a:ln>
          </p:spPr>
        </p:pic>
        <p:pic>
          <p:nvPicPr>
            <p:cNvPr id="296" name="Picture 295" descr="Image result for MVIWATA"/>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6007377" y="6152004"/>
              <a:ext cx="552450" cy="429905"/>
            </a:xfrm>
            <a:prstGeom prst="rect">
              <a:avLst/>
            </a:prstGeom>
            <a:noFill/>
            <a:ln>
              <a:noFill/>
            </a:ln>
          </p:spPr>
        </p:pic>
        <p:pic>
          <p:nvPicPr>
            <p:cNvPr id="297" name="Picture 296" descr="Image result for tractors in Tanzania"/>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3117243" y="6233295"/>
              <a:ext cx="781050" cy="342900"/>
            </a:xfrm>
            <a:prstGeom prst="rect">
              <a:avLst/>
            </a:prstGeom>
            <a:noFill/>
            <a:ln>
              <a:noFill/>
            </a:ln>
          </p:spPr>
        </p:pic>
        <p:pic>
          <p:nvPicPr>
            <p:cNvPr id="298" name="Picture 297" descr="Image result for mohammed enterprises tanzania"/>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8259628" y="6210434"/>
              <a:ext cx="573025" cy="371475"/>
            </a:xfrm>
            <a:prstGeom prst="rect">
              <a:avLst/>
            </a:prstGeom>
            <a:noFill/>
            <a:ln>
              <a:noFill/>
            </a:ln>
          </p:spPr>
        </p:pic>
        <p:pic>
          <p:nvPicPr>
            <p:cNvPr id="299" name="Picture 298" descr="Image result for John deere tanzania"/>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3507768" y="6163519"/>
              <a:ext cx="666750" cy="447675"/>
            </a:xfrm>
            <a:prstGeom prst="rect">
              <a:avLst/>
            </a:prstGeom>
            <a:noFill/>
            <a:ln>
              <a:noFill/>
            </a:ln>
          </p:spPr>
        </p:pic>
        <p:pic>
          <p:nvPicPr>
            <p:cNvPr id="300" name="Picture 299" descr="Image result for mahindra tractor tanzania"/>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3909139" y="6357594"/>
              <a:ext cx="628811" cy="242200"/>
            </a:xfrm>
            <a:prstGeom prst="rect">
              <a:avLst/>
            </a:prstGeom>
            <a:noFill/>
            <a:ln>
              <a:noFill/>
            </a:ln>
          </p:spPr>
        </p:pic>
      </p:grpSp>
      <p:pic>
        <p:nvPicPr>
          <p:cNvPr id="4" name="Picture 3"/>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5886350" y="3425553"/>
            <a:ext cx="823389" cy="463232"/>
          </a:xfrm>
          <a:prstGeom prst="rect">
            <a:avLst/>
          </a:prstGeom>
        </p:spPr>
      </p:pic>
      <p:pic>
        <p:nvPicPr>
          <p:cNvPr id="420" name="Picture 419"/>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6710571" y="3457404"/>
            <a:ext cx="823389" cy="463232"/>
          </a:xfrm>
          <a:prstGeom prst="rect">
            <a:avLst/>
          </a:prstGeom>
        </p:spPr>
      </p:pic>
      <p:pic>
        <p:nvPicPr>
          <p:cNvPr id="421" name="Picture 420"/>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7600137" y="3480486"/>
            <a:ext cx="823389" cy="463232"/>
          </a:xfrm>
          <a:prstGeom prst="rect">
            <a:avLst/>
          </a:prstGeom>
        </p:spPr>
      </p:pic>
      <p:pic>
        <p:nvPicPr>
          <p:cNvPr id="422" name="Picture 421"/>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8481672" y="3492030"/>
            <a:ext cx="823389" cy="463232"/>
          </a:xfrm>
          <a:prstGeom prst="rect">
            <a:avLst/>
          </a:prstGeom>
        </p:spPr>
      </p:pic>
    </p:spTree>
    <p:extLst>
      <p:ext uri="{BB962C8B-B14F-4D97-AF65-F5344CB8AC3E}">
        <p14:creationId xmlns:p14="http://schemas.microsoft.com/office/powerpoint/2010/main" val="277908882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69375" name="think-cell Slide" r:id="rId6" imgW="327" imgH="327" progId="TCLayout.ActiveDocument.1">
                  <p:embed/>
                </p:oleObj>
              </mc:Choice>
              <mc:Fallback>
                <p:oleObj name="think-cell Slide" r:id="rId6" imgW="327" imgH="327" progId="TCLayout.ActiveDocument.1">
                  <p:embed/>
                  <p:pic>
                    <p:nvPicPr>
                      <p:cNvPr id="6" name="Object 5" hidden="1"/>
                      <p:cNvPicPr/>
                      <p:nvPr/>
                    </p:nvPicPr>
                    <p:blipFill>
                      <a:blip r:embed="rId7"/>
                      <a:stretch>
                        <a:fillRect/>
                      </a:stretch>
                    </p:blipFill>
                    <p:spPr>
                      <a:xfrm>
                        <a:off x="929978" y="644228"/>
                        <a:ext cx="1290" cy="1290"/>
                      </a:xfrm>
                      <a:prstGeom prst="rect">
                        <a:avLst/>
                      </a:prstGeom>
                    </p:spPr>
                  </p:pic>
                </p:oleObj>
              </mc:Fallback>
            </mc:AlternateContent>
          </a:graphicData>
        </a:graphic>
      </p:graphicFrame>
      <p:sp>
        <p:nvSpPr>
          <p:cNvPr id="9" name="Rectangle 8" hidden="1"/>
          <p:cNvSpPr/>
          <p:nvPr>
            <p:custDataLst>
              <p:tags r:id="rId3"/>
            </p:custDataLst>
          </p:nvPr>
        </p:nvSpPr>
        <p:spPr>
          <a:xfrm>
            <a:off x="928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buClr>
                <a:srgbClr val="000000"/>
              </a:buClr>
              <a:defRPr/>
            </a:pPr>
            <a:endParaRPr lang="en-US" sz="1625"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6"/>
          <p:cNvSpPr>
            <a:spLocks noGrp="1"/>
          </p:cNvSpPr>
          <p:nvPr>
            <p:ph type="title"/>
          </p:nvPr>
        </p:nvSpPr>
        <p:spPr/>
        <p:txBody>
          <a:bodyPr/>
          <a:lstStyle/>
          <a:p>
            <a:r>
              <a:rPr lang="en-US" sz="1625" dirty="0"/>
              <a:t>In addition to Macro-economic analysis, AGRA also carried out analysis of </a:t>
            </a:r>
            <a:r>
              <a:rPr lang="en-US" sz="1625" dirty="0" smtClean="0"/>
              <a:t>specific </a:t>
            </a:r>
            <a:r>
              <a:rPr lang="en-US" sz="1625" dirty="0"/>
              <a:t>systems to inform the strategy</a:t>
            </a:r>
          </a:p>
        </p:txBody>
      </p:sp>
      <p:sp>
        <p:nvSpPr>
          <p:cNvPr id="10" name="TextBox 9"/>
          <p:cNvSpPr txBox="1"/>
          <p:nvPr/>
        </p:nvSpPr>
        <p:spPr>
          <a:xfrm>
            <a:off x="317981" y="864207"/>
            <a:ext cx="2749680" cy="242374"/>
          </a:xfrm>
          <a:prstGeom prst="rect">
            <a:avLst/>
          </a:prstGeom>
          <a:noFill/>
        </p:spPr>
        <p:txBody>
          <a:bodyPr wrap="square" rtlCol="0">
            <a:spAutoFit/>
          </a:bodyPr>
          <a:lstStyle/>
          <a:p>
            <a:pPr>
              <a:buClr>
                <a:srgbClr val="000000"/>
              </a:buClr>
              <a:defRPr/>
            </a:pPr>
            <a:r>
              <a:rPr lang="en-US" sz="975" b="1" dirty="0"/>
              <a:t>Seed systems</a:t>
            </a:r>
          </a:p>
        </p:txBody>
      </p:sp>
      <p:graphicFrame>
        <p:nvGraphicFramePr>
          <p:cNvPr id="11" name="Table 10"/>
          <p:cNvGraphicFramePr>
            <a:graphicFrameLocks noGrp="1"/>
          </p:cNvGraphicFramePr>
          <p:nvPr>
            <p:extLst>
              <p:ext uri="{D42A27DB-BD31-4B8C-83A1-F6EECF244321}">
                <p14:modId xmlns:p14="http://schemas.microsoft.com/office/powerpoint/2010/main" val="1385113561"/>
              </p:ext>
            </p:extLst>
          </p:nvPr>
        </p:nvGraphicFramePr>
        <p:xfrm>
          <a:off x="560356" y="1106577"/>
          <a:ext cx="9235152" cy="5774283"/>
        </p:xfrm>
        <a:graphic>
          <a:graphicData uri="http://schemas.openxmlformats.org/drawingml/2006/table">
            <a:tbl>
              <a:tblPr firstRow="1" bandRow="1">
                <a:tableStyleId>{2D5ABB26-0587-4C30-8999-92F81FD0307C}</a:tableStyleId>
              </a:tblPr>
              <a:tblGrid>
                <a:gridCol w="1539192">
                  <a:extLst>
                    <a:ext uri="{9D8B030D-6E8A-4147-A177-3AD203B41FA5}">
                      <a16:colId xmlns:a16="http://schemas.microsoft.com/office/drawing/2014/main" xmlns="" val="20000"/>
                    </a:ext>
                  </a:extLst>
                </a:gridCol>
                <a:gridCol w="1539192">
                  <a:extLst>
                    <a:ext uri="{9D8B030D-6E8A-4147-A177-3AD203B41FA5}">
                      <a16:colId xmlns:a16="http://schemas.microsoft.com/office/drawing/2014/main" xmlns="" val="20001"/>
                    </a:ext>
                  </a:extLst>
                </a:gridCol>
                <a:gridCol w="1539192">
                  <a:extLst>
                    <a:ext uri="{9D8B030D-6E8A-4147-A177-3AD203B41FA5}">
                      <a16:colId xmlns:a16="http://schemas.microsoft.com/office/drawing/2014/main" xmlns="" val="20002"/>
                    </a:ext>
                  </a:extLst>
                </a:gridCol>
                <a:gridCol w="1539192">
                  <a:extLst>
                    <a:ext uri="{9D8B030D-6E8A-4147-A177-3AD203B41FA5}">
                      <a16:colId xmlns:a16="http://schemas.microsoft.com/office/drawing/2014/main" xmlns="" val="20003"/>
                    </a:ext>
                  </a:extLst>
                </a:gridCol>
                <a:gridCol w="1539192">
                  <a:extLst>
                    <a:ext uri="{9D8B030D-6E8A-4147-A177-3AD203B41FA5}">
                      <a16:colId xmlns:a16="http://schemas.microsoft.com/office/drawing/2014/main" xmlns="" val="20004"/>
                    </a:ext>
                  </a:extLst>
                </a:gridCol>
                <a:gridCol w="1539192">
                  <a:extLst>
                    <a:ext uri="{9D8B030D-6E8A-4147-A177-3AD203B41FA5}">
                      <a16:colId xmlns:a16="http://schemas.microsoft.com/office/drawing/2014/main" xmlns="" val="20005"/>
                    </a:ext>
                  </a:extLst>
                </a:gridCol>
              </a:tblGrid>
              <a:tr h="507715">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900" b="1" dirty="0" smtClean="0">
                          <a:solidFill>
                            <a:schemeClr val="bg1"/>
                          </a:solidFill>
                        </a:rPr>
                        <a:t>Breeding</a:t>
                      </a:r>
                      <a:r>
                        <a:rPr lang="en-US" sz="900" b="1" baseline="0" dirty="0" smtClean="0">
                          <a:solidFill>
                            <a:schemeClr val="bg1"/>
                          </a:solidFill>
                        </a:rPr>
                        <a:t> and variety release</a:t>
                      </a:r>
                      <a:endParaRPr lang="en-US" sz="900" b="1" dirty="0" smtClean="0">
                        <a:solidFill>
                          <a:schemeClr val="bg1"/>
                        </a:solidFill>
                      </a:endParaRPr>
                    </a:p>
                    <a:p>
                      <a:endParaRPr lang="en-US" sz="900" b="1" dirty="0">
                        <a:solidFill>
                          <a:schemeClr val="bg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900" b="1" dirty="0" smtClean="0">
                          <a:solidFill>
                            <a:schemeClr val="bg1"/>
                          </a:solidFill>
                        </a:rPr>
                        <a:t>EGS supply</a:t>
                      </a:r>
                      <a:endParaRPr lang="en-US" sz="900" b="1" dirty="0">
                        <a:solidFill>
                          <a:schemeClr val="bg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900" b="1" dirty="0" smtClean="0">
                          <a:solidFill>
                            <a:schemeClr val="bg1"/>
                          </a:solidFill>
                        </a:rPr>
                        <a:t>Certified seed production</a:t>
                      </a:r>
                      <a:endParaRPr lang="en-US" sz="900" b="1" dirty="0">
                        <a:solidFill>
                          <a:schemeClr val="bg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900" b="1" dirty="0" smtClean="0">
                          <a:solidFill>
                            <a:schemeClr val="bg1"/>
                          </a:solidFill>
                        </a:rPr>
                        <a:t>Awareness by farmers</a:t>
                      </a:r>
                      <a:endParaRPr lang="en-US" sz="900" b="1" dirty="0">
                        <a:solidFill>
                          <a:schemeClr val="bg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900" b="1" dirty="0" smtClean="0">
                          <a:solidFill>
                            <a:schemeClr val="bg1"/>
                          </a:solidFill>
                        </a:rPr>
                        <a:t>Marketing</a:t>
                      </a:r>
                      <a:r>
                        <a:rPr lang="en-US" sz="900" b="1" baseline="0" dirty="0" smtClean="0">
                          <a:solidFill>
                            <a:schemeClr val="bg1"/>
                          </a:solidFill>
                        </a:rPr>
                        <a:t> and distribution</a:t>
                      </a:r>
                      <a:endParaRPr lang="en-US" sz="900" b="1" dirty="0">
                        <a:solidFill>
                          <a:schemeClr val="bg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900" b="1" dirty="0" smtClean="0">
                          <a:solidFill>
                            <a:schemeClr val="bg1"/>
                          </a:solidFill>
                        </a:rPr>
                        <a:t>Regulation</a:t>
                      </a:r>
                    </a:p>
                    <a:p>
                      <a:endParaRPr lang="en-US" sz="900" b="1" dirty="0">
                        <a:solidFill>
                          <a:schemeClr val="bg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xmlns="" val="10000"/>
                  </a:ext>
                </a:extLst>
              </a:tr>
              <a:tr h="3337635">
                <a:tc>
                  <a:txBody>
                    <a:bodyPr/>
                    <a:lstStyle/>
                    <a:p>
                      <a:pPr marL="128588" indent="-128588" defTabSz="685800">
                        <a:spcAft>
                          <a:spcPts val="225"/>
                        </a:spcAft>
                        <a:buFont typeface="Arial" panose="020B0604020202020204" pitchFamily="34" charset="0"/>
                        <a:buChar char="•"/>
                      </a:pPr>
                      <a:r>
                        <a:rPr lang="en-US" sz="900" dirty="0" smtClean="0">
                          <a:solidFill>
                            <a:schemeClr val="tx1"/>
                          </a:solidFill>
                          <a:latin typeface="Calibri" panose="020F0502020204030204"/>
                        </a:rPr>
                        <a:t>Maize, rice, beans, cassava and sweet potato breeding programs supported resulting in the release of 42 varieties</a:t>
                      </a:r>
                    </a:p>
                    <a:p>
                      <a:pPr marL="128588" indent="-128588" defTabSz="685800">
                        <a:spcAft>
                          <a:spcPts val="225"/>
                        </a:spcAft>
                        <a:buFont typeface="Arial" panose="020B0604020202020204" pitchFamily="34" charset="0"/>
                        <a:buChar char="•"/>
                      </a:pPr>
                      <a:r>
                        <a:rPr lang="en-US" sz="900" dirty="0" smtClean="0">
                          <a:solidFill>
                            <a:schemeClr val="tx1"/>
                          </a:solidFill>
                          <a:latin typeface="Calibri" panose="020F0502020204030204"/>
                        </a:rPr>
                        <a:t>Out of 42 varieties released 23 commercialized</a:t>
                      </a:r>
                    </a:p>
                    <a:p>
                      <a:pPr marL="128588" indent="-128588" defTabSz="685800">
                        <a:spcAft>
                          <a:spcPts val="225"/>
                        </a:spcAft>
                        <a:buFont typeface="Arial" panose="020B0604020202020204" pitchFamily="34" charset="0"/>
                        <a:buChar char="•"/>
                      </a:pPr>
                      <a:r>
                        <a:rPr lang="en-US" sz="900" dirty="0" smtClean="0">
                          <a:solidFill>
                            <a:schemeClr val="tx1"/>
                          </a:solidFill>
                          <a:latin typeface="Calibri" panose="020F0502020204030204"/>
                        </a:rPr>
                        <a:t>28 research</a:t>
                      </a:r>
                      <a:r>
                        <a:rPr lang="en-US" sz="900" baseline="0" dirty="0" smtClean="0">
                          <a:solidFill>
                            <a:schemeClr val="tx1"/>
                          </a:solidFill>
                          <a:latin typeface="Calibri" panose="020F0502020204030204"/>
                        </a:rPr>
                        <a:t> scientists trained in breeding and seed technology</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900" dirty="0" smtClean="0">
                          <a:solidFill>
                            <a:schemeClr val="tx1"/>
                          </a:solidFill>
                        </a:rPr>
                        <a:t>Public institutions ASA and TARI are key producers of EGS  public varieties particularly for other crops in addition to maize</a:t>
                      </a:r>
                    </a:p>
                    <a:p>
                      <a:r>
                        <a:rPr lang="en-US" sz="900" dirty="0" smtClean="0">
                          <a:solidFill>
                            <a:schemeClr val="tx1"/>
                          </a:solidFill>
                        </a:rPr>
                        <a:t>Private seed companies with</a:t>
                      </a:r>
                      <a:r>
                        <a:rPr lang="en-US" sz="900" baseline="0" dirty="0" smtClean="0">
                          <a:solidFill>
                            <a:schemeClr val="tx1"/>
                          </a:solidFill>
                        </a:rPr>
                        <a:t> their own varieties are in-charge of their own EGS production.</a:t>
                      </a:r>
                    </a:p>
                    <a:p>
                      <a:r>
                        <a:rPr lang="en-US" sz="900" baseline="0" dirty="0" smtClean="0">
                          <a:solidFill>
                            <a:schemeClr val="tx1"/>
                          </a:solidFill>
                        </a:rPr>
                        <a:t> </a:t>
                      </a:r>
                    </a:p>
                    <a:p>
                      <a:r>
                        <a:rPr lang="en-US" sz="900" baseline="0" dirty="0" smtClean="0">
                          <a:solidFill>
                            <a:schemeClr val="tx1"/>
                          </a:solidFill>
                        </a:rPr>
                        <a:t> </a:t>
                      </a:r>
                      <a:r>
                        <a:rPr lang="en-US" sz="900" dirty="0" smtClean="0">
                          <a:solidFill>
                            <a:schemeClr val="tx1"/>
                          </a:solidFill>
                        </a:rPr>
                        <a:t> </a:t>
                      </a:r>
                      <a:endParaRPr lang="en-US" sz="90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900" baseline="0" dirty="0" smtClean="0">
                          <a:solidFill>
                            <a:schemeClr val="tx1"/>
                          </a:solidFill>
                          <a:latin typeface="Calibri" panose="020F0502020204030204"/>
                        </a:rPr>
                        <a:t>15 seed companies supported and out of these 13 are still active and operational</a:t>
                      </a:r>
                    </a:p>
                    <a:p>
                      <a:pPr marL="128588" indent="-128588" defTabSz="685800">
                        <a:spcAft>
                          <a:spcPts val="225"/>
                        </a:spcAft>
                        <a:buFont typeface="Arial" panose="020B0604020202020204" pitchFamily="34" charset="0"/>
                        <a:buChar char="•"/>
                      </a:pPr>
                      <a:r>
                        <a:rPr lang="en-US" sz="900" baseline="0" dirty="0" smtClean="0">
                          <a:solidFill>
                            <a:schemeClr val="tx1"/>
                          </a:solidFill>
                          <a:latin typeface="Calibri" panose="020F0502020204030204"/>
                        </a:rPr>
                        <a:t>2 public institutions supported to produce seed of vegetatively propagated crops (cassava and sweet potatoes)</a:t>
                      </a:r>
                    </a:p>
                    <a:p>
                      <a:pPr marL="128588" indent="-128588" defTabSz="685800">
                        <a:spcAft>
                          <a:spcPts val="225"/>
                        </a:spcAft>
                        <a:buFont typeface="Arial" panose="020B0604020202020204" pitchFamily="34" charset="0"/>
                        <a:buChar char="•"/>
                      </a:pPr>
                      <a:r>
                        <a:rPr lang="en-US" sz="900" baseline="0" dirty="0" smtClean="0">
                          <a:solidFill>
                            <a:schemeClr val="tx1"/>
                          </a:solidFill>
                          <a:latin typeface="Calibri" panose="020F0502020204030204"/>
                        </a:rPr>
                        <a:t>In 2016 supported seed companies produced 4,226 MT of seed which benefited 169,040 smallholder farmers</a:t>
                      </a:r>
                    </a:p>
                    <a:p>
                      <a:pPr marL="128588" indent="-128588" defTabSz="685800">
                        <a:spcAft>
                          <a:spcPts val="225"/>
                        </a:spcAft>
                        <a:buFont typeface="Arial" panose="020B0604020202020204" pitchFamily="34" charset="0"/>
                        <a:buChar char="•"/>
                      </a:pPr>
                      <a:r>
                        <a:rPr lang="en-US" sz="900" baseline="0" dirty="0" smtClean="0">
                          <a:solidFill>
                            <a:schemeClr val="tx1"/>
                          </a:solidFill>
                          <a:latin typeface="Calibri" panose="020F0502020204030204"/>
                        </a:rPr>
                        <a:t>Multinational seed companies (Monsanto, Syngenta &amp; Pioneer) regional seed companies (Seed Co,  </a:t>
                      </a:r>
                      <a:r>
                        <a:rPr lang="en-US" sz="900" baseline="0" dirty="0" err="1" smtClean="0">
                          <a:solidFill>
                            <a:schemeClr val="tx1"/>
                          </a:solidFill>
                          <a:latin typeface="Calibri" panose="020F0502020204030204"/>
                        </a:rPr>
                        <a:t>Pannar</a:t>
                      </a:r>
                      <a:r>
                        <a:rPr lang="en-US" sz="900" baseline="0" dirty="0" smtClean="0">
                          <a:solidFill>
                            <a:schemeClr val="tx1"/>
                          </a:solidFill>
                          <a:latin typeface="Calibri" panose="020F0502020204030204"/>
                        </a:rPr>
                        <a:t> &amp; Kenya) are also active but with focus on maize</a:t>
                      </a:r>
                    </a:p>
                    <a:p>
                      <a:endParaRPr lang="en-US" sz="90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900" dirty="0" smtClean="0">
                          <a:solidFill>
                            <a:schemeClr val="tx1"/>
                          </a:solidFill>
                        </a:rPr>
                        <a:t>Uptake and adoption of improved varieties still low.</a:t>
                      </a:r>
                      <a:r>
                        <a:rPr lang="en-US" sz="900" baseline="0" dirty="0" smtClean="0">
                          <a:solidFill>
                            <a:schemeClr val="tx1"/>
                          </a:solidFill>
                        </a:rPr>
                        <a:t> Seed companies and agro-dealers were key players in creation of awareness</a:t>
                      </a:r>
                      <a:endParaRPr lang="en-US" sz="90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900" dirty="0" smtClean="0">
                          <a:solidFill>
                            <a:schemeClr val="tx1"/>
                          </a:solidFill>
                        </a:rPr>
                        <a:t>By 2016 about 2,800 agro-dealers had been trained and actively selling inputs. </a:t>
                      </a:r>
                    </a:p>
                    <a:p>
                      <a:pPr marL="171450" indent="-171450">
                        <a:buFont typeface="Arial" panose="020B0604020202020204" pitchFamily="34" charset="0"/>
                        <a:buChar char="•"/>
                      </a:pPr>
                      <a:r>
                        <a:rPr lang="en-US" sz="900" dirty="0" smtClean="0">
                          <a:solidFill>
                            <a:schemeClr val="tx1"/>
                          </a:solidFill>
                        </a:rPr>
                        <a:t>The</a:t>
                      </a:r>
                      <a:r>
                        <a:rPr lang="en-US" sz="900" baseline="0" dirty="0" smtClean="0">
                          <a:solidFill>
                            <a:schemeClr val="tx1"/>
                          </a:solidFill>
                        </a:rPr>
                        <a:t> hub-agro-dealer model was just starting and only a few regions (Southern and Northern) had some and had been established in partnership with AFAP</a:t>
                      </a:r>
                      <a:endParaRPr lang="en-US" sz="90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900" dirty="0" smtClean="0">
                          <a:solidFill>
                            <a:schemeClr val="tx1"/>
                          </a:solidFill>
                        </a:rPr>
                        <a:t>Circular</a:t>
                      </a:r>
                      <a:r>
                        <a:rPr lang="en-US" sz="900" baseline="0" dirty="0" smtClean="0">
                          <a:solidFill>
                            <a:schemeClr val="tx1"/>
                          </a:solidFill>
                        </a:rPr>
                        <a:t> 2011 allowed private seed companies to access and produce public varieties. 4 seed companies successfully applied and only focused on maize</a:t>
                      </a:r>
                    </a:p>
                    <a:p>
                      <a:pPr marL="171450" indent="-171450">
                        <a:buFont typeface="Arial" panose="020B0604020202020204" pitchFamily="34" charset="0"/>
                        <a:buChar char="•"/>
                      </a:pPr>
                      <a:r>
                        <a:rPr lang="en-US" sz="900" baseline="0" dirty="0" smtClean="0">
                          <a:solidFill>
                            <a:schemeClr val="tx1"/>
                          </a:solidFill>
                        </a:rPr>
                        <a:t>Seed harmonization in line with SADC protocols was beginning to take root</a:t>
                      </a:r>
                    </a:p>
                    <a:p>
                      <a:pPr marL="171450" indent="-171450">
                        <a:buFont typeface="Arial" panose="020B0604020202020204" pitchFamily="34" charset="0"/>
                        <a:buChar char="•"/>
                      </a:pPr>
                      <a:r>
                        <a:rPr lang="en-US" sz="900" baseline="0" dirty="0" smtClean="0">
                          <a:solidFill>
                            <a:schemeClr val="tx1"/>
                          </a:solidFill>
                        </a:rPr>
                        <a:t>Seed law in place</a:t>
                      </a:r>
                      <a:endParaRPr lang="en-US" sz="90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1928933">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900" dirty="0" smtClean="0">
                          <a:solidFill>
                            <a:schemeClr val="tx1"/>
                          </a:solidFill>
                        </a:rPr>
                        <a:t>Plant</a:t>
                      </a:r>
                      <a:r>
                        <a:rPr lang="en-US" sz="900" baseline="0" dirty="0" smtClean="0">
                          <a:solidFill>
                            <a:schemeClr val="tx1"/>
                          </a:solidFill>
                        </a:rPr>
                        <a:t> breeders rights still not fully operational</a:t>
                      </a:r>
                      <a:endParaRPr lang="en-US" sz="900" dirty="0" smtClean="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900" dirty="0" smtClean="0">
                          <a:solidFill>
                            <a:schemeClr val="tx1"/>
                          </a:solidFill>
                        </a:rPr>
                        <a:t>Breeder seed still in shortage for public varieties since TARI is underfunded and this has implications on foundation and certified seed</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GB" sz="900" dirty="0" smtClean="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900" dirty="0" err="1" smtClean="0">
                          <a:solidFill>
                            <a:schemeClr val="tx1"/>
                          </a:solidFill>
                        </a:rPr>
                        <a:t>Kigoma</a:t>
                      </a:r>
                      <a:r>
                        <a:rPr lang="en-US" sz="900" dirty="0" smtClean="0">
                          <a:solidFill>
                            <a:schemeClr val="tx1"/>
                          </a:solidFill>
                        </a:rPr>
                        <a:t> and </a:t>
                      </a:r>
                      <a:r>
                        <a:rPr lang="en-US" sz="900" dirty="0" err="1" smtClean="0">
                          <a:solidFill>
                            <a:schemeClr val="tx1"/>
                          </a:solidFill>
                        </a:rPr>
                        <a:t>Kagera</a:t>
                      </a:r>
                      <a:r>
                        <a:rPr lang="en-US" sz="900" dirty="0" smtClean="0">
                          <a:solidFill>
                            <a:schemeClr val="tx1"/>
                          </a:solidFill>
                        </a:rPr>
                        <a:t> region still underserved with no seed companies producing seed ther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900" dirty="0" smtClean="0">
                          <a:solidFill>
                            <a:schemeClr val="tx1"/>
                          </a:solidFill>
                        </a:rPr>
                        <a:t>Improved seed of other crops beans, rice, sorghum still insufficient</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900" dirty="0" smtClean="0">
                          <a:solidFill>
                            <a:schemeClr val="tx1"/>
                          </a:solidFill>
                          <a:latin typeface="Calibri" panose="020F0502020204030204"/>
                        </a:rPr>
                        <a:t>Farmer awareness still low partly because of few extension agents. VBA model likely to help improve the situation</a:t>
                      </a:r>
                    </a:p>
                    <a:p>
                      <a:pPr marL="128588" indent="-128588" defTabSz="685800">
                        <a:spcAft>
                          <a:spcPts val="225"/>
                        </a:spcAft>
                        <a:buFont typeface="Arial" panose="020B0604020202020204" pitchFamily="34" charset="0"/>
                        <a:buChar char="•"/>
                      </a:pPr>
                      <a:r>
                        <a:rPr lang="en-US" sz="900" dirty="0" smtClean="0">
                          <a:solidFill>
                            <a:schemeClr val="tx1"/>
                          </a:solidFill>
                          <a:latin typeface="Calibri" panose="020F0502020204030204"/>
                        </a:rPr>
                        <a:t>Input supplies (seed  and fertilizer companies) have to do more demos</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900" dirty="0" smtClean="0">
                          <a:solidFill>
                            <a:schemeClr val="tx1"/>
                          </a:solidFill>
                          <a:latin typeface="Calibri" panose="020F0502020204030204"/>
                        </a:rPr>
                        <a:t>More agro-dealers and hub agro-dealers still required because distance travelled by farmers is still more than 8 km</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900" dirty="0" smtClean="0">
                          <a:solidFill>
                            <a:schemeClr val="tx1"/>
                          </a:solidFill>
                        </a:rPr>
                        <a:t>Seed quality still an issue and may require utilization of ICT e.g. e-tags (scratch coin technology)</a:t>
                      </a:r>
                    </a:p>
                    <a:p>
                      <a:r>
                        <a:rPr lang="en-US" sz="900" dirty="0" smtClean="0">
                          <a:solidFill>
                            <a:schemeClr val="tx1"/>
                          </a:solidFill>
                        </a:rPr>
                        <a:t>Number of seed inspectors still low. Consider allowing private inspectors as is the case in Zambia</a:t>
                      </a:r>
                      <a:endParaRPr lang="en-US" sz="900" dirty="0">
                        <a:solidFill>
                          <a:schemeClr val="tx1"/>
                        </a:solidFill>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
        <p:nvSpPr>
          <p:cNvPr id="12" name="TextBox 11"/>
          <p:cNvSpPr txBox="1"/>
          <p:nvPr/>
        </p:nvSpPr>
        <p:spPr>
          <a:xfrm rot="16200000">
            <a:off x="-12729" y="1194917"/>
            <a:ext cx="903795" cy="242374"/>
          </a:xfrm>
          <a:prstGeom prst="rect">
            <a:avLst/>
          </a:prstGeom>
          <a:noFill/>
        </p:spPr>
        <p:txBody>
          <a:bodyPr wrap="square" rtlCol="0">
            <a:spAutoFit/>
          </a:bodyPr>
          <a:lstStyle/>
          <a:p>
            <a:pPr>
              <a:buClr>
                <a:srgbClr val="000000"/>
              </a:buClr>
              <a:defRPr/>
            </a:pPr>
            <a:r>
              <a:rPr lang="en-US" sz="975" dirty="0"/>
              <a:t>Status</a:t>
            </a:r>
          </a:p>
        </p:txBody>
      </p:sp>
      <p:sp>
        <p:nvSpPr>
          <p:cNvPr id="13" name="TextBox 12"/>
          <p:cNvSpPr txBox="1"/>
          <p:nvPr/>
        </p:nvSpPr>
        <p:spPr>
          <a:xfrm rot="16200000">
            <a:off x="-12729" y="5128717"/>
            <a:ext cx="903795" cy="242374"/>
          </a:xfrm>
          <a:prstGeom prst="rect">
            <a:avLst/>
          </a:prstGeom>
          <a:noFill/>
        </p:spPr>
        <p:txBody>
          <a:bodyPr wrap="square" rtlCol="0">
            <a:spAutoFit/>
          </a:bodyPr>
          <a:lstStyle/>
          <a:p>
            <a:pPr>
              <a:buClr>
                <a:srgbClr val="000000"/>
              </a:buClr>
              <a:defRPr/>
            </a:pPr>
            <a:r>
              <a:rPr lang="en-US" sz="975" dirty="0"/>
              <a:t>Gaps</a:t>
            </a:r>
          </a:p>
        </p:txBody>
      </p:sp>
    </p:spTree>
    <p:extLst>
      <p:ext uri="{BB962C8B-B14F-4D97-AF65-F5344CB8AC3E}">
        <p14:creationId xmlns:p14="http://schemas.microsoft.com/office/powerpoint/2010/main" val="37969717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153" name="think-cell Slide" r:id="rId6" imgW="327" imgH="327" progId="TCLayout.ActiveDocument.1">
                  <p:embed/>
                </p:oleObj>
              </mc:Choice>
              <mc:Fallback>
                <p:oleObj name="think-cell Slide" r:id="rId6" imgW="327" imgH="327"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itle 6"/>
          <p:cNvSpPr>
            <a:spLocks noGrp="1"/>
          </p:cNvSpPr>
          <p:nvPr>
            <p:ph type="title"/>
          </p:nvPr>
        </p:nvSpPr>
        <p:spPr/>
        <p:txBody>
          <a:bodyPr/>
          <a:lstStyle/>
          <a:p>
            <a:r>
              <a:rPr lang="en-US" sz="2000" dirty="0"/>
              <a:t>In addition to Macro-economic analysis, AGRA also carried out analysis of  specific systems to inform the strategy</a:t>
            </a:r>
          </a:p>
        </p:txBody>
      </p:sp>
      <p:sp>
        <p:nvSpPr>
          <p:cNvPr id="10" name="TextBox 9"/>
          <p:cNvSpPr txBox="1"/>
          <p:nvPr/>
        </p:nvSpPr>
        <p:spPr>
          <a:xfrm>
            <a:off x="275302" y="848666"/>
            <a:ext cx="338422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Arial"/>
                <a:cs typeface="Arial"/>
                <a:sym typeface="Arial"/>
              </a:rPr>
              <a:t>Soil health and fertilizer systems</a:t>
            </a:r>
          </a:p>
        </p:txBody>
      </p:sp>
      <p:graphicFrame>
        <p:nvGraphicFramePr>
          <p:cNvPr id="11" name="Table 10"/>
          <p:cNvGraphicFramePr>
            <a:graphicFrameLocks noGrp="1"/>
          </p:cNvGraphicFramePr>
          <p:nvPr>
            <p:extLst>
              <p:ext uri="{D42A27DB-BD31-4B8C-83A1-F6EECF244321}">
                <p14:modId xmlns:p14="http://schemas.microsoft.com/office/powerpoint/2010/main" val="1325354100"/>
              </p:ext>
            </p:extLst>
          </p:nvPr>
        </p:nvGraphicFramePr>
        <p:xfrm>
          <a:off x="356473" y="1231820"/>
          <a:ext cx="9418320" cy="5392643"/>
        </p:xfrm>
        <a:graphic>
          <a:graphicData uri="http://schemas.openxmlformats.org/drawingml/2006/table">
            <a:tbl>
              <a:tblPr firstRow="1" bandRow="1">
                <a:tableStyleId>{2D5ABB26-0587-4C30-8999-92F81FD0307C}</a:tableStyleId>
              </a:tblPr>
              <a:tblGrid>
                <a:gridCol w="1569720">
                  <a:extLst>
                    <a:ext uri="{9D8B030D-6E8A-4147-A177-3AD203B41FA5}">
                      <a16:colId xmlns:a16="http://schemas.microsoft.com/office/drawing/2014/main" xmlns="" val="20000"/>
                    </a:ext>
                  </a:extLst>
                </a:gridCol>
                <a:gridCol w="1569720">
                  <a:extLst>
                    <a:ext uri="{9D8B030D-6E8A-4147-A177-3AD203B41FA5}">
                      <a16:colId xmlns:a16="http://schemas.microsoft.com/office/drawing/2014/main" xmlns="" val="20001"/>
                    </a:ext>
                  </a:extLst>
                </a:gridCol>
                <a:gridCol w="1569720">
                  <a:extLst>
                    <a:ext uri="{9D8B030D-6E8A-4147-A177-3AD203B41FA5}">
                      <a16:colId xmlns:a16="http://schemas.microsoft.com/office/drawing/2014/main" xmlns="" val="20002"/>
                    </a:ext>
                  </a:extLst>
                </a:gridCol>
                <a:gridCol w="1569720">
                  <a:extLst>
                    <a:ext uri="{9D8B030D-6E8A-4147-A177-3AD203B41FA5}">
                      <a16:colId xmlns:a16="http://schemas.microsoft.com/office/drawing/2014/main" xmlns="" val="20003"/>
                    </a:ext>
                  </a:extLst>
                </a:gridCol>
                <a:gridCol w="1569720">
                  <a:extLst>
                    <a:ext uri="{9D8B030D-6E8A-4147-A177-3AD203B41FA5}">
                      <a16:colId xmlns:a16="http://schemas.microsoft.com/office/drawing/2014/main" xmlns="" val="20004"/>
                    </a:ext>
                  </a:extLst>
                </a:gridCol>
                <a:gridCol w="1569720">
                  <a:extLst>
                    <a:ext uri="{9D8B030D-6E8A-4147-A177-3AD203B41FA5}">
                      <a16:colId xmlns:a16="http://schemas.microsoft.com/office/drawing/2014/main" xmlns="" val="20005"/>
                    </a:ext>
                  </a:extLst>
                </a:gridCol>
              </a:tblGrid>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b="1" dirty="0" smtClean="0">
                          <a:solidFill>
                            <a:schemeClr val="bg1"/>
                          </a:solidFill>
                        </a:rPr>
                        <a:t>Soil Mapping and Testing</a:t>
                      </a:r>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smtClean="0">
                          <a:solidFill>
                            <a:schemeClr val="bg1"/>
                          </a:solidFill>
                        </a:rPr>
                        <a:t>Product</a:t>
                      </a:r>
                      <a:r>
                        <a:rPr lang="en-US" sz="1000" b="1" baseline="0" dirty="0" smtClean="0">
                          <a:solidFill>
                            <a:schemeClr val="bg1"/>
                          </a:solidFill>
                        </a:rPr>
                        <a:t> development</a:t>
                      </a:r>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smtClean="0">
                          <a:solidFill>
                            <a:schemeClr val="bg1"/>
                          </a:solidFill>
                        </a:rPr>
                        <a:t>Importation</a:t>
                      </a:r>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smtClean="0">
                          <a:solidFill>
                            <a:schemeClr val="bg1"/>
                          </a:solidFill>
                        </a:rPr>
                        <a:t>Blending</a:t>
                      </a:r>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baseline="0" dirty="0" smtClean="0">
                          <a:solidFill>
                            <a:schemeClr val="bg1"/>
                          </a:solidFill>
                        </a:rPr>
                        <a:t>Distribution</a:t>
                      </a:r>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b="1" dirty="0" smtClean="0">
                          <a:solidFill>
                            <a:schemeClr val="bg1"/>
                          </a:solidFill>
                        </a:rPr>
                        <a:t>Awareness Creation</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xmlns="" val="10000"/>
                  </a:ext>
                </a:extLst>
              </a:tr>
              <a:tr h="2499803">
                <a:tc>
                  <a:txBody>
                    <a:bodyPr/>
                    <a:lstStyle/>
                    <a:p>
                      <a:pPr marL="0" indent="0" defTabSz="685800">
                        <a:spcAft>
                          <a:spcPts val="225"/>
                        </a:spcAft>
                        <a:buFont typeface="Arial" panose="020B0604020202020204" pitchFamily="34" charset="0"/>
                        <a:buNone/>
                      </a:pPr>
                      <a:r>
                        <a:rPr lang="en-US" sz="800" dirty="0" smtClean="0">
                          <a:solidFill>
                            <a:schemeClr val="tx1"/>
                          </a:solidFill>
                          <a:latin typeface="+mn-lt"/>
                        </a:rPr>
                        <a:t>There exist substantial  source of complete soil nutrient and soil acidity information from the </a:t>
                      </a:r>
                      <a:r>
                        <a:rPr lang="en-US" sz="800" dirty="0" err="1" smtClean="0">
                          <a:solidFill>
                            <a:schemeClr val="tx1"/>
                          </a:solidFill>
                          <a:latin typeface="+mn-lt"/>
                        </a:rPr>
                        <a:t>AfSIS</a:t>
                      </a:r>
                      <a:r>
                        <a:rPr lang="en-US" sz="800" dirty="0" smtClean="0">
                          <a:solidFill>
                            <a:schemeClr val="tx1"/>
                          </a:solidFill>
                          <a:latin typeface="+mn-lt"/>
                        </a:rPr>
                        <a:t>/TANSIS assessment</a:t>
                      </a:r>
                    </a:p>
                    <a:p>
                      <a:pPr marL="0" indent="0" defTabSz="685800">
                        <a:spcAft>
                          <a:spcPts val="225"/>
                        </a:spcAft>
                        <a:buFont typeface="Arial" panose="020B0604020202020204" pitchFamily="34" charset="0"/>
                        <a:buNone/>
                      </a:pPr>
                      <a:r>
                        <a:rPr lang="en-US" sz="800" dirty="0" smtClean="0">
                          <a:solidFill>
                            <a:schemeClr val="tx1"/>
                          </a:solidFill>
                          <a:latin typeface="+mn-lt"/>
                        </a:rPr>
                        <a:t>AGRA trained  227,752 farmers on ISFM technologies</a:t>
                      </a:r>
                    </a:p>
                    <a:p>
                      <a:pPr marL="0" indent="0" defTabSz="685800">
                        <a:spcAft>
                          <a:spcPts val="225"/>
                        </a:spcAft>
                        <a:buFont typeface="Arial" panose="020B0604020202020204" pitchFamily="34" charset="0"/>
                        <a:buNone/>
                      </a:pPr>
                      <a:r>
                        <a:rPr lang="en-US" sz="800" dirty="0" smtClean="0">
                          <a:solidFill>
                            <a:schemeClr val="tx1"/>
                          </a:solidFill>
                          <a:latin typeface="+mn-lt"/>
                        </a:rPr>
                        <a:t>149,895  cropped with ISFM technologies;19 lab technicians trained in plant and soil analysis</a:t>
                      </a:r>
                    </a:p>
                    <a:p>
                      <a:pPr marL="0" indent="0" defTabSz="685800">
                        <a:spcAft>
                          <a:spcPts val="225"/>
                        </a:spcAft>
                        <a:buFont typeface="Arial" panose="020B0604020202020204" pitchFamily="34" charset="0"/>
                        <a:buNone/>
                      </a:pPr>
                      <a:r>
                        <a:rPr lang="en-US" sz="800" dirty="0" smtClean="0">
                          <a:solidFill>
                            <a:schemeClr val="tx1"/>
                          </a:solidFill>
                          <a:latin typeface="+mn-lt"/>
                        </a:rPr>
                        <a:t>AGRA</a:t>
                      </a:r>
                      <a:r>
                        <a:rPr lang="en-US" sz="800" baseline="0" dirty="0" smtClean="0">
                          <a:solidFill>
                            <a:schemeClr val="tx1"/>
                          </a:solidFill>
                          <a:latin typeface="+mn-lt"/>
                        </a:rPr>
                        <a:t> </a:t>
                      </a:r>
                      <a:r>
                        <a:rPr lang="en-US" sz="800" dirty="0" smtClean="0">
                          <a:solidFill>
                            <a:schemeClr val="tx1"/>
                          </a:solidFill>
                          <a:latin typeface="+mn-lt"/>
                        </a:rPr>
                        <a:t>has Supported best-bet trials on AGRA priority crops using blended fertilizers, with </a:t>
                      </a:r>
                      <a:r>
                        <a:rPr lang="en-US" sz="800" dirty="0" err="1" smtClean="0">
                          <a:solidFill>
                            <a:schemeClr val="tx1"/>
                          </a:solidFill>
                          <a:latin typeface="+mn-lt"/>
                        </a:rPr>
                        <a:t>Yara</a:t>
                      </a:r>
                      <a:r>
                        <a:rPr lang="en-US" sz="800" dirty="0" smtClean="0">
                          <a:solidFill>
                            <a:schemeClr val="tx1"/>
                          </a:solidFill>
                          <a:latin typeface="+mn-lt"/>
                        </a:rPr>
                        <a:t> and </a:t>
                      </a:r>
                      <a:r>
                        <a:rPr lang="en-US" sz="800" dirty="0" err="1" smtClean="0">
                          <a:solidFill>
                            <a:schemeClr val="tx1"/>
                          </a:solidFill>
                          <a:latin typeface="+mn-lt"/>
                        </a:rPr>
                        <a:t>Minjingu</a:t>
                      </a:r>
                      <a:r>
                        <a:rPr lang="en-US" sz="800" dirty="0" smtClean="0">
                          <a:solidFill>
                            <a:schemeClr val="tx1"/>
                          </a:solidFill>
                          <a:latin typeface="+mn-lt"/>
                        </a:rPr>
                        <a:t> fertilizers serving as benchmarks</a:t>
                      </a:r>
                    </a:p>
                    <a:p>
                      <a:pPr marL="0" indent="0" defTabSz="685800">
                        <a:spcAft>
                          <a:spcPts val="225"/>
                        </a:spcAft>
                        <a:buFont typeface="Arial" panose="020B0604020202020204" pitchFamily="34" charset="0"/>
                        <a:buNone/>
                      </a:pPr>
                      <a:r>
                        <a:rPr lang="en-US" sz="800" dirty="0" smtClean="0">
                          <a:solidFill>
                            <a:schemeClr val="tx1"/>
                          </a:solidFill>
                          <a:latin typeface="+mn-lt"/>
                        </a:rPr>
                        <a:t>AGRA supported a study</a:t>
                      </a:r>
                      <a:r>
                        <a:rPr lang="en-US" sz="800" baseline="0" dirty="0" smtClean="0">
                          <a:solidFill>
                            <a:schemeClr val="tx1"/>
                          </a:solidFill>
                          <a:latin typeface="+mn-lt"/>
                        </a:rPr>
                        <a:t> on soil acidity to determine the interventions</a:t>
                      </a:r>
                      <a:endParaRPr lang="en-US" sz="800" dirty="0" smtClean="0">
                        <a:solidFill>
                          <a:schemeClr val="tx1"/>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dirty="0" smtClean="0"/>
                        <a:t>Both </a:t>
                      </a:r>
                      <a:r>
                        <a:rPr lang="en-US" sz="800" dirty="0" err="1" smtClean="0"/>
                        <a:t>Yara</a:t>
                      </a:r>
                      <a:r>
                        <a:rPr lang="en-US" sz="800" dirty="0" smtClean="0"/>
                        <a:t> and </a:t>
                      </a:r>
                      <a:r>
                        <a:rPr lang="en-US" sz="800" dirty="0" err="1" smtClean="0"/>
                        <a:t>Minjingu</a:t>
                      </a:r>
                      <a:r>
                        <a:rPr lang="en-US" sz="800" dirty="0" smtClean="0"/>
                        <a:t>  are selling balanced</a:t>
                      </a:r>
                      <a:r>
                        <a:rPr lang="en-US" sz="800" baseline="0" dirty="0" smtClean="0"/>
                        <a:t> fertilizer either as blends or compounds;</a:t>
                      </a:r>
                    </a:p>
                    <a:p>
                      <a:r>
                        <a:rPr lang="en-US" sz="800" dirty="0" smtClean="0"/>
                        <a:t>OCP and ETG mainly sell</a:t>
                      </a:r>
                      <a:r>
                        <a:rPr lang="en-US" sz="800" baseline="0" dirty="0" smtClean="0"/>
                        <a:t> NPKs;</a:t>
                      </a:r>
                      <a:endParaRPr lang="en-US" sz="800" dirty="0" smtClean="0"/>
                    </a:p>
                    <a:p>
                      <a:r>
                        <a:rPr lang="en-US" sz="800" dirty="0" smtClean="0"/>
                        <a:t>Tanzania Fertilizer Regulatory Authority is  the sole regulatory body responsible for all aspects pertaining to fertilizer, including management of the BPS. </a:t>
                      </a:r>
                    </a:p>
                    <a:p>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dirty="0" smtClean="0"/>
                        <a:t>Importation through Bulk Procurement System (BPS) This  limit many importers appetite to invest in development. </a:t>
                      </a:r>
                      <a:endParaRPr lang="en-US" sz="8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dirty="0" smtClean="0"/>
                        <a:t>There are several crop-specific  fertilizer blends from different companies (</a:t>
                      </a:r>
                      <a:r>
                        <a:rPr lang="en-US" sz="800" dirty="0" err="1" smtClean="0"/>
                        <a:t>Yara</a:t>
                      </a:r>
                      <a:r>
                        <a:rPr lang="en-US" sz="800" dirty="0" smtClean="0"/>
                        <a:t> and </a:t>
                      </a:r>
                      <a:r>
                        <a:rPr lang="en-US" sz="800" dirty="0" err="1" smtClean="0"/>
                        <a:t>Minjingu</a:t>
                      </a:r>
                      <a:r>
                        <a:rPr lang="en-US" sz="800" dirty="0" smtClean="0"/>
                        <a:t>);</a:t>
                      </a:r>
                    </a:p>
                    <a:p>
                      <a:r>
                        <a:rPr lang="en-US" sz="800" dirty="0" smtClean="0"/>
                        <a:t>The blending industry is not well-established in Tanzania, though interest exists;</a:t>
                      </a:r>
                    </a:p>
                    <a:p>
                      <a:r>
                        <a:rPr lang="en-US" sz="800" dirty="0" smtClean="0"/>
                        <a:t>Changes to regulations in 2017 that allowed a more market-responsive approach to blend formulations</a:t>
                      </a:r>
                    </a:p>
                    <a:p>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dirty="0" smtClean="0"/>
                        <a:t>The distribution channel severely disrupted</a:t>
                      </a:r>
                    </a:p>
                    <a:p>
                      <a:r>
                        <a:rPr lang="en-US" sz="800" dirty="0" smtClean="0"/>
                        <a:t>by BPS;</a:t>
                      </a:r>
                    </a:p>
                    <a:p>
                      <a:r>
                        <a:rPr lang="en-US" sz="800" dirty="0" smtClean="0"/>
                        <a:t>The role of both Hubs and agro-dealers have been impacted by decisions of the government in payment of subsidy arrears and BPS;</a:t>
                      </a:r>
                    </a:p>
                    <a:p>
                      <a:r>
                        <a:rPr lang="en-US" sz="800" dirty="0" smtClean="0"/>
                        <a:t>village and cooperative actors playing an active role in the  distribution.</a:t>
                      </a:r>
                    </a:p>
                    <a:p>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dirty="0" smtClean="0"/>
                        <a:t>Fertilizer use still low   and predominantly used DAP and urea</a:t>
                      </a:r>
                    </a:p>
                    <a:p>
                      <a:r>
                        <a:rPr lang="en-US" sz="800" dirty="0" smtClean="0"/>
                        <a:t> Estimates of fertilizer use  could be a low as 17 kg/ha- compared to 50kg/ha Malabo target </a:t>
                      </a:r>
                    </a:p>
                    <a:p>
                      <a:endParaRPr lang="en-US" sz="800" dirty="0" smtClean="0"/>
                    </a:p>
                    <a:p>
                      <a:r>
                        <a:rPr lang="en-US" sz="800" dirty="0" smtClean="0"/>
                        <a:t>Fertilizer price relatively high- one of the factor hindering fertilizer use</a:t>
                      </a:r>
                    </a:p>
                    <a:p>
                      <a:endParaRPr lang="en-US" sz="1000" dirty="0" smtClean="0"/>
                    </a:p>
                    <a:p>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1542003">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800" dirty="0" smtClean="0"/>
                        <a:t>Still there is not comprehensive soils map for the whole country;</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800" dirty="0" smtClean="0"/>
                        <a:t>Soil information needs to be translated into fertilizer formulations and links with fertilizer companies established</a:t>
                      </a:r>
                      <a:r>
                        <a:rPr lang="en-US" sz="800" baseline="0" dirty="0" smtClean="0"/>
                        <a:t> to develop blends;</a:t>
                      </a:r>
                      <a:endParaRPr lang="en-US" sz="800" dirty="0" smtClean="0"/>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800" dirty="0" smtClean="0"/>
                        <a:t>Soil Acidity affects 4.7 million ha of arable</a:t>
                      </a:r>
                      <a:r>
                        <a:rPr lang="en-US" sz="800" baseline="0" dirty="0" smtClean="0"/>
                        <a:t> land</a:t>
                      </a:r>
                      <a:endParaRPr lang="en-US" sz="8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800" dirty="0" smtClean="0"/>
                        <a:t>A number of importers and manufacturers have placed on hold development plans until a clear direction is understood with BP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800" dirty="0" smtClean="0"/>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800" dirty="0" smtClean="0"/>
                        <a:t>Lime availability</a:t>
                      </a:r>
                      <a:r>
                        <a:rPr lang="en-US" sz="800" baseline="0" dirty="0" smtClean="0"/>
                        <a:t> is a challenge because of distance</a:t>
                      </a:r>
                      <a:endParaRPr lang="en-US" sz="800" dirty="0" smtClean="0"/>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800" dirty="0" smtClean="0"/>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GB" sz="8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800" dirty="0" smtClean="0"/>
                        <a:t>A number of importers and manufacturers have placed on hold development plans until a clear direction is understood with BP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800" dirty="0" smtClean="0"/>
                        <a:t>TFRA is both the importer and the quality control institution- likely conflict of interest that need to be addressed</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9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indent="0" defTabSz="685800">
                        <a:spcAft>
                          <a:spcPts val="225"/>
                        </a:spcAft>
                        <a:buFont typeface="Arial" panose="020B0604020202020204" pitchFamily="34" charset="0"/>
                        <a:buNone/>
                      </a:pPr>
                      <a:r>
                        <a:rPr lang="en-US" sz="800" dirty="0" smtClean="0">
                          <a:solidFill>
                            <a:schemeClr val="tx1"/>
                          </a:solidFill>
                          <a:latin typeface="+mn-lt"/>
                        </a:rPr>
                        <a:t>The amended Fertilizer Regulations of 2017 ease the requirements to make blends, but will require significant strengthening of the capacity of public sector individuals involved in formulation approval</a:t>
                      </a:r>
                    </a:p>
                    <a:p>
                      <a:pPr marL="0" indent="0" defTabSz="685800">
                        <a:spcAft>
                          <a:spcPts val="225"/>
                        </a:spcAft>
                        <a:buFont typeface="Arial" panose="020B0604020202020204" pitchFamily="34" charset="0"/>
                        <a:buNone/>
                      </a:pPr>
                      <a:r>
                        <a:rPr lang="en-US" sz="800" dirty="0" smtClean="0">
                          <a:solidFill>
                            <a:schemeClr val="tx1"/>
                          </a:solidFill>
                          <a:latin typeface="+mn-lt"/>
                        </a:rPr>
                        <a:t>There is need to facilitate TANSIS</a:t>
                      </a:r>
                      <a:r>
                        <a:rPr lang="en-US" sz="800" baseline="0" dirty="0" smtClean="0">
                          <a:solidFill>
                            <a:schemeClr val="tx1"/>
                          </a:solidFill>
                          <a:latin typeface="+mn-lt"/>
                        </a:rPr>
                        <a:t> and Fertilizer companies to develop blends</a:t>
                      </a:r>
                      <a:endParaRPr lang="en-US" sz="800" dirty="0" smtClean="0">
                        <a:solidFill>
                          <a:schemeClr val="tx1"/>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indent="0" defTabSz="685800">
                        <a:spcAft>
                          <a:spcPts val="225"/>
                        </a:spcAft>
                        <a:buFont typeface="Arial" panose="020B0604020202020204" pitchFamily="34" charset="0"/>
                        <a:buNone/>
                      </a:pPr>
                      <a:r>
                        <a:rPr lang="en-US" sz="800" dirty="0" smtClean="0">
                          <a:solidFill>
                            <a:schemeClr val="tx1"/>
                          </a:solidFill>
                          <a:latin typeface="+mn-lt"/>
                        </a:rPr>
                        <a:t>Role under BPS is unclear because of financial constraint</a:t>
                      </a:r>
                    </a:p>
                    <a:p>
                      <a:pPr marL="0" indent="0" defTabSz="685800">
                        <a:spcAft>
                          <a:spcPts val="225"/>
                        </a:spcAft>
                        <a:buFont typeface="Arial" panose="020B0604020202020204" pitchFamily="34" charset="0"/>
                        <a:buNone/>
                      </a:pPr>
                      <a:r>
                        <a:rPr lang="en-US" sz="800" dirty="0" smtClean="0">
                          <a:solidFill>
                            <a:schemeClr val="tx1"/>
                          </a:solidFill>
                          <a:latin typeface="+mn-lt"/>
                        </a:rPr>
                        <a:t>Poor infrastructure exists in some areas </a:t>
                      </a:r>
                      <a:r>
                        <a:rPr lang="en-US" sz="800" dirty="0" err="1" smtClean="0">
                          <a:solidFill>
                            <a:schemeClr val="tx1"/>
                          </a:solidFill>
                          <a:latin typeface="+mn-lt"/>
                        </a:rPr>
                        <a:t>e.g</a:t>
                      </a:r>
                      <a:r>
                        <a:rPr lang="en-US" sz="800" dirty="0" smtClean="0">
                          <a:solidFill>
                            <a:schemeClr val="tx1"/>
                          </a:solidFill>
                          <a:latin typeface="+mn-lt"/>
                        </a:rPr>
                        <a:t> distribution </a:t>
                      </a:r>
                      <a:r>
                        <a:rPr lang="en-US" sz="800" dirty="0" err="1" smtClean="0">
                          <a:solidFill>
                            <a:schemeClr val="tx1"/>
                          </a:solidFill>
                          <a:latin typeface="+mn-lt"/>
                        </a:rPr>
                        <a:t>Kigoma</a:t>
                      </a:r>
                      <a:r>
                        <a:rPr lang="en-US" sz="800" dirty="0" smtClean="0">
                          <a:solidFill>
                            <a:schemeClr val="tx1"/>
                          </a:solidFill>
                          <a:latin typeface="+mn-lt"/>
                        </a:rPr>
                        <a:t> and </a:t>
                      </a:r>
                      <a:r>
                        <a:rPr lang="en-US" sz="800" dirty="0" err="1" smtClean="0">
                          <a:solidFill>
                            <a:schemeClr val="tx1"/>
                          </a:solidFill>
                          <a:latin typeface="+mn-lt"/>
                        </a:rPr>
                        <a:t>Kagera</a:t>
                      </a:r>
                      <a:r>
                        <a:rPr lang="en-US" sz="800" dirty="0" smtClean="0">
                          <a:solidFill>
                            <a:schemeClr val="tx1"/>
                          </a:solidFill>
                          <a:latin typeface="+mn-lt"/>
                        </a:rPr>
                        <a:t>, and poor roads in many areas. </a:t>
                      </a:r>
                    </a:p>
                    <a:p>
                      <a:pPr marL="0" indent="0" defTabSz="685800">
                        <a:spcAft>
                          <a:spcPts val="225"/>
                        </a:spcAft>
                        <a:buFont typeface="Arial" panose="020B0604020202020204" pitchFamily="34" charset="0"/>
                        <a:buNone/>
                      </a:pPr>
                      <a:r>
                        <a:rPr lang="en-US" sz="800" dirty="0" smtClean="0">
                          <a:solidFill>
                            <a:schemeClr val="tx1"/>
                          </a:solidFill>
                          <a:latin typeface="+mn-lt"/>
                        </a:rPr>
                        <a:t>Distribution channels under government fixed pricing models needs careful evaluation</a:t>
                      </a:r>
                      <a:endParaRPr lang="en-US" sz="1000" dirty="0" smtClean="0">
                        <a:solidFill>
                          <a:srgbClr val="C19859"/>
                        </a:solidFill>
                        <a:latin typeface="Calibri" panose="020F0502020204030204"/>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dirty="0" smtClean="0"/>
                        <a:t>Significant market disruptors and public sector controls over the SHF sector exist;</a:t>
                      </a:r>
                    </a:p>
                    <a:p>
                      <a:r>
                        <a:rPr lang="en-US" sz="800" dirty="0" smtClean="0"/>
                        <a:t>Limited awareness of  fertilizer blends;</a:t>
                      </a:r>
                    </a:p>
                    <a:p>
                      <a:r>
                        <a:rPr lang="en-US" sz="800" dirty="0" smtClean="0"/>
                        <a:t>Soil acidity is a challenge and limited information about the same;</a:t>
                      </a:r>
                    </a:p>
                    <a:p>
                      <a:r>
                        <a:rPr lang="en-US" sz="800" dirty="0" smtClean="0"/>
                        <a:t>Regarding acidity correction, a scoping study identifying the severity of acidity completed</a:t>
                      </a:r>
                      <a:endParaRPr lang="en-US" sz="8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800" dirty="0" smtClean="0"/>
                        <a:t>AGRA &amp;</a:t>
                      </a:r>
                      <a:r>
                        <a:rPr lang="en-US" sz="800" baseline="0" dirty="0" smtClean="0"/>
                        <a:t> BMGF are jointly engaging government in investing in awareness creation, research and development of a business case for a comprehensive liming program</a:t>
                      </a:r>
                      <a:endParaRPr lang="en-US" sz="8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GB" sz="10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0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endParaRPr lang="en-US" sz="1000" dirty="0" smtClean="0">
                        <a:solidFill>
                          <a:srgbClr val="604878"/>
                        </a:solidFill>
                        <a:latin typeface="Calibri" panose="020F0502020204030204"/>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indent="0" defTabSz="685800">
                        <a:spcAft>
                          <a:spcPts val="225"/>
                        </a:spcAft>
                        <a:buFont typeface="Arial" panose="020B0604020202020204" pitchFamily="34" charset="0"/>
                        <a:buNone/>
                      </a:pPr>
                      <a:r>
                        <a:rPr lang="en-US" sz="800" dirty="0" smtClean="0">
                          <a:solidFill>
                            <a:schemeClr val="tx1"/>
                          </a:solidFill>
                          <a:latin typeface="Calibri" panose="020F0502020204030204"/>
                        </a:rPr>
                        <a:t>AGRA is partnering with AFAP and also investing in agro-dealers to improve</a:t>
                      </a:r>
                      <a:r>
                        <a:rPr lang="en-US" sz="800" baseline="0" dirty="0" smtClean="0">
                          <a:solidFill>
                            <a:schemeClr val="tx1"/>
                          </a:solidFill>
                          <a:latin typeface="Calibri" panose="020F0502020204030204"/>
                        </a:rPr>
                        <a:t> the delivery of the fertilizers</a:t>
                      </a:r>
                      <a:endParaRPr lang="en-US" sz="800" dirty="0" smtClean="0">
                        <a:solidFill>
                          <a:schemeClr val="tx1"/>
                        </a:solidFill>
                        <a:latin typeface="Calibri" panose="020F0502020204030204"/>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800" dirty="0" smtClean="0"/>
                        <a:t>AGRA has invested</a:t>
                      </a:r>
                      <a:r>
                        <a:rPr lang="en-US" sz="800" baseline="0" dirty="0" smtClean="0"/>
                        <a:t> in consortia which has awareness components on fertilizer and ISFM technologies</a:t>
                      </a:r>
                      <a:endParaRPr lang="en-US" sz="8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557883294"/>
                  </a:ext>
                </a:extLst>
              </a:tr>
            </a:tbl>
          </a:graphicData>
        </a:graphic>
      </p:graphicFrame>
      <p:sp>
        <p:nvSpPr>
          <p:cNvPr id="12" name="TextBox 11"/>
          <p:cNvSpPr txBox="1"/>
          <p:nvPr/>
        </p:nvSpPr>
        <p:spPr>
          <a:xfrm rot="16200000">
            <a:off x="-358219" y="2381517"/>
            <a:ext cx="1112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Status</a:t>
            </a:r>
            <a:endParaRPr kumimoji="0" lang="en-US" sz="1200" b="0" i="0" u="none" strike="noStrike" kern="0" cap="none" spc="0" normalizeH="0" baseline="0" noProof="0" dirty="0">
              <a:ln>
                <a:noFill/>
              </a:ln>
              <a:solidFill>
                <a:srgbClr val="000000"/>
              </a:solidFill>
              <a:effectLst/>
              <a:uLnTx/>
              <a:uFillTx/>
              <a:latin typeface="Arial"/>
              <a:cs typeface="Arial"/>
              <a:sym typeface="Arial"/>
            </a:endParaRPr>
          </a:p>
        </p:txBody>
      </p:sp>
      <p:sp>
        <p:nvSpPr>
          <p:cNvPr id="13" name="TextBox 12"/>
          <p:cNvSpPr txBox="1"/>
          <p:nvPr/>
        </p:nvSpPr>
        <p:spPr>
          <a:xfrm rot="16200000">
            <a:off x="-358221" y="4352062"/>
            <a:ext cx="1112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Gaps</a:t>
            </a:r>
            <a:endParaRPr kumimoji="0" lang="en-US" sz="1200" b="0" i="0" u="none" strike="noStrike" kern="0" cap="none" spc="0" normalizeH="0" baseline="0" noProof="0" dirty="0">
              <a:ln>
                <a:noFill/>
              </a:ln>
              <a:solidFill>
                <a:srgbClr val="000000"/>
              </a:solidFill>
              <a:effectLst/>
              <a:uLnTx/>
              <a:uFillTx/>
              <a:latin typeface="Arial"/>
              <a:cs typeface="Arial"/>
              <a:sym typeface="Arial"/>
            </a:endParaRPr>
          </a:p>
        </p:txBody>
      </p:sp>
      <p:sp>
        <p:nvSpPr>
          <p:cNvPr id="15" name="TextBox 14"/>
          <p:cNvSpPr txBox="1"/>
          <p:nvPr/>
        </p:nvSpPr>
        <p:spPr>
          <a:xfrm rot="16200000">
            <a:off x="-358221" y="5913883"/>
            <a:ext cx="11123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t>Interventions</a:t>
            </a:r>
            <a:endParaRPr kumimoji="0" lang="en-US" sz="12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80654778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400" name="think-cell Slide" r:id="rId6" imgW="327" imgH="327" progId="TCLayout.ActiveDocument.1">
                  <p:embed/>
                </p:oleObj>
              </mc:Choice>
              <mc:Fallback>
                <p:oleObj name="think-cell Slide" r:id="rId6" imgW="327" imgH="327"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endParaRPr kumimoji="0" lang="en-US" sz="2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Title 6"/>
          <p:cNvSpPr>
            <a:spLocks noGrp="1"/>
          </p:cNvSpPr>
          <p:nvPr>
            <p:ph type="title"/>
          </p:nvPr>
        </p:nvSpPr>
        <p:spPr/>
        <p:txBody>
          <a:bodyPr/>
          <a:lstStyle/>
          <a:p>
            <a:r>
              <a:rPr lang="en-US" sz="2000" dirty="0"/>
              <a:t>In addition to Macro-economic analysis, AGRA also carried out analysis of  specific systems to inform the strategy</a:t>
            </a:r>
          </a:p>
        </p:txBody>
      </p:sp>
      <p:graphicFrame>
        <p:nvGraphicFramePr>
          <p:cNvPr id="16" name="Table 15"/>
          <p:cNvGraphicFramePr>
            <a:graphicFrameLocks noGrp="1"/>
          </p:cNvGraphicFramePr>
          <p:nvPr>
            <p:extLst>
              <p:ext uri="{D42A27DB-BD31-4B8C-83A1-F6EECF244321}">
                <p14:modId xmlns:p14="http://schemas.microsoft.com/office/powerpoint/2010/main" val="1644854606"/>
              </p:ext>
            </p:extLst>
          </p:nvPr>
        </p:nvGraphicFramePr>
        <p:xfrm>
          <a:off x="137160" y="1253852"/>
          <a:ext cx="4599167" cy="5544199"/>
        </p:xfrm>
        <a:graphic>
          <a:graphicData uri="http://schemas.openxmlformats.org/drawingml/2006/table">
            <a:tbl>
              <a:tblPr firstRow="1" bandRow="1">
                <a:tableStyleId>{2D5ABB26-0587-4C30-8999-92F81FD0307C}</a:tableStyleId>
              </a:tblPr>
              <a:tblGrid>
                <a:gridCol w="1246560">
                  <a:extLst>
                    <a:ext uri="{9D8B030D-6E8A-4147-A177-3AD203B41FA5}">
                      <a16:colId xmlns:a16="http://schemas.microsoft.com/office/drawing/2014/main" xmlns="" val="20000"/>
                    </a:ext>
                  </a:extLst>
                </a:gridCol>
                <a:gridCol w="3352607">
                  <a:extLst>
                    <a:ext uri="{9D8B030D-6E8A-4147-A177-3AD203B41FA5}">
                      <a16:colId xmlns:a16="http://schemas.microsoft.com/office/drawing/2014/main" xmlns="" val="20001"/>
                    </a:ext>
                  </a:extLst>
                </a:gridCol>
              </a:tblGrid>
              <a:tr h="1194984">
                <a:tc>
                  <a:txBody>
                    <a:bodyPr/>
                    <a:lstStyle/>
                    <a:p>
                      <a:r>
                        <a:rPr lang="en-US" sz="1400" dirty="0" smtClean="0"/>
                        <a:t>Current state of play</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200" dirty="0" smtClean="0"/>
                        <a:t>District Councils do </a:t>
                      </a:r>
                      <a:r>
                        <a:rPr lang="en-US" sz="1200" baseline="0" dirty="0" smtClean="0"/>
                        <a:t>not</a:t>
                      </a:r>
                      <a:r>
                        <a:rPr lang="en-US" sz="1200" dirty="0" smtClean="0"/>
                        <a:t> have enough Extension Agents to teach farmers (Extension Agent: Farmer ratio &gt; 1:3,000+)</a:t>
                      </a:r>
                    </a:p>
                    <a:p>
                      <a:pPr marL="171450" indent="-171450">
                        <a:buFont typeface="Arial" panose="020B0604020202020204" pitchFamily="34" charset="0"/>
                        <a:buChar char="•"/>
                      </a:pPr>
                      <a:r>
                        <a:rPr lang="en-US" sz="1200" dirty="0" smtClean="0"/>
                        <a:t>Extension Agents do not have</a:t>
                      </a:r>
                      <a:r>
                        <a:rPr lang="en-US" sz="1200" baseline="0" dirty="0" smtClean="0"/>
                        <a:t> sufficient </a:t>
                      </a:r>
                      <a:r>
                        <a:rPr lang="en-US" sz="1200" dirty="0" smtClean="0"/>
                        <a:t>resources to visit and train farmers</a:t>
                      </a:r>
                    </a:p>
                    <a:p>
                      <a:pPr marL="171450" indent="-171450">
                        <a:buFont typeface="Arial" panose="020B0604020202020204" pitchFamily="34" charset="0"/>
                        <a:buChar char="•"/>
                      </a:pPr>
                      <a:r>
                        <a:rPr lang="en-US" sz="1200" baseline="0" dirty="0" smtClean="0"/>
                        <a:t>Private sector Extension poorly developed</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0"/>
                  </a:ext>
                </a:extLst>
              </a:tr>
              <a:tr h="2290387">
                <a:tc>
                  <a:txBody>
                    <a:bodyPr/>
                    <a:lstStyle/>
                    <a:p>
                      <a:r>
                        <a:rPr lang="en-US" sz="1400" dirty="0" smtClean="0"/>
                        <a:t>Opportunitie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200" dirty="0" smtClean="0"/>
                        <a:t>Reduce Extension worker: farmer ratio by creating self-employment opportunities for Extension workers (Village-based Advisors (VBAs)) including women and youth to rapidly create demand for yield-enhancing inputs whilst teaching farmers good agricultural practices;</a:t>
                      </a:r>
                    </a:p>
                    <a:p>
                      <a:pPr marL="171450" indent="-171450">
                        <a:buFont typeface="Arial" panose="020B0604020202020204" pitchFamily="34" charset="0"/>
                        <a:buChar char="•"/>
                      </a:pPr>
                      <a:r>
                        <a:rPr lang="en-US" sz="1200" dirty="0" smtClean="0"/>
                        <a:t>Seed and fertilizer companies supply inputs to VBAs for demonstration and sale to farmers at the Village level;</a:t>
                      </a:r>
                    </a:p>
                    <a:p>
                      <a:pPr marL="171450" indent="-171450">
                        <a:buFont typeface="Arial" panose="020B0604020202020204" pitchFamily="34" charset="0"/>
                        <a:buChar char="•"/>
                      </a:pPr>
                      <a:r>
                        <a:rPr lang="en-US" sz="1200" dirty="0" smtClean="0"/>
                        <a:t>Enhance Extension Service delivery policies at regional and district level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1012417">
                <a:tc>
                  <a:txBody>
                    <a:bodyPr/>
                    <a:lstStyle/>
                    <a:p>
                      <a:r>
                        <a:rPr lang="en-US" sz="1400" dirty="0" smtClean="0"/>
                        <a:t/>
                      </a:r>
                      <a:br>
                        <a:rPr lang="en-US" sz="1400" dirty="0" smtClean="0"/>
                      </a:br>
                      <a:r>
                        <a:rPr lang="en-US" sz="1400" dirty="0" smtClean="0"/>
                        <a:t>Enabler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200" dirty="0" smtClean="0">
                          <a:effectLst/>
                        </a:rPr>
                        <a:t>District Council Extension Agents</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200" dirty="0" smtClean="0">
                          <a:effectLst/>
                        </a:rPr>
                        <a:t>Village-based</a:t>
                      </a:r>
                      <a:r>
                        <a:rPr lang="en-GB" sz="1200" baseline="0" dirty="0" smtClean="0">
                          <a:effectLst/>
                        </a:rPr>
                        <a:t> Advisors (VBAs)</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200" baseline="0" dirty="0" smtClean="0">
                          <a:effectLst/>
                        </a:rPr>
                        <a:t>Small seed and fertilizer packs for Mother and Baby demos</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200" baseline="0" dirty="0" smtClean="0">
                          <a:effectLst/>
                        </a:rPr>
                        <a:t>Smartphones for VBAs</a:t>
                      </a:r>
                      <a:endParaRPr lang="en-GB" sz="1200" dirty="0" smtClean="0">
                        <a:effectLs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r h="1046411">
                <a:tc>
                  <a:txBody>
                    <a:bodyPr/>
                    <a:lstStyle/>
                    <a:p>
                      <a:r>
                        <a:rPr lang="en-US" sz="1400" dirty="0" smtClean="0"/>
                        <a:t>Key Partners</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200" dirty="0" smtClean="0"/>
                        <a:t>Local Governments</a:t>
                      </a:r>
                      <a:endParaRPr lang="en-GB" sz="1200" kern="1200" dirty="0" smtClean="0">
                        <a:effectLst/>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200" kern="1200" dirty="0" smtClean="0">
                          <a:effectLst/>
                        </a:rPr>
                        <a:t>Seed and Fertilizer Companies</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200" kern="1200" baseline="0" dirty="0" smtClean="0">
                          <a:effectLst/>
                        </a:rPr>
                        <a:t>Agro-dealers and </a:t>
                      </a:r>
                      <a:r>
                        <a:rPr lang="en-GB" sz="1200" kern="1200" baseline="0" dirty="0" err="1" smtClean="0">
                          <a:effectLst/>
                        </a:rPr>
                        <a:t>Offtakers</a:t>
                      </a:r>
                      <a:endParaRPr lang="en-GB" sz="1200" kern="1200" baseline="0" dirty="0" smtClean="0">
                        <a:effectLst/>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200" kern="1200" baseline="0" dirty="0" smtClean="0">
                          <a:effectLst/>
                        </a:rPr>
                        <a:t>Local NGOs</a:t>
                      </a:r>
                      <a:endParaRPr lang="en-GB" sz="1200" dirty="0" smtClean="0">
                        <a:effectLs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343076018"/>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383331825"/>
              </p:ext>
            </p:extLst>
          </p:nvPr>
        </p:nvGraphicFramePr>
        <p:xfrm>
          <a:off x="4950844" y="1253852"/>
          <a:ext cx="4856096" cy="5544200"/>
        </p:xfrm>
        <a:graphic>
          <a:graphicData uri="http://schemas.openxmlformats.org/drawingml/2006/table">
            <a:tbl>
              <a:tblPr firstRow="1" bandRow="1">
                <a:tableStyleId>{2D5ABB26-0587-4C30-8999-92F81FD0307C}</a:tableStyleId>
              </a:tblPr>
              <a:tblGrid>
                <a:gridCol w="1357173">
                  <a:extLst>
                    <a:ext uri="{9D8B030D-6E8A-4147-A177-3AD203B41FA5}">
                      <a16:colId xmlns:a16="http://schemas.microsoft.com/office/drawing/2014/main" xmlns="" val="20000"/>
                    </a:ext>
                  </a:extLst>
                </a:gridCol>
                <a:gridCol w="3498923">
                  <a:extLst>
                    <a:ext uri="{9D8B030D-6E8A-4147-A177-3AD203B41FA5}">
                      <a16:colId xmlns:a16="http://schemas.microsoft.com/office/drawing/2014/main" xmlns="" val="20001"/>
                    </a:ext>
                  </a:extLst>
                </a:gridCol>
              </a:tblGrid>
              <a:tr h="1888748">
                <a:tc>
                  <a:txBody>
                    <a:bodyPr/>
                    <a:lstStyle/>
                    <a:p>
                      <a:r>
                        <a:rPr lang="en-US" sz="1200" dirty="0" smtClean="0"/>
                        <a:t>Current state of play</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200" dirty="0" smtClean="0"/>
                        <a:t>Few large agro-dealers (hubs) in major towns</a:t>
                      </a:r>
                    </a:p>
                    <a:p>
                      <a:pPr marL="171450" indent="-171450">
                        <a:buFont typeface="Arial" panose="020B0604020202020204" pitchFamily="34" charset="0"/>
                        <a:buChar char="•"/>
                      </a:pPr>
                      <a:r>
                        <a:rPr lang="en-US" sz="1200" dirty="0" smtClean="0"/>
                        <a:t>Some small agro-dealers in rural towns, who often lack the full range of inputs</a:t>
                      </a:r>
                    </a:p>
                    <a:p>
                      <a:pPr marL="171450" indent="-171450">
                        <a:buFont typeface="Arial" panose="020B0604020202020204" pitchFamily="34" charset="0"/>
                        <a:buChar char="•"/>
                      </a:pPr>
                      <a:r>
                        <a:rPr lang="en-US" sz="1200" dirty="0" smtClean="0"/>
                        <a:t>Poor linkages between input suppliers, hubs &amp; retail agro-dealers</a:t>
                      </a:r>
                    </a:p>
                    <a:p>
                      <a:pPr marL="171450" indent="-171450">
                        <a:buFont typeface="Arial" panose="020B0604020202020204" pitchFamily="34" charset="0"/>
                        <a:buChar char="•"/>
                      </a:pPr>
                      <a:r>
                        <a:rPr lang="en-US" sz="1200" dirty="0" smtClean="0"/>
                        <a:t>Existing agro-dealers financially constrained and lack technical capacity to provide extension support</a:t>
                      </a:r>
                    </a:p>
                    <a:p>
                      <a:pPr marL="171450" indent="-171450">
                        <a:buFont typeface="Arial" panose="020B0604020202020204" pitchFamily="34" charset="0"/>
                        <a:buChar char="•"/>
                      </a:pPr>
                      <a:r>
                        <a:rPr lang="en-US" sz="1200" dirty="0" smtClean="0"/>
                        <a:t>Many rural areas still lack</a:t>
                      </a:r>
                      <a:r>
                        <a:rPr lang="en-US" sz="1200" baseline="0" dirty="0" smtClean="0"/>
                        <a:t> agro-dealer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0"/>
                  </a:ext>
                </a:extLst>
              </a:tr>
              <a:tr h="1888748">
                <a:tc>
                  <a:txBody>
                    <a:bodyPr/>
                    <a:lstStyle/>
                    <a:p>
                      <a:r>
                        <a:rPr lang="en-US" sz="1200" dirty="0" smtClean="0"/>
                        <a:t>Opportunitie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200" dirty="0" smtClean="0"/>
                        <a:t>Tailored</a:t>
                      </a:r>
                      <a:r>
                        <a:rPr lang="en-US" sz="1200" baseline="0" dirty="0" smtClean="0"/>
                        <a:t> SME financial &amp; capacity building support to strengthen existing agro-dealers</a:t>
                      </a:r>
                    </a:p>
                    <a:p>
                      <a:pPr marL="171450" indent="-171450">
                        <a:buFont typeface="Arial" panose="020B0604020202020204" pitchFamily="34" charset="0"/>
                        <a:buChar char="•"/>
                      </a:pPr>
                      <a:r>
                        <a:rPr lang="en-US" sz="1200" baseline="0" dirty="0" smtClean="0"/>
                        <a:t>Work with hubs &amp; input Companies to expand AD networks into remote rural areas</a:t>
                      </a:r>
                    </a:p>
                    <a:p>
                      <a:pPr marL="171450" indent="-171450">
                        <a:buFont typeface="Arial" panose="020B0604020202020204" pitchFamily="34" charset="0"/>
                        <a:buChar char="•"/>
                      </a:pPr>
                      <a:r>
                        <a:rPr lang="en-US" sz="1200" baseline="0" dirty="0" smtClean="0"/>
                        <a:t>Provide startup grants to new rural ADs</a:t>
                      </a:r>
                    </a:p>
                    <a:p>
                      <a:pPr marL="171450" indent="-171450">
                        <a:buFont typeface="Arial" panose="020B0604020202020204" pitchFamily="34" charset="0"/>
                        <a:buChar char="•"/>
                      </a:pPr>
                      <a:r>
                        <a:rPr lang="en-US" sz="1200" baseline="0" dirty="0" smtClean="0"/>
                        <a:t>Formalize &amp; map the linkages along the distribution chain</a:t>
                      </a:r>
                    </a:p>
                    <a:p>
                      <a:pPr marL="171450" indent="-171450">
                        <a:buFont typeface="Arial" panose="020B0604020202020204" pitchFamily="34" charset="0"/>
                        <a:buChar char="•"/>
                      </a:pPr>
                      <a:r>
                        <a:rPr lang="en-US" sz="1200" baseline="0" dirty="0" smtClean="0"/>
                        <a:t>Support hubs to engage in commodity aggregation &amp; extension provision</a:t>
                      </a:r>
                    </a:p>
                    <a:p>
                      <a:pPr marL="171450" indent="-171450">
                        <a:buFont typeface="Arial" panose="020B0604020202020204" pitchFamily="34" charset="0"/>
                        <a:buChar char="•"/>
                      </a:pPr>
                      <a:r>
                        <a:rPr lang="en-US" sz="1200" baseline="0" dirty="0" smtClean="0"/>
                        <a:t>ICT Platforms to strengthen businesse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867606">
                <a:tc>
                  <a:txBody>
                    <a:bodyPr/>
                    <a:lstStyle/>
                    <a:p>
                      <a:r>
                        <a:rPr lang="en-US" sz="1200" dirty="0" smtClean="0"/>
                        <a:t/>
                      </a:r>
                      <a:br>
                        <a:rPr lang="en-US" sz="1200" dirty="0" smtClean="0"/>
                      </a:br>
                      <a:r>
                        <a:rPr lang="en-US" sz="1200" dirty="0" smtClean="0"/>
                        <a:t>Enabler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200" dirty="0" smtClean="0"/>
                        <a:t>ICT Apps</a:t>
                      </a:r>
                    </a:p>
                    <a:p>
                      <a:pPr marL="171450" indent="-171450">
                        <a:buFont typeface="Arial" panose="020B0604020202020204" pitchFamily="34" charset="0"/>
                        <a:buChar char="•"/>
                      </a:pPr>
                      <a:r>
                        <a:rPr lang="en-US" sz="1200" dirty="0" smtClean="0"/>
                        <a:t>Extension Agents &amp; VBAs</a:t>
                      </a:r>
                    </a:p>
                    <a:p>
                      <a:pPr marL="171450" indent="-171450">
                        <a:buFont typeface="Arial" panose="020B0604020202020204" pitchFamily="34" charset="0"/>
                        <a:buChar char="•"/>
                      </a:pPr>
                      <a:r>
                        <a:rPr lang="en-US" sz="1200" dirty="0" smtClean="0"/>
                        <a:t>Government programs &amp; policie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r h="867606">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t>Key Partn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200" dirty="0" smtClean="0"/>
                        <a:t>Input supply Companies</a:t>
                      </a:r>
                    </a:p>
                    <a:p>
                      <a:pPr marL="171450" indent="-171450">
                        <a:buFont typeface="Arial" panose="020B0604020202020204" pitchFamily="34" charset="0"/>
                        <a:buChar char="•"/>
                      </a:pPr>
                      <a:r>
                        <a:rPr lang="en-US" sz="1200" dirty="0" smtClean="0"/>
                        <a:t>Commodity Off-takers</a:t>
                      </a:r>
                    </a:p>
                    <a:p>
                      <a:pPr marL="171450" indent="-171450">
                        <a:buFont typeface="Arial" panose="020B0604020202020204" pitchFamily="34" charset="0"/>
                        <a:buChar char="•"/>
                      </a:pPr>
                      <a:r>
                        <a:rPr lang="en-US" sz="1200" dirty="0" smtClean="0"/>
                        <a:t>LGs &amp; NGOs</a:t>
                      </a:r>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07318504"/>
                  </a:ext>
                </a:extLst>
              </a:tr>
            </a:tbl>
          </a:graphicData>
        </a:graphic>
      </p:graphicFrame>
      <p:sp>
        <p:nvSpPr>
          <p:cNvPr id="11" name="TextBox 10"/>
          <p:cNvSpPr txBox="1"/>
          <p:nvPr/>
        </p:nvSpPr>
        <p:spPr>
          <a:xfrm>
            <a:off x="356472" y="954820"/>
            <a:ext cx="338422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smtClean="0">
                <a:ln>
                  <a:noFill/>
                </a:ln>
                <a:solidFill>
                  <a:srgbClr val="000000"/>
                </a:solidFill>
                <a:effectLst/>
                <a:uLnTx/>
                <a:uFillTx/>
                <a:latin typeface="Arial"/>
                <a:cs typeface="Arial"/>
                <a:sym typeface="Arial"/>
              </a:rPr>
              <a:t>Extension</a:t>
            </a:r>
            <a:endParaRPr kumimoji="0" lang="en-US" sz="1200" b="1" i="0" u="none" strike="noStrike" kern="0" cap="none" spc="0" normalizeH="0" baseline="0" noProof="0" dirty="0">
              <a:ln>
                <a:noFill/>
              </a:ln>
              <a:solidFill>
                <a:srgbClr val="000000"/>
              </a:solidFill>
              <a:effectLst/>
              <a:uLnTx/>
              <a:uFillTx/>
              <a:latin typeface="Arial"/>
              <a:cs typeface="Arial"/>
              <a:sym typeface="Arial"/>
            </a:endParaRPr>
          </a:p>
        </p:txBody>
      </p:sp>
      <p:sp>
        <p:nvSpPr>
          <p:cNvPr id="12" name="Rectangle 11"/>
          <p:cNvSpPr/>
          <p:nvPr/>
        </p:nvSpPr>
        <p:spPr>
          <a:xfrm>
            <a:off x="5338816" y="954820"/>
            <a:ext cx="1907895"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b="1" i="0" u="none" strike="noStrike" kern="0" cap="none" spc="0" normalizeH="0" baseline="0" noProof="0" dirty="0">
                <a:ln>
                  <a:noFill/>
                </a:ln>
                <a:solidFill>
                  <a:srgbClr val="000000"/>
                </a:solidFill>
                <a:effectLst/>
                <a:uLnTx/>
                <a:uFillTx/>
                <a:latin typeface="Arial"/>
                <a:cs typeface="Arial"/>
                <a:sym typeface="Arial"/>
              </a:rPr>
              <a:t>Agro-dealer</a:t>
            </a:r>
            <a:r>
              <a:rPr kumimoji="0" lang="en-US" sz="1200" b="1" i="0" u="none" strike="noStrike" kern="0" cap="none" spc="0" normalizeH="0" baseline="0" noProof="0" dirty="0">
                <a:ln>
                  <a:noFill/>
                </a:ln>
                <a:solidFill>
                  <a:srgbClr val="000000"/>
                </a:solidFill>
                <a:effectLst/>
                <a:uLnTx/>
                <a:uFillTx/>
                <a:latin typeface="Arial"/>
                <a:cs typeface="Arial"/>
                <a:sym typeface="Arial"/>
              </a:rPr>
              <a:t> networks</a:t>
            </a:r>
          </a:p>
        </p:txBody>
      </p:sp>
    </p:spTree>
    <p:extLst>
      <p:ext uri="{BB962C8B-B14F-4D97-AF65-F5344CB8AC3E}">
        <p14:creationId xmlns:p14="http://schemas.microsoft.com/office/powerpoint/2010/main" val="299940883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62958363"/>
              </p:ex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71423" name="think-cell Slide" r:id="rId6" imgW="327" imgH="327" progId="TCLayout.ActiveDocument.1">
                  <p:embed/>
                </p:oleObj>
              </mc:Choice>
              <mc:Fallback>
                <p:oleObj name="think-cell Slide" r:id="rId6" imgW="327" imgH="327" progId="TCLayout.ActiveDocument.1">
                  <p:embed/>
                  <p:pic>
                    <p:nvPicPr>
                      <p:cNvPr id="6" name="Object 5" hidden="1"/>
                      <p:cNvPicPr/>
                      <p:nvPr/>
                    </p:nvPicPr>
                    <p:blipFill>
                      <a:blip r:embed="rId7"/>
                      <a:stretch>
                        <a:fillRect/>
                      </a:stretch>
                    </p:blipFill>
                    <p:spPr>
                      <a:xfrm>
                        <a:off x="929978" y="644228"/>
                        <a:ext cx="1290" cy="1290"/>
                      </a:xfrm>
                      <a:prstGeom prst="rect">
                        <a:avLst/>
                      </a:prstGeom>
                    </p:spPr>
                  </p:pic>
                </p:oleObj>
              </mc:Fallback>
            </mc:AlternateContent>
          </a:graphicData>
        </a:graphic>
      </p:graphicFrame>
      <p:sp>
        <p:nvSpPr>
          <p:cNvPr id="9" name="Rectangle 8" hidden="1"/>
          <p:cNvSpPr/>
          <p:nvPr>
            <p:custDataLst>
              <p:tags r:id="rId3"/>
            </p:custDataLst>
          </p:nvPr>
        </p:nvSpPr>
        <p:spPr>
          <a:xfrm>
            <a:off x="928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en-US" sz="1625"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6"/>
          <p:cNvSpPr>
            <a:spLocks noGrp="1"/>
          </p:cNvSpPr>
          <p:nvPr>
            <p:ph type="title"/>
          </p:nvPr>
        </p:nvSpPr>
        <p:spPr/>
        <p:txBody>
          <a:bodyPr/>
          <a:lstStyle/>
          <a:p>
            <a:r>
              <a:rPr lang="en-US" sz="1625" dirty="0"/>
              <a:t>In addition to Macro-economic analysis, AGRA also carried out analysis of  specific systems to inform the strategy</a:t>
            </a:r>
          </a:p>
        </p:txBody>
      </p:sp>
      <p:sp>
        <p:nvSpPr>
          <p:cNvPr id="10" name="TextBox 9"/>
          <p:cNvSpPr txBox="1"/>
          <p:nvPr/>
        </p:nvSpPr>
        <p:spPr>
          <a:xfrm>
            <a:off x="134622" y="817217"/>
            <a:ext cx="2749680" cy="253916"/>
          </a:xfrm>
          <a:prstGeom prst="rect">
            <a:avLst/>
          </a:prstGeom>
          <a:noFill/>
        </p:spPr>
        <p:txBody>
          <a:bodyPr wrap="square" rtlCol="0">
            <a:spAutoFit/>
          </a:bodyPr>
          <a:lstStyle/>
          <a:p>
            <a:pPr>
              <a:buClr>
                <a:srgbClr val="000000"/>
              </a:buClr>
              <a:buFont typeface="Arial"/>
              <a:buNone/>
              <a:defRPr/>
            </a:pPr>
            <a:r>
              <a:rPr lang="en-US" sz="1050" b="1" dirty="0"/>
              <a:t>Output Markets</a:t>
            </a:r>
          </a:p>
        </p:txBody>
      </p:sp>
      <p:graphicFrame>
        <p:nvGraphicFramePr>
          <p:cNvPr id="16" name="Table 15"/>
          <p:cNvGraphicFramePr>
            <a:graphicFrameLocks noGrp="1"/>
          </p:cNvGraphicFramePr>
          <p:nvPr>
            <p:extLst>
              <p:ext uri="{D42A27DB-BD31-4B8C-83A1-F6EECF244321}">
                <p14:modId xmlns:p14="http://schemas.microsoft.com/office/powerpoint/2010/main" val="1671610081"/>
              </p:ext>
            </p:extLst>
          </p:nvPr>
        </p:nvGraphicFramePr>
        <p:xfrm>
          <a:off x="134622" y="1057122"/>
          <a:ext cx="5232488" cy="5653787"/>
        </p:xfrm>
        <a:graphic>
          <a:graphicData uri="http://schemas.openxmlformats.org/drawingml/2006/table">
            <a:tbl>
              <a:tblPr firstRow="1" bandRow="1">
                <a:tableStyleId>{2D5ABB26-0587-4C30-8999-92F81FD0307C}</a:tableStyleId>
              </a:tblPr>
              <a:tblGrid>
                <a:gridCol w="1012007">
                  <a:extLst>
                    <a:ext uri="{9D8B030D-6E8A-4147-A177-3AD203B41FA5}">
                      <a16:colId xmlns:a16="http://schemas.microsoft.com/office/drawing/2014/main" xmlns="" val="20000"/>
                    </a:ext>
                  </a:extLst>
                </a:gridCol>
                <a:gridCol w="4220481">
                  <a:extLst>
                    <a:ext uri="{9D8B030D-6E8A-4147-A177-3AD203B41FA5}">
                      <a16:colId xmlns:a16="http://schemas.microsoft.com/office/drawing/2014/main" xmlns="" val="20001"/>
                    </a:ext>
                  </a:extLst>
                </a:gridCol>
              </a:tblGrid>
              <a:tr h="2377828">
                <a:tc>
                  <a:txBody>
                    <a:bodyPr/>
                    <a:lstStyle/>
                    <a:p>
                      <a:r>
                        <a:rPr lang="en-US" sz="1100" dirty="0" smtClean="0"/>
                        <a:t>Current state of play</a:t>
                      </a:r>
                      <a:endParaRPr lang="en-US" sz="1100" dirty="0"/>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100" baseline="0" dirty="0" smtClean="0"/>
                        <a:t>Total food production in 2018 was 16.89 million MT (9.53 million of cereals and 7.35 million of non-cereals)</a:t>
                      </a:r>
                    </a:p>
                    <a:p>
                      <a:pPr marL="171450" indent="-171450">
                        <a:buFont typeface="Arial" panose="020B0604020202020204" pitchFamily="34" charset="0"/>
                        <a:buChar char="•"/>
                      </a:pPr>
                      <a:r>
                        <a:rPr lang="en-US" sz="1100" baseline="0" dirty="0" smtClean="0"/>
                        <a:t>Domestic consumption of cereals and non-cereal crop is 13.56 million MT</a:t>
                      </a:r>
                    </a:p>
                    <a:p>
                      <a:pPr marL="171450" indent="-171450">
                        <a:buFont typeface="Arial" panose="020B0604020202020204" pitchFamily="34" charset="0"/>
                        <a:buChar char="•"/>
                      </a:pPr>
                      <a:r>
                        <a:rPr lang="en-US" sz="1100" baseline="0" dirty="0" smtClean="0"/>
                        <a:t>Surplus for export is 3.32 million MT</a:t>
                      </a:r>
                    </a:p>
                    <a:p>
                      <a:pPr marL="171450" indent="-171450">
                        <a:buFont typeface="Arial" panose="020B0604020202020204" pitchFamily="34" charset="0"/>
                        <a:buChar char="•"/>
                      </a:pPr>
                      <a:r>
                        <a:rPr lang="en-US" sz="1100" baseline="0" dirty="0" smtClean="0"/>
                        <a:t>Local processors (mostly SMEs) offer immediate market opportunity to farmers</a:t>
                      </a:r>
                    </a:p>
                    <a:p>
                      <a:pPr marL="171450" indent="-171450">
                        <a:buFont typeface="Arial" panose="020B0604020202020204" pitchFamily="34" charset="0"/>
                        <a:buChar char="•"/>
                      </a:pPr>
                      <a:r>
                        <a:rPr lang="en-US" sz="1100" baseline="0" dirty="0" smtClean="0"/>
                        <a:t>The Food reserve (NFRA) is buying less than 50,000 MT and sells to WFP</a:t>
                      </a:r>
                    </a:p>
                    <a:p>
                      <a:pPr marL="171450" indent="-171450">
                        <a:buFont typeface="Arial" panose="020B0604020202020204" pitchFamily="34" charset="0"/>
                        <a:buChar char="•"/>
                      </a:pPr>
                      <a:r>
                        <a:rPr lang="en-US" sz="1100" baseline="0" dirty="0" smtClean="0"/>
                        <a:t>Grain traders are exporting to neighboring countries</a:t>
                      </a:r>
                    </a:p>
                    <a:p>
                      <a:pPr marL="171450" indent="-171450">
                        <a:buFont typeface="Arial" panose="020B0604020202020204" pitchFamily="34" charset="0"/>
                        <a:buChar char="•"/>
                      </a:pPr>
                      <a:r>
                        <a:rPr lang="en-US" sz="1100" baseline="0" dirty="0" smtClean="0"/>
                        <a:t>Increased uptake of harvesting and  post-harvest management technologies (combine harvesters, threshing machines, hermetic storage bags)</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0"/>
                  </a:ext>
                </a:extLst>
              </a:tr>
              <a:tr h="1670309">
                <a:tc>
                  <a:txBody>
                    <a:bodyPr/>
                    <a:lstStyle/>
                    <a:p>
                      <a:r>
                        <a:rPr lang="en-US" sz="1100" dirty="0" smtClean="0"/>
                        <a:t>Opportunities</a:t>
                      </a:r>
                      <a:endParaRPr lang="en-US" sz="1100" dirty="0"/>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100" dirty="0" smtClean="0"/>
                        <a:t>Increase</a:t>
                      </a:r>
                      <a:r>
                        <a:rPr lang="en-US" sz="1100" baseline="0" dirty="0" smtClean="0"/>
                        <a:t> export of grain and flour  along the southern corridor: DRC (Katanga, and Tanganyika provinces), Malawi, Zambia, and </a:t>
                      </a:r>
                      <a:r>
                        <a:rPr lang="en-US" sz="1100" baseline="0" dirty="0" err="1" smtClean="0"/>
                        <a:t>Zambabwe</a:t>
                      </a:r>
                      <a:endParaRPr lang="en-US" sz="1100" baseline="0" dirty="0" smtClean="0"/>
                    </a:p>
                    <a:p>
                      <a:pPr marL="171450" indent="-171450">
                        <a:buFont typeface="Arial" panose="020B0604020202020204" pitchFamily="34" charset="0"/>
                        <a:buChar char="•"/>
                      </a:pPr>
                      <a:r>
                        <a:rPr lang="en-US" sz="1100" baseline="0" dirty="0" smtClean="0"/>
                        <a:t>Increase export of grain and flour along central corridor: Rwanda, Burundi, Eastern DRC</a:t>
                      </a:r>
                    </a:p>
                    <a:p>
                      <a:pPr marL="171450" indent="-171450">
                        <a:buFont typeface="Arial" panose="020B0604020202020204" pitchFamily="34" charset="0"/>
                        <a:buChar char="•"/>
                      </a:pPr>
                      <a:r>
                        <a:rPr lang="en-US" sz="1100" baseline="0" dirty="0" smtClean="0"/>
                        <a:t>Partner with the government and other development partners to support value addition initiatives (agro-processing flagships) +mobilize private investments for underutilized processing facilities throughout the country</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712735">
                <a:tc>
                  <a:txBody>
                    <a:bodyPr/>
                    <a:lstStyle/>
                    <a:p>
                      <a:r>
                        <a:rPr lang="en-US" sz="1100" dirty="0" smtClean="0"/>
                        <a:t/>
                      </a:r>
                      <a:br>
                        <a:rPr lang="en-US" sz="1100" dirty="0" smtClean="0"/>
                      </a:br>
                      <a:r>
                        <a:rPr lang="en-US" sz="1100" dirty="0" smtClean="0"/>
                        <a:t>Enablers</a:t>
                      </a:r>
                      <a:endParaRPr lang="en-US" sz="1100" dirty="0"/>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100" dirty="0" smtClean="0"/>
                        <a:t>Food</a:t>
                      </a:r>
                      <a:r>
                        <a:rPr lang="en-US" sz="1100" baseline="0" dirty="0" smtClean="0"/>
                        <a:t> trade enabling environment is improving and TANTRADE became active in securing export markets</a:t>
                      </a:r>
                    </a:p>
                    <a:p>
                      <a:pPr marL="171450" indent="-171450">
                        <a:buFont typeface="Arial" panose="020B0604020202020204" pitchFamily="34" charset="0"/>
                        <a:buChar char="•"/>
                      </a:pPr>
                      <a:r>
                        <a:rPr lang="en-US" sz="1100" baseline="0" dirty="0" smtClean="0"/>
                        <a:t>Government commitment to supply the export markets</a:t>
                      </a:r>
                      <a:endParaRPr lang="en-US" sz="1100" dirty="0"/>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r h="892915">
                <a:tc>
                  <a:txBody>
                    <a:bodyPr/>
                    <a:lstStyle/>
                    <a:p>
                      <a:r>
                        <a:rPr lang="en-US" sz="1100" dirty="0" smtClean="0"/>
                        <a:t>Key Partners</a:t>
                      </a:r>
                      <a:endParaRPr lang="en-US" sz="1100" dirty="0"/>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100" dirty="0" smtClean="0"/>
                        <a:t>TANTRADE</a:t>
                      </a:r>
                    </a:p>
                    <a:p>
                      <a:pPr marL="171450" indent="-171450">
                        <a:buFont typeface="Arial" panose="020B0604020202020204" pitchFamily="34" charset="0"/>
                        <a:buChar char="•"/>
                      </a:pPr>
                      <a:r>
                        <a:rPr lang="en-US" sz="1100" dirty="0" smtClean="0"/>
                        <a:t>MIT</a:t>
                      </a:r>
                    </a:p>
                    <a:p>
                      <a:pPr marL="171450" indent="-171450">
                        <a:buFont typeface="Arial" panose="020B0604020202020204" pitchFamily="34" charset="0"/>
                        <a:buChar char="•"/>
                      </a:pPr>
                      <a:r>
                        <a:rPr lang="en-US" sz="1100" dirty="0" smtClean="0"/>
                        <a:t>TCCIA</a:t>
                      </a:r>
                    </a:p>
                    <a:p>
                      <a:pPr marL="171450" indent="-171450">
                        <a:buFont typeface="Arial" panose="020B0604020202020204" pitchFamily="34" charset="0"/>
                        <a:buChar char="•"/>
                      </a:pPr>
                      <a:r>
                        <a:rPr lang="en-US" sz="1100" dirty="0" err="1" smtClean="0"/>
                        <a:t>TradeMark</a:t>
                      </a:r>
                      <a:r>
                        <a:rPr lang="en-US" sz="1100" dirty="0" smtClean="0"/>
                        <a:t> East Africa</a:t>
                      </a:r>
                      <a:endParaRPr lang="en-US" sz="1100" dirty="0"/>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343076018"/>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59159411"/>
              </p:ext>
            </p:extLst>
          </p:nvPr>
        </p:nvGraphicFramePr>
        <p:xfrm>
          <a:off x="5556295" y="1120500"/>
          <a:ext cx="4279810" cy="5414705"/>
        </p:xfrm>
        <a:graphic>
          <a:graphicData uri="http://schemas.openxmlformats.org/drawingml/2006/table">
            <a:tbl>
              <a:tblPr firstRow="1" bandRow="1">
                <a:tableStyleId>{2D5ABB26-0587-4C30-8999-92F81FD0307C}</a:tableStyleId>
              </a:tblPr>
              <a:tblGrid>
                <a:gridCol w="985885">
                  <a:extLst>
                    <a:ext uri="{9D8B030D-6E8A-4147-A177-3AD203B41FA5}">
                      <a16:colId xmlns:a16="http://schemas.microsoft.com/office/drawing/2014/main" xmlns="" val="20000"/>
                    </a:ext>
                  </a:extLst>
                </a:gridCol>
                <a:gridCol w="3293925">
                  <a:extLst>
                    <a:ext uri="{9D8B030D-6E8A-4147-A177-3AD203B41FA5}">
                      <a16:colId xmlns:a16="http://schemas.microsoft.com/office/drawing/2014/main" xmlns="" val="20001"/>
                    </a:ext>
                  </a:extLst>
                </a:gridCol>
              </a:tblGrid>
              <a:tr h="1336097">
                <a:tc>
                  <a:txBody>
                    <a:bodyPr/>
                    <a:lstStyle/>
                    <a:p>
                      <a:r>
                        <a:rPr lang="en-US" sz="1100" dirty="0" smtClean="0"/>
                        <a:t>Current state of play</a:t>
                      </a:r>
                      <a:endParaRPr lang="en-US" sz="1100" dirty="0"/>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endParaRPr lang="en-US" sz="1100" dirty="0"/>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0"/>
                  </a:ext>
                </a:extLst>
              </a:tr>
              <a:tr h="1545494">
                <a:tc>
                  <a:txBody>
                    <a:bodyPr/>
                    <a:lstStyle/>
                    <a:p>
                      <a:r>
                        <a:rPr lang="en-US" sz="1100" dirty="0" smtClean="0"/>
                        <a:t>Opportunities</a:t>
                      </a:r>
                      <a:endParaRPr lang="en-US" sz="1100" dirty="0"/>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100" dirty="0" smtClean="0"/>
                        <a:t>Enhance access to finance for agri SMEs by strengthening</a:t>
                      </a:r>
                      <a:r>
                        <a:rPr lang="en-US" sz="1100" baseline="0" dirty="0" smtClean="0"/>
                        <a:t> their capacity (Fin. Management) and by providing TA to agri-friendly banks (ECAF)</a:t>
                      </a:r>
                    </a:p>
                    <a:p>
                      <a:pPr marL="171450" indent="-171450">
                        <a:buFont typeface="Arial" panose="020B0604020202020204" pitchFamily="34" charset="0"/>
                        <a:buChar char="•"/>
                      </a:pPr>
                      <a:r>
                        <a:rPr lang="en-US" sz="1100" dirty="0" smtClean="0"/>
                        <a:t>Partnership with SME focused non-bank financial institutions like Equity for Tanzania and SME impact fund to </a:t>
                      </a:r>
                      <a:r>
                        <a:rPr lang="en-US" sz="1100" baseline="0" dirty="0" smtClean="0"/>
                        <a:t>increase capital investments in agriculture</a:t>
                      </a:r>
                    </a:p>
                    <a:p>
                      <a:pPr marL="171450" indent="-171450">
                        <a:buFont typeface="Arial" panose="020B0604020202020204" pitchFamily="34" charset="0"/>
                        <a:buChar char="•"/>
                      </a:pPr>
                      <a:r>
                        <a:rPr lang="en-US" sz="1100" baseline="0" dirty="0" smtClean="0"/>
                        <a:t>Scaling digital finance (FISFAP) partnerships to more regions and farmers </a:t>
                      </a:r>
                      <a:endParaRPr lang="en-US" sz="1100" dirty="0"/>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1181313">
                <a:tc>
                  <a:txBody>
                    <a:bodyPr/>
                    <a:lstStyle/>
                    <a:p>
                      <a:r>
                        <a:rPr lang="en-US" sz="1100" dirty="0" smtClean="0"/>
                        <a:t/>
                      </a:r>
                      <a:br>
                        <a:rPr lang="en-US" sz="1100" dirty="0" smtClean="0"/>
                      </a:br>
                      <a:r>
                        <a:rPr lang="en-US" sz="1100" dirty="0" smtClean="0"/>
                        <a:t>Enablers</a:t>
                      </a:r>
                      <a:endParaRPr lang="en-US" sz="1100" dirty="0"/>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80975" indent="-180975">
                        <a:buClr>
                          <a:srgbClr val="000000"/>
                        </a:buClr>
                        <a:buFont typeface="Arial" panose="020B0604020202020204" pitchFamily="34" charset="0"/>
                        <a:buChar char="•"/>
                      </a:pPr>
                      <a:r>
                        <a:rPr lang="en-US" sz="1100" kern="0" dirty="0" smtClean="0">
                          <a:solidFill>
                            <a:srgbClr val="000000"/>
                          </a:solidFill>
                          <a:cs typeface="Arial"/>
                          <a:sym typeface="Arial"/>
                        </a:rPr>
                        <a:t>Existence of guarantee funds to de-risk agriculture (PASS Trust, Rabobank, AGF, DCA, GAFSP)</a:t>
                      </a:r>
                    </a:p>
                    <a:p>
                      <a:pPr marL="180975" indent="-180975">
                        <a:buClr>
                          <a:srgbClr val="000000"/>
                        </a:buClr>
                        <a:buFont typeface="Arial" panose="020B0604020202020204" pitchFamily="34" charset="0"/>
                        <a:buChar char="•"/>
                      </a:pPr>
                      <a:r>
                        <a:rPr lang="en-US" sz="1100" kern="0" dirty="0" smtClean="0">
                          <a:solidFill>
                            <a:srgbClr val="000000"/>
                          </a:solidFill>
                          <a:cs typeface="Arial"/>
                          <a:sym typeface="Arial"/>
                        </a:rPr>
                        <a:t>Specialized government owned agricultural development bank: TABD serves SMEs </a:t>
                      </a:r>
                    </a:p>
                    <a:p>
                      <a:pPr marL="180975" indent="-180975">
                        <a:buClr>
                          <a:srgbClr val="000000"/>
                        </a:buClr>
                        <a:buFont typeface="Arial" panose="020B0604020202020204" pitchFamily="34" charset="0"/>
                        <a:buChar char="•"/>
                      </a:pPr>
                      <a:r>
                        <a:rPr lang="en-US" sz="1100" kern="0" dirty="0" smtClean="0">
                          <a:solidFill>
                            <a:srgbClr val="000000"/>
                          </a:solidFill>
                          <a:cs typeface="Arial"/>
                          <a:sym typeface="Arial"/>
                        </a:rPr>
                        <a:t>Proliferation of mobile phones and interoperability enables digital finance </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r h="1007400">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t>Key Partners</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100" dirty="0" smtClean="0"/>
                        <a:t>PASS Trust,</a:t>
                      </a:r>
                      <a:r>
                        <a:rPr lang="en-US" sz="1100" baseline="0" dirty="0" smtClean="0"/>
                        <a:t> NMB, TPB, Equity Bank for value chain finance</a:t>
                      </a:r>
                    </a:p>
                    <a:p>
                      <a:pPr marL="171450" indent="-171450">
                        <a:buFont typeface="Arial" panose="020B0604020202020204" pitchFamily="34" charset="0"/>
                        <a:buChar char="•"/>
                      </a:pPr>
                      <a:r>
                        <a:rPr lang="en-US" sz="1100" baseline="0" dirty="0" smtClean="0"/>
                        <a:t>TADB for blended finance </a:t>
                      </a:r>
                    </a:p>
                    <a:p>
                      <a:pPr marL="171450" indent="-171450">
                        <a:buFont typeface="Arial" panose="020B0604020202020204" pitchFamily="34" charset="0"/>
                        <a:buChar char="•"/>
                      </a:pPr>
                      <a:r>
                        <a:rPr lang="en-US" sz="1100" baseline="0" dirty="0" smtClean="0"/>
                        <a:t>SELF, </a:t>
                      </a:r>
                      <a:r>
                        <a:rPr lang="en-US" sz="1100" baseline="0" dirty="0" err="1" smtClean="0"/>
                        <a:t>MuCoBa</a:t>
                      </a:r>
                      <a:r>
                        <a:rPr lang="en-US" sz="1100" baseline="0" dirty="0" smtClean="0"/>
                        <a:t>, ECLOF, SACCOS for digital finance</a:t>
                      </a:r>
                    </a:p>
                    <a:p>
                      <a:pPr marL="171450" indent="-171450">
                        <a:buFont typeface="Arial" panose="020B0604020202020204" pitchFamily="34" charset="0"/>
                        <a:buChar char="•"/>
                      </a:pPr>
                      <a:r>
                        <a:rPr lang="en-US" sz="1100" baseline="0" dirty="0" smtClean="0"/>
                        <a:t>Reliance and ACRE Africa for insurance</a:t>
                      </a:r>
                      <a:endParaRPr lang="en-US" sz="1100" dirty="0"/>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07318504"/>
                  </a:ext>
                </a:extLst>
              </a:tr>
            </a:tbl>
          </a:graphicData>
        </a:graphic>
      </p:graphicFrame>
      <p:sp>
        <p:nvSpPr>
          <p:cNvPr id="2" name="Rectangle 1"/>
          <p:cNvSpPr/>
          <p:nvPr/>
        </p:nvSpPr>
        <p:spPr>
          <a:xfrm>
            <a:off x="5556295" y="878127"/>
            <a:ext cx="1289135" cy="253916"/>
          </a:xfrm>
          <a:prstGeom prst="rect">
            <a:avLst/>
          </a:prstGeom>
        </p:spPr>
        <p:txBody>
          <a:bodyPr wrap="none">
            <a:spAutoFit/>
          </a:bodyPr>
          <a:lstStyle/>
          <a:p>
            <a:pPr>
              <a:buClr>
                <a:srgbClr val="000000"/>
              </a:buClr>
              <a:buFont typeface="Arial"/>
              <a:buNone/>
              <a:defRPr/>
            </a:pPr>
            <a:r>
              <a:rPr lang="en-US" sz="975" b="1" dirty="0"/>
              <a:t>Access </a:t>
            </a:r>
            <a:r>
              <a:rPr lang="en-US" sz="1050" b="1" dirty="0"/>
              <a:t>to</a:t>
            </a:r>
            <a:r>
              <a:rPr lang="en-US" sz="975" b="1" dirty="0"/>
              <a:t> Finance</a:t>
            </a:r>
          </a:p>
        </p:txBody>
      </p:sp>
      <p:sp>
        <p:nvSpPr>
          <p:cNvPr id="3" name="TextBox 2"/>
          <p:cNvSpPr txBox="1"/>
          <p:nvPr/>
        </p:nvSpPr>
        <p:spPr>
          <a:xfrm>
            <a:off x="6592877" y="1059148"/>
            <a:ext cx="3132147" cy="1277273"/>
          </a:xfrm>
          <a:prstGeom prst="rect">
            <a:avLst/>
          </a:prstGeom>
          <a:noFill/>
        </p:spPr>
        <p:txBody>
          <a:bodyPr wrap="square" rtlCol="0">
            <a:spAutoFit/>
          </a:bodyPr>
          <a:lstStyle/>
          <a:p>
            <a:pPr marL="85725" indent="-85725">
              <a:buFont typeface="Arial" panose="020B0604020202020204" pitchFamily="34" charset="0"/>
              <a:buChar char="•"/>
            </a:pPr>
            <a:r>
              <a:rPr lang="en-US" sz="1100" dirty="0"/>
              <a:t>Commercial banks focus on tight value </a:t>
            </a:r>
            <a:r>
              <a:rPr lang="en-US" sz="1100" dirty="0" smtClean="0"/>
              <a:t>chains (cash </a:t>
            </a:r>
            <a:r>
              <a:rPr lang="en-US" sz="1100" dirty="0"/>
              <a:t>crops) and formalized farmer groups</a:t>
            </a:r>
          </a:p>
          <a:p>
            <a:pPr marL="85725" indent="-85725">
              <a:buFont typeface="Arial" panose="020B0604020202020204" pitchFamily="34" charset="0"/>
              <a:buChar char="•"/>
            </a:pPr>
            <a:r>
              <a:rPr lang="en-US" sz="1100" dirty="0"/>
              <a:t>Government agricultural bank lacks quality pipeline</a:t>
            </a:r>
          </a:p>
          <a:p>
            <a:pPr marL="85725" indent="-85725">
              <a:buFont typeface="Arial" panose="020B0604020202020204" pitchFamily="34" charset="0"/>
              <a:buChar char="•"/>
            </a:pPr>
            <a:r>
              <a:rPr lang="en-US" sz="1100" dirty="0"/>
              <a:t>Low (digital) financial literacy, uneven distribution of touchpoints and poor networks in rural areas</a:t>
            </a:r>
          </a:p>
        </p:txBody>
      </p:sp>
    </p:spTree>
    <p:extLst>
      <p:ext uri="{BB962C8B-B14F-4D97-AF65-F5344CB8AC3E}">
        <p14:creationId xmlns:p14="http://schemas.microsoft.com/office/powerpoint/2010/main" val="5287275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357" name="think-cell Slide" r:id="rId6" imgW="327" imgH="327" progId="TCLayout.ActiveDocument.1">
                  <p:embed/>
                </p:oleObj>
              </mc:Choice>
              <mc:Fallback>
                <p:oleObj name="think-cell Slide" r:id="rId6" imgW="327" imgH="327"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endParaRPr kumimoji="0" lang="en-US" sz="2031"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Partnerships Mapping</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555198047"/>
              </p:ext>
            </p:extLst>
          </p:nvPr>
        </p:nvGraphicFramePr>
        <p:xfrm>
          <a:off x="431800" y="880110"/>
          <a:ext cx="9093200" cy="5049232"/>
        </p:xfrm>
        <a:graphic>
          <a:graphicData uri="http://schemas.openxmlformats.org/drawingml/2006/table">
            <a:tbl>
              <a:tblPr/>
              <a:tblGrid>
                <a:gridCol w="1424351">
                  <a:extLst>
                    <a:ext uri="{9D8B030D-6E8A-4147-A177-3AD203B41FA5}">
                      <a16:colId xmlns:a16="http://schemas.microsoft.com/office/drawing/2014/main" xmlns="" val="489114540"/>
                    </a:ext>
                  </a:extLst>
                </a:gridCol>
                <a:gridCol w="1992505">
                  <a:extLst>
                    <a:ext uri="{9D8B030D-6E8A-4147-A177-3AD203B41FA5}">
                      <a16:colId xmlns:a16="http://schemas.microsoft.com/office/drawing/2014/main" xmlns="" val="1113241985"/>
                    </a:ext>
                  </a:extLst>
                </a:gridCol>
                <a:gridCol w="1006905">
                  <a:extLst>
                    <a:ext uri="{9D8B030D-6E8A-4147-A177-3AD203B41FA5}">
                      <a16:colId xmlns:a16="http://schemas.microsoft.com/office/drawing/2014/main" xmlns="" val="616177160"/>
                    </a:ext>
                  </a:extLst>
                </a:gridCol>
                <a:gridCol w="1237984">
                  <a:extLst>
                    <a:ext uri="{9D8B030D-6E8A-4147-A177-3AD203B41FA5}">
                      <a16:colId xmlns:a16="http://schemas.microsoft.com/office/drawing/2014/main" xmlns="" val="3160060938"/>
                    </a:ext>
                  </a:extLst>
                </a:gridCol>
                <a:gridCol w="772701">
                  <a:extLst>
                    <a:ext uri="{9D8B030D-6E8A-4147-A177-3AD203B41FA5}">
                      <a16:colId xmlns:a16="http://schemas.microsoft.com/office/drawing/2014/main" xmlns="" val="2052159072"/>
                    </a:ext>
                  </a:extLst>
                </a:gridCol>
                <a:gridCol w="887389">
                  <a:extLst>
                    <a:ext uri="{9D8B030D-6E8A-4147-A177-3AD203B41FA5}">
                      <a16:colId xmlns:a16="http://schemas.microsoft.com/office/drawing/2014/main" xmlns="" val="127427713"/>
                    </a:ext>
                  </a:extLst>
                </a:gridCol>
                <a:gridCol w="1771365">
                  <a:extLst>
                    <a:ext uri="{9D8B030D-6E8A-4147-A177-3AD203B41FA5}">
                      <a16:colId xmlns:a16="http://schemas.microsoft.com/office/drawing/2014/main" xmlns="" val="2179819392"/>
                    </a:ext>
                  </a:extLst>
                </a:gridCol>
              </a:tblGrid>
              <a:tr h="466090">
                <a:tc>
                  <a:txBody>
                    <a:bodyPr/>
                    <a:lstStyle/>
                    <a:p>
                      <a:pPr algn="l" fontAlgn="t"/>
                      <a:r>
                        <a:rPr lang="en-US" sz="700" b="1" i="0" u="none" strike="noStrike" dirty="0">
                          <a:solidFill>
                            <a:srgbClr val="000000"/>
                          </a:solidFill>
                          <a:effectLst/>
                          <a:latin typeface="Calibri" panose="020F0502020204030204" pitchFamily="34" charset="0"/>
                        </a:rPr>
                        <a:t>Intervention area </a:t>
                      </a:r>
                    </a:p>
                  </a:txBody>
                  <a:tcPr marL="3413" marR="3413" marT="3413"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700" b="1" i="0" u="none" strike="noStrike" dirty="0">
                          <a:solidFill>
                            <a:srgbClr val="000000"/>
                          </a:solidFill>
                          <a:effectLst/>
                          <a:latin typeface="Calibri" panose="020F0502020204030204" pitchFamily="34" charset="0"/>
                        </a:rPr>
                        <a:t>Name of implementing partner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700" b="1" i="0" u="none" strike="noStrike">
                          <a:solidFill>
                            <a:srgbClr val="000000"/>
                          </a:solidFill>
                          <a:effectLst/>
                          <a:latin typeface="Calibri" panose="020F0502020204030204" pitchFamily="34" charset="0"/>
                        </a:rPr>
                        <a:t>Type of project (Public, Private, NGO, SM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700" b="1" i="0" u="none" strike="noStrike">
                          <a:solidFill>
                            <a:srgbClr val="000000"/>
                          </a:solidFill>
                          <a:effectLst/>
                          <a:latin typeface="Calibri" panose="020F0502020204030204" pitchFamily="34" charset="0"/>
                        </a:rPr>
                        <a:t>Current engagement (grantee, partner, government, other partner)</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700" b="1" i="0" u="none" strike="noStrike">
                          <a:solidFill>
                            <a:srgbClr val="000000"/>
                          </a:solidFill>
                          <a:effectLst/>
                          <a:latin typeface="Calibri" panose="020F0502020204030204" pitchFamily="34" charset="0"/>
                        </a:rPr>
                        <a:t>Operational level (National, Regional, Inter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700" b="1" i="0" u="none" strike="noStrike">
                          <a:solidFill>
                            <a:srgbClr val="000000"/>
                          </a:solidFill>
                          <a:effectLst/>
                          <a:latin typeface="Calibri" panose="020F0502020204030204" pitchFamily="34" charset="0"/>
                        </a:rPr>
                        <a:t>Location of HQ in Tanzania</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700" b="1" i="0" u="none" strike="noStrike">
                          <a:solidFill>
                            <a:srgbClr val="000000"/>
                          </a:solidFill>
                          <a:effectLst/>
                          <a:latin typeface="Calibri" panose="020F0502020204030204" pitchFamily="34" charset="0"/>
                        </a:rPr>
                        <a:t>Type of engagement ( National Authority, Input supplier, capacity building, research, academic, policy, farmer organization, financial instituion, ICT4AG)</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69557896"/>
                  </a:ext>
                </a:extLst>
              </a:tr>
              <a:tr h="106071">
                <a:tc rowSpan="24">
                  <a:txBody>
                    <a:bodyPr/>
                    <a:lstStyle/>
                    <a:p>
                      <a:pPr algn="ctr" fontAlgn="ctr"/>
                      <a:r>
                        <a:rPr lang="en-US" sz="700" b="1" i="0" u="none" strike="noStrike" dirty="0" smtClean="0">
                          <a:solidFill>
                            <a:srgbClr val="000000"/>
                          </a:solidFill>
                          <a:effectLst/>
                          <a:latin typeface="Calibri" panose="020F0502020204030204" pitchFamily="34" charset="0"/>
                        </a:rPr>
                        <a:t>Systems </a:t>
                      </a:r>
                      <a:r>
                        <a:rPr lang="en-US" sz="700" b="1" i="0" u="none" strike="noStrike" dirty="0">
                          <a:solidFill>
                            <a:srgbClr val="000000"/>
                          </a:solidFill>
                          <a:effectLst/>
                          <a:latin typeface="Calibri" panose="020F0502020204030204" pitchFamily="34" charset="0"/>
                        </a:rPr>
                        <a:t>development </a:t>
                      </a:r>
                    </a:p>
                  </a:txBody>
                  <a:tcPr marL="3413" marR="3413" marT="341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Agricultural </a:t>
                      </a:r>
                      <a:r>
                        <a:rPr lang="en-US" sz="700" b="0" i="0" u="none" strike="noStrike" dirty="0" err="1">
                          <a:solidFill>
                            <a:srgbClr val="000000"/>
                          </a:solidFill>
                          <a:effectLst/>
                          <a:latin typeface="Calibri" panose="020F0502020204030204" pitchFamily="34" charset="0"/>
                        </a:rPr>
                        <a:t>Reserch</a:t>
                      </a:r>
                      <a:r>
                        <a:rPr lang="en-US" sz="700" b="0" i="0" u="none" strike="noStrike" dirty="0">
                          <a:solidFill>
                            <a:srgbClr val="000000"/>
                          </a:solidFill>
                          <a:effectLst/>
                          <a:latin typeface="Calibri" panose="020F0502020204030204" pitchFamily="34" charset="0"/>
                        </a:rPr>
                        <a:t> Institute-</a:t>
                      </a:r>
                      <a:r>
                        <a:rPr lang="en-US" sz="700" b="0" i="0" u="none" strike="noStrike" dirty="0" err="1">
                          <a:solidFill>
                            <a:srgbClr val="000000"/>
                          </a:solidFill>
                          <a:effectLst/>
                          <a:latin typeface="Calibri" panose="020F0502020204030204" pitchFamily="34" charset="0"/>
                        </a:rPr>
                        <a:t>Ukiriguru</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ublic</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Mwanza</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Research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4131791"/>
                  </a:ext>
                </a:extLst>
              </a:tr>
              <a:tr h="216561">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Tanzania Association of Professional BDS Providers Company Limited</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Dar es salaam</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Capacity building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57293931"/>
                  </a:ext>
                </a:extLst>
              </a:tr>
              <a:tr h="203301">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Agricultural Council of Tanzania</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Dar es salaam</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Markets development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96551691"/>
                  </a:ext>
                </a:extLst>
              </a:tr>
              <a:tr h="212140">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Ruvuma Commercialization and Diversification of Agricultur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Songea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Input supplier</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41596088"/>
                  </a:ext>
                </a:extLst>
              </a:tr>
              <a:tr h="212140">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Ruvuma Commercialization and Diversification of Agricultur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Songea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Input supplier</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51251036"/>
                  </a:ext>
                </a:extLst>
              </a:tr>
              <a:tr h="212140">
                <a:tc vMerge="1">
                  <a:txBody>
                    <a:bodyPr/>
                    <a:lstStyle/>
                    <a:p>
                      <a:endParaRPr lang="en-US"/>
                    </a:p>
                  </a:txBody>
                  <a:tcPr/>
                </a:tc>
                <a:tc>
                  <a:txBody>
                    <a:bodyPr/>
                    <a:lstStyle/>
                    <a:p>
                      <a:pPr algn="l" fontAlgn="b"/>
                      <a:r>
                        <a:rPr lang="fr-FR" sz="700" b="0" i="0" u="none" strike="noStrike" dirty="0">
                          <a:solidFill>
                            <a:srgbClr val="000000"/>
                          </a:solidFill>
                          <a:effectLst/>
                          <a:latin typeface="Calibri" panose="020F0502020204030204" pitchFamily="34" charset="0"/>
                        </a:rPr>
                        <a:t>ETC Agro </a:t>
                      </a:r>
                      <a:r>
                        <a:rPr lang="fr-FR" sz="700" b="0" i="0" u="none" strike="noStrike" dirty="0" err="1">
                          <a:solidFill>
                            <a:srgbClr val="000000"/>
                          </a:solidFill>
                          <a:effectLst/>
                          <a:latin typeface="Calibri" panose="020F0502020204030204" pitchFamily="34" charset="0"/>
                        </a:rPr>
                        <a:t>Tractors</a:t>
                      </a:r>
                      <a:r>
                        <a:rPr lang="fr-FR" sz="700" b="0" i="0" u="none" strike="noStrike" dirty="0">
                          <a:solidFill>
                            <a:srgbClr val="000000"/>
                          </a:solidFill>
                          <a:effectLst/>
                          <a:latin typeface="Calibri" panose="020F0502020204030204" pitchFamily="34" charset="0"/>
                        </a:rPr>
                        <a:t> &amp; </a:t>
                      </a:r>
                      <a:r>
                        <a:rPr lang="fr-FR" sz="700" b="0" i="0" u="none" strike="noStrike" dirty="0" err="1">
                          <a:solidFill>
                            <a:srgbClr val="000000"/>
                          </a:solidFill>
                          <a:effectLst/>
                          <a:latin typeface="Calibri" panose="020F0502020204030204" pitchFamily="34" charset="0"/>
                        </a:rPr>
                        <a:t>Implements</a:t>
                      </a:r>
                      <a:r>
                        <a:rPr lang="fr-FR" sz="700" b="0" i="0" u="none" strike="noStrike" dirty="0">
                          <a:solidFill>
                            <a:srgbClr val="000000"/>
                          </a:solidFill>
                          <a:effectLst/>
                          <a:latin typeface="Calibri" panose="020F0502020204030204" pitchFamily="34" charset="0"/>
                        </a:rPr>
                        <a:t> Ltd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Dar es salaam</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smtClean="0">
                          <a:solidFill>
                            <a:srgbClr val="000000"/>
                          </a:solidFill>
                          <a:effectLst/>
                          <a:latin typeface="Calibri" panose="020F0502020204030204" pitchFamily="34" charset="0"/>
                        </a:rPr>
                        <a:t>Mechanization</a:t>
                      </a:r>
                      <a:r>
                        <a:rPr lang="en-US" sz="700" b="0" i="0" u="none" strike="noStrike" baseline="0" dirty="0" smtClean="0">
                          <a:solidFill>
                            <a:srgbClr val="000000"/>
                          </a:solidFill>
                          <a:effectLst/>
                          <a:latin typeface="Calibri" panose="020F0502020204030204" pitchFamily="34" charset="0"/>
                        </a:rPr>
                        <a:t> Services Provider</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49401460"/>
                  </a:ext>
                </a:extLst>
              </a:tr>
              <a:tr h="212140">
                <a:tc vMerge="1">
                  <a:txBody>
                    <a:bodyPr/>
                    <a:lstStyle/>
                    <a:p>
                      <a:endParaRPr lang="en-US"/>
                    </a:p>
                  </a:txBody>
                  <a:tcPr/>
                </a:tc>
                <a:tc>
                  <a:txBody>
                    <a:bodyPr/>
                    <a:lstStyle/>
                    <a:p>
                      <a:pPr algn="l" fontAlgn="b"/>
                      <a:r>
                        <a:rPr lang="en-US" sz="700" b="0" i="0" u="none" strike="noStrike" dirty="0" smtClean="0">
                          <a:solidFill>
                            <a:srgbClr val="000000"/>
                          </a:solidFill>
                          <a:effectLst/>
                          <a:latin typeface="Calibri" panose="020F0502020204030204" pitchFamily="34" charset="0"/>
                        </a:rPr>
                        <a:t> NMB Foundation </a:t>
                      </a:r>
                      <a:r>
                        <a:rPr lang="en-US" sz="700" b="0" i="0" u="none" strike="noStrike" dirty="0">
                          <a:solidFill>
                            <a:srgbClr val="000000"/>
                          </a:solidFill>
                          <a:effectLst/>
                          <a:latin typeface="Calibri" panose="020F0502020204030204" pitchFamily="34" charset="0"/>
                        </a:rPr>
                        <a:t>For Agriculture Development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Dar es salaam</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Financial Service Provider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41665201"/>
                  </a:ext>
                </a:extLst>
              </a:tr>
              <a:tr h="212140">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Tanzania Agricultural Development Bank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Dar es salaam</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Financial Service Provider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16976933"/>
                  </a:ext>
                </a:extLst>
              </a:tr>
              <a:tr h="92811">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TPB BANK PLC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Dar es salaam</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Financial Service Provider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781374792"/>
                  </a:ext>
                </a:extLst>
              </a:tr>
              <a:tr h="0">
                <a:tc vMerge="1">
                  <a:txBody>
                    <a:bodyPr/>
                    <a:lstStyle/>
                    <a:p>
                      <a:endParaRPr lang="en-US"/>
                    </a:p>
                  </a:txBody>
                  <a:tcPr/>
                </a:tc>
                <a:tc>
                  <a:txBody>
                    <a:bodyPr/>
                    <a:lstStyle/>
                    <a:p>
                      <a:pPr algn="l" fontAlgn="b"/>
                      <a:r>
                        <a:rPr lang="en-US" sz="700" b="0" i="0" u="none" strike="noStrike" dirty="0" smtClean="0">
                          <a:solidFill>
                            <a:srgbClr val="000000"/>
                          </a:solidFill>
                          <a:effectLst/>
                          <a:latin typeface="Calibri" panose="020F0502020204030204" pitchFamily="34" charset="0"/>
                        </a:rPr>
                        <a:t>Equity Bank Tanzania</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smtClean="0">
                          <a:solidFill>
                            <a:srgbClr val="000000"/>
                          </a:solidFill>
                          <a:effectLst/>
                          <a:latin typeface="Calibri" panose="020F0502020204030204" pitchFamily="34" charset="0"/>
                        </a:rPr>
                        <a:t>Private</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smtClean="0">
                          <a:solidFill>
                            <a:srgbClr val="000000"/>
                          </a:solidFill>
                          <a:effectLst/>
                          <a:latin typeface="Calibri" panose="020F0502020204030204" pitchFamily="34" charset="0"/>
                        </a:rPr>
                        <a:t>Grantee</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smtClean="0">
                          <a:solidFill>
                            <a:srgbClr val="000000"/>
                          </a:solidFill>
                          <a:effectLst/>
                          <a:latin typeface="Calibri" panose="020F0502020204030204" pitchFamily="34" charset="0"/>
                        </a:rPr>
                        <a:t>National</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smtClean="0">
                          <a:solidFill>
                            <a:srgbClr val="000000"/>
                          </a:solidFill>
                          <a:effectLst/>
                          <a:latin typeface="Calibri" panose="020F0502020204030204" pitchFamily="34" charset="0"/>
                        </a:rPr>
                        <a:t>Dar </a:t>
                      </a:r>
                      <a:r>
                        <a:rPr lang="en-US" sz="700" b="0" i="0" u="none" strike="noStrike" dirty="0" err="1" smtClean="0">
                          <a:solidFill>
                            <a:srgbClr val="000000"/>
                          </a:solidFill>
                          <a:effectLst/>
                          <a:latin typeface="Calibri" panose="020F0502020204030204" pitchFamily="34" charset="0"/>
                        </a:rPr>
                        <a:t>es</a:t>
                      </a:r>
                      <a:r>
                        <a:rPr lang="en-US" sz="700" b="0" i="0" u="none" strike="noStrike" dirty="0" smtClean="0">
                          <a:solidFill>
                            <a:srgbClr val="000000"/>
                          </a:solidFill>
                          <a:effectLst/>
                          <a:latin typeface="Calibri" panose="020F0502020204030204" pitchFamily="34" charset="0"/>
                        </a:rPr>
                        <a:t> Salaam</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smtClean="0">
                          <a:solidFill>
                            <a:srgbClr val="000000"/>
                          </a:solidFill>
                          <a:effectLst/>
                          <a:latin typeface="Calibri" panose="020F0502020204030204" pitchFamily="34" charset="0"/>
                        </a:rPr>
                        <a:t>Financial Service Provider</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176785">
                <a:tc vMerge="1">
                  <a:txBody>
                    <a:bodyPr/>
                    <a:lstStyle/>
                    <a:p>
                      <a:endParaRPr lang="en-US"/>
                    </a:p>
                  </a:txBody>
                  <a:tcPr/>
                </a:tc>
                <a:tc>
                  <a:txBody>
                    <a:bodyPr/>
                    <a:lstStyle/>
                    <a:p>
                      <a:pPr algn="l" fontAlgn="b"/>
                      <a:r>
                        <a:rPr lang="en-US" sz="700" b="0" i="0" u="none" strike="noStrike" dirty="0" err="1">
                          <a:solidFill>
                            <a:srgbClr val="000000"/>
                          </a:solidFill>
                          <a:effectLst/>
                          <a:latin typeface="Calibri" panose="020F0502020204030204" pitchFamily="34" charset="0"/>
                        </a:rPr>
                        <a:t>Faida</a:t>
                      </a:r>
                      <a:r>
                        <a:rPr lang="en-US" sz="700" b="0" i="0" u="none" strike="noStrike" dirty="0">
                          <a:solidFill>
                            <a:srgbClr val="000000"/>
                          </a:solidFill>
                          <a:effectLst/>
                          <a:latin typeface="Calibri" panose="020F0502020204030204" pitchFamily="34" charset="0"/>
                        </a:rPr>
                        <a:t> Market Link Company</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Arusha</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Markets development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0105278"/>
                  </a:ext>
                </a:extLst>
              </a:tr>
              <a:tr h="85696">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Farm Radio </a:t>
                      </a:r>
                      <a:r>
                        <a:rPr lang="en-US" sz="700" b="0" i="0" u="none" strike="noStrike" dirty="0" smtClean="0">
                          <a:solidFill>
                            <a:srgbClr val="000000"/>
                          </a:solidFill>
                          <a:effectLst/>
                          <a:latin typeface="Calibri" panose="020F0502020204030204" pitchFamily="34" charset="0"/>
                        </a:rPr>
                        <a:t>International</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Arusha</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Information services provider</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37682572"/>
                  </a:ext>
                </a:extLst>
              </a:tr>
              <a:tr h="106070">
                <a:tc vMerge="1">
                  <a:txBody>
                    <a:bodyPr/>
                    <a:lstStyle/>
                    <a:p>
                      <a:endParaRPr lang="en-US"/>
                    </a:p>
                  </a:txBody>
                  <a:tcPr/>
                </a:tc>
                <a:tc>
                  <a:txBody>
                    <a:bodyPr/>
                    <a:lstStyle/>
                    <a:p>
                      <a:pPr algn="l" fontAlgn="b"/>
                      <a:r>
                        <a:rPr lang="en-US" sz="700" b="0" i="0" u="none" strike="noStrike" dirty="0" err="1">
                          <a:solidFill>
                            <a:srgbClr val="000000"/>
                          </a:solidFill>
                          <a:effectLst/>
                          <a:latin typeface="Calibri" panose="020F0502020204030204" pitchFamily="34" charset="0"/>
                        </a:rPr>
                        <a:t>Meru</a:t>
                      </a:r>
                      <a:r>
                        <a:rPr lang="en-US" sz="700" b="0" i="0" u="none" strike="noStrike" dirty="0">
                          <a:solidFill>
                            <a:srgbClr val="000000"/>
                          </a:solidFill>
                          <a:effectLst/>
                          <a:latin typeface="Calibri" panose="020F0502020204030204" pitchFamily="34" charset="0"/>
                        </a:rPr>
                        <a:t> Agro-Tours and Consultants Co. Ltd.</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dirty="0" err="1">
                          <a:solidFill>
                            <a:srgbClr val="000000"/>
                          </a:solidFill>
                          <a:effectLst/>
                          <a:latin typeface="Calibri" panose="020F0502020204030204" pitchFamily="34" charset="0"/>
                        </a:rPr>
                        <a:t>Arusha</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Markets development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600999244"/>
                  </a:ext>
                </a:extLst>
              </a:tr>
              <a:tr h="0">
                <a:tc vMerge="1">
                  <a:txBody>
                    <a:bodyPr/>
                    <a:lstStyle/>
                    <a:p>
                      <a:endParaRPr lang="en-US"/>
                    </a:p>
                  </a:txBody>
                  <a:tcPr/>
                </a:tc>
                <a:tc>
                  <a:txBody>
                    <a:bodyPr/>
                    <a:lstStyle/>
                    <a:p>
                      <a:pPr algn="l" fontAlgn="b"/>
                      <a:r>
                        <a:rPr lang="en-US" sz="700" b="0" i="0" u="none" strike="noStrike" dirty="0" smtClean="0">
                          <a:solidFill>
                            <a:srgbClr val="000000"/>
                          </a:solidFill>
                          <a:effectLst/>
                          <a:latin typeface="Calibri" panose="020F0502020204030204" pitchFamily="34" charset="0"/>
                        </a:rPr>
                        <a:t>Reliance Insurance Company</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700" b="0" i="0" u="none" strike="noStrike" dirty="0" smtClean="0">
                          <a:solidFill>
                            <a:srgbClr val="000000"/>
                          </a:solidFill>
                          <a:effectLst/>
                          <a:latin typeface="Calibri" panose="020F0502020204030204" pitchFamily="34" charset="0"/>
                        </a:rPr>
                        <a:t>Private</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smtClean="0">
                          <a:solidFill>
                            <a:srgbClr val="000000"/>
                          </a:solidFill>
                          <a:effectLst/>
                          <a:latin typeface="Calibri" panose="020F0502020204030204" pitchFamily="34" charset="0"/>
                        </a:rPr>
                        <a:t>Grantee</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smtClean="0">
                          <a:solidFill>
                            <a:srgbClr val="000000"/>
                          </a:solidFill>
                          <a:effectLst/>
                          <a:latin typeface="Calibri" panose="020F0502020204030204" pitchFamily="34" charset="0"/>
                        </a:rPr>
                        <a:t>National</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smtClean="0">
                          <a:solidFill>
                            <a:srgbClr val="000000"/>
                          </a:solidFill>
                          <a:effectLst/>
                          <a:latin typeface="Calibri" panose="020F0502020204030204" pitchFamily="34" charset="0"/>
                        </a:rPr>
                        <a:t>Dar </a:t>
                      </a:r>
                      <a:r>
                        <a:rPr lang="en-US" sz="700" b="0" i="0" u="none" strike="noStrike" dirty="0" err="1" smtClean="0">
                          <a:solidFill>
                            <a:srgbClr val="000000"/>
                          </a:solidFill>
                          <a:effectLst/>
                          <a:latin typeface="Calibri" panose="020F0502020204030204" pitchFamily="34" charset="0"/>
                        </a:rPr>
                        <a:t>es</a:t>
                      </a:r>
                      <a:r>
                        <a:rPr lang="en-US" sz="700" b="0" i="0" u="none" strike="noStrike" dirty="0" smtClean="0">
                          <a:solidFill>
                            <a:srgbClr val="000000"/>
                          </a:solidFill>
                          <a:effectLst/>
                          <a:latin typeface="Calibri" panose="020F0502020204030204" pitchFamily="34" charset="0"/>
                        </a:rPr>
                        <a:t> Salaam</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smtClean="0">
                          <a:solidFill>
                            <a:srgbClr val="000000"/>
                          </a:solidFill>
                          <a:effectLst/>
                          <a:latin typeface="Calibri" panose="020F0502020204030204" pitchFamily="34" charset="0"/>
                        </a:rPr>
                        <a:t>Financial Services/Insurance</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129490">
                <a:tc vMerge="1">
                  <a:txBody>
                    <a:bodyPr/>
                    <a:lstStyle/>
                    <a:p>
                      <a:endParaRPr lang="en-US"/>
                    </a:p>
                  </a:txBody>
                  <a:tcPr/>
                </a:tc>
                <a:tc>
                  <a:txBody>
                    <a:bodyPr/>
                    <a:lstStyle/>
                    <a:p>
                      <a:pPr algn="l" fontAlgn="b"/>
                      <a:r>
                        <a:rPr lang="en-US" sz="700" b="0" i="0" u="none" strike="noStrike" dirty="0" err="1">
                          <a:solidFill>
                            <a:srgbClr val="000000"/>
                          </a:solidFill>
                          <a:effectLst/>
                          <a:latin typeface="Calibri" panose="020F0502020204030204" pitchFamily="34" charset="0"/>
                        </a:rPr>
                        <a:t>Nyakitonto</a:t>
                      </a:r>
                      <a:r>
                        <a:rPr lang="en-US" sz="700" b="0" i="0" u="none" strike="noStrike" dirty="0">
                          <a:solidFill>
                            <a:srgbClr val="000000"/>
                          </a:solidFill>
                          <a:effectLst/>
                          <a:latin typeface="Calibri" panose="020F0502020204030204" pitchFamily="34" charset="0"/>
                        </a:rPr>
                        <a:t> Youth for Development Tanzania (NYDT)</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Kigoma</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Extension Services Provider</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20929572"/>
                  </a:ext>
                </a:extLst>
              </a:tr>
              <a:tr h="145847">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Suba Agro-Trading &amp; Engineering Co. Ltd</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Arusha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Input supplier</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06524614"/>
                  </a:ext>
                </a:extLst>
              </a:tr>
              <a:tr h="82753">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Actions for Development </a:t>
                      </a:r>
                      <a:r>
                        <a:rPr lang="en-US" sz="700" b="0" i="0" u="none" strike="noStrike" dirty="0" err="1">
                          <a:solidFill>
                            <a:srgbClr val="000000"/>
                          </a:solidFill>
                          <a:effectLst/>
                          <a:latin typeface="Calibri" panose="020F0502020204030204" pitchFamily="34" charset="0"/>
                        </a:rPr>
                        <a:t>Programmes</a:t>
                      </a:r>
                      <a:r>
                        <a:rPr lang="en-US" sz="700" b="0" i="0" u="none" strike="noStrike" dirty="0">
                          <a:solidFill>
                            <a:srgbClr val="000000"/>
                          </a:solidFill>
                          <a:effectLst/>
                          <a:latin typeface="Calibri" panose="020F0502020204030204" pitchFamily="34" charset="0"/>
                        </a:rPr>
                        <a:t> – </a:t>
                      </a:r>
                      <a:r>
                        <a:rPr lang="en-US" sz="700" b="0" i="0" u="none" strike="noStrike" dirty="0" err="1">
                          <a:solidFill>
                            <a:srgbClr val="000000"/>
                          </a:solidFill>
                          <a:effectLst/>
                          <a:latin typeface="Calibri" panose="020F0502020204030204" pitchFamily="34" charset="0"/>
                        </a:rPr>
                        <a:t>Mbozi</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smtClean="0">
                          <a:solidFill>
                            <a:srgbClr val="000000"/>
                          </a:solidFill>
                          <a:effectLst/>
                          <a:latin typeface="Calibri" panose="020F0502020204030204" pitchFamily="34" charset="0"/>
                        </a:rPr>
                        <a:t>Private</a:t>
                      </a:r>
                      <a:endParaRPr lang="en-US" sz="700" b="0" i="0" u="none" strike="noStrike" dirty="0">
                        <a:solidFill>
                          <a:srgbClr val="000000"/>
                        </a:solidFill>
                        <a:effectLst/>
                        <a:latin typeface="Calibri" panose="020F0502020204030204" pitchFamily="34" charset="0"/>
                      </a:endParaRP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err="1">
                          <a:solidFill>
                            <a:srgbClr val="000000"/>
                          </a:solidFill>
                          <a:effectLst/>
                          <a:latin typeface="Calibri" panose="020F0502020204030204" pitchFamily="34" charset="0"/>
                        </a:rPr>
                        <a:t>Mlowo</a:t>
                      </a:r>
                      <a:r>
                        <a:rPr lang="en-US" sz="700" b="0" i="0" u="none" strike="noStrike" dirty="0">
                          <a:solidFill>
                            <a:srgbClr val="000000"/>
                          </a:solidFill>
                          <a:effectLst/>
                          <a:latin typeface="Calibri" panose="020F0502020204030204" pitchFamily="34" charset="0"/>
                        </a:rPr>
                        <a:t>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Extension Services Provider</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44415679"/>
                  </a:ext>
                </a:extLst>
              </a:tr>
              <a:tr h="55787">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Building Rural Incomes Through Enterpris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Dar es salaam</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700" b="0" i="0" u="none" strike="noStrike">
                          <a:solidFill>
                            <a:srgbClr val="000000"/>
                          </a:solidFill>
                          <a:effectLst/>
                          <a:latin typeface="Calibri" panose="020F0502020204030204" pitchFamily="34" charset="0"/>
                        </a:rPr>
                        <a:t>Extension Services Provider and Markets Development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20292300"/>
                  </a:ext>
                </a:extLst>
              </a:tr>
              <a:tr h="129959">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Karagwe Development and Relief Services (KADERES)</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err="1">
                          <a:solidFill>
                            <a:srgbClr val="000000"/>
                          </a:solidFill>
                          <a:effectLst/>
                          <a:latin typeface="Calibri" panose="020F0502020204030204" pitchFamily="34" charset="0"/>
                        </a:rPr>
                        <a:t>Karagwe</a:t>
                      </a:r>
                      <a:r>
                        <a:rPr lang="en-US" sz="700" b="0" i="0" u="none" strike="noStrike" dirty="0">
                          <a:solidFill>
                            <a:srgbClr val="000000"/>
                          </a:solidFill>
                          <a:effectLst/>
                          <a:latin typeface="Calibri" panose="020F0502020204030204" pitchFamily="34" charset="0"/>
                        </a:rPr>
                        <a:t>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Extension Services Provider</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30423644"/>
                  </a:ext>
                </a:extLst>
              </a:tr>
              <a:tr h="106071">
                <a:tc vMerge="1">
                  <a:txBody>
                    <a:bodyPr/>
                    <a:lstStyle/>
                    <a:p>
                      <a:endParaRPr lang="en-US"/>
                    </a:p>
                  </a:txBody>
                  <a:tcPr/>
                </a:tc>
                <a:tc>
                  <a:txBody>
                    <a:bodyPr/>
                    <a:lstStyle/>
                    <a:p>
                      <a:pPr algn="l" fontAlgn="b"/>
                      <a:r>
                        <a:rPr lang="en-US" sz="700" b="0" i="0" u="none" strike="noStrike" dirty="0" err="1">
                          <a:solidFill>
                            <a:srgbClr val="000000"/>
                          </a:solidFill>
                          <a:effectLst/>
                          <a:latin typeface="Calibri" panose="020F0502020204030204" pitchFamily="34" charset="0"/>
                        </a:rPr>
                        <a:t>Maruku</a:t>
                      </a:r>
                      <a:r>
                        <a:rPr lang="en-US" sz="700" b="0" i="0" u="none" strike="noStrike" dirty="0">
                          <a:solidFill>
                            <a:srgbClr val="000000"/>
                          </a:solidFill>
                          <a:effectLst/>
                          <a:latin typeface="Calibri" panose="020F0502020204030204" pitchFamily="34" charset="0"/>
                        </a:rPr>
                        <a:t> Agricultural Research Institut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ublic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Arusha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Input supplier</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31549733"/>
                  </a:ext>
                </a:extLst>
              </a:tr>
              <a:tr h="106071">
                <a:tc vMerge="1">
                  <a:txBody>
                    <a:bodyPr/>
                    <a:lstStyle/>
                    <a:p>
                      <a:endParaRPr lang="en-US"/>
                    </a:p>
                  </a:txBody>
                  <a:tcPr/>
                </a:tc>
                <a:tc>
                  <a:txBody>
                    <a:bodyPr/>
                    <a:lstStyle/>
                    <a:p>
                      <a:pPr algn="l" fontAlgn="b"/>
                      <a:r>
                        <a:rPr lang="en-US" sz="700" b="0" i="0" u="none" strike="noStrike" dirty="0" err="1">
                          <a:solidFill>
                            <a:srgbClr val="000000"/>
                          </a:solidFill>
                          <a:effectLst/>
                          <a:latin typeface="Calibri" panose="020F0502020204030204" pitchFamily="34" charset="0"/>
                        </a:rPr>
                        <a:t>Mbozi</a:t>
                      </a:r>
                      <a:r>
                        <a:rPr lang="en-US" sz="700" b="0" i="0" u="none" strike="noStrike" dirty="0">
                          <a:solidFill>
                            <a:srgbClr val="000000"/>
                          </a:solidFill>
                          <a:effectLst/>
                          <a:latin typeface="Calibri" panose="020F0502020204030204" pitchFamily="34" charset="0"/>
                        </a:rPr>
                        <a:t>-</a:t>
                      </a:r>
                      <a:r>
                        <a:rPr lang="en-US" sz="700" b="0" i="0" u="none" strike="noStrike" dirty="0" err="1">
                          <a:solidFill>
                            <a:srgbClr val="000000"/>
                          </a:solidFill>
                          <a:effectLst/>
                          <a:latin typeface="Calibri" panose="020F0502020204030204" pitchFamily="34" charset="0"/>
                        </a:rPr>
                        <a:t>Ileje</a:t>
                      </a:r>
                      <a:r>
                        <a:rPr lang="en-US" sz="700" b="0" i="0" u="none" strike="noStrike" dirty="0">
                          <a:solidFill>
                            <a:srgbClr val="000000"/>
                          </a:solidFill>
                          <a:effectLst/>
                          <a:latin typeface="Calibri" panose="020F0502020204030204" pitchFamily="34" charset="0"/>
                        </a:rPr>
                        <a:t>-</a:t>
                      </a:r>
                      <a:r>
                        <a:rPr lang="en-US" sz="700" b="0" i="0" u="none" strike="noStrike" dirty="0" err="1">
                          <a:solidFill>
                            <a:srgbClr val="000000"/>
                          </a:solidFill>
                          <a:effectLst/>
                          <a:latin typeface="Calibri" panose="020F0502020204030204" pitchFamily="34" charset="0"/>
                        </a:rPr>
                        <a:t>Isangati</a:t>
                      </a:r>
                      <a:r>
                        <a:rPr lang="en-US" sz="700" b="0" i="0" u="none" strike="noStrike" dirty="0">
                          <a:solidFill>
                            <a:srgbClr val="000000"/>
                          </a:solidFill>
                          <a:effectLst/>
                          <a:latin typeface="Calibri" panose="020F0502020204030204" pitchFamily="34" charset="0"/>
                        </a:rPr>
                        <a:t>-Consortium(MIICO)</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Arusha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Extension Services Provider</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41390939"/>
                  </a:ext>
                </a:extLst>
              </a:tr>
              <a:tr h="200646">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Division of Research and Training, Ministry of Agriculture, Food Security and Cooperatives</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Arusha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Input services provider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31625664"/>
                  </a:ext>
                </a:extLst>
              </a:tr>
              <a:tr h="129346">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Centre for Sustainable  Development Initiatives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Dar es salaam</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Markets development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74981012"/>
                  </a:ext>
                </a:extLst>
              </a:tr>
              <a:tr h="254577">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Division of Research and Training, Ministry of Agriculture, Food Security and Cooperatives</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Mbeya</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Input services provider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11638115"/>
                  </a:ext>
                </a:extLst>
              </a:tr>
              <a:tr h="198882">
                <a:tc rowSpan="3">
                  <a:txBody>
                    <a:bodyPr/>
                    <a:lstStyle/>
                    <a:p>
                      <a:pPr algn="ctr" fontAlgn="ctr"/>
                      <a:r>
                        <a:rPr lang="en-US" sz="700" b="1" i="0" u="none" strike="noStrike" dirty="0">
                          <a:solidFill>
                            <a:srgbClr val="000000"/>
                          </a:solidFill>
                          <a:effectLst/>
                          <a:latin typeface="Calibri" panose="020F0502020204030204" pitchFamily="34" charset="0"/>
                        </a:rPr>
                        <a:t>Sate Capacity and Policy </a:t>
                      </a:r>
                    </a:p>
                  </a:txBody>
                  <a:tcPr marL="3413" marR="3413" marT="341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Economic and Social Research Foundation</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Dar es salaam</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olicy  development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97762852"/>
                  </a:ext>
                </a:extLst>
              </a:tr>
              <a:tr h="181203">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Agricultural Non-State Actors Forum</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Dar es salaam</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Policy  development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05270894"/>
                  </a:ext>
                </a:extLst>
              </a:tr>
              <a:tr h="322630">
                <a:tc vMerge="1">
                  <a:txBody>
                    <a:bodyPr/>
                    <a:lstStyle/>
                    <a:p>
                      <a:endParaRPr lang="en-US"/>
                    </a:p>
                  </a:txBody>
                  <a:tcPr/>
                </a:tc>
                <a:tc>
                  <a:txBody>
                    <a:bodyPr/>
                    <a:lstStyle/>
                    <a:p>
                      <a:pPr algn="l" fontAlgn="b"/>
                      <a:r>
                        <a:rPr lang="en-US" sz="700" b="0" i="0" u="none" strike="noStrike" dirty="0">
                          <a:solidFill>
                            <a:srgbClr val="000000"/>
                          </a:solidFill>
                          <a:effectLst/>
                          <a:latin typeface="Calibri" panose="020F0502020204030204" pitchFamily="34" charset="0"/>
                        </a:rPr>
                        <a:t>Tanzania Chamber of Commerce, Industry and Agriculture Limited</a:t>
                      </a:r>
                      <a:r>
                        <a:rPr lang="en-US" sz="700" b="0" i="0" u="none" strike="noStrike" dirty="0" smtClean="0">
                          <a:solidFill>
                            <a:srgbClr val="000000"/>
                          </a:solidFill>
                          <a:effectLst/>
                          <a:latin typeface="Calibri" panose="020F0502020204030204" pitchFamily="34" charset="0"/>
                        </a:rPr>
                        <a:t>, TCCIA </a:t>
                      </a:r>
                      <a:r>
                        <a:rPr lang="en-US" sz="700" b="0" i="0" u="none" strike="noStrike" dirty="0">
                          <a:solidFill>
                            <a:srgbClr val="000000"/>
                          </a:solidFill>
                          <a:effectLst/>
                          <a:latin typeface="Calibri" panose="020F0502020204030204" pitchFamily="34" charset="0"/>
                        </a:rPr>
                        <a:t>Regional Chamber KIGOMA</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Private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Grantee</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National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dirty="0" err="1">
                          <a:solidFill>
                            <a:srgbClr val="000000"/>
                          </a:solidFill>
                          <a:effectLst/>
                          <a:latin typeface="Calibri" panose="020F0502020204030204" pitchFamily="34" charset="0"/>
                        </a:rPr>
                        <a:t>Kigoma</a:t>
                      </a:r>
                      <a:r>
                        <a:rPr lang="en-US" sz="700" b="0" i="0" u="none" strike="noStrike" dirty="0">
                          <a:solidFill>
                            <a:srgbClr val="000000"/>
                          </a:solidFill>
                          <a:effectLst/>
                          <a:latin typeface="Calibri" panose="020F0502020204030204" pitchFamily="34" charset="0"/>
                        </a:rPr>
                        <a:t> </a:t>
                      </a:r>
                    </a:p>
                  </a:txBody>
                  <a:tcPr marL="3413" marR="3413" marT="341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dirty="0">
                          <a:solidFill>
                            <a:srgbClr val="000000"/>
                          </a:solidFill>
                          <a:effectLst/>
                          <a:latin typeface="Calibri" panose="020F0502020204030204" pitchFamily="34" charset="0"/>
                        </a:rPr>
                        <a:t>Policy  development </a:t>
                      </a:r>
                    </a:p>
                  </a:txBody>
                  <a:tcPr marL="3413" marR="3413" marT="3413"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24135950"/>
                  </a:ext>
                </a:extLst>
              </a:tr>
            </a:tbl>
          </a:graphicData>
        </a:graphic>
      </p:graphicFrame>
    </p:spTree>
    <p:extLst>
      <p:ext uri="{BB962C8B-B14F-4D97-AF65-F5344CB8AC3E}">
        <p14:creationId xmlns:p14="http://schemas.microsoft.com/office/powerpoint/2010/main" val="27351377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RA Tanzania Strategy</a:t>
            </a:r>
            <a:endParaRPr lang="en-US" dirty="0"/>
          </a:p>
        </p:txBody>
      </p:sp>
    </p:spTree>
    <p:extLst>
      <p:ext uri="{BB962C8B-B14F-4D97-AF65-F5344CB8AC3E}">
        <p14:creationId xmlns:p14="http://schemas.microsoft.com/office/powerpoint/2010/main" val="156495850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nvPr>
        </p:nvGraphicFramePr>
        <p:xfrm>
          <a:off x="1684295" y="1166373"/>
          <a:ext cx="1048" cy="1048"/>
        </p:xfrm>
        <a:graphic>
          <a:graphicData uri="http://schemas.openxmlformats.org/presentationml/2006/ole">
            <mc:AlternateContent xmlns:mc="http://schemas.openxmlformats.org/markup-compatibility/2006">
              <mc:Choice xmlns:v="urn:schemas-microsoft-com:vml" Requires="v">
                <p:oleObj spid="_x0000_s267345" name="think-cell Slide" r:id="rId6" imgW="470" imgH="469" progId="TCLayout.ActiveDocument.1">
                  <p:embed/>
                </p:oleObj>
              </mc:Choice>
              <mc:Fallback>
                <p:oleObj name="think-cell Slide" r:id="rId6" imgW="470" imgH="469" progId="TCLayout.ActiveDocument.1">
                  <p:embed/>
                  <p:pic>
                    <p:nvPicPr>
                      <p:cNvPr id="42" name="Object 41" hidden="1"/>
                      <p:cNvPicPr/>
                      <p:nvPr/>
                    </p:nvPicPr>
                    <p:blipFill>
                      <a:blip r:embed="rId7"/>
                      <a:stretch>
                        <a:fillRect/>
                      </a:stretch>
                    </p:blipFill>
                    <p:spPr>
                      <a:xfrm>
                        <a:off x="1684295" y="1166373"/>
                        <a:ext cx="1048" cy="1048"/>
                      </a:xfrm>
                      <a:prstGeom prst="rect">
                        <a:avLst/>
                      </a:prstGeom>
                    </p:spPr>
                  </p:pic>
                </p:oleObj>
              </mc:Fallback>
            </mc:AlternateContent>
          </a:graphicData>
        </a:graphic>
      </p:graphicFrame>
      <p:sp>
        <p:nvSpPr>
          <p:cNvPr id="4" name="Rectangle 3" hidden="1"/>
          <p:cNvSpPr/>
          <p:nvPr>
            <p:custDataLst>
              <p:tags r:id="rId3"/>
            </p:custDataLst>
          </p:nvPr>
        </p:nvSpPr>
        <p:spPr>
          <a:xfrm>
            <a:off x="928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1650" b="1" dirty="0">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968232" y="2032313"/>
            <a:ext cx="3346626" cy="120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endParaRPr lang="en-US" sz="792" b="1" dirty="0">
              <a:solidFill>
                <a:schemeClr val="accent6">
                  <a:lumMod val="50000"/>
                </a:schemeClr>
              </a:solidFill>
              <a:latin typeface="Arial" panose="020B0604020202020204" pitchFamily="34" charset="0"/>
              <a:cs typeface="Arial" panose="020B0604020202020204" pitchFamily="34" charset="0"/>
            </a:endParaRPr>
          </a:p>
        </p:txBody>
      </p:sp>
      <p:grpSp>
        <p:nvGrpSpPr>
          <p:cNvPr id="7" name="Group 6"/>
          <p:cNvGrpSpPr/>
          <p:nvPr/>
        </p:nvGrpSpPr>
        <p:grpSpPr>
          <a:xfrm>
            <a:off x="1345398" y="2424423"/>
            <a:ext cx="5690232" cy="1664021"/>
            <a:chOff x="364927" y="2502750"/>
            <a:chExt cx="5642262" cy="2520646"/>
          </a:xfrm>
        </p:grpSpPr>
        <p:sp>
          <p:nvSpPr>
            <p:cNvPr id="8" name="Rectangle 7"/>
            <p:cNvSpPr/>
            <p:nvPr/>
          </p:nvSpPr>
          <p:spPr>
            <a:xfrm>
              <a:off x="403687" y="2502750"/>
              <a:ext cx="5603502" cy="2520646"/>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t" anchorCtr="0" forceAA="0" compatLnSpc="1">
              <a:prstTxWarp prst="textNoShape">
                <a:avLst/>
              </a:prstTxWarp>
              <a:noAutofit/>
            </a:bodyPr>
            <a:lstStyle/>
            <a:p>
              <a:pPr algn="ctr"/>
              <a:r>
                <a:rPr lang="en-US" sz="693" b="1" dirty="0">
                  <a:solidFill>
                    <a:schemeClr val="tx1"/>
                  </a:solidFill>
                  <a:latin typeface="Arial" panose="020B0604020202020204" pitchFamily="34" charset="0"/>
                  <a:cs typeface="Arial" panose="020B0604020202020204" pitchFamily="34" charset="0"/>
                </a:rPr>
                <a:t>Outcomes </a:t>
              </a:r>
            </a:p>
          </p:txBody>
        </p:sp>
        <p:sp>
          <p:nvSpPr>
            <p:cNvPr id="9" name="Rectangle 8"/>
            <p:cNvSpPr/>
            <p:nvPr/>
          </p:nvSpPr>
          <p:spPr>
            <a:xfrm>
              <a:off x="465273" y="2708054"/>
              <a:ext cx="2538195" cy="1360190"/>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endParaRPr lang="en-US" sz="594" b="1" dirty="0">
                <a:solidFill>
                  <a:schemeClr val="tx1"/>
                </a:solidFill>
                <a:latin typeface="Arial" panose="020B0604020202020204" pitchFamily="34" charset="0"/>
                <a:cs typeface="Arial" panose="020B0604020202020204" pitchFamily="34" charset="0"/>
              </a:endParaRPr>
            </a:p>
            <a:p>
              <a:r>
                <a:rPr lang="en-US" sz="700" b="1" dirty="0">
                  <a:solidFill>
                    <a:schemeClr val="tx1"/>
                  </a:solidFill>
                  <a:latin typeface="Arial" panose="020B0604020202020204" pitchFamily="34" charset="0"/>
                  <a:cs typeface="Arial" panose="020B0604020202020204" pitchFamily="34" charset="0"/>
                </a:rPr>
                <a:t>Farmers using</a:t>
              </a:r>
            </a:p>
            <a:p>
              <a:pPr marL="113184" indent="-113184">
                <a:buFont typeface="Arial" panose="020B0604020202020204" pitchFamily="34" charset="0"/>
                <a:buChar char="•"/>
              </a:pPr>
              <a:r>
                <a:rPr lang="en-US" sz="700" dirty="0" smtClean="0">
                  <a:solidFill>
                    <a:schemeClr val="tx1"/>
                  </a:solidFill>
                  <a:latin typeface="Arial" panose="020B0604020202020204" pitchFamily="34" charset="0"/>
                  <a:cs typeface="Arial" panose="020B0604020202020204" pitchFamily="34" charset="0"/>
                </a:rPr>
                <a:t>Improved </a:t>
              </a:r>
              <a:r>
                <a:rPr lang="en-US" sz="700" dirty="0">
                  <a:solidFill>
                    <a:schemeClr val="tx1"/>
                  </a:solidFill>
                  <a:latin typeface="Arial" panose="020B0604020202020204" pitchFamily="34" charset="0"/>
                  <a:cs typeface="Arial" panose="020B0604020202020204" pitchFamily="34" charset="0"/>
                </a:rPr>
                <a:t>production,  management  technologies </a:t>
              </a:r>
              <a:r>
                <a:rPr lang="en-US" sz="700" dirty="0" smtClean="0">
                  <a:solidFill>
                    <a:schemeClr val="tx1"/>
                  </a:solidFill>
                  <a:latin typeface="Arial" panose="020B0604020202020204" pitchFamily="34" charset="0"/>
                  <a:cs typeface="Arial" panose="020B0604020202020204" pitchFamily="34" charset="0"/>
                </a:rPr>
                <a:t>&amp; practices </a:t>
              </a:r>
              <a:endParaRPr lang="en-US" sz="700" dirty="0">
                <a:solidFill>
                  <a:schemeClr val="tx1"/>
                </a:solidFill>
                <a:latin typeface="Arial" panose="020B0604020202020204" pitchFamily="34" charset="0"/>
                <a:cs typeface="Arial" panose="020B0604020202020204" pitchFamily="34" charset="0"/>
              </a:endParaRPr>
            </a:p>
            <a:p>
              <a:pPr marL="113184" indent="-113184">
                <a:buFont typeface="Arial" panose="020B0604020202020204" pitchFamily="34" charset="0"/>
                <a:buChar char="•"/>
              </a:pPr>
              <a:r>
                <a:rPr lang="en-US" sz="700" dirty="0">
                  <a:solidFill>
                    <a:schemeClr val="tx1"/>
                  </a:solidFill>
                  <a:latin typeface="Arial" panose="020B0604020202020204" pitchFamily="34" charset="0"/>
                  <a:cs typeface="Arial" panose="020B0604020202020204" pitchFamily="34" charset="0"/>
                </a:rPr>
                <a:t>Fertilizers </a:t>
              </a:r>
              <a:r>
                <a:rPr lang="en-US" sz="700" dirty="0" smtClean="0">
                  <a:solidFill>
                    <a:schemeClr val="tx1"/>
                  </a:solidFill>
                  <a:latin typeface="Arial" panose="020B0604020202020204" pitchFamily="34" charset="0"/>
                  <a:cs typeface="Arial" panose="020B0604020202020204" pitchFamily="34" charset="0"/>
                </a:rPr>
                <a:t>&amp; </a:t>
              </a:r>
              <a:r>
                <a:rPr lang="en-US" sz="700" dirty="0">
                  <a:solidFill>
                    <a:schemeClr val="tx1"/>
                  </a:solidFill>
                  <a:latin typeface="Arial" panose="020B0604020202020204" pitchFamily="34" charset="0"/>
                  <a:cs typeface="Arial" panose="020B0604020202020204" pitchFamily="34" charset="0"/>
                </a:rPr>
                <a:t>other improved technological management practices </a:t>
              </a:r>
            </a:p>
            <a:p>
              <a:pPr marL="113184" indent="-113184">
                <a:buFont typeface="Arial" panose="020B0604020202020204" pitchFamily="34" charset="0"/>
                <a:buChar char="•"/>
              </a:pPr>
              <a:r>
                <a:rPr lang="en-US" sz="700" dirty="0">
                  <a:solidFill>
                    <a:schemeClr val="tx1"/>
                  </a:solidFill>
                  <a:latin typeface="Arial" panose="020B0604020202020204" pitchFamily="34" charset="0"/>
                  <a:cs typeface="Arial" panose="020B0604020202020204" pitchFamily="34" charset="0"/>
                </a:rPr>
                <a:t>Improved post harvest management technologies </a:t>
              </a:r>
              <a:r>
                <a:rPr lang="en-US" sz="700" dirty="0" smtClean="0">
                  <a:solidFill>
                    <a:schemeClr val="tx1"/>
                  </a:solidFill>
                  <a:latin typeface="Arial" panose="020B0604020202020204" pitchFamily="34" charset="0"/>
                  <a:cs typeface="Arial" panose="020B0604020202020204" pitchFamily="34" charset="0"/>
                </a:rPr>
                <a:t>&amp; practices</a:t>
              </a:r>
              <a:endParaRPr lang="en-US" sz="700" dirty="0">
                <a:solidFill>
                  <a:schemeClr val="tx1"/>
                </a:solidFill>
                <a:latin typeface="Arial" panose="020B0604020202020204" pitchFamily="34" charset="0"/>
                <a:cs typeface="Arial" panose="020B0604020202020204" pitchFamily="34" charset="0"/>
              </a:endParaRPr>
            </a:p>
            <a:p>
              <a:pPr marL="113184" indent="-113184">
                <a:buFont typeface="Arial" panose="020B0604020202020204" pitchFamily="34" charset="0"/>
                <a:buChar char="•"/>
              </a:pPr>
              <a:r>
                <a:rPr lang="en-US" sz="700" dirty="0">
                  <a:solidFill>
                    <a:schemeClr val="tx1"/>
                  </a:solidFill>
                  <a:latin typeface="Arial" panose="020B0604020202020204" pitchFamily="34" charset="0"/>
                  <a:cs typeface="Arial" panose="020B0604020202020204" pitchFamily="34" charset="0"/>
                </a:rPr>
                <a:t>Structured trade to market their produce</a:t>
              </a:r>
            </a:p>
            <a:p>
              <a:endParaRPr lang="en-US" sz="594" dirty="0">
                <a:solidFill>
                  <a:schemeClr val="tx1"/>
                </a:solidFill>
                <a:latin typeface="Arial" panose="020B0604020202020204" pitchFamily="34" charset="0"/>
                <a:cs typeface="Arial" panose="020B0604020202020204" pitchFamily="34" charset="0"/>
              </a:endParaRPr>
            </a:p>
          </p:txBody>
        </p:sp>
        <p:sp>
          <p:nvSpPr>
            <p:cNvPr id="11" name="Rectangle 10"/>
            <p:cNvSpPr/>
            <p:nvPr/>
          </p:nvSpPr>
          <p:spPr>
            <a:xfrm>
              <a:off x="3003467" y="2711491"/>
              <a:ext cx="2798476" cy="1356752"/>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endParaRPr lang="en-US" sz="594" b="1" dirty="0">
                <a:solidFill>
                  <a:schemeClr val="tx1"/>
                </a:solidFill>
                <a:latin typeface="Arial" panose="020B0604020202020204" pitchFamily="34" charset="0"/>
                <a:cs typeface="Arial" panose="020B0604020202020204" pitchFamily="34" charset="0"/>
              </a:endParaRPr>
            </a:p>
            <a:p>
              <a:r>
                <a:rPr lang="en-US" sz="700" b="1" dirty="0">
                  <a:solidFill>
                    <a:schemeClr val="tx1"/>
                  </a:solidFill>
                  <a:latin typeface="Arial" panose="020B0604020202020204" pitchFamily="34" charset="0"/>
                  <a:cs typeface="Arial" panose="020B0604020202020204" pitchFamily="34" charset="0"/>
                </a:rPr>
                <a:t>Other value chain actors</a:t>
              </a:r>
            </a:p>
            <a:p>
              <a:pPr marL="113184" indent="-113184">
                <a:buFont typeface="Arial" panose="020B0604020202020204" pitchFamily="34" charset="0"/>
                <a:buChar char="•"/>
              </a:pPr>
              <a:r>
                <a:rPr lang="en-US" sz="700" dirty="0">
                  <a:solidFill>
                    <a:schemeClr val="tx1"/>
                  </a:solidFill>
                  <a:latin typeface="Arial" panose="020B0604020202020204" pitchFamily="34" charset="0"/>
                  <a:cs typeface="Arial" panose="020B0604020202020204" pitchFamily="34" charset="0"/>
                </a:rPr>
                <a:t>Large, MSMEs  producing and  delivering inputs, extension, services to farmers in response to demand from farmers</a:t>
              </a:r>
            </a:p>
            <a:p>
              <a:pPr marL="113184" indent="-113184">
                <a:buFont typeface="Arial" panose="020B0604020202020204" pitchFamily="34" charset="0"/>
                <a:buChar char="•"/>
              </a:pPr>
              <a:r>
                <a:rPr lang="en-US" sz="700" dirty="0">
                  <a:solidFill>
                    <a:schemeClr val="tx1"/>
                  </a:solidFill>
                  <a:latin typeface="Arial" panose="020B0604020202020204" pitchFamily="34" charset="0"/>
                  <a:cs typeface="Arial" panose="020B0604020202020204" pitchFamily="34" charset="0"/>
                </a:rPr>
                <a:t>Bank and non-bank institutions providing financial and credit services to MSMEs and farmers </a:t>
              </a:r>
            </a:p>
            <a:p>
              <a:pPr marL="113184" indent="-113184">
                <a:buFont typeface="Arial" panose="020B0604020202020204" pitchFamily="34" charset="0"/>
                <a:buChar char="•"/>
              </a:pPr>
              <a:r>
                <a:rPr lang="en-US" sz="700" dirty="0">
                  <a:solidFill>
                    <a:schemeClr val="tx1"/>
                  </a:solidFill>
                  <a:latin typeface="Arial" panose="020B0604020202020204" pitchFamily="34" charset="0"/>
                  <a:cs typeface="Arial" panose="020B0604020202020204" pitchFamily="34" charset="0"/>
                </a:rPr>
                <a:t>Large, MSMEs providing off-taking,  warehousing and processing services  </a:t>
              </a:r>
            </a:p>
            <a:p>
              <a:endParaRPr lang="en-US" sz="800" dirty="0">
                <a:solidFill>
                  <a:schemeClr val="tx1"/>
                </a:solidFill>
                <a:latin typeface="Arial" panose="020B0604020202020204" pitchFamily="34" charset="0"/>
                <a:cs typeface="Arial" panose="020B0604020202020204" pitchFamily="34" charset="0"/>
              </a:endParaRPr>
            </a:p>
          </p:txBody>
        </p:sp>
        <p:sp>
          <p:nvSpPr>
            <p:cNvPr id="17" name="Rectangle 16"/>
            <p:cNvSpPr/>
            <p:nvPr/>
          </p:nvSpPr>
          <p:spPr>
            <a:xfrm>
              <a:off x="364927" y="4129031"/>
              <a:ext cx="5571713" cy="89436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a:r>
                <a:rPr lang="en-US" sz="800" b="1" dirty="0">
                  <a:solidFill>
                    <a:schemeClr val="tx1"/>
                  </a:solidFill>
                  <a:latin typeface="Arial" panose="020B0604020202020204" pitchFamily="34" charset="0"/>
                  <a:cs typeface="Arial" panose="020B0604020202020204" pitchFamily="34" charset="0"/>
                </a:rPr>
                <a:t>Farmers and other value chain actors have improved access to </a:t>
              </a:r>
            </a:p>
            <a:p>
              <a:r>
                <a:rPr lang="en-US" sz="800" dirty="0">
                  <a:solidFill>
                    <a:schemeClr val="tx1"/>
                  </a:solidFill>
                  <a:latin typeface="Arial" panose="020B0604020202020204" pitchFamily="34" charset="0"/>
                  <a:cs typeface="Arial" panose="020B0604020202020204" pitchFamily="34" charset="0"/>
                </a:rPr>
                <a:t>Inputs (fertilizer, seeds); Extension services (knowledge and information); Credit and financial services, stable and remunerative markets</a:t>
              </a:r>
            </a:p>
          </p:txBody>
        </p:sp>
      </p:grpSp>
      <p:grpSp>
        <p:nvGrpSpPr>
          <p:cNvPr id="19" name="Group 18"/>
          <p:cNvGrpSpPr/>
          <p:nvPr/>
        </p:nvGrpSpPr>
        <p:grpSpPr>
          <a:xfrm>
            <a:off x="1331009" y="1152468"/>
            <a:ext cx="5722034" cy="1124988"/>
            <a:chOff x="314813" y="1316708"/>
            <a:chExt cx="5113471" cy="838389"/>
          </a:xfrm>
        </p:grpSpPr>
        <p:sp>
          <p:nvSpPr>
            <p:cNvPr id="21" name="Rectangle 20"/>
            <p:cNvSpPr/>
            <p:nvPr/>
          </p:nvSpPr>
          <p:spPr>
            <a:xfrm>
              <a:off x="314813" y="1316708"/>
              <a:ext cx="5113471" cy="838389"/>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t" anchorCtr="0" forceAA="0" compatLnSpc="1">
              <a:prstTxWarp prst="textNoShape">
                <a:avLst/>
              </a:prstTxWarp>
              <a:noAutofit/>
            </a:bodyPr>
            <a:lstStyle/>
            <a:p>
              <a:pPr algn="ctr"/>
              <a:endParaRPr lang="en-US" sz="528" b="1" dirty="0">
                <a:solidFill>
                  <a:schemeClr val="tx1"/>
                </a:solidFill>
                <a:latin typeface="Arial" panose="020B0604020202020204" pitchFamily="34" charset="0"/>
                <a:cs typeface="Arial" panose="020B0604020202020204" pitchFamily="34" charset="0"/>
              </a:endParaRPr>
            </a:p>
            <a:p>
              <a:pPr algn="ctr"/>
              <a:endParaRPr lang="en-US" sz="528" b="1" dirty="0">
                <a:solidFill>
                  <a:schemeClr val="tx1"/>
                </a:solidFill>
                <a:latin typeface="Arial" panose="020B0604020202020204" pitchFamily="34" charset="0"/>
                <a:cs typeface="Arial" panose="020B0604020202020204" pitchFamily="34" charset="0"/>
              </a:endParaRPr>
            </a:p>
            <a:p>
              <a:pPr algn="ctr"/>
              <a:endParaRPr lang="en-US" sz="528" b="1" dirty="0">
                <a:solidFill>
                  <a:schemeClr val="tx1"/>
                </a:solidFill>
                <a:latin typeface="Arial" panose="020B0604020202020204" pitchFamily="34" charset="0"/>
                <a:cs typeface="Arial" panose="020B0604020202020204" pitchFamily="34" charset="0"/>
              </a:endParaRPr>
            </a:p>
            <a:p>
              <a:pPr algn="ctr"/>
              <a:endParaRPr lang="en-US" sz="528" b="1" dirty="0">
                <a:solidFill>
                  <a:schemeClr val="tx1"/>
                </a:solidFill>
                <a:latin typeface="Arial" panose="020B0604020202020204" pitchFamily="34" charset="0"/>
                <a:cs typeface="Arial" panose="020B0604020202020204" pitchFamily="34" charset="0"/>
              </a:endParaRPr>
            </a:p>
            <a:p>
              <a:pPr algn="ctr"/>
              <a:endParaRPr lang="en-US" sz="528" b="1" dirty="0">
                <a:solidFill>
                  <a:schemeClr val="tx1"/>
                </a:solidFill>
                <a:latin typeface="Arial" panose="020B0604020202020204" pitchFamily="34" charset="0"/>
                <a:cs typeface="Arial" panose="020B0604020202020204" pitchFamily="34" charset="0"/>
              </a:endParaRPr>
            </a:p>
            <a:p>
              <a:pPr algn="ctr"/>
              <a:endParaRPr lang="en-US" sz="528" b="1" dirty="0">
                <a:solidFill>
                  <a:schemeClr val="tx1"/>
                </a:solidFill>
                <a:latin typeface="Arial" panose="020B0604020202020204" pitchFamily="34" charset="0"/>
                <a:cs typeface="Arial" panose="020B0604020202020204" pitchFamily="34" charset="0"/>
              </a:endParaRPr>
            </a:p>
            <a:p>
              <a:pPr algn="ctr"/>
              <a:endParaRPr lang="en-US" sz="792" dirty="0">
                <a:solidFill>
                  <a:schemeClr val="accent6">
                    <a:lumMod val="50000"/>
                  </a:schemeClr>
                </a:solidFill>
                <a:latin typeface="Arial" panose="020B0604020202020204" pitchFamily="34" charset="0"/>
                <a:cs typeface="Arial" panose="020B0604020202020204" pitchFamily="34" charset="0"/>
              </a:endParaRPr>
            </a:p>
          </p:txBody>
        </p:sp>
        <p:sp>
          <p:nvSpPr>
            <p:cNvPr id="22" name="Rectangle 21"/>
            <p:cNvSpPr/>
            <p:nvPr/>
          </p:nvSpPr>
          <p:spPr>
            <a:xfrm>
              <a:off x="498215" y="1711925"/>
              <a:ext cx="1331360" cy="350454"/>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r>
                <a:rPr lang="en-US" sz="900" dirty="0">
                  <a:solidFill>
                    <a:schemeClr val="tx1"/>
                  </a:solidFill>
                  <a:latin typeface="Arial" panose="020B0604020202020204" pitchFamily="34" charset="0"/>
                  <a:cs typeface="Arial" panose="020B0604020202020204" pitchFamily="34" charset="0"/>
                </a:rPr>
                <a:t>Increased productivity </a:t>
              </a:r>
              <a:endParaRPr lang="en-US" sz="900" i="1" dirty="0">
                <a:solidFill>
                  <a:schemeClr val="tx1"/>
                </a:solidFill>
                <a:latin typeface="Arial" panose="020B0604020202020204" pitchFamily="34" charset="0"/>
                <a:cs typeface="Arial" panose="020B0604020202020204" pitchFamily="34" charset="0"/>
              </a:endParaRPr>
            </a:p>
          </p:txBody>
        </p:sp>
        <p:sp>
          <p:nvSpPr>
            <p:cNvPr id="24" name="Rectangle 23"/>
            <p:cNvSpPr/>
            <p:nvPr/>
          </p:nvSpPr>
          <p:spPr>
            <a:xfrm>
              <a:off x="804601" y="1327177"/>
              <a:ext cx="4487315"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a:r>
                <a:rPr lang="en-US" sz="900" b="1" dirty="0">
                  <a:solidFill>
                    <a:schemeClr val="tx1"/>
                  </a:solidFill>
                  <a:latin typeface="Arial" panose="020B0604020202020204" pitchFamily="34" charset="0"/>
                  <a:cs typeface="Arial" panose="020B0604020202020204" pitchFamily="34" charset="0"/>
                </a:rPr>
                <a:t>Country Goal: Increased  incomes and improved food security for SHFs </a:t>
              </a:r>
            </a:p>
          </p:txBody>
        </p:sp>
      </p:grpSp>
      <p:grpSp>
        <p:nvGrpSpPr>
          <p:cNvPr id="26" name="Group 25"/>
          <p:cNvGrpSpPr/>
          <p:nvPr/>
        </p:nvGrpSpPr>
        <p:grpSpPr>
          <a:xfrm>
            <a:off x="7358715" y="1397347"/>
            <a:ext cx="2298798" cy="4466255"/>
            <a:chOff x="5493257" y="1275499"/>
            <a:chExt cx="3566664" cy="3127439"/>
          </a:xfrm>
        </p:grpSpPr>
        <p:sp>
          <p:nvSpPr>
            <p:cNvPr id="28" name="Rectangle 27"/>
            <p:cNvSpPr/>
            <p:nvPr/>
          </p:nvSpPr>
          <p:spPr>
            <a:xfrm>
              <a:off x="5493257" y="2374773"/>
              <a:ext cx="3566664" cy="2028165"/>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r>
                <a:rPr lang="en-GB" sz="800" b="1" dirty="0">
                  <a:solidFill>
                    <a:schemeClr val="tx1"/>
                  </a:solidFill>
                  <a:latin typeface="Arial" panose="020B0604020202020204" pitchFamily="34" charset="0"/>
                  <a:cs typeface="Arial" panose="020B0604020202020204" pitchFamily="34" charset="0"/>
                </a:rPr>
                <a:t>Partnerships</a:t>
              </a:r>
            </a:p>
            <a:p>
              <a:r>
                <a:rPr lang="en-GB" sz="800" dirty="0">
                  <a:solidFill>
                    <a:schemeClr val="tx1"/>
                  </a:solidFill>
                  <a:latin typeface="Arial" panose="020B0604020202020204" pitchFamily="34" charset="0"/>
                  <a:cs typeface="Arial" panose="020B0604020202020204" pitchFamily="34" charset="0"/>
                </a:rPr>
                <a:t>Work with partners at all levels to:</a:t>
              </a:r>
            </a:p>
            <a:p>
              <a:pPr marL="188640" indent="-188640">
                <a:buFont typeface="Arial" panose="020B0604020202020204" pitchFamily="34" charset="0"/>
                <a:buChar char="•"/>
              </a:pPr>
              <a:r>
                <a:rPr lang="en-US" sz="800" dirty="0" smtClean="0">
                  <a:solidFill>
                    <a:schemeClr val="tx1"/>
                  </a:solidFill>
                  <a:latin typeface="Arial" panose="020B0604020202020204" pitchFamily="34" charset="0"/>
                  <a:cs typeface="Arial" panose="020B0604020202020204" pitchFamily="34" charset="0"/>
                </a:rPr>
                <a:t>Enhance </a:t>
              </a:r>
              <a:r>
                <a:rPr lang="en-US" sz="800" dirty="0">
                  <a:solidFill>
                    <a:schemeClr val="tx1"/>
                  </a:solidFill>
                  <a:latin typeface="Arial" panose="020B0604020202020204" pitchFamily="34" charset="0"/>
                  <a:cs typeface="Arial" panose="020B0604020202020204" pitchFamily="34" charset="0"/>
                </a:rPr>
                <a:t>supply chain efficiency through effective agribusiness deal-making platforms  in the </a:t>
              </a:r>
              <a:r>
                <a:rPr lang="en-US" sz="800" dirty="0" smtClean="0">
                  <a:solidFill>
                    <a:schemeClr val="tx1"/>
                  </a:solidFill>
                  <a:latin typeface="Arial" panose="020B0604020202020204" pitchFamily="34" charset="0"/>
                  <a:cs typeface="Arial" panose="020B0604020202020204" pitchFamily="34" charset="0"/>
                </a:rPr>
                <a:t>Northern Highlands</a:t>
              </a:r>
            </a:p>
            <a:p>
              <a:pPr marL="188640" indent="-188640">
                <a:buFont typeface="Arial" panose="020B0604020202020204" pitchFamily="34" charset="0"/>
                <a:buChar char="•"/>
              </a:pPr>
              <a:r>
                <a:rPr lang="en-US" sz="800" dirty="0" smtClean="0">
                  <a:solidFill>
                    <a:schemeClr val="tx1"/>
                  </a:solidFill>
                  <a:latin typeface="Arial" panose="020B0604020202020204" pitchFamily="34" charset="0"/>
                  <a:cs typeface="Arial" panose="020B0604020202020204" pitchFamily="34" charset="0"/>
                </a:rPr>
                <a:t>Expand </a:t>
              </a:r>
              <a:r>
                <a:rPr lang="en-US" sz="800" dirty="0">
                  <a:solidFill>
                    <a:schemeClr val="tx1"/>
                  </a:solidFill>
                  <a:latin typeface="Arial" panose="020B0604020202020204" pitchFamily="34" charset="0"/>
                  <a:cs typeface="Arial" panose="020B0604020202020204" pitchFamily="34" charset="0"/>
                </a:rPr>
                <a:t>market access through value addition, structured trade, quality enhancement and aggregation in the </a:t>
              </a:r>
              <a:r>
                <a:rPr lang="en-US" sz="800" dirty="0" smtClean="0">
                  <a:solidFill>
                    <a:schemeClr val="tx1"/>
                  </a:solidFill>
                  <a:latin typeface="Arial" panose="020B0604020202020204" pitchFamily="34" charset="0"/>
                  <a:cs typeface="Arial" panose="020B0604020202020204" pitchFamily="34" charset="0"/>
                </a:rPr>
                <a:t>Southern </a:t>
              </a:r>
              <a:r>
                <a:rPr lang="en-US" sz="800" dirty="0">
                  <a:solidFill>
                    <a:schemeClr val="tx1"/>
                  </a:solidFill>
                  <a:latin typeface="Arial" panose="020B0604020202020204" pitchFamily="34" charset="0"/>
                  <a:cs typeface="Arial" panose="020B0604020202020204" pitchFamily="34" charset="0"/>
                </a:rPr>
                <a:t>H</a:t>
              </a:r>
              <a:r>
                <a:rPr lang="en-US" sz="800" dirty="0" smtClean="0">
                  <a:solidFill>
                    <a:schemeClr val="tx1"/>
                  </a:solidFill>
                  <a:latin typeface="Arial" panose="020B0604020202020204" pitchFamily="34" charset="0"/>
                  <a:cs typeface="Arial" panose="020B0604020202020204" pitchFamily="34" charset="0"/>
                </a:rPr>
                <a:t>ighlands</a:t>
              </a:r>
            </a:p>
            <a:p>
              <a:pPr marL="188640" indent="-188640">
                <a:buFont typeface="Arial" panose="020B0604020202020204" pitchFamily="34" charset="0"/>
                <a:buChar char="•"/>
              </a:pPr>
              <a:r>
                <a:rPr lang="en-US" sz="800" dirty="0" smtClean="0">
                  <a:solidFill>
                    <a:schemeClr val="tx1"/>
                  </a:solidFill>
                  <a:latin typeface="Arial" panose="020B0604020202020204" pitchFamily="34" charset="0"/>
                  <a:cs typeface="Arial" panose="020B0604020202020204" pitchFamily="34" charset="0"/>
                </a:rPr>
                <a:t>Strengthen </a:t>
              </a:r>
              <a:r>
                <a:rPr lang="en-US" sz="800" dirty="0">
                  <a:solidFill>
                    <a:schemeClr val="tx1"/>
                  </a:solidFill>
                  <a:latin typeface="Arial" panose="020B0604020202020204" pitchFamily="34" charset="0"/>
                  <a:cs typeface="Arial" panose="020B0604020202020204" pitchFamily="34" charset="0"/>
                </a:rPr>
                <a:t>input supply systems and linkages to output markets to facilitate the uptake of yield-enhancing agricultural technologies in the </a:t>
              </a:r>
              <a:r>
                <a:rPr lang="en-US" sz="800" dirty="0" smtClean="0">
                  <a:solidFill>
                    <a:schemeClr val="tx1"/>
                  </a:solidFill>
                  <a:latin typeface="Arial" panose="020B0604020202020204" pitchFamily="34" charset="0"/>
                  <a:cs typeface="Arial" panose="020B0604020202020204" pitchFamily="34" charset="0"/>
                </a:rPr>
                <a:t>Western </a:t>
              </a:r>
              <a:r>
                <a:rPr lang="en-US" sz="800" dirty="0">
                  <a:solidFill>
                    <a:schemeClr val="tx1"/>
                  </a:solidFill>
                  <a:latin typeface="Arial" panose="020B0604020202020204" pitchFamily="34" charset="0"/>
                  <a:cs typeface="Arial" panose="020B0604020202020204" pitchFamily="34" charset="0"/>
                </a:rPr>
                <a:t>H</a:t>
              </a:r>
              <a:r>
                <a:rPr lang="en-US" sz="800" dirty="0" smtClean="0">
                  <a:solidFill>
                    <a:schemeClr val="tx1"/>
                  </a:solidFill>
                  <a:latin typeface="Arial" panose="020B0604020202020204" pitchFamily="34" charset="0"/>
                  <a:cs typeface="Arial" panose="020B0604020202020204" pitchFamily="34" charset="0"/>
                </a:rPr>
                <a:t>ighlands</a:t>
              </a:r>
            </a:p>
            <a:p>
              <a:pPr marL="188640" indent="-188640">
                <a:buFont typeface="Arial" panose="020B0604020202020204" pitchFamily="34" charset="0"/>
                <a:buChar char="•"/>
              </a:pPr>
              <a:r>
                <a:rPr lang="en-US" sz="800" dirty="0" smtClean="0">
                  <a:solidFill>
                    <a:schemeClr val="tx1"/>
                  </a:solidFill>
                  <a:latin typeface="Arial" panose="020B0604020202020204" pitchFamily="34" charset="0"/>
                  <a:cs typeface="Arial" panose="020B0604020202020204" pitchFamily="34" charset="0"/>
                </a:rPr>
                <a:t>Promote </a:t>
              </a:r>
              <a:r>
                <a:rPr lang="en-US" sz="800" dirty="0">
                  <a:solidFill>
                    <a:schemeClr val="tx1"/>
                  </a:solidFill>
                  <a:latin typeface="Arial" panose="020B0604020202020204" pitchFamily="34" charset="0"/>
                  <a:cs typeface="Arial" panose="020B0604020202020204" pitchFamily="34" charset="0"/>
                </a:rPr>
                <a:t>women empowerment in agriculture and active participation in decision making </a:t>
              </a:r>
              <a:r>
                <a:rPr lang="en-US" sz="800" dirty="0" smtClean="0">
                  <a:solidFill>
                    <a:schemeClr val="tx1"/>
                  </a:solidFill>
                  <a:latin typeface="Arial" panose="020B0604020202020204" pitchFamily="34" charset="0"/>
                  <a:cs typeface="Arial" panose="020B0604020202020204" pitchFamily="34" charset="0"/>
                </a:rPr>
                <a:t>so they </a:t>
              </a:r>
              <a:r>
                <a:rPr lang="en-US" sz="800" dirty="0">
                  <a:solidFill>
                    <a:schemeClr val="tx1"/>
                  </a:solidFill>
                  <a:latin typeface="Arial" panose="020B0604020202020204" pitchFamily="34" charset="0"/>
                  <a:cs typeface="Arial" panose="020B0604020202020204" pitchFamily="34" charset="0"/>
                </a:rPr>
                <a:t>benefit more from the downstream portion of value chain activities such as marketing, processing and trade</a:t>
              </a:r>
            </a:p>
            <a:p>
              <a:pPr marL="188640" indent="-188640">
                <a:buFont typeface="Arial" panose="020B0604020202020204" pitchFamily="34" charset="0"/>
                <a:buChar char="•"/>
              </a:pPr>
              <a:endParaRPr lang="en-GB" sz="800" dirty="0">
                <a:solidFill>
                  <a:schemeClr val="tx1"/>
                </a:solidFill>
                <a:latin typeface="Arial" panose="020B0604020202020204" pitchFamily="34" charset="0"/>
                <a:cs typeface="Arial" panose="020B0604020202020204" pitchFamily="34" charset="0"/>
              </a:endParaRPr>
            </a:p>
          </p:txBody>
        </p:sp>
        <p:sp>
          <p:nvSpPr>
            <p:cNvPr id="29" name="Rectangle 28"/>
            <p:cNvSpPr/>
            <p:nvPr/>
          </p:nvSpPr>
          <p:spPr>
            <a:xfrm>
              <a:off x="5589294" y="1275499"/>
              <a:ext cx="3374590" cy="1023723"/>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r>
                <a:rPr lang="en-US" sz="800" b="1" dirty="0">
                  <a:solidFill>
                    <a:schemeClr val="tx1"/>
                  </a:solidFill>
                  <a:latin typeface="+mj-lt"/>
                  <a:cs typeface="Arial" panose="020B0604020202020204" pitchFamily="34" charset="0"/>
                </a:rPr>
                <a:t>State C</a:t>
              </a:r>
              <a:r>
                <a:rPr lang="en-US" sz="800" b="1" dirty="0" smtClean="0">
                  <a:solidFill>
                    <a:schemeClr val="tx1"/>
                  </a:solidFill>
                  <a:latin typeface="+mj-lt"/>
                  <a:cs typeface="Arial" panose="020B0604020202020204" pitchFamily="34" charset="0"/>
                </a:rPr>
                <a:t>apability </a:t>
              </a:r>
              <a:r>
                <a:rPr lang="en-US" sz="800" b="1" dirty="0">
                  <a:solidFill>
                    <a:schemeClr val="tx1"/>
                  </a:solidFill>
                  <a:latin typeface="+mj-lt"/>
                  <a:cs typeface="Arial" panose="020B0604020202020204" pitchFamily="34" charset="0"/>
                </a:rPr>
                <a:t>and P</a:t>
              </a:r>
              <a:r>
                <a:rPr lang="en-US" sz="800" b="1" dirty="0" smtClean="0">
                  <a:solidFill>
                    <a:schemeClr val="tx1"/>
                  </a:solidFill>
                  <a:latin typeface="+mj-lt"/>
                  <a:cs typeface="Arial" panose="020B0604020202020204" pitchFamily="34" charset="0"/>
                </a:rPr>
                <a:t>olicy</a:t>
              </a:r>
            </a:p>
            <a:p>
              <a:pPr lvl="0"/>
              <a:r>
                <a:rPr lang="en-US" sz="800" dirty="0" smtClean="0">
                  <a:latin typeface="+mj-lt"/>
                </a:rPr>
                <a:t>Strengthen </a:t>
              </a:r>
              <a:r>
                <a:rPr lang="en-US" sz="800" dirty="0">
                  <a:latin typeface="+mj-lt"/>
                </a:rPr>
                <a:t>national coordinating team’s (NACOTE) capacity for driving evidence based  planning &amp; implementation </a:t>
              </a:r>
            </a:p>
            <a:p>
              <a:pPr lvl="0"/>
              <a:r>
                <a:rPr lang="en-US" sz="800" dirty="0">
                  <a:latin typeface="+mj-lt"/>
                </a:rPr>
                <a:t>Enhance planning and coordination between MOA, other ASLMs and external stakeholders  </a:t>
              </a:r>
            </a:p>
            <a:p>
              <a:pPr lvl="0"/>
              <a:r>
                <a:rPr lang="en-US" sz="800" dirty="0">
                  <a:latin typeface="+mj-lt"/>
                </a:rPr>
                <a:t>Support development of an enabling environment for private sector</a:t>
              </a:r>
            </a:p>
            <a:p>
              <a:r>
                <a:rPr lang="en-US" sz="792" b="1" dirty="0" smtClean="0">
                  <a:solidFill>
                    <a:schemeClr val="tx1"/>
                  </a:solidFill>
                  <a:latin typeface="Arial" panose="020B0604020202020204" pitchFamily="34" charset="0"/>
                  <a:cs typeface="Arial" panose="020B0604020202020204" pitchFamily="34" charset="0"/>
                </a:rPr>
                <a:t> </a:t>
              </a:r>
              <a:endParaRPr lang="en-US" sz="792" b="1" dirty="0">
                <a:solidFill>
                  <a:schemeClr val="tx1"/>
                </a:solidFill>
                <a:latin typeface="Arial" panose="020B0604020202020204" pitchFamily="34" charset="0"/>
                <a:cs typeface="Arial" panose="020B0604020202020204" pitchFamily="34" charset="0"/>
              </a:endParaRPr>
            </a:p>
          </p:txBody>
        </p:sp>
      </p:grpSp>
      <p:sp>
        <p:nvSpPr>
          <p:cNvPr id="33" name="Isosceles Triangle 32"/>
          <p:cNvSpPr/>
          <p:nvPr/>
        </p:nvSpPr>
        <p:spPr>
          <a:xfrm rot="16200000">
            <a:off x="5780132" y="3915254"/>
            <a:ext cx="2982672" cy="118450"/>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a:endParaRPr lang="en-US" sz="925" dirty="0">
              <a:solidFill>
                <a:schemeClr val="accent6">
                  <a:lumMod val="50000"/>
                </a:schemeClr>
              </a:solidFill>
              <a:latin typeface="Arial" panose="020B0604020202020204" pitchFamily="34" charset="0"/>
              <a:cs typeface="Arial" panose="020B0604020202020204" pitchFamily="34" charset="0"/>
            </a:endParaRPr>
          </a:p>
        </p:txBody>
      </p:sp>
      <p:sp>
        <p:nvSpPr>
          <p:cNvPr id="34" name="Up Arrow 33"/>
          <p:cNvSpPr/>
          <p:nvPr/>
        </p:nvSpPr>
        <p:spPr>
          <a:xfrm>
            <a:off x="302810" y="1750289"/>
            <a:ext cx="168220" cy="3746756"/>
          </a:xfrm>
          <a:prstGeom prst="upArrow">
            <a:avLst/>
          </a:prstGeom>
          <a:solidFill>
            <a:schemeClr val="tx1">
              <a:lumMod val="65000"/>
              <a:lumOff val="3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a:endParaRPr lang="en-US" sz="925" dirty="0">
              <a:solidFill>
                <a:schemeClr val="accent6">
                  <a:lumMod val="50000"/>
                </a:schemeClr>
              </a:solidFill>
              <a:latin typeface="Arial" panose="020B0604020202020204" pitchFamily="34" charset="0"/>
              <a:cs typeface="Arial" panose="020B0604020202020204" pitchFamily="34" charset="0"/>
            </a:endParaRPr>
          </a:p>
        </p:txBody>
      </p:sp>
      <p:grpSp>
        <p:nvGrpSpPr>
          <p:cNvPr id="36" name="Group 35"/>
          <p:cNvGrpSpPr/>
          <p:nvPr/>
        </p:nvGrpSpPr>
        <p:grpSpPr>
          <a:xfrm>
            <a:off x="572958" y="1621714"/>
            <a:ext cx="401657" cy="3487095"/>
            <a:chOff x="9014720" y="127975"/>
            <a:chExt cx="552830" cy="5282226"/>
          </a:xfrm>
        </p:grpSpPr>
        <p:sp>
          <p:nvSpPr>
            <p:cNvPr id="37" name="TextBox 36"/>
            <p:cNvSpPr txBox="1"/>
            <p:nvPr/>
          </p:nvSpPr>
          <p:spPr>
            <a:xfrm rot="16200000" flipH="1">
              <a:off x="8504358" y="4489954"/>
              <a:ext cx="1545639" cy="294855"/>
            </a:xfrm>
            <a:prstGeom prst="rect">
              <a:avLst/>
            </a:prstGeom>
            <a:noFill/>
          </p:spPr>
          <p:txBody>
            <a:bodyPr wrap="square" rtlCol="0">
              <a:spAutoFit/>
            </a:bodyPr>
            <a:lstStyle/>
            <a:p>
              <a:pPr algn="ctr"/>
              <a:r>
                <a:rPr lang="en-US" sz="661" b="1" dirty="0">
                  <a:latin typeface="Arial" panose="020B0604020202020204" pitchFamily="34" charset="0"/>
                  <a:cs typeface="Arial" panose="020B0604020202020204" pitchFamily="34" charset="0"/>
                </a:rPr>
                <a:t>What AGRA </a:t>
              </a:r>
              <a:r>
                <a:rPr lang="en-US" sz="792" b="1" dirty="0">
                  <a:latin typeface="Arial" panose="020B0604020202020204" pitchFamily="34" charset="0"/>
                  <a:cs typeface="Arial" panose="020B0604020202020204" pitchFamily="34" charset="0"/>
                </a:rPr>
                <a:t>does</a:t>
              </a:r>
            </a:p>
          </p:txBody>
        </p:sp>
        <p:sp>
          <p:nvSpPr>
            <p:cNvPr id="38" name="TextBox 37"/>
            <p:cNvSpPr txBox="1"/>
            <p:nvPr/>
          </p:nvSpPr>
          <p:spPr>
            <a:xfrm rot="16200000" flipH="1">
              <a:off x="8471278" y="671417"/>
              <a:ext cx="1493908" cy="407024"/>
            </a:xfrm>
            <a:prstGeom prst="rect">
              <a:avLst/>
            </a:prstGeom>
            <a:noFill/>
          </p:spPr>
          <p:txBody>
            <a:bodyPr wrap="square" rtlCol="0">
              <a:spAutoFit/>
            </a:bodyPr>
            <a:lstStyle/>
            <a:p>
              <a:pPr algn="ctr"/>
              <a:r>
                <a:rPr lang="en-US" sz="661" b="1" dirty="0">
                  <a:latin typeface="Arial" panose="020B0604020202020204" pitchFamily="34" charset="0"/>
                  <a:cs typeface="Arial" panose="020B0604020202020204" pitchFamily="34" charset="0"/>
                </a:rPr>
                <a:t>AGRA’s Strategic Country Goals</a:t>
              </a:r>
            </a:p>
          </p:txBody>
        </p:sp>
        <p:sp>
          <p:nvSpPr>
            <p:cNvPr id="39" name="TextBox 38"/>
            <p:cNvSpPr txBox="1"/>
            <p:nvPr/>
          </p:nvSpPr>
          <p:spPr>
            <a:xfrm rot="16200000" flipH="1">
              <a:off x="8296678" y="2398500"/>
              <a:ext cx="1994752" cy="546993"/>
            </a:xfrm>
            <a:prstGeom prst="rect">
              <a:avLst/>
            </a:prstGeom>
            <a:noFill/>
          </p:spPr>
          <p:txBody>
            <a:bodyPr wrap="square" rtlCol="0">
              <a:spAutoFit/>
            </a:bodyPr>
            <a:lstStyle/>
            <a:p>
              <a:pPr algn="ctr"/>
              <a:r>
                <a:rPr lang="en-US" sz="661" b="1" dirty="0">
                  <a:latin typeface="Arial" panose="020B0604020202020204" pitchFamily="34" charset="0"/>
                  <a:cs typeface="Arial" panose="020B0604020202020204" pitchFamily="34" charset="0"/>
                </a:rPr>
                <a:t>So that the target population, institution or resource change </a:t>
              </a:r>
            </a:p>
          </p:txBody>
        </p:sp>
      </p:grpSp>
      <p:sp>
        <p:nvSpPr>
          <p:cNvPr id="40" name="Rectangle 39"/>
          <p:cNvSpPr/>
          <p:nvPr/>
        </p:nvSpPr>
        <p:spPr>
          <a:xfrm>
            <a:off x="1294856" y="4214059"/>
            <a:ext cx="5729114" cy="1789500"/>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a:r>
              <a:rPr lang="en-GB" sz="900" b="1" dirty="0">
                <a:solidFill>
                  <a:schemeClr val="tx1"/>
                </a:solidFill>
                <a:latin typeface="Arial" panose="020B0604020202020204" pitchFamily="34" charset="0"/>
                <a:cs typeface="Arial" panose="020B0604020202020204" pitchFamily="34" charset="0"/>
              </a:rPr>
              <a:t>Country Investment areas </a:t>
            </a:r>
          </a:p>
          <a:p>
            <a:pPr marL="113184" indent="-113184">
              <a:buFont typeface="Arial" panose="020B0604020202020204" pitchFamily="34" charset="0"/>
              <a:buChar char="•"/>
            </a:pPr>
            <a:r>
              <a:rPr lang="en-US" sz="900" dirty="0">
                <a:latin typeface="Arial" panose="020B0604020202020204" pitchFamily="34" charset="0"/>
                <a:cs typeface="Arial" panose="020B0604020202020204" pitchFamily="34" charset="0"/>
              </a:rPr>
              <a:t>Strengthening agricultural input systems, technology development and supply chain</a:t>
            </a:r>
          </a:p>
          <a:p>
            <a:pPr marL="113184" indent="-113184">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Developing and strengthening extension and advisory  services </a:t>
            </a:r>
          </a:p>
          <a:p>
            <a:pPr marL="113184" indent="-113184">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Developing and strengthening  responsive agricultural finance and credit systems </a:t>
            </a:r>
          </a:p>
          <a:p>
            <a:pPr marL="113184" indent="-113184">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Developing and strengthening stable reliable and remunerative output </a:t>
            </a:r>
            <a:r>
              <a:rPr lang="en-US" sz="900" dirty="0" smtClean="0">
                <a:solidFill>
                  <a:schemeClr val="tx1"/>
                </a:solidFill>
                <a:latin typeface="Arial" panose="020B0604020202020204" pitchFamily="34" charset="0"/>
                <a:cs typeface="Arial" panose="020B0604020202020204" pitchFamily="34" charset="0"/>
              </a:rPr>
              <a:t>markets</a:t>
            </a:r>
          </a:p>
          <a:p>
            <a:pPr marL="113184" indent="-113184">
              <a:buFont typeface="Arial" panose="020B0604020202020204" pitchFamily="34" charset="0"/>
              <a:buChar char="•"/>
            </a:pPr>
            <a:r>
              <a:rPr lang="en-US" sz="900" dirty="0"/>
              <a:t>Create sustainable platforms by supporting the digitization </a:t>
            </a:r>
            <a:r>
              <a:rPr lang="en-US" sz="900" dirty="0" smtClean="0"/>
              <a:t>of value </a:t>
            </a:r>
            <a:r>
              <a:rPr lang="en-US" sz="900" dirty="0"/>
              <a:t>chain transparency and coordination system</a:t>
            </a:r>
            <a:endParaRPr lang="en-US" sz="900" dirty="0">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xmlns="" id="{DF0A37FE-9961-7446-A9D2-C6C2F70CDB9E}"/>
              </a:ext>
            </a:extLst>
          </p:cNvPr>
          <p:cNvSpPr/>
          <p:nvPr/>
        </p:nvSpPr>
        <p:spPr>
          <a:xfrm>
            <a:off x="4299905" y="1706505"/>
            <a:ext cx="2235200" cy="453644"/>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r>
              <a:rPr lang="en-US" sz="900" dirty="0">
                <a:solidFill>
                  <a:schemeClr val="tx1"/>
                </a:solidFill>
                <a:latin typeface="Arial" panose="020B0604020202020204" pitchFamily="34" charset="0"/>
                <a:cs typeface="Arial" panose="020B0604020202020204" pitchFamily="34" charset="0"/>
              </a:rPr>
              <a:t>Increased accessibility to output markets </a:t>
            </a:r>
          </a:p>
        </p:txBody>
      </p:sp>
      <p:sp>
        <p:nvSpPr>
          <p:cNvPr id="2" name="Title 1"/>
          <p:cNvSpPr>
            <a:spLocks noGrp="1"/>
          </p:cNvSpPr>
          <p:nvPr>
            <p:ph type="title"/>
          </p:nvPr>
        </p:nvSpPr>
        <p:spPr>
          <a:xfrm>
            <a:off x="339582" y="313991"/>
            <a:ext cx="9240875" cy="473191"/>
          </a:xfrm>
        </p:spPr>
        <p:txBody>
          <a:bodyPr/>
          <a:lstStyle/>
          <a:p>
            <a:pPr algn="ctr"/>
            <a:r>
              <a:rPr lang="en-US" dirty="0" smtClean="0"/>
              <a:t>Tanzania  Theory of Change</a:t>
            </a:r>
            <a:endParaRPr lang="en-US" dirty="0"/>
          </a:p>
        </p:txBody>
      </p:sp>
      <p:sp>
        <p:nvSpPr>
          <p:cNvPr id="3" name="TextBox 2"/>
          <p:cNvSpPr txBox="1"/>
          <p:nvPr/>
        </p:nvSpPr>
        <p:spPr>
          <a:xfrm>
            <a:off x="7745063" y="1166516"/>
            <a:ext cx="1281120" cy="230832"/>
          </a:xfrm>
          <a:prstGeom prst="rect">
            <a:avLst/>
          </a:prstGeom>
          <a:noFill/>
        </p:spPr>
        <p:txBody>
          <a:bodyPr wrap="none" rtlCol="0">
            <a:spAutoFit/>
          </a:bodyPr>
          <a:lstStyle/>
          <a:p>
            <a:r>
              <a:rPr lang="en-US" sz="900" b="1" dirty="0">
                <a:latin typeface="Arial" panose="020B0604020202020204" pitchFamily="34" charset="0"/>
                <a:cs typeface="Arial" panose="020B0604020202020204" pitchFamily="34" charset="0"/>
              </a:rPr>
              <a:t>Cross Cutting areas</a:t>
            </a:r>
          </a:p>
        </p:txBody>
      </p:sp>
    </p:spTree>
    <p:extLst>
      <p:ext uri="{BB962C8B-B14F-4D97-AF65-F5344CB8AC3E}">
        <p14:creationId xmlns:p14="http://schemas.microsoft.com/office/powerpoint/2010/main" val="25565034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730628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554" name="think-cell Slide" r:id="rId6" imgW="327" imgH="327" progId="TCLayout.ActiveDocument.1">
                  <p:embed/>
                </p:oleObj>
              </mc:Choice>
              <mc:Fallback>
                <p:oleObj name="think-cell Slide" r:id="rId6" imgW="327" imgH="327"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lIns="0" tIns="0" rIns="0" bIns="0" anchor="b"/>
          <a:lstStyle/>
          <a:p>
            <a:pPr defTabSz="914395">
              <a:spcBef>
                <a:spcPct val="0"/>
              </a:spcBef>
              <a:buClrTx/>
              <a:buSzTx/>
              <a:buFontTx/>
            </a:pPr>
            <a:r>
              <a:rPr lang="en-US" dirty="0" err="1">
                <a:solidFill>
                  <a:schemeClr val="tx1"/>
                </a:solidFill>
                <a:latin typeface="Arial" panose="020B0604020202020204" pitchFamily="34" charset="0"/>
                <a:cs typeface="Arial" panose="020B0604020202020204" pitchFamily="34" charset="0"/>
              </a:rPr>
              <a:t>AGRA’s</a:t>
            </a:r>
            <a:r>
              <a:rPr lang="en-US" dirty="0">
                <a:solidFill>
                  <a:schemeClr val="tx1"/>
                </a:solidFill>
                <a:latin typeface="Arial" panose="020B0604020202020204" pitchFamily="34" charset="0"/>
                <a:cs typeface="Arial" panose="020B0604020202020204" pitchFamily="34" charset="0"/>
              </a:rPr>
              <a:t> Strategy for </a:t>
            </a:r>
            <a:r>
              <a:rPr lang="en-US" dirty="0" smtClean="0">
                <a:solidFill>
                  <a:schemeClr val="tx1"/>
                </a:solidFill>
                <a:latin typeface="Arial" panose="020B0604020202020204" pitchFamily="34" charset="0"/>
                <a:cs typeface="Arial" panose="020B0604020202020204" pitchFamily="34" charset="0"/>
              </a:rPr>
              <a:t>Tanzania </a:t>
            </a:r>
            <a:endParaRPr lang="en-US" dirty="0">
              <a:solidFill>
                <a:schemeClr val="tx1"/>
              </a:solidFill>
              <a:latin typeface="Arial" panose="020B0604020202020204" pitchFamily="34" charset="0"/>
              <a:cs typeface="Arial" panose="020B0604020202020204" pitchFamily="34" charset="0"/>
            </a:endParaRPr>
          </a:p>
        </p:txBody>
      </p:sp>
      <p:graphicFrame>
        <p:nvGraphicFramePr>
          <p:cNvPr id="16" name="Diagram 15"/>
          <p:cNvGraphicFramePr/>
          <p:nvPr>
            <p:extLst>
              <p:ext uri="{D42A27DB-BD31-4B8C-83A1-F6EECF244321}">
                <p14:modId xmlns:p14="http://schemas.microsoft.com/office/powerpoint/2010/main" val="583343862"/>
              </p:ext>
            </p:extLst>
          </p:nvPr>
        </p:nvGraphicFramePr>
        <p:xfrm>
          <a:off x="450276" y="2064378"/>
          <a:ext cx="9005453" cy="361799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Rectangle 4"/>
          <p:cNvSpPr>
            <a:spLocks/>
          </p:cNvSpPr>
          <p:nvPr/>
        </p:nvSpPr>
        <p:spPr>
          <a:xfrm>
            <a:off x="450588" y="898663"/>
            <a:ext cx="9069931" cy="1200072"/>
          </a:xfrm>
          <a:prstGeom prst="rect">
            <a:avLst/>
          </a:prstGeom>
          <a:ln>
            <a:headEnd/>
            <a:tailEnd/>
          </a:ln>
          <a:extLst/>
        </p:spPr>
        <p:style>
          <a:lnRef idx="2">
            <a:schemeClr val="accent1"/>
          </a:lnRef>
          <a:fillRef idx="1">
            <a:schemeClr val="lt1"/>
          </a:fillRef>
          <a:effectRef idx="0">
            <a:schemeClr val="accent1"/>
          </a:effectRef>
          <a:fontRef idx="minor">
            <a:schemeClr val="dk1"/>
          </a:fontRef>
        </p:style>
        <p:txBody>
          <a:bodyPr vert="horz" wrap="square" lIns="72009" tIns="72009" rIns="72009" bIns="72009" numCol="1" anchor="ctr" anchorCtr="0" compatLnSpc="1">
            <a:prstTxWarp prst="textNoShape">
              <a:avLst/>
            </a:prstTxWarp>
            <a:spAutoFit/>
          </a:bodyPr>
          <a:lstStyle/>
          <a:p>
            <a:pPr marL="171450" lvl="0" indent="-171450" defTabSz="779082">
              <a:lnSpc>
                <a:spcPct val="107000"/>
              </a:lnSpc>
              <a:buFont typeface="Arial" panose="020B0604020202020204" pitchFamily="34" charset="0"/>
              <a:buChar char="•"/>
              <a:defRPr/>
            </a:pPr>
            <a:r>
              <a:rPr lang="en-US" sz="1300" dirty="0">
                <a:latin typeface="Arial" panose="020B0604020202020204" pitchFamily="34" charset="0"/>
                <a:cs typeface="Arial" panose="020B0604020202020204" pitchFamily="34" charset="0"/>
              </a:rPr>
              <a:t>AGRA’s approach in </a:t>
            </a:r>
            <a:r>
              <a:rPr lang="en-US" sz="1300" dirty="0" smtClean="0">
                <a:latin typeface="Arial" panose="020B0604020202020204" pitchFamily="34" charset="0"/>
                <a:cs typeface="Arial" panose="020B0604020202020204" pitchFamily="34" charset="0"/>
              </a:rPr>
              <a:t>Tanzania </a:t>
            </a:r>
            <a:r>
              <a:rPr lang="en-US" sz="1300" dirty="0">
                <a:latin typeface="Arial" panose="020B0604020202020204" pitchFamily="34" charset="0"/>
                <a:cs typeface="Arial" panose="020B0604020202020204" pitchFamily="34" charset="0"/>
              </a:rPr>
              <a:t>is focused on state </a:t>
            </a:r>
            <a:r>
              <a:rPr lang="en-US" sz="1300" dirty="0" smtClean="0">
                <a:latin typeface="Arial" panose="020B0604020202020204" pitchFamily="34" charset="0"/>
                <a:cs typeface="Arial" panose="020B0604020202020204" pitchFamily="34" charset="0"/>
              </a:rPr>
              <a:t>capability </a:t>
            </a:r>
            <a:r>
              <a:rPr lang="en-US" sz="1300" dirty="0">
                <a:latin typeface="Arial" panose="020B0604020202020204" pitchFamily="34" charset="0"/>
                <a:cs typeface="Arial" panose="020B0604020202020204" pitchFamily="34" charset="0"/>
              </a:rPr>
              <a:t>support and policy engagement and support to systems development to impact key value </a:t>
            </a:r>
            <a:r>
              <a:rPr lang="en-US" sz="1300" dirty="0" smtClean="0">
                <a:latin typeface="Arial" panose="020B0604020202020204" pitchFamily="34" charset="0"/>
                <a:cs typeface="Arial" panose="020B0604020202020204" pitchFamily="34" charset="0"/>
              </a:rPr>
              <a:t>chains.</a:t>
            </a:r>
            <a:r>
              <a:rPr lang="en-US" sz="1300" dirty="0">
                <a:solidFill>
                  <a:srgbClr val="000000"/>
                </a:solidFill>
                <a:latin typeface="Arial" panose="020B0604020202020204" pitchFamily="34" charset="0"/>
                <a:cs typeface="Arial" panose="020B0604020202020204" pitchFamily="34" charset="0"/>
              </a:rPr>
              <a:t> </a:t>
            </a:r>
            <a:endParaRPr lang="en-US" sz="1300" dirty="0" smtClean="0">
              <a:solidFill>
                <a:srgbClr val="000000"/>
              </a:solidFill>
              <a:latin typeface="Arial" panose="020B0604020202020204" pitchFamily="34" charset="0"/>
              <a:cs typeface="Arial" panose="020B0604020202020204" pitchFamily="34" charset="0"/>
            </a:endParaRPr>
          </a:p>
          <a:p>
            <a:pPr marL="171450" lvl="0" indent="-171450" defTabSz="779082">
              <a:lnSpc>
                <a:spcPct val="107000"/>
              </a:lnSpc>
              <a:buFont typeface="Arial" panose="020B0604020202020204" pitchFamily="34" charset="0"/>
              <a:buChar char="•"/>
              <a:defRPr/>
            </a:pPr>
            <a:r>
              <a:rPr lang="en-US" sz="1300" dirty="0" smtClean="0">
                <a:solidFill>
                  <a:srgbClr val="000000"/>
                </a:solidFill>
                <a:latin typeface="Arial" panose="020B0604020202020204" pitchFamily="34" charset="0"/>
                <a:cs typeface="Arial" panose="020B0604020202020204" pitchFamily="34" charset="0"/>
              </a:rPr>
              <a:t>AGRA </a:t>
            </a:r>
            <a:r>
              <a:rPr lang="en-US" sz="1300" dirty="0">
                <a:solidFill>
                  <a:srgbClr val="000000"/>
                </a:solidFill>
                <a:latin typeface="Arial" panose="020B0604020202020204" pitchFamily="34" charset="0"/>
                <a:cs typeface="Arial" panose="020B0604020202020204" pitchFamily="34" charset="0"/>
              </a:rPr>
              <a:t>believes that in </a:t>
            </a:r>
            <a:r>
              <a:rPr lang="en-US" sz="1300" dirty="0" smtClean="0">
                <a:solidFill>
                  <a:srgbClr val="000000"/>
                </a:solidFill>
                <a:latin typeface="Arial" panose="020B0604020202020204" pitchFamily="34" charset="0"/>
                <a:cs typeface="Arial" panose="020B0604020202020204" pitchFamily="34" charset="0"/>
              </a:rPr>
              <a:t>Tanzania </a:t>
            </a:r>
            <a:r>
              <a:rPr lang="en-US" sz="1300" dirty="0">
                <a:solidFill>
                  <a:srgbClr val="000000"/>
                </a:solidFill>
                <a:latin typeface="Arial" panose="020B0604020202020204" pitchFamily="34" charset="0"/>
                <a:cs typeface="Arial" panose="020B0604020202020204" pitchFamily="34" charset="0"/>
              </a:rPr>
              <a:t>there is room to drive scale through: a) a</a:t>
            </a:r>
            <a:r>
              <a:rPr lang="en-US" sz="1300" dirty="0" smtClean="0">
                <a:solidFill>
                  <a:srgbClr val="000000"/>
                </a:solidFill>
                <a:latin typeface="Arial" panose="020B0604020202020204" pitchFamily="34" charset="0"/>
                <a:cs typeface="Arial" panose="020B0604020202020204" pitchFamily="34" charset="0"/>
              </a:rPr>
              <a:t> well-planned </a:t>
            </a:r>
            <a:r>
              <a:rPr lang="en-US" sz="1300" dirty="0">
                <a:solidFill>
                  <a:srgbClr val="000000"/>
                </a:solidFill>
                <a:latin typeface="Arial" panose="020B0604020202020204" pitchFamily="34" charset="0"/>
                <a:cs typeface="Arial" panose="020B0604020202020204" pitchFamily="34" charset="0"/>
              </a:rPr>
              <a:t>and coordinated approach to resources in the public domain including coordinated engagement at country level, b) w</a:t>
            </a:r>
            <a:r>
              <a:rPr lang="en-US" sz="1300" dirty="0" smtClean="0">
                <a:solidFill>
                  <a:srgbClr val="000000"/>
                </a:solidFill>
                <a:latin typeface="Arial" panose="020B0604020202020204" pitchFamily="34" charset="0"/>
                <a:cs typeface="Arial" panose="020B0604020202020204" pitchFamily="34" charset="0"/>
              </a:rPr>
              <a:t>orking with </a:t>
            </a:r>
            <a:r>
              <a:rPr lang="en-US" sz="1300" dirty="0">
                <a:solidFill>
                  <a:srgbClr val="000000"/>
                </a:solidFill>
                <a:latin typeface="Arial" panose="020B0604020202020204" pitchFamily="34" charset="0"/>
                <a:cs typeface="Arial" panose="020B0604020202020204" pitchFamily="34" charset="0"/>
              </a:rPr>
              <a:t>private sector to build systems that improve access and drive </a:t>
            </a:r>
            <a:r>
              <a:rPr lang="en-US" sz="1300" dirty="0" smtClean="0">
                <a:solidFill>
                  <a:srgbClr val="000000"/>
                </a:solidFill>
                <a:latin typeface="Arial" panose="020B0604020202020204" pitchFamily="34" charset="0"/>
                <a:cs typeface="Arial" panose="020B0604020202020204" pitchFamily="34" charset="0"/>
              </a:rPr>
              <a:t>sustainability</a:t>
            </a:r>
            <a:endParaRPr lang="en-US" sz="13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6132480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575" name="think-cell Slide" r:id="rId5" imgW="327" imgH="327" progId="TCLayout.ActiveDocument.1">
                  <p:embed/>
                </p:oleObj>
              </mc:Choice>
              <mc:Fallback>
                <p:oleObj name="think-cell Slide" r:id="rId5" imgW="327" imgH="327"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lIns="0" tIns="0" rIns="0" bIns="0" anchor="b"/>
          <a:lstStyle/>
          <a:p>
            <a:r>
              <a:rPr lang="en-US" kern="0" dirty="0" smtClean="0"/>
              <a:t>State Capability Support </a:t>
            </a:r>
            <a:r>
              <a:rPr lang="en-US" kern="0" dirty="0"/>
              <a:t>and Policy </a:t>
            </a:r>
            <a:r>
              <a:rPr lang="en-US" kern="0" dirty="0" smtClean="0"/>
              <a:t>Engagement</a:t>
            </a:r>
            <a:endParaRPr lang="en-US" kern="0" dirty="0"/>
          </a:p>
        </p:txBody>
      </p:sp>
      <p:sp>
        <p:nvSpPr>
          <p:cNvPr id="4" name="Text Placeholder 3"/>
          <p:cNvSpPr>
            <a:spLocks noGrp="1"/>
          </p:cNvSpPr>
          <p:nvPr>
            <p:ph type="body" idx="1"/>
          </p:nvPr>
        </p:nvSpPr>
        <p:spPr>
          <a:xfrm>
            <a:off x="361691" y="929386"/>
            <a:ext cx="9005453" cy="394137"/>
          </a:xfrm>
        </p:spPr>
        <p:txBody>
          <a:bodyPr/>
          <a:lstStyle/>
          <a:p>
            <a:pPr marL="127000" indent="0">
              <a:buNone/>
            </a:pPr>
            <a:r>
              <a:rPr lang="en-US" sz="1200" b="1" dirty="0"/>
              <a:t>AGRA’s State Capability Support and Policy </a:t>
            </a:r>
            <a:r>
              <a:rPr lang="en-US" sz="1200" b="1" dirty="0" smtClean="0"/>
              <a:t>Engagement approach </a:t>
            </a:r>
            <a:r>
              <a:rPr lang="en-US" sz="1200" b="1" dirty="0"/>
              <a:t>comprises 5 </a:t>
            </a:r>
            <a:r>
              <a:rPr lang="en-US" sz="1200" b="1" dirty="0" smtClean="0"/>
              <a:t>components:</a:t>
            </a:r>
            <a:endParaRPr lang="en-US" sz="1200" b="1" dirty="0"/>
          </a:p>
          <a:p>
            <a:endParaRPr lang="en-US" sz="1200" dirty="0"/>
          </a:p>
        </p:txBody>
      </p:sp>
      <p:grpSp>
        <p:nvGrpSpPr>
          <p:cNvPr id="31" name="Group 30"/>
          <p:cNvGrpSpPr/>
          <p:nvPr/>
        </p:nvGrpSpPr>
        <p:grpSpPr>
          <a:xfrm>
            <a:off x="361691" y="1312232"/>
            <a:ext cx="8782309" cy="4541073"/>
            <a:chOff x="77912" y="871947"/>
            <a:chExt cx="8253149" cy="4541073"/>
          </a:xfrm>
        </p:grpSpPr>
        <p:cxnSp>
          <p:nvCxnSpPr>
            <p:cNvPr id="32" name="Straight Connector 31"/>
            <p:cNvCxnSpPr/>
            <p:nvPr/>
          </p:nvCxnSpPr>
          <p:spPr>
            <a:xfrm>
              <a:off x="2810327" y="1763117"/>
              <a:ext cx="3600450" cy="0"/>
            </a:xfrm>
            <a:prstGeom prst="line">
              <a:avLst/>
            </a:prstGeom>
            <a:noFill/>
            <a:ln w="9525" cap="flat" cmpd="sng" algn="ctr">
              <a:solidFill>
                <a:srgbClr val="808080">
                  <a:lumMod val="75000"/>
                </a:srgbClr>
              </a:solidFill>
              <a:prstDash val="sysDash"/>
            </a:ln>
            <a:effectLst/>
          </p:spPr>
        </p:cxnSp>
        <p:cxnSp>
          <p:nvCxnSpPr>
            <p:cNvPr id="33" name="Straight Connector 32"/>
            <p:cNvCxnSpPr/>
            <p:nvPr/>
          </p:nvCxnSpPr>
          <p:spPr>
            <a:xfrm flipV="1">
              <a:off x="2810327" y="3600380"/>
              <a:ext cx="3600450" cy="0"/>
            </a:xfrm>
            <a:prstGeom prst="line">
              <a:avLst/>
            </a:prstGeom>
            <a:noFill/>
            <a:ln w="9525" cap="flat" cmpd="sng" algn="ctr">
              <a:solidFill>
                <a:srgbClr val="808080">
                  <a:lumMod val="75000"/>
                </a:srgbClr>
              </a:solidFill>
              <a:prstDash val="sysDash"/>
            </a:ln>
            <a:effectLst/>
          </p:spPr>
        </p:cxnSp>
        <p:cxnSp>
          <p:nvCxnSpPr>
            <p:cNvPr id="34" name="Straight Connector 33"/>
            <p:cNvCxnSpPr/>
            <p:nvPr/>
          </p:nvCxnSpPr>
          <p:spPr>
            <a:xfrm flipV="1">
              <a:off x="2810327" y="2710672"/>
              <a:ext cx="3600450" cy="0"/>
            </a:xfrm>
            <a:prstGeom prst="line">
              <a:avLst/>
            </a:prstGeom>
            <a:noFill/>
            <a:ln w="9525" cap="flat" cmpd="sng" algn="ctr">
              <a:solidFill>
                <a:srgbClr val="808080">
                  <a:lumMod val="75000"/>
                </a:srgbClr>
              </a:solidFill>
              <a:prstDash val="sysDash"/>
            </a:ln>
            <a:effectLst/>
          </p:spPr>
        </p:cxnSp>
        <p:cxnSp>
          <p:nvCxnSpPr>
            <p:cNvPr id="35" name="Straight Connector 34"/>
            <p:cNvCxnSpPr/>
            <p:nvPr/>
          </p:nvCxnSpPr>
          <p:spPr>
            <a:xfrm>
              <a:off x="2810328" y="1029901"/>
              <a:ext cx="3603153" cy="0"/>
            </a:xfrm>
            <a:prstGeom prst="line">
              <a:avLst/>
            </a:prstGeom>
            <a:noFill/>
            <a:ln w="9525" cap="flat" cmpd="sng" algn="ctr">
              <a:solidFill>
                <a:srgbClr val="808080">
                  <a:lumMod val="75000"/>
                </a:srgbClr>
              </a:solidFill>
              <a:prstDash val="solid"/>
            </a:ln>
            <a:effectLst/>
          </p:spPr>
        </p:cxnSp>
        <p:sp>
          <p:nvSpPr>
            <p:cNvPr id="36" name="TextBox 35"/>
            <p:cNvSpPr txBox="1"/>
            <p:nvPr/>
          </p:nvSpPr>
          <p:spPr>
            <a:xfrm>
              <a:off x="203578" y="999303"/>
              <a:ext cx="2282828" cy="709389"/>
            </a:xfrm>
            <a:prstGeom prst="rect">
              <a:avLst/>
            </a:prstGeom>
            <a:solidFill>
              <a:srgbClr val="B5D474">
                <a:lumMod val="50000"/>
              </a:srgbClr>
            </a:solidFill>
            <a:ln>
              <a:solidFill>
                <a:srgbClr val="808080">
                  <a:lumMod val="75000"/>
                </a:srgbClr>
              </a:solidFill>
            </a:ln>
          </p:spPr>
          <p:txBody>
            <a:bodyPr wrap="square" rtlCol="0" anchor="ctr">
              <a:noAutofit/>
            </a:bodyPr>
            <a:lstStyle/>
            <a:p>
              <a:pPr marL="0" marR="0" lvl="0" indent="0" defTabSz="685720" eaLnBrk="1" fontAlgn="base" latinLnBrk="0" hangingPunct="1">
                <a:lnSpc>
                  <a:spcPct val="100000"/>
                </a:lnSpc>
                <a:spcBef>
                  <a:spcPct val="0"/>
                </a:spcBef>
                <a:spcAft>
                  <a:spcPts val="562"/>
                </a:spcAft>
                <a:buClrTx/>
                <a:buSzTx/>
                <a:buFontTx/>
                <a:buNone/>
                <a:tabLst/>
                <a:defRPr/>
              </a:pPr>
              <a:r>
                <a:rPr kumimoji="0" lang="en-US" sz="1200" b="1" i="0" u="none" strike="noStrike" kern="1200" cap="none" spc="0" normalizeH="0" baseline="0" noProof="0" dirty="0" smtClean="0">
                  <a:ln>
                    <a:noFill/>
                  </a:ln>
                  <a:solidFill>
                    <a:srgbClr val="FFFFFF"/>
                  </a:solidFill>
                  <a:effectLst/>
                  <a:uLnTx/>
                  <a:uFillTx/>
                  <a:latin typeface="Arial" charset="0"/>
                  <a:ea typeface="+mn-ea"/>
                  <a:cs typeface="+mn-cs"/>
                </a:rPr>
                <a:t>Country Vision,  Strategy, Prioritized Plans and flagships</a:t>
              </a:r>
            </a:p>
          </p:txBody>
        </p:sp>
        <p:sp>
          <p:nvSpPr>
            <p:cNvPr id="37" name="TextBox 36"/>
            <p:cNvSpPr txBox="1"/>
            <p:nvPr/>
          </p:nvSpPr>
          <p:spPr>
            <a:xfrm>
              <a:off x="2803718" y="1096827"/>
              <a:ext cx="5527343" cy="553998"/>
            </a:xfrm>
            <a:prstGeom prst="rect">
              <a:avLst/>
            </a:prstGeom>
            <a:solidFill>
              <a:srgbClr val="71A014">
                <a:lumMod val="20000"/>
                <a:lumOff val="80000"/>
              </a:srgbClr>
            </a:solidFill>
          </p:spPr>
          <p:txBody>
            <a:bodyPr wrap="square" lIns="0" tIns="0" rIns="0" bIns="0" rtlCol="0">
              <a:spAutoFit/>
            </a:bodyPr>
            <a:lstStyle/>
            <a:p>
              <a:pPr marL="94060" marR="0" lvl="0" indent="-94060" algn="just" defTabSz="68572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ysClr val="windowText" lastClr="000000"/>
                  </a:solidFill>
                  <a:effectLst/>
                  <a:uLnTx/>
                  <a:uFillTx/>
                  <a:latin typeface="Arial" charset="0"/>
                  <a:ea typeface="+mn-ea"/>
                  <a:cs typeface="+mn-cs"/>
                </a:rPr>
                <a:t>AGRA works with governments, &amp; others to ensure a country has a sector strategy aligned to its vision that has a prioritized and costed investment plan, and flagship programs to drive the sector growth</a:t>
              </a:r>
            </a:p>
          </p:txBody>
        </p:sp>
        <p:sp>
          <p:nvSpPr>
            <p:cNvPr id="38" name="TextBox 37"/>
            <p:cNvSpPr txBox="1"/>
            <p:nvPr/>
          </p:nvSpPr>
          <p:spPr>
            <a:xfrm>
              <a:off x="203579" y="4544093"/>
              <a:ext cx="2282829" cy="743451"/>
            </a:xfrm>
            <a:prstGeom prst="rect">
              <a:avLst/>
            </a:prstGeom>
            <a:solidFill>
              <a:srgbClr val="B5D474">
                <a:lumMod val="50000"/>
              </a:srgbClr>
            </a:solidFill>
            <a:ln>
              <a:solidFill>
                <a:srgbClr val="808080">
                  <a:lumMod val="75000"/>
                </a:srgbClr>
              </a:solidFill>
            </a:ln>
          </p:spPr>
          <p:txBody>
            <a:bodyPr wrap="square" rtlCol="0" anchor="ctr">
              <a:noAutofit/>
            </a:bodyPr>
            <a:lstStyle/>
            <a:p>
              <a:pPr marL="0" marR="0" lvl="0" indent="0" defTabSz="68572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rgbClr val="FFFFFF"/>
                  </a:solidFill>
                  <a:effectLst/>
                  <a:uLnTx/>
                  <a:uFillTx/>
                  <a:latin typeface="Arial" charset="0"/>
                  <a:ea typeface="+mn-ea"/>
                  <a:cs typeface="+mn-cs"/>
                </a:rPr>
                <a:t>Accountability Mechanisms in place</a:t>
              </a:r>
            </a:p>
          </p:txBody>
        </p:sp>
        <p:sp>
          <p:nvSpPr>
            <p:cNvPr id="39" name="TextBox 38"/>
            <p:cNvSpPr txBox="1"/>
            <p:nvPr/>
          </p:nvSpPr>
          <p:spPr>
            <a:xfrm>
              <a:off x="2803718" y="4561454"/>
              <a:ext cx="5527343" cy="715581"/>
            </a:xfrm>
            <a:prstGeom prst="rect">
              <a:avLst/>
            </a:prstGeom>
            <a:solidFill>
              <a:srgbClr val="71A014">
                <a:lumMod val="20000"/>
                <a:lumOff val="80000"/>
              </a:srgbClr>
            </a:solidFill>
          </p:spPr>
          <p:txBody>
            <a:bodyPr wrap="square" lIns="0" tIns="0" rIns="0" bIns="0" rtlCol="0">
              <a:spAutoFit/>
            </a:bodyPr>
            <a:lstStyle/>
            <a:p>
              <a:pPr marL="123825" marR="0" lvl="0" indent="-123825" algn="just" defTabSz="68572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ysClr val="windowText" lastClr="000000"/>
                  </a:solidFill>
                  <a:effectLst/>
                  <a:uLnTx/>
                  <a:uFillTx/>
                  <a:latin typeface="Arial" charset="0"/>
                  <a:ea typeface="+mn-ea"/>
                  <a:cs typeface="+mn-cs"/>
                </a:rPr>
                <a:t>AGRA works to support governments put in place mechanisms and system to recognize &amp; appreciate performance of their agricultural sector against key commitments agreed upon especially the Malabo Declaration. </a:t>
              </a:r>
            </a:p>
            <a:p>
              <a:pPr marL="94060" marR="0" lvl="0" indent="-94060" algn="just" defTabSz="68572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smtClean="0">
                <a:ln>
                  <a:noFill/>
                </a:ln>
                <a:solidFill>
                  <a:sysClr val="windowText" lastClr="000000"/>
                </a:solidFill>
                <a:effectLst/>
                <a:uLnTx/>
                <a:uFillTx/>
                <a:latin typeface="Arial" charset="0"/>
                <a:ea typeface="+mn-ea"/>
                <a:cs typeface="+mn-cs"/>
              </a:endParaRPr>
            </a:p>
          </p:txBody>
        </p:sp>
        <p:sp>
          <p:nvSpPr>
            <p:cNvPr id="40" name="TextBox 39"/>
            <p:cNvSpPr txBox="1"/>
            <p:nvPr/>
          </p:nvSpPr>
          <p:spPr>
            <a:xfrm>
              <a:off x="203578" y="1885003"/>
              <a:ext cx="2282828" cy="758442"/>
            </a:xfrm>
            <a:prstGeom prst="rect">
              <a:avLst/>
            </a:prstGeom>
            <a:solidFill>
              <a:srgbClr val="B5D474">
                <a:lumMod val="50000"/>
              </a:srgbClr>
            </a:solidFill>
            <a:ln>
              <a:solidFill>
                <a:srgbClr val="808080">
                  <a:lumMod val="75000"/>
                </a:srgbClr>
              </a:solidFill>
            </a:ln>
          </p:spPr>
          <p:txBody>
            <a:bodyPr wrap="square" rtlCol="0" anchor="ctr">
              <a:noAutofit/>
            </a:bodyPr>
            <a:lstStyle/>
            <a:p>
              <a:pPr marL="0" marR="0" lvl="0" indent="0" defTabSz="685720" eaLnBrk="1" fontAlgn="base" latinLnBrk="0" hangingPunct="1">
                <a:lnSpc>
                  <a:spcPct val="100000"/>
                </a:lnSpc>
                <a:spcBef>
                  <a:spcPct val="0"/>
                </a:spcBef>
                <a:spcAft>
                  <a:spcPts val="562"/>
                </a:spcAft>
                <a:buClrTx/>
                <a:buSzTx/>
                <a:buFontTx/>
                <a:buNone/>
                <a:tabLst/>
                <a:defRPr/>
              </a:pPr>
              <a:r>
                <a:rPr kumimoji="0" lang="en-US" sz="1200" b="1" i="0" u="none" strike="noStrike" kern="1200" cap="none" spc="0" normalizeH="0" baseline="0" noProof="0" dirty="0" smtClean="0">
                  <a:ln>
                    <a:noFill/>
                  </a:ln>
                  <a:solidFill>
                    <a:srgbClr val="FFFFFF"/>
                  </a:solidFill>
                  <a:effectLst/>
                  <a:uLnTx/>
                  <a:uFillTx/>
                  <a:latin typeface="Arial" charset="0"/>
                  <a:ea typeface="+mn-ea"/>
                  <a:cs typeface="+mn-cs"/>
                </a:rPr>
                <a:t>Enabling Policy Environment</a:t>
              </a:r>
            </a:p>
          </p:txBody>
        </p:sp>
        <p:sp>
          <p:nvSpPr>
            <p:cNvPr id="41" name="TextBox 40"/>
            <p:cNvSpPr txBox="1"/>
            <p:nvPr/>
          </p:nvSpPr>
          <p:spPr>
            <a:xfrm>
              <a:off x="2825950" y="1995242"/>
              <a:ext cx="5493992" cy="553998"/>
            </a:xfrm>
            <a:prstGeom prst="rect">
              <a:avLst/>
            </a:prstGeom>
            <a:solidFill>
              <a:srgbClr val="71A014">
                <a:lumMod val="20000"/>
                <a:lumOff val="80000"/>
              </a:srgbClr>
            </a:solidFill>
          </p:spPr>
          <p:txBody>
            <a:bodyPr wrap="square" lIns="0" tIns="0" rIns="0" bIns="0" rtlCol="0">
              <a:spAutoFit/>
            </a:bodyPr>
            <a:lstStyle/>
            <a:p>
              <a:pPr marL="94566" marR="0" lvl="0" indent="-94566" algn="just" defTabSz="68572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ysClr val="windowText" lastClr="000000"/>
                  </a:solidFill>
                  <a:effectLst/>
                  <a:uLnTx/>
                  <a:uFillTx/>
                  <a:latin typeface="Arial" charset="0"/>
                  <a:ea typeface="+mn-ea"/>
                  <a:cs typeface="+mn-cs"/>
                </a:rPr>
                <a:t>AGRA supports governments to articulate alternative policy options through analyzing cost &amp; benefits of reform thus better placed to assess and approve policy changes based on reliable and relevant evidence.</a:t>
              </a:r>
            </a:p>
          </p:txBody>
        </p:sp>
        <p:sp>
          <p:nvSpPr>
            <p:cNvPr id="42" name="TextBox 41"/>
            <p:cNvSpPr txBox="1"/>
            <p:nvPr/>
          </p:nvSpPr>
          <p:spPr>
            <a:xfrm>
              <a:off x="203578" y="3685364"/>
              <a:ext cx="2282828" cy="682417"/>
            </a:xfrm>
            <a:prstGeom prst="rect">
              <a:avLst/>
            </a:prstGeom>
            <a:solidFill>
              <a:srgbClr val="B5D474">
                <a:lumMod val="50000"/>
              </a:srgbClr>
            </a:solidFill>
            <a:ln>
              <a:solidFill>
                <a:srgbClr val="808080">
                  <a:lumMod val="75000"/>
                </a:srgbClr>
              </a:solidFill>
            </a:ln>
          </p:spPr>
          <p:txBody>
            <a:bodyPr wrap="square" rtlCol="0" anchor="ctr">
              <a:noAutofit/>
            </a:bodyPr>
            <a:lstStyle/>
            <a:p>
              <a:pPr marL="0" marR="0" lvl="0" indent="0" defTabSz="685720" eaLnBrk="1" fontAlgn="base" latinLnBrk="0" hangingPunct="1">
                <a:lnSpc>
                  <a:spcPct val="100000"/>
                </a:lnSpc>
                <a:spcBef>
                  <a:spcPct val="0"/>
                </a:spcBef>
                <a:spcAft>
                  <a:spcPts val="562"/>
                </a:spcAft>
                <a:buClrTx/>
                <a:buSzTx/>
                <a:buFontTx/>
                <a:buNone/>
                <a:tabLst/>
                <a:defRPr/>
              </a:pPr>
              <a:r>
                <a:rPr kumimoji="0" lang="en-US" sz="1200" b="1" i="0" u="none" strike="noStrike" kern="1200" cap="none" spc="0" normalizeH="0" baseline="0" noProof="0" dirty="0" smtClean="0">
                  <a:ln>
                    <a:noFill/>
                  </a:ln>
                  <a:solidFill>
                    <a:srgbClr val="FFFFFF"/>
                  </a:solidFill>
                  <a:effectLst/>
                  <a:uLnTx/>
                  <a:uFillTx/>
                  <a:latin typeface="Arial" charset="0"/>
                  <a:ea typeface="+mn-ea"/>
                  <a:cs typeface="+mn-cs"/>
                </a:rPr>
                <a:t>Stronger Sector Coordination</a:t>
              </a:r>
              <a:endParaRPr kumimoji="0" lang="en-US" sz="1200" b="1" i="0" u="none" strike="noStrike" kern="1200" cap="none" spc="0" normalizeH="0" baseline="0" noProof="0" dirty="0" smtClean="0">
                <a:ln>
                  <a:noFill/>
                </a:ln>
                <a:solidFill>
                  <a:srgbClr val="FF0000"/>
                </a:solidFill>
                <a:effectLst/>
                <a:uLnTx/>
                <a:uFillTx/>
                <a:latin typeface="Arial" charset="0"/>
                <a:ea typeface="+mn-ea"/>
                <a:cs typeface="+mn-cs"/>
              </a:endParaRPr>
            </a:p>
          </p:txBody>
        </p:sp>
        <p:sp>
          <p:nvSpPr>
            <p:cNvPr id="43" name="TextBox 42"/>
            <p:cNvSpPr txBox="1"/>
            <p:nvPr/>
          </p:nvSpPr>
          <p:spPr>
            <a:xfrm>
              <a:off x="2803718" y="3671147"/>
              <a:ext cx="5527343" cy="738664"/>
            </a:xfrm>
            <a:prstGeom prst="rect">
              <a:avLst/>
            </a:prstGeom>
            <a:solidFill>
              <a:srgbClr val="71A014">
                <a:lumMod val="20000"/>
                <a:lumOff val="80000"/>
              </a:srgbClr>
            </a:solidFill>
          </p:spPr>
          <p:txBody>
            <a:bodyPr wrap="square" lIns="0" tIns="0" rIns="0" bIns="0" rtlCol="0">
              <a:spAutoFit/>
            </a:bodyPr>
            <a:lstStyle/>
            <a:p>
              <a:pPr marL="94566" marR="0" lvl="0" indent="-94566" algn="just" defTabSz="68572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ysClr val="windowText" lastClr="000000"/>
                  </a:solidFill>
                  <a:effectLst/>
                  <a:uLnTx/>
                  <a:uFillTx/>
                  <a:latin typeface="Arial" charset="0"/>
                  <a:ea typeface="+mn-ea"/>
                  <a:cs typeface="+mn-cs"/>
                </a:rPr>
                <a:t>AGRA works with development partners &amp; other sector stakeholders to strengthen intra- and inter-ministerial coordination as well as, strengthen key coordination platforms such as the donor working groups and the agriculture sector working groups</a:t>
              </a:r>
            </a:p>
          </p:txBody>
        </p:sp>
        <p:sp>
          <p:nvSpPr>
            <p:cNvPr id="44" name="TextBox 43"/>
            <p:cNvSpPr txBox="1"/>
            <p:nvPr/>
          </p:nvSpPr>
          <p:spPr>
            <a:xfrm>
              <a:off x="203579" y="2819757"/>
              <a:ext cx="2282829" cy="689294"/>
            </a:xfrm>
            <a:prstGeom prst="rect">
              <a:avLst/>
            </a:prstGeom>
            <a:solidFill>
              <a:srgbClr val="B5D474">
                <a:lumMod val="50000"/>
              </a:srgbClr>
            </a:solidFill>
            <a:ln>
              <a:solidFill>
                <a:srgbClr val="808080">
                  <a:lumMod val="75000"/>
                </a:srgbClr>
              </a:solidFill>
            </a:ln>
          </p:spPr>
          <p:txBody>
            <a:bodyPr wrap="square" rtlCol="0" anchor="ctr">
              <a:noAutofit/>
            </a:bodyPr>
            <a:lstStyle/>
            <a:p>
              <a:pPr marL="0" marR="0" lvl="0" indent="0" defTabSz="685720" eaLnBrk="1" fontAlgn="base" latinLnBrk="0" hangingPunct="1">
                <a:lnSpc>
                  <a:spcPct val="100000"/>
                </a:lnSpc>
                <a:spcBef>
                  <a:spcPct val="0"/>
                </a:spcBef>
                <a:spcAft>
                  <a:spcPts val="562"/>
                </a:spcAft>
                <a:buClrTx/>
                <a:buSzTx/>
                <a:buFontTx/>
                <a:buNone/>
                <a:tabLst/>
                <a:defRPr/>
              </a:pPr>
              <a:r>
                <a:rPr kumimoji="0" lang="en-US" sz="1200" b="1" i="0" u="none" strike="noStrike" kern="1200" cap="none" spc="0" normalizeH="0" baseline="0" noProof="0" dirty="0" smtClean="0">
                  <a:ln>
                    <a:noFill/>
                  </a:ln>
                  <a:solidFill>
                    <a:srgbClr val="FFFFFF"/>
                  </a:solidFill>
                  <a:effectLst/>
                  <a:uLnTx/>
                  <a:uFillTx/>
                  <a:latin typeface="Arial" charset="0"/>
                  <a:ea typeface="+mn-ea"/>
                  <a:cs typeface="+mn-cs"/>
                </a:rPr>
                <a:t>Implementation Capacity &amp; Delivery</a:t>
              </a:r>
              <a:endParaRPr kumimoji="0" lang="en-US" sz="1200" b="1" i="0" u="none" strike="noStrike" kern="1200" cap="none" spc="0" normalizeH="0" baseline="0" noProof="0" dirty="0" smtClean="0">
                <a:ln>
                  <a:noFill/>
                </a:ln>
                <a:solidFill>
                  <a:srgbClr val="FF0000"/>
                </a:solidFill>
                <a:effectLst/>
                <a:uLnTx/>
                <a:uFillTx/>
                <a:latin typeface="Arial" charset="0"/>
                <a:ea typeface="+mn-ea"/>
                <a:cs typeface="+mn-cs"/>
              </a:endParaRPr>
            </a:p>
          </p:txBody>
        </p:sp>
        <p:sp>
          <p:nvSpPr>
            <p:cNvPr id="45" name="TextBox 44"/>
            <p:cNvSpPr txBox="1"/>
            <p:nvPr/>
          </p:nvSpPr>
          <p:spPr>
            <a:xfrm>
              <a:off x="2814833" y="2910369"/>
              <a:ext cx="5505110" cy="553998"/>
            </a:xfrm>
            <a:prstGeom prst="rect">
              <a:avLst/>
            </a:prstGeom>
            <a:solidFill>
              <a:srgbClr val="71A014">
                <a:lumMod val="20000"/>
                <a:lumOff val="80000"/>
              </a:srgbClr>
            </a:solidFill>
          </p:spPr>
          <p:txBody>
            <a:bodyPr wrap="square" lIns="0" tIns="0" rIns="0" bIns="0" rtlCol="0">
              <a:spAutoFit/>
            </a:bodyPr>
            <a:lstStyle/>
            <a:p>
              <a:pPr marL="94566" marR="0" lvl="0" indent="-94566" algn="just" defTabSz="68572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ysClr val="windowText" lastClr="000000"/>
                  </a:solidFill>
                  <a:effectLst/>
                  <a:uLnTx/>
                  <a:uFillTx/>
                  <a:latin typeface="Arial" charset="0"/>
                  <a:ea typeface="+mn-ea"/>
                  <a:cs typeface="+mn-cs"/>
                </a:rPr>
                <a:t>AGRA works with governments to strengthen their capacity and capability to increase service delivery &amp; execute on commitments made in national sector strategies and investment plans. </a:t>
              </a:r>
            </a:p>
          </p:txBody>
        </p:sp>
        <p:cxnSp>
          <p:nvCxnSpPr>
            <p:cNvPr id="46" name="Straight Connector 45"/>
            <p:cNvCxnSpPr/>
            <p:nvPr/>
          </p:nvCxnSpPr>
          <p:spPr>
            <a:xfrm flipV="1">
              <a:off x="2810327" y="4466863"/>
              <a:ext cx="3600450" cy="0"/>
            </a:xfrm>
            <a:prstGeom prst="line">
              <a:avLst/>
            </a:prstGeom>
            <a:noFill/>
            <a:ln w="9525" cap="flat" cmpd="sng" algn="ctr">
              <a:solidFill>
                <a:srgbClr val="808080">
                  <a:lumMod val="75000"/>
                </a:srgbClr>
              </a:solidFill>
              <a:prstDash val="sysDash"/>
            </a:ln>
            <a:effectLst/>
          </p:spPr>
        </p:cxnSp>
        <p:pic>
          <p:nvPicPr>
            <p:cNvPr id="47" name="Picture 46"/>
            <p:cNvPicPr>
              <a:picLocks noChangeAspect="1"/>
            </p:cNvPicPr>
            <p:nvPr/>
          </p:nvPicPr>
          <p:blipFill>
            <a:blip r:embed="rId7"/>
            <a:stretch>
              <a:fillRect/>
            </a:stretch>
          </p:blipFill>
          <p:spPr>
            <a:xfrm>
              <a:off x="105110" y="871947"/>
              <a:ext cx="217566" cy="254710"/>
            </a:xfrm>
            <a:prstGeom prst="rect">
              <a:avLst/>
            </a:prstGeom>
          </p:spPr>
        </p:pic>
        <p:pic>
          <p:nvPicPr>
            <p:cNvPr id="48" name="Picture 47"/>
            <p:cNvPicPr>
              <a:picLocks noChangeAspect="1"/>
            </p:cNvPicPr>
            <p:nvPr/>
          </p:nvPicPr>
          <p:blipFill>
            <a:blip r:embed="rId8"/>
            <a:stretch>
              <a:fillRect/>
            </a:stretch>
          </p:blipFill>
          <p:spPr>
            <a:xfrm>
              <a:off x="77912" y="2710672"/>
              <a:ext cx="271965" cy="281032"/>
            </a:xfrm>
            <a:prstGeom prst="rect">
              <a:avLst/>
            </a:prstGeom>
          </p:spPr>
        </p:pic>
        <p:pic>
          <p:nvPicPr>
            <p:cNvPr id="49" name="Picture 48"/>
            <p:cNvPicPr>
              <a:picLocks noChangeAspect="1"/>
            </p:cNvPicPr>
            <p:nvPr/>
          </p:nvPicPr>
          <p:blipFill>
            <a:blip r:embed="rId9"/>
            <a:stretch>
              <a:fillRect/>
            </a:stretch>
          </p:blipFill>
          <p:spPr>
            <a:xfrm>
              <a:off x="99290" y="3605690"/>
              <a:ext cx="229209" cy="269321"/>
            </a:xfrm>
            <a:prstGeom prst="rect">
              <a:avLst/>
            </a:prstGeom>
          </p:spPr>
        </p:pic>
        <p:pic>
          <p:nvPicPr>
            <p:cNvPr id="50" name="Picture 49"/>
            <p:cNvPicPr>
              <a:picLocks noChangeAspect="1"/>
            </p:cNvPicPr>
            <p:nvPr/>
          </p:nvPicPr>
          <p:blipFill>
            <a:blip r:embed="rId10"/>
            <a:stretch>
              <a:fillRect/>
            </a:stretch>
          </p:blipFill>
          <p:spPr>
            <a:xfrm>
              <a:off x="83213" y="4433563"/>
              <a:ext cx="261360" cy="313631"/>
            </a:xfrm>
            <a:prstGeom prst="rect">
              <a:avLst/>
            </a:prstGeom>
          </p:spPr>
        </p:pic>
        <p:cxnSp>
          <p:nvCxnSpPr>
            <p:cNvPr id="51" name="Straight Connector 50"/>
            <p:cNvCxnSpPr/>
            <p:nvPr/>
          </p:nvCxnSpPr>
          <p:spPr>
            <a:xfrm flipV="1">
              <a:off x="2810327" y="5413020"/>
              <a:ext cx="3600450" cy="0"/>
            </a:xfrm>
            <a:prstGeom prst="line">
              <a:avLst/>
            </a:prstGeom>
            <a:noFill/>
            <a:ln w="9525" cap="flat" cmpd="sng" algn="ctr">
              <a:solidFill>
                <a:srgbClr val="808080">
                  <a:lumMod val="75000"/>
                </a:srgbClr>
              </a:solidFill>
              <a:prstDash val="sysDash"/>
            </a:ln>
            <a:effectLst/>
          </p:spPr>
        </p:cxnSp>
        <p:sp>
          <p:nvSpPr>
            <p:cNvPr id="52" name="Oval 51"/>
            <p:cNvSpPr/>
            <p:nvPr/>
          </p:nvSpPr>
          <p:spPr>
            <a:xfrm>
              <a:off x="126902" y="1802078"/>
              <a:ext cx="173982" cy="193165"/>
            </a:xfrm>
            <a:prstGeom prst="ellipse">
              <a:avLst/>
            </a:prstGeom>
            <a:solidFill>
              <a:srgbClr val="0070C0"/>
            </a:solidFill>
            <a:ln w="19050">
              <a:solidFill>
                <a:srgbClr val="FFFFFF"/>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685720" eaLnBrk="1" fontAlgn="base" latinLnBrk="0" hangingPunct="1">
                <a:lnSpc>
                  <a:spcPct val="100000"/>
                </a:lnSpc>
                <a:spcBef>
                  <a:spcPct val="0"/>
                </a:spcBef>
                <a:spcAft>
                  <a:spcPct val="0"/>
                </a:spcAft>
                <a:buClrTx/>
                <a:buSzTx/>
                <a:buFontTx/>
                <a:buNone/>
                <a:tabLst/>
                <a:defRPr/>
              </a:pPr>
              <a:r>
                <a:rPr kumimoji="0" lang="en-US" sz="825" b="0" i="0" u="none" strike="noStrike" kern="1200" cap="none" spc="0" normalizeH="0" baseline="0" noProof="0" dirty="0" smtClean="0">
                  <a:ln>
                    <a:noFill/>
                  </a:ln>
                  <a:solidFill>
                    <a:srgbClr val="FFFFFF"/>
                  </a:solidFill>
                  <a:effectLst/>
                  <a:uLnTx/>
                  <a:uFillTx/>
                  <a:latin typeface="Arial"/>
                  <a:ea typeface="+mn-ea"/>
                  <a:cs typeface="+mn-cs"/>
                </a:rPr>
                <a:t>2</a:t>
              </a:r>
            </a:p>
          </p:txBody>
        </p:sp>
      </p:grpSp>
    </p:spTree>
    <p:extLst>
      <p:ext uri="{BB962C8B-B14F-4D97-AF65-F5344CB8AC3E}">
        <p14:creationId xmlns:p14="http://schemas.microsoft.com/office/powerpoint/2010/main" val="29389579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174" name="Google Shape;174;p27"/>
          <p:cNvPicPr preferRelativeResize="0"/>
          <p:nvPr/>
        </p:nvPicPr>
        <p:blipFill rotWithShape="1">
          <a:blip r:embed="rId3">
            <a:alphaModFix/>
          </a:blip>
          <a:srcRect/>
          <a:stretch/>
        </p:blipFill>
        <p:spPr>
          <a:xfrm>
            <a:off x="1588" y="1588"/>
            <a:ext cx="1588" cy="1588"/>
          </a:xfrm>
          <a:prstGeom prst="rect">
            <a:avLst/>
          </a:prstGeom>
          <a:noFill/>
          <a:ln>
            <a:noFill/>
          </a:ln>
        </p:spPr>
      </p:pic>
      <p:sp>
        <p:nvSpPr>
          <p:cNvPr id="175" name="Google Shape;175;p27"/>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2200"/>
              <a:buFont typeface="Arial"/>
              <a:buNone/>
            </a:pPr>
            <a:r>
              <a:rPr lang="en-US" sz="2200" b="1" i="0" u="none" strike="noStrike" cap="none" dirty="0">
                <a:solidFill>
                  <a:schemeClr val="dk1"/>
                </a:solidFill>
                <a:latin typeface="Arial"/>
                <a:ea typeface="Arial"/>
                <a:cs typeface="Arial"/>
                <a:sym typeface="Arial"/>
              </a:rPr>
              <a:t>ACRONYMS</a:t>
            </a:r>
            <a:endParaRPr sz="2200" b="1" i="0" u="none" strike="noStrike" cap="none" dirty="0">
              <a:solidFill>
                <a:schemeClr val="dk1"/>
              </a:solidFill>
              <a:latin typeface="Arial"/>
              <a:ea typeface="Arial"/>
              <a:cs typeface="Arial"/>
              <a:sym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val="689997354"/>
              </p:ext>
            </p:extLst>
          </p:nvPr>
        </p:nvGraphicFramePr>
        <p:xfrm>
          <a:off x="450740" y="1066801"/>
          <a:ext cx="5784959" cy="4859478"/>
        </p:xfrm>
        <a:graphic>
          <a:graphicData uri="http://schemas.openxmlformats.org/drawingml/2006/table">
            <a:tbl>
              <a:tblPr>
                <a:tableStyleId>{318E6629-4EBB-4D30-9DD3-6ACEAB857B28}</a:tableStyleId>
              </a:tblPr>
              <a:tblGrid>
                <a:gridCol w="1552022">
                  <a:extLst>
                    <a:ext uri="{9D8B030D-6E8A-4147-A177-3AD203B41FA5}">
                      <a16:colId xmlns:a16="http://schemas.microsoft.com/office/drawing/2014/main" xmlns="" val="2054435117"/>
                    </a:ext>
                  </a:extLst>
                </a:gridCol>
                <a:gridCol w="4232937">
                  <a:extLst>
                    <a:ext uri="{9D8B030D-6E8A-4147-A177-3AD203B41FA5}">
                      <a16:colId xmlns:a16="http://schemas.microsoft.com/office/drawing/2014/main" xmlns="" val="660340521"/>
                    </a:ext>
                  </a:extLst>
                </a:gridCol>
              </a:tblGrid>
              <a:tr h="209289">
                <a:tc>
                  <a:txBody>
                    <a:bodyPr/>
                    <a:lstStyle/>
                    <a:p>
                      <a:pPr algn="l" fontAlgn="b">
                        <a:lnSpc>
                          <a:spcPts val="1600"/>
                        </a:lnSpc>
                        <a:spcBef>
                          <a:spcPts val="600"/>
                        </a:spcBef>
                      </a:pPr>
                      <a:r>
                        <a:rPr lang="en-US" sz="1200" u="none" strike="noStrike" dirty="0">
                          <a:effectLst/>
                          <a:latin typeface="+mn-lt"/>
                        </a:rPr>
                        <a:t>AGRF</a:t>
                      </a:r>
                      <a:endParaRPr lang="en-US" sz="1200" b="0" i="0" u="none" strike="noStrike" dirty="0">
                        <a:solidFill>
                          <a:srgbClr val="000000"/>
                        </a:solidFill>
                        <a:effectLst/>
                        <a:latin typeface="+mn-lt"/>
                      </a:endParaRPr>
                    </a:p>
                  </a:txBody>
                  <a:tcPr marL="2352" marR="2352" marT="2352" marB="0" anchor="b"/>
                </a:tc>
                <a:tc>
                  <a:txBody>
                    <a:bodyPr/>
                    <a:lstStyle/>
                    <a:p>
                      <a:pPr algn="l" fontAlgn="b">
                        <a:lnSpc>
                          <a:spcPts val="1600"/>
                        </a:lnSpc>
                        <a:spcBef>
                          <a:spcPts val="600"/>
                        </a:spcBef>
                      </a:pPr>
                      <a:r>
                        <a:rPr lang="en-US" sz="1200" u="none" strike="noStrike" dirty="0" smtClean="0">
                          <a:effectLst/>
                          <a:latin typeface="+mn-lt"/>
                        </a:rPr>
                        <a:t>The African Green Revolution Forum </a:t>
                      </a:r>
                      <a:endParaRPr lang="en-US" sz="1200" b="0" i="0" u="none" strike="noStrike" dirty="0">
                        <a:solidFill>
                          <a:srgbClr val="000000"/>
                        </a:solidFill>
                        <a:effectLst/>
                        <a:latin typeface="+mn-lt"/>
                      </a:endParaRPr>
                    </a:p>
                  </a:txBody>
                  <a:tcPr marL="2352" marR="2352" marT="2352" marB="0" anchor="b"/>
                </a:tc>
                <a:extLst>
                  <a:ext uri="{0D108BD9-81ED-4DB2-BD59-A6C34878D82A}">
                    <a16:rowId xmlns:a16="http://schemas.microsoft.com/office/drawing/2014/main" xmlns="" val="1435015167"/>
                  </a:ext>
                </a:extLst>
              </a:tr>
              <a:tr h="374840">
                <a:tc>
                  <a:txBody>
                    <a:bodyPr/>
                    <a:lstStyle/>
                    <a:p>
                      <a:pPr algn="l" fontAlgn="b">
                        <a:lnSpc>
                          <a:spcPts val="1600"/>
                        </a:lnSpc>
                        <a:spcBef>
                          <a:spcPts val="600"/>
                        </a:spcBef>
                      </a:pPr>
                      <a:r>
                        <a:rPr lang="en-US" sz="1200" u="none" strike="noStrike" dirty="0">
                          <a:effectLst/>
                          <a:latin typeface="+mn-lt"/>
                        </a:rPr>
                        <a:t>ASDP</a:t>
                      </a:r>
                      <a:endParaRPr lang="en-US" sz="1200" b="0" i="0" u="none" strike="noStrike" dirty="0">
                        <a:solidFill>
                          <a:srgbClr val="000000"/>
                        </a:solidFill>
                        <a:effectLst/>
                        <a:latin typeface="+mn-lt"/>
                      </a:endParaRPr>
                    </a:p>
                  </a:txBody>
                  <a:tcPr marL="2352" marR="2352" marT="2352" marB="0" anchor="b"/>
                </a:tc>
                <a:tc>
                  <a:txBody>
                    <a:bodyPr/>
                    <a:lstStyle/>
                    <a:p>
                      <a:pPr algn="l" rtl="0" fontAlgn="ctr">
                        <a:lnSpc>
                          <a:spcPts val="1600"/>
                        </a:lnSpc>
                        <a:spcBef>
                          <a:spcPts val="600"/>
                        </a:spcBef>
                      </a:pPr>
                      <a:r>
                        <a:rPr lang="en-US" sz="1200" u="none" strike="noStrike" dirty="0" smtClean="0">
                          <a:effectLst/>
                          <a:latin typeface="+mn-lt"/>
                        </a:rPr>
                        <a:t>Agricultural Strategy And Agricultural Development Plan </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1737472500"/>
                  </a:ext>
                </a:extLst>
              </a:tr>
              <a:tr h="167902">
                <a:tc>
                  <a:txBody>
                    <a:bodyPr/>
                    <a:lstStyle/>
                    <a:p>
                      <a:pPr algn="l" rtl="0" fontAlgn="ctr">
                        <a:lnSpc>
                          <a:spcPts val="1600"/>
                        </a:lnSpc>
                        <a:spcBef>
                          <a:spcPts val="600"/>
                        </a:spcBef>
                      </a:pPr>
                      <a:r>
                        <a:rPr lang="en-US" sz="1200" u="none" strike="noStrike" dirty="0">
                          <a:effectLst/>
                          <a:latin typeface="+mn-lt"/>
                        </a:rPr>
                        <a:t>BDS</a:t>
                      </a:r>
                      <a:endParaRPr lang="en-US" sz="1200" b="0" i="0" u="none" strike="noStrike" dirty="0">
                        <a:solidFill>
                          <a:srgbClr val="000000"/>
                        </a:solidFill>
                        <a:effectLst/>
                        <a:latin typeface="+mn-lt"/>
                      </a:endParaRPr>
                    </a:p>
                  </a:txBody>
                  <a:tcPr marL="2352" marR="2352" marT="2352" marB="0" anchor="ctr"/>
                </a:tc>
                <a:tc>
                  <a:txBody>
                    <a:bodyPr/>
                    <a:lstStyle/>
                    <a:p>
                      <a:pPr algn="l" rtl="0" fontAlgn="ctr">
                        <a:lnSpc>
                          <a:spcPts val="1600"/>
                        </a:lnSpc>
                        <a:spcBef>
                          <a:spcPts val="600"/>
                        </a:spcBef>
                      </a:pPr>
                      <a:r>
                        <a:rPr lang="en-US" sz="1200" u="none" strike="noStrike" dirty="0" smtClean="0">
                          <a:effectLst/>
                          <a:latin typeface="+mn-lt"/>
                        </a:rPr>
                        <a:t>Business Development Services</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3293855929"/>
                  </a:ext>
                </a:extLst>
              </a:tr>
              <a:tr h="374840">
                <a:tc>
                  <a:txBody>
                    <a:bodyPr/>
                    <a:lstStyle/>
                    <a:p>
                      <a:pPr algn="l" fontAlgn="b">
                        <a:lnSpc>
                          <a:spcPts val="1600"/>
                        </a:lnSpc>
                        <a:spcBef>
                          <a:spcPts val="600"/>
                        </a:spcBef>
                      </a:pPr>
                      <a:r>
                        <a:rPr lang="en-US" sz="1200" u="none" strike="noStrike" dirty="0">
                          <a:effectLst/>
                          <a:latin typeface="+mn-lt"/>
                        </a:rPr>
                        <a:t>CAADP</a:t>
                      </a:r>
                      <a:endParaRPr lang="en-US" sz="1200" b="0" i="0" u="none" strike="noStrike" dirty="0">
                        <a:solidFill>
                          <a:srgbClr val="000000"/>
                        </a:solidFill>
                        <a:effectLst/>
                        <a:latin typeface="+mn-lt"/>
                      </a:endParaRPr>
                    </a:p>
                  </a:txBody>
                  <a:tcPr marL="2352" marR="2352" marT="2352" marB="0" anchor="b"/>
                </a:tc>
                <a:tc>
                  <a:txBody>
                    <a:bodyPr/>
                    <a:lstStyle/>
                    <a:p>
                      <a:pPr algn="l" rtl="0" fontAlgn="ctr">
                        <a:lnSpc>
                          <a:spcPts val="1600"/>
                        </a:lnSpc>
                        <a:spcBef>
                          <a:spcPts val="600"/>
                        </a:spcBef>
                      </a:pPr>
                      <a:r>
                        <a:rPr lang="en-US" sz="1200" u="none" strike="noStrike" dirty="0" smtClean="0">
                          <a:effectLst/>
                          <a:latin typeface="+mn-lt"/>
                        </a:rPr>
                        <a:t>Comprehensive Africa Agriculture Development Program</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1535064895"/>
                  </a:ext>
                </a:extLst>
              </a:tr>
              <a:tr h="209289">
                <a:tc>
                  <a:txBody>
                    <a:bodyPr/>
                    <a:lstStyle/>
                    <a:p>
                      <a:pPr algn="l" rtl="0" fontAlgn="ctr">
                        <a:lnSpc>
                          <a:spcPts val="1600"/>
                        </a:lnSpc>
                        <a:spcBef>
                          <a:spcPts val="600"/>
                        </a:spcBef>
                      </a:pPr>
                      <a:r>
                        <a:rPr lang="en-US" sz="1200" u="none" strike="noStrike" dirty="0">
                          <a:effectLst/>
                          <a:latin typeface="+mn-lt"/>
                        </a:rPr>
                        <a:t>CARI</a:t>
                      </a:r>
                      <a:endParaRPr lang="en-US" sz="1200" b="0" i="0" u="none" strike="noStrike" dirty="0">
                        <a:solidFill>
                          <a:srgbClr val="000000"/>
                        </a:solidFill>
                        <a:effectLst/>
                        <a:latin typeface="+mn-lt"/>
                      </a:endParaRPr>
                    </a:p>
                  </a:txBody>
                  <a:tcPr marL="2352" marR="2352" marT="2352" marB="0" anchor="ctr"/>
                </a:tc>
                <a:tc>
                  <a:txBody>
                    <a:bodyPr/>
                    <a:lstStyle/>
                    <a:p>
                      <a:pPr algn="l" rtl="0" fontAlgn="ctr">
                        <a:lnSpc>
                          <a:spcPts val="1600"/>
                        </a:lnSpc>
                        <a:spcBef>
                          <a:spcPts val="600"/>
                        </a:spcBef>
                      </a:pPr>
                      <a:r>
                        <a:rPr lang="en-US" sz="1200" u="none" strike="noStrike" dirty="0" smtClean="0">
                          <a:effectLst/>
                          <a:latin typeface="+mn-lt"/>
                        </a:rPr>
                        <a:t>Competitive African Rice Initiative</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258746407"/>
                  </a:ext>
                </a:extLst>
              </a:tr>
              <a:tr h="85127">
                <a:tc>
                  <a:txBody>
                    <a:bodyPr/>
                    <a:lstStyle/>
                    <a:p>
                      <a:pPr algn="l" fontAlgn="b">
                        <a:lnSpc>
                          <a:spcPts val="1600"/>
                        </a:lnSpc>
                        <a:spcBef>
                          <a:spcPts val="600"/>
                        </a:spcBef>
                      </a:pPr>
                      <a:r>
                        <a:rPr lang="en-US" sz="1200" u="none" strike="noStrike" dirty="0">
                          <a:effectLst/>
                          <a:latin typeface="+mn-lt"/>
                        </a:rPr>
                        <a:t>EA</a:t>
                      </a:r>
                      <a:endParaRPr lang="en-US" sz="1200" b="0" i="0" u="none" strike="noStrike" dirty="0">
                        <a:solidFill>
                          <a:srgbClr val="000000"/>
                        </a:solidFill>
                        <a:effectLst/>
                        <a:latin typeface="+mn-lt"/>
                      </a:endParaRPr>
                    </a:p>
                  </a:txBody>
                  <a:tcPr marL="2352" marR="2352" marT="2352" marB="0" anchor="b"/>
                </a:tc>
                <a:tc>
                  <a:txBody>
                    <a:bodyPr/>
                    <a:lstStyle/>
                    <a:p>
                      <a:pPr algn="l" rtl="0" fontAlgn="ctr">
                        <a:lnSpc>
                          <a:spcPts val="1600"/>
                        </a:lnSpc>
                        <a:spcBef>
                          <a:spcPts val="600"/>
                        </a:spcBef>
                      </a:pPr>
                      <a:r>
                        <a:rPr lang="en-US" sz="1200" u="none" strike="noStrike" dirty="0" smtClean="0">
                          <a:effectLst/>
                          <a:latin typeface="+mn-lt"/>
                        </a:rPr>
                        <a:t>East African  </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25720813"/>
                  </a:ext>
                </a:extLst>
              </a:tr>
              <a:tr h="167902">
                <a:tc>
                  <a:txBody>
                    <a:bodyPr/>
                    <a:lstStyle/>
                    <a:p>
                      <a:pPr algn="l" rtl="0" fontAlgn="ctr">
                        <a:lnSpc>
                          <a:spcPts val="1600"/>
                        </a:lnSpc>
                        <a:spcBef>
                          <a:spcPts val="600"/>
                        </a:spcBef>
                      </a:pPr>
                      <a:r>
                        <a:rPr lang="en-US" sz="1200" u="none" strike="noStrike" dirty="0">
                          <a:effectLst/>
                          <a:latin typeface="+mn-lt"/>
                        </a:rPr>
                        <a:t>EAC</a:t>
                      </a:r>
                      <a:endParaRPr lang="en-US" sz="1200" b="0" i="0" u="none" strike="noStrike" dirty="0">
                        <a:solidFill>
                          <a:srgbClr val="000000"/>
                        </a:solidFill>
                        <a:effectLst/>
                        <a:latin typeface="+mn-lt"/>
                      </a:endParaRPr>
                    </a:p>
                  </a:txBody>
                  <a:tcPr marL="2352" marR="2352" marT="2352" marB="0" anchor="ctr"/>
                </a:tc>
                <a:tc>
                  <a:txBody>
                    <a:bodyPr/>
                    <a:lstStyle/>
                    <a:p>
                      <a:pPr algn="l" rtl="0" fontAlgn="ctr">
                        <a:lnSpc>
                          <a:spcPts val="1600"/>
                        </a:lnSpc>
                        <a:spcBef>
                          <a:spcPts val="600"/>
                        </a:spcBef>
                      </a:pPr>
                      <a:r>
                        <a:rPr lang="en-US" sz="1200" u="none" strike="noStrike" dirty="0" smtClean="0">
                          <a:effectLst/>
                          <a:latin typeface="+mn-lt"/>
                        </a:rPr>
                        <a:t>East African Community </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2815332321"/>
                  </a:ext>
                </a:extLst>
              </a:tr>
              <a:tr h="250677">
                <a:tc>
                  <a:txBody>
                    <a:bodyPr/>
                    <a:lstStyle/>
                    <a:p>
                      <a:pPr algn="l" rtl="0" fontAlgn="ctr">
                        <a:lnSpc>
                          <a:spcPts val="1600"/>
                        </a:lnSpc>
                        <a:spcBef>
                          <a:spcPts val="600"/>
                        </a:spcBef>
                      </a:pPr>
                      <a:r>
                        <a:rPr lang="en-US" sz="1200" u="none" strike="noStrike" dirty="0">
                          <a:effectLst/>
                          <a:latin typeface="+mn-lt"/>
                        </a:rPr>
                        <a:t>EFSETT</a:t>
                      </a:r>
                      <a:endParaRPr lang="en-US" sz="1200" b="0" i="0" u="none" strike="noStrike" dirty="0">
                        <a:solidFill>
                          <a:srgbClr val="000000"/>
                        </a:solidFill>
                        <a:effectLst/>
                        <a:latin typeface="+mn-lt"/>
                      </a:endParaRPr>
                    </a:p>
                  </a:txBody>
                  <a:tcPr marL="2352" marR="2352" marT="2352" marB="0" anchor="ctr"/>
                </a:tc>
                <a:tc>
                  <a:txBody>
                    <a:bodyPr/>
                    <a:lstStyle/>
                    <a:p>
                      <a:pPr algn="l" rtl="0" fontAlgn="ctr">
                        <a:lnSpc>
                          <a:spcPts val="1600"/>
                        </a:lnSpc>
                        <a:spcBef>
                          <a:spcPts val="600"/>
                        </a:spcBef>
                      </a:pPr>
                      <a:r>
                        <a:rPr lang="en-US" sz="1200" u="none" strike="noStrike" dirty="0" smtClean="0">
                          <a:effectLst/>
                          <a:latin typeface="+mn-lt"/>
                        </a:rPr>
                        <a:t>Food Security And Export Trade For Tanzania</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2815006871"/>
                  </a:ext>
                </a:extLst>
              </a:tr>
              <a:tr h="126514">
                <a:tc>
                  <a:txBody>
                    <a:bodyPr/>
                    <a:lstStyle/>
                    <a:p>
                      <a:pPr algn="l" fontAlgn="b">
                        <a:lnSpc>
                          <a:spcPts val="1600"/>
                        </a:lnSpc>
                        <a:spcBef>
                          <a:spcPts val="600"/>
                        </a:spcBef>
                      </a:pPr>
                      <a:r>
                        <a:rPr lang="en-US" sz="1200" u="none" strike="noStrike" dirty="0">
                          <a:effectLst/>
                          <a:latin typeface="+mn-lt"/>
                        </a:rPr>
                        <a:t>GDP</a:t>
                      </a:r>
                      <a:endParaRPr lang="en-US" sz="1200" b="0" i="0" u="none" strike="noStrike" dirty="0">
                        <a:solidFill>
                          <a:srgbClr val="000000"/>
                        </a:solidFill>
                        <a:effectLst/>
                        <a:latin typeface="+mn-lt"/>
                      </a:endParaRPr>
                    </a:p>
                  </a:txBody>
                  <a:tcPr marL="2352" marR="2352" marT="2352" marB="0" anchor="b"/>
                </a:tc>
                <a:tc>
                  <a:txBody>
                    <a:bodyPr/>
                    <a:lstStyle/>
                    <a:p>
                      <a:pPr algn="l" rtl="0" fontAlgn="ctr">
                        <a:lnSpc>
                          <a:spcPts val="1600"/>
                        </a:lnSpc>
                        <a:spcBef>
                          <a:spcPts val="600"/>
                        </a:spcBef>
                      </a:pPr>
                      <a:r>
                        <a:rPr lang="en-US" sz="1200" u="none" strike="noStrike" dirty="0" smtClean="0">
                          <a:effectLst/>
                          <a:latin typeface="+mn-lt"/>
                        </a:rPr>
                        <a:t>Gross Domestic Product (</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1279972456"/>
                  </a:ext>
                </a:extLst>
              </a:tr>
              <a:tr h="250677">
                <a:tc>
                  <a:txBody>
                    <a:bodyPr/>
                    <a:lstStyle/>
                    <a:p>
                      <a:pPr algn="l" fontAlgn="b">
                        <a:lnSpc>
                          <a:spcPts val="1600"/>
                        </a:lnSpc>
                        <a:spcBef>
                          <a:spcPts val="600"/>
                        </a:spcBef>
                      </a:pPr>
                      <a:r>
                        <a:rPr lang="en-US" sz="1200" u="none" strike="noStrike" dirty="0">
                          <a:effectLst/>
                          <a:latin typeface="+mn-lt"/>
                        </a:rPr>
                        <a:t>ICT</a:t>
                      </a:r>
                      <a:endParaRPr lang="en-US" sz="1200" b="0" i="0" u="none" strike="noStrike" dirty="0">
                        <a:solidFill>
                          <a:srgbClr val="000000"/>
                        </a:solidFill>
                        <a:effectLst/>
                        <a:latin typeface="+mn-lt"/>
                      </a:endParaRPr>
                    </a:p>
                  </a:txBody>
                  <a:tcPr marL="2352" marR="2352" marT="2352" marB="0" anchor="b"/>
                </a:tc>
                <a:tc>
                  <a:txBody>
                    <a:bodyPr/>
                    <a:lstStyle/>
                    <a:p>
                      <a:pPr algn="l" fontAlgn="b">
                        <a:lnSpc>
                          <a:spcPts val="1600"/>
                        </a:lnSpc>
                        <a:spcBef>
                          <a:spcPts val="600"/>
                        </a:spcBef>
                      </a:pPr>
                      <a:r>
                        <a:rPr lang="en-US" sz="1200" u="none" strike="noStrike" dirty="0" smtClean="0">
                          <a:effectLst/>
                          <a:latin typeface="+mn-lt"/>
                        </a:rPr>
                        <a:t>Information And Communications Technology</a:t>
                      </a:r>
                      <a:endParaRPr lang="en-US" sz="1200" b="0" i="0" u="none" strike="noStrike" dirty="0">
                        <a:solidFill>
                          <a:srgbClr val="000000"/>
                        </a:solidFill>
                        <a:effectLst/>
                        <a:latin typeface="+mn-lt"/>
                      </a:endParaRPr>
                    </a:p>
                  </a:txBody>
                  <a:tcPr marL="2352" marR="2352" marT="2352" marB="0" anchor="b"/>
                </a:tc>
                <a:extLst>
                  <a:ext uri="{0D108BD9-81ED-4DB2-BD59-A6C34878D82A}">
                    <a16:rowId xmlns:a16="http://schemas.microsoft.com/office/drawing/2014/main" xmlns="" val="4073953414"/>
                  </a:ext>
                </a:extLst>
              </a:tr>
              <a:tr h="250677">
                <a:tc>
                  <a:txBody>
                    <a:bodyPr/>
                    <a:lstStyle/>
                    <a:p>
                      <a:pPr algn="l" rtl="0" fontAlgn="ctr">
                        <a:lnSpc>
                          <a:spcPts val="1600"/>
                        </a:lnSpc>
                        <a:spcBef>
                          <a:spcPts val="600"/>
                        </a:spcBef>
                      </a:pPr>
                      <a:r>
                        <a:rPr lang="en-US" sz="1200" u="none" strike="noStrike" dirty="0">
                          <a:effectLst/>
                          <a:latin typeface="+mn-lt"/>
                        </a:rPr>
                        <a:t>LGA</a:t>
                      </a:r>
                      <a:endParaRPr lang="en-US" sz="1200" b="0" i="0" u="none" strike="noStrike" dirty="0">
                        <a:solidFill>
                          <a:srgbClr val="000000"/>
                        </a:solidFill>
                        <a:effectLst/>
                        <a:latin typeface="+mn-lt"/>
                      </a:endParaRPr>
                    </a:p>
                  </a:txBody>
                  <a:tcPr marL="2352" marR="2352" marT="2352" marB="0" anchor="ctr"/>
                </a:tc>
                <a:tc>
                  <a:txBody>
                    <a:bodyPr/>
                    <a:lstStyle/>
                    <a:p>
                      <a:pPr algn="l" rtl="0" fontAlgn="ctr">
                        <a:lnSpc>
                          <a:spcPts val="1600"/>
                        </a:lnSpc>
                        <a:spcBef>
                          <a:spcPts val="600"/>
                        </a:spcBef>
                      </a:pPr>
                      <a:r>
                        <a:rPr lang="en-US" sz="1200" u="none" strike="noStrike" dirty="0" smtClean="0">
                          <a:effectLst/>
                          <a:latin typeface="+mn-lt"/>
                        </a:rPr>
                        <a:t>Local Government Authority (Lga) Level </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2437850326"/>
                  </a:ext>
                </a:extLst>
              </a:tr>
              <a:tr h="292065">
                <a:tc>
                  <a:txBody>
                    <a:bodyPr/>
                    <a:lstStyle/>
                    <a:p>
                      <a:pPr algn="l" fontAlgn="b">
                        <a:lnSpc>
                          <a:spcPts val="1600"/>
                        </a:lnSpc>
                        <a:spcBef>
                          <a:spcPts val="600"/>
                        </a:spcBef>
                      </a:pPr>
                      <a:r>
                        <a:rPr lang="en-US" sz="1200" u="none" strike="noStrike" dirty="0">
                          <a:effectLst/>
                          <a:latin typeface="+mn-lt"/>
                        </a:rPr>
                        <a:t>MSME</a:t>
                      </a:r>
                      <a:endParaRPr lang="en-US" sz="1200" b="0" i="0" u="none" strike="noStrike" dirty="0">
                        <a:solidFill>
                          <a:srgbClr val="000000"/>
                        </a:solidFill>
                        <a:effectLst/>
                        <a:latin typeface="+mn-lt"/>
                      </a:endParaRPr>
                    </a:p>
                  </a:txBody>
                  <a:tcPr marL="2352" marR="2352" marT="2352" marB="0" anchor="b"/>
                </a:tc>
                <a:tc>
                  <a:txBody>
                    <a:bodyPr/>
                    <a:lstStyle/>
                    <a:p>
                      <a:pPr algn="l" fontAlgn="b">
                        <a:lnSpc>
                          <a:spcPts val="1600"/>
                        </a:lnSpc>
                        <a:spcBef>
                          <a:spcPts val="600"/>
                        </a:spcBef>
                      </a:pPr>
                      <a:r>
                        <a:rPr lang="en-US" sz="1200" u="none" strike="noStrike" dirty="0" smtClean="0">
                          <a:effectLst/>
                          <a:latin typeface="+mn-lt"/>
                        </a:rPr>
                        <a:t>Micro, Small And Medium Sized Enterprises </a:t>
                      </a:r>
                      <a:endParaRPr lang="en-US" sz="1200" b="0" i="0" u="none" strike="noStrike" dirty="0">
                        <a:solidFill>
                          <a:srgbClr val="000000"/>
                        </a:solidFill>
                        <a:effectLst/>
                        <a:latin typeface="+mn-lt"/>
                      </a:endParaRPr>
                    </a:p>
                  </a:txBody>
                  <a:tcPr marL="2352" marR="2352" marT="2352" marB="0" anchor="b"/>
                </a:tc>
                <a:extLst>
                  <a:ext uri="{0D108BD9-81ED-4DB2-BD59-A6C34878D82A}">
                    <a16:rowId xmlns:a16="http://schemas.microsoft.com/office/drawing/2014/main" xmlns="" val="2245638732"/>
                  </a:ext>
                </a:extLst>
              </a:tr>
              <a:tr h="167902">
                <a:tc>
                  <a:txBody>
                    <a:bodyPr/>
                    <a:lstStyle/>
                    <a:p>
                      <a:pPr algn="l" fontAlgn="b">
                        <a:lnSpc>
                          <a:spcPts val="1600"/>
                        </a:lnSpc>
                        <a:spcBef>
                          <a:spcPts val="600"/>
                        </a:spcBef>
                      </a:pPr>
                      <a:r>
                        <a:rPr lang="en-US" sz="1200" u="none" strike="noStrike" dirty="0">
                          <a:effectLst/>
                          <a:latin typeface="+mn-lt"/>
                        </a:rPr>
                        <a:t>PPP</a:t>
                      </a:r>
                      <a:endParaRPr lang="en-US" sz="1200" b="0" i="0" u="none" strike="noStrike" dirty="0">
                        <a:solidFill>
                          <a:srgbClr val="000000"/>
                        </a:solidFill>
                        <a:effectLst/>
                        <a:latin typeface="+mn-lt"/>
                      </a:endParaRPr>
                    </a:p>
                  </a:txBody>
                  <a:tcPr marL="2352" marR="2352" marT="2352" marB="0" anchor="b"/>
                </a:tc>
                <a:tc>
                  <a:txBody>
                    <a:bodyPr/>
                    <a:lstStyle/>
                    <a:p>
                      <a:pPr algn="l" rtl="0" fontAlgn="ctr">
                        <a:lnSpc>
                          <a:spcPts val="1600"/>
                        </a:lnSpc>
                        <a:spcBef>
                          <a:spcPts val="600"/>
                        </a:spcBef>
                      </a:pPr>
                      <a:r>
                        <a:rPr lang="en-US" sz="1200" u="none" strike="noStrike" dirty="0" smtClean="0">
                          <a:effectLst/>
                          <a:latin typeface="+mn-lt"/>
                        </a:rPr>
                        <a:t>Public Private Partnership</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4215274802"/>
                  </a:ext>
                </a:extLst>
              </a:tr>
              <a:tr h="250677">
                <a:tc>
                  <a:txBody>
                    <a:bodyPr/>
                    <a:lstStyle/>
                    <a:p>
                      <a:pPr algn="l" rtl="0" fontAlgn="ctr">
                        <a:lnSpc>
                          <a:spcPts val="1600"/>
                        </a:lnSpc>
                        <a:spcBef>
                          <a:spcPts val="600"/>
                        </a:spcBef>
                      </a:pPr>
                      <a:r>
                        <a:rPr lang="en-US" sz="1200" u="none" strike="noStrike" dirty="0">
                          <a:effectLst/>
                          <a:latin typeface="+mn-lt"/>
                        </a:rPr>
                        <a:t>SADC</a:t>
                      </a:r>
                      <a:endParaRPr lang="en-US" sz="1200" b="0" i="0" u="none" strike="noStrike" dirty="0">
                        <a:solidFill>
                          <a:srgbClr val="000000"/>
                        </a:solidFill>
                        <a:effectLst/>
                        <a:latin typeface="+mn-lt"/>
                      </a:endParaRPr>
                    </a:p>
                  </a:txBody>
                  <a:tcPr marL="2352" marR="2352" marT="2352" marB="0" anchor="ctr"/>
                </a:tc>
                <a:tc>
                  <a:txBody>
                    <a:bodyPr/>
                    <a:lstStyle/>
                    <a:p>
                      <a:pPr algn="l" rtl="0" fontAlgn="ctr">
                        <a:lnSpc>
                          <a:spcPts val="1600"/>
                        </a:lnSpc>
                        <a:spcBef>
                          <a:spcPts val="600"/>
                        </a:spcBef>
                      </a:pPr>
                      <a:r>
                        <a:rPr lang="en-US" sz="1200" u="none" strike="noStrike" dirty="0" smtClean="0">
                          <a:effectLst/>
                          <a:latin typeface="+mn-lt"/>
                        </a:rPr>
                        <a:t>Southern African Development Community</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2788961751"/>
                  </a:ext>
                </a:extLst>
              </a:tr>
              <a:tr h="250677">
                <a:tc>
                  <a:txBody>
                    <a:bodyPr/>
                    <a:lstStyle/>
                    <a:p>
                      <a:pPr algn="l" fontAlgn="b">
                        <a:lnSpc>
                          <a:spcPts val="1600"/>
                        </a:lnSpc>
                        <a:spcBef>
                          <a:spcPts val="600"/>
                        </a:spcBef>
                      </a:pPr>
                      <a:r>
                        <a:rPr lang="en-US" sz="1200" u="none" strike="noStrike" dirty="0">
                          <a:effectLst/>
                          <a:latin typeface="+mn-lt"/>
                        </a:rPr>
                        <a:t>SIDP </a:t>
                      </a:r>
                      <a:endParaRPr lang="en-US" sz="1200" b="0" i="0" u="none" strike="noStrike" dirty="0">
                        <a:solidFill>
                          <a:srgbClr val="000000"/>
                        </a:solidFill>
                        <a:effectLst/>
                        <a:latin typeface="+mn-lt"/>
                      </a:endParaRPr>
                    </a:p>
                  </a:txBody>
                  <a:tcPr marL="2352" marR="2352" marT="2352" marB="0" anchor="b"/>
                </a:tc>
                <a:tc>
                  <a:txBody>
                    <a:bodyPr/>
                    <a:lstStyle/>
                    <a:p>
                      <a:pPr algn="l" fontAlgn="b">
                        <a:lnSpc>
                          <a:spcPts val="1600"/>
                        </a:lnSpc>
                        <a:spcBef>
                          <a:spcPts val="600"/>
                        </a:spcBef>
                      </a:pPr>
                      <a:r>
                        <a:rPr lang="en-US" sz="1200" u="none" strike="noStrike" dirty="0" smtClean="0">
                          <a:effectLst/>
                          <a:latin typeface="+mn-lt"/>
                        </a:rPr>
                        <a:t>The Sustainable Industrial Development Policy </a:t>
                      </a:r>
                      <a:endParaRPr lang="en-US" sz="1200" b="0" i="0" u="none" strike="noStrike" dirty="0">
                        <a:solidFill>
                          <a:srgbClr val="000000"/>
                        </a:solidFill>
                        <a:effectLst/>
                        <a:latin typeface="+mn-lt"/>
                      </a:endParaRPr>
                    </a:p>
                  </a:txBody>
                  <a:tcPr marL="2352" marR="2352" marT="2352" marB="0" anchor="b"/>
                </a:tc>
                <a:extLst>
                  <a:ext uri="{0D108BD9-81ED-4DB2-BD59-A6C34878D82A}">
                    <a16:rowId xmlns:a16="http://schemas.microsoft.com/office/drawing/2014/main" xmlns="" val="1769377012"/>
                  </a:ext>
                </a:extLst>
              </a:tr>
              <a:tr h="250677">
                <a:tc>
                  <a:txBody>
                    <a:bodyPr/>
                    <a:lstStyle/>
                    <a:p>
                      <a:pPr algn="l" rtl="0" fontAlgn="ctr">
                        <a:lnSpc>
                          <a:spcPts val="1600"/>
                        </a:lnSpc>
                        <a:spcBef>
                          <a:spcPts val="600"/>
                        </a:spcBef>
                      </a:pPr>
                      <a:r>
                        <a:rPr lang="en-US" sz="1200" u="none" strike="noStrike" dirty="0">
                          <a:effectLst/>
                          <a:latin typeface="+mn-lt"/>
                        </a:rPr>
                        <a:t>SME</a:t>
                      </a:r>
                      <a:endParaRPr lang="en-US" sz="1200" b="0" i="0" u="none" strike="noStrike" dirty="0">
                        <a:solidFill>
                          <a:srgbClr val="000000"/>
                        </a:solidFill>
                        <a:effectLst/>
                        <a:latin typeface="+mn-lt"/>
                      </a:endParaRPr>
                    </a:p>
                  </a:txBody>
                  <a:tcPr marL="2352" marR="2352" marT="2352" marB="0" anchor="ctr"/>
                </a:tc>
                <a:tc>
                  <a:txBody>
                    <a:bodyPr/>
                    <a:lstStyle/>
                    <a:p>
                      <a:pPr algn="l" rtl="0" fontAlgn="ctr">
                        <a:lnSpc>
                          <a:spcPts val="1600"/>
                        </a:lnSpc>
                        <a:spcBef>
                          <a:spcPts val="600"/>
                        </a:spcBef>
                      </a:pPr>
                      <a:r>
                        <a:rPr lang="en-US" sz="1200" u="none" strike="noStrike" dirty="0" smtClean="0">
                          <a:effectLst/>
                          <a:latin typeface="+mn-lt"/>
                        </a:rPr>
                        <a:t>Small And Medium-sized Enterprises </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87236702"/>
                  </a:ext>
                </a:extLst>
              </a:tr>
              <a:tr h="126514">
                <a:tc>
                  <a:txBody>
                    <a:bodyPr/>
                    <a:lstStyle/>
                    <a:p>
                      <a:pPr algn="l" fontAlgn="b">
                        <a:lnSpc>
                          <a:spcPts val="1600"/>
                        </a:lnSpc>
                        <a:spcBef>
                          <a:spcPts val="600"/>
                        </a:spcBef>
                      </a:pPr>
                      <a:r>
                        <a:rPr lang="en-US" sz="1200" u="none" strike="noStrike" dirty="0">
                          <a:effectLst/>
                          <a:latin typeface="+mn-lt"/>
                        </a:rPr>
                        <a:t>SSA</a:t>
                      </a:r>
                      <a:endParaRPr lang="en-US" sz="1200" b="0" i="0" u="none" strike="noStrike" dirty="0">
                        <a:solidFill>
                          <a:srgbClr val="000000"/>
                        </a:solidFill>
                        <a:effectLst/>
                        <a:latin typeface="+mn-lt"/>
                      </a:endParaRPr>
                    </a:p>
                  </a:txBody>
                  <a:tcPr marL="2352" marR="2352" marT="2352" marB="0" anchor="b"/>
                </a:tc>
                <a:tc>
                  <a:txBody>
                    <a:bodyPr/>
                    <a:lstStyle/>
                    <a:p>
                      <a:pPr algn="l" fontAlgn="b">
                        <a:lnSpc>
                          <a:spcPts val="1600"/>
                        </a:lnSpc>
                        <a:spcBef>
                          <a:spcPts val="600"/>
                        </a:spcBef>
                      </a:pPr>
                      <a:r>
                        <a:rPr lang="en-US" sz="1200" u="none" strike="noStrike" dirty="0" smtClean="0">
                          <a:effectLst/>
                          <a:latin typeface="+mn-lt"/>
                        </a:rPr>
                        <a:t>Sub-Saharan Africa </a:t>
                      </a:r>
                      <a:endParaRPr lang="en-US" sz="1200" b="0" i="0" u="none" strike="noStrike" dirty="0">
                        <a:solidFill>
                          <a:srgbClr val="000000"/>
                        </a:solidFill>
                        <a:effectLst/>
                        <a:latin typeface="+mn-lt"/>
                      </a:endParaRPr>
                    </a:p>
                  </a:txBody>
                  <a:tcPr marL="2352" marR="2352" marT="2352" marB="0" anchor="b"/>
                </a:tc>
                <a:extLst>
                  <a:ext uri="{0D108BD9-81ED-4DB2-BD59-A6C34878D82A}">
                    <a16:rowId xmlns:a16="http://schemas.microsoft.com/office/drawing/2014/main" xmlns="" val="160997862"/>
                  </a:ext>
                </a:extLst>
              </a:tr>
              <a:tr h="167902">
                <a:tc>
                  <a:txBody>
                    <a:bodyPr/>
                    <a:lstStyle/>
                    <a:p>
                      <a:pPr algn="l" fontAlgn="b">
                        <a:lnSpc>
                          <a:spcPts val="1600"/>
                        </a:lnSpc>
                        <a:spcBef>
                          <a:spcPts val="600"/>
                        </a:spcBef>
                      </a:pPr>
                      <a:r>
                        <a:rPr lang="en-US" sz="1200" u="none" strike="noStrike" dirty="0">
                          <a:effectLst/>
                          <a:latin typeface="+mn-lt"/>
                        </a:rPr>
                        <a:t>TA</a:t>
                      </a:r>
                      <a:endParaRPr lang="en-US" sz="1200" b="0" i="0" u="none" strike="noStrike" dirty="0">
                        <a:solidFill>
                          <a:srgbClr val="000000"/>
                        </a:solidFill>
                        <a:effectLst/>
                        <a:latin typeface="+mn-lt"/>
                      </a:endParaRPr>
                    </a:p>
                  </a:txBody>
                  <a:tcPr marL="2352" marR="2352" marT="2352" marB="0" anchor="b"/>
                </a:tc>
                <a:tc>
                  <a:txBody>
                    <a:bodyPr/>
                    <a:lstStyle/>
                    <a:p>
                      <a:pPr algn="l" rtl="0" fontAlgn="ctr">
                        <a:lnSpc>
                          <a:spcPts val="1600"/>
                        </a:lnSpc>
                        <a:spcBef>
                          <a:spcPts val="600"/>
                        </a:spcBef>
                      </a:pPr>
                      <a:r>
                        <a:rPr lang="en-US" sz="1200" u="none" strike="noStrike" dirty="0" smtClean="0">
                          <a:effectLst/>
                          <a:latin typeface="+mn-lt"/>
                        </a:rPr>
                        <a:t>Technical Assistance</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571851461"/>
                  </a:ext>
                </a:extLst>
              </a:tr>
              <a:tr h="250677">
                <a:tc>
                  <a:txBody>
                    <a:bodyPr/>
                    <a:lstStyle/>
                    <a:p>
                      <a:pPr algn="l" fontAlgn="b">
                        <a:lnSpc>
                          <a:spcPts val="1600"/>
                        </a:lnSpc>
                        <a:spcBef>
                          <a:spcPts val="600"/>
                        </a:spcBef>
                      </a:pPr>
                      <a:r>
                        <a:rPr lang="en-US" sz="1200" u="none" strike="noStrike" dirty="0">
                          <a:effectLst/>
                          <a:latin typeface="+mn-lt"/>
                        </a:rPr>
                        <a:t>TPSI</a:t>
                      </a:r>
                      <a:endParaRPr lang="en-US" sz="1200" b="0" i="0" u="none" strike="noStrike" dirty="0">
                        <a:solidFill>
                          <a:srgbClr val="000000"/>
                        </a:solidFill>
                        <a:effectLst/>
                        <a:latin typeface="+mn-lt"/>
                      </a:endParaRPr>
                    </a:p>
                  </a:txBody>
                  <a:tcPr marL="2352" marR="2352" marT="2352" marB="0" anchor="b"/>
                </a:tc>
                <a:tc>
                  <a:txBody>
                    <a:bodyPr/>
                    <a:lstStyle/>
                    <a:p>
                      <a:pPr algn="l" fontAlgn="b">
                        <a:lnSpc>
                          <a:spcPts val="1600"/>
                        </a:lnSpc>
                        <a:spcBef>
                          <a:spcPts val="600"/>
                        </a:spcBef>
                      </a:pPr>
                      <a:r>
                        <a:rPr lang="en-US" sz="1200" u="none" strike="noStrike" dirty="0" smtClean="0">
                          <a:effectLst/>
                          <a:latin typeface="+mn-lt"/>
                        </a:rPr>
                        <a:t>Tanzania Potato Seed Systems Improvement</a:t>
                      </a:r>
                      <a:endParaRPr lang="en-US" sz="1200" b="0" i="0" u="none" strike="noStrike" dirty="0">
                        <a:solidFill>
                          <a:srgbClr val="000000"/>
                        </a:solidFill>
                        <a:effectLst/>
                        <a:latin typeface="+mn-lt"/>
                      </a:endParaRPr>
                    </a:p>
                  </a:txBody>
                  <a:tcPr marL="2352" marR="2352" marT="2352" marB="0" anchor="b"/>
                </a:tc>
                <a:extLst>
                  <a:ext uri="{0D108BD9-81ED-4DB2-BD59-A6C34878D82A}">
                    <a16:rowId xmlns:a16="http://schemas.microsoft.com/office/drawing/2014/main" xmlns="" val="2916060013"/>
                  </a:ext>
                </a:extLst>
              </a:tr>
              <a:tr h="126514">
                <a:tc>
                  <a:txBody>
                    <a:bodyPr/>
                    <a:lstStyle/>
                    <a:p>
                      <a:pPr algn="l" fontAlgn="b">
                        <a:lnSpc>
                          <a:spcPts val="1600"/>
                        </a:lnSpc>
                        <a:spcBef>
                          <a:spcPts val="600"/>
                        </a:spcBef>
                      </a:pPr>
                      <a:r>
                        <a:rPr lang="en-US" sz="1200" u="none" strike="noStrike" dirty="0">
                          <a:effectLst/>
                          <a:latin typeface="+mn-lt"/>
                        </a:rPr>
                        <a:t>VBA</a:t>
                      </a:r>
                      <a:endParaRPr lang="en-US" sz="1200" b="0" i="0" u="none" strike="noStrike" dirty="0">
                        <a:solidFill>
                          <a:srgbClr val="000000"/>
                        </a:solidFill>
                        <a:effectLst/>
                        <a:latin typeface="+mn-lt"/>
                      </a:endParaRPr>
                    </a:p>
                  </a:txBody>
                  <a:tcPr marL="2352" marR="2352" marT="2352" marB="0" anchor="b"/>
                </a:tc>
                <a:tc>
                  <a:txBody>
                    <a:bodyPr/>
                    <a:lstStyle/>
                    <a:p>
                      <a:pPr algn="l" rtl="0" fontAlgn="ctr">
                        <a:lnSpc>
                          <a:spcPts val="1600"/>
                        </a:lnSpc>
                        <a:spcBef>
                          <a:spcPts val="600"/>
                        </a:spcBef>
                      </a:pPr>
                      <a:r>
                        <a:rPr lang="en-US" sz="1200" u="none" strike="noStrike" dirty="0" smtClean="0">
                          <a:effectLst/>
                          <a:latin typeface="+mn-lt"/>
                        </a:rPr>
                        <a:t>Village Based Advisor</a:t>
                      </a:r>
                      <a:endParaRPr lang="en-US" sz="1200" b="0" i="0" u="none" strike="noStrike" dirty="0">
                        <a:solidFill>
                          <a:srgbClr val="000000"/>
                        </a:solidFill>
                        <a:effectLst/>
                        <a:latin typeface="+mn-lt"/>
                      </a:endParaRPr>
                    </a:p>
                  </a:txBody>
                  <a:tcPr marL="2352" marR="2352" marT="2352" marB="0" anchor="ctr"/>
                </a:tc>
                <a:extLst>
                  <a:ext uri="{0D108BD9-81ED-4DB2-BD59-A6C34878D82A}">
                    <a16:rowId xmlns:a16="http://schemas.microsoft.com/office/drawing/2014/main" xmlns="" val="2796102255"/>
                  </a:ext>
                </a:extLst>
              </a:tr>
            </a:tbl>
          </a:graphicData>
        </a:graphic>
      </p:graphicFrame>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52420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912"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err="1" smtClean="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tangle 9"/>
          <p:cNvSpPr>
            <a:spLocks/>
          </p:cNvSpPr>
          <p:nvPr/>
        </p:nvSpPr>
        <p:spPr>
          <a:xfrm>
            <a:off x="7427541" y="859922"/>
            <a:ext cx="1974582" cy="3948155"/>
          </a:xfrm>
          <a:prstGeom prst="rect">
            <a:avLst/>
          </a:prstGeom>
          <a:solidFill>
            <a:schemeClr val="accent1">
              <a:lumMod val="20000"/>
              <a:lumOff val="8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pPr>
            <a:endParaRPr lang="en-US" sz="1600" kern="1200" dirty="0">
              <a:solidFill>
                <a:srgbClr val="000000"/>
              </a:solidFill>
              <a:latin typeface="Arial"/>
            </a:endParaRPr>
          </a:p>
        </p:txBody>
      </p:sp>
      <p:sp>
        <p:nvSpPr>
          <p:cNvPr id="22" name="TextBox 21"/>
          <p:cNvSpPr txBox="1">
            <a:spLocks/>
          </p:cNvSpPr>
          <p:nvPr/>
        </p:nvSpPr>
        <p:spPr>
          <a:xfrm>
            <a:off x="7465589" y="1215916"/>
            <a:ext cx="1832528" cy="361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fontAlgn="base">
              <a:spcBef>
                <a:spcPct val="50000"/>
              </a:spcBef>
              <a:spcAft>
                <a:spcPct val="0"/>
              </a:spcAft>
              <a:buClr>
                <a:srgbClr val="000000"/>
              </a:buClr>
            </a:pPr>
            <a:r>
              <a:rPr lang="en-US" sz="1000" kern="1200" dirty="0">
                <a:latin typeface="Arial"/>
                <a:ea typeface="+mn-ea"/>
                <a:cs typeface="+mn-cs"/>
              </a:rPr>
              <a:t>High farmer density and sophisticated value chains, but </a:t>
            </a:r>
            <a:r>
              <a:rPr lang="en-US" sz="1000" b="1" kern="1200" dirty="0">
                <a:solidFill>
                  <a:srgbClr val="01632F"/>
                </a:solidFill>
                <a:latin typeface="Arial"/>
                <a:ea typeface="+mn-ea"/>
                <a:cs typeface="+mn-cs"/>
              </a:rPr>
              <a:t>lack of feedback loops and information transparency</a:t>
            </a:r>
            <a:r>
              <a:rPr lang="en-US" sz="1000" kern="1200" dirty="0">
                <a:latin typeface="Arial"/>
                <a:ea typeface="+mn-ea"/>
                <a:cs typeface="+mn-cs"/>
              </a:rPr>
              <a:t> across VCAs</a:t>
            </a:r>
          </a:p>
          <a:p>
            <a:pPr lvl="1" fontAlgn="base">
              <a:spcBef>
                <a:spcPct val="50000"/>
              </a:spcBef>
              <a:spcAft>
                <a:spcPct val="0"/>
              </a:spcAft>
              <a:buClr>
                <a:srgbClr val="000000"/>
              </a:buClr>
            </a:pPr>
            <a:r>
              <a:rPr lang="en-US" sz="1000" b="1" kern="1200" dirty="0">
                <a:solidFill>
                  <a:srgbClr val="01632F"/>
                </a:solidFill>
                <a:latin typeface="Arial"/>
                <a:ea typeface="+mn-ea"/>
                <a:cs typeface="+mn-cs"/>
              </a:rPr>
              <a:t>Efficient access to Tanzania’s largest grain export market </a:t>
            </a:r>
            <a:r>
              <a:rPr lang="en-US" sz="1000" kern="1200" dirty="0">
                <a:latin typeface="Arial"/>
                <a:ea typeface="+mn-ea"/>
                <a:cs typeface="+mn-cs"/>
              </a:rPr>
              <a:t>(Kenya)</a:t>
            </a:r>
          </a:p>
          <a:p>
            <a:pPr lvl="1" fontAlgn="base">
              <a:spcBef>
                <a:spcPct val="50000"/>
              </a:spcBef>
              <a:spcAft>
                <a:spcPct val="0"/>
              </a:spcAft>
              <a:buClr>
                <a:srgbClr val="000000"/>
              </a:buClr>
            </a:pPr>
            <a:r>
              <a:rPr lang="en-US" sz="1000" kern="1200" dirty="0">
                <a:latin typeface="Arial"/>
                <a:ea typeface="+mn-ea"/>
                <a:cs typeface="+mn-cs"/>
              </a:rPr>
              <a:t>~</a:t>
            </a:r>
            <a:r>
              <a:rPr lang="en-US" sz="1000" b="1" kern="1200" dirty="0">
                <a:solidFill>
                  <a:srgbClr val="01632F"/>
                </a:solidFill>
                <a:latin typeface="Arial"/>
                <a:ea typeface="+mn-ea"/>
                <a:cs typeface="+mn-cs"/>
              </a:rPr>
              <a:t>491K MT</a:t>
            </a:r>
            <a:r>
              <a:rPr lang="en-US" sz="1000" kern="1200" dirty="0">
                <a:latin typeface="Arial"/>
                <a:ea typeface="+mn-ea"/>
                <a:cs typeface="+mn-cs"/>
              </a:rPr>
              <a:t> marketable surplus in maize</a:t>
            </a:r>
          </a:p>
          <a:p>
            <a:pPr lvl="1" fontAlgn="base">
              <a:spcBef>
                <a:spcPct val="50000"/>
              </a:spcBef>
              <a:spcAft>
                <a:spcPct val="0"/>
              </a:spcAft>
              <a:buClr>
                <a:srgbClr val="000000"/>
              </a:buClr>
            </a:pPr>
            <a:r>
              <a:rPr lang="en-US" sz="1000" kern="1200" dirty="0">
                <a:latin typeface="Arial"/>
                <a:ea typeface="+mn-ea"/>
                <a:cs typeface="+mn-cs"/>
              </a:rPr>
              <a:t>Highly affected by periodic grain export bans/quota</a:t>
            </a:r>
          </a:p>
          <a:p>
            <a:pPr lvl="1" fontAlgn="base">
              <a:spcBef>
                <a:spcPct val="50000"/>
              </a:spcBef>
              <a:spcAft>
                <a:spcPct val="0"/>
              </a:spcAft>
              <a:buClr>
                <a:srgbClr val="000000"/>
              </a:buClr>
            </a:pPr>
            <a:r>
              <a:rPr lang="en-US" sz="1000" kern="1200" dirty="0">
                <a:latin typeface="Arial"/>
                <a:ea typeface="+mn-ea"/>
                <a:cs typeface="+mn-cs"/>
              </a:rPr>
              <a:t>Includes 3 regions: Arusha, Manyara and Kilimanjaro </a:t>
            </a:r>
          </a:p>
          <a:p>
            <a:pPr lvl="1" fontAlgn="base">
              <a:spcBef>
                <a:spcPct val="50000"/>
              </a:spcBef>
              <a:spcAft>
                <a:spcPct val="0"/>
              </a:spcAft>
              <a:buClr>
                <a:srgbClr val="000000"/>
              </a:buClr>
              <a:defRPr/>
            </a:pPr>
            <a:r>
              <a:rPr lang="en-US" sz="1000" b="1" kern="1200" dirty="0">
                <a:latin typeface="Arial"/>
                <a:ea typeface="+mn-ea"/>
                <a:cs typeface="+mn-cs"/>
              </a:rPr>
              <a:t>Target direct farmer reach: 510,084</a:t>
            </a:r>
            <a:endParaRPr lang="en-US" sz="1000" kern="1200" dirty="0">
              <a:latin typeface="Arial"/>
              <a:ea typeface="+mn-ea"/>
              <a:cs typeface="+mn-cs"/>
            </a:endParaRPr>
          </a:p>
          <a:p>
            <a:pPr lvl="1" fontAlgn="base">
              <a:spcBef>
                <a:spcPct val="50000"/>
              </a:spcBef>
              <a:spcAft>
                <a:spcPct val="0"/>
              </a:spcAft>
              <a:buClr>
                <a:srgbClr val="000000"/>
              </a:buClr>
            </a:pPr>
            <a:r>
              <a:rPr lang="en-US" sz="1000" b="1" kern="1200" dirty="0">
                <a:solidFill>
                  <a:srgbClr val="01632F"/>
                </a:solidFill>
                <a:latin typeface="Arial"/>
                <a:ea typeface="+mn-ea"/>
                <a:cs typeface="+mn-cs"/>
              </a:rPr>
              <a:t>Crops of focus: </a:t>
            </a:r>
            <a:r>
              <a:rPr lang="en-US" sz="1000" kern="1200" dirty="0">
                <a:latin typeface="Arial"/>
                <a:ea typeface="+mn-ea"/>
                <a:cs typeface="+mn-cs"/>
              </a:rPr>
              <a:t>maize &amp; beans</a:t>
            </a:r>
          </a:p>
          <a:p>
            <a:pPr lvl="1" fontAlgn="base">
              <a:spcBef>
                <a:spcPct val="50000"/>
              </a:spcBef>
              <a:spcAft>
                <a:spcPct val="0"/>
              </a:spcAft>
              <a:buClr>
                <a:srgbClr val="000000"/>
              </a:buClr>
            </a:pPr>
            <a:r>
              <a:rPr lang="en-US" sz="1000" kern="1200" dirty="0">
                <a:latin typeface="Arial"/>
                <a:ea typeface="+mn-ea"/>
                <a:cs typeface="+mn-cs"/>
              </a:rPr>
              <a:t>Secondary crops: Pulses (pigeon pea)</a:t>
            </a:r>
          </a:p>
        </p:txBody>
      </p:sp>
      <p:grpSp>
        <p:nvGrpSpPr>
          <p:cNvPr id="23" name="Group 22"/>
          <p:cNvGrpSpPr>
            <a:grpSpLocks/>
          </p:cNvGrpSpPr>
          <p:nvPr/>
        </p:nvGrpSpPr>
        <p:grpSpPr>
          <a:xfrm>
            <a:off x="7534124" y="921501"/>
            <a:ext cx="1791040" cy="200255"/>
            <a:chOff x="228600" y="1718507"/>
            <a:chExt cx="7050266" cy="193146"/>
          </a:xfrm>
        </p:grpSpPr>
        <p:sp>
          <p:nvSpPr>
            <p:cNvPr id="24" name="TextBox 23"/>
            <p:cNvSpPr txBox="1"/>
            <p:nvPr>
              <p:custDataLst>
                <p:tags r:id="rId8"/>
              </p:custDataLst>
            </p:nvPr>
          </p:nvSpPr>
          <p:spPr>
            <a:xfrm>
              <a:off x="228600" y="1718507"/>
              <a:ext cx="705026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000" b="1" kern="1200" dirty="0">
                  <a:solidFill>
                    <a:srgbClr val="01632F"/>
                  </a:solidFill>
                  <a:latin typeface="Arial"/>
                  <a:ea typeface="+mn-ea"/>
                  <a:cs typeface="+mn-cs"/>
                </a:rPr>
                <a:t>Northern Highlands</a:t>
              </a:r>
            </a:p>
          </p:txBody>
        </p:sp>
        <p:cxnSp>
          <p:nvCxnSpPr>
            <p:cNvPr id="25" name="Straight Connector 24"/>
            <p:cNvCxnSpPr/>
            <p:nvPr>
              <p:custDataLst>
                <p:tags r:id="rId9"/>
              </p:custDataLst>
            </p:nvPr>
          </p:nvCxnSpPr>
          <p:spPr>
            <a:xfrm>
              <a:off x="228600" y="1911653"/>
              <a:ext cx="705026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7" name="Rectangle 6"/>
          <p:cNvSpPr>
            <a:spLocks/>
          </p:cNvSpPr>
          <p:nvPr/>
        </p:nvSpPr>
        <p:spPr>
          <a:xfrm>
            <a:off x="568264" y="878142"/>
            <a:ext cx="2336888" cy="3208001"/>
          </a:xfrm>
          <a:prstGeom prst="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pPr>
            <a:endParaRPr lang="en-US" sz="1600" kern="1200" dirty="0">
              <a:solidFill>
                <a:srgbClr val="000000"/>
              </a:solidFill>
              <a:latin typeface="Arial"/>
            </a:endParaRPr>
          </a:p>
        </p:txBody>
      </p:sp>
      <p:sp>
        <p:nvSpPr>
          <p:cNvPr id="9" name="Rectangle 8"/>
          <p:cNvSpPr>
            <a:spLocks/>
          </p:cNvSpPr>
          <p:nvPr/>
        </p:nvSpPr>
        <p:spPr>
          <a:xfrm>
            <a:off x="484436" y="4240593"/>
            <a:ext cx="3773072" cy="2474446"/>
          </a:xfrm>
          <a:prstGeom prst="rect">
            <a:avLst/>
          </a:prstGeom>
          <a:solidFill>
            <a:schemeClr val="accent1">
              <a:lumMod val="20000"/>
              <a:lumOff val="8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buClrTx/>
            </a:pPr>
            <a:endParaRPr lang="en-US" sz="1600" kern="1200" dirty="0">
              <a:solidFill>
                <a:srgbClr val="000000">
                  <a:lumMod val="95000"/>
                  <a:lumOff val="5000"/>
                </a:srgbClr>
              </a:solidFill>
              <a:latin typeface="Arial"/>
            </a:endParaRPr>
          </a:p>
        </p:txBody>
      </p:sp>
      <p:grpSp>
        <p:nvGrpSpPr>
          <p:cNvPr id="11" name="Group 10"/>
          <p:cNvGrpSpPr>
            <a:grpSpLocks/>
          </p:cNvGrpSpPr>
          <p:nvPr/>
        </p:nvGrpSpPr>
        <p:grpSpPr>
          <a:xfrm>
            <a:off x="687640" y="931744"/>
            <a:ext cx="2189577" cy="3096493"/>
            <a:chOff x="304038" y="845180"/>
            <a:chExt cx="2189577" cy="3423791"/>
          </a:xfrm>
        </p:grpSpPr>
        <p:sp>
          <p:nvSpPr>
            <p:cNvPr id="12" name="TextBox 11"/>
            <p:cNvSpPr txBox="1">
              <a:spLocks/>
            </p:cNvSpPr>
            <p:nvPr/>
          </p:nvSpPr>
          <p:spPr>
            <a:xfrm>
              <a:off x="304038" y="1121119"/>
              <a:ext cx="2189577" cy="31478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fontAlgn="base">
                <a:spcBef>
                  <a:spcPct val="50000"/>
                </a:spcBef>
                <a:spcAft>
                  <a:spcPct val="0"/>
                </a:spcAft>
                <a:buClr>
                  <a:srgbClr val="000000"/>
                </a:buClr>
              </a:pPr>
              <a:r>
                <a:rPr lang="en-US" sz="1000" kern="1200" dirty="0">
                  <a:latin typeface="Arial"/>
                  <a:ea typeface="+mn-ea"/>
                  <a:cs typeface="+mn-cs"/>
                </a:rPr>
                <a:t>Underdeveloped due to poor infrastructure and a lack of deliberate Ag development</a:t>
              </a:r>
            </a:p>
            <a:p>
              <a:pPr lvl="1" fontAlgn="base">
                <a:spcBef>
                  <a:spcPct val="50000"/>
                </a:spcBef>
                <a:spcAft>
                  <a:spcPct val="0"/>
                </a:spcAft>
                <a:buClr>
                  <a:srgbClr val="000000"/>
                </a:buClr>
              </a:pPr>
              <a:r>
                <a:rPr lang="en-US" sz="1000" kern="1200" dirty="0">
                  <a:latin typeface="Arial"/>
                  <a:ea typeface="+mn-ea"/>
                  <a:cs typeface="+mn-cs"/>
                </a:rPr>
                <a:t>Needs the basic building blocks for a transformation: seed supply, fertilizer supply, distribution network, and marketing system</a:t>
              </a:r>
            </a:p>
            <a:p>
              <a:pPr lvl="1" fontAlgn="base">
                <a:spcBef>
                  <a:spcPct val="50000"/>
                </a:spcBef>
                <a:spcAft>
                  <a:spcPct val="0"/>
                </a:spcAft>
                <a:buClr>
                  <a:srgbClr val="000000"/>
                </a:buClr>
              </a:pPr>
              <a:r>
                <a:rPr lang="en-US" sz="1000" b="1" kern="1200" dirty="0">
                  <a:solidFill>
                    <a:srgbClr val="01632F"/>
                  </a:solidFill>
                  <a:latin typeface="Arial"/>
                  <a:ea typeface="+mn-ea"/>
                  <a:cs typeface="+mn-cs"/>
                </a:rPr>
                <a:t>Access to export markets </a:t>
              </a:r>
              <a:r>
                <a:rPr lang="en-US" sz="1000" kern="1200" dirty="0">
                  <a:latin typeface="Arial"/>
                  <a:ea typeface="+mn-ea"/>
                  <a:cs typeface="+mn-cs"/>
                </a:rPr>
                <a:t>in DRC, Burundi, and Rwanda for maize and beans</a:t>
              </a:r>
            </a:p>
            <a:p>
              <a:pPr lvl="1" fontAlgn="base">
                <a:spcBef>
                  <a:spcPct val="50000"/>
                </a:spcBef>
                <a:spcAft>
                  <a:spcPct val="0"/>
                </a:spcAft>
                <a:buClr>
                  <a:srgbClr val="000000"/>
                </a:buClr>
              </a:pPr>
              <a:r>
                <a:rPr lang="en-US" sz="1000" kern="1200" dirty="0">
                  <a:latin typeface="Arial"/>
                  <a:ea typeface="+mn-ea"/>
                  <a:cs typeface="+mn-cs"/>
                </a:rPr>
                <a:t>Includes 2 regions, Kagera and Kigoma* </a:t>
              </a:r>
            </a:p>
            <a:p>
              <a:pPr lvl="1" fontAlgn="base">
                <a:spcBef>
                  <a:spcPct val="50000"/>
                </a:spcBef>
                <a:spcAft>
                  <a:spcPct val="0"/>
                </a:spcAft>
                <a:buClr>
                  <a:srgbClr val="000000"/>
                </a:buClr>
                <a:defRPr/>
              </a:pPr>
              <a:r>
                <a:rPr lang="en-US" sz="1000" b="1" kern="1200" dirty="0">
                  <a:latin typeface="Arial"/>
                  <a:ea typeface="+mn-ea"/>
                  <a:cs typeface="+mn-cs"/>
                </a:rPr>
                <a:t>Target direct farmer reach: 509,080</a:t>
              </a:r>
            </a:p>
            <a:p>
              <a:pPr lvl="1" fontAlgn="base">
                <a:spcBef>
                  <a:spcPct val="50000"/>
                </a:spcBef>
                <a:spcAft>
                  <a:spcPct val="0"/>
                </a:spcAft>
                <a:buClr>
                  <a:srgbClr val="000000"/>
                </a:buClr>
              </a:pPr>
              <a:r>
                <a:rPr lang="en-US" sz="1000" b="1" kern="1200" dirty="0">
                  <a:solidFill>
                    <a:srgbClr val="01632F"/>
                  </a:solidFill>
                  <a:latin typeface="Arial"/>
                  <a:ea typeface="+mn-ea"/>
                  <a:cs typeface="+mn-cs"/>
                </a:rPr>
                <a:t>Crops of focus: maize, beans &amp; cassava; Legumes secondary</a:t>
              </a:r>
            </a:p>
          </p:txBody>
        </p:sp>
        <p:grpSp>
          <p:nvGrpSpPr>
            <p:cNvPr id="13" name="Group 12"/>
            <p:cNvGrpSpPr>
              <a:grpSpLocks/>
            </p:cNvGrpSpPr>
            <p:nvPr/>
          </p:nvGrpSpPr>
          <p:grpSpPr>
            <a:xfrm>
              <a:off x="304038" y="845180"/>
              <a:ext cx="2189577" cy="210856"/>
              <a:chOff x="228600" y="1708282"/>
              <a:chExt cx="7050266" cy="203371"/>
            </a:xfrm>
          </p:grpSpPr>
          <p:sp>
            <p:nvSpPr>
              <p:cNvPr id="14" name="TextBox 13"/>
              <p:cNvSpPr txBox="1"/>
              <p:nvPr>
                <p:custDataLst>
                  <p:tags r:id="rId6"/>
                </p:custDataLst>
              </p:nvPr>
            </p:nvSpPr>
            <p:spPr>
              <a:xfrm>
                <a:off x="228600" y="1708282"/>
                <a:ext cx="7050266" cy="1641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000" b="1" kern="1200" dirty="0">
                    <a:solidFill>
                      <a:srgbClr val="01632F"/>
                    </a:solidFill>
                    <a:latin typeface="Arial"/>
                    <a:ea typeface="+mn-ea"/>
                    <a:cs typeface="+mn-cs"/>
                  </a:rPr>
                  <a:t>Western Highlands</a:t>
                </a:r>
              </a:p>
            </p:txBody>
          </p:sp>
          <p:cxnSp>
            <p:nvCxnSpPr>
              <p:cNvPr id="15" name="Straight Connector 14"/>
              <p:cNvCxnSpPr/>
              <p:nvPr>
                <p:custDataLst>
                  <p:tags r:id="rId7"/>
                </p:custDataLst>
              </p:nvPr>
            </p:nvCxnSpPr>
            <p:spPr>
              <a:xfrm>
                <a:off x="228600" y="1911653"/>
                <a:ext cx="705026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16" name="Group 15"/>
          <p:cNvGrpSpPr>
            <a:grpSpLocks/>
          </p:cNvGrpSpPr>
          <p:nvPr/>
        </p:nvGrpSpPr>
        <p:grpSpPr>
          <a:xfrm>
            <a:off x="656868" y="4284174"/>
            <a:ext cx="3625849" cy="2430864"/>
            <a:chOff x="304037" y="4298427"/>
            <a:chExt cx="2826539" cy="2285019"/>
          </a:xfrm>
        </p:grpSpPr>
        <p:sp>
          <p:nvSpPr>
            <p:cNvPr id="17" name="TextBox 16"/>
            <p:cNvSpPr txBox="1">
              <a:spLocks/>
            </p:cNvSpPr>
            <p:nvPr/>
          </p:nvSpPr>
          <p:spPr>
            <a:xfrm>
              <a:off x="304037" y="4485943"/>
              <a:ext cx="2826539" cy="20975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fontAlgn="base">
                <a:spcBef>
                  <a:spcPct val="25000"/>
                </a:spcBef>
                <a:spcAft>
                  <a:spcPct val="0"/>
                </a:spcAft>
                <a:buClr>
                  <a:srgbClr val="000000"/>
                </a:buClr>
              </a:pPr>
              <a:r>
                <a:rPr lang="en-US" sz="1000" kern="1200" dirty="0">
                  <a:latin typeface="Arial"/>
                  <a:ea typeface="+mn-ea"/>
                  <a:cs typeface="+mn-cs"/>
                </a:rPr>
                <a:t>Excellent agronomic conditions, heavy investment through SAGCOT, but poor market linkages</a:t>
              </a:r>
              <a:endParaRPr lang="en-US" sz="1000" b="1" kern="1200" dirty="0">
                <a:solidFill>
                  <a:srgbClr val="01632F"/>
                </a:solidFill>
                <a:latin typeface="Arial"/>
                <a:ea typeface="+mn-ea"/>
                <a:cs typeface="+mn-cs"/>
              </a:endParaRPr>
            </a:p>
            <a:p>
              <a:pPr lvl="1" fontAlgn="base">
                <a:spcBef>
                  <a:spcPct val="25000"/>
                </a:spcBef>
                <a:spcAft>
                  <a:spcPct val="0"/>
                </a:spcAft>
                <a:buClr>
                  <a:srgbClr val="000000"/>
                </a:buClr>
              </a:pPr>
              <a:r>
                <a:rPr lang="en-US" sz="1000" b="1" kern="1200" dirty="0">
                  <a:solidFill>
                    <a:srgbClr val="01632F"/>
                  </a:solidFill>
                  <a:latin typeface="Arial"/>
                  <a:ea typeface="+mn-ea"/>
                  <a:cs typeface="+mn-cs"/>
                </a:rPr>
                <a:t>Presence of several key stakeholders</a:t>
              </a:r>
              <a:r>
                <a:rPr lang="en-US" sz="1000" kern="1200" dirty="0">
                  <a:latin typeface="Arial"/>
                  <a:ea typeface="+mn-ea"/>
                  <a:cs typeface="+mn-cs"/>
                </a:rPr>
                <a:t>, including AGRA grantees and off-farm infrastructure projects</a:t>
              </a:r>
            </a:p>
            <a:p>
              <a:pPr lvl="1" fontAlgn="base">
                <a:spcBef>
                  <a:spcPct val="25000"/>
                </a:spcBef>
                <a:spcAft>
                  <a:spcPct val="0"/>
                </a:spcAft>
                <a:buClr>
                  <a:srgbClr val="000000"/>
                </a:buClr>
              </a:pPr>
              <a:r>
                <a:rPr lang="en-US" sz="1000" kern="1200" dirty="0">
                  <a:latin typeface="Arial"/>
                  <a:ea typeface="+mn-ea"/>
                  <a:cs typeface="+mn-cs"/>
                </a:rPr>
                <a:t>Could be national &amp; regional breadbasket, has the potential of increasing exports to neighboring countries; but has </a:t>
              </a:r>
              <a:r>
                <a:rPr lang="en-US" sz="1000" b="1" kern="1200" dirty="0">
                  <a:solidFill>
                    <a:srgbClr val="01632F"/>
                  </a:solidFill>
                  <a:latin typeface="Arial"/>
                  <a:ea typeface="+mn-ea"/>
                  <a:cs typeface="+mn-cs"/>
                </a:rPr>
                <a:t>poor infrastructure linkages to other markets</a:t>
              </a:r>
            </a:p>
            <a:p>
              <a:pPr lvl="1" fontAlgn="base">
                <a:spcBef>
                  <a:spcPct val="25000"/>
                </a:spcBef>
                <a:spcAft>
                  <a:spcPct val="0"/>
                </a:spcAft>
                <a:buClr>
                  <a:srgbClr val="000000"/>
                </a:buClr>
              </a:pPr>
              <a:r>
                <a:rPr lang="en-US" sz="1000" kern="1200" dirty="0">
                  <a:latin typeface="Arial"/>
                  <a:ea typeface="+mn-ea"/>
                  <a:cs typeface="+mn-cs"/>
                </a:rPr>
                <a:t>Already experiencing </a:t>
              </a:r>
              <a:r>
                <a:rPr lang="en-US" sz="1000" b="1" kern="1200" dirty="0">
                  <a:solidFill>
                    <a:srgbClr val="01632F"/>
                  </a:solidFill>
                  <a:latin typeface="Arial"/>
                  <a:ea typeface="+mn-ea"/>
                  <a:cs typeface="+mn-cs"/>
                </a:rPr>
                <a:t>1M MT marketable surplus in maize</a:t>
              </a:r>
            </a:p>
            <a:p>
              <a:pPr lvl="1" fontAlgn="base">
                <a:spcBef>
                  <a:spcPct val="25000"/>
                </a:spcBef>
                <a:spcAft>
                  <a:spcPct val="0"/>
                </a:spcAft>
                <a:buClr>
                  <a:srgbClr val="000000"/>
                </a:buClr>
              </a:pPr>
              <a:r>
                <a:rPr lang="en-US" sz="1000" b="1" kern="1200" dirty="0">
                  <a:solidFill>
                    <a:srgbClr val="01632F"/>
                  </a:solidFill>
                  <a:latin typeface="Arial"/>
                  <a:ea typeface="+mn-ea"/>
                  <a:cs typeface="+mn-cs"/>
                </a:rPr>
                <a:t>Includes 7 regions:</a:t>
              </a:r>
              <a:r>
                <a:rPr lang="en-US" sz="1000" kern="1200" dirty="0">
                  <a:solidFill>
                    <a:srgbClr val="000000">
                      <a:lumMod val="95000"/>
                      <a:lumOff val="5000"/>
                    </a:srgbClr>
                  </a:solidFill>
                  <a:latin typeface="Arial"/>
                  <a:ea typeface="+mn-ea"/>
                  <a:cs typeface="+mn-cs"/>
                </a:rPr>
                <a:t> Rukwa, Katavi, Mbeya (Mbeya and Songwe), Iringa, Njombe, Morogoro and Ruvuma</a:t>
              </a:r>
            </a:p>
            <a:p>
              <a:pPr lvl="1" fontAlgn="base">
                <a:spcBef>
                  <a:spcPct val="25000"/>
                </a:spcBef>
                <a:spcAft>
                  <a:spcPct val="0"/>
                </a:spcAft>
                <a:buClr>
                  <a:srgbClr val="000000"/>
                </a:buClr>
                <a:defRPr/>
              </a:pPr>
              <a:r>
                <a:rPr lang="en-US" sz="1000" b="1" kern="1200" dirty="0">
                  <a:latin typeface="Arial"/>
                  <a:ea typeface="+mn-ea"/>
                  <a:cs typeface="+mn-cs"/>
                </a:rPr>
                <a:t>Target direct farmer reach: 974,085</a:t>
              </a:r>
            </a:p>
            <a:p>
              <a:pPr lvl="1" fontAlgn="base">
                <a:spcBef>
                  <a:spcPct val="25000"/>
                </a:spcBef>
                <a:spcAft>
                  <a:spcPct val="0"/>
                </a:spcAft>
                <a:buClr>
                  <a:srgbClr val="000000"/>
                </a:buClr>
              </a:pPr>
              <a:r>
                <a:rPr lang="en-US" sz="1000" b="1" kern="1200" dirty="0">
                  <a:solidFill>
                    <a:srgbClr val="01632F"/>
                  </a:solidFill>
                  <a:latin typeface="Arial"/>
                  <a:ea typeface="+mn-ea"/>
                  <a:cs typeface="+mn-cs"/>
                </a:rPr>
                <a:t>Crops of focus: maize, beans &amp; rice; soybeans and potato as secondary focus</a:t>
              </a:r>
            </a:p>
          </p:txBody>
        </p:sp>
        <p:grpSp>
          <p:nvGrpSpPr>
            <p:cNvPr id="18" name="Group 17"/>
            <p:cNvGrpSpPr>
              <a:grpSpLocks/>
            </p:cNvGrpSpPr>
            <p:nvPr/>
          </p:nvGrpSpPr>
          <p:grpSpPr>
            <a:xfrm>
              <a:off x="304038" y="4298427"/>
              <a:ext cx="2826538" cy="185358"/>
              <a:chOff x="228600" y="1732875"/>
              <a:chExt cx="7050266" cy="178778"/>
            </a:xfrm>
          </p:grpSpPr>
          <p:sp>
            <p:nvSpPr>
              <p:cNvPr id="19" name="TextBox 18"/>
              <p:cNvSpPr txBox="1"/>
              <p:nvPr>
                <p:custDataLst>
                  <p:tags r:id="rId4"/>
                </p:custDataLst>
              </p:nvPr>
            </p:nvSpPr>
            <p:spPr>
              <a:xfrm>
                <a:off x="228600" y="1732875"/>
                <a:ext cx="7050266" cy="1395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1000" b="1" kern="1200" dirty="0">
                    <a:solidFill>
                      <a:srgbClr val="01632F"/>
                    </a:solidFill>
                    <a:latin typeface="Arial"/>
                    <a:ea typeface="+mn-ea"/>
                    <a:cs typeface="+mn-cs"/>
                  </a:rPr>
                  <a:t>Southern Highlands</a:t>
                </a:r>
              </a:p>
            </p:txBody>
          </p:sp>
          <p:cxnSp>
            <p:nvCxnSpPr>
              <p:cNvPr id="20" name="Straight Connector 19"/>
              <p:cNvCxnSpPr/>
              <p:nvPr>
                <p:custDataLst>
                  <p:tags r:id="rId5"/>
                </p:custDataLst>
              </p:nvPr>
            </p:nvCxnSpPr>
            <p:spPr>
              <a:xfrm>
                <a:off x="228600" y="1911653"/>
                <a:ext cx="705026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28" name="Group 27"/>
          <p:cNvGrpSpPr/>
          <p:nvPr/>
        </p:nvGrpSpPr>
        <p:grpSpPr>
          <a:xfrm>
            <a:off x="2899885" y="880258"/>
            <a:ext cx="4685094" cy="4528967"/>
            <a:chOff x="2141347" y="1320297"/>
            <a:chExt cx="4685094" cy="4528967"/>
          </a:xfrm>
        </p:grpSpPr>
        <p:grpSp>
          <p:nvGrpSpPr>
            <p:cNvPr id="29" name="Group 28"/>
            <p:cNvGrpSpPr/>
            <p:nvPr/>
          </p:nvGrpSpPr>
          <p:grpSpPr bwMode="gray">
            <a:xfrm>
              <a:off x="2141347" y="1320297"/>
              <a:ext cx="4685094" cy="4528967"/>
              <a:chOff x="1649413" y="622300"/>
              <a:chExt cx="5668963" cy="5480050"/>
            </a:xfrm>
            <a:solidFill>
              <a:schemeClr val="accent6">
                <a:lumMod val="20000"/>
                <a:lumOff val="80000"/>
              </a:schemeClr>
            </a:solidFill>
          </p:grpSpPr>
          <p:sp>
            <p:nvSpPr>
              <p:cNvPr id="39" name="Freeform 7"/>
              <p:cNvSpPr>
                <a:spLocks/>
              </p:cNvSpPr>
              <p:nvPr/>
            </p:nvSpPr>
            <p:spPr bwMode="gray">
              <a:xfrm>
                <a:off x="3394076" y="622300"/>
                <a:ext cx="1287463" cy="769937"/>
              </a:xfrm>
              <a:custGeom>
                <a:avLst/>
                <a:gdLst>
                  <a:gd name="T0" fmla="*/ 72 w 811"/>
                  <a:gd name="T1" fmla="*/ 0 h 485"/>
                  <a:gd name="T2" fmla="*/ 202 w 811"/>
                  <a:gd name="T3" fmla="*/ 0 h 485"/>
                  <a:gd name="T4" fmla="*/ 278 w 811"/>
                  <a:gd name="T5" fmla="*/ 0 h 485"/>
                  <a:gd name="T6" fmla="*/ 331 w 811"/>
                  <a:gd name="T7" fmla="*/ 0 h 485"/>
                  <a:gd name="T8" fmla="*/ 413 w 811"/>
                  <a:gd name="T9" fmla="*/ 10 h 485"/>
                  <a:gd name="T10" fmla="*/ 461 w 811"/>
                  <a:gd name="T11" fmla="*/ 24 h 485"/>
                  <a:gd name="T12" fmla="*/ 552 w 811"/>
                  <a:gd name="T13" fmla="*/ 77 h 485"/>
                  <a:gd name="T14" fmla="*/ 619 w 811"/>
                  <a:gd name="T15" fmla="*/ 115 h 485"/>
                  <a:gd name="T16" fmla="*/ 691 w 811"/>
                  <a:gd name="T17" fmla="*/ 154 h 485"/>
                  <a:gd name="T18" fmla="*/ 730 w 811"/>
                  <a:gd name="T19" fmla="*/ 178 h 485"/>
                  <a:gd name="T20" fmla="*/ 792 w 811"/>
                  <a:gd name="T21" fmla="*/ 211 h 485"/>
                  <a:gd name="T22" fmla="*/ 806 w 811"/>
                  <a:gd name="T23" fmla="*/ 370 h 485"/>
                  <a:gd name="T24" fmla="*/ 802 w 811"/>
                  <a:gd name="T25" fmla="*/ 408 h 485"/>
                  <a:gd name="T26" fmla="*/ 792 w 811"/>
                  <a:gd name="T27" fmla="*/ 447 h 485"/>
                  <a:gd name="T28" fmla="*/ 787 w 811"/>
                  <a:gd name="T29" fmla="*/ 485 h 485"/>
                  <a:gd name="T30" fmla="*/ 749 w 811"/>
                  <a:gd name="T31" fmla="*/ 485 h 485"/>
                  <a:gd name="T32" fmla="*/ 710 w 811"/>
                  <a:gd name="T33" fmla="*/ 480 h 485"/>
                  <a:gd name="T34" fmla="*/ 672 w 811"/>
                  <a:gd name="T35" fmla="*/ 480 h 485"/>
                  <a:gd name="T36" fmla="*/ 634 w 811"/>
                  <a:gd name="T37" fmla="*/ 480 h 485"/>
                  <a:gd name="T38" fmla="*/ 595 w 811"/>
                  <a:gd name="T39" fmla="*/ 480 h 485"/>
                  <a:gd name="T40" fmla="*/ 557 w 811"/>
                  <a:gd name="T41" fmla="*/ 466 h 485"/>
                  <a:gd name="T42" fmla="*/ 523 w 811"/>
                  <a:gd name="T43" fmla="*/ 437 h 485"/>
                  <a:gd name="T44" fmla="*/ 485 w 811"/>
                  <a:gd name="T45" fmla="*/ 408 h 485"/>
                  <a:gd name="T46" fmla="*/ 446 w 811"/>
                  <a:gd name="T47" fmla="*/ 399 h 485"/>
                  <a:gd name="T48" fmla="*/ 408 w 811"/>
                  <a:gd name="T49" fmla="*/ 389 h 485"/>
                  <a:gd name="T50" fmla="*/ 374 w 811"/>
                  <a:gd name="T51" fmla="*/ 370 h 485"/>
                  <a:gd name="T52" fmla="*/ 341 w 811"/>
                  <a:gd name="T53" fmla="*/ 360 h 485"/>
                  <a:gd name="T54" fmla="*/ 307 w 811"/>
                  <a:gd name="T55" fmla="*/ 355 h 485"/>
                  <a:gd name="T56" fmla="*/ 283 w 811"/>
                  <a:gd name="T57" fmla="*/ 379 h 485"/>
                  <a:gd name="T58" fmla="*/ 235 w 811"/>
                  <a:gd name="T59" fmla="*/ 370 h 485"/>
                  <a:gd name="T60" fmla="*/ 197 w 811"/>
                  <a:gd name="T61" fmla="*/ 379 h 485"/>
                  <a:gd name="T62" fmla="*/ 154 w 811"/>
                  <a:gd name="T63" fmla="*/ 360 h 485"/>
                  <a:gd name="T64" fmla="*/ 154 w 811"/>
                  <a:gd name="T65" fmla="*/ 346 h 485"/>
                  <a:gd name="T66" fmla="*/ 163 w 811"/>
                  <a:gd name="T67" fmla="*/ 336 h 485"/>
                  <a:gd name="T68" fmla="*/ 168 w 811"/>
                  <a:gd name="T69" fmla="*/ 322 h 485"/>
                  <a:gd name="T70" fmla="*/ 187 w 811"/>
                  <a:gd name="T71" fmla="*/ 327 h 485"/>
                  <a:gd name="T72" fmla="*/ 211 w 811"/>
                  <a:gd name="T73" fmla="*/ 336 h 485"/>
                  <a:gd name="T74" fmla="*/ 221 w 811"/>
                  <a:gd name="T75" fmla="*/ 317 h 485"/>
                  <a:gd name="T76" fmla="*/ 245 w 811"/>
                  <a:gd name="T77" fmla="*/ 327 h 485"/>
                  <a:gd name="T78" fmla="*/ 259 w 811"/>
                  <a:gd name="T79" fmla="*/ 312 h 485"/>
                  <a:gd name="T80" fmla="*/ 245 w 811"/>
                  <a:gd name="T81" fmla="*/ 312 h 485"/>
                  <a:gd name="T82" fmla="*/ 240 w 811"/>
                  <a:gd name="T83" fmla="*/ 298 h 485"/>
                  <a:gd name="T84" fmla="*/ 211 w 811"/>
                  <a:gd name="T85" fmla="*/ 288 h 485"/>
                  <a:gd name="T86" fmla="*/ 182 w 811"/>
                  <a:gd name="T87" fmla="*/ 307 h 485"/>
                  <a:gd name="T88" fmla="*/ 187 w 811"/>
                  <a:gd name="T89" fmla="*/ 279 h 485"/>
                  <a:gd name="T90" fmla="*/ 206 w 811"/>
                  <a:gd name="T91" fmla="*/ 259 h 485"/>
                  <a:gd name="T92" fmla="*/ 226 w 811"/>
                  <a:gd name="T93" fmla="*/ 231 h 485"/>
                  <a:gd name="T94" fmla="*/ 226 w 811"/>
                  <a:gd name="T95" fmla="*/ 192 h 485"/>
                  <a:gd name="T96" fmla="*/ 226 w 811"/>
                  <a:gd name="T97" fmla="*/ 154 h 485"/>
                  <a:gd name="T98" fmla="*/ 192 w 811"/>
                  <a:gd name="T99" fmla="*/ 149 h 485"/>
                  <a:gd name="T100" fmla="*/ 154 w 811"/>
                  <a:gd name="T101" fmla="*/ 149 h 485"/>
                  <a:gd name="T102" fmla="*/ 115 w 811"/>
                  <a:gd name="T103" fmla="*/ 149 h 485"/>
                  <a:gd name="T104" fmla="*/ 77 w 811"/>
                  <a:gd name="T105" fmla="*/ 149 h 485"/>
                  <a:gd name="T106" fmla="*/ 38 w 811"/>
                  <a:gd name="T107" fmla="*/ 149 h 485"/>
                  <a:gd name="T108" fmla="*/ 0 w 811"/>
                  <a:gd name="T109" fmla="*/ 149 h 485"/>
                  <a:gd name="T110" fmla="*/ 0 w 811"/>
                  <a:gd name="T111" fmla="*/ 111 h 485"/>
                  <a:gd name="T112" fmla="*/ 0 w 811"/>
                  <a:gd name="T113" fmla="*/ 72 h 485"/>
                  <a:gd name="T114" fmla="*/ 0 w 811"/>
                  <a:gd name="T115" fmla="*/ 34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1" h="485">
                    <a:moveTo>
                      <a:pt x="0" y="0"/>
                    </a:moveTo>
                    <a:lnTo>
                      <a:pt x="14" y="0"/>
                    </a:lnTo>
                    <a:lnTo>
                      <a:pt x="38" y="0"/>
                    </a:lnTo>
                    <a:lnTo>
                      <a:pt x="43" y="0"/>
                    </a:lnTo>
                    <a:lnTo>
                      <a:pt x="48" y="0"/>
                    </a:lnTo>
                    <a:lnTo>
                      <a:pt x="53" y="0"/>
                    </a:lnTo>
                    <a:lnTo>
                      <a:pt x="62" y="0"/>
                    </a:lnTo>
                    <a:lnTo>
                      <a:pt x="72" y="0"/>
                    </a:lnTo>
                    <a:lnTo>
                      <a:pt x="82" y="0"/>
                    </a:lnTo>
                    <a:lnTo>
                      <a:pt x="96" y="0"/>
                    </a:lnTo>
                    <a:lnTo>
                      <a:pt x="120" y="0"/>
                    </a:lnTo>
                    <a:lnTo>
                      <a:pt x="144" y="0"/>
                    </a:lnTo>
                    <a:lnTo>
                      <a:pt x="163" y="0"/>
                    </a:lnTo>
                    <a:lnTo>
                      <a:pt x="187" y="0"/>
                    </a:lnTo>
                    <a:lnTo>
                      <a:pt x="192" y="0"/>
                    </a:lnTo>
                    <a:lnTo>
                      <a:pt x="202" y="0"/>
                    </a:lnTo>
                    <a:lnTo>
                      <a:pt x="221" y="0"/>
                    </a:lnTo>
                    <a:lnTo>
                      <a:pt x="230" y="0"/>
                    </a:lnTo>
                    <a:lnTo>
                      <a:pt x="235" y="0"/>
                    </a:lnTo>
                    <a:lnTo>
                      <a:pt x="240" y="0"/>
                    </a:lnTo>
                    <a:lnTo>
                      <a:pt x="250" y="0"/>
                    </a:lnTo>
                    <a:lnTo>
                      <a:pt x="254" y="0"/>
                    </a:lnTo>
                    <a:lnTo>
                      <a:pt x="259" y="0"/>
                    </a:lnTo>
                    <a:lnTo>
                      <a:pt x="278" y="0"/>
                    </a:lnTo>
                    <a:lnTo>
                      <a:pt x="283" y="0"/>
                    </a:lnTo>
                    <a:lnTo>
                      <a:pt x="293" y="0"/>
                    </a:lnTo>
                    <a:lnTo>
                      <a:pt x="298" y="0"/>
                    </a:lnTo>
                    <a:lnTo>
                      <a:pt x="302" y="0"/>
                    </a:lnTo>
                    <a:lnTo>
                      <a:pt x="307" y="0"/>
                    </a:lnTo>
                    <a:lnTo>
                      <a:pt x="322" y="0"/>
                    </a:lnTo>
                    <a:lnTo>
                      <a:pt x="326" y="0"/>
                    </a:lnTo>
                    <a:lnTo>
                      <a:pt x="331" y="0"/>
                    </a:lnTo>
                    <a:lnTo>
                      <a:pt x="336" y="0"/>
                    </a:lnTo>
                    <a:lnTo>
                      <a:pt x="341" y="0"/>
                    </a:lnTo>
                    <a:lnTo>
                      <a:pt x="350" y="0"/>
                    </a:lnTo>
                    <a:lnTo>
                      <a:pt x="379" y="0"/>
                    </a:lnTo>
                    <a:lnTo>
                      <a:pt x="408" y="0"/>
                    </a:lnTo>
                    <a:lnTo>
                      <a:pt x="413" y="0"/>
                    </a:lnTo>
                    <a:lnTo>
                      <a:pt x="413" y="5"/>
                    </a:lnTo>
                    <a:lnTo>
                      <a:pt x="413" y="10"/>
                    </a:lnTo>
                    <a:lnTo>
                      <a:pt x="413" y="15"/>
                    </a:lnTo>
                    <a:lnTo>
                      <a:pt x="418" y="15"/>
                    </a:lnTo>
                    <a:lnTo>
                      <a:pt x="427" y="10"/>
                    </a:lnTo>
                    <a:lnTo>
                      <a:pt x="432" y="10"/>
                    </a:lnTo>
                    <a:lnTo>
                      <a:pt x="437" y="10"/>
                    </a:lnTo>
                    <a:lnTo>
                      <a:pt x="442" y="15"/>
                    </a:lnTo>
                    <a:lnTo>
                      <a:pt x="456" y="24"/>
                    </a:lnTo>
                    <a:lnTo>
                      <a:pt x="461" y="24"/>
                    </a:lnTo>
                    <a:lnTo>
                      <a:pt x="475" y="34"/>
                    </a:lnTo>
                    <a:lnTo>
                      <a:pt x="480" y="39"/>
                    </a:lnTo>
                    <a:lnTo>
                      <a:pt x="485" y="39"/>
                    </a:lnTo>
                    <a:lnTo>
                      <a:pt x="499" y="43"/>
                    </a:lnTo>
                    <a:lnTo>
                      <a:pt x="509" y="53"/>
                    </a:lnTo>
                    <a:lnTo>
                      <a:pt x="523" y="63"/>
                    </a:lnTo>
                    <a:lnTo>
                      <a:pt x="547" y="72"/>
                    </a:lnTo>
                    <a:lnTo>
                      <a:pt x="552" y="77"/>
                    </a:lnTo>
                    <a:lnTo>
                      <a:pt x="562" y="82"/>
                    </a:lnTo>
                    <a:lnTo>
                      <a:pt x="571" y="87"/>
                    </a:lnTo>
                    <a:lnTo>
                      <a:pt x="581" y="91"/>
                    </a:lnTo>
                    <a:lnTo>
                      <a:pt x="590" y="96"/>
                    </a:lnTo>
                    <a:lnTo>
                      <a:pt x="605" y="106"/>
                    </a:lnTo>
                    <a:lnTo>
                      <a:pt x="610" y="111"/>
                    </a:lnTo>
                    <a:lnTo>
                      <a:pt x="614" y="111"/>
                    </a:lnTo>
                    <a:lnTo>
                      <a:pt x="619" y="115"/>
                    </a:lnTo>
                    <a:lnTo>
                      <a:pt x="624" y="115"/>
                    </a:lnTo>
                    <a:lnTo>
                      <a:pt x="629" y="120"/>
                    </a:lnTo>
                    <a:lnTo>
                      <a:pt x="634" y="125"/>
                    </a:lnTo>
                    <a:lnTo>
                      <a:pt x="653" y="135"/>
                    </a:lnTo>
                    <a:lnTo>
                      <a:pt x="658" y="139"/>
                    </a:lnTo>
                    <a:lnTo>
                      <a:pt x="667" y="139"/>
                    </a:lnTo>
                    <a:lnTo>
                      <a:pt x="686" y="154"/>
                    </a:lnTo>
                    <a:lnTo>
                      <a:pt x="691" y="154"/>
                    </a:lnTo>
                    <a:lnTo>
                      <a:pt x="691" y="159"/>
                    </a:lnTo>
                    <a:lnTo>
                      <a:pt x="696" y="159"/>
                    </a:lnTo>
                    <a:lnTo>
                      <a:pt x="706" y="163"/>
                    </a:lnTo>
                    <a:lnTo>
                      <a:pt x="710" y="163"/>
                    </a:lnTo>
                    <a:lnTo>
                      <a:pt x="715" y="168"/>
                    </a:lnTo>
                    <a:lnTo>
                      <a:pt x="720" y="173"/>
                    </a:lnTo>
                    <a:lnTo>
                      <a:pt x="725" y="173"/>
                    </a:lnTo>
                    <a:lnTo>
                      <a:pt x="730" y="178"/>
                    </a:lnTo>
                    <a:lnTo>
                      <a:pt x="744" y="183"/>
                    </a:lnTo>
                    <a:lnTo>
                      <a:pt x="744" y="187"/>
                    </a:lnTo>
                    <a:lnTo>
                      <a:pt x="749" y="187"/>
                    </a:lnTo>
                    <a:lnTo>
                      <a:pt x="754" y="192"/>
                    </a:lnTo>
                    <a:lnTo>
                      <a:pt x="758" y="192"/>
                    </a:lnTo>
                    <a:lnTo>
                      <a:pt x="782" y="207"/>
                    </a:lnTo>
                    <a:lnTo>
                      <a:pt x="787" y="211"/>
                    </a:lnTo>
                    <a:lnTo>
                      <a:pt x="792" y="211"/>
                    </a:lnTo>
                    <a:lnTo>
                      <a:pt x="811" y="221"/>
                    </a:lnTo>
                    <a:lnTo>
                      <a:pt x="792" y="341"/>
                    </a:lnTo>
                    <a:lnTo>
                      <a:pt x="797" y="346"/>
                    </a:lnTo>
                    <a:lnTo>
                      <a:pt x="802" y="351"/>
                    </a:lnTo>
                    <a:lnTo>
                      <a:pt x="802" y="355"/>
                    </a:lnTo>
                    <a:lnTo>
                      <a:pt x="806" y="360"/>
                    </a:lnTo>
                    <a:lnTo>
                      <a:pt x="806" y="365"/>
                    </a:lnTo>
                    <a:lnTo>
                      <a:pt x="806" y="370"/>
                    </a:lnTo>
                    <a:lnTo>
                      <a:pt x="806" y="375"/>
                    </a:lnTo>
                    <a:lnTo>
                      <a:pt x="806" y="379"/>
                    </a:lnTo>
                    <a:lnTo>
                      <a:pt x="806" y="384"/>
                    </a:lnTo>
                    <a:lnTo>
                      <a:pt x="802" y="389"/>
                    </a:lnTo>
                    <a:lnTo>
                      <a:pt x="802" y="394"/>
                    </a:lnTo>
                    <a:lnTo>
                      <a:pt x="802" y="399"/>
                    </a:lnTo>
                    <a:lnTo>
                      <a:pt x="802" y="403"/>
                    </a:lnTo>
                    <a:lnTo>
                      <a:pt x="802" y="408"/>
                    </a:lnTo>
                    <a:lnTo>
                      <a:pt x="802" y="413"/>
                    </a:lnTo>
                    <a:lnTo>
                      <a:pt x="797" y="418"/>
                    </a:lnTo>
                    <a:lnTo>
                      <a:pt x="797" y="423"/>
                    </a:lnTo>
                    <a:lnTo>
                      <a:pt x="797" y="427"/>
                    </a:lnTo>
                    <a:lnTo>
                      <a:pt x="797" y="432"/>
                    </a:lnTo>
                    <a:lnTo>
                      <a:pt x="797" y="437"/>
                    </a:lnTo>
                    <a:lnTo>
                      <a:pt x="792" y="442"/>
                    </a:lnTo>
                    <a:lnTo>
                      <a:pt x="792" y="447"/>
                    </a:lnTo>
                    <a:lnTo>
                      <a:pt x="792" y="451"/>
                    </a:lnTo>
                    <a:lnTo>
                      <a:pt x="792" y="456"/>
                    </a:lnTo>
                    <a:lnTo>
                      <a:pt x="792" y="461"/>
                    </a:lnTo>
                    <a:lnTo>
                      <a:pt x="792" y="466"/>
                    </a:lnTo>
                    <a:lnTo>
                      <a:pt x="792" y="471"/>
                    </a:lnTo>
                    <a:lnTo>
                      <a:pt x="787" y="475"/>
                    </a:lnTo>
                    <a:lnTo>
                      <a:pt x="787" y="480"/>
                    </a:lnTo>
                    <a:lnTo>
                      <a:pt x="787" y="485"/>
                    </a:lnTo>
                    <a:lnTo>
                      <a:pt x="782" y="485"/>
                    </a:lnTo>
                    <a:lnTo>
                      <a:pt x="778" y="485"/>
                    </a:lnTo>
                    <a:lnTo>
                      <a:pt x="773" y="485"/>
                    </a:lnTo>
                    <a:lnTo>
                      <a:pt x="768" y="485"/>
                    </a:lnTo>
                    <a:lnTo>
                      <a:pt x="763" y="485"/>
                    </a:lnTo>
                    <a:lnTo>
                      <a:pt x="758" y="485"/>
                    </a:lnTo>
                    <a:lnTo>
                      <a:pt x="754" y="485"/>
                    </a:lnTo>
                    <a:lnTo>
                      <a:pt x="749" y="485"/>
                    </a:lnTo>
                    <a:lnTo>
                      <a:pt x="744" y="485"/>
                    </a:lnTo>
                    <a:lnTo>
                      <a:pt x="739" y="485"/>
                    </a:lnTo>
                    <a:lnTo>
                      <a:pt x="734" y="485"/>
                    </a:lnTo>
                    <a:lnTo>
                      <a:pt x="730" y="480"/>
                    </a:lnTo>
                    <a:lnTo>
                      <a:pt x="725" y="480"/>
                    </a:lnTo>
                    <a:lnTo>
                      <a:pt x="720" y="480"/>
                    </a:lnTo>
                    <a:lnTo>
                      <a:pt x="715" y="480"/>
                    </a:lnTo>
                    <a:lnTo>
                      <a:pt x="710" y="480"/>
                    </a:lnTo>
                    <a:lnTo>
                      <a:pt x="706" y="480"/>
                    </a:lnTo>
                    <a:lnTo>
                      <a:pt x="701" y="480"/>
                    </a:lnTo>
                    <a:lnTo>
                      <a:pt x="696" y="480"/>
                    </a:lnTo>
                    <a:lnTo>
                      <a:pt x="691" y="480"/>
                    </a:lnTo>
                    <a:lnTo>
                      <a:pt x="686" y="480"/>
                    </a:lnTo>
                    <a:lnTo>
                      <a:pt x="682" y="480"/>
                    </a:lnTo>
                    <a:lnTo>
                      <a:pt x="677" y="480"/>
                    </a:lnTo>
                    <a:lnTo>
                      <a:pt x="672" y="480"/>
                    </a:lnTo>
                    <a:lnTo>
                      <a:pt x="667" y="480"/>
                    </a:lnTo>
                    <a:lnTo>
                      <a:pt x="662" y="480"/>
                    </a:lnTo>
                    <a:lnTo>
                      <a:pt x="658" y="480"/>
                    </a:lnTo>
                    <a:lnTo>
                      <a:pt x="653" y="480"/>
                    </a:lnTo>
                    <a:lnTo>
                      <a:pt x="648" y="480"/>
                    </a:lnTo>
                    <a:lnTo>
                      <a:pt x="643" y="480"/>
                    </a:lnTo>
                    <a:lnTo>
                      <a:pt x="638" y="480"/>
                    </a:lnTo>
                    <a:lnTo>
                      <a:pt x="634" y="480"/>
                    </a:lnTo>
                    <a:lnTo>
                      <a:pt x="629" y="480"/>
                    </a:lnTo>
                    <a:lnTo>
                      <a:pt x="624" y="480"/>
                    </a:lnTo>
                    <a:lnTo>
                      <a:pt x="619" y="480"/>
                    </a:lnTo>
                    <a:lnTo>
                      <a:pt x="614" y="480"/>
                    </a:lnTo>
                    <a:lnTo>
                      <a:pt x="610" y="480"/>
                    </a:lnTo>
                    <a:lnTo>
                      <a:pt x="605" y="480"/>
                    </a:lnTo>
                    <a:lnTo>
                      <a:pt x="600" y="480"/>
                    </a:lnTo>
                    <a:lnTo>
                      <a:pt x="595" y="480"/>
                    </a:lnTo>
                    <a:lnTo>
                      <a:pt x="590" y="480"/>
                    </a:lnTo>
                    <a:lnTo>
                      <a:pt x="586" y="480"/>
                    </a:lnTo>
                    <a:lnTo>
                      <a:pt x="581" y="480"/>
                    </a:lnTo>
                    <a:lnTo>
                      <a:pt x="576" y="480"/>
                    </a:lnTo>
                    <a:lnTo>
                      <a:pt x="571" y="480"/>
                    </a:lnTo>
                    <a:lnTo>
                      <a:pt x="566" y="475"/>
                    </a:lnTo>
                    <a:lnTo>
                      <a:pt x="562" y="471"/>
                    </a:lnTo>
                    <a:lnTo>
                      <a:pt x="557" y="466"/>
                    </a:lnTo>
                    <a:lnTo>
                      <a:pt x="552" y="466"/>
                    </a:lnTo>
                    <a:lnTo>
                      <a:pt x="547" y="461"/>
                    </a:lnTo>
                    <a:lnTo>
                      <a:pt x="542" y="456"/>
                    </a:lnTo>
                    <a:lnTo>
                      <a:pt x="538" y="451"/>
                    </a:lnTo>
                    <a:lnTo>
                      <a:pt x="533" y="451"/>
                    </a:lnTo>
                    <a:lnTo>
                      <a:pt x="528" y="447"/>
                    </a:lnTo>
                    <a:lnTo>
                      <a:pt x="523" y="442"/>
                    </a:lnTo>
                    <a:lnTo>
                      <a:pt x="523" y="437"/>
                    </a:lnTo>
                    <a:lnTo>
                      <a:pt x="518" y="437"/>
                    </a:lnTo>
                    <a:lnTo>
                      <a:pt x="514" y="432"/>
                    </a:lnTo>
                    <a:lnTo>
                      <a:pt x="509" y="427"/>
                    </a:lnTo>
                    <a:lnTo>
                      <a:pt x="504" y="423"/>
                    </a:lnTo>
                    <a:lnTo>
                      <a:pt x="499" y="418"/>
                    </a:lnTo>
                    <a:lnTo>
                      <a:pt x="494" y="418"/>
                    </a:lnTo>
                    <a:lnTo>
                      <a:pt x="490" y="413"/>
                    </a:lnTo>
                    <a:lnTo>
                      <a:pt x="485" y="408"/>
                    </a:lnTo>
                    <a:lnTo>
                      <a:pt x="480" y="408"/>
                    </a:lnTo>
                    <a:lnTo>
                      <a:pt x="475" y="408"/>
                    </a:lnTo>
                    <a:lnTo>
                      <a:pt x="470" y="403"/>
                    </a:lnTo>
                    <a:lnTo>
                      <a:pt x="466" y="403"/>
                    </a:lnTo>
                    <a:lnTo>
                      <a:pt x="461" y="403"/>
                    </a:lnTo>
                    <a:lnTo>
                      <a:pt x="456" y="403"/>
                    </a:lnTo>
                    <a:lnTo>
                      <a:pt x="451" y="399"/>
                    </a:lnTo>
                    <a:lnTo>
                      <a:pt x="446" y="399"/>
                    </a:lnTo>
                    <a:lnTo>
                      <a:pt x="442" y="399"/>
                    </a:lnTo>
                    <a:lnTo>
                      <a:pt x="437" y="399"/>
                    </a:lnTo>
                    <a:lnTo>
                      <a:pt x="432" y="394"/>
                    </a:lnTo>
                    <a:lnTo>
                      <a:pt x="427" y="394"/>
                    </a:lnTo>
                    <a:lnTo>
                      <a:pt x="422" y="394"/>
                    </a:lnTo>
                    <a:lnTo>
                      <a:pt x="418" y="394"/>
                    </a:lnTo>
                    <a:lnTo>
                      <a:pt x="413" y="389"/>
                    </a:lnTo>
                    <a:lnTo>
                      <a:pt x="408" y="389"/>
                    </a:lnTo>
                    <a:lnTo>
                      <a:pt x="403" y="384"/>
                    </a:lnTo>
                    <a:lnTo>
                      <a:pt x="398" y="384"/>
                    </a:lnTo>
                    <a:lnTo>
                      <a:pt x="394" y="379"/>
                    </a:lnTo>
                    <a:lnTo>
                      <a:pt x="389" y="379"/>
                    </a:lnTo>
                    <a:lnTo>
                      <a:pt x="384" y="375"/>
                    </a:lnTo>
                    <a:lnTo>
                      <a:pt x="379" y="375"/>
                    </a:lnTo>
                    <a:lnTo>
                      <a:pt x="374" y="375"/>
                    </a:lnTo>
                    <a:lnTo>
                      <a:pt x="374" y="370"/>
                    </a:lnTo>
                    <a:lnTo>
                      <a:pt x="370" y="370"/>
                    </a:lnTo>
                    <a:lnTo>
                      <a:pt x="365" y="370"/>
                    </a:lnTo>
                    <a:lnTo>
                      <a:pt x="360" y="370"/>
                    </a:lnTo>
                    <a:lnTo>
                      <a:pt x="355" y="370"/>
                    </a:lnTo>
                    <a:lnTo>
                      <a:pt x="350" y="370"/>
                    </a:lnTo>
                    <a:lnTo>
                      <a:pt x="346" y="370"/>
                    </a:lnTo>
                    <a:lnTo>
                      <a:pt x="346" y="360"/>
                    </a:lnTo>
                    <a:lnTo>
                      <a:pt x="341" y="360"/>
                    </a:lnTo>
                    <a:lnTo>
                      <a:pt x="341" y="355"/>
                    </a:lnTo>
                    <a:lnTo>
                      <a:pt x="336" y="355"/>
                    </a:lnTo>
                    <a:lnTo>
                      <a:pt x="336" y="351"/>
                    </a:lnTo>
                    <a:lnTo>
                      <a:pt x="331" y="346"/>
                    </a:lnTo>
                    <a:lnTo>
                      <a:pt x="326" y="346"/>
                    </a:lnTo>
                    <a:lnTo>
                      <a:pt x="322" y="346"/>
                    </a:lnTo>
                    <a:lnTo>
                      <a:pt x="312" y="351"/>
                    </a:lnTo>
                    <a:lnTo>
                      <a:pt x="307" y="355"/>
                    </a:lnTo>
                    <a:lnTo>
                      <a:pt x="302" y="355"/>
                    </a:lnTo>
                    <a:lnTo>
                      <a:pt x="302" y="360"/>
                    </a:lnTo>
                    <a:lnTo>
                      <a:pt x="302" y="365"/>
                    </a:lnTo>
                    <a:lnTo>
                      <a:pt x="298" y="365"/>
                    </a:lnTo>
                    <a:lnTo>
                      <a:pt x="293" y="370"/>
                    </a:lnTo>
                    <a:lnTo>
                      <a:pt x="288" y="370"/>
                    </a:lnTo>
                    <a:lnTo>
                      <a:pt x="283" y="375"/>
                    </a:lnTo>
                    <a:lnTo>
                      <a:pt x="283" y="379"/>
                    </a:lnTo>
                    <a:lnTo>
                      <a:pt x="278" y="379"/>
                    </a:lnTo>
                    <a:lnTo>
                      <a:pt x="278" y="384"/>
                    </a:lnTo>
                    <a:lnTo>
                      <a:pt x="274" y="384"/>
                    </a:lnTo>
                    <a:lnTo>
                      <a:pt x="264" y="375"/>
                    </a:lnTo>
                    <a:lnTo>
                      <a:pt x="259" y="375"/>
                    </a:lnTo>
                    <a:lnTo>
                      <a:pt x="254" y="375"/>
                    </a:lnTo>
                    <a:lnTo>
                      <a:pt x="240" y="375"/>
                    </a:lnTo>
                    <a:lnTo>
                      <a:pt x="235" y="370"/>
                    </a:lnTo>
                    <a:lnTo>
                      <a:pt x="230" y="370"/>
                    </a:lnTo>
                    <a:lnTo>
                      <a:pt x="226" y="370"/>
                    </a:lnTo>
                    <a:lnTo>
                      <a:pt x="221" y="370"/>
                    </a:lnTo>
                    <a:lnTo>
                      <a:pt x="216" y="370"/>
                    </a:lnTo>
                    <a:lnTo>
                      <a:pt x="211" y="375"/>
                    </a:lnTo>
                    <a:lnTo>
                      <a:pt x="206" y="375"/>
                    </a:lnTo>
                    <a:lnTo>
                      <a:pt x="202" y="375"/>
                    </a:lnTo>
                    <a:lnTo>
                      <a:pt x="197" y="379"/>
                    </a:lnTo>
                    <a:lnTo>
                      <a:pt x="197" y="375"/>
                    </a:lnTo>
                    <a:lnTo>
                      <a:pt x="192" y="370"/>
                    </a:lnTo>
                    <a:lnTo>
                      <a:pt x="182" y="360"/>
                    </a:lnTo>
                    <a:lnTo>
                      <a:pt x="173" y="355"/>
                    </a:lnTo>
                    <a:lnTo>
                      <a:pt x="168" y="355"/>
                    </a:lnTo>
                    <a:lnTo>
                      <a:pt x="163" y="355"/>
                    </a:lnTo>
                    <a:lnTo>
                      <a:pt x="158" y="355"/>
                    </a:lnTo>
                    <a:lnTo>
                      <a:pt x="154" y="360"/>
                    </a:lnTo>
                    <a:lnTo>
                      <a:pt x="154" y="365"/>
                    </a:lnTo>
                    <a:lnTo>
                      <a:pt x="154" y="370"/>
                    </a:lnTo>
                    <a:lnTo>
                      <a:pt x="149" y="370"/>
                    </a:lnTo>
                    <a:lnTo>
                      <a:pt x="149" y="365"/>
                    </a:lnTo>
                    <a:lnTo>
                      <a:pt x="149" y="360"/>
                    </a:lnTo>
                    <a:lnTo>
                      <a:pt x="149" y="355"/>
                    </a:lnTo>
                    <a:lnTo>
                      <a:pt x="149" y="351"/>
                    </a:lnTo>
                    <a:lnTo>
                      <a:pt x="154" y="346"/>
                    </a:lnTo>
                    <a:lnTo>
                      <a:pt x="154" y="341"/>
                    </a:lnTo>
                    <a:lnTo>
                      <a:pt x="149" y="336"/>
                    </a:lnTo>
                    <a:lnTo>
                      <a:pt x="149" y="331"/>
                    </a:lnTo>
                    <a:lnTo>
                      <a:pt x="154" y="331"/>
                    </a:lnTo>
                    <a:lnTo>
                      <a:pt x="158" y="341"/>
                    </a:lnTo>
                    <a:lnTo>
                      <a:pt x="158" y="336"/>
                    </a:lnTo>
                    <a:lnTo>
                      <a:pt x="163" y="341"/>
                    </a:lnTo>
                    <a:lnTo>
                      <a:pt x="163" y="336"/>
                    </a:lnTo>
                    <a:lnTo>
                      <a:pt x="168" y="336"/>
                    </a:lnTo>
                    <a:lnTo>
                      <a:pt x="173" y="336"/>
                    </a:lnTo>
                    <a:lnTo>
                      <a:pt x="178" y="341"/>
                    </a:lnTo>
                    <a:lnTo>
                      <a:pt x="182" y="341"/>
                    </a:lnTo>
                    <a:lnTo>
                      <a:pt x="178" y="336"/>
                    </a:lnTo>
                    <a:lnTo>
                      <a:pt x="178" y="327"/>
                    </a:lnTo>
                    <a:lnTo>
                      <a:pt x="173" y="327"/>
                    </a:lnTo>
                    <a:lnTo>
                      <a:pt x="168" y="322"/>
                    </a:lnTo>
                    <a:lnTo>
                      <a:pt x="173" y="322"/>
                    </a:lnTo>
                    <a:lnTo>
                      <a:pt x="178" y="322"/>
                    </a:lnTo>
                    <a:lnTo>
                      <a:pt x="178" y="327"/>
                    </a:lnTo>
                    <a:lnTo>
                      <a:pt x="182" y="331"/>
                    </a:lnTo>
                    <a:lnTo>
                      <a:pt x="182" y="336"/>
                    </a:lnTo>
                    <a:lnTo>
                      <a:pt x="187" y="336"/>
                    </a:lnTo>
                    <a:lnTo>
                      <a:pt x="187" y="331"/>
                    </a:lnTo>
                    <a:lnTo>
                      <a:pt x="187" y="327"/>
                    </a:lnTo>
                    <a:lnTo>
                      <a:pt x="192" y="327"/>
                    </a:lnTo>
                    <a:lnTo>
                      <a:pt x="187" y="327"/>
                    </a:lnTo>
                    <a:lnTo>
                      <a:pt x="192" y="327"/>
                    </a:lnTo>
                    <a:lnTo>
                      <a:pt x="197" y="327"/>
                    </a:lnTo>
                    <a:lnTo>
                      <a:pt x="197" y="331"/>
                    </a:lnTo>
                    <a:lnTo>
                      <a:pt x="202" y="336"/>
                    </a:lnTo>
                    <a:lnTo>
                      <a:pt x="206" y="336"/>
                    </a:lnTo>
                    <a:lnTo>
                      <a:pt x="211" y="336"/>
                    </a:lnTo>
                    <a:lnTo>
                      <a:pt x="206" y="331"/>
                    </a:lnTo>
                    <a:lnTo>
                      <a:pt x="206" y="327"/>
                    </a:lnTo>
                    <a:lnTo>
                      <a:pt x="202" y="317"/>
                    </a:lnTo>
                    <a:lnTo>
                      <a:pt x="206" y="317"/>
                    </a:lnTo>
                    <a:lnTo>
                      <a:pt x="206" y="312"/>
                    </a:lnTo>
                    <a:lnTo>
                      <a:pt x="211" y="312"/>
                    </a:lnTo>
                    <a:lnTo>
                      <a:pt x="216" y="312"/>
                    </a:lnTo>
                    <a:lnTo>
                      <a:pt x="221" y="317"/>
                    </a:lnTo>
                    <a:lnTo>
                      <a:pt x="226" y="317"/>
                    </a:lnTo>
                    <a:lnTo>
                      <a:pt x="226" y="322"/>
                    </a:lnTo>
                    <a:lnTo>
                      <a:pt x="230" y="322"/>
                    </a:lnTo>
                    <a:lnTo>
                      <a:pt x="230" y="327"/>
                    </a:lnTo>
                    <a:lnTo>
                      <a:pt x="235" y="327"/>
                    </a:lnTo>
                    <a:lnTo>
                      <a:pt x="240" y="331"/>
                    </a:lnTo>
                    <a:lnTo>
                      <a:pt x="240" y="327"/>
                    </a:lnTo>
                    <a:lnTo>
                      <a:pt x="245" y="327"/>
                    </a:lnTo>
                    <a:lnTo>
                      <a:pt x="250" y="327"/>
                    </a:lnTo>
                    <a:lnTo>
                      <a:pt x="254" y="331"/>
                    </a:lnTo>
                    <a:lnTo>
                      <a:pt x="259" y="331"/>
                    </a:lnTo>
                    <a:lnTo>
                      <a:pt x="259" y="327"/>
                    </a:lnTo>
                    <a:lnTo>
                      <a:pt x="264" y="327"/>
                    </a:lnTo>
                    <a:lnTo>
                      <a:pt x="264" y="322"/>
                    </a:lnTo>
                    <a:lnTo>
                      <a:pt x="264" y="317"/>
                    </a:lnTo>
                    <a:lnTo>
                      <a:pt x="259" y="312"/>
                    </a:lnTo>
                    <a:lnTo>
                      <a:pt x="259" y="317"/>
                    </a:lnTo>
                    <a:lnTo>
                      <a:pt x="254" y="317"/>
                    </a:lnTo>
                    <a:lnTo>
                      <a:pt x="254" y="312"/>
                    </a:lnTo>
                    <a:lnTo>
                      <a:pt x="254" y="307"/>
                    </a:lnTo>
                    <a:lnTo>
                      <a:pt x="254" y="312"/>
                    </a:lnTo>
                    <a:lnTo>
                      <a:pt x="250" y="307"/>
                    </a:lnTo>
                    <a:lnTo>
                      <a:pt x="245" y="307"/>
                    </a:lnTo>
                    <a:lnTo>
                      <a:pt x="245" y="312"/>
                    </a:lnTo>
                    <a:lnTo>
                      <a:pt x="245" y="307"/>
                    </a:lnTo>
                    <a:lnTo>
                      <a:pt x="240" y="307"/>
                    </a:lnTo>
                    <a:lnTo>
                      <a:pt x="235" y="307"/>
                    </a:lnTo>
                    <a:lnTo>
                      <a:pt x="230" y="307"/>
                    </a:lnTo>
                    <a:lnTo>
                      <a:pt x="230" y="303"/>
                    </a:lnTo>
                    <a:lnTo>
                      <a:pt x="235" y="303"/>
                    </a:lnTo>
                    <a:lnTo>
                      <a:pt x="240" y="303"/>
                    </a:lnTo>
                    <a:lnTo>
                      <a:pt x="240" y="298"/>
                    </a:lnTo>
                    <a:lnTo>
                      <a:pt x="240" y="293"/>
                    </a:lnTo>
                    <a:lnTo>
                      <a:pt x="235" y="293"/>
                    </a:lnTo>
                    <a:lnTo>
                      <a:pt x="230" y="293"/>
                    </a:lnTo>
                    <a:lnTo>
                      <a:pt x="230" y="288"/>
                    </a:lnTo>
                    <a:lnTo>
                      <a:pt x="226" y="283"/>
                    </a:lnTo>
                    <a:lnTo>
                      <a:pt x="221" y="283"/>
                    </a:lnTo>
                    <a:lnTo>
                      <a:pt x="221" y="288"/>
                    </a:lnTo>
                    <a:lnTo>
                      <a:pt x="211" y="288"/>
                    </a:lnTo>
                    <a:lnTo>
                      <a:pt x="206" y="293"/>
                    </a:lnTo>
                    <a:lnTo>
                      <a:pt x="202" y="293"/>
                    </a:lnTo>
                    <a:lnTo>
                      <a:pt x="202" y="298"/>
                    </a:lnTo>
                    <a:lnTo>
                      <a:pt x="197" y="298"/>
                    </a:lnTo>
                    <a:lnTo>
                      <a:pt x="192" y="298"/>
                    </a:lnTo>
                    <a:lnTo>
                      <a:pt x="192" y="303"/>
                    </a:lnTo>
                    <a:lnTo>
                      <a:pt x="187" y="303"/>
                    </a:lnTo>
                    <a:lnTo>
                      <a:pt x="182" y="307"/>
                    </a:lnTo>
                    <a:lnTo>
                      <a:pt x="178" y="303"/>
                    </a:lnTo>
                    <a:lnTo>
                      <a:pt x="173" y="303"/>
                    </a:lnTo>
                    <a:lnTo>
                      <a:pt x="178" y="298"/>
                    </a:lnTo>
                    <a:lnTo>
                      <a:pt x="178" y="293"/>
                    </a:lnTo>
                    <a:lnTo>
                      <a:pt x="182" y="293"/>
                    </a:lnTo>
                    <a:lnTo>
                      <a:pt x="182" y="288"/>
                    </a:lnTo>
                    <a:lnTo>
                      <a:pt x="182" y="283"/>
                    </a:lnTo>
                    <a:lnTo>
                      <a:pt x="187" y="279"/>
                    </a:lnTo>
                    <a:lnTo>
                      <a:pt x="182" y="274"/>
                    </a:lnTo>
                    <a:lnTo>
                      <a:pt x="187" y="269"/>
                    </a:lnTo>
                    <a:lnTo>
                      <a:pt x="192" y="264"/>
                    </a:lnTo>
                    <a:lnTo>
                      <a:pt x="197" y="264"/>
                    </a:lnTo>
                    <a:lnTo>
                      <a:pt x="202" y="259"/>
                    </a:lnTo>
                    <a:lnTo>
                      <a:pt x="202" y="255"/>
                    </a:lnTo>
                    <a:lnTo>
                      <a:pt x="206" y="255"/>
                    </a:lnTo>
                    <a:lnTo>
                      <a:pt x="206" y="259"/>
                    </a:lnTo>
                    <a:lnTo>
                      <a:pt x="211" y="259"/>
                    </a:lnTo>
                    <a:lnTo>
                      <a:pt x="216" y="259"/>
                    </a:lnTo>
                    <a:lnTo>
                      <a:pt x="221" y="259"/>
                    </a:lnTo>
                    <a:lnTo>
                      <a:pt x="221" y="255"/>
                    </a:lnTo>
                    <a:lnTo>
                      <a:pt x="226" y="255"/>
                    </a:lnTo>
                    <a:lnTo>
                      <a:pt x="226" y="240"/>
                    </a:lnTo>
                    <a:lnTo>
                      <a:pt x="226" y="235"/>
                    </a:lnTo>
                    <a:lnTo>
                      <a:pt x="226" y="231"/>
                    </a:lnTo>
                    <a:lnTo>
                      <a:pt x="226" y="226"/>
                    </a:lnTo>
                    <a:lnTo>
                      <a:pt x="226" y="221"/>
                    </a:lnTo>
                    <a:lnTo>
                      <a:pt x="226" y="216"/>
                    </a:lnTo>
                    <a:lnTo>
                      <a:pt x="226" y="211"/>
                    </a:lnTo>
                    <a:lnTo>
                      <a:pt x="226" y="207"/>
                    </a:lnTo>
                    <a:lnTo>
                      <a:pt x="226" y="202"/>
                    </a:lnTo>
                    <a:lnTo>
                      <a:pt x="226" y="197"/>
                    </a:lnTo>
                    <a:lnTo>
                      <a:pt x="226" y="192"/>
                    </a:lnTo>
                    <a:lnTo>
                      <a:pt x="226" y="187"/>
                    </a:lnTo>
                    <a:lnTo>
                      <a:pt x="226" y="183"/>
                    </a:lnTo>
                    <a:lnTo>
                      <a:pt x="226" y="178"/>
                    </a:lnTo>
                    <a:lnTo>
                      <a:pt x="226" y="173"/>
                    </a:lnTo>
                    <a:lnTo>
                      <a:pt x="226" y="168"/>
                    </a:lnTo>
                    <a:lnTo>
                      <a:pt x="226" y="163"/>
                    </a:lnTo>
                    <a:lnTo>
                      <a:pt x="226" y="159"/>
                    </a:lnTo>
                    <a:lnTo>
                      <a:pt x="226" y="154"/>
                    </a:lnTo>
                    <a:lnTo>
                      <a:pt x="226" y="149"/>
                    </a:lnTo>
                    <a:lnTo>
                      <a:pt x="221" y="149"/>
                    </a:lnTo>
                    <a:lnTo>
                      <a:pt x="216" y="149"/>
                    </a:lnTo>
                    <a:lnTo>
                      <a:pt x="211" y="149"/>
                    </a:lnTo>
                    <a:lnTo>
                      <a:pt x="206" y="149"/>
                    </a:lnTo>
                    <a:lnTo>
                      <a:pt x="202" y="149"/>
                    </a:lnTo>
                    <a:lnTo>
                      <a:pt x="197" y="149"/>
                    </a:lnTo>
                    <a:lnTo>
                      <a:pt x="192" y="149"/>
                    </a:lnTo>
                    <a:lnTo>
                      <a:pt x="187" y="149"/>
                    </a:lnTo>
                    <a:lnTo>
                      <a:pt x="182" y="149"/>
                    </a:lnTo>
                    <a:lnTo>
                      <a:pt x="178" y="149"/>
                    </a:lnTo>
                    <a:lnTo>
                      <a:pt x="173" y="149"/>
                    </a:lnTo>
                    <a:lnTo>
                      <a:pt x="168" y="149"/>
                    </a:lnTo>
                    <a:lnTo>
                      <a:pt x="163" y="149"/>
                    </a:lnTo>
                    <a:lnTo>
                      <a:pt x="158" y="149"/>
                    </a:lnTo>
                    <a:lnTo>
                      <a:pt x="154" y="149"/>
                    </a:lnTo>
                    <a:lnTo>
                      <a:pt x="149" y="149"/>
                    </a:lnTo>
                    <a:lnTo>
                      <a:pt x="144" y="149"/>
                    </a:lnTo>
                    <a:lnTo>
                      <a:pt x="139" y="149"/>
                    </a:lnTo>
                    <a:lnTo>
                      <a:pt x="134" y="149"/>
                    </a:lnTo>
                    <a:lnTo>
                      <a:pt x="130" y="149"/>
                    </a:lnTo>
                    <a:lnTo>
                      <a:pt x="125" y="149"/>
                    </a:lnTo>
                    <a:lnTo>
                      <a:pt x="120" y="149"/>
                    </a:lnTo>
                    <a:lnTo>
                      <a:pt x="115" y="149"/>
                    </a:lnTo>
                    <a:lnTo>
                      <a:pt x="110" y="149"/>
                    </a:lnTo>
                    <a:lnTo>
                      <a:pt x="106" y="149"/>
                    </a:lnTo>
                    <a:lnTo>
                      <a:pt x="101" y="149"/>
                    </a:lnTo>
                    <a:lnTo>
                      <a:pt x="96" y="149"/>
                    </a:lnTo>
                    <a:lnTo>
                      <a:pt x="91" y="149"/>
                    </a:lnTo>
                    <a:lnTo>
                      <a:pt x="86" y="149"/>
                    </a:lnTo>
                    <a:lnTo>
                      <a:pt x="82" y="149"/>
                    </a:lnTo>
                    <a:lnTo>
                      <a:pt x="77" y="149"/>
                    </a:lnTo>
                    <a:lnTo>
                      <a:pt x="72" y="149"/>
                    </a:lnTo>
                    <a:lnTo>
                      <a:pt x="67" y="149"/>
                    </a:lnTo>
                    <a:lnTo>
                      <a:pt x="62" y="149"/>
                    </a:lnTo>
                    <a:lnTo>
                      <a:pt x="58" y="149"/>
                    </a:lnTo>
                    <a:lnTo>
                      <a:pt x="53" y="149"/>
                    </a:lnTo>
                    <a:lnTo>
                      <a:pt x="48" y="149"/>
                    </a:lnTo>
                    <a:lnTo>
                      <a:pt x="43" y="149"/>
                    </a:lnTo>
                    <a:lnTo>
                      <a:pt x="38" y="149"/>
                    </a:lnTo>
                    <a:lnTo>
                      <a:pt x="34" y="149"/>
                    </a:lnTo>
                    <a:lnTo>
                      <a:pt x="29" y="149"/>
                    </a:lnTo>
                    <a:lnTo>
                      <a:pt x="24" y="149"/>
                    </a:lnTo>
                    <a:lnTo>
                      <a:pt x="19" y="149"/>
                    </a:lnTo>
                    <a:lnTo>
                      <a:pt x="14" y="149"/>
                    </a:lnTo>
                    <a:lnTo>
                      <a:pt x="10" y="149"/>
                    </a:lnTo>
                    <a:lnTo>
                      <a:pt x="5" y="149"/>
                    </a:lnTo>
                    <a:lnTo>
                      <a:pt x="0" y="149"/>
                    </a:lnTo>
                    <a:lnTo>
                      <a:pt x="0" y="144"/>
                    </a:lnTo>
                    <a:lnTo>
                      <a:pt x="0" y="139"/>
                    </a:lnTo>
                    <a:lnTo>
                      <a:pt x="0" y="135"/>
                    </a:lnTo>
                    <a:lnTo>
                      <a:pt x="0" y="130"/>
                    </a:lnTo>
                    <a:lnTo>
                      <a:pt x="0" y="125"/>
                    </a:lnTo>
                    <a:lnTo>
                      <a:pt x="0" y="120"/>
                    </a:lnTo>
                    <a:lnTo>
                      <a:pt x="0" y="115"/>
                    </a:lnTo>
                    <a:lnTo>
                      <a:pt x="0" y="111"/>
                    </a:lnTo>
                    <a:lnTo>
                      <a:pt x="0" y="106"/>
                    </a:lnTo>
                    <a:lnTo>
                      <a:pt x="0" y="101"/>
                    </a:lnTo>
                    <a:lnTo>
                      <a:pt x="0" y="96"/>
                    </a:lnTo>
                    <a:lnTo>
                      <a:pt x="0" y="91"/>
                    </a:lnTo>
                    <a:lnTo>
                      <a:pt x="0" y="87"/>
                    </a:lnTo>
                    <a:lnTo>
                      <a:pt x="0" y="82"/>
                    </a:lnTo>
                    <a:lnTo>
                      <a:pt x="0" y="77"/>
                    </a:lnTo>
                    <a:lnTo>
                      <a:pt x="0" y="72"/>
                    </a:lnTo>
                    <a:lnTo>
                      <a:pt x="0" y="67"/>
                    </a:lnTo>
                    <a:lnTo>
                      <a:pt x="0" y="63"/>
                    </a:lnTo>
                    <a:lnTo>
                      <a:pt x="0" y="58"/>
                    </a:lnTo>
                    <a:lnTo>
                      <a:pt x="0" y="53"/>
                    </a:lnTo>
                    <a:lnTo>
                      <a:pt x="0" y="48"/>
                    </a:lnTo>
                    <a:lnTo>
                      <a:pt x="0" y="43"/>
                    </a:lnTo>
                    <a:lnTo>
                      <a:pt x="0" y="39"/>
                    </a:lnTo>
                    <a:lnTo>
                      <a:pt x="0" y="34"/>
                    </a:lnTo>
                    <a:lnTo>
                      <a:pt x="0" y="29"/>
                    </a:lnTo>
                    <a:lnTo>
                      <a:pt x="0" y="24"/>
                    </a:lnTo>
                    <a:lnTo>
                      <a:pt x="0" y="19"/>
                    </a:lnTo>
                    <a:lnTo>
                      <a:pt x="0" y="15"/>
                    </a:lnTo>
                    <a:lnTo>
                      <a:pt x="0" y="10"/>
                    </a:lnTo>
                    <a:lnTo>
                      <a:pt x="0" y="0"/>
                    </a:lnTo>
                    <a:close/>
                  </a:path>
                </a:pathLst>
              </a:custGeom>
              <a:solidFill>
                <a:schemeClr val="accent6">
                  <a:lumMod val="40000"/>
                  <a:lumOff val="6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40" name="Freeform 8"/>
              <p:cNvSpPr>
                <a:spLocks/>
              </p:cNvSpPr>
              <p:nvPr/>
            </p:nvSpPr>
            <p:spPr bwMode="gray">
              <a:xfrm>
                <a:off x="5527676" y="1536700"/>
                <a:ext cx="784225" cy="922337"/>
              </a:xfrm>
              <a:custGeom>
                <a:avLst/>
                <a:gdLst>
                  <a:gd name="T0" fmla="*/ 149 w 494"/>
                  <a:gd name="T1" fmla="*/ 29 h 581"/>
                  <a:gd name="T2" fmla="*/ 178 w 494"/>
                  <a:gd name="T3" fmla="*/ 48 h 581"/>
                  <a:gd name="T4" fmla="*/ 235 w 494"/>
                  <a:gd name="T5" fmla="*/ 82 h 581"/>
                  <a:gd name="T6" fmla="*/ 245 w 494"/>
                  <a:gd name="T7" fmla="*/ 139 h 581"/>
                  <a:gd name="T8" fmla="*/ 230 w 494"/>
                  <a:gd name="T9" fmla="*/ 187 h 581"/>
                  <a:gd name="T10" fmla="*/ 211 w 494"/>
                  <a:gd name="T11" fmla="*/ 207 h 581"/>
                  <a:gd name="T12" fmla="*/ 221 w 494"/>
                  <a:gd name="T13" fmla="*/ 221 h 581"/>
                  <a:gd name="T14" fmla="*/ 235 w 494"/>
                  <a:gd name="T15" fmla="*/ 231 h 581"/>
                  <a:gd name="T16" fmla="*/ 264 w 494"/>
                  <a:gd name="T17" fmla="*/ 245 h 581"/>
                  <a:gd name="T18" fmla="*/ 317 w 494"/>
                  <a:gd name="T19" fmla="*/ 312 h 581"/>
                  <a:gd name="T20" fmla="*/ 379 w 494"/>
                  <a:gd name="T21" fmla="*/ 360 h 581"/>
                  <a:gd name="T22" fmla="*/ 422 w 494"/>
                  <a:gd name="T23" fmla="*/ 389 h 581"/>
                  <a:gd name="T24" fmla="*/ 461 w 494"/>
                  <a:gd name="T25" fmla="*/ 418 h 581"/>
                  <a:gd name="T26" fmla="*/ 489 w 494"/>
                  <a:gd name="T27" fmla="*/ 437 h 581"/>
                  <a:gd name="T28" fmla="*/ 480 w 494"/>
                  <a:gd name="T29" fmla="*/ 456 h 581"/>
                  <a:gd name="T30" fmla="*/ 461 w 494"/>
                  <a:gd name="T31" fmla="*/ 480 h 581"/>
                  <a:gd name="T32" fmla="*/ 441 w 494"/>
                  <a:gd name="T33" fmla="*/ 504 h 581"/>
                  <a:gd name="T34" fmla="*/ 422 w 494"/>
                  <a:gd name="T35" fmla="*/ 523 h 581"/>
                  <a:gd name="T36" fmla="*/ 403 w 494"/>
                  <a:gd name="T37" fmla="*/ 547 h 581"/>
                  <a:gd name="T38" fmla="*/ 379 w 494"/>
                  <a:gd name="T39" fmla="*/ 571 h 581"/>
                  <a:gd name="T40" fmla="*/ 355 w 494"/>
                  <a:gd name="T41" fmla="*/ 576 h 581"/>
                  <a:gd name="T42" fmla="*/ 336 w 494"/>
                  <a:gd name="T43" fmla="*/ 576 h 581"/>
                  <a:gd name="T44" fmla="*/ 317 w 494"/>
                  <a:gd name="T45" fmla="*/ 571 h 581"/>
                  <a:gd name="T46" fmla="*/ 293 w 494"/>
                  <a:gd name="T47" fmla="*/ 571 h 581"/>
                  <a:gd name="T48" fmla="*/ 278 w 494"/>
                  <a:gd name="T49" fmla="*/ 581 h 581"/>
                  <a:gd name="T50" fmla="*/ 259 w 494"/>
                  <a:gd name="T51" fmla="*/ 571 h 581"/>
                  <a:gd name="T52" fmla="*/ 240 w 494"/>
                  <a:gd name="T53" fmla="*/ 562 h 581"/>
                  <a:gd name="T54" fmla="*/ 226 w 494"/>
                  <a:gd name="T55" fmla="*/ 552 h 581"/>
                  <a:gd name="T56" fmla="*/ 211 w 494"/>
                  <a:gd name="T57" fmla="*/ 543 h 581"/>
                  <a:gd name="T58" fmla="*/ 202 w 494"/>
                  <a:gd name="T59" fmla="*/ 528 h 581"/>
                  <a:gd name="T60" fmla="*/ 211 w 494"/>
                  <a:gd name="T61" fmla="*/ 514 h 581"/>
                  <a:gd name="T62" fmla="*/ 206 w 494"/>
                  <a:gd name="T63" fmla="*/ 495 h 581"/>
                  <a:gd name="T64" fmla="*/ 211 w 494"/>
                  <a:gd name="T65" fmla="*/ 475 h 581"/>
                  <a:gd name="T66" fmla="*/ 197 w 494"/>
                  <a:gd name="T67" fmla="*/ 461 h 581"/>
                  <a:gd name="T68" fmla="*/ 192 w 494"/>
                  <a:gd name="T69" fmla="*/ 437 h 581"/>
                  <a:gd name="T70" fmla="*/ 192 w 494"/>
                  <a:gd name="T71" fmla="*/ 413 h 581"/>
                  <a:gd name="T72" fmla="*/ 182 w 494"/>
                  <a:gd name="T73" fmla="*/ 399 h 581"/>
                  <a:gd name="T74" fmla="*/ 173 w 494"/>
                  <a:gd name="T75" fmla="*/ 384 h 581"/>
                  <a:gd name="T76" fmla="*/ 168 w 494"/>
                  <a:gd name="T77" fmla="*/ 365 h 581"/>
                  <a:gd name="T78" fmla="*/ 168 w 494"/>
                  <a:gd name="T79" fmla="*/ 351 h 581"/>
                  <a:gd name="T80" fmla="*/ 168 w 494"/>
                  <a:gd name="T81" fmla="*/ 327 h 581"/>
                  <a:gd name="T82" fmla="*/ 163 w 494"/>
                  <a:gd name="T83" fmla="*/ 312 h 581"/>
                  <a:gd name="T84" fmla="*/ 154 w 494"/>
                  <a:gd name="T85" fmla="*/ 293 h 581"/>
                  <a:gd name="T86" fmla="*/ 144 w 494"/>
                  <a:gd name="T87" fmla="*/ 279 h 581"/>
                  <a:gd name="T88" fmla="*/ 130 w 494"/>
                  <a:gd name="T89" fmla="*/ 269 h 581"/>
                  <a:gd name="T90" fmla="*/ 120 w 494"/>
                  <a:gd name="T91" fmla="*/ 250 h 581"/>
                  <a:gd name="T92" fmla="*/ 120 w 494"/>
                  <a:gd name="T93" fmla="*/ 226 h 581"/>
                  <a:gd name="T94" fmla="*/ 101 w 494"/>
                  <a:gd name="T95" fmla="*/ 221 h 581"/>
                  <a:gd name="T96" fmla="*/ 86 w 494"/>
                  <a:gd name="T97" fmla="*/ 211 h 581"/>
                  <a:gd name="T98" fmla="*/ 72 w 494"/>
                  <a:gd name="T99" fmla="*/ 202 h 581"/>
                  <a:gd name="T100" fmla="*/ 48 w 494"/>
                  <a:gd name="T101" fmla="*/ 202 h 581"/>
                  <a:gd name="T102" fmla="*/ 48 w 494"/>
                  <a:gd name="T103" fmla="*/ 178 h 581"/>
                  <a:gd name="T104" fmla="*/ 43 w 494"/>
                  <a:gd name="T105" fmla="*/ 159 h 581"/>
                  <a:gd name="T106" fmla="*/ 29 w 494"/>
                  <a:gd name="T107" fmla="*/ 149 h 581"/>
                  <a:gd name="T108" fmla="*/ 14 w 494"/>
                  <a:gd name="T109" fmla="*/ 139 h 581"/>
                  <a:gd name="T110" fmla="*/ 10 w 494"/>
                  <a:gd name="T111" fmla="*/ 120 h 581"/>
                  <a:gd name="T112" fmla="*/ 5 w 494"/>
                  <a:gd name="T113" fmla="*/ 96 h 581"/>
                  <a:gd name="T114" fmla="*/ 5 w 494"/>
                  <a:gd name="T115" fmla="*/ 72 h 581"/>
                  <a:gd name="T116" fmla="*/ 0 w 494"/>
                  <a:gd name="T117" fmla="*/ 53 h 581"/>
                  <a:gd name="T118" fmla="*/ 14 w 494"/>
                  <a:gd name="T119" fmla="*/ 39 h 581"/>
                  <a:gd name="T120" fmla="*/ 29 w 494"/>
                  <a:gd name="T121" fmla="*/ 29 h 581"/>
                  <a:gd name="T122" fmla="*/ 48 w 494"/>
                  <a:gd name="T123" fmla="*/ 24 h 581"/>
                  <a:gd name="T124" fmla="*/ 67 w 494"/>
                  <a:gd name="T125" fmla="*/ 15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4" h="581">
                    <a:moveTo>
                      <a:pt x="96" y="0"/>
                    </a:moveTo>
                    <a:lnTo>
                      <a:pt x="110" y="10"/>
                    </a:lnTo>
                    <a:lnTo>
                      <a:pt x="120" y="15"/>
                    </a:lnTo>
                    <a:lnTo>
                      <a:pt x="125" y="15"/>
                    </a:lnTo>
                    <a:lnTo>
                      <a:pt x="149" y="29"/>
                    </a:lnTo>
                    <a:lnTo>
                      <a:pt x="154" y="34"/>
                    </a:lnTo>
                    <a:lnTo>
                      <a:pt x="168" y="39"/>
                    </a:lnTo>
                    <a:lnTo>
                      <a:pt x="173" y="43"/>
                    </a:lnTo>
                    <a:lnTo>
                      <a:pt x="178" y="43"/>
                    </a:lnTo>
                    <a:lnTo>
                      <a:pt x="178" y="48"/>
                    </a:lnTo>
                    <a:lnTo>
                      <a:pt x="182" y="48"/>
                    </a:lnTo>
                    <a:lnTo>
                      <a:pt x="206" y="67"/>
                    </a:lnTo>
                    <a:lnTo>
                      <a:pt x="211" y="67"/>
                    </a:lnTo>
                    <a:lnTo>
                      <a:pt x="216" y="72"/>
                    </a:lnTo>
                    <a:lnTo>
                      <a:pt x="235" y="82"/>
                    </a:lnTo>
                    <a:lnTo>
                      <a:pt x="240" y="87"/>
                    </a:lnTo>
                    <a:lnTo>
                      <a:pt x="240" y="101"/>
                    </a:lnTo>
                    <a:lnTo>
                      <a:pt x="245" y="130"/>
                    </a:lnTo>
                    <a:lnTo>
                      <a:pt x="245" y="135"/>
                    </a:lnTo>
                    <a:lnTo>
                      <a:pt x="245" y="139"/>
                    </a:lnTo>
                    <a:lnTo>
                      <a:pt x="250" y="144"/>
                    </a:lnTo>
                    <a:lnTo>
                      <a:pt x="250" y="163"/>
                    </a:lnTo>
                    <a:lnTo>
                      <a:pt x="250" y="168"/>
                    </a:lnTo>
                    <a:lnTo>
                      <a:pt x="235" y="183"/>
                    </a:lnTo>
                    <a:lnTo>
                      <a:pt x="230" y="187"/>
                    </a:lnTo>
                    <a:lnTo>
                      <a:pt x="226" y="192"/>
                    </a:lnTo>
                    <a:lnTo>
                      <a:pt x="221" y="197"/>
                    </a:lnTo>
                    <a:lnTo>
                      <a:pt x="216" y="197"/>
                    </a:lnTo>
                    <a:lnTo>
                      <a:pt x="216" y="202"/>
                    </a:lnTo>
                    <a:lnTo>
                      <a:pt x="211" y="207"/>
                    </a:lnTo>
                    <a:lnTo>
                      <a:pt x="211" y="211"/>
                    </a:lnTo>
                    <a:lnTo>
                      <a:pt x="211" y="216"/>
                    </a:lnTo>
                    <a:lnTo>
                      <a:pt x="216" y="216"/>
                    </a:lnTo>
                    <a:lnTo>
                      <a:pt x="221" y="216"/>
                    </a:lnTo>
                    <a:lnTo>
                      <a:pt x="221" y="221"/>
                    </a:lnTo>
                    <a:lnTo>
                      <a:pt x="216" y="231"/>
                    </a:lnTo>
                    <a:lnTo>
                      <a:pt x="216" y="235"/>
                    </a:lnTo>
                    <a:lnTo>
                      <a:pt x="221" y="235"/>
                    </a:lnTo>
                    <a:lnTo>
                      <a:pt x="226" y="231"/>
                    </a:lnTo>
                    <a:lnTo>
                      <a:pt x="235" y="231"/>
                    </a:lnTo>
                    <a:lnTo>
                      <a:pt x="240" y="231"/>
                    </a:lnTo>
                    <a:lnTo>
                      <a:pt x="245" y="231"/>
                    </a:lnTo>
                    <a:lnTo>
                      <a:pt x="245" y="235"/>
                    </a:lnTo>
                    <a:lnTo>
                      <a:pt x="259" y="240"/>
                    </a:lnTo>
                    <a:lnTo>
                      <a:pt x="264" y="245"/>
                    </a:lnTo>
                    <a:lnTo>
                      <a:pt x="264" y="250"/>
                    </a:lnTo>
                    <a:lnTo>
                      <a:pt x="269" y="264"/>
                    </a:lnTo>
                    <a:lnTo>
                      <a:pt x="283" y="288"/>
                    </a:lnTo>
                    <a:lnTo>
                      <a:pt x="307" y="307"/>
                    </a:lnTo>
                    <a:lnTo>
                      <a:pt x="317" y="312"/>
                    </a:lnTo>
                    <a:lnTo>
                      <a:pt x="317" y="317"/>
                    </a:lnTo>
                    <a:lnTo>
                      <a:pt x="336" y="327"/>
                    </a:lnTo>
                    <a:lnTo>
                      <a:pt x="341" y="331"/>
                    </a:lnTo>
                    <a:lnTo>
                      <a:pt x="345" y="336"/>
                    </a:lnTo>
                    <a:lnTo>
                      <a:pt x="379" y="360"/>
                    </a:lnTo>
                    <a:lnTo>
                      <a:pt x="384" y="365"/>
                    </a:lnTo>
                    <a:lnTo>
                      <a:pt x="389" y="365"/>
                    </a:lnTo>
                    <a:lnTo>
                      <a:pt x="393" y="370"/>
                    </a:lnTo>
                    <a:lnTo>
                      <a:pt x="413" y="384"/>
                    </a:lnTo>
                    <a:lnTo>
                      <a:pt x="422" y="389"/>
                    </a:lnTo>
                    <a:lnTo>
                      <a:pt x="427" y="394"/>
                    </a:lnTo>
                    <a:lnTo>
                      <a:pt x="432" y="399"/>
                    </a:lnTo>
                    <a:lnTo>
                      <a:pt x="441" y="403"/>
                    </a:lnTo>
                    <a:lnTo>
                      <a:pt x="446" y="408"/>
                    </a:lnTo>
                    <a:lnTo>
                      <a:pt x="461" y="418"/>
                    </a:lnTo>
                    <a:lnTo>
                      <a:pt x="470" y="427"/>
                    </a:lnTo>
                    <a:lnTo>
                      <a:pt x="480" y="432"/>
                    </a:lnTo>
                    <a:lnTo>
                      <a:pt x="485" y="432"/>
                    </a:lnTo>
                    <a:lnTo>
                      <a:pt x="485" y="437"/>
                    </a:lnTo>
                    <a:lnTo>
                      <a:pt x="489" y="437"/>
                    </a:lnTo>
                    <a:lnTo>
                      <a:pt x="494" y="442"/>
                    </a:lnTo>
                    <a:lnTo>
                      <a:pt x="494" y="447"/>
                    </a:lnTo>
                    <a:lnTo>
                      <a:pt x="489" y="451"/>
                    </a:lnTo>
                    <a:lnTo>
                      <a:pt x="485" y="456"/>
                    </a:lnTo>
                    <a:lnTo>
                      <a:pt x="480" y="456"/>
                    </a:lnTo>
                    <a:lnTo>
                      <a:pt x="475" y="461"/>
                    </a:lnTo>
                    <a:lnTo>
                      <a:pt x="475" y="466"/>
                    </a:lnTo>
                    <a:lnTo>
                      <a:pt x="470" y="471"/>
                    </a:lnTo>
                    <a:lnTo>
                      <a:pt x="465" y="475"/>
                    </a:lnTo>
                    <a:lnTo>
                      <a:pt x="461" y="480"/>
                    </a:lnTo>
                    <a:lnTo>
                      <a:pt x="456" y="485"/>
                    </a:lnTo>
                    <a:lnTo>
                      <a:pt x="451" y="490"/>
                    </a:lnTo>
                    <a:lnTo>
                      <a:pt x="451" y="495"/>
                    </a:lnTo>
                    <a:lnTo>
                      <a:pt x="446" y="499"/>
                    </a:lnTo>
                    <a:lnTo>
                      <a:pt x="441" y="504"/>
                    </a:lnTo>
                    <a:lnTo>
                      <a:pt x="437" y="509"/>
                    </a:lnTo>
                    <a:lnTo>
                      <a:pt x="432" y="514"/>
                    </a:lnTo>
                    <a:lnTo>
                      <a:pt x="427" y="514"/>
                    </a:lnTo>
                    <a:lnTo>
                      <a:pt x="427" y="519"/>
                    </a:lnTo>
                    <a:lnTo>
                      <a:pt x="422" y="523"/>
                    </a:lnTo>
                    <a:lnTo>
                      <a:pt x="417" y="528"/>
                    </a:lnTo>
                    <a:lnTo>
                      <a:pt x="413" y="533"/>
                    </a:lnTo>
                    <a:lnTo>
                      <a:pt x="408" y="538"/>
                    </a:lnTo>
                    <a:lnTo>
                      <a:pt x="403" y="543"/>
                    </a:lnTo>
                    <a:lnTo>
                      <a:pt x="403" y="547"/>
                    </a:lnTo>
                    <a:lnTo>
                      <a:pt x="398" y="552"/>
                    </a:lnTo>
                    <a:lnTo>
                      <a:pt x="393" y="557"/>
                    </a:lnTo>
                    <a:lnTo>
                      <a:pt x="389" y="562"/>
                    </a:lnTo>
                    <a:lnTo>
                      <a:pt x="384" y="567"/>
                    </a:lnTo>
                    <a:lnTo>
                      <a:pt x="379" y="571"/>
                    </a:lnTo>
                    <a:lnTo>
                      <a:pt x="374" y="576"/>
                    </a:lnTo>
                    <a:lnTo>
                      <a:pt x="369" y="576"/>
                    </a:lnTo>
                    <a:lnTo>
                      <a:pt x="365" y="576"/>
                    </a:lnTo>
                    <a:lnTo>
                      <a:pt x="360" y="576"/>
                    </a:lnTo>
                    <a:lnTo>
                      <a:pt x="355" y="576"/>
                    </a:lnTo>
                    <a:lnTo>
                      <a:pt x="350" y="576"/>
                    </a:lnTo>
                    <a:lnTo>
                      <a:pt x="345" y="576"/>
                    </a:lnTo>
                    <a:lnTo>
                      <a:pt x="341" y="576"/>
                    </a:lnTo>
                    <a:lnTo>
                      <a:pt x="336" y="581"/>
                    </a:lnTo>
                    <a:lnTo>
                      <a:pt x="336" y="576"/>
                    </a:lnTo>
                    <a:lnTo>
                      <a:pt x="331" y="576"/>
                    </a:lnTo>
                    <a:lnTo>
                      <a:pt x="326" y="576"/>
                    </a:lnTo>
                    <a:lnTo>
                      <a:pt x="326" y="571"/>
                    </a:lnTo>
                    <a:lnTo>
                      <a:pt x="321" y="571"/>
                    </a:lnTo>
                    <a:lnTo>
                      <a:pt x="317" y="571"/>
                    </a:lnTo>
                    <a:lnTo>
                      <a:pt x="312" y="571"/>
                    </a:lnTo>
                    <a:lnTo>
                      <a:pt x="307" y="571"/>
                    </a:lnTo>
                    <a:lnTo>
                      <a:pt x="302" y="571"/>
                    </a:lnTo>
                    <a:lnTo>
                      <a:pt x="298" y="571"/>
                    </a:lnTo>
                    <a:lnTo>
                      <a:pt x="293" y="571"/>
                    </a:lnTo>
                    <a:lnTo>
                      <a:pt x="288" y="571"/>
                    </a:lnTo>
                    <a:lnTo>
                      <a:pt x="288" y="576"/>
                    </a:lnTo>
                    <a:lnTo>
                      <a:pt x="283" y="576"/>
                    </a:lnTo>
                    <a:lnTo>
                      <a:pt x="283" y="581"/>
                    </a:lnTo>
                    <a:lnTo>
                      <a:pt x="278" y="581"/>
                    </a:lnTo>
                    <a:lnTo>
                      <a:pt x="274" y="581"/>
                    </a:lnTo>
                    <a:lnTo>
                      <a:pt x="269" y="581"/>
                    </a:lnTo>
                    <a:lnTo>
                      <a:pt x="269" y="576"/>
                    </a:lnTo>
                    <a:lnTo>
                      <a:pt x="264" y="576"/>
                    </a:lnTo>
                    <a:lnTo>
                      <a:pt x="259" y="571"/>
                    </a:lnTo>
                    <a:lnTo>
                      <a:pt x="254" y="571"/>
                    </a:lnTo>
                    <a:lnTo>
                      <a:pt x="254" y="567"/>
                    </a:lnTo>
                    <a:lnTo>
                      <a:pt x="250" y="567"/>
                    </a:lnTo>
                    <a:lnTo>
                      <a:pt x="245" y="562"/>
                    </a:lnTo>
                    <a:lnTo>
                      <a:pt x="240" y="562"/>
                    </a:lnTo>
                    <a:lnTo>
                      <a:pt x="240" y="557"/>
                    </a:lnTo>
                    <a:lnTo>
                      <a:pt x="235" y="557"/>
                    </a:lnTo>
                    <a:lnTo>
                      <a:pt x="235" y="552"/>
                    </a:lnTo>
                    <a:lnTo>
                      <a:pt x="230" y="552"/>
                    </a:lnTo>
                    <a:lnTo>
                      <a:pt x="226" y="552"/>
                    </a:lnTo>
                    <a:lnTo>
                      <a:pt x="226" y="547"/>
                    </a:lnTo>
                    <a:lnTo>
                      <a:pt x="221" y="547"/>
                    </a:lnTo>
                    <a:lnTo>
                      <a:pt x="216" y="547"/>
                    </a:lnTo>
                    <a:lnTo>
                      <a:pt x="216" y="543"/>
                    </a:lnTo>
                    <a:lnTo>
                      <a:pt x="211" y="543"/>
                    </a:lnTo>
                    <a:lnTo>
                      <a:pt x="206" y="543"/>
                    </a:lnTo>
                    <a:lnTo>
                      <a:pt x="206" y="538"/>
                    </a:lnTo>
                    <a:lnTo>
                      <a:pt x="206" y="533"/>
                    </a:lnTo>
                    <a:lnTo>
                      <a:pt x="202" y="533"/>
                    </a:lnTo>
                    <a:lnTo>
                      <a:pt x="202" y="528"/>
                    </a:lnTo>
                    <a:lnTo>
                      <a:pt x="202" y="523"/>
                    </a:lnTo>
                    <a:lnTo>
                      <a:pt x="206" y="523"/>
                    </a:lnTo>
                    <a:lnTo>
                      <a:pt x="206" y="519"/>
                    </a:lnTo>
                    <a:lnTo>
                      <a:pt x="211" y="519"/>
                    </a:lnTo>
                    <a:lnTo>
                      <a:pt x="211" y="514"/>
                    </a:lnTo>
                    <a:lnTo>
                      <a:pt x="211" y="509"/>
                    </a:lnTo>
                    <a:lnTo>
                      <a:pt x="211" y="504"/>
                    </a:lnTo>
                    <a:lnTo>
                      <a:pt x="211" y="499"/>
                    </a:lnTo>
                    <a:lnTo>
                      <a:pt x="206" y="499"/>
                    </a:lnTo>
                    <a:lnTo>
                      <a:pt x="206" y="495"/>
                    </a:lnTo>
                    <a:lnTo>
                      <a:pt x="206" y="490"/>
                    </a:lnTo>
                    <a:lnTo>
                      <a:pt x="211" y="490"/>
                    </a:lnTo>
                    <a:lnTo>
                      <a:pt x="211" y="485"/>
                    </a:lnTo>
                    <a:lnTo>
                      <a:pt x="211" y="480"/>
                    </a:lnTo>
                    <a:lnTo>
                      <a:pt x="211" y="475"/>
                    </a:lnTo>
                    <a:lnTo>
                      <a:pt x="206" y="475"/>
                    </a:lnTo>
                    <a:lnTo>
                      <a:pt x="206" y="471"/>
                    </a:lnTo>
                    <a:lnTo>
                      <a:pt x="202" y="466"/>
                    </a:lnTo>
                    <a:lnTo>
                      <a:pt x="197" y="466"/>
                    </a:lnTo>
                    <a:lnTo>
                      <a:pt x="197" y="461"/>
                    </a:lnTo>
                    <a:lnTo>
                      <a:pt x="197" y="456"/>
                    </a:lnTo>
                    <a:lnTo>
                      <a:pt x="197" y="451"/>
                    </a:lnTo>
                    <a:lnTo>
                      <a:pt x="192" y="447"/>
                    </a:lnTo>
                    <a:lnTo>
                      <a:pt x="192" y="442"/>
                    </a:lnTo>
                    <a:lnTo>
                      <a:pt x="192" y="437"/>
                    </a:lnTo>
                    <a:lnTo>
                      <a:pt x="192" y="432"/>
                    </a:lnTo>
                    <a:lnTo>
                      <a:pt x="192" y="427"/>
                    </a:lnTo>
                    <a:lnTo>
                      <a:pt x="192" y="423"/>
                    </a:lnTo>
                    <a:lnTo>
                      <a:pt x="192" y="418"/>
                    </a:lnTo>
                    <a:lnTo>
                      <a:pt x="192" y="413"/>
                    </a:lnTo>
                    <a:lnTo>
                      <a:pt x="192" y="408"/>
                    </a:lnTo>
                    <a:lnTo>
                      <a:pt x="187" y="408"/>
                    </a:lnTo>
                    <a:lnTo>
                      <a:pt x="187" y="403"/>
                    </a:lnTo>
                    <a:lnTo>
                      <a:pt x="187" y="399"/>
                    </a:lnTo>
                    <a:lnTo>
                      <a:pt x="182" y="399"/>
                    </a:lnTo>
                    <a:lnTo>
                      <a:pt x="182" y="394"/>
                    </a:lnTo>
                    <a:lnTo>
                      <a:pt x="178" y="394"/>
                    </a:lnTo>
                    <a:lnTo>
                      <a:pt x="178" y="389"/>
                    </a:lnTo>
                    <a:lnTo>
                      <a:pt x="173" y="389"/>
                    </a:lnTo>
                    <a:lnTo>
                      <a:pt x="173" y="384"/>
                    </a:lnTo>
                    <a:lnTo>
                      <a:pt x="173" y="379"/>
                    </a:lnTo>
                    <a:lnTo>
                      <a:pt x="173" y="375"/>
                    </a:lnTo>
                    <a:lnTo>
                      <a:pt x="173" y="370"/>
                    </a:lnTo>
                    <a:lnTo>
                      <a:pt x="173" y="365"/>
                    </a:lnTo>
                    <a:lnTo>
                      <a:pt x="168" y="365"/>
                    </a:lnTo>
                    <a:lnTo>
                      <a:pt x="168" y="360"/>
                    </a:lnTo>
                    <a:lnTo>
                      <a:pt x="173" y="360"/>
                    </a:lnTo>
                    <a:lnTo>
                      <a:pt x="173" y="355"/>
                    </a:lnTo>
                    <a:lnTo>
                      <a:pt x="173" y="351"/>
                    </a:lnTo>
                    <a:lnTo>
                      <a:pt x="168" y="351"/>
                    </a:lnTo>
                    <a:lnTo>
                      <a:pt x="168" y="346"/>
                    </a:lnTo>
                    <a:lnTo>
                      <a:pt x="168" y="341"/>
                    </a:lnTo>
                    <a:lnTo>
                      <a:pt x="168" y="336"/>
                    </a:lnTo>
                    <a:lnTo>
                      <a:pt x="168" y="331"/>
                    </a:lnTo>
                    <a:lnTo>
                      <a:pt x="168" y="327"/>
                    </a:lnTo>
                    <a:lnTo>
                      <a:pt x="168" y="322"/>
                    </a:lnTo>
                    <a:lnTo>
                      <a:pt x="173" y="322"/>
                    </a:lnTo>
                    <a:lnTo>
                      <a:pt x="168" y="317"/>
                    </a:lnTo>
                    <a:lnTo>
                      <a:pt x="163" y="317"/>
                    </a:lnTo>
                    <a:lnTo>
                      <a:pt x="163" y="312"/>
                    </a:lnTo>
                    <a:lnTo>
                      <a:pt x="163" y="307"/>
                    </a:lnTo>
                    <a:lnTo>
                      <a:pt x="158" y="307"/>
                    </a:lnTo>
                    <a:lnTo>
                      <a:pt x="158" y="303"/>
                    </a:lnTo>
                    <a:lnTo>
                      <a:pt x="158" y="298"/>
                    </a:lnTo>
                    <a:lnTo>
                      <a:pt x="154" y="293"/>
                    </a:lnTo>
                    <a:lnTo>
                      <a:pt x="154" y="288"/>
                    </a:lnTo>
                    <a:lnTo>
                      <a:pt x="149" y="288"/>
                    </a:lnTo>
                    <a:lnTo>
                      <a:pt x="149" y="283"/>
                    </a:lnTo>
                    <a:lnTo>
                      <a:pt x="144" y="283"/>
                    </a:lnTo>
                    <a:lnTo>
                      <a:pt x="144" y="279"/>
                    </a:lnTo>
                    <a:lnTo>
                      <a:pt x="139" y="279"/>
                    </a:lnTo>
                    <a:lnTo>
                      <a:pt x="139" y="274"/>
                    </a:lnTo>
                    <a:lnTo>
                      <a:pt x="134" y="274"/>
                    </a:lnTo>
                    <a:lnTo>
                      <a:pt x="134" y="269"/>
                    </a:lnTo>
                    <a:lnTo>
                      <a:pt x="130" y="269"/>
                    </a:lnTo>
                    <a:lnTo>
                      <a:pt x="130" y="264"/>
                    </a:lnTo>
                    <a:lnTo>
                      <a:pt x="130" y="259"/>
                    </a:lnTo>
                    <a:lnTo>
                      <a:pt x="125" y="255"/>
                    </a:lnTo>
                    <a:lnTo>
                      <a:pt x="125" y="250"/>
                    </a:lnTo>
                    <a:lnTo>
                      <a:pt x="120" y="250"/>
                    </a:lnTo>
                    <a:lnTo>
                      <a:pt x="120" y="245"/>
                    </a:lnTo>
                    <a:lnTo>
                      <a:pt x="120" y="240"/>
                    </a:lnTo>
                    <a:lnTo>
                      <a:pt x="120" y="235"/>
                    </a:lnTo>
                    <a:lnTo>
                      <a:pt x="120" y="231"/>
                    </a:lnTo>
                    <a:lnTo>
                      <a:pt x="120" y="226"/>
                    </a:lnTo>
                    <a:lnTo>
                      <a:pt x="115" y="226"/>
                    </a:lnTo>
                    <a:lnTo>
                      <a:pt x="110" y="226"/>
                    </a:lnTo>
                    <a:lnTo>
                      <a:pt x="106" y="226"/>
                    </a:lnTo>
                    <a:lnTo>
                      <a:pt x="101" y="226"/>
                    </a:lnTo>
                    <a:lnTo>
                      <a:pt x="101" y="221"/>
                    </a:lnTo>
                    <a:lnTo>
                      <a:pt x="96" y="221"/>
                    </a:lnTo>
                    <a:lnTo>
                      <a:pt x="91" y="221"/>
                    </a:lnTo>
                    <a:lnTo>
                      <a:pt x="91" y="216"/>
                    </a:lnTo>
                    <a:lnTo>
                      <a:pt x="91" y="211"/>
                    </a:lnTo>
                    <a:lnTo>
                      <a:pt x="86" y="211"/>
                    </a:lnTo>
                    <a:lnTo>
                      <a:pt x="82" y="211"/>
                    </a:lnTo>
                    <a:lnTo>
                      <a:pt x="77" y="211"/>
                    </a:lnTo>
                    <a:lnTo>
                      <a:pt x="77" y="207"/>
                    </a:lnTo>
                    <a:lnTo>
                      <a:pt x="77" y="202"/>
                    </a:lnTo>
                    <a:lnTo>
                      <a:pt x="72" y="202"/>
                    </a:lnTo>
                    <a:lnTo>
                      <a:pt x="67" y="202"/>
                    </a:lnTo>
                    <a:lnTo>
                      <a:pt x="62" y="202"/>
                    </a:lnTo>
                    <a:lnTo>
                      <a:pt x="58" y="202"/>
                    </a:lnTo>
                    <a:lnTo>
                      <a:pt x="53" y="202"/>
                    </a:lnTo>
                    <a:lnTo>
                      <a:pt x="48" y="202"/>
                    </a:lnTo>
                    <a:lnTo>
                      <a:pt x="48" y="197"/>
                    </a:lnTo>
                    <a:lnTo>
                      <a:pt x="48" y="192"/>
                    </a:lnTo>
                    <a:lnTo>
                      <a:pt x="48" y="187"/>
                    </a:lnTo>
                    <a:lnTo>
                      <a:pt x="48" y="183"/>
                    </a:lnTo>
                    <a:lnTo>
                      <a:pt x="48" y="178"/>
                    </a:lnTo>
                    <a:lnTo>
                      <a:pt x="48" y="173"/>
                    </a:lnTo>
                    <a:lnTo>
                      <a:pt x="48" y="168"/>
                    </a:lnTo>
                    <a:lnTo>
                      <a:pt x="48" y="163"/>
                    </a:lnTo>
                    <a:lnTo>
                      <a:pt x="43" y="163"/>
                    </a:lnTo>
                    <a:lnTo>
                      <a:pt x="43" y="159"/>
                    </a:lnTo>
                    <a:lnTo>
                      <a:pt x="38" y="159"/>
                    </a:lnTo>
                    <a:lnTo>
                      <a:pt x="38" y="154"/>
                    </a:lnTo>
                    <a:lnTo>
                      <a:pt x="34" y="154"/>
                    </a:lnTo>
                    <a:lnTo>
                      <a:pt x="34" y="149"/>
                    </a:lnTo>
                    <a:lnTo>
                      <a:pt x="29" y="149"/>
                    </a:lnTo>
                    <a:lnTo>
                      <a:pt x="24" y="149"/>
                    </a:lnTo>
                    <a:lnTo>
                      <a:pt x="24" y="144"/>
                    </a:lnTo>
                    <a:lnTo>
                      <a:pt x="19" y="144"/>
                    </a:lnTo>
                    <a:lnTo>
                      <a:pt x="14" y="144"/>
                    </a:lnTo>
                    <a:lnTo>
                      <a:pt x="14" y="139"/>
                    </a:lnTo>
                    <a:lnTo>
                      <a:pt x="10" y="139"/>
                    </a:lnTo>
                    <a:lnTo>
                      <a:pt x="10" y="135"/>
                    </a:lnTo>
                    <a:lnTo>
                      <a:pt x="10" y="130"/>
                    </a:lnTo>
                    <a:lnTo>
                      <a:pt x="10" y="125"/>
                    </a:lnTo>
                    <a:lnTo>
                      <a:pt x="10" y="120"/>
                    </a:lnTo>
                    <a:lnTo>
                      <a:pt x="10" y="115"/>
                    </a:lnTo>
                    <a:lnTo>
                      <a:pt x="5" y="111"/>
                    </a:lnTo>
                    <a:lnTo>
                      <a:pt x="5" y="106"/>
                    </a:lnTo>
                    <a:lnTo>
                      <a:pt x="5" y="101"/>
                    </a:lnTo>
                    <a:lnTo>
                      <a:pt x="5" y="96"/>
                    </a:lnTo>
                    <a:lnTo>
                      <a:pt x="5" y="91"/>
                    </a:lnTo>
                    <a:lnTo>
                      <a:pt x="5" y="87"/>
                    </a:lnTo>
                    <a:lnTo>
                      <a:pt x="5" y="82"/>
                    </a:lnTo>
                    <a:lnTo>
                      <a:pt x="5" y="77"/>
                    </a:lnTo>
                    <a:lnTo>
                      <a:pt x="5" y="72"/>
                    </a:lnTo>
                    <a:lnTo>
                      <a:pt x="5" y="67"/>
                    </a:lnTo>
                    <a:lnTo>
                      <a:pt x="5" y="63"/>
                    </a:lnTo>
                    <a:lnTo>
                      <a:pt x="5" y="58"/>
                    </a:lnTo>
                    <a:lnTo>
                      <a:pt x="5" y="53"/>
                    </a:lnTo>
                    <a:lnTo>
                      <a:pt x="0" y="53"/>
                    </a:lnTo>
                    <a:lnTo>
                      <a:pt x="5" y="48"/>
                    </a:lnTo>
                    <a:lnTo>
                      <a:pt x="5" y="43"/>
                    </a:lnTo>
                    <a:lnTo>
                      <a:pt x="10" y="43"/>
                    </a:lnTo>
                    <a:lnTo>
                      <a:pt x="10" y="39"/>
                    </a:lnTo>
                    <a:lnTo>
                      <a:pt x="14" y="39"/>
                    </a:lnTo>
                    <a:lnTo>
                      <a:pt x="14" y="34"/>
                    </a:lnTo>
                    <a:lnTo>
                      <a:pt x="19" y="34"/>
                    </a:lnTo>
                    <a:lnTo>
                      <a:pt x="19" y="29"/>
                    </a:lnTo>
                    <a:lnTo>
                      <a:pt x="24" y="29"/>
                    </a:lnTo>
                    <a:lnTo>
                      <a:pt x="29" y="29"/>
                    </a:lnTo>
                    <a:lnTo>
                      <a:pt x="34" y="29"/>
                    </a:lnTo>
                    <a:lnTo>
                      <a:pt x="38" y="29"/>
                    </a:lnTo>
                    <a:lnTo>
                      <a:pt x="38" y="24"/>
                    </a:lnTo>
                    <a:lnTo>
                      <a:pt x="43" y="24"/>
                    </a:lnTo>
                    <a:lnTo>
                      <a:pt x="48" y="24"/>
                    </a:lnTo>
                    <a:lnTo>
                      <a:pt x="53" y="24"/>
                    </a:lnTo>
                    <a:lnTo>
                      <a:pt x="53" y="19"/>
                    </a:lnTo>
                    <a:lnTo>
                      <a:pt x="58" y="19"/>
                    </a:lnTo>
                    <a:lnTo>
                      <a:pt x="62" y="15"/>
                    </a:lnTo>
                    <a:lnTo>
                      <a:pt x="67" y="15"/>
                    </a:lnTo>
                    <a:lnTo>
                      <a:pt x="67" y="10"/>
                    </a:lnTo>
                    <a:lnTo>
                      <a:pt x="72" y="10"/>
                    </a:lnTo>
                    <a:lnTo>
                      <a:pt x="96" y="0"/>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41" name="Freeform 9"/>
              <p:cNvSpPr>
                <a:spLocks/>
              </p:cNvSpPr>
              <p:nvPr/>
            </p:nvSpPr>
            <p:spPr bwMode="gray">
              <a:xfrm>
                <a:off x="4406901" y="973138"/>
                <a:ext cx="1692275" cy="2187575"/>
              </a:xfrm>
              <a:custGeom>
                <a:avLst/>
                <a:gdLst>
                  <a:gd name="T0" fmla="*/ 159 w 1066"/>
                  <a:gd name="T1" fmla="*/ 197 h 1378"/>
                  <a:gd name="T2" fmla="*/ 159 w 1066"/>
                  <a:gd name="T3" fmla="*/ 125 h 1378"/>
                  <a:gd name="T4" fmla="*/ 269 w 1066"/>
                  <a:gd name="T5" fmla="*/ 58 h 1378"/>
                  <a:gd name="T6" fmla="*/ 442 w 1066"/>
                  <a:gd name="T7" fmla="*/ 154 h 1378"/>
                  <a:gd name="T8" fmla="*/ 596 w 1066"/>
                  <a:gd name="T9" fmla="*/ 240 h 1378"/>
                  <a:gd name="T10" fmla="*/ 735 w 1066"/>
                  <a:gd name="T11" fmla="*/ 317 h 1378"/>
                  <a:gd name="T12" fmla="*/ 749 w 1066"/>
                  <a:gd name="T13" fmla="*/ 379 h 1378"/>
                  <a:gd name="T14" fmla="*/ 711 w 1066"/>
                  <a:gd name="T15" fmla="*/ 408 h 1378"/>
                  <a:gd name="T16" fmla="*/ 716 w 1066"/>
                  <a:gd name="T17" fmla="*/ 480 h 1378"/>
                  <a:gd name="T18" fmla="*/ 749 w 1066"/>
                  <a:gd name="T19" fmla="*/ 518 h 1378"/>
                  <a:gd name="T20" fmla="*/ 783 w 1066"/>
                  <a:gd name="T21" fmla="*/ 557 h 1378"/>
                  <a:gd name="T22" fmla="*/ 826 w 1066"/>
                  <a:gd name="T23" fmla="*/ 586 h 1378"/>
                  <a:gd name="T24" fmla="*/ 850 w 1066"/>
                  <a:gd name="T25" fmla="*/ 638 h 1378"/>
                  <a:gd name="T26" fmla="*/ 874 w 1066"/>
                  <a:gd name="T27" fmla="*/ 686 h 1378"/>
                  <a:gd name="T28" fmla="*/ 879 w 1066"/>
                  <a:gd name="T29" fmla="*/ 744 h 1378"/>
                  <a:gd name="T30" fmla="*/ 898 w 1066"/>
                  <a:gd name="T31" fmla="*/ 797 h 1378"/>
                  <a:gd name="T32" fmla="*/ 912 w 1066"/>
                  <a:gd name="T33" fmla="*/ 854 h 1378"/>
                  <a:gd name="T34" fmla="*/ 922 w 1066"/>
                  <a:gd name="T35" fmla="*/ 898 h 1378"/>
                  <a:gd name="T36" fmla="*/ 970 w 1066"/>
                  <a:gd name="T37" fmla="*/ 931 h 1378"/>
                  <a:gd name="T38" fmla="*/ 1027 w 1066"/>
                  <a:gd name="T39" fmla="*/ 926 h 1378"/>
                  <a:gd name="T40" fmla="*/ 1051 w 1066"/>
                  <a:gd name="T41" fmla="*/ 965 h 1378"/>
                  <a:gd name="T42" fmla="*/ 1066 w 1066"/>
                  <a:gd name="T43" fmla="*/ 1032 h 1378"/>
                  <a:gd name="T44" fmla="*/ 1013 w 1066"/>
                  <a:gd name="T45" fmla="*/ 1047 h 1378"/>
                  <a:gd name="T46" fmla="*/ 960 w 1066"/>
                  <a:gd name="T47" fmla="*/ 1071 h 1378"/>
                  <a:gd name="T48" fmla="*/ 898 w 1066"/>
                  <a:gd name="T49" fmla="*/ 1090 h 1378"/>
                  <a:gd name="T50" fmla="*/ 855 w 1066"/>
                  <a:gd name="T51" fmla="*/ 1162 h 1378"/>
                  <a:gd name="T52" fmla="*/ 836 w 1066"/>
                  <a:gd name="T53" fmla="*/ 1234 h 1378"/>
                  <a:gd name="T54" fmla="*/ 802 w 1066"/>
                  <a:gd name="T55" fmla="*/ 1301 h 1378"/>
                  <a:gd name="T56" fmla="*/ 744 w 1066"/>
                  <a:gd name="T57" fmla="*/ 1363 h 1378"/>
                  <a:gd name="T58" fmla="*/ 682 w 1066"/>
                  <a:gd name="T59" fmla="*/ 1363 h 1378"/>
                  <a:gd name="T60" fmla="*/ 620 w 1066"/>
                  <a:gd name="T61" fmla="*/ 1335 h 1378"/>
                  <a:gd name="T62" fmla="*/ 557 w 1066"/>
                  <a:gd name="T63" fmla="*/ 1277 h 1378"/>
                  <a:gd name="T64" fmla="*/ 495 w 1066"/>
                  <a:gd name="T65" fmla="*/ 1224 h 1378"/>
                  <a:gd name="T66" fmla="*/ 504 w 1066"/>
                  <a:gd name="T67" fmla="*/ 1162 h 1378"/>
                  <a:gd name="T68" fmla="*/ 480 w 1066"/>
                  <a:gd name="T69" fmla="*/ 1119 h 1378"/>
                  <a:gd name="T70" fmla="*/ 500 w 1066"/>
                  <a:gd name="T71" fmla="*/ 1047 h 1378"/>
                  <a:gd name="T72" fmla="*/ 514 w 1066"/>
                  <a:gd name="T73" fmla="*/ 975 h 1378"/>
                  <a:gd name="T74" fmla="*/ 509 w 1066"/>
                  <a:gd name="T75" fmla="*/ 902 h 1378"/>
                  <a:gd name="T76" fmla="*/ 500 w 1066"/>
                  <a:gd name="T77" fmla="*/ 835 h 1378"/>
                  <a:gd name="T78" fmla="*/ 452 w 1066"/>
                  <a:gd name="T79" fmla="*/ 830 h 1378"/>
                  <a:gd name="T80" fmla="*/ 384 w 1066"/>
                  <a:gd name="T81" fmla="*/ 854 h 1378"/>
                  <a:gd name="T82" fmla="*/ 336 w 1066"/>
                  <a:gd name="T83" fmla="*/ 883 h 1378"/>
                  <a:gd name="T84" fmla="*/ 298 w 1066"/>
                  <a:gd name="T85" fmla="*/ 941 h 1378"/>
                  <a:gd name="T86" fmla="*/ 250 w 1066"/>
                  <a:gd name="T87" fmla="*/ 1008 h 1378"/>
                  <a:gd name="T88" fmla="*/ 188 w 1066"/>
                  <a:gd name="T89" fmla="*/ 1008 h 1378"/>
                  <a:gd name="T90" fmla="*/ 149 w 1066"/>
                  <a:gd name="T91" fmla="*/ 960 h 1378"/>
                  <a:gd name="T92" fmla="*/ 96 w 1066"/>
                  <a:gd name="T93" fmla="*/ 917 h 1378"/>
                  <a:gd name="T94" fmla="*/ 34 w 1066"/>
                  <a:gd name="T95" fmla="*/ 888 h 1378"/>
                  <a:gd name="T96" fmla="*/ 58 w 1066"/>
                  <a:gd name="T97" fmla="*/ 821 h 1378"/>
                  <a:gd name="T98" fmla="*/ 106 w 1066"/>
                  <a:gd name="T99" fmla="*/ 754 h 1378"/>
                  <a:gd name="T100" fmla="*/ 53 w 1066"/>
                  <a:gd name="T101" fmla="*/ 710 h 1378"/>
                  <a:gd name="T102" fmla="*/ 24 w 1066"/>
                  <a:gd name="T103" fmla="*/ 653 h 1378"/>
                  <a:gd name="T104" fmla="*/ 29 w 1066"/>
                  <a:gd name="T105" fmla="*/ 624 h 1378"/>
                  <a:gd name="T106" fmla="*/ 48 w 1066"/>
                  <a:gd name="T107" fmla="*/ 566 h 1378"/>
                  <a:gd name="T108" fmla="*/ 48 w 1066"/>
                  <a:gd name="T109" fmla="*/ 494 h 1378"/>
                  <a:gd name="T110" fmla="*/ 48 w 1066"/>
                  <a:gd name="T111" fmla="*/ 422 h 1378"/>
                  <a:gd name="T112" fmla="*/ 63 w 1066"/>
                  <a:gd name="T113" fmla="*/ 389 h 1378"/>
                  <a:gd name="T114" fmla="*/ 106 w 1066"/>
                  <a:gd name="T115" fmla="*/ 413 h 1378"/>
                  <a:gd name="T116" fmla="*/ 135 w 1066"/>
                  <a:gd name="T117" fmla="*/ 341 h 1378"/>
                  <a:gd name="T118" fmla="*/ 149 w 1066"/>
                  <a:gd name="T119" fmla="*/ 269 h 1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6" h="1378">
                    <a:moveTo>
                      <a:pt x="149" y="264"/>
                    </a:moveTo>
                    <a:lnTo>
                      <a:pt x="149" y="259"/>
                    </a:lnTo>
                    <a:lnTo>
                      <a:pt x="149" y="254"/>
                    </a:lnTo>
                    <a:lnTo>
                      <a:pt x="154" y="250"/>
                    </a:lnTo>
                    <a:lnTo>
                      <a:pt x="154" y="245"/>
                    </a:lnTo>
                    <a:lnTo>
                      <a:pt x="154" y="240"/>
                    </a:lnTo>
                    <a:lnTo>
                      <a:pt x="154" y="235"/>
                    </a:lnTo>
                    <a:lnTo>
                      <a:pt x="154" y="230"/>
                    </a:lnTo>
                    <a:lnTo>
                      <a:pt x="154" y="226"/>
                    </a:lnTo>
                    <a:lnTo>
                      <a:pt x="154" y="221"/>
                    </a:lnTo>
                    <a:lnTo>
                      <a:pt x="159" y="216"/>
                    </a:lnTo>
                    <a:lnTo>
                      <a:pt x="159" y="211"/>
                    </a:lnTo>
                    <a:lnTo>
                      <a:pt x="159" y="206"/>
                    </a:lnTo>
                    <a:lnTo>
                      <a:pt x="159" y="202"/>
                    </a:lnTo>
                    <a:lnTo>
                      <a:pt x="159" y="197"/>
                    </a:lnTo>
                    <a:lnTo>
                      <a:pt x="164" y="192"/>
                    </a:lnTo>
                    <a:lnTo>
                      <a:pt x="164" y="187"/>
                    </a:lnTo>
                    <a:lnTo>
                      <a:pt x="164" y="182"/>
                    </a:lnTo>
                    <a:lnTo>
                      <a:pt x="164" y="178"/>
                    </a:lnTo>
                    <a:lnTo>
                      <a:pt x="164" y="173"/>
                    </a:lnTo>
                    <a:lnTo>
                      <a:pt x="164" y="168"/>
                    </a:lnTo>
                    <a:lnTo>
                      <a:pt x="168" y="163"/>
                    </a:lnTo>
                    <a:lnTo>
                      <a:pt x="168" y="158"/>
                    </a:lnTo>
                    <a:lnTo>
                      <a:pt x="168" y="154"/>
                    </a:lnTo>
                    <a:lnTo>
                      <a:pt x="168" y="149"/>
                    </a:lnTo>
                    <a:lnTo>
                      <a:pt x="168" y="144"/>
                    </a:lnTo>
                    <a:lnTo>
                      <a:pt x="168" y="139"/>
                    </a:lnTo>
                    <a:lnTo>
                      <a:pt x="164" y="134"/>
                    </a:lnTo>
                    <a:lnTo>
                      <a:pt x="164" y="130"/>
                    </a:lnTo>
                    <a:lnTo>
                      <a:pt x="159" y="125"/>
                    </a:lnTo>
                    <a:lnTo>
                      <a:pt x="154" y="120"/>
                    </a:lnTo>
                    <a:lnTo>
                      <a:pt x="173" y="0"/>
                    </a:lnTo>
                    <a:lnTo>
                      <a:pt x="178" y="5"/>
                    </a:lnTo>
                    <a:lnTo>
                      <a:pt x="188" y="10"/>
                    </a:lnTo>
                    <a:lnTo>
                      <a:pt x="192" y="14"/>
                    </a:lnTo>
                    <a:lnTo>
                      <a:pt x="197" y="14"/>
                    </a:lnTo>
                    <a:lnTo>
                      <a:pt x="207" y="24"/>
                    </a:lnTo>
                    <a:lnTo>
                      <a:pt x="216" y="29"/>
                    </a:lnTo>
                    <a:lnTo>
                      <a:pt x="221" y="29"/>
                    </a:lnTo>
                    <a:lnTo>
                      <a:pt x="226" y="34"/>
                    </a:lnTo>
                    <a:lnTo>
                      <a:pt x="236" y="38"/>
                    </a:lnTo>
                    <a:lnTo>
                      <a:pt x="245" y="43"/>
                    </a:lnTo>
                    <a:lnTo>
                      <a:pt x="260" y="48"/>
                    </a:lnTo>
                    <a:lnTo>
                      <a:pt x="260" y="53"/>
                    </a:lnTo>
                    <a:lnTo>
                      <a:pt x="269" y="58"/>
                    </a:lnTo>
                    <a:lnTo>
                      <a:pt x="274" y="58"/>
                    </a:lnTo>
                    <a:lnTo>
                      <a:pt x="284" y="62"/>
                    </a:lnTo>
                    <a:lnTo>
                      <a:pt x="293" y="72"/>
                    </a:lnTo>
                    <a:lnTo>
                      <a:pt x="317" y="82"/>
                    </a:lnTo>
                    <a:lnTo>
                      <a:pt x="322" y="86"/>
                    </a:lnTo>
                    <a:lnTo>
                      <a:pt x="327" y="91"/>
                    </a:lnTo>
                    <a:lnTo>
                      <a:pt x="356" y="106"/>
                    </a:lnTo>
                    <a:lnTo>
                      <a:pt x="360" y="106"/>
                    </a:lnTo>
                    <a:lnTo>
                      <a:pt x="365" y="110"/>
                    </a:lnTo>
                    <a:lnTo>
                      <a:pt x="389" y="125"/>
                    </a:lnTo>
                    <a:lnTo>
                      <a:pt x="399" y="130"/>
                    </a:lnTo>
                    <a:lnTo>
                      <a:pt x="408" y="134"/>
                    </a:lnTo>
                    <a:lnTo>
                      <a:pt x="432" y="149"/>
                    </a:lnTo>
                    <a:lnTo>
                      <a:pt x="437" y="149"/>
                    </a:lnTo>
                    <a:lnTo>
                      <a:pt x="442" y="154"/>
                    </a:lnTo>
                    <a:lnTo>
                      <a:pt x="447" y="158"/>
                    </a:lnTo>
                    <a:lnTo>
                      <a:pt x="471" y="168"/>
                    </a:lnTo>
                    <a:lnTo>
                      <a:pt x="485" y="178"/>
                    </a:lnTo>
                    <a:lnTo>
                      <a:pt x="490" y="178"/>
                    </a:lnTo>
                    <a:lnTo>
                      <a:pt x="495" y="182"/>
                    </a:lnTo>
                    <a:lnTo>
                      <a:pt x="519" y="197"/>
                    </a:lnTo>
                    <a:lnTo>
                      <a:pt x="524" y="197"/>
                    </a:lnTo>
                    <a:lnTo>
                      <a:pt x="528" y="202"/>
                    </a:lnTo>
                    <a:lnTo>
                      <a:pt x="538" y="206"/>
                    </a:lnTo>
                    <a:lnTo>
                      <a:pt x="548" y="211"/>
                    </a:lnTo>
                    <a:lnTo>
                      <a:pt x="557" y="221"/>
                    </a:lnTo>
                    <a:lnTo>
                      <a:pt x="562" y="221"/>
                    </a:lnTo>
                    <a:lnTo>
                      <a:pt x="586" y="235"/>
                    </a:lnTo>
                    <a:lnTo>
                      <a:pt x="591" y="240"/>
                    </a:lnTo>
                    <a:lnTo>
                      <a:pt x="596" y="240"/>
                    </a:lnTo>
                    <a:lnTo>
                      <a:pt x="600" y="245"/>
                    </a:lnTo>
                    <a:lnTo>
                      <a:pt x="605" y="245"/>
                    </a:lnTo>
                    <a:lnTo>
                      <a:pt x="610" y="250"/>
                    </a:lnTo>
                    <a:lnTo>
                      <a:pt x="624" y="254"/>
                    </a:lnTo>
                    <a:lnTo>
                      <a:pt x="629" y="259"/>
                    </a:lnTo>
                    <a:lnTo>
                      <a:pt x="653" y="274"/>
                    </a:lnTo>
                    <a:lnTo>
                      <a:pt x="658" y="274"/>
                    </a:lnTo>
                    <a:lnTo>
                      <a:pt x="663" y="278"/>
                    </a:lnTo>
                    <a:lnTo>
                      <a:pt x="687" y="293"/>
                    </a:lnTo>
                    <a:lnTo>
                      <a:pt x="692" y="298"/>
                    </a:lnTo>
                    <a:lnTo>
                      <a:pt x="696" y="298"/>
                    </a:lnTo>
                    <a:lnTo>
                      <a:pt x="706" y="302"/>
                    </a:lnTo>
                    <a:lnTo>
                      <a:pt x="725" y="312"/>
                    </a:lnTo>
                    <a:lnTo>
                      <a:pt x="730" y="317"/>
                    </a:lnTo>
                    <a:lnTo>
                      <a:pt x="735" y="317"/>
                    </a:lnTo>
                    <a:lnTo>
                      <a:pt x="749" y="326"/>
                    </a:lnTo>
                    <a:lnTo>
                      <a:pt x="768" y="336"/>
                    </a:lnTo>
                    <a:lnTo>
                      <a:pt x="773" y="341"/>
                    </a:lnTo>
                    <a:lnTo>
                      <a:pt x="778" y="341"/>
                    </a:lnTo>
                    <a:lnTo>
                      <a:pt x="783" y="346"/>
                    </a:lnTo>
                    <a:lnTo>
                      <a:pt x="802" y="355"/>
                    </a:lnTo>
                    <a:lnTo>
                      <a:pt x="778" y="365"/>
                    </a:lnTo>
                    <a:lnTo>
                      <a:pt x="773" y="365"/>
                    </a:lnTo>
                    <a:lnTo>
                      <a:pt x="773" y="370"/>
                    </a:lnTo>
                    <a:lnTo>
                      <a:pt x="768" y="370"/>
                    </a:lnTo>
                    <a:lnTo>
                      <a:pt x="764" y="374"/>
                    </a:lnTo>
                    <a:lnTo>
                      <a:pt x="759" y="374"/>
                    </a:lnTo>
                    <a:lnTo>
                      <a:pt x="759" y="379"/>
                    </a:lnTo>
                    <a:lnTo>
                      <a:pt x="754" y="379"/>
                    </a:lnTo>
                    <a:lnTo>
                      <a:pt x="749" y="379"/>
                    </a:lnTo>
                    <a:lnTo>
                      <a:pt x="744" y="379"/>
                    </a:lnTo>
                    <a:lnTo>
                      <a:pt x="744" y="384"/>
                    </a:lnTo>
                    <a:lnTo>
                      <a:pt x="740" y="384"/>
                    </a:lnTo>
                    <a:lnTo>
                      <a:pt x="735" y="384"/>
                    </a:lnTo>
                    <a:lnTo>
                      <a:pt x="730" y="384"/>
                    </a:lnTo>
                    <a:lnTo>
                      <a:pt x="725" y="384"/>
                    </a:lnTo>
                    <a:lnTo>
                      <a:pt x="725" y="389"/>
                    </a:lnTo>
                    <a:lnTo>
                      <a:pt x="720" y="389"/>
                    </a:lnTo>
                    <a:lnTo>
                      <a:pt x="720" y="394"/>
                    </a:lnTo>
                    <a:lnTo>
                      <a:pt x="716" y="394"/>
                    </a:lnTo>
                    <a:lnTo>
                      <a:pt x="716" y="398"/>
                    </a:lnTo>
                    <a:lnTo>
                      <a:pt x="711" y="398"/>
                    </a:lnTo>
                    <a:lnTo>
                      <a:pt x="711" y="403"/>
                    </a:lnTo>
                    <a:lnTo>
                      <a:pt x="706" y="408"/>
                    </a:lnTo>
                    <a:lnTo>
                      <a:pt x="711" y="408"/>
                    </a:lnTo>
                    <a:lnTo>
                      <a:pt x="711" y="413"/>
                    </a:lnTo>
                    <a:lnTo>
                      <a:pt x="711" y="418"/>
                    </a:lnTo>
                    <a:lnTo>
                      <a:pt x="711" y="422"/>
                    </a:lnTo>
                    <a:lnTo>
                      <a:pt x="711" y="427"/>
                    </a:lnTo>
                    <a:lnTo>
                      <a:pt x="711" y="432"/>
                    </a:lnTo>
                    <a:lnTo>
                      <a:pt x="711" y="437"/>
                    </a:lnTo>
                    <a:lnTo>
                      <a:pt x="711" y="442"/>
                    </a:lnTo>
                    <a:lnTo>
                      <a:pt x="711" y="446"/>
                    </a:lnTo>
                    <a:lnTo>
                      <a:pt x="711" y="451"/>
                    </a:lnTo>
                    <a:lnTo>
                      <a:pt x="711" y="456"/>
                    </a:lnTo>
                    <a:lnTo>
                      <a:pt x="711" y="461"/>
                    </a:lnTo>
                    <a:lnTo>
                      <a:pt x="711" y="466"/>
                    </a:lnTo>
                    <a:lnTo>
                      <a:pt x="716" y="470"/>
                    </a:lnTo>
                    <a:lnTo>
                      <a:pt x="716" y="475"/>
                    </a:lnTo>
                    <a:lnTo>
                      <a:pt x="716" y="480"/>
                    </a:lnTo>
                    <a:lnTo>
                      <a:pt x="716" y="485"/>
                    </a:lnTo>
                    <a:lnTo>
                      <a:pt x="716" y="490"/>
                    </a:lnTo>
                    <a:lnTo>
                      <a:pt x="716" y="494"/>
                    </a:lnTo>
                    <a:lnTo>
                      <a:pt x="720" y="494"/>
                    </a:lnTo>
                    <a:lnTo>
                      <a:pt x="720" y="499"/>
                    </a:lnTo>
                    <a:lnTo>
                      <a:pt x="725" y="499"/>
                    </a:lnTo>
                    <a:lnTo>
                      <a:pt x="730" y="499"/>
                    </a:lnTo>
                    <a:lnTo>
                      <a:pt x="730" y="504"/>
                    </a:lnTo>
                    <a:lnTo>
                      <a:pt x="735" y="504"/>
                    </a:lnTo>
                    <a:lnTo>
                      <a:pt x="740" y="504"/>
                    </a:lnTo>
                    <a:lnTo>
                      <a:pt x="740" y="509"/>
                    </a:lnTo>
                    <a:lnTo>
                      <a:pt x="744" y="509"/>
                    </a:lnTo>
                    <a:lnTo>
                      <a:pt x="744" y="514"/>
                    </a:lnTo>
                    <a:lnTo>
                      <a:pt x="749" y="514"/>
                    </a:lnTo>
                    <a:lnTo>
                      <a:pt x="749" y="518"/>
                    </a:lnTo>
                    <a:lnTo>
                      <a:pt x="754" y="518"/>
                    </a:lnTo>
                    <a:lnTo>
                      <a:pt x="754" y="523"/>
                    </a:lnTo>
                    <a:lnTo>
                      <a:pt x="754" y="528"/>
                    </a:lnTo>
                    <a:lnTo>
                      <a:pt x="754" y="533"/>
                    </a:lnTo>
                    <a:lnTo>
                      <a:pt x="754" y="538"/>
                    </a:lnTo>
                    <a:lnTo>
                      <a:pt x="754" y="542"/>
                    </a:lnTo>
                    <a:lnTo>
                      <a:pt x="754" y="547"/>
                    </a:lnTo>
                    <a:lnTo>
                      <a:pt x="754" y="552"/>
                    </a:lnTo>
                    <a:lnTo>
                      <a:pt x="754" y="557"/>
                    </a:lnTo>
                    <a:lnTo>
                      <a:pt x="759" y="557"/>
                    </a:lnTo>
                    <a:lnTo>
                      <a:pt x="764" y="557"/>
                    </a:lnTo>
                    <a:lnTo>
                      <a:pt x="768" y="557"/>
                    </a:lnTo>
                    <a:lnTo>
                      <a:pt x="773" y="557"/>
                    </a:lnTo>
                    <a:lnTo>
                      <a:pt x="778" y="557"/>
                    </a:lnTo>
                    <a:lnTo>
                      <a:pt x="783" y="557"/>
                    </a:lnTo>
                    <a:lnTo>
                      <a:pt x="783" y="562"/>
                    </a:lnTo>
                    <a:lnTo>
                      <a:pt x="783" y="566"/>
                    </a:lnTo>
                    <a:lnTo>
                      <a:pt x="788" y="566"/>
                    </a:lnTo>
                    <a:lnTo>
                      <a:pt x="792" y="566"/>
                    </a:lnTo>
                    <a:lnTo>
                      <a:pt x="797" y="566"/>
                    </a:lnTo>
                    <a:lnTo>
                      <a:pt x="797" y="571"/>
                    </a:lnTo>
                    <a:lnTo>
                      <a:pt x="797" y="576"/>
                    </a:lnTo>
                    <a:lnTo>
                      <a:pt x="802" y="576"/>
                    </a:lnTo>
                    <a:lnTo>
                      <a:pt x="807" y="576"/>
                    </a:lnTo>
                    <a:lnTo>
                      <a:pt x="807" y="581"/>
                    </a:lnTo>
                    <a:lnTo>
                      <a:pt x="812" y="581"/>
                    </a:lnTo>
                    <a:lnTo>
                      <a:pt x="816" y="581"/>
                    </a:lnTo>
                    <a:lnTo>
                      <a:pt x="821" y="581"/>
                    </a:lnTo>
                    <a:lnTo>
                      <a:pt x="826" y="581"/>
                    </a:lnTo>
                    <a:lnTo>
                      <a:pt x="826" y="586"/>
                    </a:lnTo>
                    <a:lnTo>
                      <a:pt x="826" y="590"/>
                    </a:lnTo>
                    <a:lnTo>
                      <a:pt x="826" y="595"/>
                    </a:lnTo>
                    <a:lnTo>
                      <a:pt x="826" y="600"/>
                    </a:lnTo>
                    <a:lnTo>
                      <a:pt x="826" y="605"/>
                    </a:lnTo>
                    <a:lnTo>
                      <a:pt x="831" y="605"/>
                    </a:lnTo>
                    <a:lnTo>
                      <a:pt x="831" y="610"/>
                    </a:lnTo>
                    <a:lnTo>
                      <a:pt x="836" y="614"/>
                    </a:lnTo>
                    <a:lnTo>
                      <a:pt x="836" y="619"/>
                    </a:lnTo>
                    <a:lnTo>
                      <a:pt x="836" y="624"/>
                    </a:lnTo>
                    <a:lnTo>
                      <a:pt x="840" y="624"/>
                    </a:lnTo>
                    <a:lnTo>
                      <a:pt x="840" y="629"/>
                    </a:lnTo>
                    <a:lnTo>
                      <a:pt x="845" y="629"/>
                    </a:lnTo>
                    <a:lnTo>
                      <a:pt x="845" y="634"/>
                    </a:lnTo>
                    <a:lnTo>
                      <a:pt x="850" y="634"/>
                    </a:lnTo>
                    <a:lnTo>
                      <a:pt x="850" y="638"/>
                    </a:lnTo>
                    <a:lnTo>
                      <a:pt x="855" y="638"/>
                    </a:lnTo>
                    <a:lnTo>
                      <a:pt x="855" y="643"/>
                    </a:lnTo>
                    <a:lnTo>
                      <a:pt x="860" y="643"/>
                    </a:lnTo>
                    <a:lnTo>
                      <a:pt x="860" y="648"/>
                    </a:lnTo>
                    <a:lnTo>
                      <a:pt x="864" y="653"/>
                    </a:lnTo>
                    <a:lnTo>
                      <a:pt x="864" y="658"/>
                    </a:lnTo>
                    <a:lnTo>
                      <a:pt x="864" y="662"/>
                    </a:lnTo>
                    <a:lnTo>
                      <a:pt x="869" y="662"/>
                    </a:lnTo>
                    <a:lnTo>
                      <a:pt x="869" y="667"/>
                    </a:lnTo>
                    <a:lnTo>
                      <a:pt x="869" y="672"/>
                    </a:lnTo>
                    <a:lnTo>
                      <a:pt x="874" y="672"/>
                    </a:lnTo>
                    <a:lnTo>
                      <a:pt x="879" y="677"/>
                    </a:lnTo>
                    <a:lnTo>
                      <a:pt x="874" y="677"/>
                    </a:lnTo>
                    <a:lnTo>
                      <a:pt x="874" y="682"/>
                    </a:lnTo>
                    <a:lnTo>
                      <a:pt x="874" y="686"/>
                    </a:lnTo>
                    <a:lnTo>
                      <a:pt x="874" y="691"/>
                    </a:lnTo>
                    <a:lnTo>
                      <a:pt x="874" y="696"/>
                    </a:lnTo>
                    <a:lnTo>
                      <a:pt x="874" y="701"/>
                    </a:lnTo>
                    <a:lnTo>
                      <a:pt x="874" y="706"/>
                    </a:lnTo>
                    <a:lnTo>
                      <a:pt x="879" y="706"/>
                    </a:lnTo>
                    <a:lnTo>
                      <a:pt x="879" y="710"/>
                    </a:lnTo>
                    <a:lnTo>
                      <a:pt x="879" y="715"/>
                    </a:lnTo>
                    <a:lnTo>
                      <a:pt x="874" y="715"/>
                    </a:lnTo>
                    <a:lnTo>
                      <a:pt x="874" y="720"/>
                    </a:lnTo>
                    <a:lnTo>
                      <a:pt x="879" y="720"/>
                    </a:lnTo>
                    <a:lnTo>
                      <a:pt x="879" y="725"/>
                    </a:lnTo>
                    <a:lnTo>
                      <a:pt x="879" y="730"/>
                    </a:lnTo>
                    <a:lnTo>
                      <a:pt x="879" y="734"/>
                    </a:lnTo>
                    <a:lnTo>
                      <a:pt x="879" y="739"/>
                    </a:lnTo>
                    <a:lnTo>
                      <a:pt x="879" y="744"/>
                    </a:lnTo>
                    <a:lnTo>
                      <a:pt x="884" y="744"/>
                    </a:lnTo>
                    <a:lnTo>
                      <a:pt x="884" y="749"/>
                    </a:lnTo>
                    <a:lnTo>
                      <a:pt x="888" y="749"/>
                    </a:lnTo>
                    <a:lnTo>
                      <a:pt x="888" y="754"/>
                    </a:lnTo>
                    <a:lnTo>
                      <a:pt x="893" y="754"/>
                    </a:lnTo>
                    <a:lnTo>
                      <a:pt x="893" y="758"/>
                    </a:lnTo>
                    <a:lnTo>
                      <a:pt x="893" y="763"/>
                    </a:lnTo>
                    <a:lnTo>
                      <a:pt x="898" y="763"/>
                    </a:lnTo>
                    <a:lnTo>
                      <a:pt x="898" y="768"/>
                    </a:lnTo>
                    <a:lnTo>
                      <a:pt x="898" y="773"/>
                    </a:lnTo>
                    <a:lnTo>
                      <a:pt x="898" y="778"/>
                    </a:lnTo>
                    <a:lnTo>
                      <a:pt x="898" y="782"/>
                    </a:lnTo>
                    <a:lnTo>
                      <a:pt x="898" y="787"/>
                    </a:lnTo>
                    <a:lnTo>
                      <a:pt x="898" y="792"/>
                    </a:lnTo>
                    <a:lnTo>
                      <a:pt x="898" y="797"/>
                    </a:lnTo>
                    <a:lnTo>
                      <a:pt x="898" y="802"/>
                    </a:lnTo>
                    <a:lnTo>
                      <a:pt x="903" y="806"/>
                    </a:lnTo>
                    <a:lnTo>
                      <a:pt x="903" y="811"/>
                    </a:lnTo>
                    <a:lnTo>
                      <a:pt x="903" y="816"/>
                    </a:lnTo>
                    <a:lnTo>
                      <a:pt x="903" y="821"/>
                    </a:lnTo>
                    <a:lnTo>
                      <a:pt x="908" y="821"/>
                    </a:lnTo>
                    <a:lnTo>
                      <a:pt x="912" y="826"/>
                    </a:lnTo>
                    <a:lnTo>
                      <a:pt x="912" y="830"/>
                    </a:lnTo>
                    <a:lnTo>
                      <a:pt x="917" y="830"/>
                    </a:lnTo>
                    <a:lnTo>
                      <a:pt x="917" y="835"/>
                    </a:lnTo>
                    <a:lnTo>
                      <a:pt x="917" y="840"/>
                    </a:lnTo>
                    <a:lnTo>
                      <a:pt x="917" y="845"/>
                    </a:lnTo>
                    <a:lnTo>
                      <a:pt x="912" y="845"/>
                    </a:lnTo>
                    <a:lnTo>
                      <a:pt x="912" y="850"/>
                    </a:lnTo>
                    <a:lnTo>
                      <a:pt x="912" y="854"/>
                    </a:lnTo>
                    <a:lnTo>
                      <a:pt x="917" y="854"/>
                    </a:lnTo>
                    <a:lnTo>
                      <a:pt x="917" y="859"/>
                    </a:lnTo>
                    <a:lnTo>
                      <a:pt x="917" y="864"/>
                    </a:lnTo>
                    <a:lnTo>
                      <a:pt x="917" y="869"/>
                    </a:lnTo>
                    <a:lnTo>
                      <a:pt x="917" y="874"/>
                    </a:lnTo>
                    <a:lnTo>
                      <a:pt x="912" y="874"/>
                    </a:lnTo>
                    <a:lnTo>
                      <a:pt x="912" y="878"/>
                    </a:lnTo>
                    <a:lnTo>
                      <a:pt x="908" y="878"/>
                    </a:lnTo>
                    <a:lnTo>
                      <a:pt x="908" y="883"/>
                    </a:lnTo>
                    <a:lnTo>
                      <a:pt x="908" y="888"/>
                    </a:lnTo>
                    <a:lnTo>
                      <a:pt x="912" y="888"/>
                    </a:lnTo>
                    <a:lnTo>
                      <a:pt x="912" y="893"/>
                    </a:lnTo>
                    <a:lnTo>
                      <a:pt x="912" y="898"/>
                    </a:lnTo>
                    <a:lnTo>
                      <a:pt x="917" y="898"/>
                    </a:lnTo>
                    <a:lnTo>
                      <a:pt x="922" y="898"/>
                    </a:lnTo>
                    <a:lnTo>
                      <a:pt x="922" y="902"/>
                    </a:lnTo>
                    <a:lnTo>
                      <a:pt x="927" y="902"/>
                    </a:lnTo>
                    <a:lnTo>
                      <a:pt x="932" y="902"/>
                    </a:lnTo>
                    <a:lnTo>
                      <a:pt x="932" y="907"/>
                    </a:lnTo>
                    <a:lnTo>
                      <a:pt x="936" y="907"/>
                    </a:lnTo>
                    <a:lnTo>
                      <a:pt x="941" y="907"/>
                    </a:lnTo>
                    <a:lnTo>
                      <a:pt x="941" y="912"/>
                    </a:lnTo>
                    <a:lnTo>
                      <a:pt x="946" y="912"/>
                    </a:lnTo>
                    <a:lnTo>
                      <a:pt x="946" y="917"/>
                    </a:lnTo>
                    <a:lnTo>
                      <a:pt x="951" y="917"/>
                    </a:lnTo>
                    <a:lnTo>
                      <a:pt x="956" y="922"/>
                    </a:lnTo>
                    <a:lnTo>
                      <a:pt x="960" y="922"/>
                    </a:lnTo>
                    <a:lnTo>
                      <a:pt x="960" y="926"/>
                    </a:lnTo>
                    <a:lnTo>
                      <a:pt x="965" y="926"/>
                    </a:lnTo>
                    <a:lnTo>
                      <a:pt x="970" y="931"/>
                    </a:lnTo>
                    <a:lnTo>
                      <a:pt x="975" y="931"/>
                    </a:lnTo>
                    <a:lnTo>
                      <a:pt x="975" y="936"/>
                    </a:lnTo>
                    <a:lnTo>
                      <a:pt x="980" y="936"/>
                    </a:lnTo>
                    <a:lnTo>
                      <a:pt x="984" y="936"/>
                    </a:lnTo>
                    <a:lnTo>
                      <a:pt x="989" y="936"/>
                    </a:lnTo>
                    <a:lnTo>
                      <a:pt x="989" y="931"/>
                    </a:lnTo>
                    <a:lnTo>
                      <a:pt x="994" y="931"/>
                    </a:lnTo>
                    <a:lnTo>
                      <a:pt x="994" y="926"/>
                    </a:lnTo>
                    <a:lnTo>
                      <a:pt x="999" y="926"/>
                    </a:lnTo>
                    <a:lnTo>
                      <a:pt x="1004" y="926"/>
                    </a:lnTo>
                    <a:lnTo>
                      <a:pt x="1008" y="926"/>
                    </a:lnTo>
                    <a:lnTo>
                      <a:pt x="1013" y="926"/>
                    </a:lnTo>
                    <a:lnTo>
                      <a:pt x="1018" y="926"/>
                    </a:lnTo>
                    <a:lnTo>
                      <a:pt x="1023" y="926"/>
                    </a:lnTo>
                    <a:lnTo>
                      <a:pt x="1027" y="926"/>
                    </a:lnTo>
                    <a:lnTo>
                      <a:pt x="1032" y="926"/>
                    </a:lnTo>
                    <a:lnTo>
                      <a:pt x="1032" y="931"/>
                    </a:lnTo>
                    <a:lnTo>
                      <a:pt x="1037" y="931"/>
                    </a:lnTo>
                    <a:lnTo>
                      <a:pt x="1042" y="931"/>
                    </a:lnTo>
                    <a:lnTo>
                      <a:pt x="1042" y="936"/>
                    </a:lnTo>
                    <a:lnTo>
                      <a:pt x="1047" y="936"/>
                    </a:lnTo>
                    <a:lnTo>
                      <a:pt x="1047" y="941"/>
                    </a:lnTo>
                    <a:lnTo>
                      <a:pt x="1051" y="941"/>
                    </a:lnTo>
                    <a:lnTo>
                      <a:pt x="1051" y="946"/>
                    </a:lnTo>
                    <a:lnTo>
                      <a:pt x="1056" y="946"/>
                    </a:lnTo>
                    <a:lnTo>
                      <a:pt x="1056" y="950"/>
                    </a:lnTo>
                    <a:lnTo>
                      <a:pt x="1056" y="955"/>
                    </a:lnTo>
                    <a:lnTo>
                      <a:pt x="1056" y="960"/>
                    </a:lnTo>
                    <a:lnTo>
                      <a:pt x="1051" y="960"/>
                    </a:lnTo>
                    <a:lnTo>
                      <a:pt x="1051" y="965"/>
                    </a:lnTo>
                    <a:lnTo>
                      <a:pt x="1051" y="970"/>
                    </a:lnTo>
                    <a:lnTo>
                      <a:pt x="1051" y="975"/>
                    </a:lnTo>
                    <a:lnTo>
                      <a:pt x="1051" y="979"/>
                    </a:lnTo>
                    <a:lnTo>
                      <a:pt x="1051" y="984"/>
                    </a:lnTo>
                    <a:lnTo>
                      <a:pt x="1056" y="989"/>
                    </a:lnTo>
                    <a:lnTo>
                      <a:pt x="1056" y="994"/>
                    </a:lnTo>
                    <a:lnTo>
                      <a:pt x="1056" y="999"/>
                    </a:lnTo>
                    <a:lnTo>
                      <a:pt x="1056" y="1003"/>
                    </a:lnTo>
                    <a:lnTo>
                      <a:pt x="1056" y="1008"/>
                    </a:lnTo>
                    <a:lnTo>
                      <a:pt x="1056" y="1013"/>
                    </a:lnTo>
                    <a:lnTo>
                      <a:pt x="1056" y="1018"/>
                    </a:lnTo>
                    <a:lnTo>
                      <a:pt x="1061" y="1023"/>
                    </a:lnTo>
                    <a:lnTo>
                      <a:pt x="1061" y="1027"/>
                    </a:lnTo>
                    <a:lnTo>
                      <a:pt x="1061" y="1032"/>
                    </a:lnTo>
                    <a:lnTo>
                      <a:pt x="1066" y="1032"/>
                    </a:lnTo>
                    <a:lnTo>
                      <a:pt x="1066" y="1037"/>
                    </a:lnTo>
                    <a:lnTo>
                      <a:pt x="1061" y="1037"/>
                    </a:lnTo>
                    <a:lnTo>
                      <a:pt x="1056" y="1037"/>
                    </a:lnTo>
                    <a:lnTo>
                      <a:pt x="1051" y="1037"/>
                    </a:lnTo>
                    <a:lnTo>
                      <a:pt x="1047" y="1037"/>
                    </a:lnTo>
                    <a:lnTo>
                      <a:pt x="1047" y="1042"/>
                    </a:lnTo>
                    <a:lnTo>
                      <a:pt x="1042" y="1047"/>
                    </a:lnTo>
                    <a:lnTo>
                      <a:pt x="1042" y="1051"/>
                    </a:lnTo>
                    <a:lnTo>
                      <a:pt x="1037" y="1051"/>
                    </a:lnTo>
                    <a:lnTo>
                      <a:pt x="1032" y="1051"/>
                    </a:lnTo>
                    <a:lnTo>
                      <a:pt x="1032" y="1047"/>
                    </a:lnTo>
                    <a:lnTo>
                      <a:pt x="1027" y="1047"/>
                    </a:lnTo>
                    <a:lnTo>
                      <a:pt x="1023" y="1047"/>
                    </a:lnTo>
                    <a:lnTo>
                      <a:pt x="1018" y="1047"/>
                    </a:lnTo>
                    <a:lnTo>
                      <a:pt x="1013" y="1047"/>
                    </a:lnTo>
                    <a:lnTo>
                      <a:pt x="1013" y="1051"/>
                    </a:lnTo>
                    <a:lnTo>
                      <a:pt x="1008" y="1051"/>
                    </a:lnTo>
                    <a:lnTo>
                      <a:pt x="1004" y="1051"/>
                    </a:lnTo>
                    <a:lnTo>
                      <a:pt x="1004" y="1056"/>
                    </a:lnTo>
                    <a:lnTo>
                      <a:pt x="999" y="1056"/>
                    </a:lnTo>
                    <a:lnTo>
                      <a:pt x="994" y="1056"/>
                    </a:lnTo>
                    <a:lnTo>
                      <a:pt x="994" y="1061"/>
                    </a:lnTo>
                    <a:lnTo>
                      <a:pt x="989" y="1061"/>
                    </a:lnTo>
                    <a:lnTo>
                      <a:pt x="984" y="1061"/>
                    </a:lnTo>
                    <a:lnTo>
                      <a:pt x="984" y="1066"/>
                    </a:lnTo>
                    <a:lnTo>
                      <a:pt x="980" y="1066"/>
                    </a:lnTo>
                    <a:lnTo>
                      <a:pt x="975" y="1066"/>
                    </a:lnTo>
                    <a:lnTo>
                      <a:pt x="970" y="1071"/>
                    </a:lnTo>
                    <a:lnTo>
                      <a:pt x="965" y="1071"/>
                    </a:lnTo>
                    <a:lnTo>
                      <a:pt x="960" y="1071"/>
                    </a:lnTo>
                    <a:lnTo>
                      <a:pt x="960" y="1075"/>
                    </a:lnTo>
                    <a:lnTo>
                      <a:pt x="956" y="1075"/>
                    </a:lnTo>
                    <a:lnTo>
                      <a:pt x="951" y="1080"/>
                    </a:lnTo>
                    <a:lnTo>
                      <a:pt x="946" y="1080"/>
                    </a:lnTo>
                    <a:lnTo>
                      <a:pt x="941" y="1075"/>
                    </a:lnTo>
                    <a:lnTo>
                      <a:pt x="936" y="1075"/>
                    </a:lnTo>
                    <a:lnTo>
                      <a:pt x="932" y="1075"/>
                    </a:lnTo>
                    <a:lnTo>
                      <a:pt x="927" y="1071"/>
                    </a:lnTo>
                    <a:lnTo>
                      <a:pt x="922" y="1071"/>
                    </a:lnTo>
                    <a:lnTo>
                      <a:pt x="917" y="1066"/>
                    </a:lnTo>
                    <a:lnTo>
                      <a:pt x="912" y="1071"/>
                    </a:lnTo>
                    <a:lnTo>
                      <a:pt x="908" y="1075"/>
                    </a:lnTo>
                    <a:lnTo>
                      <a:pt x="908" y="1080"/>
                    </a:lnTo>
                    <a:lnTo>
                      <a:pt x="903" y="1085"/>
                    </a:lnTo>
                    <a:lnTo>
                      <a:pt x="898" y="1090"/>
                    </a:lnTo>
                    <a:lnTo>
                      <a:pt x="898" y="1095"/>
                    </a:lnTo>
                    <a:lnTo>
                      <a:pt x="893" y="1099"/>
                    </a:lnTo>
                    <a:lnTo>
                      <a:pt x="888" y="1104"/>
                    </a:lnTo>
                    <a:lnTo>
                      <a:pt x="888" y="1109"/>
                    </a:lnTo>
                    <a:lnTo>
                      <a:pt x="884" y="1114"/>
                    </a:lnTo>
                    <a:lnTo>
                      <a:pt x="884" y="1119"/>
                    </a:lnTo>
                    <a:lnTo>
                      <a:pt x="879" y="1123"/>
                    </a:lnTo>
                    <a:lnTo>
                      <a:pt x="879" y="1128"/>
                    </a:lnTo>
                    <a:lnTo>
                      <a:pt x="874" y="1133"/>
                    </a:lnTo>
                    <a:lnTo>
                      <a:pt x="869" y="1138"/>
                    </a:lnTo>
                    <a:lnTo>
                      <a:pt x="864" y="1143"/>
                    </a:lnTo>
                    <a:lnTo>
                      <a:pt x="864" y="1147"/>
                    </a:lnTo>
                    <a:lnTo>
                      <a:pt x="860" y="1152"/>
                    </a:lnTo>
                    <a:lnTo>
                      <a:pt x="855" y="1157"/>
                    </a:lnTo>
                    <a:lnTo>
                      <a:pt x="855" y="1162"/>
                    </a:lnTo>
                    <a:lnTo>
                      <a:pt x="850" y="1167"/>
                    </a:lnTo>
                    <a:lnTo>
                      <a:pt x="850" y="1171"/>
                    </a:lnTo>
                    <a:lnTo>
                      <a:pt x="850" y="1176"/>
                    </a:lnTo>
                    <a:lnTo>
                      <a:pt x="850" y="1181"/>
                    </a:lnTo>
                    <a:lnTo>
                      <a:pt x="845" y="1186"/>
                    </a:lnTo>
                    <a:lnTo>
                      <a:pt x="845" y="1191"/>
                    </a:lnTo>
                    <a:lnTo>
                      <a:pt x="845" y="1195"/>
                    </a:lnTo>
                    <a:lnTo>
                      <a:pt x="840" y="1200"/>
                    </a:lnTo>
                    <a:lnTo>
                      <a:pt x="840" y="1205"/>
                    </a:lnTo>
                    <a:lnTo>
                      <a:pt x="840" y="1210"/>
                    </a:lnTo>
                    <a:lnTo>
                      <a:pt x="840" y="1215"/>
                    </a:lnTo>
                    <a:lnTo>
                      <a:pt x="840" y="1219"/>
                    </a:lnTo>
                    <a:lnTo>
                      <a:pt x="836" y="1224"/>
                    </a:lnTo>
                    <a:lnTo>
                      <a:pt x="836" y="1229"/>
                    </a:lnTo>
                    <a:lnTo>
                      <a:pt x="836" y="1234"/>
                    </a:lnTo>
                    <a:lnTo>
                      <a:pt x="836" y="1239"/>
                    </a:lnTo>
                    <a:lnTo>
                      <a:pt x="831" y="1243"/>
                    </a:lnTo>
                    <a:lnTo>
                      <a:pt x="831" y="1248"/>
                    </a:lnTo>
                    <a:lnTo>
                      <a:pt x="826" y="1253"/>
                    </a:lnTo>
                    <a:lnTo>
                      <a:pt x="821" y="1253"/>
                    </a:lnTo>
                    <a:lnTo>
                      <a:pt x="821" y="1258"/>
                    </a:lnTo>
                    <a:lnTo>
                      <a:pt x="816" y="1263"/>
                    </a:lnTo>
                    <a:lnTo>
                      <a:pt x="812" y="1267"/>
                    </a:lnTo>
                    <a:lnTo>
                      <a:pt x="812" y="1272"/>
                    </a:lnTo>
                    <a:lnTo>
                      <a:pt x="812" y="1277"/>
                    </a:lnTo>
                    <a:lnTo>
                      <a:pt x="812" y="1282"/>
                    </a:lnTo>
                    <a:lnTo>
                      <a:pt x="807" y="1287"/>
                    </a:lnTo>
                    <a:lnTo>
                      <a:pt x="807" y="1291"/>
                    </a:lnTo>
                    <a:lnTo>
                      <a:pt x="807" y="1296"/>
                    </a:lnTo>
                    <a:lnTo>
                      <a:pt x="802" y="1301"/>
                    </a:lnTo>
                    <a:lnTo>
                      <a:pt x="802" y="1306"/>
                    </a:lnTo>
                    <a:lnTo>
                      <a:pt x="797" y="1311"/>
                    </a:lnTo>
                    <a:lnTo>
                      <a:pt x="797" y="1315"/>
                    </a:lnTo>
                    <a:lnTo>
                      <a:pt x="792" y="1320"/>
                    </a:lnTo>
                    <a:lnTo>
                      <a:pt x="788" y="1325"/>
                    </a:lnTo>
                    <a:lnTo>
                      <a:pt x="783" y="1330"/>
                    </a:lnTo>
                    <a:lnTo>
                      <a:pt x="783" y="1335"/>
                    </a:lnTo>
                    <a:lnTo>
                      <a:pt x="778" y="1339"/>
                    </a:lnTo>
                    <a:lnTo>
                      <a:pt x="773" y="1339"/>
                    </a:lnTo>
                    <a:lnTo>
                      <a:pt x="768" y="1344"/>
                    </a:lnTo>
                    <a:lnTo>
                      <a:pt x="764" y="1349"/>
                    </a:lnTo>
                    <a:lnTo>
                      <a:pt x="759" y="1354"/>
                    </a:lnTo>
                    <a:lnTo>
                      <a:pt x="754" y="1359"/>
                    </a:lnTo>
                    <a:lnTo>
                      <a:pt x="749" y="1359"/>
                    </a:lnTo>
                    <a:lnTo>
                      <a:pt x="744" y="1363"/>
                    </a:lnTo>
                    <a:lnTo>
                      <a:pt x="744" y="1368"/>
                    </a:lnTo>
                    <a:lnTo>
                      <a:pt x="740" y="1368"/>
                    </a:lnTo>
                    <a:lnTo>
                      <a:pt x="735" y="1373"/>
                    </a:lnTo>
                    <a:lnTo>
                      <a:pt x="735" y="1378"/>
                    </a:lnTo>
                    <a:lnTo>
                      <a:pt x="730" y="1378"/>
                    </a:lnTo>
                    <a:lnTo>
                      <a:pt x="725" y="1378"/>
                    </a:lnTo>
                    <a:lnTo>
                      <a:pt x="720" y="1378"/>
                    </a:lnTo>
                    <a:lnTo>
                      <a:pt x="716" y="1373"/>
                    </a:lnTo>
                    <a:lnTo>
                      <a:pt x="711" y="1373"/>
                    </a:lnTo>
                    <a:lnTo>
                      <a:pt x="706" y="1368"/>
                    </a:lnTo>
                    <a:lnTo>
                      <a:pt x="701" y="1368"/>
                    </a:lnTo>
                    <a:lnTo>
                      <a:pt x="696" y="1368"/>
                    </a:lnTo>
                    <a:lnTo>
                      <a:pt x="692" y="1368"/>
                    </a:lnTo>
                    <a:lnTo>
                      <a:pt x="687" y="1363"/>
                    </a:lnTo>
                    <a:lnTo>
                      <a:pt x="682" y="1363"/>
                    </a:lnTo>
                    <a:lnTo>
                      <a:pt x="677" y="1363"/>
                    </a:lnTo>
                    <a:lnTo>
                      <a:pt x="672" y="1363"/>
                    </a:lnTo>
                    <a:lnTo>
                      <a:pt x="668" y="1363"/>
                    </a:lnTo>
                    <a:lnTo>
                      <a:pt x="663" y="1363"/>
                    </a:lnTo>
                    <a:lnTo>
                      <a:pt x="658" y="1368"/>
                    </a:lnTo>
                    <a:lnTo>
                      <a:pt x="653" y="1368"/>
                    </a:lnTo>
                    <a:lnTo>
                      <a:pt x="648" y="1368"/>
                    </a:lnTo>
                    <a:lnTo>
                      <a:pt x="648" y="1363"/>
                    </a:lnTo>
                    <a:lnTo>
                      <a:pt x="644" y="1359"/>
                    </a:lnTo>
                    <a:lnTo>
                      <a:pt x="639" y="1354"/>
                    </a:lnTo>
                    <a:lnTo>
                      <a:pt x="634" y="1349"/>
                    </a:lnTo>
                    <a:lnTo>
                      <a:pt x="629" y="1344"/>
                    </a:lnTo>
                    <a:lnTo>
                      <a:pt x="629" y="1339"/>
                    </a:lnTo>
                    <a:lnTo>
                      <a:pt x="624" y="1335"/>
                    </a:lnTo>
                    <a:lnTo>
                      <a:pt x="620" y="1335"/>
                    </a:lnTo>
                    <a:lnTo>
                      <a:pt x="615" y="1330"/>
                    </a:lnTo>
                    <a:lnTo>
                      <a:pt x="610" y="1325"/>
                    </a:lnTo>
                    <a:lnTo>
                      <a:pt x="610" y="1320"/>
                    </a:lnTo>
                    <a:lnTo>
                      <a:pt x="605" y="1315"/>
                    </a:lnTo>
                    <a:lnTo>
                      <a:pt x="600" y="1311"/>
                    </a:lnTo>
                    <a:lnTo>
                      <a:pt x="596" y="1311"/>
                    </a:lnTo>
                    <a:lnTo>
                      <a:pt x="596" y="1306"/>
                    </a:lnTo>
                    <a:lnTo>
                      <a:pt x="591" y="1301"/>
                    </a:lnTo>
                    <a:lnTo>
                      <a:pt x="586" y="1301"/>
                    </a:lnTo>
                    <a:lnTo>
                      <a:pt x="581" y="1296"/>
                    </a:lnTo>
                    <a:lnTo>
                      <a:pt x="576" y="1291"/>
                    </a:lnTo>
                    <a:lnTo>
                      <a:pt x="572" y="1287"/>
                    </a:lnTo>
                    <a:lnTo>
                      <a:pt x="567" y="1287"/>
                    </a:lnTo>
                    <a:lnTo>
                      <a:pt x="562" y="1282"/>
                    </a:lnTo>
                    <a:lnTo>
                      <a:pt x="557" y="1277"/>
                    </a:lnTo>
                    <a:lnTo>
                      <a:pt x="552" y="1272"/>
                    </a:lnTo>
                    <a:lnTo>
                      <a:pt x="548" y="1272"/>
                    </a:lnTo>
                    <a:lnTo>
                      <a:pt x="543" y="1267"/>
                    </a:lnTo>
                    <a:lnTo>
                      <a:pt x="538" y="1263"/>
                    </a:lnTo>
                    <a:lnTo>
                      <a:pt x="533" y="1263"/>
                    </a:lnTo>
                    <a:lnTo>
                      <a:pt x="533" y="1258"/>
                    </a:lnTo>
                    <a:lnTo>
                      <a:pt x="528" y="1253"/>
                    </a:lnTo>
                    <a:lnTo>
                      <a:pt x="524" y="1248"/>
                    </a:lnTo>
                    <a:lnTo>
                      <a:pt x="519" y="1248"/>
                    </a:lnTo>
                    <a:lnTo>
                      <a:pt x="514" y="1243"/>
                    </a:lnTo>
                    <a:lnTo>
                      <a:pt x="509" y="1239"/>
                    </a:lnTo>
                    <a:lnTo>
                      <a:pt x="504" y="1239"/>
                    </a:lnTo>
                    <a:lnTo>
                      <a:pt x="500" y="1234"/>
                    </a:lnTo>
                    <a:lnTo>
                      <a:pt x="495" y="1229"/>
                    </a:lnTo>
                    <a:lnTo>
                      <a:pt x="495" y="1224"/>
                    </a:lnTo>
                    <a:lnTo>
                      <a:pt x="490" y="1224"/>
                    </a:lnTo>
                    <a:lnTo>
                      <a:pt x="490" y="1219"/>
                    </a:lnTo>
                    <a:lnTo>
                      <a:pt x="490" y="1215"/>
                    </a:lnTo>
                    <a:lnTo>
                      <a:pt x="495" y="1210"/>
                    </a:lnTo>
                    <a:lnTo>
                      <a:pt x="495" y="1205"/>
                    </a:lnTo>
                    <a:lnTo>
                      <a:pt x="500" y="1200"/>
                    </a:lnTo>
                    <a:lnTo>
                      <a:pt x="500" y="1195"/>
                    </a:lnTo>
                    <a:lnTo>
                      <a:pt x="504" y="1195"/>
                    </a:lnTo>
                    <a:lnTo>
                      <a:pt x="504" y="1191"/>
                    </a:lnTo>
                    <a:lnTo>
                      <a:pt x="504" y="1186"/>
                    </a:lnTo>
                    <a:lnTo>
                      <a:pt x="504" y="1181"/>
                    </a:lnTo>
                    <a:lnTo>
                      <a:pt x="504" y="1176"/>
                    </a:lnTo>
                    <a:lnTo>
                      <a:pt x="504" y="1171"/>
                    </a:lnTo>
                    <a:lnTo>
                      <a:pt x="504" y="1167"/>
                    </a:lnTo>
                    <a:lnTo>
                      <a:pt x="504" y="1162"/>
                    </a:lnTo>
                    <a:lnTo>
                      <a:pt x="500" y="1162"/>
                    </a:lnTo>
                    <a:lnTo>
                      <a:pt x="495" y="1162"/>
                    </a:lnTo>
                    <a:lnTo>
                      <a:pt x="490" y="1162"/>
                    </a:lnTo>
                    <a:lnTo>
                      <a:pt x="485" y="1162"/>
                    </a:lnTo>
                    <a:lnTo>
                      <a:pt x="480" y="1162"/>
                    </a:lnTo>
                    <a:lnTo>
                      <a:pt x="476" y="1162"/>
                    </a:lnTo>
                    <a:lnTo>
                      <a:pt x="476" y="1157"/>
                    </a:lnTo>
                    <a:lnTo>
                      <a:pt x="476" y="1152"/>
                    </a:lnTo>
                    <a:lnTo>
                      <a:pt x="476" y="1147"/>
                    </a:lnTo>
                    <a:lnTo>
                      <a:pt x="476" y="1143"/>
                    </a:lnTo>
                    <a:lnTo>
                      <a:pt x="480" y="1138"/>
                    </a:lnTo>
                    <a:lnTo>
                      <a:pt x="480" y="1133"/>
                    </a:lnTo>
                    <a:lnTo>
                      <a:pt x="480" y="1128"/>
                    </a:lnTo>
                    <a:lnTo>
                      <a:pt x="480" y="1123"/>
                    </a:lnTo>
                    <a:lnTo>
                      <a:pt x="480" y="1119"/>
                    </a:lnTo>
                    <a:lnTo>
                      <a:pt x="485" y="1114"/>
                    </a:lnTo>
                    <a:lnTo>
                      <a:pt x="485" y="1109"/>
                    </a:lnTo>
                    <a:lnTo>
                      <a:pt x="485" y="1104"/>
                    </a:lnTo>
                    <a:lnTo>
                      <a:pt x="485" y="1099"/>
                    </a:lnTo>
                    <a:lnTo>
                      <a:pt x="490" y="1095"/>
                    </a:lnTo>
                    <a:lnTo>
                      <a:pt x="490" y="1090"/>
                    </a:lnTo>
                    <a:lnTo>
                      <a:pt x="490" y="1085"/>
                    </a:lnTo>
                    <a:lnTo>
                      <a:pt x="490" y="1080"/>
                    </a:lnTo>
                    <a:lnTo>
                      <a:pt x="490" y="1075"/>
                    </a:lnTo>
                    <a:lnTo>
                      <a:pt x="495" y="1071"/>
                    </a:lnTo>
                    <a:lnTo>
                      <a:pt x="495" y="1066"/>
                    </a:lnTo>
                    <a:lnTo>
                      <a:pt x="495" y="1061"/>
                    </a:lnTo>
                    <a:lnTo>
                      <a:pt x="495" y="1056"/>
                    </a:lnTo>
                    <a:lnTo>
                      <a:pt x="500" y="1051"/>
                    </a:lnTo>
                    <a:lnTo>
                      <a:pt x="500" y="1047"/>
                    </a:lnTo>
                    <a:lnTo>
                      <a:pt x="500" y="1042"/>
                    </a:lnTo>
                    <a:lnTo>
                      <a:pt x="500" y="1037"/>
                    </a:lnTo>
                    <a:lnTo>
                      <a:pt x="500" y="1032"/>
                    </a:lnTo>
                    <a:lnTo>
                      <a:pt x="504" y="1027"/>
                    </a:lnTo>
                    <a:lnTo>
                      <a:pt x="504" y="1023"/>
                    </a:lnTo>
                    <a:lnTo>
                      <a:pt x="504" y="1018"/>
                    </a:lnTo>
                    <a:lnTo>
                      <a:pt x="504" y="1013"/>
                    </a:lnTo>
                    <a:lnTo>
                      <a:pt x="509" y="1008"/>
                    </a:lnTo>
                    <a:lnTo>
                      <a:pt x="509" y="1003"/>
                    </a:lnTo>
                    <a:lnTo>
                      <a:pt x="509" y="999"/>
                    </a:lnTo>
                    <a:lnTo>
                      <a:pt x="509" y="994"/>
                    </a:lnTo>
                    <a:lnTo>
                      <a:pt x="514" y="989"/>
                    </a:lnTo>
                    <a:lnTo>
                      <a:pt x="514" y="984"/>
                    </a:lnTo>
                    <a:lnTo>
                      <a:pt x="514" y="979"/>
                    </a:lnTo>
                    <a:lnTo>
                      <a:pt x="514" y="975"/>
                    </a:lnTo>
                    <a:lnTo>
                      <a:pt x="514" y="970"/>
                    </a:lnTo>
                    <a:lnTo>
                      <a:pt x="519" y="965"/>
                    </a:lnTo>
                    <a:lnTo>
                      <a:pt x="519" y="960"/>
                    </a:lnTo>
                    <a:lnTo>
                      <a:pt x="519" y="955"/>
                    </a:lnTo>
                    <a:lnTo>
                      <a:pt x="519" y="950"/>
                    </a:lnTo>
                    <a:lnTo>
                      <a:pt x="519" y="946"/>
                    </a:lnTo>
                    <a:lnTo>
                      <a:pt x="519" y="941"/>
                    </a:lnTo>
                    <a:lnTo>
                      <a:pt x="514" y="936"/>
                    </a:lnTo>
                    <a:lnTo>
                      <a:pt x="514" y="931"/>
                    </a:lnTo>
                    <a:lnTo>
                      <a:pt x="514" y="926"/>
                    </a:lnTo>
                    <a:lnTo>
                      <a:pt x="514" y="922"/>
                    </a:lnTo>
                    <a:lnTo>
                      <a:pt x="514" y="917"/>
                    </a:lnTo>
                    <a:lnTo>
                      <a:pt x="514" y="912"/>
                    </a:lnTo>
                    <a:lnTo>
                      <a:pt x="509" y="907"/>
                    </a:lnTo>
                    <a:lnTo>
                      <a:pt x="509" y="902"/>
                    </a:lnTo>
                    <a:lnTo>
                      <a:pt x="509" y="898"/>
                    </a:lnTo>
                    <a:lnTo>
                      <a:pt x="509" y="893"/>
                    </a:lnTo>
                    <a:lnTo>
                      <a:pt x="509" y="888"/>
                    </a:lnTo>
                    <a:lnTo>
                      <a:pt x="509" y="883"/>
                    </a:lnTo>
                    <a:lnTo>
                      <a:pt x="509" y="878"/>
                    </a:lnTo>
                    <a:lnTo>
                      <a:pt x="504" y="874"/>
                    </a:lnTo>
                    <a:lnTo>
                      <a:pt x="504" y="869"/>
                    </a:lnTo>
                    <a:lnTo>
                      <a:pt x="504" y="864"/>
                    </a:lnTo>
                    <a:lnTo>
                      <a:pt x="504" y="859"/>
                    </a:lnTo>
                    <a:lnTo>
                      <a:pt x="504" y="854"/>
                    </a:lnTo>
                    <a:lnTo>
                      <a:pt x="504" y="850"/>
                    </a:lnTo>
                    <a:lnTo>
                      <a:pt x="504" y="845"/>
                    </a:lnTo>
                    <a:lnTo>
                      <a:pt x="504" y="840"/>
                    </a:lnTo>
                    <a:lnTo>
                      <a:pt x="504" y="835"/>
                    </a:lnTo>
                    <a:lnTo>
                      <a:pt x="500" y="835"/>
                    </a:lnTo>
                    <a:lnTo>
                      <a:pt x="500" y="830"/>
                    </a:lnTo>
                    <a:lnTo>
                      <a:pt x="500" y="826"/>
                    </a:lnTo>
                    <a:lnTo>
                      <a:pt x="500" y="821"/>
                    </a:lnTo>
                    <a:lnTo>
                      <a:pt x="500" y="816"/>
                    </a:lnTo>
                    <a:lnTo>
                      <a:pt x="500" y="811"/>
                    </a:lnTo>
                    <a:lnTo>
                      <a:pt x="495" y="811"/>
                    </a:lnTo>
                    <a:lnTo>
                      <a:pt x="490" y="816"/>
                    </a:lnTo>
                    <a:lnTo>
                      <a:pt x="485" y="816"/>
                    </a:lnTo>
                    <a:lnTo>
                      <a:pt x="480" y="821"/>
                    </a:lnTo>
                    <a:lnTo>
                      <a:pt x="476" y="821"/>
                    </a:lnTo>
                    <a:lnTo>
                      <a:pt x="471" y="821"/>
                    </a:lnTo>
                    <a:lnTo>
                      <a:pt x="466" y="826"/>
                    </a:lnTo>
                    <a:lnTo>
                      <a:pt x="461" y="826"/>
                    </a:lnTo>
                    <a:lnTo>
                      <a:pt x="456" y="830"/>
                    </a:lnTo>
                    <a:lnTo>
                      <a:pt x="452" y="830"/>
                    </a:lnTo>
                    <a:lnTo>
                      <a:pt x="447" y="830"/>
                    </a:lnTo>
                    <a:lnTo>
                      <a:pt x="442" y="835"/>
                    </a:lnTo>
                    <a:lnTo>
                      <a:pt x="437" y="835"/>
                    </a:lnTo>
                    <a:lnTo>
                      <a:pt x="432" y="835"/>
                    </a:lnTo>
                    <a:lnTo>
                      <a:pt x="428" y="840"/>
                    </a:lnTo>
                    <a:lnTo>
                      <a:pt x="423" y="840"/>
                    </a:lnTo>
                    <a:lnTo>
                      <a:pt x="423" y="845"/>
                    </a:lnTo>
                    <a:lnTo>
                      <a:pt x="418" y="845"/>
                    </a:lnTo>
                    <a:lnTo>
                      <a:pt x="413" y="845"/>
                    </a:lnTo>
                    <a:lnTo>
                      <a:pt x="408" y="850"/>
                    </a:lnTo>
                    <a:lnTo>
                      <a:pt x="404" y="850"/>
                    </a:lnTo>
                    <a:lnTo>
                      <a:pt x="399" y="850"/>
                    </a:lnTo>
                    <a:lnTo>
                      <a:pt x="394" y="854"/>
                    </a:lnTo>
                    <a:lnTo>
                      <a:pt x="389" y="854"/>
                    </a:lnTo>
                    <a:lnTo>
                      <a:pt x="384" y="854"/>
                    </a:lnTo>
                    <a:lnTo>
                      <a:pt x="380" y="854"/>
                    </a:lnTo>
                    <a:lnTo>
                      <a:pt x="375" y="850"/>
                    </a:lnTo>
                    <a:lnTo>
                      <a:pt x="370" y="850"/>
                    </a:lnTo>
                    <a:lnTo>
                      <a:pt x="365" y="845"/>
                    </a:lnTo>
                    <a:lnTo>
                      <a:pt x="360" y="845"/>
                    </a:lnTo>
                    <a:lnTo>
                      <a:pt x="360" y="850"/>
                    </a:lnTo>
                    <a:lnTo>
                      <a:pt x="360" y="854"/>
                    </a:lnTo>
                    <a:lnTo>
                      <a:pt x="356" y="859"/>
                    </a:lnTo>
                    <a:lnTo>
                      <a:pt x="356" y="864"/>
                    </a:lnTo>
                    <a:lnTo>
                      <a:pt x="356" y="869"/>
                    </a:lnTo>
                    <a:lnTo>
                      <a:pt x="351" y="869"/>
                    </a:lnTo>
                    <a:lnTo>
                      <a:pt x="351" y="874"/>
                    </a:lnTo>
                    <a:lnTo>
                      <a:pt x="346" y="878"/>
                    </a:lnTo>
                    <a:lnTo>
                      <a:pt x="341" y="878"/>
                    </a:lnTo>
                    <a:lnTo>
                      <a:pt x="336" y="883"/>
                    </a:lnTo>
                    <a:lnTo>
                      <a:pt x="332" y="883"/>
                    </a:lnTo>
                    <a:lnTo>
                      <a:pt x="327" y="888"/>
                    </a:lnTo>
                    <a:lnTo>
                      <a:pt x="322" y="893"/>
                    </a:lnTo>
                    <a:lnTo>
                      <a:pt x="317" y="893"/>
                    </a:lnTo>
                    <a:lnTo>
                      <a:pt x="312" y="898"/>
                    </a:lnTo>
                    <a:lnTo>
                      <a:pt x="308" y="902"/>
                    </a:lnTo>
                    <a:lnTo>
                      <a:pt x="303" y="902"/>
                    </a:lnTo>
                    <a:lnTo>
                      <a:pt x="303" y="907"/>
                    </a:lnTo>
                    <a:lnTo>
                      <a:pt x="303" y="912"/>
                    </a:lnTo>
                    <a:lnTo>
                      <a:pt x="303" y="917"/>
                    </a:lnTo>
                    <a:lnTo>
                      <a:pt x="298" y="922"/>
                    </a:lnTo>
                    <a:lnTo>
                      <a:pt x="298" y="926"/>
                    </a:lnTo>
                    <a:lnTo>
                      <a:pt x="298" y="931"/>
                    </a:lnTo>
                    <a:lnTo>
                      <a:pt x="298" y="936"/>
                    </a:lnTo>
                    <a:lnTo>
                      <a:pt x="298" y="941"/>
                    </a:lnTo>
                    <a:lnTo>
                      <a:pt x="298" y="946"/>
                    </a:lnTo>
                    <a:lnTo>
                      <a:pt x="293" y="950"/>
                    </a:lnTo>
                    <a:lnTo>
                      <a:pt x="288" y="955"/>
                    </a:lnTo>
                    <a:lnTo>
                      <a:pt x="284" y="960"/>
                    </a:lnTo>
                    <a:lnTo>
                      <a:pt x="284" y="965"/>
                    </a:lnTo>
                    <a:lnTo>
                      <a:pt x="279" y="970"/>
                    </a:lnTo>
                    <a:lnTo>
                      <a:pt x="274" y="975"/>
                    </a:lnTo>
                    <a:lnTo>
                      <a:pt x="274" y="979"/>
                    </a:lnTo>
                    <a:lnTo>
                      <a:pt x="269" y="984"/>
                    </a:lnTo>
                    <a:lnTo>
                      <a:pt x="264" y="989"/>
                    </a:lnTo>
                    <a:lnTo>
                      <a:pt x="264" y="994"/>
                    </a:lnTo>
                    <a:lnTo>
                      <a:pt x="260" y="999"/>
                    </a:lnTo>
                    <a:lnTo>
                      <a:pt x="255" y="1003"/>
                    </a:lnTo>
                    <a:lnTo>
                      <a:pt x="255" y="1008"/>
                    </a:lnTo>
                    <a:lnTo>
                      <a:pt x="250" y="1008"/>
                    </a:lnTo>
                    <a:lnTo>
                      <a:pt x="245" y="1013"/>
                    </a:lnTo>
                    <a:lnTo>
                      <a:pt x="245" y="1018"/>
                    </a:lnTo>
                    <a:lnTo>
                      <a:pt x="240" y="1018"/>
                    </a:lnTo>
                    <a:lnTo>
                      <a:pt x="236" y="1018"/>
                    </a:lnTo>
                    <a:lnTo>
                      <a:pt x="231" y="1018"/>
                    </a:lnTo>
                    <a:lnTo>
                      <a:pt x="226" y="1018"/>
                    </a:lnTo>
                    <a:lnTo>
                      <a:pt x="221" y="1018"/>
                    </a:lnTo>
                    <a:lnTo>
                      <a:pt x="216" y="1013"/>
                    </a:lnTo>
                    <a:lnTo>
                      <a:pt x="212" y="1013"/>
                    </a:lnTo>
                    <a:lnTo>
                      <a:pt x="207" y="1013"/>
                    </a:lnTo>
                    <a:lnTo>
                      <a:pt x="202" y="1013"/>
                    </a:lnTo>
                    <a:lnTo>
                      <a:pt x="197" y="1013"/>
                    </a:lnTo>
                    <a:lnTo>
                      <a:pt x="192" y="1013"/>
                    </a:lnTo>
                    <a:lnTo>
                      <a:pt x="192" y="1008"/>
                    </a:lnTo>
                    <a:lnTo>
                      <a:pt x="188" y="1008"/>
                    </a:lnTo>
                    <a:lnTo>
                      <a:pt x="183" y="1008"/>
                    </a:lnTo>
                    <a:lnTo>
                      <a:pt x="183" y="1003"/>
                    </a:lnTo>
                    <a:lnTo>
                      <a:pt x="178" y="1003"/>
                    </a:lnTo>
                    <a:lnTo>
                      <a:pt x="173" y="999"/>
                    </a:lnTo>
                    <a:lnTo>
                      <a:pt x="168" y="999"/>
                    </a:lnTo>
                    <a:lnTo>
                      <a:pt x="164" y="994"/>
                    </a:lnTo>
                    <a:lnTo>
                      <a:pt x="159" y="994"/>
                    </a:lnTo>
                    <a:lnTo>
                      <a:pt x="154" y="989"/>
                    </a:lnTo>
                    <a:lnTo>
                      <a:pt x="149" y="989"/>
                    </a:lnTo>
                    <a:lnTo>
                      <a:pt x="144" y="984"/>
                    </a:lnTo>
                    <a:lnTo>
                      <a:pt x="144" y="979"/>
                    </a:lnTo>
                    <a:lnTo>
                      <a:pt x="144" y="975"/>
                    </a:lnTo>
                    <a:lnTo>
                      <a:pt x="144" y="970"/>
                    </a:lnTo>
                    <a:lnTo>
                      <a:pt x="149" y="970"/>
                    </a:lnTo>
                    <a:lnTo>
                      <a:pt x="149" y="960"/>
                    </a:lnTo>
                    <a:lnTo>
                      <a:pt x="144" y="960"/>
                    </a:lnTo>
                    <a:lnTo>
                      <a:pt x="140" y="955"/>
                    </a:lnTo>
                    <a:lnTo>
                      <a:pt x="140" y="950"/>
                    </a:lnTo>
                    <a:lnTo>
                      <a:pt x="135" y="946"/>
                    </a:lnTo>
                    <a:lnTo>
                      <a:pt x="135" y="941"/>
                    </a:lnTo>
                    <a:lnTo>
                      <a:pt x="130" y="941"/>
                    </a:lnTo>
                    <a:lnTo>
                      <a:pt x="125" y="941"/>
                    </a:lnTo>
                    <a:lnTo>
                      <a:pt x="120" y="941"/>
                    </a:lnTo>
                    <a:lnTo>
                      <a:pt x="116" y="941"/>
                    </a:lnTo>
                    <a:lnTo>
                      <a:pt x="111" y="936"/>
                    </a:lnTo>
                    <a:lnTo>
                      <a:pt x="106" y="931"/>
                    </a:lnTo>
                    <a:lnTo>
                      <a:pt x="106" y="926"/>
                    </a:lnTo>
                    <a:lnTo>
                      <a:pt x="101" y="926"/>
                    </a:lnTo>
                    <a:lnTo>
                      <a:pt x="101" y="922"/>
                    </a:lnTo>
                    <a:lnTo>
                      <a:pt x="96" y="917"/>
                    </a:lnTo>
                    <a:lnTo>
                      <a:pt x="96" y="912"/>
                    </a:lnTo>
                    <a:lnTo>
                      <a:pt x="92" y="907"/>
                    </a:lnTo>
                    <a:lnTo>
                      <a:pt x="92" y="902"/>
                    </a:lnTo>
                    <a:lnTo>
                      <a:pt x="87" y="902"/>
                    </a:lnTo>
                    <a:lnTo>
                      <a:pt x="82" y="898"/>
                    </a:lnTo>
                    <a:lnTo>
                      <a:pt x="77" y="898"/>
                    </a:lnTo>
                    <a:lnTo>
                      <a:pt x="72" y="898"/>
                    </a:lnTo>
                    <a:lnTo>
                      <a:pt x="68" y="898"/>
                    </a:lnTo>
                    <a:lnTo>
                      <a:pt x="63" y="893"/>
                    </a:lnTo>
                    <a:lnTo>
                      <a:pt x="58" y="893"/>
                    </a:lnTo>
                    <a:lnTo>
                      <a:pt x="53" y="893"/>
                    </a:lnTo>
                    <a:lnTo>
                      <a:pt x="48" y="893"/>
                    </a:lnTo>
                    <a:lnTo>
                      <a:pt x="44" y="893"/>
                    </a:lnTo>
                    <a:lnTo>
                      <a:pt x="39" y="893"/>
                    </a:lnTo>
                    <a:lnTo>
                      <a:pt x="34" y="888"/>
                    </a:lnTo>
                    <a:lnTo>
                      <a:pt x="34" y="883"/>
                    </a:lnTo>
                    <a:lnTo>
                      <a:pt x="34" y="878"/>
                    </a:lnTo>
                    <a:lnTo>
                      <a:pt x="39" y="878"/>
                    </a:lnTo>
                    <a:lnTo>
                      <a:pt x="39" y="874"/>
                    </a:lnTo>
                    <a:lnTo>
                      <a:pt x="44" y="869"/>
                    </a:lnTo>
                    <a:lnTo>
                      <a:pt x="44" y="864"/>
                    </a:lnTo>
                    <a:lnTo>
                      <a:pt x="44" y="859"/>
                    </a:lnTo>
                    <a:lnTo>
                      <a:pt x="48" y="854"/>
                    </a:lnTo>
                    <a:lnTo>
                      <a:pt x="48" y="850"/>
                    </a:lnTo>
                    <a:lnTo>
                      <a:pt x="48" y="845"/>
                    </a:lnTo>
                    <a:lnTo>
                      <a:pt x="53" y="840"/>
                    </a:lnTo>
                    <a:lnTo>
                      <a:pt x="53" y="835"/>
                    </a:lnTo>
                    <a:lnTo>
                      <a:pt x="53" y="830"/>
                    </a:lnTo>
                    <a:lnTo>
                      <a:pt x="58" y="826"/>
                    </a:lnTo>
                    <a:lnTo>
                      <a:pt x="58" y="821"/>
                    </a:lnTo>
                    <a:lnTo>
                      <a:pt x="63" y="816"/>
                    </a:lnTo>
                    <a:lnTo>
                      <a:pt x="63" y="811"/>
                    </a:lnTo>
                    <a:lnTo>
                      <a:pt x="68" y="806"/>
                    </a:lnTo>
                    <a:lnTo>
                      <a:pt x="68" y="802"/>
                    </a:lnTo>
                    <a:lnTo>
                      <a:pt x="68" y="797"/>
                    </a:lnTo>
                    <a:lnTo>
                      <a:pt x="72" y="792"/>
                    </a:lnTo>
                    <a:lnTo>
                      <a:pt x="72" y="787"/>
                    </a:lnTo>
                    <a:lnTo>
                      <a:pt x="72" y="782"/>
                    </a:lnTo>
                    <a:lnTo>
                      <a:pt x="77" y="778"/>
                    </a:lnTo>
                    <a:lnTo>
                      <a:pt x="82" y="773"/>
                    </a:lnTo>
                    <a:lnTo>
                      <a:pt x="87" y="773"/>
                    </a:lnTo>
                    <a:lnTo>
                      <a:pt x="92" y="768"/>
                    </a:lnTo>
                    <a:lnTo>
                      <a:pt x="96" y="763"/>
                    </a:lnTo>
                    <a:lnTo>
                      <a:pt x="101" y="758"/>
                    </a:lnTo>
                    <a:lnTo>
                      <a:pt x="106" y="754"/>
                    </a:lnTo>
                    <a:lnTo>
                      <a:pt x="111" y="754"/>
                    </a:lnTo>
                    <a:lnTo>
                      <a:pt x="111" y="749"/>
                    </a:lnTo>
                    <a:lnTo>
                      <a:pt x="106" y="749"/>
                    </a:lnTo>
                    <a:lnTo>
                      <a:pt x="101" y="744"/>
                    </a:lnTo>
                    <a:lnTo>
                      <a:pt x="96" y="739"/>
                    </a:lnTo>
                    <a:lnTo>
                      <a:pt x="92" y="739"/>
                    </a:lnTo>
                    <a:lnTo>
                      <a:pt x="87" y="734"/>
                    </a:lnTo>
                    <a:lnTo>
                      <a:pt x="87" y="730"/>
                    </a:lnTo>
                    <a:lnTo>
                      <a:pt x="82" y="730"/>
                    </a:lnTo>
                    <a:lnTo>
                      <a:pt x="77" y="725"/>
                    </a:lnTo>
                    <a:lnTo>
                      <a:pt x="72" y="725"/>
                    </a:lnTo>
                    <a:lnTo>
                      <a:pt x="68" y="720"/>
                    </a:lnTo>
                    <a:lnTo>
                      <a:pt x="63" y="715"/>
                    </a:lnTo>
                    <a:lnTo>
                      <a:pt x="58" y="715"/>
                    </a:lnTo>
                    <a:lnTo>
                      <a:pt x="53" y="710"/>
                    </a:lnTo>
                    <a:lnTo>
                      <a:pt x="48" y="706"/>
                    </a:lnTo>
                    <a:lnTo>
                      <a:pt x="44" y="706"/>
                    </a:lnTo>
                    <a:lnTo>
                      <a:pt x="39" y="701"/>
                    </a:lnTo>
                    <a:lnTo>
                      <a:pt x="34" y="701"/>
                    </a:lnTo>
                    <a:lnTo>
                      <a:pt x="29" y="696"/>
                    </a:lnTo>
                    <a:lnTo>
                      <a:pt x="24" y="691"/>
                    </a:lnTo>
                    <a:lnTo>
                      <a:pt x="20" y="691"/>
                    </a:lnTo>
                    <a:lnTo>
                      <a:pt x="20" y="686"/>
                    </a:lnTo>
                    <a:lnTo>
                      <a:pt x="15" y="686"/>
                    </a:lnTo>
                    <a:lnTo>
                      <a:pt x="15" y="682"/>
                    </a:lnTo>
                    <a:lnTo>
                      <a:pt x="10" y="677"/>
                    </a:lnTo>
                    <a:lnTo>
                      <a:pt x="10" y="672"/>
                    </a:lnTo>
                    <a:lnTo>
                      <a:pt x="15" y="662"/>
                    </a:lnTo>
                    <a:lnTo>
                      <a:pt x="20" y="658"/>
                    </a:lnTo>
                    <a:lnTo>
                      <a:pt x="24" y="653"/>
                    </a:lnTo>
                    <a:lnTo>
                      <a:pt x="29" y="653"/>
                    </a:lnTo>
                    <a:lnTo>
                      <a:pt x="24" y="648"/>
                    </a:lnTo>
                    <a:lnTo>
                      <a:pt x="20" y="648"/>
                    </a:lnTo>
                    <a:lnTo>
                      <a:pt x="15" y="653"/>
                    </a:lnTo>
                    <a:lnTo>
                      <a:pt x="10" y="653"/>
                    </a:lnTo>
                    <a:lnTo>
                      <a:pt x="5" y="653"/>
                    </a:lnTo>
                    <a:lnTo>
                      <a:pt x="0" y="653"/>
                    </a:lnTo>
                    <a:lnTo>
                      <a:pt x="0" y="648"/>
                    </a:lnTo>
                    <a:lnTo>
                      <a:pt x="0" y="643"/>
                    </a:lnTo>
                    <a:lnTo>
                      <a:pt x="5" y="638"/>
                    </a:lnTo>
                    <a:lnTo>
                      <a:pt x="10" y="638"/>
                    </a:lnTo>
                    <a:lnTo>
                      <a:pt x="15" y="634"/>
                    </a:lnTo>
                    <a:lnTo>
                      <a:pt x="24" y="634"/>
                    </a:lnTo>
                    <a:lnTo>
                      <a:pt x="24" y="629"/>
                    </a:lnTo>
                    <a:lnTo>
                      <a:pt x="29" y="624"/>
                    </a:lnTo>
                    <a:lnTo>
                      <a:pt x="39" y="624"/>
                    </a:lnTo>
                    <a:lnTo>
                      <a:pt x="44" y="624"/>
                    </a:lnTo>
                    <a:lnTo>
                      <a:pt x="48" y="624"/>
                    </a:lnTo>
                    <a:lnTo>
                      <a:pt x="48" y="619"/>
                    </a:lnTo>
                    <a:lnTo>
                      <a:pt x="48" y="614"/>
                    </a:lnTo>
                    <a:lnTo>
                      <a:pt x="48" y="610"/>
                    </a:lnTo>
                    <a:lnTo>
                      <a:pt x="48" y="605"/>
                    </a:lnTo>
                    <a:lnTo>
                      <a:pt x="48" y="600"/>
                    </a:lnTo>
                    <a:lnTo>
                      <a:pt x="48" y="595"/>
                    </a:lnTo>
                    <a:lnTo>
                      <a:pt x="48" y="590"/>
                    </a:lnTo>
                    <a:lnTo>
                      <a:pt x="48" y="586"/>
                    </a:lnTo>
                    <a:lnTo>
                      <a:pt x="48" y="581"/>
                    </a:lnTo>
                    <a:lnTo>
                      <a:pt x="48" y="576"/>
                    </a:lnTo>
                    <a:lnTo>
                      <a:pt x="48" y="571"/>
                    </a:lnTo>
                    <a:lnTo>
                      <a:pt x="48" y="566"/>
                    </a:lnTo>
                    <a:lnTo>
                      <a:pt x="48" y="562"/>
                    </a:lnTo>
                    <a:lnTo>
                      <a:pt x="48" y="557"/>
                    </a:lnTo>
                    <a:lnTo>
                      <a:pt x="48" y="552"/>
                    </a:lnTo>
                    <a:lnTo>
                      <a:pt x="48" y="547"/>
                    </a:lnTo>
                    <a:lnTo>
                      <a:pt x="48" y="542"/>
                    </a:lnTo>
                    <a:lnTo>
                      <a:pt x="48" y="538"/>
                    </a:lnTo>
                    <a:lnTo>
                      <a:pt x="48" y="533"/>
                    </a:lnTo>
                    <a:lnTo>
                      <a:pt x="48" y="528"/>
                    </a:lnTo>
                    <a:lnTo>
                      <a:pt x="48" y="523"/>
                    </a:lnTo>
                    <a:lnTo>
                      <a:pt x="48" y="518"/>
                    </a:lnTo>
                    <a:lnTo>
                      <a:pt x="48" y="514"/>
                    </a:lnTo>
                    <a:lnTo>
                      <a:pt x="48" y="509"/>
                    </a:lnTo>
                    <a:lnTo>
                      <a:pt x="48" y="504"/>
                    </a:lnTo>
                    <a:lnTo>
                      <a:pt x="48" y="499"/>
                    </a:lnTo>
                    <a:lnTo>
                      <a:pt x="48" y="494"/>
                    </a:lnTo>
                    <a:lnTo>
                      <a:pt x="48" y="490"/>
                    </a:lnTo>
                    <a:lnTo>
                      <a:pt x="48" y="485"/>
                    </a:lnTo>
                    <a:lnTo>
                      <a:pt x="48" y="480"/>
                    </a:lnTo>
                    <a:lnTo>
                      <a:pt x="48" y="475"/>
                    </a:lnTo>
                    <a:lnTo>
                      <a:pt x="48" y="470"/>
                    </a:lnTo>
                    <a:lnTo>
                      <a:pt x="48" y="466"/>
                    </a:lnTo>
                    <a:lnTo>
                      <a:pt x="48" y="461"/>
                    </a:lnTo>
                    <a:lnTo>
                      <a:pt x="48" y="456"/>
                    </a:lnTo>
                    <a:lnTo>
                      <a:pt x="48" y="451"/>
                    </a:lnTo>
                    <a:lnTo>
                      <a:pt x="48" y="446"/>
                    </a:lnTo>
                    <a:lnTo>
                      <a:pt x="48" y="442"/>
                    </a:lnTo>
                    <a:lnTo>
                      <a:pt x="48" y="437"/>
                    </a:lnTo>
                    <a:lnTo>
                      <a:pt x="48" y="432"/>
                    </a:lnTo>
                    <a:lnTo>
                      <a:pt x="48" y="427"/>
                    </a:lnTo>
                    <a:lnTo>
                      <a:pt x="48" y="422"/>
                    </a:lnTo>
                    <a:lnTo>
                      <a:pt x="48" y="418"/>
                    </a:lnTo>
                    <a:lnTo>
                      <a:pt x="48" y="413"/>
                    </a:lnTo>
                    <a:lnTo>
                      <a:pt x="48" y="408"/>
                    </a:lnTo>
                    <a:lnTo>
                      <a:pt x="48" y="403"/>
                    </a:lnTo>
                    <a:lnTo>
                      <a:pt x="48" y="398"/>
                    </a:lnTo>
                    <a:lnTo>
                      <a:pt x="48" y="394"/>
                    </a:lnTo>
                    <a:lnTo>
                      <a:pt x="48" y="389"/>
                    </a:lnTo>
                    <a:lnTo>
                      <a:pt x="48" y="384"/>
                    </a:lnTo>
                    <a:lnTo>
                      <a:pt x="48" y="379"/>
                    </a:lnTo>
                    <a:lnTo>
                      <a:pt x="48" y="374"/>
                    </a:lnTo>
                    <a:lnTo>
                      <a:pt x="53" y="374"/>
                    </a:lnTo>
                    <a:lnTo>
                      <a:pt x="58" y="379"/>
                    </a:lnTo>
                    <a:lnTo>
                      <a:pt x="58" y="384"/>
                    </a:lnTo>
                    <a:lnTo>
                      <a:pt x="63" y="384"/>
                    </a:lnTo>
                    <a:lnTo>
                      <a:pt x="63" y="389"/>
                    </a:lnTo>
                    <a:lnTo>
                      <a:pt x="68" y="389"/>
                    </a:lnTo>
                    <a:lnTo>
                      <a:pt x="68" y="394"/>
                    </a:lnTo>
                    <a:lnTo>
                      <a:pt x="72" y="398"/>
                    </a:lnTo>
                    <a:lnTo>
                      <a:pt x="77" y="403"/>
                    </a:lnTo>
                    <a:lnTo>
                      <a:pt x="77" y="408"/>
                    </a:lnTo>
                    <a:lnTo>
                      <a:pt x="82" y="408"/>
                    </a:lnTo>
                    <a:lnTo>
                      <a:pt x="82" y="413"/>
                    </a:lnTo>
                    <a:lnTo>
                      <a:pt x="87" y="413"/>
                    </a:lnTo>
                    <a:lnTo>
                      <a:pt x="87" y="418"/>
                    </a:lnTo>
                    <a:lnTo>
                      <a:pt x="92" y="418"/>
                    </a:lnTo>
                    <a:lnTo>
                      <a:pt x="92" y="422"/>
                    </a:lnTo>
                    <a:lnTo>
                      <a:pt x="96" y="422"/>
                    </a:lnTo>
                    <a:lnTo>
                      <a:pt x="101" y="422"/>
                    </a:lnTo>
                    <a:lnTo>
                      <a:pt x="106" y="418"/>
                    </a:lnTo>
                    <a:lnTo>
                      <a:pt x="106" y="413"/>
                    </a:lnTo>
                    <a:lnTo>
                      <a:pt x="106" y="408"/>
                    </a:lnTo>
                    <a:lnTo>
                      <a:pt x="106" y="403"/>
                    </a:lnTo>
                    <a:lnTo>
                      <a:pt x="106" y="398"/>
                    </a:lnTo>
                    <a:lnTo>
                      <a:pt x="111" y="394"/>
                    </a:lnTo>
                    <a:lnTo>
                      <a:pt x="116" y="389"/>
                    </a:lnTo>
                    <a:lnTo>
                      <a:pt x="116" y="384"/>
                    </a:lnTo>
                    <a:lnTo>
                      <a:pt x="120" y="379"/>
                    </a:lnTo>
                    <a:lnTo>
                      <a:pt x="125" y="374"/>
                    </a:lnTo>
                    <a:lnTo>
                      <a:pt x="130" y="370"/>
                    </a:lnTo>
                    <a:lnTo>
                      <a:pt x="130" y="365"/>
                    </a:lnTo>
                    <a:lnTo>
                      <a:pt x="135" y="360"/>
                    </a:lnTo>
                    <a:lnTo>
                      <a:pt x="135" y="355"/>
                    </a:lnTo>
                    <a:lnTo>
                      <a:pt x="135" y="350"/>
                    </a:lnTo>
                    <a:lnTo>
                      <a:pt x="135" y="346"/>
                    </a:lnTo>
                    <a:lnTo>
                      <a:pt x="135" y="341"/>
                    </a:lnTo>
                    <a:lnTo>
                      <a:pt x="135" y="336"/>
                    </a:lnTo>
                    <a:lnTo>
                      <a:pt x="140" y="331"/>
                    </a:lnTo>
                    <a:lnTo>
                      <a:pt x="140" y="326"/>
                    </a:lnTo>
                    <a:lnTo>
                      <a:pt x="140" y="322"/>
                    </a:lnTo>
                    <a:lnTo>
                      <a:pt x="140" y="317"/>
                    </a:lnTo>
                    <a:lnTo>
                      <a:pt x="140" y="312"/>
                    </a:lnTo>
                    <a:lnTo>
                      <a:pt x="144" y="307"/>
                    </a:lnTo>
                    <a:lnTo>
                      <a:pt x="144" y="302"/>
                    </a:lnTo>
                    <a:lnTo>
                      <a:pt x="144" y="298"/>
                    </a:lnTo>
                    <a:lnTo>
                      <a:pt x="144" y="293"/>
                    </a:lnTo>
                    <a:lnTo>
                      <a:pt x="144" y="288"/>
                    </a:lnTo>
                    <a:lnTo>
                      <a:pt x="144" y="283"/>
                    </a:lnTo>
                    <a:lnTo>
                      <a:pt x="144" y="278"/>
                    </a:lnTo>
                    <a:lnTo>
                      <a:pt x="149" y="274"/>
                    </a:lnTo>
                    <a:lnTo>
                      <a:pt x="149" y="269"/>
                    </a:lnTo>
                    <a:lnTo>
                      <a:pt x="149" y="264"/>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42" name="Freeform 10"/>
              <p:cNvSpPr>
                <a:spLocks noEditPoints="1"/>
              </p:cNvSpPr>
              <p:nvPr/>
            </p:nvSpPr>
            <p:spPr bwMode="gray">
              <a:xfrm>
                <a:off x="5565776" y="2238375"/>
                <a:ext cx="1127125" cy="952500"/>
              </a:xfrm>
              <a:custGeom>
                <a:avLst/>
                <a:gdLst>
                  <a:gd name="T0" fmla="*/ 29 w 710"/>
                  <a:gd name="T1" fmla="*/ 557 h 600"/>
                  <a:gd name="T2" fmla="*/ 67 w 710"/>
                  <a:gd name="T3" fmla="*/ 518 h 600"/>
                  <a:gd name="T4" fmla="*/ 82 w 710"/>
                  <a:gd name="T5" fmla="*/ 475 h 600"/>
                  <a:gd name="T6" fmla="*/ 106 w 710"/>
                  <a:gd name="T7" fmla="*/ 437 h 600"/>
                  <a:gd name="T8" fmla="*/ 115 w 710"/>
                  <a:gd name="T9" fmla="*/ 394 h 600"/>
                  <a:gd name="T10" fmla="*/ 134 w 710"/>
                  <a:gd name="T11" fmla="*/ 350 h 600"/>
                  <a:gd name="T12" fmla="*/ 158 w 710"/>
                  <a:gd name="T13" fmla="*/ 307 h 600"/>
                  <a:gd name="T14" fmla="*/ 192 w 710"/>
                  <a:gd name="T15" fmla="*/ 274 h 600"/>
                  <a:gd name="T16" fmla="*/ 230 w 710"/>
                  <a:gd name="T17" fmla="*/ 274 h 600"/>
                  <a:gd name="T18" fmla="*/ 264 w 710"/>
                  <a:gd name="T19" fmla="*/ 259 h 600"/>
                  <a:gd name="T20" fmla="*/ 297 w 710"/>
                  <a:gd name="T21" fmla="*/ 250 h 600"/>
                  <a:gd name="T22" fmla="*/ 326 w 710"/>
                  <a:gd name="T23" fmla="*/ 240 h 600"/>
                  <a:gd name="T24" fmla="*/ 326 w 710"/>
                  <a:gd name="T25" fmla="*/ 211 h 600"/>
                  <a:gd name="T26" fmla="*/ 321 w 710"/>
                  <a:gd name="T27" fmla="*/ 168 h 600"/>
                  <a:gd name="T28" fmla="*/ 317 w 710"/>
                  <a:gd name="T29" fmla="*/ 139 h 600"/>
                  <a:gd name="T30" fmla="*/ 350 w 710"/>
                  <a:gd name="T31" fmla="*/ 134 h 600"/>
                  <a:gd name="T32" fmla="*/ 389 w 710"/>
                  <a:gd name="T33" fmla="*/ 91 h 600"/>
                  <a:gd name="T34" fmla="*/ 427 w 710"/>
                  <a:gd name="T35" fmla="*/ 53 h 600"/>
                  <a:gd name="T36" fmla="*/ 461 w 710"/>
                  <a:gd name="T37" fmla="*/ 14 h 600"/>
                  <a:gd name="T38" fmla="*/ 557 w 710"/>
                  <a:gd name="T39" fmla="*/ 57 h 600"/>
                  <a:gd name="T40" fmla="*/ 672 w 710"/>
                  <a:gd name="T41" fmla="*/ 139 h 600"/>
                  <a:gd name="T42" fmla="*/ 705 w 710"/>
                  <a:gd name="T43" fmla="*/ 173 h 600"/>
                  <a:gd name="T44" fmla="*/ 701 w 710"/>
                  <a:gd name="T45" fmla="*/ 182 h 600"/>
                  <a:gd name="T46" fmla="*/ 696 w 710"/>
                  <a:gd name="T47" fmla="*/ 202 h 600"/>
                  <a:gd name="T48" fmla="*/ 705 w 710"/>
                  <a:gd name="T49" fmla="*/ 221 h 600"/>
                  <a:gd name="T50" fmla="*/ 696 w 710"/>
                  <a:gd name="T51" fmla="*/ 235 h 600"/>
                  <a:gd name="T52" fmla="*/ 691 w 710"/>
                  <a:gd name="T53" fmla="*/ 235 h 600"/>
                  <a:gd name="T54" fmla="*/ 681 w 710"/>
                  <a:gd name="T55" fmla="*/ 259 h 600"/>
                  <a:gd name="T56" fmla="*/ 681 w 710"/>
                  <a:gd name="T57" fmla="*/ 274 h 600"/>
                  <a:gd name="T58" fmla="*/ 681 w 710"/>
                  <a:gd name="T59" fmla="*/ 298 h 600"/>
                  <a:gd name="T60" fmla="*/ 677 w 710"/>
                  <a:gd name="T61" fmla="*/ 322 h 600"/>
                  <a:gd name="T62" fmla="*/ 657 w 710"/>
                  <a:gd name="T63" fmla="*/ 341 h 600"/>
                  <a:gd name="T64" fmla="*/ 662 w 710"/>
                  <a:gd name="T65" fmla="*/ 355 h 600"/>
                  <a:gd name="T66" fmla="*/ 643 w 710"/>
                  <a:gd name="T67" fmla="*/ 398 h 600"/>
                  <a:gd name="T68" fmla="*/ 638 w 710"/>
                  <a:gd name="T69" fmla="*/ 413 h 600"/>
                  <a:gd name="T70" fmla="*/ 629 w 710"/>
                  <a:gd name="T71" fmla="*/ 437 h 600"/>
                  <a:gd name="T72" fmla="*/ 605 w 710"/>
                  <a:gd name="T73" fmla="*/ 475 h 600"/>
                  <a:gd name="T74" fmla="*/ 590 w 710"/>
                  <a:gd name="T75" fmla="*/ 518 h 600"/>
                  <a:gd name="T76" fmla="*/ 576 w 710"/>
                  <a:gd name="T77" fmla="*/ 576 h 600"/>
                  <a:gd name="T78" fmla="*/ 542 w 710"/>
                  <a:gd name="T79" fmla="*/ 562 h 600"/>
                  <a:gd name="T80" fmla="*/ 509 w 710"/>
                  <a:gd name="T81" fmla="*/ 547 h 600"/>
                  <a:gd name="T82" fmla="*/ 470 w 710"/>
                  <a:gd name="T83" fmla="*/ 538 h 600"/>
                  <a:gd name="T84" fmla="*/ 437 w 710"/>
                  <a:gd name="T85" fmla="*/ 552 h 600"/>
                  <a:gd name="T86" fmla="*/ 398 w 710"/>
                  <a:gd name="T87" fmla="*/ 562 h 600"/>
                  <a:gd name="T88" fmla="*/ 365 w 710"/>
                  <a:gd name="T89" fmla="*/ 552 h 600"/>
                  <a:gd name="T90" fmla="*/ 336 w 710"/>
                  <a:gd name="T91" fmla="*/ 542 h 600"/>
                  <a:gd name="T92" fmla="*/ 293 w 710"/>
                  <a:gd name="T93" fmla="*/ 552 h 600"/>
                  <a:gd name="T94" fmla="*/ 250 w 710"/>
                  <a:gd name="T95" fmla="*/ 557 h 600"/>
                  <a:gd name="T96" fmla="*/ 206 w 710"/>
                  <a:gd name="T97" fmla="*/ 557 h 600"/>
                  <a:gd name="T98" fmla="*/ 178 w 710"/>
                  <a:gd name="T99" fmla="*/ 542 h 600"/>
                  <a:gd name="T100" fmla="*/ 139 w 710"/>
                  <a:gd name="T101" fmla="*/ 547 h 600"/>
                  <a:gd name="T102" fmla="*/ 120 w 710"/>
                  <a:gd name="T103" fmla="*/ 576 h 600"/>
                  <a:gd name="T104" fmla="*/ 77 w 710"/>
                  <a:gd name="T105" fmla="*/ 590 h 600"/>
                  <a:gd name="T106" fmla="*/ 34 w 710"/>
                  <a:gd name="T107" fmla="*/ 595 h 600"/>
                  <a:gd name="T108" fmla="*/ 691 w 710"/>
                  <a:gd name="T109" fmla="*/ 302 h 600"/>
                  <a:gd name="T110" fmla="*/ 686 w 710"/>
                  <a:gd name="T111" fmla="*/ 326 h 600"/>
                  <a:gd name="T112" fmla="*/ 677 w 710"/>
                  <a:gd name="T113" fmla="*/ 317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0" h="600">
                    <a:moveTo>
                      <a:pt x="0" y="581"/>
                    </a:moveTo>
                    <a:lnTo>
                      <a:pt x="5" y="581"/>
                    </a:lnTo>
                    <a:lnTo>
                      <a:pt x="5" y="576"/>
                    </a:lnTo>
                    <a:lnTo>
                      <a:pt x="10" y="571"/>
                    </a:lnTo>
                    <a:lnTo>
                      <a:pt x="14" y="571"/>
                    </a:lnTo>
                    <a:lnTo>
                      <a:pt x="14" y="566"/>
                    </a:lnTo>
                    <a:lnTo>
                      <a:pt x="19" y="562"/>
                    </a:lnTo>
                    <a:lnTo>
                      <a:pt x="24" y="562"/>
                    </a:lnTo>
                    <a:lnTo>
                      <a:pt x="29" y="557"/>
                    </a:lnTo>
                    <a:lnTo>
                      <a:pt x="34" y="552"/>
                    </a:lnTo>
                    <a:lnTo>
                      <a:pt x="38" y="547"/>
                    </a:lnTo>
                    <a:lnTo>
                      <a:pt x="43" y="542"/>
                    </a:lnTo>
                    <a:lnTo>
                      <a:pt x="48" y="542"/>
                    </a:lnTo>
                    <a:lnTo>
                      <a:pt x="53" y="538"/>
                    </a:lnTo>
                    <a:lnTo>
                      <a:pt x="53" y="533"/>
                    </a:lnTo>
                    <a:lnTo>
                      <a:pt x="58" y="528"/>
                    </a:lnTo>
                    <a:lnTo>
                      <a:pt x="62" y="523"/>
                    </a:lnTo>
                    <a:lnTo>
                      <a:pt x="67" y="518"/>
                    </a:lnTo>
                    <a:lnTo>
                      <a:pt x="67" y="514"/>
                    </a:lnTo>
                    <a:lnTo>
                      <a:pt x="72" y="509"/>
                    </a:lnTo>
                    <a:lnTo>
                      <a:pt x="72" y="504"/>
                    </a:lnTo>
                    <a:lnTo>
                      <a:pt x="77" y="499"/>
                    </a:lnTo>
                    <a:lnTo>
                      <a:pt x="77" y="494"/>
                    </a:lnTo>
                    <a:lnTo>
                      <a:pt x="77" y="490"/>
                    </a:lnTo>
                    <a:lnTo>
                      <a:pt x="82" y="485"/>
                    </a:lnTo>
                    <a:lnTo>
                      <a:pt x="82" y="480"/>
                    </a:lnTo>
                    <a:lnTo>
                      <a:pt x="82" y="475"/>
                    </a:lnTo>
                    <a:lnTo>
                      <a:pt x="82" y="470"/>
                    </a:lnTo>
                    <a:lnTo>
                      <a:pt x="86" y="466"/>
                    </a:lnTo>
                    <a:lnTo>
                      <a:pt x="91" y="461"/>
                    </a:lnTo>
                    <a:lnTo>
                      <a:pt x="91" y="456"/>
                    </a:lnTo>
                    <a:lnTo>
                      <a:pt x="96" y="456"/>
                    </a:lnTo>
                    <a:lnTo>
                      <a:pt x="101" y="451"/>
                    </a:lnTo>
                    <a:lnTo>
                      <a:pt x="101" y="446"/>
                    </a:lnTo>
                    <a:lnTo>
                      <a:pt x="106" y="442"/>
                    </a:lnTo>
                    <a:lnTo>
                      <a:pt x="106" y="437"/>
                    </a:lnTo>
                    <a:lnTo>
                      <a:pt x="106" y="432"/>
                    </a:lnTo>
                    <a:lnTo>
                      <a:pt x="106" y="427"/>
                    </a:lnTo>
                    <a:lnTo>
                      <a:pt x="110" y="422"/>
                    </a:lnTo>
                    <a:lnTo>
                      <a:pt x="110" y="418"/>
                    </a:lnTo>
                    <a:lnTo>
                      <a:pt x="110" y="413"/>
                    </a:lnTo>
                    <a:lnTo>
                      <a:pt x="110" y="408"/>
                    </a:lnTo>
                    <a:lnTo>
                      <a:pt x="110" y="403"/>
                    </a:lnTo>
                    <a:lnTo>
                      <a:pt x="115" y="398"/>
                    </a:lnTo>
                    <a:lnTo>
                      <a:pt x="115" y="394"/>
                    </a:lnTo>
                    <a:lnTo>
                      <a:pt x="115" y="389"/>
                    </a:lnTo>
                    <a:lnTo>
                      <a:pt x="120" y="384"/>
                    </a:lnTo>
                    <a:lnTo>
                      <a:pt x="120" y="379"/>
                    </a:lnTo>
                    <a:lnTo>
                      <a:pt x="120" y="374"/>
                    </a:lnTo>
                    <a:lnTo>
                      <a:pt x="120" y="370"/>
                    </a:lnTo>
                    <a:lnTo>
                      <a:pt x="125" y="365"/>
                    </a:lnTo>
                    <a:lnTo>
                      <a:pt x="125" y="360"/>
                    </a:lnTo>
                    <a:lnTo>
                      <a:pt x="130" y="355"/>
                    </a:lnTo>
                    <a:lnTo>
                      <a:pt x="134" y="350"/>
                    </a:lnTo>
                    <a:lnTo>
                      <a:pt x="134" y="346"/>
                    </a:lnTo>
                    <a:lnTo>
                      <a:pt x="139" y="341"/>
                    </a:lnTo>
                    <a:lnTo>
                      <a:pt x="144" y="336"/>
                    </a:lnTo>
                    <a:lnTo>
                      <a:pt x="149" y="331"/>
                    </a:lnTo>
                    <a:lnTo>
                      <a:pt x="149" y="326"/>
                    </a:lnTo>
                    <a:lnTo>
                      <a:pt x="154" y="322"/>
                    </a:lnTo>
                    <a:lnTo>
                      <a:pt x="154" y="317"/>
                    </a:lnTo>
                    <a:lnTo>
                      <a:pt x="158" y="312"/>
                    </a:lnTo>
                    <a:lnTo>
                      <a:pt x="158" y="307"/>
                    </a:lnTo>
                    <a:lnTo>
                      <a:pt x="163" y="302"/>
                    </a:lnTo>
                    <a:lnTo>
                      <a:pt x="168" y="298"/>
                    </a:lnTo>
                    <a:lnTo>
                      <a:pt x="168" y="293"/>
                    </a:lnTo>
                    <a:lnTo>
                      <a:pt x="173" y="288"/>
                    </a:lnTo>
                    <a:lnTo>
                      <a:pt x="178" y="283"/>
                    </a:lnTo>
                    <a:lnTo>
                      <a:pt x="178" y="278"/>
                    </a:lnTo>
                    <a:lnTo>
                      <a:pt x="182" y="274"/>
                    </a:lnTo>
                    <a:lnTo>
                      <a:pt x="187" y="269"/>
                    </a:lnTo>
                    <a:lnTo>
                      <a:pt x="192" y="274"/>
                    </a:lnTo>
                    <a:lnTo>
                      <a:pt x="197" y="274"/>
                    </a:lnTo>
                    <a:lnTo>
                      <a:pt x="202" y="278"/>
                    </a:lnTo>
                    <a:lnTo>
                      <a:pt x="206" y="278"/>
                    </a:lnTo>
                    <a:lnTo>
                      <a:pt x="211" y="278"/>
                    </a:lnTo>
                    <a:lnTo>
                      <a:pt x="216" y="283"/>
                    </a:lnTo>
                    <a:lnTo>
                      <a:pt x="221" y="283"/>
                    </a:lnTo>
                    <a:lnTo>
                      <a:pt x="226" y="278"/>
                    </a:lnTo>
                    <a:lnTo>
                      <a:pt x="230" y="278"/>
                    </a:lnTo>
                    <a:lnTo>
                      <a:pt x="230" y="274"/>
                    </a:lnTo>
                    <a:lnTo>
                      <a:pt x="235" y="274"/>
                    </a:lnTo>
                    <a:lnTo>
                      <a:pt x="240" y="274"/>
                    </a:lnTo>
                    <a:lnTo>
                      <a:pt x="245" y="269"/>
                    </a:lnTo>
                    <a:lnTo>
                      <a:pt x="250" y="269"/>
                    </a:lnTo>
                    <a:lnTo>
                      <a:pt x="254" y="269"/>
                    </a:lnTo>
                    <a:lnTo>
                      <a:pt x="254" y="264"/>
                    </a:lnTo>
                    <a:lnTo>
                      <a:pt x="259" y="264"/>
                    </a:lnTo>
                    <a:lnTo>
                      <a:pt x="264" y="264"/>
                    </a:lnTo>
                    <a:lnTo>
                      <a:pt x="264" y="259"/>
                    </a:lnTo>
                    <a:lnTo>
                      <a:pt x="269" y="259"/>
                    </a:lnTo>
                    <a:lnTo>
                      <a:pt x="274" y="259"/>
                    </a:lnTo>
                    <a:lnTo>
                      <a:pt x="274" y="254"/>
                    </a:lnTo>
                    <a:lnTo>
                      <a:pt x="278" y="254"/>
                    </a:lnTo>
                    <a:lnTo>
                      <a:pt x="283" y="254"/>
                    </a:lnTo>
                    <a:lnTo>
                      <a:pt x="283" y="250"/>
                    </a:lnTo>
                    <a:lnTo>
                      <a:pt x="288" y="250"/>
                    </a:lnTo>
                    <a:lnTo>
                      <a:pt x="293" y="250"/>
                    </a:lnTo>
                    <a:lnTo>
                      <a:pt x="297" y="250"/>
                    </a:lnTo>
                    <a:lnTo>
                      <a:pt x="302" y="250"/>
                    </a:lnTo>
                    <a:lnTo>
                      <a:pt x="302" y="254"/>
                    </a:lnTo>
                    <a:lnTo>
                      <a:pt x="307" y="254"/>
                    </a:lnTo>
                    <a:lnTo>
                      <a:pt x="312" y="254"/>
                    </a:lnTo>
                    <a:lnTo>
                      <a:pt x="312" y="250"/>
                    </a:lnTo>
                    <a:lnTo>
                      <a:pt x="317" y="245"/>
                    </a:lnTo>
                    <a:lnTo>
                      <a:pt x="317" y="240"/>
                    </a:lnTo>
                    <a:lnTo>
                      <a:pt x="321" y="240"/>
                    </a:lnTo>
                    <a:lnTo>
                      <a:pt x="326" y="240"/>
                    </a:lnTo>
                    <a:lnTo>
                      <a:pt x="331" y="240"/>
                    </a:lnTo>
                    <a:lnTo>
                      <a:pt x="336" y="240"/>
                    </a:lnTo>
                    <a:lnTo>
                      <a:pt x="336" y="235"/>
                    </a:lnTo>
                    <a:lnTo>
                      <a:pt x="331" y="235"/>
                    </a:lnTo>
                    <a:lnTo>
                      <a:pt x="331" y="230"/>
                    </a:lnTo>
                    <a:lnTo>
                      <a:pt x="331" y="226"/>
                    </a:lnTo>
                    <a:lnTo>
                      <a:pt x="326" y="221"/>
                    </a:lnTo>
                    <a:lnTo>
                      <a:pt x="326" y="216"/>
                    </a:lnTo>
                    <a:lnTo>
                      <a:pt x="326" y="211"/>
                    </a:lnTo>
                    <a:lnTo>
                      <a:pt x="326" y="206"/>
                    </a:lnTo>
                    <a:lnTo>
                      <a:pt x="326" y="202"/>
                    </a:lnTo>
                    <a:lnTo>
                      <a:pt x="326" y="197"/>
                    </a:lnTo>
                    <a:lnTo>
                      <a:pt x="326" y="192"/>
                    </a:lnTo>
                    <a:lnTo>
                      <a:pt x="321" y="187"/>
                    </a:lnTo>
                    <a:lnTo>
                      <a:pt x="321" y="182"/>
                    </a:lnTo>
                    <a:lnTo>
                      <a:pt x="321" y="178"/>
                    </a:lnTo>
                    <a:lnTo>
                      <a:pt x="321" y="173"/>
                    </a:lnTo>
                    <a:lnTo>
                      <a:pt x="321" y="168"/>
                    </a:lnTo>
                    <a:lnTo>
                      <a:pt x="321" y="163"/>
                    </a:lnTo>
                    <a:lnTo>
                      <a:pt x="326" y="163"/>
                    </a:lnTo>
                    <a:lnTo>
                      <a:pt x="326" y="158"/>
                    </a:lnTo>
                    <a:lnTo>
                      <a:pt x="326" y="153"/>
                    </a:lnTo>
                    <a:lnTo>
                      <a:pt x="326" y="149"/>
                    </a:lnTo>
                    <a:lnTo>
                      <a:pt x="321" y="149"/>
                    </a:lnTo>
                    <a:lnTo>
                      <a:pt x="321" y="144"/>
                    </a:lnTo>
                    <a:lnTo>
                      <a:pt x="317" y="144"/>
                    </a:lnTo>
                    <a:lnTo>
                      <a:pt x="317" y="139"/>
                    </a:lnTo>
                    <a:lnTo>
                      <a:pt x="312" y="139"/>
                    </a:lnTo>
                    <a:lnTo>
                      <a:pt x="317" y="134"/>
                    </a:lnTo>
                    <a:lnTo>
                      <a:pt x="321" y="134"/>
                    </a:lnTo>
                    <a:lnTo>
                      <a:pt x="326" y="134"/>
                    </a:lnTo>
                    <a:lnTo>
                      <a:pt x="331" y="134"/>
                    </a:lnTo>
                    <a:lnTo>
                      <a:pt x="336" y="134"/>
                    </a:lnTo>
                    <a:lnTo>
                      <a:pt x="341" y="134"/>
                    </a:lnTo>
                    <a:lnTo>
                      <a:pt x="345" y="134"/>
                    </a:lnTo>
                    <a:lnTo>
                      <a:pt x="350" y="134"/>
                    </a:lnTo>
                    <a:lnTo>
                      <a:pt x="355" y="129"/>
                    </a:lnTo>
                    <a:lnTo>
                      <a:pt x="360" y="125"/>
                    </a:lnTo>
                    <a:lnTo>
                      <a:pt x="365" y="120"/>
                    </a:lnTo>
                    <a:lnTo>
                      <a:pt x="369" y="115"/>
                    </a:lnTo>
                    <a:lnTo>
                      <a:pt x="374" y="110"/>
                    </a:lnTo>
                    <a:lnTo>
                      <a:pt x="379" y="105"/>
                    </a:lnTo>
                    <a:lnTo>
                      <a:pt x="379" y="101"/>
                    </a:lnTo>
                    <a:lnTo>
                      <a:pt x="384" y="96"/>
                    </a:lnTo>
                    <a:lnTo>
                      <a:pt x="389" y="91"/>
                    </a:lnTo>
                    <a:lnTo>
                      <a:pt x="393" y="86"/>
                    </a:lnTo>
                    <a:lnTo>
                      <a:pt x="398" y="81"/>
                    </a:lnTo>
                    <a:lnTo>
                      <a:pt x="403" y="77"/>
                    </a:lnTo>
                    <a:lnTo>
                      <a:pt x="403" y="72"/>
                    </a:lnTo>
                    <a:lnTo>
                      <a:pt x="408" y="72"/>
                    </a:lnTo>
                    <a:lnTo>
                      <a:pt x="413" y="67"/>
                    </a:lnTo>
                    <a:lnTo>
                      <a:pt x="417" y="62"/>
                    </a:lnTo>
                    <a:lnTo>
                      <a:pt x="422" y="57"/>
                    </a:lnTo>
                    <a:lnTo>
                      <a:pt x="427" y="53"/>
                    </a:lnTo>
                    <a:lnTo>
                      <a:pt x="427" y="48"/>
                    </a:lnTo>
                    <a:lnTo>
                      <a:pt x="432" y="43"/>
                    </a:lnTo>
                    <a:lnTo>
                      <a:pt x="437" y="38"/>
                    </a:lnTo>
                    <a:lnTo>
                      <a:pt x="441" y="33"/>
                    </a:lnTo>
                    <a:lnTo>
                      <a:pt x="446" y="29"/>
                    </a:lnTo>
                    <a:lnTo>
                      <a:pt x="451" y="24"/>
                    </a:lnTo>
                    <a:lnTo>
                      <a:pt x="451" y="19"/>
                    </a:lnTo>
                    <a:lnTo>
                      <a:pt x="456" y="14"/>
                    </a:lnTo>
                    <a:lnTo>
                      <a:pt x="461" y="14"/>
                    </a:lnTo>
                    <a:lnTo>
                      <a:pt x="465" y="9"/>
                    </a:lnTo>
                    <a:lnTo>
                      <a:pt x="470" y="5"/>
                    </a:lnTo>
                    <a:lnTo>
                      <a:pt x="470" y="0"/>
                    </a:lnTo>
                    <a:lnTo>
                      <a:pt x="489" y="9"/>
                    </a:lnTo>
                    <a:lnTo>
                      <a:pt x="489" y="14"/>
                    </a:lnTo>
                    <a:lnTo>
                      <a:pt x="523" y="33"/>
                    </a:lnTo>
                    <a:lnTo>
                      <a:pt x="547" y="53"/>
                    </a:lnTo>
                    <a:lnTo>
                      <a:pt x="552" y="53"/>
                    </a:lnTo>
                    <a:lnTo>
                      <a:pt x="557" y="57"/>
                    </a:lnTo>
                    <a:lnTo>
                      <a:pt x="561" y="62"/>
                    </a:lnTo>
                    <a:lnTo>
                      <a:pt x="566" y="62"/>
                    </a:lnTo>
                    <a:lnTo>
                      <a:pt x="566" y="67"/>
                    </a:lnTo>
                    <a:lnTo>
                      <a:pt x="590" y="81"/>
                    </a:lnTo>
                    <a:lnTo>
                      <a:pt x="605" y="91"/>
                    </a:lnTo>
                    <a:lnTo>
                      <a:pt x="619" y="101"/>
                    </a:lnTo>
                    <a:lnTo>
                      <a:pt x="643" y="120"/>
                    </a:lnTo>
                    <a:lnTo>
                      <a:pt x="653" y="125"/>
                    </a:lnTo>
                    <a:lnTo>
                      <a:pt x="672" y="139"/>
                    </a:lnTo>
                    <a:lnTo>
                      <a:pt x="677" y="144"/>
                    </a:lnTo>
                    <a:lnTo>
                      <a:pt x="681" y="144"/>
                    </a:lnTo>
                    <a:lnTo>
                      <a:pt x="686" y="149"/>
                    </a:lnTo>
                    <a:lnTo>
                      <a:pt x="710" y="163"/>
                    </a:lnTo>
                    <a:lnTo>
                      <a:pt x="705" y="163"/>
                    </a:lnTo>
                    <a:lnTo>
                      <a:pt x="701" y="163"/>
                    </a:lnTo>
                    <a:lnTo>
                      <a:pt x="701" y="168"/>
                    </a:lnTo>
                    <a:lnTo>
                      <a:pt x="705" y="168"/>
                    </a:lnTo>
                    <a:lnTo>
                      <a:pt x="705" y="173"/>
                    </a:lnTo>
                    <a:lnTo>
                      <a:pt x="710" y="173"/>
                    </a:lnTo>
                    <a:lnTo>
                      <a:pt x="710" y="178"/>
                    </a:lnTo>
                    <a:lnTo>
                      <a:pt x="710" y="182"/>
                    </a:lnTo>
                    <a:lnTo>
                      <a:pt x="710" y="187"/>
                    </a:lnTo>
                    <a:lnTo>
                      <a:pt x="710" y="192"/>
                    </a:lnTo>
                    <a:lnTo>
                      <a:pt x="705" y="197"/>
                    </a:lnTo>
                    <a:lnTo>
                      <a:pt x="701" y="192"/>
                    </a:lnTo>
                    <a:lnTo>
                      <a:pt x="701" y="187"/>
                    </a:lnTo>
                    <a:lnTo>
                      <a:pt x="701" y="182"/>
                    </a:lnTo>
                    <a:lnTo>
                      <a:pt x="701" y="187"/>
                    </a:lnTo>
                    <a:lnTo>
                      <a:pt x="701" y="192"/>
                    </a:lnTo>
                    <a:lnTo>
                      <a:pt x="696" y="192"/>
                    </a:lnTo>
                    <a:lnTo>
                      <a:pt x="696" y="197"/>
                    </a:lnTo>
                    <a:lnTo>
                      <a:pt x="691" y="197"/>
                    </a:lnTo>
                    <a:lnTo>
                      <a:pt x="691" y="202"/>
                    </a:lnTo>
                    <a:lnTo>
                      <a:pt x="691" y="211"/>
                    </a:lnTo>
                    <a:lnTo>
                      <a:pt x="691" y="206"/>
                    </a:lnTo>
                    <a:lnTo>
                      <a:pt x="696" y="202"/>
                    </a:lnTo>
                    <a:lnTo>
                      <a:pt x="701" y="202"/>
                    </a:lnTo>
                    <a:lnTo>
                      <a:pt x="705" y="202"/>
                    </a:lnTo>
                    <a:lnTo>
                      <a:pt x="710" y="202"/>
                    </a:lnTo>
                    <a:lnTo>
                      <a:pt x="710" y="206"/>
                    </a:lnTo>
                    <a:lnTo>
                      <a:pt x="710" y="211"/>
                    </a:lnTo>
                    <a:lnTo>
                      <a:pt x="705" y="211"/>
                    </a:lnTo>
                    <a:lnTo>
                      <a:pt x="705" y="216"/>
                    </a:lnTo>
                    <a:lnTo>
                      <a:pt x="710" y="216"/>
                    </a:lnTo>
                    <a:lnTo>
                      <a:pt x="705" y="221"/>
                    </a:lnTo>
                    <a:lnTo>
                      <a:pt x="705" y="226"/>
                    </a:lnTo>
                    <a:lnTo>
                      <a:pt x="705" y="230"/>
                    </a:lnTo>
                    <a:lnTo>
                      <a:pt x="701" y="240"/>
                    </a:lnTo>
                    <a:lnTo>
                      <a:pt x="701" y="245"/>
                    </a:lnTo>
                    <a:lnTo>
                      <a:pt x="701" y="250"/>
                    </a:lnTo>
                    <a:lnTo>
                      <a:pt x="696" y="250"/>
                    </a:lnTo>
                    <a:lnTo>
                      <a:pt x="696" y="245"/>
                    </a:lnTo>
                    <a:lnTo>
                      <a:pt x="691" y="240"/>
                    </a:lnTo>
                    <a:lnTo>
                      <a:pt x="696" y="235"/>
                    </a:lnTo>
                    <a:lnTo>
                      <a:pt x="696" y="230"/>
                    </a:lnTo>
                    <a:lnTo>
                      <a:pt x="696" y="226"/>
                    </a:lnTo>
                    <a:lnTo>
                      <a:pt x="696" y="221"/>
                    </a:lnTo>
                    <a:lnTo>
                      <a:pt x="696" y="216"/>
                    </a:lnTo>
                    <a:lnTo>
                      <a:pt x="691" y="216"/>
                    </a:lnTo>
                    <a:lnTo>
                      <a:pt x="691" y="226"/>
                    </a:lnTo>
                    <a:lnTo>
                      <a:pt x="686" y="226"/>
                    </a:lnTo>
                    <a:lnTo>
                      <a:pt x="686" y="235"/>
                    </a:lnTo>
                    <a:lnTo>
                      <a:pt x="691" y="235"/>
                    </a:lnTo>
                    <a:lnTo>
                      <a:pt x="686" y="240"/>
                    </a:lnTo>
                    <a:lnTo>
                      <a:pt x="686" y="245"/>
                    </a:lnTo>
                    <a:lnTo>
                      <a:pt x="681" y="245"/>
                    </a:lnTo>
                    <a:lnTo>
                      <a:pt x="677" y="240"/>
                    </a:lnTo>
                    <a:lnTo>
                      <a:pt x="677" y="245"/>
                    </a:lnTo>
                    <a:lnTo>
                      <a:pt x="681" y="245"/>
                    </a:lnTo>
                    <a:lnTo>
                      <a:pt x="686" y="250"/>
                    </a:lnTo>
                    <a:lnTo>
                      <a:pt x="686" y="259"/>
                    </a:lnTo>
                    <a:lnTo>
                      <a:pt x="681" y="259"/>
                    </a:lnTo>
                    <a:lnTo>
                      <a:pt x="681" y="264"/>
                    </a:lnTo>
                    <a:lnTo>
                      <a:pt x="681" y="259"/>
                    </a:lnTo>
                    <a:lnTo>
                      <a:pt x="677" y="259"/>
                    </a:lnTo>
                    <a:lnTo>
                      <a:pt x="677" y="264"/>
                    </a:lnTo>
                    <a:lnTo>
                      <a:pt x="681" y="264"/>
                    </a:lnTo>
                    <a:lnTo>
                      <a:pt x="686" y="269"/>
                    </a:lnTo>
                    <a:lnTo>
                      <a:pt x="681" y="274"/>
                    </a:lnTo>
                    <a:lnTo>
                      <a:pt x="681" y="278"/>
                    </a:lnTo>
                    <a:lnTo>
                      <a:pt x="681" y="274"/>
                    </a:lnTo>
                    <a:lnTo>
                      <a:pt x="677" y="278"/>
                    </a:lnTo>
                    <a:lnTo>
                      <a:pt x="672" y="278"/>
                    </a:lnTo>
                    <a:lnTo>
                      <a:pt x="672" y="283"/>
                    </a:lnTo>
                    <a:lnTo>
                      <a:pt x="672" y="288"/>
                    </a:lnTo>
                    <a:lnTo>
                      <a:pt x="677" y="288"/>
                    </a:lnTo>
                    <a:lnTo>
                      <a:pt x="681" y="283"/>
                    </a:lnTo>
                    <a:lnTo>
                      <a:pt x="681" y="288"/>
                    </a:lnTo>
                    <a:lnTo>
                      <a:pt x="681" y="293"/>
                    </a:lnTo>
                    <a:lnTo>
                      <a:pt x="681" y="298"/>
                    </a:lnTo>
                    <a:lnTo>
                      <a:pt x="686" y="302"/>
                    </a:lnTo>
                    <a:lnTo>
                      <a:pt x="686" y="307"/>
                    </a:lnTo>
                    <a:lnTo>
                      <a:pt x="681" y="307"/>
                    </a:lnTo>
                    <a:lnTo>
                      <a:pt x="677" y="307"/>
                    </a:lnTo>
                    <a:lnTo>
                      <a:pt x="677" y="312"/>
                    </a:lnTo>
                    <a:lnTo>
                      <a:pt x="677" y="317"/>
                    </a:lnTo>
                    <a:lnTo>
                      <a:pt x="672" y="317"/>
                    </a:lnTo>
                    <a:lnTo>
                      <a:pt x="672" y="322"/>
                    </a:lnTo>
                    <a:lnTo>
                      <a:pt x="677" y="322"/>
                    </a:lnTo>
                    <a:lnTo>
                      <a:pt x="672" y="322"/>
                    </a:lnTo>
                    <a:lnTo>
                      <a:pt x="672" y="326"/>
                    </a:lnTo>
                    <a:lnTo>
                      <a:pt x="672" y="331"/>
                    </a:lnTo>
                    <a:lnTo>
                      <a:pt x="667" y="331"/>
                    </a:lnTo>
                    <a:lnTo>
                      <a:pt x="662" y="336"/>
                    </a:lnTo>
                    <a:lnTo>
                      <a:pt x="662" y="341"/>
                    </a:lnTo>
                    <a:lnTo>
                      <a:pt x="657" y="341"/>
                    </a:lnTo>
                    <a:lnTo>
                      <a:pt x="657" y="346"/>
                    </a:lnTo>
                    <a:lnTo>
                      <a:pt x="657" y="341"/>
                    </a:lnTo>
                    <a:lnTo>
                      <a:pt x="662" y="341"/>
                    </a:lnTo>
                    <a:lnTo>
                      <a:pt x="667" y="341"/>
                    </a:lnTo>
                    <a:lnTo>
                      <a:pt x="662" y="341"/>
                    </a:lnTo>
                    <a:lnTo>
                      <a:pt x="667" y="341"/>
                    </a:lnTo>
                    <a:lnTo>
                      <a:pt x="672" y="341"/>
                    </a:lnTo>
                    <a:lnTo>
                      <a:pt x="667" y="346"/>
                    </a:lnTo>
                    <a:lnTo>
                      <a:pt x="667" y="350"/>
                    </a:lnTo>
                    <a:lnTo>
                      <a:pt x="662" y="350"/>
                    </a:lnTo>
                    <a:lnTo>
                      <a:pt x="662" y="355"/>
                    </a:lnTo>
                    <a:lnTo>
                      <a:pt x="662" y="360"/>
                    </a:lnTo>
                    <a:lnTo>
                      <a:pt x="662" y="365"/>
                    </a:lnTo>
                    <a:lnTo>
                      <a:pt x="657" y="370"/>
                    </a:lnTo>
                    <a:lnTo>
                      <a:pt x="657" y="374"/>
                    </a:lnTo>
                    <a:lnTo>
                      <a:pt x="657" y="379"/>
                    </a:lnTo>
                    <a:lnTo>
                      <a:pt x="653" y="384"/>
                    </a:lnTo>
                    <a:lnTo>
                      <a:pt x="653" y="389"/>
                    </a:lnTo>
                    <a:lnTo>
                      <a:pt x="648" y="398"/>
                    </a:lnTo>
                    <a:lnTo>
                      <a:pt x="643" y="398"/>
                    </a:lnTo>
                    <a:lnTo>
                      <a:pt x="638" y="398"/>
                    </a:lnTo>
                    <a:lnTo>
                      <a:pt x="633" y="403"/>
                    </a:lnTo>
                    <a:lnTo>
                      <a:pt x="629" y="403"/>
                    </a:lnTo>
                    <a:lnTo>
                      <a:pt x="624" y="403"/>
                    </a:lnTo>
                    <a:lnTo>
                      <a:pt x="624" y="398"/>
                    </a:lnTo>
                    <a:lnTo>
                      <a:pt x="624" y="403"/>
                    </a:lnTo>
                    <a:lnTo>
                      <a:pt x="624" y="408"/>
                    </a:lnTo>
                    <a:lnTo>
                      <a:pt x="633" y="408"/>
                    </a:lnTo>
                    <a:lnTo>
                      <a:pt x="638" y="413"/>
                    </a:lnTo>
                    <a:lnTo>
                      <a:pt x="643" y="408"/>
                    </a:lnTo>
                    <a:lnTo>
                      <a:pt x="643" y="413"/>
                    </a:lnTo>
                    <a:lnTo>
                      <a:pt x="643" y="418"/>
                    </a:lnTo>
                    <a:lnTo>
                      <a:pt x="638" y="418"/>
                    </a:lnTo>
                    <a:lnTo>
                      <a:pt x="638" y="422"/>
                    </a:lnTo>
                    <a:lnTo>
                      <a:pt x="633" y="427"/>
                    </a:lnTo>
                    <a:lnTo>
                      <a:pt x="633" y="432"/>
                    </a:lnTo>
                    <a:lnTo>
                      <a:pt x="633" y="437"/>
                    </a:lnTo>
                    <a:lnTo>
                      <a:pt x="629" y="437"/>
                    </a:lnTo>
                    <a:lnTo>
                      <a:pt x="629" y="442"/>
                    </a:lnTo>
                    <a:lnTo>
                      <a:pt x="629" y="446"/>
                    </a:lnTo>
                    <a:lnTo>
                      <a:pt x="624" y="451"/>
                    </a:lnTo>
                    <a:lnTo>
                      <a:pt x="619" y="466"/>
                    </a:lnTo>
                    <a:lnTo>
                      <a:pt x="614" y="470"/>
                    </a:lnTo>
                    <a:lnTo>
                      <a:pt x="609" y="475"/>
                    </a:lnTo>
                    <a:lnTo>
                      <a:pt x="609" y="470"/>
                    </a:lnTo>
                    <a:lnTo>
                      <a:pt x="605" y="470"/>
                    </a:lnTo>
                    <a:lnTo>
                      <a:pt x="605" y="475"/>
                    </a:lnTo>
                    <a:lnTo>
                      <a:pt x="609" y="475"/>
                    </a:lnTo>
                    <a:lnTo>
                      <a:pt x="605" y="480"/>
                    </a:lnTo>
                    <a:lnTo>
                      <a:pt x="605" y="485"/>
                    </a:lnTo>
                    <a:lnTo>
                      <a:pt x="605" y="490"/>
                    </a:lnTo>
                    <a:lnTo>
                      <a:pt x="605" y="494"/>
                    </a:lnTo>
                    <a:lnTo>
                      <a:pt x="600" y="504"/>
                    </a:lnTo>
                    <a:lnTo>
                      <a:pt x="600" y="509"/>
                    </a:lnTo>
                    <a:lnTo>
                      <a:pt x="595" y="514"/>
                    </a:lnTo>
                    <a:lnTo>
                      <a:pt x="590" y="518"/>
                    </a:lnTo>
                    <a:lnTo>
                      <a:pt x="585" y="528"/>
                    </a:lnTo>
                    <a:lnTo>
                      <a:pt x="581" y="538"/>
                    </a:lnTo>
                    <a:lnTo>
                      <a:pt x="581" y="542"/>
                    </a:lnTo>
                    <a:lnTo>
                      <a:pt x="581" y="547"/>
                    </a:lnTo>
                    <a:lnTo>
                      <a:pt x="581" y="557"/>
                    </a:lnTo>
                    <a:lnTo>
                      <a:pt x="581" y="566"/>
                    </a:lnTo>
                    <a:lnTo>
                      <a:pt x="581" y="571"/>
                    </a:lnTo>
                    <a:lnTo>
                      <a:pt x="576" y="571"/>
                    </a:lnTo>
                    <a:lnTo>
                      <a:pt x="576" y="576"/>
                    </a:lnTo>
                    <a:lnTo>
                      <a:pt x="571" y="576"/>
                    </a:lnTo>
                    <a:lnTo>
                      <a:pt x="571" y="571"/>
                    </a:lnTo>
                    <a:lnTo>
                      <a:pt x="566" y="571"/>
                    </a:lnTo>
                    <a:lnTo>
                      <a:pt x="561" y="571"/>
                    </a:lnTo>
                    <a:lnTo>
                      <a:pt x="561" y="566"/>
                    </a:lnTo>
                    <a:lnTo>
                      <a:pt x="557" y="566"/>
                    </a:lnTo>
                    <a:lnTo>
                      <a:pt x="552" y="562"/>
                    </a:lnTo>
                    <a:lnTo>
                      <a:pt x="547" y="562"/>
                    </a:lnTo>
                    <a:lnTo>
                      <a:pt x="542" y="562"/>
                    </a:lnTo>
                    <a:lnTo>
                      <a:pt x="542" y="557"/>
                    </a:lnTo>
                    <a:lnTo>
                      <a:pt x="537" y="557"/>
                    </a:lnTo>
                    <a:lnTo>
                      <a:pt x="533" y="557"/>
                    </a:lnTo>
                    <a:lnTo>
                      <a:pt x="528" y="557"/>
                    </a:lnTo>
                    <a:lnTo>
                      <a:pt x="528" y="552"/>
                    </a:lnTo>
                    <a:lnTo>
                      <a:pt x="523" y="552"/>
                    </a:lnTo>
                    <a:lnTo>
                      <a:pt x="518" y="552"/>
                    </a:lnTo>
                    <a:lnTo>
                      <a:pt x="513" y="552"/>
                    </a:lnTo>
                    <a:lnTo>
                      <a:pt x="509" y="547"/>
                    </a:lnTo>
                    <a:lnTo>
                      <a:pt x="504" y="547"/>
                    </a:lnTo>
                    <a:lnTo>
                      <a:pt x="499" y="547"/>
                    </a:lnTo>
                    <a:lnTo>
                      <a:pt x="494" y="542"/>
                    </a:lnTo>
                    <a:lnTo>
                      <a:pt x="489" y="542"/>
                    </a:lnTo>
                    <a:lnTo>
                      <a:pt x="485" y="542"/>
                    </a:lnTo>
                    <a:lnTo>
                      <a:pt x="480" y="542"/>
                    </a:lnTo>
                    <a:lnTo>
                      <a:pt x="475" y="542"/>
                    </a:lnTo>
                    <a:lnTo>
                      <a:pt x="470" y="542"/>
                    </a:lnTo>
                    <a:lnTo>
                      <a:pt x="470" y="538"/>
                    </a:lnTo>
                    <a:lnTo>
                      <a:pt x="465" y="538"/>
                    </a:lnTo>
                    <a:lnTo>
                      <a:pt x="461" y="538"/>
                    </a:lnTo>
                    <a:lnTo>
                      <a:pt x="456" y="542"/>
                    </a:lnTo>
                    <a:lnTo>
                      <a:pt x="451" y="542"/>
                    </a:lnTo>
                    <a:lnTo>
                      <a:pt x="446" y="542"/>
                    </a:lnTo>
                    <a:lnTo>
                      <a:pt x="446" y="547"/>
                    </a:lnTo>
                    <a:lnTo>
                      <a:pt x="441" y="547"/>
                    </a:lnTo>
                    <a:lnTo>
                      <a:pt x="437" y="547"/>
                    </a:lnTo>
                    <a:lnTo>
                      <a:pt x="437" y="552"/>
                    </a:lnTo>
                    <a:lnTo>
                      <a:pt x="432" y="552"/>
                    </a:lnTo>
                    <a:lnTo>
                      <a:pt x="427" y="552"/>
                    </a:lnTo>
                    <a:lnTo>
                      <a:pt x="422" y="557"/>
                    </a:lnTo>
                    <a:lnTo>
                      <a:pt x="417" y="557"/>
                    </a:lnTo>
                    <a:lnTo>
                      <a:pt x="413" y="557"/>
                    </a:lnTo>
                    <a:lnTo>
                      <a:pt x="408" y="557"/>
                    </a:lnTo>
                    <a:lnTo>
                      <a:pt x="408" y="562"/>
                    </a:lnTo>
                    <a:lnTo>
                      <a:pt x="403" y="562"/>
                    </a:lnTo>
                    <a:lnTo>
                      <a:pt x="398" y="562"/>
                    </a:lnTo>
                    <a:lnTo>
                      <a:pt x="393" y="562"/>
                    </a:lnTo>
                    <a:lnTo>
                      <a:pt x="389" y="562"/>
                    </a:lnTo>
                    <a:lnTo>
                      <a:pt x="384" y="562"/>
                    </a:lnTo>
                    <a:lnTo>
                      <a:pt x="384" y="557"/>
                    </a:lnTo>
                    <a:lnTo>
                      <a:pt x="379" y="557"/>
                    </a:lnTo>
                    <a:lnTo>
                      <a:pt x="374" y="557"/>
                    </a:lnTo>
                    <a:lnTo>
                      <a:pt x="374" y="552"/>
                    </a:lnTo>
                    <a:lnTo>
                      <a:pt x="369" y="552"/>
                    </a:lnTo>
                    <a:lnTo>
                      <a:pt x="365" y="552"/>
                    </a:lnTo>
                    <a:lnTo>
                      <a:pt x="360" y="547"/>
                    </a:lnTo>
                    <a:lnTo>
                      <a:pt x="355" y="547"/>
                    </a:lnTo>
                    <a:lnTo>
                      <a:pt x="355" y="542"/>
                    </a:lnTo>
                    <a:lnTo>
                      <a:pt x="350" y="542"/>
                    </a:lnTo>
                    <a:lnTo>
                      <a:pt x="350" y="538"/>
                    </a:lnTo>
                    <a:lnTo>
                      <a:pt x="345" y="538"/>
                    </a:lnTo>
                    <a:lnTo>
                      <a:pt x="341" y="538"/>
                    </a:lnTo>
                    <a:lnTo>
                      <a:pt x="341" y="542"/>
                    </a:lnTo>
                    <a:lnTo>
                      <a:pt x="336" y="542"/>
                    </a:lnTo>
                    <a:lnTo>
                      <a:pt x="331" y="542"/>
                    </a:lnTo>
                    <a:lnTo>
                      <a:pt x="326" y="542"/>
                    </a:lnTo>
                    <a:lnTo>
                      <a:pt x="321" y="542"/>
                    </a:lnTo>
                    <a:lnTo>
                      <a:pt x="317" y="547"/>
                    </a:lnTo>
                    <a:lnTo>
                      <a:pt x="312" y="547"/>
                    </a:lnTo>
                    <a:lnTo>
                      <a:pt x="307" y="547"/>
                    </a:lnTo>
                    <a:lnTo>
                      <a:pt x="302" y="547"/>
                    </a:lnTo>
                    <a:lnTo>
                      <a:pt x="297" y="547"/>
                    </a:lnTo>
                    <a:lnTo>
                      <a:pt x="293" y="552"/>
                    </a:lnTo>
                    <a:lnTo>
                      <a:pt x="288" y="552"/>
                    </a:lnTo>
                    <a:lnTo>
                      <a:pt x="283" y="552"/>
                    </a:lnTo>
                    <a:lnTo>
                      <a:pt x="278" y="552"/>
                    </a:lnTo>
                    <a:lnTo>
                      <a:pt x="274" y="552"/>
                    </a:lnTo>
                    <a:lnTo>
                      <a:pt x="269" y="552"/>
                    </a:lnTo>
                    <a:lnTo>
                      <a:pt x="264" y="557"/>
                    </a:lnTo>
                    <a:lnTo>
                      <a:pt x="259" y="557"/>
                    </a:lnTo>
                    <a:lnTo>
                      <a:pt x="254" y="557"/>
                    </a:lnTo>
                    <a:lnTo>
                      <a:pt x="250" y="557"/>
                    </a:lnTo>
                    <a:lnTo>
                      <a:pt x="245" y="557"/>
                    </a:lnTo>
                    <a:lnTo>
                      <a:pt x="240" y="557"/>
                    </a:lnTo>
                    <a:lnTo>
                      <a:pt x="235" y="557"/>
                    </a:lnTo>
                    <a:lnTo>
                      <a:pt x="230" y="557"/>
                    </a:lnTo>
                    <a:lnTo>
                      <a:pt x="226" y="557"/>
                    </a:lnTo>
                    <a:lnTo>
                      <a:pt x="221" y="557"/>
                    </a:lnTo>
                    <a:lnTo>
                      <a:pt x="216" y="557"/>
                    </a:lnTo>
                    <a:lnTo>
                      <a:pt x="211" y="557"/>
                    </a:lnTo>
                    <a:lnTo>
                      <a:pt x="206" y="557"/>
                    </a:lnTo>
                    <a:lnTo>
                      <a:pt x="206" y="552"/>
                    </a:lnTo>
                    <a:lnTo>
                      <a:pt x="202" y="552"/>
                    </a:lnTo>
                    <a:lnTo>
                      <a:pt x="202" y="547"/>
                    </a:lnTo>
                    <a:lnTo>
                      <a:pt x="197" y="547"/>
                    </a:lnTo>
                    <a:lnTo>
                      <a:pt x="192" y="547"/>
                    </a:lnTo>
                    <a:lnTo>
                      <a:pt x="187" y="547"/>
                    </a:lnTo>
                    <a:lnTo>
                      <a:pt x="187" y="542"/>
                    </a:lnTo>
                    <a:lnTo>
                      <a:pt x="182" y="542"/>
                    </a:lnTo>
                    <a:lnTo>
                      <a:pt x="178" y="542"/>
                    </a:lnTo>
                    <a:lnTo>
                      <a:pt x="173" y="542"/>
                    </a:lnTo>
                    <a:lnTo>
                      <a:pt x="168" y="542"/>
                    </a:lnTo>
                    <a:lnTo>
                      <a:pt x="163" y="542"/>
                    </a:lnTo>
                    <a:lnTo>
                      <a:pt x="158" y="542"/>
                    </a:lnTo>
                    <a:lnTo>
                      <a:pt x="154" y="542"/>
                    </a:lnTo>
                    <a:lnTo>
                      <a:pt x="149" y="542"/>
                    </a:lnTo>
                    <a:lnTo>
                      <a:pt x="144" y="538"/>
                    </a:lnTo>
                    <a:lnTo>
                      <a:pt x="144" y="542"/>
                    </a:lnTo>
                    <a:lnTo>
                      <a:pt x="139" y="547"/>
                    </a:lnTo>
                    <a:lnTo>
                      <a:pt x="139" y="552"/>
                    </a:lnTo>
                    <a:lnTo>
                      <a:pt x="139" y="557"/>
                    </a:lnTo>
                    <a:lnTo>
                      <a:pt x="139" y="562"/>
                    </a:lnTo>
                    <a:lnTo>
                      <a:pt x="139" y="566"/>
                    </a:lnTo>
                    <a:lnTo>
                      <a:pt x="139" y="571"/>
                    </a:lnTo>
                    <a:lnTo>
                      <a:pt x="134" y="571"/>
                    </a:lnTo>
                    <a:lnTo>
                      <a:pt x="130" y="571"/>
                    </a:lnTo>
                    <a:lnTo>
                      <a:pt x="125" y="576"/>
                    </a:lnTo>
                    <a:lnTo>
                      <a:pt x="120" y="576"/>
                    </a:lnTo>
                    <a:lnTo>
                      <a:pt x="115" y="576"/>
                    </a:lnTo>
                    <a:lnTo>
                      <a:pt x="110" y="581"/>
                    </a:lnTo>
                    <a:lnTo>
                      <a:pt x="106" y="581"/>
                    </a:lnTo>
                    <a:lnTo>
                      <a:pt x="101" y="586"/>
                    </a:lnTo>
                    <a:lnTo>
                      <a:pt x="96" y="586"/>
                    </a:lnTo>
                    <a:lnTo>
                      <a:pt x="91" y="586"/>
                    </a:lnTo>
                    <a:lnTo>
                      <a:pt x="86" y="590"/>
                    </a:lnTo>
                    <a:lnTo>
                      <a:pt x="82" y="590"/>
                    </a:lnTo>
                    <a:lnTo>
                      <a:pt x="77" y="590"/>
                    </a:lnTo>
                    <a:lnTo>
                      <a:pt x="72" y="595"/>
                    </a:lnTo>
                    <a:lnTo>
                      <a:pt x="67" y="595"/>
                    </a:lnTo>
                    <a:lnTo>
                      <a:pt x="62" y="600"/>
                    </a:lnTo>
                    <a:lnTo>
                      <a:pt x="58" y="600"/>
                    </a:lnTo>
                    <a:lnTo>
                      <a:pt x="53" y="600"/>
                    </a:lnTo>
                    <a:lnTo>
                      <a:pt x="48" y="595"/>
                    </a:lnTo>
                    <a:lnTo>
                      <a:pt x="43" y="595"/>
                    </a:lnTo>
                    <a:lnTo>
                      <a:pt x="38" y="595"/>
                    </a:lnTo>
                    <a:lnTo>
                      <a:pt x="34" y="595"/>
                    </a:lnTo>
                    <a:lnTo>
                      <a:pt x="34" y="590"/>
                    </a:lnTo>
                    <a:lnTo>
                      <a:pt x="29" y="590"/>
                    </a:lnTo>
                    <a:lnTo>
                      <a:pt x="24" y="590"/>
                    </a:lnTo>
                    <a:lnTo>
                      <a:pt x="19" y="586"/>
                    </a:lnTo>
                    <a:lnTo>
                      <a:pt x="14" y="586"/>
                    </a:lnTo>
                    <a:lnTo>
                      <a:pt x="10" y="586"/>
                    </a:lnTo>
                    <a:lnTo>
                      <a:pt x="5" y="586"/>
                    </a:lnTo>
                    <a:lnTo>
                      <a:pt x="0" y="581"/>
                    </a:lnTo>
                    <a:close/>
                    <a:moveTo>
                      <a:pt x="691" y="302"/>
                    </a:moveTo>
                    <a:lnTo>
                      <a:pt x="691" y="298"/>
                    </a:lnTo>
                    <a:lnTo>
                      <a:pt x="696" y="298"/>
                    </a:lnTo>
                    <a:lnTo>
                      <a:pt x="691" y="302"/>
                    </a:lnTo>
                    <a:lnTo>
                      <a:pt x="696" y="307"/>
                    </a:lnTo>
                    <a:lnTo>
                      <a:pt x="691" y="307"/>
                    </a:lnTo>
                    <a:lnTo>
                      <a:pt x="691" y="302"/>
                    </a:lnTo>
                    <a:close/>
                    <a:moveTo>
                      <a:pt x="681" y="336"/>
                    </a:moveTo>
                    <a:lnTo>
                      <a:pt x="686" y="331"/>
                    </a:lnTo>
                    <a:lnTo>
                      <a:pt x="686" y="326"/>
                    </a:lnTo>
                    <a:lnTo>
                      <a:pt x="686" y="331"/>
                    </a:lnTo>
                    <a:lnTo>
                      <a:pt x="681" y="336"/>
                    </a:lnTo>
                    <a:close/>
                    <a:moveTo>
                      <a:pt x="691" y="269"/>
                    </a:moveTo>
                    <a:lnTo>
                      <a:pt x="696" y="269"/>
                    </a:lnTo>
                    <a:lnTo>
                      <a:pt x="696" y="274"/>
                    </a:lnTo>
                    <a:lnTo>
                      <a:pt x="691" y="274"/>
                    </a:lnTo>
                    <a:lnTo>
                      <a:pt x="691" y="269"/>
                    </a:lnTo>
                    <a:close/>
                    <a:moveTo>
                      <a:pt x="677" y="312"/>
                    </a:moveTo>
                    <a:lnTo>
                      <a:pt x="677" y="317"/>
                    </a:lnTo>
                    <a:lnTo>
                      <a:pt x="677" y="317"/>
                    </a:lnTo>
                    <a:lnTo>
                      <a:pt x="677" y="312"/>
                    </a:lnTo>
                    <a:close/>
                  </a:path>
                </a:pathLst>
              </a:custGeom>
              <a:solidFill>
                <a:schemeClr val="accent6">
                  <a:lumMod val="40000"/>
                  <a:lumOff val="6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43" name="Freeform 11"/>
              <p:cNvSpPr>
                <a:spLocks noEditPoints="1"/>
              </p:cNvSpPr>
              <p:nvPr/>
            </p:nvSpPr>
            <p:spPr bwMode="gray">
              <a:xfrm>
                <a:off x="6678613" y="2597150"/>
                <a:ext cx="349250" cy="822325"/>
              </a:xfrm>
              <a:custGeom>
                <a:avLst/>
                <a:gdLst>
                  <a:gd name="T0" fmla="*/ 4 w 220"/>
                  <a:gd name="T1" fmla="*/ 388 h 518"/>
                  <a:gd name="T2" fmla="*/ 0 w 220"/>
                  <a:gd name="T3" fmla="*/ 350 h 518"/>
                  <a:gd name="T4" fmla="*/ 4 w 220"/>
                  <a:gd name="T5" fmla="*/ 340 h 518"/>
                  <a:gd name="T6" fmla="*/ 33 w 220"/>
                  <a:gd name="T7" fmla="*/ 307 h 518"/>
                  <a:gd name="T8" fmla="*/ 52 w 220"/>
                  <a:gd name="T9" fmla="*/ 292 h 518"/>
                  <a:gd name="T10" fmla="*/ 57 w 220"/>
                  <a:gd name="T11" fmla="*/ 345 h 518"/>
                  <a:gd name="T12" fmla="*/ 76 w 220"/>
                  <a:gd name="T13" fmla="*/ 393 h 518"/>
                  <a:gd name="T14" fmla="*/ 81 w 220"/>
                  <a:gd name="T15" fmla="*/ 422 h 518"/>
                  <a:gd name="T16" fmla="*/ 100 w 220"/>
                  <a:gd name="T17" fmla="*/ 427 h 518"/>
                  <a:gd name="T18" fmla="*/ 100 w 220"/>
                  <a:gd name="T19" fmla="*/ 408 h 518"/>
                  <a:gd name="T20" fmla="*/ 115 w 220"/>
                  <a:gd name="T21" fmla="*/ 465 h 518"/>
                  <a:gd name="T22" fmla="*/ 96 w 220"/>
                  <a:gd name="T23" fmla="*/ 513 h 518"/>
                  <a:gd name="T24" fmla="*/ 72 w 220"/>
                  <a:gd name="T25" fmla="*/ 470 h 518"/>
                  <a:gd name="T26" fmla="*/ 62 w 220"/>
                  <a:gd name="T27" fmla="*/ 465 h 518"/>
                  <a:gd name="T28" fmla="*/ 62 w 220"/>
                  <a:gd name="T29" fmla="*/ 480 h 518"/>
                  <a:gd name="T30" fmla="*/ 48 w 220"/>
                  <a:gd name="T31" fmla="*/ 451 h 518"/>
                  <a:gd name="T32" fmla="*/ 28 w 220"/>
                  <a:gd name="T33" fmla="*/ 446 h 518"/>
                  <a:gd name="T34" fmla="*/ 4 w 220"/>
                  <a:gd name="T35" fmla="*/ 441 h 518"/>
                  <a:gd name="T36" fmla="*/ 148 w 220"/>
                  <a:gd name="T37" fmla="*/ 158 h 518"/>
                  <a:gd name="T38" fmla="*/ 163 w 220"/>
                  <a:gd name="T39" fmla="*/ 148 h 518"/>
                  <a:gd name="T40" fmla="*/ 163 w 220"/>
                  <a:gd name="T41" fmla="*/ 134 h 518"/>
                  <a:gd name="T42" fmla="*/ 163 w 220"/>
                  <a:gd name="T43" fmla="*/ 124 h 518"/>
                  <a:gd name="T44" fmla="*/ 182 w 220"/>
                  <a:gd name="T45" fmla="*/ 124 h 518"/>
                  <a:gd name="T46" fmla="*/ 163 w 220"/>
                  <a:gd name="T47" fmla="*/ 110 h 518"/>
                  <a:gd name="T48" fmla="*/ 168 w 220"/>
                  <a:gd name="T49" fmla="*/ 110 h 518"/>
                  <a:gd name="T50" fmla="*/ 177 w 220"/>
                  <a:gd name="T51" fmla="*/ 91 h 518"/>
                  <a:gd name="T52" fmla="*/ 168 w 220"/>
                  <a:gd name="T53" fmla="*/ 91 h 518"/>
                  <a:gd name="T54" fmla="*/ 163 w 220"/>
                  <a:gd name="T55" fmla="*/ 72 h 518"/>
                  <a:gd name="T56" fmla="*/ 158 w 220"/>
                  <a:gd name="T57" fmla="*/ 52 h 518"/>
                  <a:gd name="T58" fmla="*/ 163 w 220"/>
                  <a:gd name="T59" fmla="*/ 33 h 518"/>
                  <a:gd name="T60" fmla="*/ 158 w 220"/>
                  <a:gd name="T61" fmla="*/ 9 h 518"/>
                  <a:gd name="T62" fmla="*/ 163 w 220"/>
                  <a:gd name="T63" fmla="*/ 19 h 518"/>
                  <a:gd name="T64" fmla="*/ 192 w 220"/>
                  <a:gd name="T65" fmla="*/ 24 h 518"/>
                  <a:gd name="T66" fmla="*/ 206 w 220"/>
                  <a:gd name="T67" fmla="*/ 28 h 518"/>
                  <a:gd name="T68" fmla="*/ 211 w 220"/>
                  <a:gd name="T69" fmla="*/ 19 h 518"/>
                  <a:gd name="T70" fmla="*/ 216 w 220"/>
                  <a:gd name="T71" fmla="*/ 28 h 518"/>
                  <a:gd name="T72" fmla="*/ 206 w 220"/>
                  <a:gd name="T73" fmla="*/ 48 h 518"/>
                  <a:gd name="T74" fmla="*/ 206 w 220"/>
                  <a:gd name="T75" fmla="*/ 86 h 518"/>
                  <a:gd name="T76" fmla="*/ 216 w 220"/>
                  <a:gd name="T77" fmla="*/ 100 h 518"/>
                  <a:gd name="T78" fmla="*/ 206 w 220"/>
                  <a:gd name="T79" fmla="*/ 129 h 518"/>
                  <a:gd name="T80" fmla="*/ 201 w 220"/>
                  <a:gd name="T81" fmla="*/ 153 h 518"/>
                  <a:gd name="T82" fmla="*/ 182 w 220"/>
                  <a:gd name="T83" fmla="*/ 182 h 518"/>
                  <a:gd name="T84" fmla="*/ 168 w 220"/>
                  <a:gd name="T85" fmla="*/ 182 h 518"/>
                  <a:gd name="T86" fmla="*/ 124 w 220"/>
                  <a:gd name="T87" fmla="*/ 172 h 518"/>
                  <a:gd name="T88" fmla="*/ 134 w 220"/>
                  <a:gd name="T89" fmla="*/ 177 h 518"/>
                  <a:gd name="T90" fmla="*/ 148 w 220"/>
                  <a:gd name="T91" fmla="*/ 192 h 518"/>
                  <a:gd name="T92" fmla="*/ 129 w 220"/>
                  <a:gd name="T93" fmla="*/ 182 h 518"/>
                  <a:gd name="T94" fmla="*/ 14 w 220"/>
                  <a:gd name="T95" fmla="*/ 297 h 518"/>
                  <a:gd name="T96" fmla="*/ 206 w 220"/>
                  <a:gd name="T97" fmla="*/ 76 h 518"/>
                  <a:gd name="T98" fmla="*/ 220 w 220"/>
                  <a:gd name="T99" fmla="*/ 67 h 518"/>
                  <a:gd name="T100" fmla="*/ 153 w 220"/>
                  <a:gd name="T101" fmla="*/ 48 h 518"/>
                  <a:gd name="T102" fmla="*/ 192 w 220"/>
                  <a:gd name="T103" fmla="*/ 168 h 518"/>
                  <a:gd name="T104" fmla="*/ 153 w 220"/>
                  <a:gd name="T105" fmla="*/ 28 h 518"/>
                  <a:gd name="T106" fmla="*/ 182 w 220"/>
                  <a:gd name="T107" fmla="*/ 182 h 518"/>
                  <a:gd name="T108" fmla="*/ 134 w 220"/>
                  <a:gd name="T109" fmla="*/ 163 h 518"/>
                  <a:gd name="T110" fmla="*/ 201 w 220"/>
                  <a:gd name="T111" fmla="*/ 19 h 518"/>
                  <a:gd name="T112" fmla="*/ 144 w 220"/>
                  <a:gd name="T113" fmla="*/ 91 h 518"/>
                  <a:gd name="T114" fmla="*/ 0 w 220"/>
                  <a:gd name="T115" fmla="*/ 456 h 518"/>
                  <a:gd name="T116" fmla="*/ 72 w 220"/>
                  <a:gd name="T117" fmla="*/ 494 h 518"/>
                  <a:gd name="T118" fmla="*/ 19 w 220"/>
                  <a:gd name="T119" fmla="*/ 307 h 518"/>
                  <a:gd name="T120" fmla="*/ 153 w 220"/>
                  <a:gd name="T121" fmla="*/ 187 h 518"/>
                  <a:gd name="T122" fmla="*/ 124 w 220"/>
                  <a:gd name="T123" fmla="*/ 163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0" h="518">
                    <a:moveTo>
                      <a:pt x="0" y="417"/>
                    </a:moveTo>
                    <a:lnTo>
                      <a:pt x="0" y="412"/>
                    </a:lnTo>
                    <a:lnTo>
                      <a:pt x="4" y="412"/>
                    </a:lnTo>
                    <a:lnTo>
                      <a:pt x="4" y="408"/>
                    </a:lnTo>
                    <a:lnTo>
                      <a:pt x="4" y="403"/>
                    </a:lnTo>
                    <a:lnTo>
                      <a:pt x="9" y="398"/>
                    </a:lnTo>
                    <a:lnTo>
                      <a:pt x="4" y="398"/>
                    </a:lnTo>
                    <a:lnTo>
                      <a:pt x="9" y="393"/>
                    </a:lnTo>
                    <a:lnTo>
                      <a:pt x="4" y="388"/>
                    </a:lnTo>
                    <a:lnTo>
                      <a:pt x="4" y="384"/>
                    </a:lnTo>
                    <a:lnTo>
                      <a:pt x="4" y="379"/>
                    </a:lnTo>
                    <a:lnTo>
                      <a:pt x="4" y="374"/>
                    </a:lnTo>
                    <a:lnTo>
                      <a:pt x="0" y="374"/>
                    </a:lnTo>
                    <a:lnTo>
                      <a:pt x="0" y="369"/>
                    </a:lnTo>
                    <a:lnTo>
                      <a:pt x="0" y="364"/>
                    </a:lnTo>
                    <a:lnTo>
                      <a:pt x="0" y="360"/>
                    </a:lnTo>
                    <a:lnTo>
                      <a:pt x="0" y="355"/>
                    </a:lnTo>
                    <a:lnTo>
                      <a:pt x="0" y="350"/>
                    </a:lnTo>
                    <a:lnTo>
                      <a:pt x="0" y="345"/>
                    </a:lnTo>
                    <a:lnTo>
                      <a:pt x="0" y="340"/>
                    </a:lnTo>
                    <a:lnTo>
                      <a:pt x="0" y="336"/>
                    </a:lnTo>
                    <a:lnTo>
                      <a:pt x="0" y="331"/>
                    </a:lnTo>
                    <a:lnTo>
                      <a:pt x="4" y="331"/>
                    </a:lnTo>
                    <a:lnTo>
                      <a:pt x="4" y="336"/>
                    </a:lnTo>
                    <a:lnTo>
                      <a:pt x="4" y="340"/>
                    </a:lnTo>
                    <a:lnTo>
                      <a:pt x="4" y="345"/>
                    </a:lnTo>
                    <a:lnTo>
                      <a:pt x="4" y="340"/>
                    </a:lnTo>
                    <a:lnTo>
                      <a:pt x="4" y="336"/>
                    </a:lnTo>
                    <a:lnTo>
                      <a:pt x="9" y="331"/>
                    </a:lnTo>
                    <a:lnTo>
                      <a:pt x="14" y="326"/>
                    </a:lnTo>
                    <a:lnTo>
                      <a:pt x="14" y="321"/>
                    </a:lnTo>
                    <a:lnTo>
                      <a:pt x="19" y="321"/>
                    </a:lnTo>
                    <a:lnTo>
                      <a:pt x="24" y="321"/>
                    </a:lnTo>
                    <a:lnTo>
                      <a:pt x="28" y="321"/>
                    </a:lnTo>
                    <a:lnTo>
                      <a:pt x="28" y="312"/>
                    </a:lnTo>
                    <a:lnTo>
                      <a:pt x="33" y="307"/>
                    </a:lnTo>
                    <a:lnTo>
                      <a:pt x="33" y="292"/>
                    </a:lnTo>
                    <a:lnTo>
                      <a:pt x="33" y="288"/>
                    </a:lnTo>
                    <a:lnTo>
                      <a:pt x="33" y="278"/>
                    </a:lnTo>
                    <a:lnTo>
                      <a:pt x="33" y="273"/>
                    </a:lnTo>
                    <a:lnTo>
                      <a:pt x="38" y="273"/>
                    </a:lnTo>
                    <a:lnTo>
                      <a:pt x="43" y="278"/>
                    </a:lnTo>
                    <a:lnTo>
                      <a:pt x="43" y="283"/>
                    </a:lnTo>
                    <a:lnTo>
                      <a:pt x="48" y="288"/>
                    </a:lnTo>
                    <a:lnTo>
                      <a:pt x="52" y="292"/>
                    </a:lnTo>
                    <a:lnTo>
                      <a:pt x="52" y="297"/>
                    </a:lnTo>
                    <a:lnTo>
                      <a:pt x="52" y="302"/>
                    </a:lnTo>
                    <a:lnTo>
                      <a:pt x="52" y="307"/>
                    </a:lnTo>
                    <a:lnTo>
                      <a:pt x="57" y="312"/>
                    </a:lnTo>
                    <a:lnTo>
                      <a:pt x="52" y="316"/>
                    </a:lnTo>
                    <a:lnTo>
                      <a:pt x="52" y="326"/>
                    </a:lnTo>
                    <a:lnTo>
                      <a:pt x="52" y="331"/>
                    </a:lnTo>
                    <a:lnTo>
                      <a:pt x="52" y="336"/>
                    </a:lnTo>
                    <a:lnTo>
                      <a:pt x="57" y="345"/>
                    </a:lnTo>
                    <a:lnTo>
                      <a:pt x="57" y="355"/>
                    </a:lnTo>
                    <a:lnTo>
                      <a:pt x="62" y="364"/>
                    </a:lnTo>
                    <a:lnTo>
                      <a:pt x="67" y="369"/>
                    </a:lnTo>
                    <a:lnTo>
                      <a:pt x="67" y="374"/>
                    </a:lnTo>
                    <a:lnTo>
                      <a:pt x="67" y="379"/>
                    </a:lnTo>
                    <a:lnTo>
                      <a:pt x="72" y="384"/>
                    </a:lnTo>
                    <a:lnTo>
                      <a:pt x="76" y="384"/>
                    </a:lnTo>
                    <a:lnTo>
                      <a:pt x="76" y="388"/>
                    </a:lnTo>
                    <a:lnTo>
                      <a:pt x="76" y="393"/>
                    </a:lnTo>
                    <a:lnTo>
                      <a:pt x="76" y="398"/>
                    </a:lnTo>
                    <a:lnTo>
                      <a:pt x="76" y="403"/>
                    </a:lnTo>
                    <a:lnTo>
                      <a:pt x="76" y="412"/>
                    </a:lnTo>
                    <a:lnTo>
                      <a:pt x="76" y="417"/>
                    </a:lnTo>
                    <a:lnTo>
                      <a:pt x="76" y="422"/>
                    </a:lnTo>
                    <a:lnTo>
                      <a:pt x="72" y="422"/>
                    </a:lnTo>
                    <a:lnTo>
                      <a:pt x="72" y="427"/>
                    </a:lnTo>
                    <a:lnTo>
                      <a:pt x="76" y="427"/>
                    </a:lnTo>
                    <a:lnTo>
                      <a:pt x="81" y="422"/>
                    </a:lnTo>
                    <a:lnTo>
                      <a:pt x="81" y="427"/>
                    </a:lnTo>
                    <a:lnTo>
                      <a:pt x="81" y="432"/>
                    </a:lnTo>
                    <a:lnTo>
                      <a:pt x="86" y="432"/>
                    </a:lnTo>
                    <a:lnTo>
                      <a:pt x="86" y="427"/>
                    </a:lnTo>
                    <a:lnTo>
                      <a:pt x="86" y="422"/>
                    </a:lnTo>
                    <a:lnTo>
                      <a:pt x="91" y="422"/>
                    </a:lnTo>
                    <a:lnTo>
                      <a:pt x="91" y="427"/>
                    </a:lnTo>
                    <a:lnTo>
                      <a:pt x="96" y="427"/>
                    </a:lnTo>
                    <a:lnTo>
                      <a:pt x="100" y="427"/>
                    </a:lnTo>
                    <a:lnTo>
                      <a:pt x="100" y="432"/>
                    </a:lnTo>
                    <a:lnTo>
                      <a:pt x="100" y="427"/>
                    </a:lnTo>
                    <a:lnTo>
                      <a:pt x="100" y="422"/>
                    </a:lnTo>
                    <a:lnTo>
                      <a:pt x="100" y="417"/>
                    </a:lnTo>
                    <a:lnTo>
                      <a:pt x="100" y="412"/>
                    </a:lnTo>
                    <a:lnTo>
                      <a:pt x="96" y="412"/>
                    </a:lnTo>
                    <a:lnTo>
                      <a:pt x="96" y="403"/>
                    </a:lnTo>
                    <a:lnTo>
                      <a:pt x="100" y="403"/>
                    </a:lnTo>
                    <a:lnTo>
                      <a:pt x="100" y="408"/>
                    </a:lnTo>
                    <a:lnTo>
                      <a:pt x="105" y="412"/>
                    </a:lnTo>
                    <a:lnTo>
                      <a:pt x="110" y="422"/>
                    </a:lnTo>
                    <a:lnTo>
                      <a:pt x="110" y="427"/>
                    </a:lnTo>
                    <a:lnTo>
                      <a:pt x="110" y="432"/>
                    </a:lnTo>
                    <a:lnTo>
                      <a:pt x="110" y="436"/>
                    </a:lnTo>
                    <a:lnTo>
                      <a:pt x="110" y="441"/>
                    </a:lnTo>
                    <a:lnTo>
                      <a:pt x="110" y="451"/>
                    </a:lnTo>
                    <a:lnTo>
                      <a:pt x="110" y="456"/>
                    </a:lnTo>
                    <a:lnTo>
                      <a:pt x="115" y="465"/>
                    </a:lnTo>
                    <a:lnTo>
                      <a:pt x="120" y="475"/>
                    </a:lnTo>
                    <a:lnTo>
                      <a:pt x="124" y="484"/>
                    </a:lnTo>
                    <a:lnTo>
                      <a:pt x="124" y="489"/>
                    </a:lnTo>
                    <a:lnTo>
                      <a:pt x="120" y="504"/>
                    </a:lnTo>
                    <a:lnTo>
                      <a:pt x="115" y="508"/>
                    </a:lnTo>
                    <a:lnTo>
                      <a:pt x="110" y="513"/>
                    </a:lnTo>
                    <a:lnTo>
                      <a:pt x="105" y="518"/>
                    </a:lnTo>
                    <a:lnTo>
                      <a:pt x="100" y="518"/>
                    </a:lnTo>
                    <a:lnTo>
                      <a:pt x="96" y="513"/>
                    </a:lnTo>
                    <a:lnTo>
                      <a:pt x="91" y="513"/>
                    </a:lnTo>
                    <a:lnTo>
                      <a:pt x="91" y="508"/>
                    </a:lnTo>
                    <a:lnTo>
                      <a:pt x="86" y="504"/>
                    </a:lnTo>
                    <a:lnTo>
                      <a:pt x="81" y="499"/>
                    </a:lnTo>
                    <a:lnTo>
                      <a:pt x="81" y="494"/>
                    </a:lnTo>
                    <a:lnTo>
                      <a:pt x="76" y="489"/>
                    </a:lnTo>
                    <a:lnTo>
                      <a:pt x="76" y="484"/>
                    </a:lnTo>
                    <a:lnTo>
                      <a:pt x="76" y="475"/>
                    </a:lnTo>
                    <a:lnTo>
                      <a:pt x="72" y="470"/>
                    </a:lnTo>
                    <a:lnTo>
                      <a:pt x="72" y="465"/>
                    </a:lnTo>
                    <a:lnTo>
                      <a:pt x="72" y="460"/>
                    </a:lnTo>
                    <a:lnTo>
                      <a:pt x="76" y="460"/>
                    </a:lnTo>
                    <a:lnTo>
                      <a:pt x="76" y="456"/>
                    </a:lnTo>
                    <a:lnTo>
                      <a:pt x="76" y="460"/>
                    </a:lnTo>
                    <a:lnTo>
                      <a:pt x="72" y="460"/>
                    </a:lnTo>
                    <a:lnTo>
                      <a:pt x="67" y="465"/>
                    </a:lnTo>
                    <a:lnTo>
                      <a:pt x="62" y="460"/>
                    </a:lnTo>
                    <a:lnTo>
                      <a:pt x="62" y="465"/>
                    </a:lnTo>
                    <a:lnTo>
                      <a:pt x="67" y="470"/>
                    </a:lnTo>
                    <a:lnTo>
                      <a:pt x="72" y="475"/>
                    </a:lnTo>
                    <a:lnTo>
                      <a:pt x="72" y="480"/>
                    </a:lnTo>
                    <a:lnTo>
                      <a:pt x="72" y="484"/>
                    </a:lnTo>
                    <a:lnTo>
                      <a:pt x="72" y="489"/>
                    </a:lnTo>
                    <a:lnTo>
                      <a:pt x="67" y="489"/>
                    </a:lnTo>
                    <a:lnTo>
                      <a:pt x="67" y="484"/>
                    </a:lnTo>
                    <a:lnTo>
                      <a:pt x="67" y="480"/>
                    </a:lnTo>
                    <a:lnTo>
                      <a:pt x="62" y="480"/>
                    </a:lnTo>
                    <a:lnTo>
                      <a:pt x="62" y="475"/>
                    </a:lnTo>
                    <a:lnTo>
                      <a:pt x="62" y="470"/>
                    </a:lnTo>
                    <a:lnTo>
                      <a:pt x="62" y="465"/>
                    </a:lnTo>
                    <a:lnTo>
                      <a:pt x="57" y="470"/>
                    </a:lnTo>
                    <a:lnTo>
                      <a:pt x="57" y="465"/>
                    </a:lnTo>
                    <a:lnTo>
                      <a:pt x="52" y="460"/>
                    </a:lnTo>
                    <a:lnTo>
                      <a:pt x="52" y="465"/>
                    </a:lnTo>
                    <a:lnTo>
                      <a:pt x="48" y="460"/>
                    </a:lnTo>
                    <a:lnTo>
                      <a:pt x="48" y="451"/>
                    </a:lnTo>
                    <a:lnTo>
                      <a:pt x="43" y="446"/>
                    </a:lnTo>
                    <a:lnTo>
                      <a:pt x="38" y="446"/>
                    </a:lnTo>
                    <a:lnTo>
                      <a:pt x="38" y="441"/>
                    </a:lnTo>
                    <a:lnTo>
                      <a:pt x="33" y="441"/>
                    </a:lnTo>
                    <a:lnTo>
                      <a:pt x="33" y="446"/>
                    </a:lnTo>
                    <a:lnTo>
                      <a:pt x="38" y="451"/>
                    </a:lnTo>
                    <a:lnTo>
                      <a:pt x="33" y="451"/>
                    </a:lnTo>
                    <a:lnTo>
                      <a:pt x="33" y="446"/>
                    </a:lnTo>
                    <a:lnTo>
                      <a:pt x="28" y="446"/>
                    </a:lnTo>
                    <a:lnTo>
                      <a:pt x="28" y="451"/>
                    </a:lnTo>
                    <a:lnTo>
                      <a:pt x="28" y="456"/>
                    </a:lnTo>
                    <a:lnTo>
                      <a:pt x="33" y="460"/>
                    </a:lnTo>
                    <a:lnTo>
                      <a:pt x="33" y="465"/>
                    </a:lnTo>
                    <a:lnTo>
                      <a:pt x="28" y="465"/>
                    </a:lnTo>
                    <a:lnTo>
                      <a:pt x="24" y="460"/>
                    </a:lnTo>
                    <a:lnTo>
                      <a:pt x="19" y="451"/>
                    </a:lnTo>
                    <a:lnTo>
                      <a:pt x="9" y="446"/>
                    </a:lnTo>
                    <a:lnTo>
                      <a:pt x="4" y="441"/>
                    </a:lnTo>
                    <a:lnTo>
                      <a:pt x="4" y="436"/>
                    </a:lnTo>
                    <a:lnTo>
                      <a:pt x="4" y="432"/>
                    </a:lnTo>
                    <a:lnTo>
                      <a:pt x="4" y="427"/>
                    </a:lnTo>
                    <a:lnTo>
                      <a:pt x="4" y="422"/>
                    </a:lnTo>
                    <a:lnTo>
                      <a:pt x="0" y="422"/>
                    </a:lnTo>
                    <a:lnTo>
                      <a:pt x="0" y="417"/>
                    </a:lnTo>
                    <a:close/>
                    <a:moveTo>
                      <a:pt x="144" y="168"/>
                    </a:moveTo>
                    <a:lnTo>
                      <a:pt x="144" y="163"/>
                    </a:lnTo>
                    <a:lnTo>
                      <a:pt x="148" y="158"/>
                    </a:lnTo>
                    <a:lnTo>
                      <a:pt x="148" y="153"/>
                    </a:lnTo>
                    <a:lnTo>
                      <a:pt x="148" y="148"/>
                    </a:lnTo>
                    <a:lnTo>
                      <a:pt x="153" y="148"/>
                    </a:lnTo>
                    <a:lnTo>
                      <a:pt x="158" y="148"/>
                    </a:lnTo>
                    <a:lnTo>
                      <a:pt x="158" y="153"/>
                    </a:lnTo>
                    <a:lnTo>
                      <a:pt x="163" y="153"/>
                    </a:lnTo>
                    <a:lnTo>
                      <a:pt x="158" y="153"/>
                    </a:lnTo>
                    <a:lnTo>
                      <a:pt x="163" y="153"/>
                    </a:lnTo>
                    <a:lnTo>
                      <a:pt x="163" y="148"/>
                    </a:lnTo>
                    <a:lnTo>
                      <a:pt x="158" y="148"/>
                    </a:lnTo>
                    <a:lnTo>
                      <a:pt x="158" y="144"/>
                    </a:lnTo>
                    <a:lnTo>
                      <a:pt x="158" y="139"/>
                    </a:lnTo>
                    <a:lnTo>
                      <a:pt x="153" y="144"/>
                    </a:lnTo>
                    <a:lnTo>
                      <a:pt x="153" y="139"/>
                    </a:lnTo>
                    <a:lnTo>
                      <a:pt x="148" y="134"/>
                    </a:lnTo>
                    <a:lnTo>
                      <a:pt x="153" y="134"/>
                    </a:lnTo>
                    <a:lnTo>
                      <a:pt x="158" y="134"/>
                    </a:lnTo>
                    <a:lnTo>
                      <a:pt x="163" y="134"/>
                    </a:lnTo>
                    <a:lnTo>
                      <a:pt x="168" y="134"/>
                    </a:lnTo>
                    <a:lnTo>
                      <a:pt x="172" y="139"/>
                    </a:lnTo>
                    <a:lnTo>
                      <a:pt x="172" y="134"/>
                    </a:lnTo>
                    <a:lnTo>
                      <a:pt x="168" y="134"/>
                    </a:lnTo>
                    <a:lnTo>
                      <a:pt x="163" y="129"/>
                    </a:lnTo>
                    <a:lnTo>
                      <a:pt x="163" y="134"/>
                    </a:lnTo>
                    <a:lnTo>
                      <a:pt x="163" y="129"/>
                    </a:lnTo>
                    <a:lnTo>
                      <a:pt x="158" y="124"/>
                    </a:lnTo>
                    <a:lnTo>
                      <a:pt x="163" y="124"/>
                    </a:lnTo>
                    <a:lnTo>
                      <a:pt x="168" y="124"/>
                    </a:lnTo>
                    <a:lnTo>
                      <a:pt x="172" y="120"/>
                    </a:lnTo>
                    <a:lnTo>
                      <a:pt x="172" y="124"/>
                    </a:lnTo>
                    <a:lnTo>
                      <a:pt x="177" y="120"/>
                    </a:lnTo>
                    <a:lnTo>
                      <a:pt x="177" y="124"/>
                    </a:lnTo>
                    <a:lnTo>
                      <a:pt x="182" y="124"/>
                    </a:lnTo>
                    <a:lnTo>
                      <a:pt x="182" y="129"/>
                    </a:lnTo>
                    <a:lnTo>
                      <a:pt x="187" y="124"/>
                    </a:lnTo>
                    <a:lnTo>
                      <a:pt x="182" y="124"/>
                    </a:lnTo>
                    <a:lnTo>
                      <a:pt x="182" y="120"/>
                    </a:lnTo>
                    <a:lnTo>
                      <a:pt x="182" y="124"/>
                    </a:lnTo>
                    <a:lnTo>
                      <a:pt x="187" y="124"/>
                    </a:lnTo>
                    <a:lnTo>
                      <a:pt x="187" y="120"/>
                    </a:lnTo>
                    <a:lnTo>
                      <a:pt x="182" y="120"/>
                    </a:lnTo>
                    <a:lnTo>
                      <a:pt x="177" y="120"/>
                    </a:lnTo>
                    <a:lnTo>
                      <a:pt x="177" y="115"/>
                    </a:lnTo>
                    <a:lnTo>
                      <a:pt x="172" y="120"/>
                    </a:lnTo>
                    <a:lnTo>
                      <a:pt x="163" y="110"/>
                    </a:lnTo>
                    <a:lnTo>
                      <a:pt x="158" y="110"/>
                    </a:lnTo>
                    <a:lnTo>
                      <a:pt x="153" y="110"/>
                    </a:lnTo>
                    <a:lnTo>
                      <a:pt x="148" y="110"/>
                    </a:lnTo>
                    <a:lnTo>
                      <a:pt x="148" y="105"/>
                    </a:lnTo>
                    <a:lnTo>
                      <a:pt x="153" y="105"/>
                    </a:lnTo>
                    <a:lnTo>
                      <a:pt x="153" y="110"/>
                    </a:lnTo>
                    <a:lnTo>
                      <a:pt x="158" y="110"/>
                    </a:lnTo>
                    <a:lnTo>
                      <a:pt x="163" y="110"/>
                    </a:lnTo>
                    <a:lnTo>
                      <a:pt x="168" y="110"/>
                    </a:lnTo>
                    <a:lnTo>
                      <a:pt x="172" y="105"/>
                    </a:lnTo>
                    <a:lnTo>
                      <a:pt x="172" y="110"/>
                    </a:lnTo>
                    <a:lnTo>
                      <a:pt x="177" y="110"/>
                    </a:lnTo>
                    <a:lnTo>
                      <a:pt x="177" y="105"/>
                    </a:lnTo>
                    <a:lnTo>
                      <a:pt x="177" y="100"/>
                    </a:lnTo>
                    <a:lnTo>
                      <a:pt x="182" y="100"/>
                    </a:lnTo>
                    <a:lnTo>
                      <a:pt x="177" y="100"/>
                    </a:lnTo>
                    <a:lnTo>
                      <a:pt x="177" y="96"/>
                    </a:lnTo>
                    <a:lnTo>
                      <a:pt x="177" y="91"/>
                    </a:lnTo>
                    <a:lnTo>
                      <a:pt x="172" y="91"/>
                    </a:lnTo>
                    <a:lnTo>
                      <a:pt x="177" y="91"/>
                    </a:lnTo>
                    <a:lnTo>
                      <a:pt x="172" y="96"/>
                    </a:lnTo>
                    <a:lnTo>
                      <a:pt x="172" y="91"/>
                    </a:lnTo>
                    <a:lnTo>
                      <a:pt x="172" y="96"/>
                    </a:lnTo>
                    <a:lnTo>
                      <a:pt x="168" y="96"/>
                    </a:lnTo>
                    <a:lnTo>
                      <a:pt x="172" y="91"/>
                    </a:lnTo>
                    <a:lnTo>
                      <a:pt x="168" y="86"/>
                    </a:lnTo>
                    <a:lnTo>
                      <a:pt x="168" y="91"/>
                    </a:lnTo>
                    <a:lnTo>
                      <a:pt x="168" y="86"/>
                    </a:lnTo>
                    <a:lnTo>
                      <a:pt x="163" y="86"/>
                    </a:lnTo>
                    <a:lnTo>
                      <a:pt x="158" y="86"/>
                    </a:lnTo>
                    <a:lnTo>
                      <a:pt x="158" y="81"/>
                    </a:lnTo>
                    <a:lnTo>
                      <a:pt x="163" y="81"/>
                    </a:lnTo>
                    <a:lnTo>
                      <a:pt x="163" y="76"/>
                    </a:lnTo>
                    <a:lnTo>
                      <a:pt x="158" y="76"/>
                    </a:lnTo>
                    <a:lnTo>
                      <a:pt x="158" y="72"/>
                    </a:lnTo>
                    <a:lnTo>
                      <a:pt x="163" y="72"/>
                    </a:lnTo>
                    <a:lnTo>
                      <a:pt x="163" y="67"/>
                    </a:lnTo>
                    <a:lnTo>
                      <a:pt x="168" y="67"/>
                    </a:lnTo>
                    <a:lnTo>
                      <a:pt x="172" y="67"/>
                    </a:lnTo>
                    <a:lnTo>
                      <a:pt x="168" y="67"/>
                    </a:lnTo>
                    <a:lnTo>
                      <a:pt x="168" y="62"/>
                    </a:lnTo>
                    <a:lnTo>
                      <a:pt x="163" y="57"/>
                    </a:lnTo>
                    <a:lnTo>
                      <a:pt x="158" y="57"/>
                    </a:lnTo>
                    <a:lnTo>
                      <a:pt x="153" y="57"/>
                    </a:lnTo>
                    <a:lnTo>
                      <a:pt x="158" y="52"/>
                    </a:lnTo>
                    <a:lnTo>
                      <a:pt x="163" y="52"/>
                    </a:lnTo>
                    <a:lnTo>
                      <a:pt x="163" y="48"/>
                    </a:lnTo>
                    <a:lnTo>
                      <a:pt x="158" y="48"/>
                    </a:lnTo>
                    <a:lnTo>
                      <a:pt x="153" y="48"/>
                    </a:lnTo>
                    <a:lnTo>
                      <a:pt x="153" y="43"/>
                    </a:lnTo>
                    <a:lnTo>
                      <a:pt x="158" y="38"/>
                    </a:lnTo>
                    <a:lnTo>
                      <a:pt x="153" y="38"/>
                    </a:lnTo>
                    <a:lnTo>
                      <a:pt x="158" y="38"/>
                    </a:lnTo>
                    <a:lnTo>
                      <a:pt x="163" y="33"/>
                    </a:lnTo>
                    <a:lnTo>
                      <a:pt x="163" y="38"/>
                    </a:lnTo>
                    <a:lnTo>
                      <a:pt x="168" y="38"/>
                    </a:lnTo>
                    <a:lnTo>
                      <a:pt x="168" y="33"/>
                    </a:lnTo>
                    <a:lnTo>
                      <a:pt x="163" y="33"/>
                    </a:lnTo>
                    <a:lnTo>
                      <a:pt x="163" y="28"/>
                    </a:lnTo>
                    <a:lnTo>
                      <a:pt x="158" y="28"/>
                    </a:lnTo>
                    <a:lnTo>
                      <a:pt x="153" y="28"/>
                    </a:lnTo>
                    <a:lnTo>
                      <a:pt x="153" y="19"/>
                    </a:lnTo>
                    <a:lnTo>
                      <a:pt x="158" y="9"/>
                    </a:lnTo>
                    <a:lnTo>
                      <a:pt x="158" y="4"/>
                    </a:lnTo>
                    <a:lnTo>
                      <a:pt x="158" y="0"/>
                    </a:lnTo>
                    <a:lnTo>
                      <a:pt x="158" y="4"/>
                    </a:lnTo>
                    <a:lnTo>
                      <a:pt x="163" y="14"/>
                    </a:lnTo>
                    <a:lnTo>
                      <a:pt x="168" y="14"/>
                    </a:lnTo>
                    <a:lnTo>
                      <a:pt x="163" y="14"/>
                    </a:lnTo>
                    <a:lnTo>
                      <a:pt x="158" y="14"/>
                    </a:lnTo>
                    <a:lnTo>
                      <a:pt x="158" y="19"/>
                    </a:lnTo>
                    <a:lnTo>
                      <a:pt x="163" y="19"/>
                    </a:lnTo>
                    <a:lnTo>
                      <a:pt x="168" y="19"/>
                    </a:lnTo>
                    <a:lnTo>
                      <a:pt x="168" y="14"/>
                    </a:lnTo>
                    <a:lnTo>
                      <a:pt x="172" y="14"/>
                    </a:lnTo>
                    <a:lnTo>
                      <a:pt x="177" y="14"/>
                    </a:lnTo>
                    <a:lnTo>
                      <a:pt x="182" y="14"/>
                    </a:lnTo>
                    <a:lnTo>
                      <a:pt x="182" y="19"/>
                    </a:lnTo>
                    <a:lnTo>
                      <a:pt x="187" y="19"/>
                    </a:lnTo>
                    <a:lnTo>
                      <a:pt x="192" y="19"/>
                    </a:lnTo>
                    <a:lnTo>
                      <a:pt x="192" y="24"/>
                    </a:lnTo>
                    <a:lnTo>
                      <a:pt x="196" y="33"/>
                    </a:lnTo>
                    <a:lnTo>
                      <a:pt x="201" y="33"/>
                    </a:lnTo>
                    <a:lnTo>
                      <a:pt x="196" y="38"/>
                    </a:lnTo>
                    <a:lnTo>
                      <a:pt x="201" y="38"/>
                    </a:lnTo>
                    <a:lnTo>
                      <a:pt x="206" y="38"/>
                    </a:lnTo>
                    <a:lnTo>
                      <a:pt x="201" y="38"/>
                    </a:lnTo>
                    <a:lnTo>
                      <a:pt x="201" y="33"/>
                    </a:lnTo>
                    <a:lnTo>
                      <a:pt x="201" y="28"/>
                    </a:lnTo>
                    <a:lnTo>
                      <a:pt x="206" y="28"/>
                    </a:lnTo>
                    <a:lnTo>
                      <a:pt x="206" y="24"/>
                    </a:lnTo>
                    <a:lnTo>
                      <a:pt x="206" y="28"/>
                    </a:lnTo>
                    <a:lnTo>
                      <a:pt x="206" y="33"/>
                    </a:lnTo>
                    <a:lnTo>
                      <a:pt x="206" y="28"/>
                    </a:lnTo>
                    <a:lnTo>
                      <a:pt x="211" y="28"/>
                    </a:lnTo>
                    <a:lnTo>
                      <a:pt x="211" y="33"/>
                    </a:lnTo>
                    <a:lnTo>
                      <a:pt x="211" y="28"/>
                    </a:lnTo>
                    <a:lnTo>
                      <a:pt x="211" y="24"/>
                    </a:lnTo>
                    <a:lnTo>
                      <a:pt x="211" y="19"/>
                    </a:lnTo>
                    <a:lnTo>
                      <a:pt x="211" y="14"/>
                    </a:lnTo>
                    <a:lnTo>
                      <a:pt x="216" y="14"/>
                    </a:lnTo>
                    <a:lnTo>
                      <a:pt x="211" y="14"/>
                    </a:lnTo>
                    <a:lnTo>
                      <a:pt x="216" y="14"/>
                    </a:lnTo>
                    <a:lnTo>
                      <a:pt x="216" y="9"/>
                    </a:lnTo>
                    <a:lnTo>
                      <a:pt x="220" y="14"/>
                    </a:lnTo>
                    <a:lnTo>
                      <a:pt x="216" y="19"/>
                    </a:lnTo>
                    <a:lnTo>
                      <a:pt x="216" y="24"/>
                    </a:lnTo>
                    <a:lnTo>
                      <a:pt x="216" y="28"/>
                    </a:lnTo>
                    <a:lnTo>
                      <a:pt x="220" y="38"/>
                    </a:lnTo>
                    <a:lnTo>
                      <a:pt x="220" y="43"/>
                    </a:lnTo>
                    <a:lnTo>
                      <a:pt x="216" y="48"/>
                    </a:lnTo>
                    <a:lnTo>
                      <a:pt x="216" y="52"/>
                    </a:lnTo>
                    <a:lnTo>
                      <a:pt x="216" y="48"/>
                    </a:lnTo>
                    <a:lnTo>
                      <a:pt x="211" y="48"/>
                    </a:lnTo>
                    <a:lnTo>
                      <a:pt x="211" y="52"/>
                    </a:lnTo>
                    <a:lnTo>
                      <a:pt x="211" y="48"/>
                    </a:lnTo>
                    <a:lnTo>
                      <a:pt x="206" y="48"/>
                    </a:lnTo>
                    <a:lnTo>
                      <a:pt x="206" y="52"/>
                    </a:lnTo>
                    <a:lnTo>
                      <a:pt x="206" y="57"/>
                    </a:lnTo>
                    <a:lnTo>
                      <a:pt x="206" y="62"/>
                    </a:lnTo>
                    <a:lnTo>
                      <a:pt x="206" y="67"/>
                    </a:lnTo>
                    <a:lnTo>
                      <a:pt x="206" y="72"/>
                    </a:lnTo>
                    <a:lnTo>
                      <a:pt x="201" y="76"/>
                    </a:lnTo>
                    <a:lnTo>
                      <a:pt x="206" y="76"/>
                    </a:lnTo>
                    <a:lnTo>
                      <a:pt x="206" y="81"/>
                    </a:lnTo>
                    <a:lnTo>
                      <a:pt x="206" y="86"/>
                    </a:lnTo>
                    <a:lnTo>
                      <a:pt x="211" y="86"/>
                    </a:lnTo>
                    <a:lnTo>
                      <a:pt x="211" y="81"/>
                    </a:lnTo>
                    <a:lnTo>
                      <a:pt x="211" y="76"/>
                    </a:lnTo>
                    <a:lnTo>
                      <a:pt x="216" y="76"/>
                    </a:lnTo>
                    <a:lnTo>
                      <a:pt x="216" y="81"/>
                    </a:lnTo>
                    <a:lnTo>
                      <a:pt x="216" y="91"/>
                    </a:lnTo>
                    <a:lnTo>
                      <a:pt x="216" y="96"/>
                    </a:lnTo>
                    <a:lnTo>
                      <a:pt x="211" y="96"/>
                    </a:lnTo>
                    <a:lnTo>
                      <a:pt x="216" y="100"/>
                    </a:lnTo>
                    <a:lnTo>
                      <a:pt x="216" y="105"/>
                    </a:lnTo>
                    <a:lnTo>
                      <a:pt x="216" y="110"/>
                    </a:lnTo>
                    <a:lnTo>
                      <a:pt x="216" y="115"/>
                    </a:lnTo>
                    <a:lnTo>
                      <a:pt x="211" y="120"/>
                    </a:lnTo>
                    <a:lnTo>
                      <a:pt x="211" y="124"/>
                    </a:lnTo>
                    <a:lnTo>
                      <a:pt x="206" y="124"/>
                    </a:lnTo>
                    <a:lnTo>
                      <a:pt x="211" y="124"/>
                    </a:lnTo>
                    <a:lnTo>
                      <a:pt x="211" y="129"/>
                    </a:lnTo>
                    <a:lnTo>
                      <a:pt x="206" y="129"/>
                    </a:lnTo>
                    <a:lnTo>
                      <a:pt x="201" y="129"/>
                    </a:lnTo>
                    <a:lnTo>
                      <a:pt x="206" y="129"/>
                    </a:lnTo>
                    <a:lnTo>
                      <a:pt x="211" y="134"/>
                    </a:lnTo>
                    <a:lnTo>
                      <a:pt x="206" y="139"/>
                    </a:lnTo>
                    <a:lnTo>
                      <a:pt x="201" y="144"/>
                    </a:lnTo>
                    <a:lnTo>
                      <a:pt x="201" y="148"/>
                    </a:lnTo>
                    <a:lnTo>
                      <a:pt x="196" y="148"/>
                    </a:lnTo>
                    <a:lnTo>
                      <a:pt x="196" y="153"/>
                    </a:lnTo>
                    <a:lnTo>
                      <a:pt x="201" y="153"/>
                    </a:lnTo>
                    <a:lnTo>
                      <a:pt x="196" y="163"/>
                    </a:lnTo>
                    <a:lnTo>
                      <a:pt x="192" y="163"/>
                    </a:lnTo>
                    <a:lnTo>
                      <a:pt x="192" y="168"/>
                    </a:lnTo>
                    <a:lnTo>
                      <a:pt x="187" y="168"/>
                    </a:lnTo>
                    <a:lnTo>
                      <a:pt x="187" y="172"/>
                    </a:lnTo>
                    <a:lnTo>
                      <a:pt x="182" y="172"/>
                    </a:lnTo>
                    <a:lnTo>
                      <a:pt x="187" y="172"/>
                    </a:lnTo>
                    <a:lnTo>
                      <a:pt x="187" y="177"/>
                    </a:lnTo>
                    <a:lnTo>
                      <a:pt x="182" y="182"/>
                    </a:lnTo>
                    <a:lnTo>
                      <a:pt x="177" y="182"/>
                    </a:lnTo>
                    <a:lnTo>
                      <a:pt x="177" y="177"/>
                    </a:lnTo>
                    <a:lnTo>
                      <a:pt x="172" y="177"/>
                    </a:lnTo>
                    <a:lnTo>
                      <a:pt x="172" y="182"/>
                    </a:lnTo>
                    <a:lnTo>
                      <a:pt x="172" y="177"/>
                    </a:lnTo>
                    <a:lnTo>
                      <a:pt x="168" y="177"/>
                    </a:lnTo>
                    <a:lnTo>
                      <a:pt x="168" y="182"/>
                    </a:lnTo>
                    <a:lnTo>
                      <a:pt x="168" y="187"/>
                    </a:lnTo>
                    <a:lnTo>
                      <a:pt x="168" y="182"/>
                    </a:lnTo>
                    <a:lnTo>
                      <a:pt x="163" y="182"/>
                    </a:lnTo>
                    <a:lnTo>
                      <a:pt x="158" y="182"/>
                    </a:lnTo>
                    <a:lnTo>
                      <a:pt x="158" y="177"/>
                    </a:lnTo>
                    <a:lnTo>
                      <a:pt x="153" y="177"/>
                    </a:lnTo>
                    <a:lnTo>
                      <a:pt x="148" y="182"/>
                    </a:lnTo>
                    <a:lnTo>
                      <a:pt x="144" y="177"/>
                    </a:lnTo>
                    <a:lnTo>
                      <a:pt x="144" y="172"/>
                    </a:lnTo>
                    <a:lnTo>
                      <a:pt x="144" y="168"/>
                    </a:lnTo>
                    <a:close/>
                    <a:moveTo>
                      <a:pt x="124" y="172"/>
                    </a:moveTo>
                    <a:lnTo>
                      <a:pt x="129" y="172"/>
                    </a:lnTo>
                    <a:lnTo>
                      <a:pt x="129" y="177"/>
                    </a:lnTo>
                    <a:lnTo>
                      <a:pt x="129" y="172"/>
                    </a:lnTo>
                    <a:lnTo>
                      <a:pt x="134" y="172"/>
                    </a:lnTo>
                    <a:lnTo>
                      <a:pt x="134" y="177"/>
                    </a:lnTo>
                    <a:lnTo>
                      <a:pt x="134" y="182"/>
                    </a:lnTo>
                    <a:lnTo>
                      <a:pt x="134" y="177"/>
                    </a:lnTo>
                    <a:lnTo>
                      <a:pt x="134" y="182"/>
                    </a:lnTo>
                    <a:lnTo>
                      <a:pt x="134" y="177"/>
                    </a:lnTo>
                    <a:lnTo>
                      <a:pt x="139" y="177"/>
                    </a:lnTo>
                    <a:lnTo>
                      <a:pt x="139" y="182"/>
                    </a:lnTo>
                    <a:lnTo>
                      <a:pt x="134" y="182"/>
                    </a:lnTo>
                    <a:lnTo>
                      <a:pt x="139" y="187"/>
                    </a:lnTo>
                    <a:lnTo>
                      <a:pt x="139" y="182"/>
                    </a:lnTo>
                    <a:lnTo>
                      <a:pt x="144" y="182"/>
                    </a:lnTo>
                    <a:lnTo>
                      <a:pt x="144" y="187"/>
                    </a:lnTo>
                    <a:lnTo>
                      <a:pt x="148" y="187"/>
                    </a:lnTo>
                    <a:lnTo>
                      <a:pt x="148" y="192"/>
                    </a:lnTo>
                    <a:lnTo>
                      <a:pt x="148" y="196"/>
                    </a:lnTo>
                    <a:lnTo>
                      <a:pt x="144" y="192"/>
                    </a:lnTo>
                    <a:lnTo>
                      <a:pt x="139" y="192"/>
                    </a:lnTo>
                    <a:lnTo>
                      <a:pt x="139" y="187"/>
                    </a:lnTo>
                    <a:lnTo>
                      <a:pt x="134" y="187"/>
                    </a:lnTo>
                    <a:lnTo>
                      <a:pt x="134" y="192"/>
                    </a:lnTo>
                    <a:lnTo>
                      <a:pt x="134" y="187"/>
                    </a:lnTo>
                    <a:lnTo>
                      <a:pt x="134" y="182"/>
                    </a:lnTo>
                    <a:lnTo>
                      <a:pt x="129" y="182"/>
                    </a:lnTo>
                    <a:lnTo>
                      <a:pt x="129" y="177"/>
                    </a:lnTo>
                    <a:lnTo>
                      <a:pt x="124" y="172"/>
                    </a:lnTo>
                    <a:close/>
                    <a:moveTo>
                      <a:pt x="9" y="316"/>
                    </a:moveTo>
                    <a:lnTo>
                      <a:pt x="9" y="312"/>
                    </a:lnTo>
                    <a:lnTo>
                      <a:pt x="9" y="302"/>
                    </a:lnTo>
                    <a:lnTo>
                      <a:pt x="9" y="297"/>
                    </a:lnTo>
                    <a:lnTo>
                      <a:pt x="9" y="288"/>
                    </a:lnTo>
                    <a:lnTo>
                      <a:pt x="14" y="292"/>
                    </a:lnTo>
                    <a:lnTo>
                      <a:pt x="14" y="297"/>
                    </a:lnTo>
                    <a:lnTo>
                      <a:pt x="14" y="302"/>
                    </a:lnTo>
                    <a:lnTo>
                      <a:pt x="19" y="302"/>
                    </a:lnTo>
                    <a:lnTo>
                      <a:pt x="14" y="307"/>
                    </a:lnTo>
                    <a:lnTo>
                      <a:pt x="14" y="302"/>
                    </a:lnTo>
                    <a:lnTo>
                      <a:pt x="14" y="307"/>
                    </a:lnTo>
                    <a:lnTo>
                      <a:pt x="14" y="312"/>
                    </a:lnTo>
                    <a:lnTo>
                      <a:pt x="14" y="316"/>
                    </a:lnTo>
                    <a:lnTo>
                      <a:pt x="9" y="316"/>
                    </a:lnTo>
                    <a:close/>
                    <a:moveTo>
                      <a:pt x="206" y="76"/>
                    </a:moveTo>
                    <a:lnTo>
                      <a:pt x="206" y="72"/>
                    </a:lnTo>
                    <a:lnTo>
                      <a:pt x="211" y="72"/>
                    </a:lnTo>
                    <a:lnTo>
                      <a:pt x="216" y="67"/>
                    </a:lnTo>
                    <a:lnTo>
                      <a:pt x="216" y="62"/>
                    </a:lnTo>
                    <a:lnTo>
                      <a:pt x="211" y="62"/>
                    </a:lnTo>
                    <a:lnTo>
                      <a:pt x="216" y="57"/>
                    </a:lnTo>
                    <a:lnTo>
                      <a:pt x="216" y="62"/>
                    </a:lnTo>
                    <a:lnTo>
                      <a:pt x="220" y="62"/>
                    </a:lnTo>
                    <a:lnTo>
                      <a:pt x="220" y="67"/>
                    </a:lnTo>
                    <a:lnTo>
                      <a:pt x="216" y="76"/>
                    </a:lnTo>
                    <a:lnTo>
                      <a:pt x="211" y="76"/>
                    </a:lnTo>
                    <a:lnTo>
                      <a:pt x="206" y="76"/>
                    </a:lnTo>
                    <a:close/>
                    <a:moveTo>
                      <a:pt x="144" y="67"/>
                    </a:moveTo>
                    <a:lnTo>
                      <a:pt x="148" y="57"/>
                    </a:lnTo>
                    <a:lnTo>
                      <a:pt x="148" y="52"/>
                    </a:lnTo>
                    <a:lnTo>
                      <a:pt x="148" y="48"/>
                    </a:lnTo>
                    <a:lnTo>
                      <a:pt x="148" y="43"/>
                    </a:lnTo>
                    <a:lnTo>
                      <a:pt x="153" y="48"/>
                    </a:lnTo>
                    <a:lnTo>
                      <a:pt x="148" y="48"/>
                    </a:lnTo>
                    <a:lnTo>
                      <a:pt x="148" y="52"/>
                    </a:lnTo>
                    <a:lnTo>
                      <a:pt x="148" y="57"/>
                    </a:lnTo>
                    <a:lnTo>
                      <a:pt x="148" y="62"/>
                    </a:lnTo>
                    <a:lnTo>
                      <a:pt x="144" y="67"/>
                    </a:lnTo>
                    <a:lnTo>
                      <a:pt x="144" y="72"/>
                    </a:lnTo>
                    <a:lnTo>
                      <a:pt x="144" y="67"/>
                    </a:lnTo>
                    <a:close/>
                    <a:moveTo>
                      <a:pt x="187" y="172"/>
                    </a:moveTo>
                    <a:lnTo>
                      <a:pt x="192" y="168"/>
                    </a:lnTo>
                    <a:lnTo>
                      <a:pt x="196" y="163"/>
                    </a:lnTo>
                    <a:lnTo>
                      <a:pt x="196" y="168"/>
                    </a:lnTo>
                    <a:lnTo>
                      <a:pt x="196" y="172"/>
                    </a:lnTo>
                    <a:lnTo>
                      <a:pt x="192" y="172"/>
                    </a:lnTo>
                    <a:lnTo>
                      <a:pt x="192" y="177"/>
                    </a:lnTo>
                    <a:lnTo>
                      <a:pt x="187" y="172"/>
                    </a:lnTo>
                    <a:close/>
                    <a:moveTo>
                      <a:pt x="148" y="38"/>
                    </a:moveTo>
                    <a:lnTo>
                      <a:pt x="153" y="33"/>
                    </a:lnTo>
                    <a:lnTo>
                      <a:pt x="153" y="28"/>
                    </a:lnTo>
                    <a:lnTo>
                      <a:pt x="153" y="33"/>
                    </a:lnTo>
                    <a:lnTo>
                      <a:pt x="153" y="38"/>
                    </a:lnTo>
                    <a:lnTo>
                      <a:pt x="153" y="43"/>
                    </a:lnTo>
                    <a:lnTo>
                      <a:pt x="148" y="43"/>
                    </a:lnTo>
                    <a:lnTo>
                      <a:pt x="148" y="38"/>
                    </a:lnTo>
                    <a:close/>
                    <a:moveTo>
                      <a:pt x="172" y="187"/>
                    </a:moveTo>
                    <a:lnTo>
                      <a:pt x="177" y="187"/>
                    </a:lnTo>
                    <a:lnTo>
                      <a:pt x="177" y="182"/>
                    </a:lnTo>
                    <a:lnTo>
                      <a:pt x="182" y="182"/>
                    </a:lnTo>
                    <a:lnTo>
                      <a:pt x="177" y="187"/>
                    </a:lnTo>
                    <a:lnTo>
                      <a:pt x="177" y="192"/>
                    </a:lnTo>
                    <a:lnTo>
                      <a:pt x="172" y="192"/>
                    </a:lnTo>
                    <a:lnTo>
                      <a:pt x="172" y="187"/>
                    </a:lnTo>
                    <a:close/>
                    <a:moveTo>
                      <a:pt x="134" y="163"/>
                    </a:moveTo>
                    <a:lnTo>
                      <a:pt x="144" y="163"/>
                    </a:lnTo>
                    <a:lnTo>
                      <a:pt x="144" y="168"/>
                    </a:lnTo>
                    <a:lnTo>
                      <a:pt x="134" y="168"/>
                    </a:lnTo>
                    <a:lnTo>
                      <a:pt x="134" y="163"/>
                    </a:lnTo>
                    <a:close/>
                    <a:moveTo>
                      <a:pt x="139" y="76"/>
                    </a:moveTo>
                    <a:lnTo>
                      <a:pt x="144" y="76"/>
                    </a:lnTo>
                    <a:lnTo>
                      <a:pt x="144" y="81"/>
                    </a:lnTo>
                    <a:lnTo>
                      <a:pt x="139" y="81"/>
                    </a:lnTo>
                    <a:lnTo>
                      <a:pt x="139" y="76"/>
                    </a:lnTo>
                    <a:close/>
                    <a:moveTo>
                      <a:pt x="201" y="19"/>
                    </a:moveTo>
                    <a:lnTo>
                      <a:pt x="201" y="28"/>
                    </a:lnTo>
                    <a:lnTo>
                      <a:pt x="202" y="28"/>
                    </a:lnTo>
                    <a:lnTo>
                      <a:pt x="201" y="19"/>
                    </a:lnTo>
                    <a:close/>
                    <a:moveTo>
                      <a:pt x="206" y="14"/>
                    </a:moveTo>
                    <a:lnTo>
                      <a:pt x="211" y="14"/>
                    </a:lnTo>
                    <a:lnTo>
                      <a:pt x="211" y="24"/>
                    </a:lnTo>
                    <a:lnTo>
                      <a:pt x="206" y="24"/>
                    </a:lnTo>
                    <a:lnTo>
                      <a:pt x="206" y="14"/>
                    </a:lnTo>
                    <a:close/>
                    <a:moveTo>
                      <a:pt x="144" y="86"/>
                    </a:moveTo>
                    <a:lnTo>
                      <a:pt x="148" y="86"/>
                    </a:lnTo>
                    <a:lnTo>
                      <a:pt x="148" y="91"/>
                    </a:lnTo>
                    <a:lnTo>
                      <a:pt x="144" y="91"/>
                    </a:lnTo>
                    <a:lnTo>
                      <a:pt x="144" y="86"/>
                    </a:lnTo>
                    <a:close/>
                    <a:moveTo>
                      <a:pt x="38" y="446"/>
                    </a:moveTo>
                    <a:lnTo>
                      <a:pt x="43" y="446"/>
                    </a:lnTo>
                    <a:lnTo>
                      <a:pt x="43" y="451"/>
                    </a:lnTo>
                    <a:lnTo>
                      <a:pt x="38" y="451"/>
                    </a:lnTo>
                    <a:lnTo>
                      <a:pt x="38" y="446"/>
                    </a:lnTo>
                    <a:close/>
                    <a:moveTo>
                      <a:pt x="0" y="451"/>
                    </a:moveTo>
                    <a:lnTo>
                      <a:pt x="0" y="456"/>
                    </a:lnTo>
                    <a:lnTo>
                      <a:pt x="0" y="456"/>
                    </a:lnTo>
                    <a:lnTo>
                      <a:pt x="0" y="451"/>
                    </a:lnTo>
                    <a:close/>
                    <a:moveTo>
                      <a:pt x="129" y="120"/>
                    </a:moveTo>
                    <a:lnTo>
                      <a:pt x="134" y="120"/>
                    </a:lnTo>
                    <a:lnTo>
                      <a:pt x="129" y="120"/>
                    </a:lnTo>
                    <a:close/>
                    <a:moveTo>
                      <a:pt x="28" y="484"/>
                    </a:moveTo>
                    <a:lnTo>
                      <a:pt x="33" y="484"/>
                    </a:lnTo>
                    <a:lnTo>
                      <a:pt x="28" y="484"/>
                    </a:lnTo>
                    <a:close/>
                    <a:moveTo>
                      <a:pt x="72" y="489"/>
                    </a:moveTo>
                    <a:lnTo>
                      <a:pt x="72" y="494"/>
                    </a:lnTo>
                    <a:lnTo>
                      <a:pt x="72" y="494"/>
                    </a:lnTo>
                    <a:lnTo>
                      <a:pt x="72" y="489"/>
                    </a:lnTo>
                    <a:close/>
                    <a:moveTo>
                      <a:pt x="43" y="499"/>
                    </a:moveTo>
                    <a:lnTo>
                      <a:pt x="48" y="499"/>
                    </a:lnTo>
                    <a:lnTo>
                      <a:pt x="48" y="504"/>
                    </a:lnTo>
                    <a:lnTo>
                      <a:pt x="43" y="504"/>
                    </a:lnTo>
                    <a:lnTo>
                      <a:pt x="43" y="499"/>
                    </a:lnTo>
                    <a:close/>
                    <a:moveTo>
                      <a:pt x="19" y="302"/>
                    </a:moveTo>
                    <a:lnTo>
                      <a:pt x="19" y="307"/>
                    </a:lnTo>
                    <a:lnTo>
                      <a:pt x="19" y="307"/>
                    </a:lnTo>
                    <a:lnTo>
                      <a:pt x="19" y="302"/>
                    </a:lnTo>
                    <a:close/>
                    <a:moveTo>
                      <a:pt x="134" y="91"/>
                    </a:moveTo>
                    <a:lnTo>
                      <a:pt x="139" y="91"/>
                    </a:lnTo>
                    <a:lnTo>
                      <a:pt x="134" y="91"/>
                    </a:lnTo>
                    <a:close/>
                    <a:moveTo>
                      <a:pt x="153" y="187"/>
                    </a:moveTo>
                    <a:lnTo>
                      <a:pt x="153" y="192"/>
                    </a:lnTo>
                    <a:lnTo>
                      <a:pt x="154" y="192"/>
                    </a:lnTo>
                    <a:lnTo>
                      <a:pt x="153" y="187"/>
                    </a:lnTo>
                    <a:close/>
                    <a:moveTo>
                      <a:pt x="148" y="57"/>
                    </a:moveTo>
                    <a:lnTo>
                      <a:pt x="153" y="57"/>
                    </a:lnTo>
                    <a:lnTo>
                      <a:pt x="153" y="62"/>
                    </a:lnTo>
                    <a:lnTo>
                      <a:pt x="148" y="62"/>
                    </a:lnTo>
                    <a:lnTo>
                      <a:pt x="148" y="57"/>
                    </a:lnTo>
                    <a:close/>
                    <a:moveTo>
                      <a:pt x="124" y="158"/>
                    </a:moveTo>
                    <a:lnTo>
                      <a:pt x="129" y="158"/>
                    </a:lnTo>
                    <a:lnTo>
                      <a:pt x="129" y="163"/>
                    </a:lnTo>
                    <a:lnTo>
                      <a:pt x="124" y="163"/>
                    </a:lnTo>
                    <a:lnTo>
                      <a:pt x="124" y="158"/>
                    </a:lnTo>
                    <a:close/>
                  </a:path>
                </a:pathLst>
              </a:custGeom>
              <a:solidFill>
                <a:schemeClr val="accent6">
                  <a:lumMod val="40000"/>
                  <a:lumOff val="6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44" name="Freeform 12"/>
              <p:cNvSpPr>
                <a:spLocks noEditPoints="1"/>
              </p:cNvSpPr>
              <p:nvPr/>
            </p:nvSpPr>
            <p:spPr bwMode="gray">
              <a:xfrm>
                <a:off x="5481638" y="4151313"/>
                <a:ext cx="1562100" cy="1470025"/>
              </a:xfrm>
              <a:custGeom>
                <a:avLst/>
                <a:gdLst>
                  <a:gd name="T0" fmla="*/ 91 w 984"/>
                  <a:gd name="T1" fmla="*/ 566 h 926"/>
                  <a:gd name="T2" fmla="*/ 106 w 984"/>
                  <a:gd name="T3" fmla="*/ 518 h 926"/>
                  <a:gd name="T4" fmla="*/ 135 w 984"/>
                  <a:gd name="T5" fmla="*/ 489 h 926"/>
                  <a:gd name="T6" fmla="*/ 144 w 984"/>
                  <a:gd name="T7" fmla="*/ 441 h 926"/>
                  <a:gd name="T8" fmla="*/ 163 w 984"/>
                  <a:gd name="T9" fmla="*/ 393 h 926"/>
                  <a:gd name="T10" fmla="*/ 178 w 984"/>
                  <a:gd name="T11" fmla="*/ 345 h 926"/>
                  <a:gd name="T12" fmla="*/ 154 w 984"/>
                  <a:gd name="T13" fmla="*/ 307 h 926"/>
                  <a:gd name="T14" fmla="*/ 159 w 984"/>
                  <a:gd name="T15" fmla="*/ 259 h 926"/>
                  <a:gd name="T16" fmla="*/ 173 w 984"/>
                  <a:gd name="T17" fmla="*/ 211 h 926"/>
                  <a:gd name="T18" fmla="*/ 187 w 984"/>
                  <a:gd name="T19" fmla="*/ 168 h 926"/>
                  <a:gd name="T20" fmla="*/ 221 w 984"/>
                  <a:gd name="T21" fmla="*/ 125 h 926"/>
                  <a:gd name="T22" fmla="*/ 250 w 984"/>
                  <a:gd name="T23" fmla="*/ 86 h 926"/>
                  <a:gd name="T24" fmla="*/ 274 w 984"/>
                  <a:gd name="T25" fmla="*/ 43 h 926"/>
                  <a:gd name="T26" fmla="*/ 307 w 984"/>
                  <a:gd name="T27" fmla="*/ 9 h 926"/>
                  <a:gd name="T28" fmla="*/ 346 w 984"/>
                  <a:gd name="T29" fmla="*/ 19 h 926"/>
                  <a:gd name="T30" fmla="*/ 374 w 984"/>
                  <a:gd name="T31" fmla="*/ 57 h 926"/>
                  <a:gd name="T32" fmla="*/ 427 w 984"/>
                  <a:gd name="T33" fmla="*/ 81 h 926"/>
                  <a:gd name="T34" fmla="*/ 485 w 984"/>
                  <a:gd name="T35" fmla="*/ 110 h 926"/>
                  <a:gd name="T36" fmla="*/ 542 w 984"/>
                  <a:gd name="T37" fmla="*/ 139 h 926"/>
                  <a:gd name="T38" fmla="*/ 576 w 984"/>
                  <a:gd name="T39" fmla="*/ 173 h 926"/>
                  <a:gd name="T40" fmla="*/ 614 w 984"/>
                  <a:gd name="T41" fmla="*/ 158 h 926"/>
                  <a:gd name="T42" fmla="*/ 648 w 984"/>
                  <a:gd name="T43" fmla="*/ 144 h 926"/>
                  <a:gd name="T44" fmla="*/ 696 w 984"/>
                  <a:gd name="T45" fmla="*/ 129 h 926"/>
                  <a:gd name="T46" fmla="*/ 749 w 984"/>
                  <a:gd name="T47" fmla="*/ 120 h 926"/>
                  <a:gd name="T48" fmla="*/ 797 w 984"/>
                  <a:gd name="T49" fmla="*/ 120 h 926"/>
                  <a:gd name="T50" fmla="*/ 787 w 984"/>
                  <a:gd name="T51" fmla="*/ 144 h 926"/>
                  <a:gd name="T52" fmla="*/ 787 w 984"/>
                  <a:gd name="T53" fmla="*/ 192 h 926"/>
                  <a:gd name="T54" fmla="*/ 811 w 984"/>
                  <a:gd name="T55" fmla="*/ 230 h 926"/>
                  <a:gd name="T56" fmla="*/ 830 w 984"/>
                  <a:gd name="T57" fmla="*/ 269 h 926"/>
                  <a:gd name="T58" fmla="*/ 859 w 984"/>
                  <a:gd name="T59" fmla="*/ 317 h 926"/>
                  <a:gd name="T60" fmla="*/ 840 w 984"/>
                  <a:gd name="T61" fmla="*/ 312 h 926"/>
                  <a:gd name="T62" fmla="*/ 854 w 984"/>
                  <a:gd name="T63" fmla="*/ 355 h 926"/>
                  <a:gd name="T64" fmla="*/ 859 w 984"/>
                  <a:gd name="T65" fmla="*/ 384 h 926"/>
                  <a:gd name="T66" fmla="*/ 874 w 984"/>
                  <a:gd name="T67" fmla="*/ 374 h 926"/>
                  <a:gd name="T68" fmla="*/ 888 w 984"/>
                  <a:gd name="T69" fmla="*/ 389 h 926"/>
                  <a:gd name="T70" fmla="*/ 893 w 984"/>
                  <a:gd name="T71" fmla="*/ 432 h 926"/>
                  <a:gd name="T72" fmla="*/ 888 w 984"/>
                  <a:gd name="T73" fmla="*/ 480 h 926"/>
                  <a:gd name="T74" fmla="*/ 902 w 984"/>
                  <a:gd name="T75" fmla="*/ 494 h 926"/>
                  <a:gd name="T76" fmla="*/ 922 w 984"/>
                  <a:gd name="T77" fmla="*/ 537 h 926"/>
                  <a:gd name="T78" fmla="*/ 926 w 984"/>
                  <a:gd name="T79" fmla="*/ 581 h 926"/>
                  <a:gd name="T80" fmla="*/ 950 w 984"/>
                  <a:gd name="T81" fmla="*/ 619 h 926"/>
                  <a:gd name="T82" fmla="*/ 931 w 984"/>
                  <a:gd name="T83" fmla="*/ 648 h 926"/>
                  <a:gd name="T84" fmla="*/ 946 w 984"/>
                  <a:gd name="T85" fmla="*/ 662 h 926"/>
                  <a:gd name="T86" fmla="*/ 898 w 984"/>
                  <a:gd name="T87" fmla="*/ 777 h 926"/>
                  <a:gd name="T88" fmla="*/ 384 w 984"/>
                  <a:gd name="T89" fmla="*/ 912 h 926"/>
                  <a:gd name="T90" fmla="*/ 341 w 984"/>
                  <a:gd name="T91" fmla="*/ 864 h 926"/>
                  <a:gd name="T92" fmla="*/ 303 w 984"/>
                  <a:gd name="T93" fmla="*/ 840 h 926"/>
                  <a:gd name="T94" fmla="*/ 250 w 984"/>
                  <a:gd name="T95" fmla="*/ 825 h 926"/>
                  <a:gd name="T96" fmla="*/ 197 w 984"/>
                  <a:gd name="T97" fmla="*/ 797 h 926"/>
                  <a:gd name="T98" fmla="*/ 144 w 984"/>
                  <a:gd name="T99" fmla="*/ 773 h 926"/>
                  <a:gd name="T100" fmla="*/ 91 w 984"/>
                  <a:gd name="T101" fmla="*/ 749 h 926"/>
                  <a:gd name="T102" fmla="*/ 34 w 984"/>
                  <a:gd name="T103" fmla="*/ 729 h 926"/>
                  <a:gd name="T104" fmla="*/ 10 w 984"/>
                  <a:gd name="T105" fmla="*/ 705 h 926"/>
                  <a:gd name="T106" fmla="*/ 19 w 984"/>
                  <a:gd name="T107" fmla="*/ 662 h 926"/>
                  <a:gd name="T108" fmla="*/ 39 w 984"/>
                  <a:gd name="T109" fmla="*/ 619 h 926"/>
                  <a:gd name="T110" fmla="*/ 859 w 984"/>
                  <a:gd name="T111" fmla="*/ 336 h 926"/>
                  <a:gd name="T112" fmla="*/ 850 w 984"/>
                  <a:gd name="T113" fmla="*/ 192 h 926"/>
                  <a:gd name="T114" fmla="*/ 859 w 984"/>
                  <a:gd name="T115" fmla="*/ 365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4" h="926">
                    <a:moveTo>
                      <a:pt x="67" y="595"/>
                    </a:moveTo>
                    <a:lnTo>
                      <a:pt x="67" y="590"/>
                    </a:lnTo>
                    <a:lnTo>
                      <a:pt x="72" y="590"/>
                    </a:lnTo>
                    <a:lnTo>
                      <a:pt x="77" y="590"/>
                    </a:lnTo>
                    <a:lnTo>
                      <a:pt x="77" y="585"/>
                    </a:lnTo>
                    <a:lnTo>
                      <a:pt x="77" y="581"/>
                    </a:lnTo>
                    <a:lnTo>
                      <a:pt x="82" y="581"/>
                    </a:lnTo>
                    <a:lnTo>
                      <a:pt x="82" y="576"/>
                    </a:lnTo>
                    <a:lnTo>
                      <a:pt x="82" y="571"/>
                    </a:lnTo>
                    <a:lnTo>
                      <a:pt x="87" y="571"/>
                    </a:lnTo>
                    <a:lnTo>
                      <a:pt x="87" y="566"/>
                    </a:lnTo>
                    <a:lnTo>
                      <a:pt x="91" y="566"/>
                    </a:lnTo>
                    <a:lnTo>
                      <a:pt x="91" y="561"/>
                    </a:lnTo>
                    <a:lnTo>
                      <a:pt x="91" y="557"/>
                    </a:lnTo>
                    <a:lnTo>
                      <a:pt x="91" y="552"/>
                    </a:lnTo>
                    <a:lnTo>
                      <a:pt x="96" y="547"/>
                    </a:lnTo>
                    <a:lnTo>
                      <a:pt x="96" y="542"/>
                    </a:lnTo>
                    <a:lnTo>
                      <a:pt x="96" y="537"/>
                    </a:lnTo>
                    <a:lnTo>
                      <a:pt x="96" y="533"/>
                    </a:lnTo>
                    <a:lnTo>
                      <a:pt x="96" y="528"/>
                    </a:lnTo>
                    <a:lnTo>
                      <a:pt x="101" y="528"/>
                    </a:lnTo>
                    <a:lnTo>
                      <a:pt x="101" y="523"/>
                    </a:lnTo>
                    <a:lnTo>
                      <a:pt x="101" y="518"/>
                    </a:lnTo>
                    <a:lnTo>
                      <a:pt x="106" y="518"/>
                    </a:lnTo>
                    <a:lnTo>
                      <a:pt x="106" y="513"/>
                    </a:lnTo>
                    <a:lnTo>
                      <a:pt x="111" y="513"/>
                    </a:lnTo>
                    <a:lnTo>
                      <a:pt x="111" y="509"/>
                    </a:lnTo>
                    <a:lnTo>
                      <a:pt x="115" y="509"/>
                    </a:lnTo>
                    <a:lnTo>
                      <a:pt x="115" y="504"/>
                    </a:lnTo>
                    <a:lnTo>
                      <a:pt x="120" y="504"/>
                    </a:lnTo>
                    <a:lnTo>
                      <a:pt x="120" y="499"/>
                    </a:lnTo>
                    <a:lnTo>
                      <a:pt x="125" y="499"/>
                    </a:lnTo>
                    <a:lnTo>
                      <a:pt x="125" y="494"/>
                    </a:lnTo>
                    <a:lnTo>
                      <a:pt x="130" y="494"/>
                    </a:lnTo>
                    <a:lnTo>
                      <a:pt x="135" y="494"/>
                    </a:lnTo>
                    <a:lnTo>
                      <a:pt x="135" y="489"/>
                    </a:lnTo>
                    <a:lnTo>
                      <a:pt x="139" y="489"/>
                    </a:lnTo>
                    <a:lnTo>
                      <a:pt x="139" y="485"/>
                    </a:lnTo>
                    <a:lnTo>
                      <a:pt x="139" y="480"/>
                    </a:lnTo>
                    <a:lnTo>
                      <a:pt x="135" y="475"/>
                    </a:lnTo>
                    <a:lnTo>
                      <a:pt x="135" y="470"/>
                    </a:lnTo>
                    <a:lnTo>
                      <a:pt x="135" y="465"/>
                    </a:lnTo>
                    <a:lnTo>
                      <a:pt x="135" y="461"/>
                    </a:lnTo>
                    <a:lnTo>
                      <a:pt x="135" y="456"/>
                    </a:lnTo>
                    <a:lnTo>
                      <a:pt x="135" y="451"/>
                    </a:lnTo>
                    <a:lnTo>
                      <a:pt x="135" y="446"/>
                    </a:lnTo>
                    <a:lnTo>
                      <a:pt x="139" y="446"/>
                    </a:lnTo>
                    <a:lnTo>
                      <a:pt x="144" y="441"/>
                    </a:lnTo>
                    <a:lnTo>
                      <a:pt x="149" y="437"/>
                    </a:lnTo>
                    <a:lnTo>
                      <a:pt x="154" y="437"/>
                    </a:lnTo>
                    <a:lnTo>
                      <a:pt x="154" y="432"/>
                    </a:lnTo>
                    <a:lnTo>
                      <a:pt x="159" y="427"/>
                    </a:lnTo>
                    <a:lnTo>
                      <a:pt x="159" y="422"/>
                    </a:lnTo>
                    <a:lnTo>
                      <a:pt x="154" y="417"/>
                    </a:lnTo>
                    <a:lnTo>
                      <a:pt x="154" y="413"/>
                    </a:lnTo>
                    <a:lnTo>
                      <a:pt x="154" y="408"/>
                    </a:lnTo>
                    <a:lnTo>
                      <a:pt x="154" y="403"/>
                    </a:lnTo>
                    <a:lnTo>
                      <a:pt x="159" y="398"/>
                    </a:lnTo>
                    <a:lnTo>
                      <a:pt x="159" y="393"/>
                    </a:lnTo>
                    <a:lnTo>
                      <a:pt x="163" y="393"/>
                    </a:lnTo>
                    <a:lnTo>
                      <a:pt x="168" y="389"/>
                    </a:lnTo>
                    <a:lnTo>
                      <a:pt x="168" y="384"/>
                    </a:lnTo>
                    <a:lnTo>
                      <a:pt x="173" y="384"/>
                    </a:lnTo>
                    <a:lnTo>
                      <a:pt x="173" y="379"/>
                    </a:lnTo>
                    <a:lnTo>
                      <a:pt x="178" y="379"/>
                    </a:lnTo>
                    <a:lnTo>
                      <a:pt x="178" y="374"/>
                    </a:lnTo>
                    <a:lnTo>
                      <a:pt x="183" y="369"/>
                    </a:lnTo>
                    <a:lnTo>
                      <a:pt x="183" y="365"/>
                    </a:lnTo>
                    <a:lnTo>
                      <a:pt x="183" y="360"/>
                    </a:lnTo>
                    <a:lnTo>
                      <a:pt x="183" y="355"/>
                    </a:lnTo>
                    <a:lnTo>
                      <a:pt x="178" y="350"/>
                    </a:lnTo>
                    <a:lnTo>
                      <a:pt x="178" y="345"/>
                    </a:lnTo>
                    <a:lnTo>
                      <a:pt x="173" y="341"/>
                    </a:lnTo>
                    <a:lnTo>
                      <a:pt x="173" y="336"/>
                    </a:lnTo>
                    <a:lnTo>
                      <a:pt x="168" y="336"/>
                    </a:lnTo>
                    <a:lnTo>
                      <a:pt x="168" y="331"/>
                    </a:lnTo>
                    <a:lnTo>
                      <a:pt x="163" y="331"/>
                    </a:lnTo>
                    <a:lnTo>
                      <a:pt x="163" y="326"/>
                    </a:lnTo>
                    <a:lnTo>
                      <a:pt x="163" y="321"/>
                    </a:lnTo>
                    <a:lnTo>
                      <a:pt x="163" y="317"/>
                    </a:lnTo>
                    <a:lnTo>
                      <a:pt x="159" y="317"/>
                    </a:lnTo>
                    <a:lnTo>
                      <a:pt x="159" y="312"/>
                    </a:lnTo>
                    <a:lnTo>
                      <a:pt x="154" y="312"/>
                    </a:lnTo>
                    <a:lnTo>
                      <a:pt x="154" y="307"/>
                    </a:lnTo>
                    <a:lnTo>
                      <a:pt x="149" y="302"/>
                    </a:lnTo>
                    <a:lnTo>
                      <a:pt x="149" y="297"/>
                    </a:lnTo>
                    <a:lnTo>
                      <a:pt x="149" y="293"/>
                    </a:lnTo>
                    <a:lnTo>
                      <a:pt x="144" y="293"/>
                    </a:lnTo>
                    <a:lnTo>
                      <a:pt x="149" y="288"/>
                    </a:lnTo>
                    <a:lnTo>
                      <a:pt x="149" y="283"/>
                    </a:lnTo>
                    <a:lnTo>
                      <a:pt x="154" y="278"/>
                    </a:lnTo>
                    <a:lnTo>
                      <a:pt x="154" y="273"/>
                    </a:lnTo>
                    <a:lnTo>
                      <a:pt x="154" y="269"/>
                    </a:lnTo>
                    <a:lnTo>
                      <a:pt x="159" y="269"/>
                    </a:lnTo>
                    <a:lnTo>
                      <a:pt x="159" y="264"/>
                    </a:lnTo>
                    <a:lnTo>
                      <a:pt x="159" y="259"/>
                    </a:lnTo>
                    <a:lnTo>
                      <a:pt x="163" y="259"/>
                    </a:lnTo>
                    <a:lnTo>
                      <a:pt x="163" y="254"/>
                    </a:lnTo>
                    <a:lnTo>
                      <a:pt x="163" y="249"/>
                    </a:lnTo>
                    <a:lnTo>
                      <a:pt x="163" y="245"/>
                    </a:lnTo>
                    <a:lnTo>
                      <a:pt x="163" y="240"/>
                    </a:lnTo>
                    <a:lnTo>
                      <a:pt x="168" y="240"/>
                    </a:lnTo>
                    <a:lnTo>
                      <a:pt x="168" y="235"/>
                    </a:lnTo>
                    <a:lnTo>
                      <a:pt x="173" y="230"/>
                    </a:lnTo>
                    <a:lnTo>
                      <a:pt x="173" y="225"/>
                    </a:lnTo>
                    <a:lnTo>
                      <a:pt x="173" y="221"/>
                    </a:lnTo>
                    <a:lnTo>
                      <a:pt x="173" y="216"/>
                    </a:lnTo>
                    <a:lnTo>
                      <a:pt x="173" y="211"/>
                    </a:lnTo>
                    <a:lnTo>
                      <a:pt x="168" y="206"/>
                    </a:lnTo>
                    <a:lnTo>
                      <a:pt x="168" y="201"/>
                    </a:lnTo>
                    <a:lnTo>
                      <a:pt x="168" y="197"/>
                    </a:lnTo>
                    <a:lnTo>
                      <a:pt x="168" y="192"/>
                    </a:lnTo>
                    <a:lnTo>
                      <a:pt x="163" y="187"/>
                    </a:lnTo>
                    <a:lnTo>
                      <a:pt x="168" y="187"/>
                    </a:lnTo>
                    <a:lnTo>
                      <a:pt x="173" y="182"/>
                    </a:lnTo>
                    <a:lnTo>
                      <a:pt x="173" y="177"/>
                    </a:lnTo>
                    <a:lnTo>
                      <a:pt x="178" y="177"/>
                    </a:lnTo>
                    <a:lnTo>
                      <a:pt x="183" y="173"/>
                    </a:lnTo>
                    <a:lnTo>
                      <a:pt x="183" y="168"/>
                    </a:lnTo>
                    <a:lnTo>
                      <a:pt x="187" y="168"/>
                    </a:lnTo>
                    <a:lnTo>
                      <a:pt x="187" y="163"/>
                    </a:lnTo>
                    <a:lnTo>
                      <a:pt x="192" y="163"/>
                    </a:lnTo>
                    <a:lnTo>
                      <a:pt x="192" y="158"/>
                    </a:lnTo>
                    <a:lnTo>
                      <a:pt x="192" y="153"/>
                    </a:lnTo>
                    <a:lnTo>
                      <a:pt x="197" y="149"/>
                    </a:lnTo>
                    <a:lnTo>
                      <a:pt x="202" y="144"/>
                    </a:lnTo>
                    <a:lnTo>
                      <a:pt x="207" y="139"/>
                    </a:lnTo>
                    <a:lnTo>
                      <a:pt x="211" y="139"/>
                    </a:lnTo>
                    <a:lnTo>
                      <a:pt x="211" y="134"/>
                    </a:lnTo>
                    <a:lnTo>
                      <a:pt x="216" y="134"/>
                    </a:lnTo>
                    <a:lnTo>
                      <a:pt x="216" y="129"/>
                    </a:lnTo>
                    <a:lnTo>
                      <a:pt x="221" y="125"/>
                    </a:lnTo>
                    <a:lnTo>
                      <a:pt x="221" y="120"/>
                    </a:lnTo>
                    <a:lnTo>
                      <a:pt x="221" y="115"/>
                    </a:lnTo>
                    <a:lnTo>
                      <a:pt x="221" y="110"/>
                    </a:lnTo>
                    <a:lnTo>
                      <a:pt x="226" y="110"/>
                    </a:lnTo>
                    <a:lnTo>
                      <a:pt x="226" y="105"/>
                    </a:lnTo>
                    <a:lnTo>
                      <a:pt x="231" y="105"/>
                    </a:lnTo>
                    <a:lnTo>
                      <a:pt x="235" y="101"/>
                    </a:lnTo>
                    <a:lnTo>
                      <a:pt x="235" y="96"/>
                    </a:lnTo>
                    <a:lnTo>
                      <a:pt x="240" y="96"/>
                    </a:lnTo>
                    <a:lnTo>
                      <a:pt x="245" y="91"/>
                    </a:lnTo>
                    <a:lnTo>
                      <a:pt x="250" y="91"/>
                    </a:lnTo>
                    <a:lnTo>
                      <a:pt x="250" y="86"/>
                    </a:lnTo>
                    <a:lnTo>
                      <a:pt x="255" y="86"/>
                    </a:lnTo>
                    <a:lnTo>
                      <a:pt x="255" y="81"/>
                    </a:lnTo>
                    <a:lnTo>
                      <a:pt x="255" y="77"/>
                    </a:lnTo>
                    <a:lnTo>
                      <a:pt x="259" y="72"/>
                    </a:lnTo>
                    <a:lnTo>
                      <a:pt x="259" y="67"/>
                    </a:lnTo>
                    <a:lnTo>
                      <a:pt x="264" y="67"/>
                    </a:lnTo>
                    <a:lnTo>
                      <a:pt x="269" y="62"/>
                    </a:lnTo>
                    <a:lnTo>
                      <a:pt x="269" y="57"/>
                    </a:lnTo>
                    <a:lnTo>
                      <a:pt x="269" y="53"/>
                    </a:lnTo>
                    <a:lnTo>
                      <a:pt x="274" y="53"/>
                    </a:lnTo>
                    <a:lnTo>
                      <a:pt x="274" y="48"/>
                    </a:lnTo>
                    <a:lnTo>
                      <a:pt x="274" y="43"/>
                    </a:lnTo>
                    <a:lnTo>
                      <a:pt x="279" y="38"/>
                    </a:lnTo>
                    <a:lnTo>
                      <a:pt x="283" y="38"/>
                    </a:lnTo>
                    <a:lnTo>
                      <a:pt x="283" y="33"/>
                    </a:lnTo>
                    <a:lnTo>
                      <a:pt x="283" y="29"/>
                    </a:lnTo>
                    <a:lnTo>
                      <a:pt x="288" y="29"/>
                    </a:lnTo>
                    <a:lnTo>
                      <a:pt x="293" y="29"/>
                    </a:lnTo>
                    <a:lnTo>
                      <a:pt x="293" y="24"/>
                    </a:lnTo>
                    <a:lnTo>
                      <a:pt x="298" y="24"/>
                    </a:lnTo>
                    <a:lnTo>
                      <a:pt x="298" y="19"/>
                    </a:lnTo>
                    <a:lnTo>
                      <a:pt x="303" y="19"/>
                    </a:lnTo>
                    <a:lnTo>
                      <a:pt x="303" y="14"/>
                    </a:lnTo>
                    <a:lnTo>
                      <a:pt x="307" y="9"/>
                    </a:lnTo>
                    <a:lnTo>
                      <a:pt x="312" y="5"/>
                    </a:lnTo>
                    <a:lnTo>
                      <a:pt x="312" y="0"/>
                    </a:lnTo>
                    <a:lnTo>
                      <a:pt x="312" y="5"/>
                    </a:lnTo>
                    <a:lnTo>
                      <a:pt x="317" y="5"/>
                    </a:lnTo>
                    <a:lnTo>
                      <a:pt x="322" y="5"/>
                    </a:lnTo>
                    <a:lnTo>
                      <a:pt x="327" y="5"/>
                    </a:lnTo>
                    <a:lnTo>
                      <a:pt x="331" y="9"/>
                    </a:lnTo>
                    <a:lnTo>
                      <a:pt x="336" y="9"/>
                    </a:lnTo>
                    <a:lnTo>
                      <a:pt x="336" y="14"/>
                    </a:lnTo>
                    <a:lnTo>
                      <a:pt x="341" y="14"/>
                    </a:lnTo>
                    <a:lnTo>
                      <a:pt x="341" y="19"/>
                    </a:lnTo>
                    <a:lnTo>
                      <a:pt x="346" y="19"/>
                    </a:lnTo>
                    <a:lnTo>
                      <a:pt x="346" y="24"/>
                    </a:lnTo>
                    <a:lnTo>
                      <a:pt x="350" y="29"/>
                    </a:lnTo>
                    <a:lnTo>
                      <a:pt x="350" y="33"/>
                    </a:lnTo>
                    <a:lnTo>
                      <a:pt x="350" y="38"/>
                    </a:lnTo>
                    <a:lnTo>
                      <a:pt x="355" y="38"/>
                    </a:lnTo>
                    <a:lnTo>
                      <a:pt x="360" y="43"/>
                    </a:lnTo>
                    <a:lnTo>
                      <a:pt x="360" y="48"/>
                    </a:lnTo>
                    <a:lnTo>
                      <a:pt x="365" y="48"/>
                    </a:lnTo>
                    <a:lnTo>
                      <a:pt x="365" y="53"/>
                    </a:lnTo>
                    <a:lnTo>
                      <a:pt x="370" y="53"/>
                    </a:lnTo>
                    <a:lnTo>
                      <a:pt x="370" y="57"/>
                    </a:lnTo>
                    <a:lnTo>
                      <a:pt x="374" y="57"/>
                    </a:lnTo>
                    <a:lnTo>
                      <a:pt x="379" y="62"/>
                    </a:lnTo>
                    <a:lnTo>
                      <a:pt x="384" y="62"/>
                    </a:lnTo>
                    <a:lnTo>
                      <a:pt x="389" y="67"/>
                    </a:lnTo>
                    <a:lnTo>
                      <a:pt x="394" y="67"/>
                    </a:lnTo>
                    <a:lnTo>
                      <a:pt x="398" y="67"/>
                    </a:lnTo>
                    <a:lnTo>
                      <a:pt x="403" y="72"/>
                    </a:lnTo>
                    <a:lnTo>
                      <a:pt x="408" y="72"/>
                    </a:lnTo>
                    <a:lnTo>
                      <a:pt x="413" y="77"/>
                    </a:lnTo>
                    <a:lnTo>
                      <a:pt x="418" y="77"/>
                    </a:lnTo>
                    <a:lnTo>
                      <a:pt x="418" y="81"/>
                    </a:lnTo>
                    <a:lnTo>
                      <a:pt x="422" y="81"/>
                    </a:lnTo>
                    <a:lnTo>
                      <a:pt x="427" y="81"/>
                    </a:lnTo>
                    <a:lnTo>
                      <a:pt x="432" y="86"/>
                    </a:lnTo>
                    <a:lnTo>
                      <a:pt x="437" y="86"/>
                    </a:lnTo>
                    <a:lnTo>
                      <a:pt x="442" y="91"/>
                    </a:lnTo>
                    <a:lnTo>
                      <a:pt x="446" y="91"/>
                    </a:lnTo>
                    <a:lnTo>
                      <a:pt x="451" y="96"/>
                    </a:lnTo>
                    <a:lnTo>
                      <a:pt x="456" y="96"/>
                    </a:lnTo>
                    <a:lnTo>
                      <a:pt x="461" y="96"/>
                    </a:lnTo>
                    <a:lnTo>
                      <a:pt x="466" y="101"/>
                    </a:lnTo>
                    <a:lnTo>
                      <a:pt x="470" y="105"/>
                    </a:lnTo>
                    <a:lnTo>
                      <a:pt x="475" y="105"/>
                    </a:lnTo>
                    <a:lnTo>
                      <a:pt x="480" y="110"/>
                    </a:lnTo>
                    <a:lnTo>
                      <a:pt x="485" y="110"/>
                    </a:lnTo>
                    <a:lnTo>
                      <a:pt x="490" y="115"/>
                    </a:lnTo>
                    <a:lnTo>
                      <a:pt x="494" y="115"/>
                    </a:lnTo>
                    <a:lnTo>
                      <a:pt x="499" y="115"/>
                    </a:lnTo>
                    <a:lnTo>
                      <a:pt x="504" y="120"/>
                    </a:lnTo>
                    <a:lnTo>
                      <a:pt x="509" y="120"/>
                    </a:lnTo>
                    <a:lnTo>
                      <a:pt x="514" y="125"/>
                    </a:lnTo>
                    <a:lnTo>
                      <a:pt x="518" y="129"/>
                    </a:lnTo>
                    <a:lnTo>
                      <a:pt x="523" y="129"/>
                    </a:lnTo>
                    <a:lnTo>
                      <a:pt x="528" y="129"/>
                    </a:lnTo>
                    <a:lnTo>
                      <a:pt x="533" y="134"/>
                    </a:lnTo>
                    <a:lnTo>
                      <a:pt x="538" y="134"/>
                    </a:lnTo>
                    <a:lnTo>
                      <a:pt x="542" y="139"/>
                    </a:lnTo>
                    <a:lnTo>
                      <a:pt x="547" y="139"/>
                    </a:lnTo>
                    <a:lnTo>
                      <a:pt x="547" y="144"/>
                    </a:lnTo>
                    <a:lnTo>
                      <a:pt x="552" y="149"/>
                    </a:lnTo>
                    <a:lnTo>
                      <a:pt x="552" y="153"/>
                    </a:lnTo>
                    <a:lnTo>
                      <a:pt x="552" y="158"/>
                    </a:lnTo>
                    <a:lnTo>
                      <a:pt x="552" y="163"/>
                    </a:lnTo>
                    <a:lnTo>
                      <a:pt x="557" y="163"/>
                    </a:lnTo>
                    <a:lnTo>
                      <a:pt x="562" y="168"/>
                    </a:lnTo>
                    <a:lnTo>
                      <a:pt x="566" y="168"/>
                    </a:lnTo>
                    <a:lnTo>
                      <a:pt x="571" y="168"/>
                    </a:lnTo>
                    <a:lnTo>
                      <a:pt x="571" y="173"/>
                    </a:lnTo>
                    <a:lnTo>
                      <a:pt x="576" y="173"/>
                    </a:lnTo>
                    <a:lnTo>
                      <a:pt x="581" y="173"/>
                    </a:lnTo>
                    <a:lnTo>
                      <a:pt x="586" y="173"/>
                    </a:lnTo>
                    <a:lnTo>
                      <a:pt x="590" y="177"/>
                    </a:lnTo>
                    <a:lnTo>
                      <a:pt x="595" y="177"/>
                    </a:lnTo>
                    <a:lnTo>
                      <a:pt x="595" y="173"/>
                    </a:lnTo>
                    <a:lnTo>
                      <a:pt x="595" y="168"/>
                    </a:lnTo>
                    <a:lnTo>
                      <a:pt x="595" y="163"/>
                    </a:lnTo>
                    <a:lnTo>
                      <a:pt x="595" y="158"/>
                    </a:lnTo>
                    <a:lnTo>
                      <a:pt x="600" y="153"/>
                    </a:lnTo>
                    <a:lnTo>
                      <a:pt x="605" y="153"/>
                    </a:lnTo>
                    <a:lnTo>
                      <a:pt x="610" y="153"/>
                    </a:lnTo>
                    <a:lnTo>
                      <a:pt x="614" y="158"/>
                    </a:lnTo>
                    <a:lnTo>
                      <a:pt x="619" y="158"/>
                    </a:lnTo>
                    <a:lnTo>
                      <a:pt x="624" y="158"/>
                    </a:lnTo>
                    <a:lnTo>
                      <a:pt x="624" y="163"/>
                    </a:lnTo>
                    <a:lnTo>
                      <a:pt x="629" y="163"/>
                    </a:lnTo>
                    <a:lnTo>
                      <a:pt x="629" y="158"/>
                    </a:lnTo>
                    <a:lnTo>
                      <a:pt x="634" y="158"/>
                    </a:lnTo>
                    <a:lnTo>
                      <a:pt x="634" y="153"/>
                    </a:lnTo>
                    <a:lnTo>
                      <a:pt x="634" y="149"/>
                    </a:lnTo>
                    <a:lnTo>
                      <a:pt x="634" y="144"/>
                    </a:lnTo>
                    <a:lnTo>
                      <a:pt x="638" y="144"/>
                    </a:lnTo>
                    <a:lnTo>
                      <a:pt x="643" y="144"/>
                    </a:lnTo>
                    <a:lnTo>
                      <a:pt x="648" y="144"/>
                    </a:lnTo>
                    <a:lnTo>
                      <a:pt x="648" y="139"/>
                    </a:lnTo>
                    <a:lnTo>
                      <a:pt x="653" y="139"/>
                    </a:lnTo>
                    <a:lnTo>
                      <a:pt x="658" y="139"/>
                    </a:lnTo>
                    <a:lnTo>
                      <a:pt x="662" y="139"/>
                    </a:lnTo>
                    <a:lnTo>
                      <a:pt x="667" y="139"/>
                    </a:lnTo>
                    <a:lnTo>
                      <a:pt x="672" y="139"/>
                    </a:lnTo>
                    <a:lnTo>
                      <a:pt x="677" y="134"/>
                    </a:lnTo>
                    <a:lnTo>
                      <a:pt x="682" y="134"/>
                    </a:lnTo>
                    <a:lnTo>
                      <a:pt x="686" y="134"/>
                    </a:lnTo>
                    <a:lnTo>
                      <a:pt x="691" y="134"/>
                    </a:lnTo>
                    <a:lnTo>
                      <a:pt x="696" y="134"/>
                    </a:lnTo>
                    <a:lnTo>
                      <a:pt x="696" y="129"/>
                    </a:lnTo>
                    <a:lnTo>
                      <a:pt x="701" y="129"/>
                    </a:lnTo>
                    <a:lnTo>
                      <a:pt x="706" y="129"/>
                    </a:lnTo>
                    <a:lnTo>
                      <a:pt x="710" y="129"/>
                    </a:lnTo>
                    <a:lnTo>
                      <a:pt x="715" y="129"/>
                    </a:lnTo>
                    <a:lnTo>
                      <a:pt x="720" y="129"/>
                    </a:lnTo>
                    <a:lnTo>
                      <a:pt x="720" y="125"/>
                    </a:lnTo>
                    <a:lnTo>
                      <a:pt x="725" y="125"/>
                    </a:lnTo>
                    <a:lnTo>
                      <a:pt x="730" y="125"/>
                    </a:lnTo>
                    <a:lnTo>
                      <a:pt x="734" y="125"/>
                    </a:lnTo>
                    <a:lnTo>
                      <a:pt x="739" y="120"/>
                    </a:lnTo>
                    <a:lnTo>
                      <a:pt x="744" y="120"/>
                    </a:lnTo>
                    <a:lnTo>
                      <a:pt x="749" y="120"/>
                    </a:lnTo>
                    <a:lnTo>
                      <a:pt x="754" y="120"/>
                    </a:lnTo>
                    <a:lnTo>
                      <a:pt x="758" y="120"/>
                    </a:lnTo>
                    <a:lnTo>
                      <a:pt x="758" y="115"/>
                    </a:lnTo>
                    <a:lnTo>
                      <a:pt x="802" y="101"/>
                    </a:lnTo>
                    <a:lnTo>
                      <a:pt x="802" y="105"/>
                    </a:lnTo>
                    <a:lnTo>
                      <a:pt x="802" y="110"/>
                    </a:lnTo>
                    <a:lnTo>
                      <a:pt x="806" y="115"/>
                    </a:lnTo>
                    <a:lnTo>
                      <a:pt x="802" y="115"/>
                    </a:lnTo>
                    <a:lnTo>
                      <a:pt x="802" y="120"/>
                    </a:lnTo>
                    <a:lnTo>
                      <a:pt x="806" y="120"/>
                    </a:lnTo>
                    <a:lnTo>
                      <a:pt x="802" y="125"/>
                    </a:lnTo>
                    <a:lnTo>
                      <a:pt x="797" y="120"/>
                    </a:lnTo>
                    <a:lnTo>
                      <a:pt x="797" y="125"/>
                    </a:lnTo>
                    <a:lnTo>
                      <a:pt x="797" y="120"/>
                    </a:lnTo>
                    <a:lnTo>
                      <a:pt x="792" y="115"/>
                    </a:lnTo>
                    <a:lnTo>
                      <a:pt x="787" y="115"/>
                    </a:lnTo>
                    <a:lnTo>
                      <a:pt x="792" y="120"/>
                    </a:lnTo>
                    <a:lnTo>
                      <a:pt x="792" y="125"/>
                    </a:lnTo>
                    <a:lnTo>
                      <a:pt x="787" y="125"/>
                    </a:lnTo>
                    <a:lnTo>
                      <a:pt x="782" y="129"/>
                    </a:lnTo>
                    <a:lnTo>
                      <a:pt x="782" y="125"/>
                    </a:lnTo>
                    <a:lnTo>
                      <a:pt x="778" y="129"/>
                    </a:lnTo>
                    <a:lnTo>
                      <a:pt x="782" y="139"/>
                    </a:lnTo>
                    <a:lnTo>
                      <a:pt x="787" y="144"/>
                    </a:lnTo>
                    <a:lnTo>
                      <a:pt x="787" y="149"/>
                    </a:lnTo>
                    <a:lnTo>
                      <a:pt x="792" y="149"/>
                    </a:lnTo>
                    <a:lnTo>
                      <a:pt x="792" y="153"/>
                    </a:lnTo>
                    <a:lnTo>
                      <a:pt x="787" y="153"/>
                    </a:lnTo>
                    <a:lnTo>
                      <a:pt x="792" y="158"/>
                    </a:lnTo>
                    <a:lnTo>
                      <a:pt x="787" y="163"/>
                    </a:lnTo>
                    <a:lnTo>
                      <a:pt x="792" y="163"/>
                    </a:lnTo>
                    <a:lnTo>
                      <a:pt x="787" y="168"/>
                    </a:lnTo>
                    <a:lnTo>
                      <a:pt x="787" y="173"/>
                    </a:lnTo>
                    <a:lnTo>
                      <a:pt x="787" y="177"/>
                    </a:lnTo>
                    <a:lnTo>
                      <a:pt x="787" y="187"/>
                    </a:lnTo>
                    <a:lnTo>
                      <a:pt x="787" y="192"/>
                    </a:lnTo>
                    <a:lnTo>
                      <a:pt x="792" y="192"/>
                    </a:lnTo>
                    <a:lnTo>
                      <a:pt x="792" y="197"/>
                    </a:lnTo>
                    <a:lnTo>
                      <a:pt x="792" y="201"/>
                    </a:lnTo>
                    <a:lnTo>
                      <a:pt x="792" y="206"/>
                    </a:lnTo>
                    <a:lnTo>
                      <a:pt x="792" y="201"/>
                    </a:lnTo>
                    <a:lnTo>
                      <a:pt x="797" y="201"/>
                    </a:lnTo>
                    <a:lnTo>
                      <a:pt x="802" y="201"/>
                    </a:lnTo>
                    <a:lnTo>
                      <a:pt x="802" y="206"/>
                    </a:lnTo>
                    <a:lnTo>
                      <a:pt x="802" y="211"/>
                    </a:lnTo>
                    <a:lnTo>
                      <a:pt x="802" y="216"/>
                    </a:lnTo>
                    <a:lnTo>
                      <a:pt x="806" y="216"/>
                    </a:lnTo>
                    <a:lnTo>
                      <a:pt x="811" y="230"/>
                    </a:lnTo>
                    <a:lnTo>
                      <a:pt x="806" y="245"/>
                    </a:lnTo>
                    <a:lnTo>
                      <a:pt x="806" y="249"/>
                    </a:lnTo>
                    <a:lnTo>
                      <a:pt x="811" y="254"/>
                    </a:lnTo>
                    <a:lnTo>
                      <a:pt x="806" y="259"/>
                    </a:lnTo>
                    <a:lnTo>
                      <a:pt x="806" y="254"/>
                    </a:lnTo>
                    <a:lnTo>
                      <a:pt x="806" y="259"/>
                    </a:lnTo>
                    <a:lnTo>
                      <a:pt x="811" y="259"/>
                    </a:lnTo>
                    <a:lnTo>
                      <a:pt x="816" y="259"/>
                    </a:lnTo>
                    <a:lnTo>
                      <a:pt x="821" y="264"/>
                    </a:lnTo>
                    <a:lnTo>
                      <a:pt x="826" y="269"/>
                    </a:lnTo>
                    <a:lnTo>
                      <a:pt x="830" y="264"/>
                    </a:lnTo>
                    <a:lnTo>
                      <a:pt x="830" y="269"/>
                    </a:lnTo>
                    <a:lnTo>
                      <a:pt x="835" y="273"/>
                    </a:lnTo>
                    <a:lnTo>
                      <a:pt x="835" y="278"/>
                    </a:lnTo>
                    <a:lnTo>
                      <a:pt x="835" y="283"/>
                    </a:lnTo>
                    <a:lnTo>
                      <a:pt x="840" y="288"/>
                    </a:lnTo>
                    <a:lnTo>
                      <a:pt x="845" y="293"/>
                    </a:lnTo>
                    <a:lnTo>
                      <a:pt x="850" y="288"/>
                    </a:lnTo>
                    <a:lnTo>
                      <a:pt x="850" y="293"/>
                    </a:lnTo>
                    <a:lnTo>
                      <a:pt x="854" y="297"/>
                    </a:lnTo>
                    <a:lnTo>
                      <a:pt x="854" y="302"/>
                    </a:lnTo>
                    <a:lnTo>
                      <a:pt x="854" y="307"/>
                    </a:lnTo>
                    <a:lnTo>
                      <a:pt x="859" y="312"/>
                    </a:lnTo>
                    <a:lnTo>
                      <a:pt x="859" y="317"/>
                    </a:lnTo>
                    <a:lnTo>
                      <a:pt x="864" y="321"/>
                    </a:lnTo>
                    <a:lnTo>
                      <a:pt x="869" y="321"/>
                    </a:lnTo>
                    <a:lnTo>
                      <a:pt x="869" y="326"/>
                    </a:lnTo>
                    <a:lnTo>
                      <a:pt x="864" y="326"/>
                    </a:lnTo>
                    <a:lnTo>
                      <a:pt x="859" y="326"/>
                    </a:lnTo>
                    <a:lnTo>
                      <a:pt x="859" y="331"/>
                    </a:lnTo>
                    <a:lnTo>
                      <a:pt x="854" y="331"/>
                    </a:lnTo>
                    <a:lnTo>
                      <a:pt x="854" y="326"/>
                    </a:lnTo>
                    <a:lnTo>
                      <a:pt x="850" y="321"/>
                    </a:lnTo>
                    <a:lnTo>
                      <a:pt x="850" y="317"/>
                    </a:lnTo>
                    <a:lnTo>
                      <a:pt x="845" y="312"/>
                    </a:lnTo>
                    <a:lnTo>
                      <a:pt x="840" y="312"/>
                    </a:lnTo>
                    <a:lnTo>
                      <a:pt x="840" y="307"/>
                    </a:lnTo>
                    <a:lnTo>
                      <a:pt x="835" y="312"/>
                    </a:lnTo>
                    <a:lnTo>
                      <a:pt x="835" y="317"/>
                    </a:lnTo>
                    <a:lnTo>
                      <a:pt x="850" y="321"/>
                    </a:lnTo>
                    <a:lnTo>
                      <a:pt x="845" y="326"/>
                    </a:lnTo>
                    <a:lnTo>
                      <a:pt x="850" y="326"/>
                    </a:lnTo>
                    <a:lnTo>
                      <a:pt x="850" y="331"/>
                    </a:lnTo>
                    <a:lnTo>
                      <a:pt x="845" y="336"/>
                    </a:lnTo>
                    <a:lnTo>
                      <a:pt x="850" y="345"/>
                    </a:lnTo>
                    <a:lnTo>
                      <a:pt x="850" y="350"/>
                    </a:lnTo>
                    <a:lnTo>
                      <a:pt x="854" y="350"/>
                    </a:lnTo>
                    <a:lnTo>
                      <a:pt x="854" y="355"/>
                    </a:lnTo>
                    <a:lnTo>
                      <a:pt x="854" y="360"/>
                    </a:lnTo>
                    <a:lnTo>
                      <a:pt x="854" y="365"/>
                    </a:lnTo>
                    <a:lnTo>
                      <a:pt x="850" y="365"/>
                    </a:lnTo>
                    <a:lnTo>
                      <a:pt x="850" y="369"/>
                    </a:lnTo>
                    <a:lnTo>
                      <a:pt x="854" y="369"/>
                    </a:lnTo>
                    <a:lnTo>
                      <a:pt x="850" y="374"/>
                    </a:lnTo>
                    <a:lnTo>
                      <a:pt x="845" y="379"/>
                    </a:lnTo>
                    <a:lnTo>
                      <a:pt x="850" y="379"/>
                    </a:lnTo>
                    <a:lnTo>
                      <a:pt x="854" y="384"/>
                    </a:lnTo>
                    <a:lnTo>
                      <a:pt x="854" y="389"/>
                    </a:lnTo>
                    <a:lnTo>
                      <a:pt x="859" y="389"/>
                    </a:lnTo>
                    <a:lnTo>
                      <a:pt x="859" y="384"/>
                    </a:lnTo>
                    <a:lnTo>
                      <a:pt x="864" y="379"/>
                    </a:lnTo>
                    <a:lnTo>
                      <a:pt x="864" y="384"/>
                    </a:lnTo>
                    <a:lnTo>
                      <a:pt x="869" y="384"/>
                    </a:lnTo>
                    <a:lnTo>
                      <a:pt x="869" y="379"/>
                    </a:lnTo>
                    <a:lnTo>
                      <a:pt x="874" y="379"/>
                    </a:lnTo>
                    <a:lnTo>
                      <a:pt x="878" y="384"/>
                    </a:lnTo>
                    <a:lnTo>
                      <a:pt x="883" y="389"/>
                    </a:lnTo>
                    <a:lnTo>
                      <a:pt x="883" y="384"/>
                    </a:lnTo>
                    <a:lnTo>
                      <a:pt x="883" y="379"/>
                    </a:lnTo>
                    <a:lnTo>
                      <a:pt x="878" y="379"/>
                    </a:lnTo>
                    <a:lnTo>
                      <a:pt x="878" y="374"/>
                    </a:lnTo>
                    <a:lnTo>
                      <a:pt x="874" y="374"/>
                    </a:lnTo>
                    <a:lnTo>
                      <a:pt x="869" y="369"/>
                    </a:lnTo>
                    <a:lnTo>
                      <a:pt x="869" y="365"/>
                    </a:lnTo>
                    <a:lnTo>
                      <a:pt x="869" y="360"/>
                    </a:lnTo>
                    <a:lnTo>
                      <a:pt x="874" y="360"/>
                    </a:lnTo>
                    <a:lnTo>
                      <a:pt x="878" y="360"/>
                    </a:lnTo>
                    <a:lnTo>
                      <a:pt x="883" y="365"/>
                    </a:lnTo>
                    <a:lnTo>
                      <a:pt x="883" y="369"/>
                    </a:lnTo>
                    <a:lnTo>
                      <a:pt x="888" y="369"/>
                    </a:lnTo>
                    <a:lnTo>
                      <a:pt x="888" y="374"/>
                    </a:lnTo>
                    <a:lnTo>
                      <a:pt x="888" y="379"/>
                    </a:lnTo>
                    <a:lnTo>
                      <a:pt x="888" y="384"/>
                    </a:lnTo>
                    <a:lnTo>
                      <a:pt x="888" y="389"/>
                    </a:lnTo>
                    <a:lnTo>
                      <a:pt x="883" y="389"/>
                    </a:lnTo>
                    <a:lnTo>
                      <a:pt x="888" y="393"/>
                    </a:lnTo>
                    <a:lnTo>
                      <a:pt x="888" y="398"/>
                    </a:lnTo>
                    <a:lnTo>
                      <a:pt x="893" y="398"/>
                    </a:lnTo>
                    <a:lnTo>
                      <a:pt x="893" y="403"/>
                    </a:lnTo>
                    <a:lnTo>
                      <a:pt x="898" y="408"/>
                    </a:lnTo>
                    <a:lnTo>
                      <a:pt x="898" y="413"/>
                    </a:lnTo>
                    <a:lnTo>
                      <a:pt x="898" y="417"/>
                    </a:lnTo>
                    <a:lnTo>
                      <a:pt x="898" y="422"/>
                    </a:lnTo>
                    <a:lnTo>
                      <a:pt x="898" y="427"/>
                    </a:lnTo>
                    <a:lnTo>
                      <a:pt x="893" y="427"/>
                    </a:lnTo>
                    <a:lnTo>
                      <a:pt x="893" y="432"/>
                    </a:lnTo>
                    <a:lnTo>
                      <a:pt x="898" y="432"/>
                    </a:lnTo>
                    <a:lnTo>
                      <a:pt x="898" y="437"/>
                    </a:lnTo>
                    <a:lnTo>
                      <a:pt x="898" y="441"/>
                    </a:lnTo>
                    <a:lnTo>
                      <a:pt x="902" y="441"/>
                    </a:lnTo>
                    <a:lnTo>
                      <a:pt x="902" y="446"/>
                    </a:lnTo>
                    <a:lnTo>
                      <a:pt x="898" y="451"/>
                    </a:lnTo>
                    <a:lnTo>
                      <a:pt x="902" y="451"/>
                    </a:lnTo>
                    <a:lnTo>
                      <a:pt x="902" y="456"/>
                    </a:lnTo>
                    <a:lnTo>
                      <a:pt x="902" y="465"/>
                    </a:lnTo>
                    <a:lnTo>
                      <a:pt x="898" y="470"/>
                    </a:lnTo>
                    <a:lnTo>
                      <a:pt x="893" y="470"/>
                    </a:lnTo>
                    <a:lnTo>
                      <a:pt x="888" y="480"/>
                    </a:lnTo>
                    <a:lnTo>
                      <a:pt x="883" y="480"/>
                    </a:lnTo>
                    <a:lnTo>
                      <a:pt x="878" y="480"/>
                    </a:lnTo>
                    <a:lnTo>
                      <a:pt x="874" y="480"/>
                    </a:lnTo>
                    <a:lnTo>
                      <a:pt x="874" y="485"/>
                    </a:lnTo>
                    <a:lnTo>
                      <a:pt x="874" y="489"/>
                    </a:lnTo>
                    <a:lnTo>
                      <a:pt x="878" y="489"/>
                    </a:lnTo>
                    <a:lnTo>
                      <a:pt x="883" y="489"/>
                    </a:lnTo>
                    <a:lnTo>
                      <a:pt x="888" y="485"/>
                    </a:lnTo>
                    <a:lnTo>
                      <a:pt x="893" y="485"/>
                    </a:lnTo>
                    <a:lnTo>
                      <a:pt x="898" y="485"/>
                    </a:lnTo>
                    <a:lnTo>
                      <a:pt x="898" y="489"/>
                    </a:lnTo>
                    <a:lnTo>
                      <a:pt x="902" y="494"/>
                    </a:lnTo>
                    <a:lnTo>
                      <a:pt x="902" y="499"/>
                    </a:lnTo>
                    <a:lnTo>
                      <a:pt x="902" y="504"/>
                    </a:lnTo>
                    <a:lnTo>
                      <a:pt x="902" y="509"/>
                    </a:lnTo>
                    <a:lnTo>
                      <a:pt x="907" y="509"/>
                    </a:lnTo>
                    <a:lnTo>
                      <a:pt x="912" y="509"/>
                    </a:lnTo>
                    <a:lnTo>
                      <a:pt x="912" y="513"/>
                    </a:lnTo>
                    <a:lnTo>
                      <a:pt x="912" y="518"/>
                    </a:lnTo>
                    <a:lnTo>
                      <a:pt x="917" y="518"/>
                    </a:lnTo>
                    <a:lnTo>
                      <a:pt x="917" y="523"/>
                    </a:lnTo>
                    <a:lnTo>
                      <a:pt x="917" y="528"/>
                    </a:lnTo>
                    <a:lnTo>
                      <a:pt x="922" y="533"/>
                    </a:lnTo>
                    <a:lnTo>
                      <a:pt x="922" y="537"/>
                    </a:lnTo>
                    <a:lnTo>
                      <a:pt x="926" y="542"/>
                    </a:lnTo>
                    <a:lnTo>
                      <a:pt x="926" y="547"/>
                    </a:lnTo>
                    <a:lnTo>
                      <a:pt x="922" y="547"/>
                    </a:lnTo>
                    <a:lnTo>
                      <a:pt x="922" y="552"/>
                    </a:lnTo>
                    <a:lnTo>
                      <a:pt x="926" y="557"/>
                    </a:lnTo>
                    <a:lnTo>
                      <a:pt x="931" y="561"/>
                    </a:lnTo>
                    <a:lnTo>
                      <a:pt x="931" y="566"/>
                    </a:lnTo>
                    <a:lnTo>
                      <a:pt x="926" y="571"/>
                    </a:lnTo>
                    <a:lnTo>
                      <a:pt x="926" y="576"/>
                    </a:lnTo>
                    <a:lnTo>
                      <a:pt x="931" y="576"/>
                    </a:lnTo>
                    <a:lnTo>
                      <a:pt x="931" y="581"/>
                    </a:lnTo>
                    <a:lnTo>
                      <a:pt x="926" y="581"/>
                    </a:lnTo>
                    <a:lnTo>
                      <a:pt x="922" y="581"/>
                    </a:lnTo>
                    <a:lnTo>
                      <a:pt x="922" y="585"/>
                    </a:lnTo>
                    <a:lnTo>
                      <a:pt x="926" y="590"/>
                    </a:lnTo>
                    <a:lnTo>
                      <a:pt x="931" y="590"/>
                    </a:lnTo>
                    <a:lnTo>
                      <a:pt x="936" y="590"/>
                    </a:lnTo>
                    <a:lnTo>
                      <a:pt x="936" y="595"/>
                    </a:lnTo>
                    <a:lnTo>
                      <a:pt x="936" y="600"/>
                    </a:lnTo>
                    <a:lnTo>
                      <a:pt x="941" y="605"/>
                    </a:lnTo>
                    <a:lnTo>
                      <a:pt x="946" y="605"/>
                    </a:lnTo>
                    <a:lnTo>
                      <a:pt x="946" y="609"/>
                    </a:lnTo>
                    <a:lnTo>
                      <a:pt x="946" y="614"/>
                    </a:lnTo>
                    <a:lnTo>
                      <a:pt x="950" y="619"/>
                    </a:lnTo>
                    <a:lnTo>
                      <a:pt x="950" y="624"/>
                    </a:lnTo>
                    <a:lnTo>
                      <a:pt x="950" y="629"/>
                    </a:lnTo>
                    <a:lnTo>
                      <a:pt x="946" y="629"/>
                    </a:lnTo>
                    <a:lnTo>
                      <a:pt x="946" y="633"/>
                    </a:lnTo>
                    <a:lnTo>
                      <a:pt x="941" y="633"/>
                    </a:lnTo>
                    <a:lnTo>
                      <a:pt x="941" y="638"/>
                    </a:lnTo>
                    <a:lnTo>
                      <a:pt x="946" y="638"/>
                    </a:lnTo>
                    <a:lnTo>
                      <a:pt x="946" y="643"/>
                    </a:lnTo>
                    <a:lnTo>
                      <a:pt x="946" y="648"/>
                    </a:lnTo>
                    <a:lnTo>
                      <a:pt x="941" y="648"/>
                    </a:lnTo>
                    <a:lnTo>
                      <a:pt x="936" y="648"/>
                    </a:lnTo>
                    <a:lnTo>
                      <a:pt x="931" y="648"/>
                    </a:lnTo>
                    <a:lnTo>
                      <a:pt x="931" y="653"/>
                    </a:lnTo>
                    <a:lnTo>
                      <a:pt x="926" y="653"/>
                    </a:lnTo>
                    <a:lnTo>
                      <a:pt x="922" y="653"/>
                    </a:lnTo>
                    <a:lnTo>
                      <a:pt x="922" y="657"/>
                    </a:lnTo>
                    <a:lnTo>
                      <a:pt x="917" y="657"/>
                    </a:lnTo>
                    <a:lnTo>
                      <a:pt x="922" y="662"/>
                    </a:lnTo>
                    <a:lnTo>
                      <a:pt x="922" y="667"/>
                    </a:lnTo>
                    <a:lnTo>
                      <a:pt x="926" y="667"/>
                    </a:lnTo>
                    <a:lnTo>
                      <a:pt x="931" y="662"/>
                    </a:lnTo>
                    <a:lnTo>
                      <a:pt x="936" y="662"/>
                    </a:lnTo>
                    <a:lnTo>
                      <a:pt x="941" y="662"/>
                    </a:lnTo>
                    <a:lnTo>
                      <a:pt x="946" y="662"/>
                    </a:lnTo>
                    <a:lnTo>
                      <a:pt x="955" y="662"/>
                    </a:lnTo>
                    <a:lnTo>
                      <a:pt x="955" y="667"/>
                    </a:lnTo>
                    <a:lnTo>
                      <a:pt x="960" y="672"/>
                    </a:lnTo>
                    <a:lnTo>
                      <a:pt x="970" y="672"/>
                    </a:lnTo>
                    <a:lnTo>
                      <a:pt x="974" y="677"/>
                    </a:lnTo>
                    <a:lnTo>
                      <a:pt x="979" y="681"/>
                    </a:lnTo>
                    <a:lnTo>
                      <a:pt x="984" y="681"/>
                    </a:lnTo>
                    <a:lnTo>
                      <a:pt x="974" y="715"/>
                    </a:lnTo>
                    <a:lnTo>
                      <a:pt x="970" y="734"/>
                    </a:lnTo>
                    <a:lnTo>
                      <a:pt x="941" y="753"/>
                    </a:lnTo>
                    <a:lnTo>
                      <a:pt x="922" y="773"/>
                    </a:lnTo>
                    <a:lnTo>
                      <a:pt x="898" y="777"/>
                    </a:lnTo>
                    <a:lnTo>
                      <a:pt x="883" y="768"/>
                    </a:lnTo>
                    <a:lnTo>
                      <a:pt x="835" y="777"/>
                    </a:lnTo>
                    <a:lnTo>
                      <a:pt x="720" y="821"/>
                    </a:lnTo>
                    <a:lnTo>
                      <a:pt x="509" y="864"/>
                    </a:lnTo>
                    <a:lnTo>
                      <a:pt x="466" y="873"/>
                    </a:lnTo>
                    <a:lnTo>
                      <a:pt x="461" y="883"/>
                    </a:lnTo>
                    <a:lnTo>
                      <a:pt x="456" y="902"/>
                    </a:lnTo>
                    <a:lnTo>
                      <a:pt x="432" y="926"/>
                    </a:lnTo>
                    <a:lnTo>
                      <a:pt x="398" y="926"/>
                    </a:lnTo>
                    <a:lnTo>
                      <a:pt x="394" y="921"/>
                    </a:lnTo>
                    <a:lnTo>
                      <a:pt x="389" y="917"/>
                    </a:lnTo>
                    <a:lnTo>
                      <a:pt x="384" y="912"/>
                    </a:lnTo>
                    <a:lnTo>
                      <a:pt x="379" y="907"/>
                    </a:lnTo>
                    <a:lnTo>
                      <a:pt x="374" y="907"/>
                    </a:lnTo>
                    <a:lnTo>
                      <a:pt x="374" y="902"/>
                    </a:lnTo>
                    <a:lnTo>
                      <a:pt x="370" y="897"/>
                    </a:lnTo>
                    <a:lnTo>
                      <a:pt x="365" y="893"/>
                    </a:lnTo>
                    <a:lnTo>
                      <a:pt x="360" y="888"/>
                    </a:lnTo>
                    <a:lnTo>
                      <a:pt x="355" y="883"/>
                    </a:lnTo>
                    <a:lnTo>
                      <a:pt x="350" y="883"/>
                    </a:lnTo>
                    <a:lnTo>
                      <a:pt x="350" y="878"/>
                    </a:lnTo>
                    <a:lnTo>
                      <a:pt x="346" y="873"/>
                    </a:lnTo>
                    <a:lnTo>
                      <a:pt x="346" y="869"/>
                    </a:lnTo>
                    <a:lnTo>
                      <a:pt x="341" y="864"/>
                    </a:lnTo>
                    <a:lnTo>
                      <a:pt x="336" y="859"/>
                    </a:lnTo>
                    <a:lnTo>
                      <a:pt x="336" y="854"/>
                    </a:lnTo>
                    <a:lnTo>
                      <a:pt x="336" y="849"/>
                    </a:lnTo>
                    <a:lnTo>
                      <a:pt x="331" y="849"/>
                    </a:lnTo>
                    <a:lnTo>
                      <a:pt x="327" y="845"/>
                    </a:lnTo>
                    <a:lnTo>
                      <a:pt x="327" y="840"/>
                    </a:lnTo>
                    <a:lnTo>
                      <a:pt x="327" y="835"/>
                    </a:lnTo>
                    <a:lnTo>
                      <a:pt x="322" y="835"/>
                    </a:lnTo>
                    <a:lnTo>
                      <a:pt x="317" y="840"/>
                    </a:lnTo>
                    <a:lnTo>
                      <a:pt x="312" y="840"/>
                    </a:lnTo>
                    <a:lnTo>
                      <a:pt x="307" y="840"/>
                    </a:lnTo>
                    <a:lnTo>
                      <a:pt x="303" y="840"/>
                    </a:lnTo>
                    <a:lnTo>
                      <a:pt x="298" y="840"/>
                    </a:lnTo>
                    <a:lnTo>
                      <a:pt x="293" y="840"/>
                    </a:lnTo>
                    <a:lnTo>
                      <a:pt x="288" y="840"/>
                    </a:lnTo>
                    <a:lnTo>
                      <a:pt x="283" y="840"/>
                    </a:lnTo>
                    <a:lnTo>
                      <a:pt x="279" y="840"/>
                    </a:lnTo>
                    <a:lnTo>
                      <a:pt x="279" y="835"/>
                    </a:lnTo>
                    <a:lnTo>
                      <a:pt x="274" y="835"/>
                    </a:lnTo>
                    <a:lnTo>
                      <a:pt x="269" y="830"/>
                    </a:lnTo>
                    <a:lnTo>
                      <a:pt x="264" y="830"/>
                    </a:lnTo>
                    <a:lnTo>
                      <a:pt x="259" y="825"/>
                    </a:lnTo>
                    <a:lnTo>
                      <a:pt x="255" y="825"/>
                    </a:lnTo>
                    <a:lnTo>
                      <a:pt x="250" y="825"/>
                    </a:lnTo>
                    <a:lnTo>
                      <a:pt x="245" y="821"/>
                    </a:lnTo>
                    <a:lnTo>
                      <a:pt x="240" y="821"/>
                    </a:lnTo>
                    <a:lnTo>
                      <a:pt x="235" y="816"/>
                    </a:lnTo>
                    <a:lnTo>
                      <a:pt x="231" y="816"/>
                    </a:lnTo>
                    <a:lnTo>
                      <a:pt x="231" y="811"/>
                    </a:lnTo>
                    <a:lnTo>
                      <a:pt x="226" y="811"/>
                    </a:lnTo>
                    <a:lnTo>
                      <a:pt x="221" y="811"/>
                    </a:lnTo>
                    <a:lnTo>
                      <a:pt x="216" y="806"/>
                    </a:lnTo>
                    <a:lnTo>
                      <a:pt x="211" y="806"/>
                    </a:lnTo>
                    <a:lnTo>
                      <a:pt x="207" y="801"/>
                    </a:lnTo>
                    <a:lnTo>
                      <a:pt x="202" y="801"/>
                    </a:lnTo>
                    <a:lnTo>
                      <a:pt x="197" y="797"/>
                    </a:lnTo>
                    <a:lnTo>
                      <a:pt x="192" y="797"/>
                    </a:lnTo>
                    <a:lnTo>
                      <a:pt x="187" y="797"/>
                    </a:lnTo>
                    <a:lnTo>
                      <a:pt x="187" y="792"/>
                    </a:lnTo>
                    <a:lnTo>
                      <a:pt x="183" y="792"/>
                    </a:lnTo>
                    <a:lnTo>
                      <a:pt x="178" y="787"/>
                    </a:lnTo>
                    <a:lnTo>
                      <a:pt x="173" y="787"/>
                    </a:lnTo>
                    <a:lnTo>
                      <a:pt x="168" y="782"/>
                    </a:lnTo>
                    <a:lnTo>
                      <a:pt x="163" y="782"/>
                    </a:lnTo>
                    <a:lnTo>
                      <a:pt x="159" y="782"/>
                    </a:lnTo>
                    <a:lnTo>
                      <a:pt x="154" y="777"/>
                    </a:lnTo>
                    <a:lnTo>
                      <a:pt x="149" y="777"/>
                    </a:lnTo>
                    <a:lnTo>
                      <a:pt x="144" y="773"/>
                    </a:lnTo>
                    <a:lnTo>
                      <a:pt x="139" y="773"/>
                    </a:lnTo>
                    <a:lnTo>
                      <a:pt x="139" y="768"/>
                    </a:lnTo>
                    <a:lnTo>
                      <a:pt x="135" y="768"/>
                    </a:lnTo>
                    <a:lnTo>
                      <a:pt x="130" y="768"/>
                    </a:lnTo>
                    <a:lnTo>
                      <a:pt x="125" y="763"/>
                    </a:lnTo>
                    <a:lnTo>
                      <a:pt x="120" y="763"/>
                    </a:lnTo>
                    <a:lnTo>
                      <a:pt x="115" y="758"/>
                    </a:lnTo>
                    <a:lnTo>
                      <a:pt x="111" y="758"/>
                    </a:lnTo>
                    <a:lnTo>
                      <a:pt x="106" y="758"/>
                    </a:lnTo>
                    <a:lnTo>
                      <a:pt x="101" y="753"/>
                    </a:lnTo>
                    <a:lnTo>
                      <a:pt x="96" y="753"/>
                    </a:lnTo>
                    <a:lnTo>
                      <a:pt x="91" y="749"/>
                    </a:lnTo>
                    <a:lnTo>
                      <a:pt x="87" y="749"/>
                    </a:lnTo>
                    <a:lnTo>
                      <a:pt x="82" y="749"/>
                    </a:lnTo>
                    <a:lnTo>
                      <a:pt x="77" y="744"/>
                    </a:lnTo>
                    <a:lnTo>
                      <a:pt x="72" y="744"/>
                    </a:lnTo>
                    <a:lnTo>
                      <a:pt x="67" y="744"/>
                    </a:lnTo>
                    <a:lnTo>
                      <a:pt x="63" y="744"/>
                    </a:lnTo>
                    <a:lnTo>
                      <a:pt x="58" y="739"/>
                    </a:lnTo>
                    <a:lnTo>
                      <a:pt x="53" y="739"/>
                    </a:lnTo>
                    <a:lnTo>
                      <a:pt x="48" y="734"/>
                    </a:lnTo>
                    <a:lnTo>
                      <a:pt x="43" y="734"/>
                    </a:lnTo>
                    <a:lnTo>
                      <a:pt x="39" y="734"/>
                    </a:lnTo>
                    <a:lnTo>
                      <a:pt x="34" y="729"/>
                    </a:lnTo>
                    <a:lnTo>
                      <a:pt x="29" y="729"/>
                    </a:lnTo>
                    <a:lnTo>
                      <a:pt x="24" y="729"/>
                    </a:lnTo>
                    <a:lnTo>
                      <a:pt x="19" y="725"/>
                    </a:lnTo>
                    <a:lnTo>
                      <a:pt x="15" y="725"/>
                    </a:lnTo>
                    <a:lnTo>
                      <a:pt x="10" y="725"/>
                    </a:lnTo>
                    <a:lnTo>
                      <a:pt x="5" y="720"/>
                    </a:lnTo>
                    <a:lnTo>
                      <a:pt x="0" y="720"/>
                    </a:lnTo>
                    <a:lnTo>
                      <a:pt x="0" y="715"/>
                    </a:lnTo>
                    <a:lnTo>
                      <a:pt x="5" y="715"/>
                    </a:lnTo>
                    <a:lnTo>
                      <a:pt x="5" y="710"/>
                    </a:lnTo>
                    <a:lnTo>
                      <a:pt x="5" y="705"/>
                    </a:lnTo>
                    <a:lnTo>
                      <a:pt x="10" y="705"/>
                    </a:lnTo>
                    <a:lnTo>
                      <a:pt x="10" y="701"/>
                    </a:lnTo>
                    <a:lnTo>
                      <a:pt x="10" y="696"/>
                    </a:lnTo>
                    <a:lnTo>
                      <a:pt x="10" y="691"/>
                    </a:lnTo>
                    <a:lnTo>
                      <a:pt x="10" y="686"/>
                    </a:lnTo>
                    <a:lnTo>
                      <a:pt x="10" y="681"/>
                    </a:lnTo>
                    <a:lnTo>
                      <a:pt x="15" y="681"/>
                    </a:lnTo>
                    <a:lnTo>
                      <a:pt x="15" y="677"/>
                    </a:lnTo>
                    <a:lnTo>
                      <a:pt x="19" y="677"/>
                    </a:lnTo>
                    <a:lnTo>
                      <a:pt x="19" y="672"/>
                    </a:lnTo>
                    <a:lnTo>
                      <a:pt x="24" y="667"/>
                    </a:lnTo>
                    <a:lnTo>
                      <a:pt x="19" y="667"/>
                    </a:lnTo>
                    <a:lnTo>
                      <a:pt x="19" y="662"/>
                    </a:lnTo>
                    <a:lnTo>
                      <a:pt x="15" y="657"/>
                    </a:lnTo>
                    <a:lnTo>
                      <a:pt x="15" y="653"/>
                    </a:lnTo>
                    <a:lnTo>
                      <a:pt x="19" y="653"/>
                    </a:lnTo>
                    <a:lnTo>
                      <a:pt x="19" y="648"/>
                    </a:lnTo>
                    <a:lnTo>
                      <a:pt x="24" y="643"/>
                    </a:lnTo>
                    <a:lnTo>
                      <a:pt x="24" y="638"/>
                    </a:lnTo>
                    <a:lnTo>
                      <a:pt x="24" y="633"/>
                    </a:lnTo>
                    <a:lnTo>
                      <a:pt x="29" y="629"/>
                    </a:lnTo>
                    <a:lnTo>
                      <a:pt x="29" y="624"/>
                    </a:lnTo>
                    <a:lnTo>
                      <a:pt x="34" y="624"/>
                    </a:lnTo>
                    <a:lnTo>
                      <a:pt x="34" y="619"/>
                    </a:lnTo>
                    <a:lnTo>
                      <a:pt x="39" y="619"/>
                    </a:lnTo>
                    <a:lnTo>
                      <a:pt x="43" y="614"/>
                    </a:lnTo>
                    <a:lnTo>
                      <a:pt x="48" y="614"/>
                    </a:lnTo>
                    <a:lnTo>
                      <a:pt x="48" y="609"/>
                    </a:lnTo>
                    <a:lnTo>
                      <a:pt x="53" y="609"/>
                    </a:lnTo>
                    <a:lnTo>
                      <a:pt x="53" y="605"/>
                    </a:lnTo>
                    <a:lnTo>
                      <a:pt x="58" y="600"/>
                    </a:lnTo>
                    <a:lnTo>
                      <a:pt x="63" y="600"/>
                    </a:lnTo>
                    <a:lnTo>
                      <a:pt x="63" y="595"/>
                    </a:lnTo>
                    <a:lnTo>
                      <a:pt x="67" y="595"/>
                    </a:lnTo>
                    <a:close/>
                    <a:moveTo>
                      <a:pt x="850" y="336"/>
                    </a:moveTo>
                    <a:lnTo>
                      <a:pt x="854" y="336"/>
                    </a:lnTo>
                    <a:lnTo>
                      <a:pt x="859" y="336"/>
                    </a:lnTo>
                    <a:lnTo>
                      <a:pt x="859" y="331"/>
                    </a:lnTo>
                    <a:lnTo>
                      <a:pt x="864" y="331"/>
                    </a:lnTo>
                    <a:lnTo>
                      <a:pt x="864" y="336"/>
                    </a:lnTo>
                    <a:lnTo>
                      <a:pt x="859" y="341"/>
                    </a:lnTo>
                    <a:lnTo>
                      <a:pt x="864" y="341"/>
                    </a:lnTo>
                    <a:lnTo>
                      <a:pt x="864" y="345"/>
                    </a:lnTo>
                    <a:lnTo>
                      <a:pt x="864" y="350"/>
                    </a:lnTo>
                    <a:lnTo>
                      <a:pt x="859" y="350"/>
                    </a:lnTo>
                    <a:lnTo>
                      <a:pt x="859" y="345"/>
                    </a:lnTo>
                    <a:lnTo>
                      <a:pt x="854" y="341"/>
                    </a:lnTo>
                    <a:lnTo>
                      <a:pt x="850" y="336"/>
                    </a:lnTo>
                    <a:close/>
                    <a:moveTo>
                      <a:pt x="850" y="192"/>
                    </a:moveTo>
                    <a:lnTo>
                      <a:pt x="854" y="187"/>
                    </a:lnTo>
                    <a:lnTo>
                      <a:pt x="854" y="192"/>
                    </a:lnTo>
                    <a:lnTo>
                      <a:pt x="859" y="197"/>
                    </a:lnTo>
                    <a:lnTo>
                      <a:pt x="859" y="201"/>
                    </a:lnTo>
                    <a:lnTo>
                      <a:pt x="854" y="197"/>
                    </a:lnTo>
                    <a:lnTo>
                      <a:pt x="854" y="192"/>
                    </a:lnTo>
                    <a:lnTo>
                      <a:pt x="850" y="192"/>
                    </a:lnTo>
                    <a:close/>
                    <a:moveTo>
                      <a:pt x="859" y="365"/>
                    </a:moveTo>
                    <a:lnTo>
                      <a:pt x="864" y="365"/>
                    </a:lnTo>
                    <a:lnTo>
                      <a:pt x="864" y="369"/>
                    </a:lnTo>
                    <a:lnTo>
                      <a:pt x="859" y="369"/>
                    </a:lnTo>
                    <a:lnTo>
                      <a:pt x="859" y="365"/>
                    </a:lnTo>
                    <a:close/>
                    <a:moveTo>
                      <a:pt x="835" y="230"/>
                    </a:moveTo>
                    <a:lnTo>
                      <a:pt x="845" y="230"/>
                    </a:lnTo>
                    <a:lnTo>
                      <a:pt x="845" y="235"/>
                    </a:lnTo>
                    <a:lnTo>
                      <a:pt x="835" y="235"/>
                    </a:lnTo>
                    <a:lnTo>
                      <a:pt x="835" y="230"/>
                    </a:lnTo>
                    <a:close/>
                    <a:moveTo>
                      <a:pt x="874" y="379"/>
                    </a:moveTo>
                    <a:lnTo>
                      <a:pt x="878" y="379"/>
                    </a:lnTo>
                    <a:lnTo>
                      <a:pt x="874" y="379"/>
                    </a:lnTo>
                    <a:close/>
                    <a:moveTo>
                      <a:pt x="883" y="115"/>
                    </a:moveTo>
                    <a:lnTo>
                      <a:pt x="888" y="115"/>
                    </a:lnTo>
                    <a:lnTo>
                      <a:pt x="883" y="115"/>
                    </a:lnTo>
                    <a:close/>
                  </a:path>
                </a:pathLst>
              </a:custGeom>
              <a:solidFill>
                <a:schemeClr val="accent6">
                  <a:lumMod val="40000"/>
                  <a:lumOff val="6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45" name="Freeform 13"/>
              <p:cNvSpPr>
                <a:spLocks noEditPoints="1"/>
              </p:cNvSpPr>
              <p:nvPr/>
            </p:nvSpPr>
            <p:spPr bwMode="gray">
              <a:xfrm>
                <a:off x="6113463" y="5232400"/>
                <a:ext cx="1204913" cy="701675"/>
              </a:xfrm>
              <a:custGeom>
                <a:avLst/>
                <a:gdLst>
                  <a:gd name="T0" fmla="*/ 600 w 759"/>
                  <a:gd name="T1" fmla="*/ 20 h 442"/>
                  <a:gd name="T2" fmla="*/ 600 w 759"/>
                  <a:gd name="T3" fmla="*/ 34 h 442"/>
                  <a:gd name="T4" fmla="*/ 610 w 759"/>
                  <a:gd name="T5" fmla="*/ 53 h 442"/>
                  <a:gd name="T6" fmla="*/ 610 w 759"/>
                  <a:gd name="T7" fmla="*/ 44 h 442"/>
                  <a:gd name="T8" fmla="*/ 610 w 759"/>
                  <a:gd name="T9" fmla="*/ 29 h 442"/>
                  <a:gd name="T10" fmla="*/ 639 w 759"/>
                  <a:gd name="T11" fmla="*/ 39 h 442"/>
                  <a:gd name="T12" fmla="*/ 653 w 759"/>
                  <a:gd name="T13" fmla="*/ 53 h 442"/>
                  <a:gd name="T14" fmla="*/ 653 w 759"/>
                  <a:gd name="T15" fmla="*/ 72 h 442"/>
                  <a:gd name="T16" fmla="*/ 658 w 759"/>
                  <a:gd name="T17" fmla="*/ 72 h 442"/>
                  <a:gd name="T18" fmla="*/ 677 w 759"/>
                  <a:gd name="T19" fmla="*/ 72 h 442"/>
                  <a:gd name="T20" fmla="*/ 701 w 759"/>
                  <a:gd name="T21" fmla="*/ 82 h 442"/>
                  <a:gd name="T22" fmla="*/ 687 w 759"/>
                  <a:gd name="T23" fmla="*/ 68 h 442"/>
                  <a:gd name="T24" fmla="*/ 687 w 759"/>
                  <a:gd name="T25" fmla="*/ 63 h 442"/>
                  <a:gd name="T26" fmla="*/ 692 w 759"/>
                  <a:gd name="T27" fmla="*/ 68 h 442"/>
                  <a:gd name="T28" fmla="*/ 711 w 759"/>
                  <a:gd name="T29" fmla="*/ 82 h 442"/>
                  <a:gd name="T30" fmla="*/ 720 w 759"/>
                  <a:gd name="T31" fmla="*/ 101 h 442"/>
                  <a:gd name="T32" fmla="*/ 730 w 759"/>
                  <a:gd name="T33" fmla="*/ 106 h 442"/>
                  <a:gd name="T34" fmla="*/ 744 w 759"/>
                  <a:gd name="T35" fmla="*/ 106 h 442"/>
                  <a:gd name="T36" fmla="*/ 744 w 759"/>
                  <a:gd name="T37" fmla="*/ 92 h 442"/>
                  <a:gd name="T38" fmla="*/ 749 w 759"/>
                  <a:gd name="T39" fmla="*/ 87 h 442"/>
                  <a:gd name="T40" fmla="*/ 749 w 759"/>
                  <a:gd name="T41" fmla="*/ 106 h 442"/>
                  <a:gd name="T42" fmla="*/ 749 w 759"/>
                  <a:gd name="T43" fmla="*/ 120 h 442"/>
                  <a:gd name="T44" fmla="*/ 749 w 759"/>
                  <a:gd name="T45" fmla="*/ 135 h 442"/>
                  <a:gd name="T46" fmla="*/ 740 w 759"/>
                  <a:gd name="T47" fmla="*/ 149 h 442"/>
                  <a:gd name="T48" fmla="*/ 725 w 759"/>
                  <a:gd name="T49" fmla="*/ 173 h 442"/>
                  <a:gd name="T50" fmla="*/ 692 w 759"/>
                  <a:gd name="T51" fmla="*/ 183 h 442"/>
                  <a:gd name="T52" fmla="*/ 658 w 759"/>
                  <a:gd name="T53" fmla="*/ 212 h 442"/>
                  <a:gd name="T54" fmla="*/ 605 w 759"/>
                  <a:gd name="T55" fmla="*/ 255 h 442"/>
                  <a:gd name="T56" fmla="*/ 567 w 759"/>
                  <a:gd name="T57" fmla="*/ 269 h 442"/>
                  <a:gd name="T58" fmla="*/ 519 w 759"/>
                  <a:gd name="T59" fmla="*/ 293 h 442"/>
                  <a:gd name="T60" fmla="*/ 466 w 759"/>
                  <a:gd name="T61" fmla="*/ 303 h 442"/>
                  <a:gd name="T62" fmla="*/ 423 w 759"/>
                  <a:gd name="T63" fmla="*/ 327 h 442"/>
                  <a:gd name="T64" fmla="*/ 370 w 759"/>
                  <a:gd name="T65" fmla="*/ 365 h 442"/>
                  <a:gd name="T66" fmla="*/ 346 w 759"/>
                  <a:gd name="T67" fmla="*/ 360 h 442"/>
                  <a:gd name="T68" fmla="*/ 288 w 759"/>
                  <a:gd name="T69" fmla="*/ 365 h 442"/>
                  <a:gd name="T70" fmla="*/ 245 w 759"/>
                  <a:gd name="T71" fmla="*/ 375 h 442"/>
                  <a:gd name="T72" fmla="*/ 197 w 759"/>
                  <a:gd name="T73" fmla="*/ 399 h 442"/>
                  <a:gd name="T74" fmla="*/ 135 w 759"/>
                  <a:gd name="T75" fmla="*/ 437 h 442"/>
                  <a:gd name="T76" fmla="*/ 111 w 759"/>
                  <a:gd name="T77" fmla="*/ 432 h 442"/>
                  <a:gd name="T78" fmla="*/ 68 w 759"/>
                  <a:gd name="T79" fmla="*/ 413 h 442"/>
                  <a:gd name="T80" fmla="*/ 39 w 759"/>
                  <a:gd name="T81" fmla="*/ 399 h 442"/>
                  <a:gd name="T82" fmla="*/ 15 w 759"/>
                  <a:gd name="T83" fmla="*/ 370 h 442"/>
                  <a:gd name="T84" fmla="*/ 24 w 759"/>
                  <a:gd name="T85" fmla="*/ 356 h 442"/>
                  <a:gd name="T86" fmla="*/ 15 w 759"/>
                  <a:gd name="T87" fmla="*/ 341 h 442"/>
                  <a:gd name="T88" fmla="*/ 5 w 759"/>
                  <a:gd name="T89" fmla="*/ 322 h 442"/>
                  <a:gd name="T90" fmla="*/ 5 w 759"/>
                  <a:gd name="T91" fmla="*/ 298 h 442"/>
                  <a:gd name="T92" fmla="*/ 5 w 759"/>
                  <a:gd name="T93" fmla="*/ 274 h 442"/>
                  <a:gd name="T94" fmla="*/ 0 w 759"/>
                  <a:gd name="T95" fmla="*/ 250 h 442"/>
                  <a:gd name="T96" fmla="*/ 68 w 759"/>
                  <a:gd name="T97" fmla="*/ 192 h 442"/>
                  <a:gd name="T98" fmla="*/ 500 w 759"/>
                  <a:gd name="T99" fmla="*/ 96 h 442"/>
                  <a:gd name="T100" fmla="*/ 586 w 759"/>
                  <a:gd name="T101" fmla="*/ 0 h 442"/>
                  <a:gd name="T102" fmla="*/ 716 w 759"/>
                  <a:gd name="T103" fmla="*/ 63 h 442"/>
                  <a:gd name="T104" fmla="*/ 749 w 759"/>
                  <a:gd name="T105" fmla="*/ 111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9" h="442">
                    <a:moveTo>
                      <a:pt x="586" y="0"/>
                    </a:moveTo>
                    <a:lnTo>
                      <a:pt x="586" y="5"/>
                    </a:lnTo>
                    <a:lnTo>
                      <a:pt x="596" y="15"/>
                    </a:lnTo>
                    <a:lnTo>
                      <a:pt x="596" y="20"/>
                    </a:lnTo>
                    <a:lnTo>
                      <a:pt x="600" y="20"/>
                    </a:lnTo>
                    <a:lnTo>
                      <a:pt x="600" y="24"/>
                    </a:lnTo>
                    <a:lnTo>
                      <a:pt x="605" y="24"/>
                    </a:lnTo>
                    <a:lnTo>
                      <a:pt x="605" y="29"/>
                    </a:lnTo>
                    <a:lnTo>
                      <a:pt x="605" y="34"/>
                    </a:lnTo>
                    <a:lnTo>
                      <a:pt x="600" y="34"/>
                    </a:lnTo>
                    <a:lnTo>
                      <a:pt x="605" y="39"/>
                    </a:lnTo>
                    <a:lnTo>
                      <a:pt x="610" y="39"/>
                    </a:lnTo>
                    <a:lnTo>
                      <a:pt x="610" y="44"/>
                    </a:lnTo>
                    <a:lnTo>
                      <a:pt x="605" y="53"/>
                    </a:lnTo>
                    <a:lnTo>
                      <a:pt x="610" y="53"/>
                    </a:lnTo>
                    <a:lnTo>
                      <a:pt x="610" y="58"/>
                    </a:lnTo>
                    <a:lnTo>
                      <a:pt x="615" y="53"/>
                    </a:lnTo>
                    <a:lnTo>
                      <a:pt x="610" y="53"/>
                    </a:lnTo>
                    <a:lnTo>
                      <a:pt x="615" y="48"/>
                    </a:lnTo>
                    <a:lnTo>
                      <a:pt x="610" y="44"/>
                    </a:lnTo>
                    <a:lnTo>
                      <a:pt x="615" y="44"/>
                    </a:lnTo>
                    <a:lnTo>
                      <a:pt x="610" y="39"/>
                    </a:lnTo>
                    <a:lnTo>
                      <a:pt x="605" y="34"/>
                    </a:lnTo>
                    <a:lnTo>
                      <a:pt x="610" y="34"/>
                    </a:lnTo>
                    <a:lnTo>
                      <a:pt x="610" y="29"/>
                    </a:lnTo>
                    <a:lnTo>
                      <a:pt x="615" y="29"/>
                    </a:lnTo>
                    <a:lnTo>
                      <a:pt x="620" y="29"/>
                    </a:lnTo>
                    <a:lnTo>
                      <a:pt x="624" y="34"/>
                    </a:lnTo>
                    <a:lnTo>
                      <a:pt x="634" y="39"/>
                    </a:lnTo>
                    <a:lnTo>
                      <a:pt x="639" y="39"/>
                    </a:lnTo>
                    <a:lnTo>
                      <a:pt x="648" y="44"/>
                    </a:lnTo>
                    <a:lnTo>
                      <a:pt x="653" y="44"/>
                    </a:lnTo>
                    <a:lnTo>
                      <a:pt x="658" y="48"/>
                    </a:lnTo>
                    <a:lnTo>
                      <a:pt x="658" y="53"/>
                    </a:lnTo>
                    <a:lnTo>
                      <a:pt x="653" y="53"/>
                    </a:lnTo>
                    <a:lnTo>
                      <a:pt x="653" y="58"/>
                    </a:lnTo>
                    <a:lnTo>
                      <a:pt x="658" y="68"/>
                    </a:lnTo>
                    <a:lnTo>
                      <a:pt x="658" y="72"/>
                    </a:lnTo>
                    <a:lnTo>
                      <a:pt x="653" y="68"/>
                    </a:lnTo>
                    <a:lnTo>
                      <a:pt x="653" y="72"/>
                    </a:lnTo>
                    <a:lnTo>
                      <a:pt x="648" y="72"/>
                    </a:lnTo>
                    <a:lnTo>
                      <a:pt x="648" y="77"/>
                    </a:lnTo>
                    <a:lnTo>
                      <a:pt x="653" y="77"/>
                    </a:lnTo>
                    <a:lnTo>
                      <a:pt x="658" y="77"/>
                    </a:lnTo>
                    <a:lnTo>
                      <a:pt x="658" y="72"/>
                    </a:lnTo>
                    <a:lnTo>
                      <a:pt x="663" y="77"/>
                    </a:lnTo>
                    <a:lnTo>
                      <a:pt x="668" y="72"/>
                    </a:lnTo>
                    <a:lnTo>
                      <a:pt x="672" y="72"/>
                    </a:lnTo>
                    <a:lnTo>
                      <a:pt x="677" y="68"/>
                    </a:lnTo>
                    <a:lnTo>
                      <a:pt x="677" y="72"/>
                    </a:lnTo>
                    <a:lnTo>
                      <a:pt x="682" y="77"/>
                    </a:lnTo>
                    <a:lnTo>
                      <a:pt x="687" y="77"/>
                    </a:lnTo>
                    <a:lnTo>
                      <a:pt x="692" y="77"/>
                    </a:lnTo>
                    <a:lnTo>
                      <a:pt x="696" y="77"/>
                    </a:lnTo>
                    <a:lnTo>
                      <a:pt x="701" y="82"/>
                    </a:lnTo>
                    <a:lnTo>
                      <a:pt x="701" y="77"/>
                    </a:lnTo>
                    <a:lnTo>
                      <a:pt x="701" y="72"/>
                    </a:lnTo>
                    <a:lnTo>
                      <a:pt x="696" y="72"/>
                    </a:lnTo>
                    <a:lnTo>
                      <a:pt x="692" y="72"/>
                    </a:lnTo>
                    <a:lnTo>
                      <a:pt x="687" y="68"/>
                    </a:lnTo>
                    <a:lnTo>
                      <a:pt x="682" y="68"/>
                    </a:lnTo>
                    <a:lnTo>
                      <a:pt x="677" y="72"/>
                    </a:lnTo>
                    <a:lnTo>
                      <a:pt x="677" y="68"/>
                    </a:lnTo>
                    <a:lnTo>
                      <a:pt x="682" y="68"/>
                    </a:lnTo>
                    <a:lnTo>
                      <a:pt x="687" y="63"/>
                    </a:lnTo>
                    <a:lnTo>
                      <a:pt x="687" y="58"/>
                    </a:lnTo>
                    <a:lnTo>
                      <a:pt x="692" y="53"/>
                    </a:lnTo>
                    <a:lnTo>
                      <a:pt x="692" y="58"/>
                    </a:lnTo>
                    <a:lnTo>
                      <a:pt x="692" y="63"/>
                    </a:lnTo>
                    <a:lnTo>
                      <a:pt x="692" y="68"/>
                    </a:lnTo>
                    <a:lnTo>
                      <a:pt x="696" y="72"/>
                    </a:lnTo>
                    <a:lnTo>
                      <a:pt x="701" y="72"/>
                    </a:lnTo>
                    <a:lnTo>
                      <a:pt x="711" y="72"/>
                    </a:lnTo>
                    <a:lnTo>
                      <a:pt x="711" y="77"/>
                    </a:lnTo>
                    <a:lnTo>
                      <a:pt x="711" y="82"/>
                    </a:lnTo>
                    <a:lnTo>
                      <a:pt x="716" y="82"/>
                    </a:lnTo>
                    <a:lnTo>
                      <a:pt x="716" y="87"/>
                    </a:lnTo>
                    <a:lnTo>
                      <a:pt x="716" y="92"/>
                    </a:lnTo>
                    <a:lnTo>
                      <a:pt x="716" y="96"/>
                    </a:lnTo>
                    <a:lnTo>
                      <a:pt x="720" y="101"/>
                    </a:lnTo>
                    <a:lnTo>
                      <a:pt x="725" y="106"/>
                    </a:lnTo>
                    <a:lnTo>
                      <a:pt x="725" y="101"/>
                    </a:lnTo>
                    <a:lnTo>
                      <a:pt x="730" y="101"/>
                    </a:lnTo>
                    <a:lnTo>
                      <a:pt x="725" y="106"/>
                    </a:lnTo>
                    <a:lnTo>
                      <a:pt x="730" y="106"/>
                    </a:lnTo>
                    <a:lnTo>
                      <a:pt x="735" y="106"/>
                    </a:lnTo>
                    <a:lnTo>
                      <a:pt x="735" y="111"/>
                    </a:lnTo>
                    <a:lnTo>
                      <a:pt x="740" y="111"/>
                    </a:lnTo>
                    <a:lnTo>
                      <a:pt x="740" y="106"/>
                    </a:lnTo>
                    <a:lnTo>
                      <a:pt x="744" y="106"/>
                    </a:lnTo>
                    <a:lnTo>
                      <a:pt x="749" y="96"/>
                    </a:lnTo>
                    <a:lnTo>
                      <a:pt x="744" y="96"/>
                    </a:lnTo>
                    <a:lnTo>
                      <a:pt x="744" y="92"/>
                    </a:lnTo>
                    <a:lnTo>
                      <a:pt x="744" y="96"/>
                    </a:lnTo>
                    <a:lnTo>
                      <a:pt x="744" y="92"/>
                    </a:lnTo>
                    <a:lnTo>
                      <a:pt x="740" y="92"/>
                    </a:lnTo>
                    <a:lnTo>
                      <a:pt x="740" y="87"/>
                    </a:lnTo>
                    <a:lnTo>
                      <a:pt x="744" y="87"/>
                    </a:lnTo>
                    <a:lnTo>
                      <a:pt x="744" y="82"/>
                    </a:lnTo>
                    <a:lnTo>
                      <a:pt x="749" y="87"/>
                    </a:lnTo>
                    <a:lnTo>
                      <a:pt x="749" y="92"/>
                    </a:lnTo>
                    <a:lnTo>
                      <a:pt x="754" y="96"/>
                    </a:lnTo>
                    <a:lnTo>
                      <a:pt x="759" y="101"/>
                    </a:lnTo>
                    <a:lnTo>
                      <a:pt x="754" y="106"/>
                    </a:lnTo>
                    <a:lnTo>
                      <a:pt x="749" y="106"/>
                    </a:lnTo>
                    <a:lnTo>
                      <a:pt x="749" y="111"/>
                    </a:lnTo>
                    <a:lnTo>
                      <a:pt x="744" y="111"/>
                    </a:lnTo>
                    <a:lnTo>
                      <a:pt x="749" y="111"/>
                    </a:lnTo>
                    <a:lnTo>
                      <a:pt x="749" y="116"/>
                    </a:lnTo>
                    <a:lnTo>
                      <a:pt x="749" y="120"/>
                    </a:lnTo>
                    <a:lnTo>
                      <a:pt x="749" y="125"/>
                    </a:lnTo>
                    <a:lnTo>
                      <a:pt x="744" y="125"/>
                    </a:lnTo>
                    <a:lnTo>
                      <a:pt x="749" y="125"/>
                    </a:lnTo>
                    <a:lnTo>
                      <a:pt x="749" y="130"/>
                    </a:lnTo>
                    <a:lnTo>
                      <a:pt x="749" y="135"/>
                    </a:lnTo>
                    <a:lnTo>
                      <a:pt x="754" y="135"/>
                    </a:lnTo>
                    <a:lnTo>
                      <a:pt x="749" y="140"/>
                    </a:lnTo>
                    <a:lnTo>
                      <a:pt x="749" y="144"/>
                    </a:lnTo>
                    <a:lnTo>
                      <a:pt x="744" y="149"/>
                    </a:lnTo>
                    <a:lnTo>
                      <a:pt x="740" y="149"/>
                    </a:lnTo>
                    <a:lnTo>
                      <a:pt x="740" y="154"/>
                    </a:lnTo>
                    <a:lnTo>
                      <a:pt x="735" y="159"/>
                    </a:lnTo>
                    <a:lnTo>
                      <a:pt x="735" y="168"/>
                    </a:lnTo>
                    <a:lnTo>
                      <a:pt x="730" y="168"/>
                    </a:lnTo>
                    <a:lnTo>
                      <a:pt x="725" y="173"/>
                    </a:lnTo>
                    <a:lnTo>
                      <a:pt x="720" y="173"/>
                    </a:lnTo>
                    <a:lnTo>
                      <a:pt x="716" y="173"/>
                    </a:lnTo>
                    <a:lnTo>
                      <a:pt x="711" y="173"/>
                    </a:lnTo>
                    <a:lnTo>
                      <a:pt x="706" y="173"/>
                    </a:lnTo>
                    <a:lnTo>
                      <a:pt x="692" y="183"/>
                    </a:lnTo>
                    <a:lnTo>
                      <a:pt x="677" y="197"/>
                    </a:lnTo>
                    <a:lnTo>
                      <a:pt x="672" y="197"/>
                    </a:lnTo>
                    <a:lnTo>
                      <a:pt x="672" y="202"/>
                    </a:lnTo>
                    <a:lnTo>
                      <a:pt x="668" y="202"/>
                    </a:lnTo>
                    <a:lnTo>
                      <a:pt x="658" y="212"/>
                    </a:lnTo>
                    <a:lnTo>
                      <a:pt x="648" y="221"/>
                    </a:lnTo>
                    <a:lnTo>
                      <a:pt x="644" y="226"/>
                    </a:lnTo>
                    <a:lnTo>
                      <a:pt x="624" y="240"/>
                    </a:lnTo>
                    <a:lnTo>
                      <a:pt x="610" y="250"/>
                    </a:lnTo>
                    <a:lnTo>
                      <a:pt x="605" y="255"/>
                    </a:lnTo>
                    <a:lnTo>
                      <a:pt x="600" y="255"/>
                    </a:lnTo>
                    <a:lnTo>
                      <a:pt x="596" y="255"/>
                    </a:lnTo>
                    <a:lnTo>
                      <a:pt x="581" y="260"/>
                    </a:lnTo>
                    <a:lnTo>
                      <a:pt x="572" y="264"/>
                    </a:lnTo>
                    <a:lnTo>
                      <a:pt x="567" y="269"/>
                    </a:lnTo>
                    <a:lnTo>
                      <a:pt x="562" y="269"/>
                    </a:lnTo>
                    <a:lnTo>
                      <a:pt x="548" y="279"/>
                    </a:lnTo>
                    <a:lnTo>
                      <a:pt x="543" y="279"/>
                    </a:lnTo>
                    <a:lnTo>
                      <a:pt x="533" y="288"/>
                    </a:lnTo>
                    <a:lnTo>
                      <a:pt x="519" y="293"/>
                    </a:lnTo>
                    <a:lnTo>
                      <a:pt x="509" y="293"/>
                    </a:lnTo>
                    <a:lnTo>
                      <a:pt x="495" y="293"/>
                    </a:lnTo>
                    <a:lnTo>
                      <a:pt x="490" y="293"/>
                    </a:lnTo>
                    <a:lnTo>
                      <a:pt x="480" y="298"/>
                    </a:lnTo>
                    <a:lnTo>
                      <a:pt x="466" y="303"/>
                    </a:lnTo>
                    <a:lnTo>
                      <a:pt x="461" y="308"/>
                    </a:lnTo>
                    <a:lnTo>
                      <a:pt x="456" y="312"/>
                    </a:lnTo>
                    <a:lnTo>
                      <a:pt x="452" y="312"/>
                    </a:lnTo>
                    <a:lnTo>
                      <a:pt x="432" y="327"/>
                    </a:lnTo>
                    <a:lnTo>
                      <a:pt x="423" y="327"/>
                    </a:lnTo>
                    <a:lnTo>
                      <a:pt x="418" y="332"/>
                    </a:lnTo>
                    <a:lnTo>
                      <a:pt x="413" y="336"/>
                    </a:lnTo>
                    <a:lnTo>
                      <a:pt x="394" y="351"/>
                    </a:lnTo>
                    <a:lnTo>
                      <a:pt x="380" y="365"/>
                    </a:lnTo>
                    <a:lnTo>
                      <a:pt x="370" y="365"/>
                    </a:lnTo>
                    <a:lnTo>
                      <a:pt x="365" y="365"/>
                    </a:lnTo>
                    <a:lnTo>
                      <a:pt x="360" y="365"/>
                    </a:lnTo>
                    <a:lnTo>
                      <a:pt x="356" y="365"/>
                    </a:lnTo>
                    <a:lnTo>
                      <a:pt x="356" y="360"/>
                    </a:lnTo>
                    <a:lnTo>
                      <a:pt x="346" y="360"/>
                    </a:lnTo>
                    <a:lnTo>
                      <a:pt x="336" y="356"/>
                    </a:lnTo>
                    <a:lnTo>
                      <a:pt x="332" y="360"/>
                    </a:lnTo>
                    <a:lnTo>
                      <a:pt x="308" y="365"/>
                    </a:lnTo>
                    <a:lnTo>
                      <a:pt x="303" y="365"/>
                    </a:lnTo>
                    <a:lnTo>
                      <a:pt x="288" y="365"/>
                    </a:lnTo>
                    <a:lnTo>
                      <a:pt x="284" y="365"/>
                    </a:lnTo>
                    <a:lnTo>
                      <a:pt x="269" y="365"/>
                    </a:lnTo>
                    <a:lnTo>
                      <a:pt x="255" y="365"/>
                    </a:lnTo>
                    <a:lnTo>
                      <a:pt x="250" y="370"/>
                    </a:lnTo>
                    <a:lnTo>
                      <a:pt x="245" y="375"/>
                    </a:lnTo>
                    <a:lnTo>
                      <a:pt x="240" y="380"/>
                    </a:lnTo>
                    <a:lnTo>
                      <a:pt x="226" y="389"/>
                    </a:lnTo>
                    <a:lnTo>
                      <a:pt x="212" y="399"/>
                    </a:lnTo>
                    <a:lnTo>
                      <a:pt x="202" y="399"/>
                    </a:lnTo>
                    <a:lnTo>
                      <a:pt x="197" y="399"/>
                    </a:lnTo>
                    <a:lnTo>
                      <a:pt x="183" y="399"/>
                    </a:lnTo>
                    <a:lnTo>
                      <a:pt x="173" y="404"/>
                    </a:lnTo>
                    <a:lnTo>
                      <a:pt x="154" y="423"/>
                    </a:lnTo>
                    <a:lnTo>
                      <a:pt x="144" y="428"/>
                    </a:lnTo>
                    <a:lnTo>
                      <a:pt x="135" y="437"/>
                    </a:lnTo>
                    <a:lnTo>
                      <a:pt x="130" y="442"/>
                    </a:lnTo>
                    <a:lnTo>
                      <a:pt x="125" y="442"/>
                    </a:lnTo>
                    <a:lnTo>
                      <a:pt x="120" y="442"/>
                    </a:lnTo>
                    <a:lnTo>
                      <a:pt x="116" y="437"/>
                    </a:lnTo>
                    <a:lnTo>
                      <a:pt x="111" y="432"/>
                    </a:lnTo>
                    <a:lnTo>
                      <a:pt x="101" y="432"/>
                    </a:lnTo>
                    <a:lnTo>
                      <a:pt x="96" y="432"/>
                    </a:lnTo>
                    <a:lnTo>
                      <a:pt x="87" y="423"/>
                    </a:lnTo>
                    <a:lnTo>
                      <a:pt x="77" y="413"/>
                    </a:lnTo>
                    <a:lnTo>
                      <a:pt x="68" y="413"/>
                    </a:lnTo>
                    <a:lnTo>
                      <a:pt x="63" y="413"/>
                    </a:lnTo>
                    <a:lnTo>
                      <a:pt x="63" y="404"/>
                    </a:lnTo>
                    <a:lnTo>
                      <a:pt x="58" y="404"/>
                    </a:lnTo>
                    <a:lnTo>
                      <a:pt x="44" y="399"/>
                    </a:lnTo>
                    <a:lnTo>
                      <a:pt x="39" y="399"/>
                    </a:lnTo>
                    <a:lnTo>
                      <a:pt x="34" y="399"/>
                    </a:lnTo>
                    <a:lnTo>
                      <a:pt x="20" y="399"/>
                    </a:lnTo>
                    <a:lnTo>
                      <a:pt x="10" y="394"/>
                    </a:lnTo>
                    <a:lnTo>
                      <a:pt x="5" y="389"/>
                    </a:lnTo>
                    <a:lnTo>
                      <a:pt x="15" y="370"/>
                    </a:lnTo>
                    <a:lnTo>
                      <a:pt x="20" y="370"/>
                    </a:lnTo>
                    <a:lnTo>
                      <a:pt x="20" y="365"/>
                    </a:lnTo>
                    <a:lnTo>
                      <a:pt x="20" y="360"/>
                    </a:lnTo>
                    <a:lnTo>
                      <a:pt x="20" y="356"/>
                    </a:lnTo>
                    <a:lnTo>
                      <a:pt x="24" y="356"/>
                    </a:lnTo>
                    <a:lnTo>
                      <a:pt x="24" y="351"/>
                    </a:lnTo>
                    <a:lnTo>
                      <a:pt x="20" y="351"/>
                    </a:lnTo>
                    <a:lnTo>
                      <a:pt x="20" y="346"/>
                    </a:lnTo>
                    <a:lnTo>
                      <a:pt x="20" y="341"/>
                    </a:lnTo>
                    <a:lnTo>
                      <a:pt x="15" y="341"/>
                    </a:lnTo>
                    <a:lnTo>
                      <a:pt x="15" y="336"/>
                    </a:lnTo>
                    <a:lnTo>
                      <a:pt x="10" y="336"/>
                    </a:lnTo>
                    <a:lnTo>
                      <a:pt x="10" y="332"/>
                    </a:lnTo>
                    <a:lnTo>
                      <a:pt x="10" y="327"/>
                    </a:lnTo>
                    <a:lnTo>
                      <a:pt x="5" y="322"/>
                    </a:lnTo>
                    <a:lnTo>
                      <a:pt x="5" y="317"/>
                    </a:lnTo>
                    <a:lnTo>
                      <a:pt x="5" y="312"/>
                    </a:lnTo>
                    <a:lnTo>
                      <a:pt x="5" y="308"/>
                    </a:lnTo>
                    <a:lnTo>
                      <a:pt x="5" y="303"/>
                    </a:lnTo>
                    <a:lnTo>
                      <a:pt x="5" y="298"/>
                    </a:lnTo>
                    <a:lnTo>
                      <a:pt x="5" y="293"/>
                    </a:lnTo>
                    <a:lnTo>
                      <a:pt x="5" y="288"/>
                    </a:lnTo>
                    <a:lnTo>
                      <a:pt x="5" y="284"/>
                    </a:lnTo>
                    <a:lnTo>
                      <a:pt x="5" y="279"/>
                    </a:lnTo>
                    <a:lnTo>
                      <a:pt x="5" y="274"/>
                    </a:lnTo>
                    <a:lnTo>
                      <a:pt x="0" y="269"/>
                    </a:lnTo>
                    <a:lnTo>
                      <a:pt x="0" y="264"/>
                    </a:lnTo>
                    <a:lnTo>
                      <a:pt x="0" y="260"/>
                    </a:lnTo>
                    <a:lnTo>
                      <a:pt x="0" y="255"/>
                    </a:lnTo>
                    <a:lnTo>
                      <a:pt x="0" y="250"/>
                    </a:lnTo>
                    <a:lnTo>
                      <a:pt x="0" y="245"/>
                    </a:lnTo>
                    <a:lnTo>
                      <a:pt x="34" y="245"/>
                    </a:lnTo>
                    <a:lnTo>
                      <a:pt x="58" y="221"/>
                    </a:lnTo>
                    <a:lnTo>
                      <a:pt x="63" y="202"/>
                    </a:lnTo>
                    <a:lnTo>
                      <a:pt x="68" y="192"/>
                    </a:lnTo>
                    <a:lnTo>
                      <a:pt x="111" y="183"/>
                    </a:lnTo>
                    <a:lnTo>
                      <a:pt x="322" y="140"/>
                    </a:lnTo>
                    <a:lnTo>
                      <a:pt x="437" y="96"/>
                    </a:lnTo>
                    <a:lnTo>
                      <a:pt x="485" y="87"/>
                    </a:lnTo>
                    <a:lnTo>
                      <a:pt x="500" y="96"/>
                    </a:lnTo>
                    <a:lnTo>
                      <a:pt x="524" y="92"/>
                    </a:lnTo>
                    <a:lnTo>
                      <a:pt x="543" y="72"/>
                    </a:lnTo>
                    <a:lnTo>
                      <a:pt x="572" y="53"/>
                    </a:lnTo>
                    <a:lnTo>
                      <a:pt x="576" y="34"/>
                    </a:lnTo>
                    <a:lnTo>
                      <a:pt x="586" y="0"/>
                    </a:lnTo>
                    <a:close/>
                    <a:moveTo>
                      <a:pt x="716" y="63"/>
                    </a:moveTo>
                    <a:lnTo>
                      <a:pt x="725" y="63"/>
                    </a:lnTo>
                    <a:lnTo>
                      <a:pt x="725" y="72"/>
                    </a:lnTo>
                    <a:lnTo>
                      <a:pt x="716" y="72"/>
                    </a:lnTo>
                    <a:lnTo>
                      <a:pt x="716" y="63"/>
                    </a:lnTo>
                    <a:close/>
                    <a:moveTo>
                      <a:pt x="735" y="77"/>
                    </a:moveTo>
                    <a:lnTo>
                      <a:pt x="735" y="82"/>
                    </a:lnTo>
                    <a:lnTo>
                      <a:pt x="735" y="82"/>
                    </a:lnTo>
                    <a:lnTo>
                      <a:pt x="735" y="77"/>
                    </a:lnTo>
                    <a:close/>
                    <a:moveTo>
                      <a:pt x="749" y="111"/>
                    </a:moveTo>
                    <a:lnTo>
                      <a:pt x="754" y="111"/>
                    </a:lnTo>
                    <a:lnTo>
                      <a:pt x="749" y="111"/>
                    </a:lnTo>
                    <a:close/>
                  </a:path>
                </a:pathLst>
              </a:custGeom>
              <a:solidFill>
                <a:schemeClr val="accent6">
                  <a:lumMod val="40000"/>
                  <a:lumOff val="6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46" name="Freeform 14"/>
              <p:cNvSpPr>
                <a:spLocks/>
              </p:cNvSpPr>
              <p:nvPr/>
            </p:nvSpPr>
            <p:spPr bwMode="gray">
              <a:xfrm>
                <a:off x="4316413" y="5019675"/>
                <a:ext cx="1835150" cy="1082675"/>
              </a:xfrm>
              <a:custGeom>
                <a:avLst/>
                <a:gdLst>
                  <a:gd name="T0" fmla="*/ 273 w 1156"/>
                  <a:gd name="T1" fmla="*/ 19 h 682"/>
                  <a:gd name="T2" fmla="*/ 302 w 1156"/>
                  <a:gd name="T3" fmla="*/ 43 h 682"/>
                  <a:gd name="T4" fmla="*/ 307 w 1156"/>
                  <a:gd name="T5" fmla="*/ 77 h 682"/>
                  <a:gd name="T6" fmla="*/ 345 w 1156"/>
                  <a:gd name="T7" fmla="*/ 53 h 682"/>
                  <a:gd name="T8" fmla="*/ 374 w 1156"/>
                  <a:gd name="T9" fmla="*/ 72 h 682"/>
                  <a:gd name="T10" fmla="*/ 422 w 1156"/>
                  <a:gd name="T11" fmla="*/ 82 h 682"/>
                  <a:gd name="T12" fmla="*/ 451 w 1156"/>
                  <a:gd name="T13" fmla="*/ 48 h 682"/>
                  <a:gd name="T14" fmla="*/ 480 w 1156"/>
                  <a:gd name="T15" fmla="*/ 19 h 682"/>
                  <a:gd name="T16" fmla="*/ 533 w 1156"/>
                  <a:gd name="T17" fmla="*/ 10 h 682"/>
                  <a:gd name="T18" fmla="*/ 576 w 1156"/>
                  <a:gd name="T19" fmla="*/ 29 h 682"/>
                  <a:gd name="T20" fmla="*/ 614 w 1156"/>
                  <a:gd name="T21" fmla="*/ 53 h 682"/>
                  <a:gd name="T22" fmla="*/ 600 w 1156"/>
                  <a:gd name="T23" fmla="*/ 96 h 682"/>
                  <a:gd name="T24" fmla="*/ 638 w 1156"/>
                  <a:gd name="T25" fmla="*/ 106 h 682"/>
                  <a:gd name="T26" fmla="*/ 677 w 1156"/>
                  <a:gd name="T27" fmla="*/ 86 h 682"/>
                  <a:gd name="T28" fmla="*/ 715 w 1156"/>
                  <a:gd name="T29" fmla="*/ 67 h 682"/>
                  <a:gd name="T30" fmla="*/ 758 w 1156"/>
                  <a:gd name="T31" fmla="*/ 53 h 682"/>
                  <a:gd name="T32" fmla="*/ 801 w 1156"/>
                  <a:gd name="T33" fmla="*/ 48 h 682"/>
                  <a:gd name="T34" fmla="*/ 763 w 1156"/>
                  <a:gd name="T35" fmla="*/ 77 h 682"/>
                  <a:gd name="T36" fmla="*/ 753 w 1156"/>
                  <a:gd name="T37" fmla="*/ 125 h 682"/>
                  <a:gd name="T38" fmla="*/ 739 w 1156"/>
                  <a:gd name="T39" fmla="*/ 168 h 682"/>
                  <a:gd name="T40" fmla="*/ 782 w 1156"/>
                  <a:gd name="T41" fmla="*/ 187 h 682"/>
                  <a:gd name="T42" fmla="*/ 840 w 1156"/>
                  <a:gd name="T43" fmla="*/ 211 h 682"/>
                  <a:gd name="T44" fmla="*/ 893 w 1156"/>
                  <a:gd name="T45" fmla="*/ 235 h 682"/>
                  <a:gd name="T46" fmla="*/ 945 w 1156"/>
                  <a:gd name="T47" fmla="*/ 259 h 682"/>
                  <a:gd name="T48" fmla="*/ 998 w 1156"/>
                  <a:gd name="T49" fmla="*/ 283 h 682"/>
                  <a:gd name="T50" fmla="*/ 1051 w 1156"/>
                  <a:gd name="T51" fmla="*/ 293 h 682"/>
                  <a:gd name="T52" fmla="*/ 1084 w 1156"/>
                  <a:gd name="T53" fmla="*/ 331 h 682"/>
                  <a:gd name="T54" fmla="*/ 1132 w 1156"/>
                  <a:gd name="T55" fmla="*/ 379 h 682"/>
                  <a:gd name="T56" fmla="*/ 1137 w 1156"/>
                  <a:gd name="T57" fmla="*/ 437 h 682"/>
                  <a:gd name="T58" fmla="*/ 1152 w 1156"/>
                  <a:gd name="T59" fmla="*/ 485 h 682"/>
                  <a:gd name="T60" fmla="*/ 1123 w 1156"/>
                  <a:gd name="T61" fmla="*/ 533 h 682"/>
                  <a:gd name="T62" fmla="*/ 1065 w 1156"/>
                  <a:gd name="T63" fmla="*/ 552 h 682"/>
                  <a:gd name="T64" fmla="*/ 1037 w 1156"/>
                  <a:gd name="T65" fmla="*/ 629 h 682"/>
                  <a:gd name="T66" fmla="*/ 936 w 1156"/>
                  <a:gd name="T67" fmla="*/ 677 h 682"/>
                  <a:gd name="T68" fmla="*/ 825 w 1156"/>
                  <a:gd name="T69" fmla="*/ 662 h 682"/>
                  <a:gd name="T70" fmla="*/ 777 w 1156"/>
                  <a:gd name="T71" fmla="*/ 634 h 682"/>
                  <a:gd name="T72" fmla="*/ 686 w 1156"/>
                  <a:gd name="T73" fmla="*/ 667 h 682"/>
                  <a:gd name="T74" fmla="*/ 624 w 1156"/>
                  <a:gd name="T75" fmla="*/ 662 h 682"/>
                  <a:gd name="T76" fmla="*/ 533 w 1156"/>
                  <a:gd name="T77" fmla="*/ 672 h 682"/>
                  <a:gd name="T78" fmla="*/ 504 w 1156"/>
                  <a:gd name="T79" fmla="*/ 624 h 682"/>
                  <a:gd name="T80" fmla="*/ 432 w 1156"/>
                  <a:gd name="T81" fmla="*/ 581 h 682"/>
                  <a:gd name="T82" fmla="*/ 379 w 1156"/>
                  <a:gd name="T83" fmla="*/ 595 h 682"/>
                  <a:gd name="T84" fmla="*/ 336 w 1156"/>
                  <a:gd name="T85" fmla="*/ 634 h 682"/>
                  <a:gd name="T86" fmla="*/ 307 w 1156"/>
                  <a:gd name="T87" fmla="*/ 638 h 682"/>
                  <a:gd name="T88" fmla="*/ 283 w 1156"/>
                  <a:gd name="T89" fmla="*/ 629 h 682"/>
                  <a:gd name="T90" fmla="*/ 139 w 1156"/>
                  <a:gd name="T91" fmla="*/ 624 h 682"/>
                  <a:gd name="T92" fmla="*/ 91 w 1156"/>
                  <a:gd name="T93" fmla="*/ 547 h 682"/>
                  <a:gd name="T94" fmla="*/ 48 w 1156"/>
                  <a:gd name="T95" fmla="*/ 499 h 682"/>
                  <a:gd name="T96" fmla="*/ 14 w 1156"/>
                  <a:gd name="T97" fmla="*/ 451 h 682"/>
                  <a:gd name="T98" fmla="*/ 29 w 1156"/>
                  <a:gd name="T99" fmla="*/ 384 h 682"/>
                  <a:gd name="T100" fmla="*/ 14 w 1156"/>
                  <a:gd name="T101" fmla="*/ 317 h 682"/>
                  <a:gd name="T102" fmla="*/ 38 w 1156"/>
                  <a:gd name="T103" fmla="*/ 293 h 682"/>
                  <a:gd name="T104" fmla="*/ 72 w 1156"/>
                  <a:gd name="T105" fmla="*/ 264 h 682"/>
                  <a:gd name="T106" fmla="*/ 110 w 1156"/>
                  <a:gd name="T107" fmla="*/ 240 h 682"/>
                  <a:gd name="T108" fmla="*/ 134 w 1156"/>
                  <a:gd name="T109" fmla="*/ 197 h 682"/>
                  <a:gd name="T110" fmla="*/ 177 w 1156"/>
                  <a:gd name="T111" fmla="*/ 173 h 682"/>
                  <a:gd name="T112" fmla="*/ 197 w 1156"/>
                  <a:gd name="T113" fmla="*/ 130 h 682"/>
                  <a:gd name="T114" fmla="*/ 221 w 1156"/>
                  <a:gd name="T115" fmla="*/ 86 h 682"/>
                  <a:gd name="T116" fmla="*/ 192 w 1156"/>
                  <a:gd name="T117" fmla="*/ 58 h 682"/>
                  <a:gd name="T118" fmla="*/ 216 w 1156"/>
                  <a:gd name="T119" fmla="*/ 24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6" h="682">
                    <a:moveTo>
                      <a:pt x="240" y="0"/>
                    </a:moveTo>
                    <a:lnTo>
                      <a:pt x="240" y="5"/>
                    </a:lnTo>
                    <a:lnTo>
                      <a:pt x="245" y="5"/>
                    </a:lnTo>
                    <a:lnTo>
                      <a:pt x="245" y="10"/>
                    </a:lnTo>
                    <a:lnTo>
                      <a:pt x="249" y="10"/>
                    </a:lnTo>
                    <a:lnTo>
                      <a:pt x="249" y="14"/>
                    </a:lnTo>
                    <a:lnTo>
                      <a:pt x="254" y="14"/>
                    </a:lnTo>
                    <a:lnTo>
                      <a:pt x="259" y="14"/>
                    </a:lnTo>
                    <a:lnTo>
                      <a:pt x="259" y="19"/>
                    </a:lnTo>
                    <a:lnTo>
                      <a:pt x="264" y="19"/>
                    </a:lnTo>
                    <a:lnTo>
                      <a:pt x="269" y="19"/>
                    </a:lnTo>
                    <a:lnTo>
                      <a:pt x="273" y="19"/>
                    </a:lnTo>
                    <a:lnTo>
                      <a:pt x="278" y="19"/>
                    </a:lnTo>
                    <a:lnTo>
                      <a:pt x="283" y="14"/>
                    </a:lnTo>
                    <a:lnTo>
                      <a:pt x="288" y="14"/>
                    </a:lnTo>
                    <a:lnTo>
                      <a:pt x="293" y="14"/>
                    </a:lnTo>
                    <a:lnTo>
                      <a:pt x="293" y="19"/>
                    </a:lnTo>
                    <a:lnTo>
                      <a:pt x="293" y="24"/>
                    </a:lnTo>
                    <a:lnTo>
                      <a:pt x="293" y="29"/>
                    </a:lnTo>
                    <a:lnTo>
                      <a:pt x="297" y="29"/>
                    </a:lnTo>
                    <a:lnTo>
                      <a:pt x="297" y="34"/>
                    </a:lnTo>
                    <a:lnTo>
                      <a:pt x="302" y="34"/>
                    </a:lnTo>
                    <a:lnTo>
                      <a:pt x="302" y="38"/>
                    </a:lnTo>
                    <a:lnTo>
                      <a:pt x="302" y="43"/>
                    </a:lnTo>
                    <a:lnTo>
                      <a:pt x="302" y="48"/>
                    </a:lnTo>
                    <a:lnTo>
                      <a:pt x="302" y="53"/>
                    </a:lnTo>
                    <a:lnTo>
                      <a:pt x="297" y="53"/>
                    </a:lnTo>
                    <a:lnTo>
                      <a:pt x="297" y="58"/>
                    </a:lnTo>
                    <a:lnTo>
                      <a:pt x="293" y="58"/>
                    </a:lnTo>
                    <a:lnTo>
                      <a:pt x="293" y="62"/>
                    </a:lnTo>
                    <a:lnTo>
                      <a:pt x="293" y="67"/>
                    </a:lnTo>
                    <a:lnTo>
                      <a:pt x="293" y="72"/>
                    </a:lnTo>
                    <a:lnTo>
                      <a:pt x="297" y="72"/>
                    </a:lnTo>
                    <a:lnTo>
                      <a:pt x="297" y="77"/>
                    </a:lnTo>
                    <a:lnTo>
                      <a:pt x="302" y="77"/>
                    </a:lnTo>
                    <a:lnTo>
                      <a:pt x="307" y="77"/>
                    </a:lnTo>
                    <a:lnTo>
                      <a:pt x="312" y="77"/>
                    </a:lnTo>
                    <a:lnTo>
                      <a:pt x="317" y="77"/>
                    </a:lnTo>
                    <a:lnTo>
                      <a:pt x="321" y="77"/>
                    </a:lnTo>
                    <a:lnTo>
                      <a:pt x="326" y="77"/>
                    </a:lnTo>
                    <a:lnTo>
                      <a:pt x="331" y="72"/>
                    </a:lnTo>
                    <a:lnTo>
                      <a:pt x="336" y="72"/>
                    </a:lnTo>
                    <a:lnTo>
                      <a:pt x="336" y="67"/>
                    </a:lnTo>
                    <a:lnTo>
                      <a:pt x="336" y="62"/>
                    </a:lnTo>
                    <a:lnTo>
                      <a:pt x="341" y="62"/>
                    </a:lnTo>
                    <a:lnTo>
                      <a:pt x="341" y="58"/>
                    </a:lnTo>
                    <a:lnTo>
                      <a:pt x="341" y="53"/>
                    </a:lnTo>
                    <a:lnTo>
                      <a:pt x="345" y="53"/>
                    </a:lnTo>
                    <a:lnTo>
                      <a:pt x="345" y="48"/>
                    </a:lnTo>
                    <a:lnTo>
                      <a:pt x="350" y="48"/>
                    </a:lnTo>
                    <a:lnTo>
                      <a:pt x="355" y="48"/>
                    </a:lnTo>
                    <a:lnTo>
                      <a:pt x="360" y="48"/>
                    </a:lnTo>
                    <a:lnTo>
                      <a:pt x="360" y="53"/>
                    </a:lnTo>
                    <a:lnTo>
                      <a:pt x="365" y="53"/>
                    </a:lnTo>
                    <a:lnTo>
                      <a:pt x="365" y="58"/>
                    </a:lnTo>
                    <a:lnTo>
                      <a:pt x="365" y="62"/>
                    </a:lnTo>
                    <a:lnTo>
                      <a:pt x="365" y="67"/>
                    </a:lnTo>
                    <a:lnTo>
                      <a:pt x="369" y="67"/>
                    </a:lnTo>
                    <a:lnTo>
                      <a:pt x="369" y="72"/>
                    </a:lnTo>
                    <a:lnTo>
                      <a:pt x="374" y="72"/>
                    </a:lnTo>
                    <a:lnTo>
                      <a:pt x="379" y="72"/>
                    </a:lnTo>
                    <a:lnTo>
                      <a:pt x="379" y="77"/>
                    </a:lnTo>
                    <a:lnTo>
                      <a:pt x="384" y="82"/>
                    </a:lnTo>
                    <a:lnTo>
                      <a:pt x="389" y="82"/>
                    </a:lnTo>
                    <a:lnTo>
                      <a:pt x="389" y="86"/>
                    </a:lnTo>
                    <a:lnTo>
                      <a:pt x="393" y="86"/>
                    </a:lnTo>
                    <a:lnTo>
                      <a:pt x="398" y="86"/>
                    </a:lnTo>
                    <a:lnTo>
                      <a:pt x="403" y="86"/>
                    </a:lnTo>
                    <a:lnTo>
                      <a:pt x="408" y="82"/>
                    </a:lnTo>
                    <a:lnTo>
                      <a:pt x="413" y="82"/>
                    </a:lnTo>
                    <a:lnTo>
                      <a:pt x="417" y="82"/>
                    </a:lnTo>
                    <a:lnTo>
                      <a:pt x="422" y="82"/>
                    </a:lnTo>
                    <a:lnTo>
                      <a:pt x="427" y="82"/>
                    </a:lnTo>
                    <a:lnTo>
                      <a:pt x="427" y="77"/>
                    </a:lnTo>
                    <a:lnTo>
                      <a:pt x="432" y="77"/>
                    </a:lnTo>
                    <a:lnTo>
                      <a:pt x="432" y="72"/>
                    </a:lnTo>
                    <a:lnTo>
                      <a:pt x="437" y="72"/>
                    </a:lnTo>
                    <a:lnTo>
                      <a:pt x="437" y="67"/>
                    </a:lnTo>
                    <a:lnTo>
                      <a:pt x="437" y="62"/>
                    </a:lnTo>
                    <a:lnTo>
                      <a:pt x="441" y="62"/>
                    </a:lnTo>
                    <a:lnTo>
                      <a:pt x="441" y="58"/>
                    </a:lnTo>
                    <a:lnTo>
                      <a:pt x="446" y="53"/>
                    </a:lnTo>
                    <a:lnTo>
                      <a:pt x="446" y="48"/>
                    </a:lnTo>
                    <a:lnTo>
                      <a:pt x="451" y="48"/>
                    </a:lnTo>
                    <a:lnTo>
                      <a:pt x="451" y="43"/>
                    </a:lnTo>
                    <a:lnTo>
                      <a:pt x="451" y="38"/>
                    </a:lnTo>
                    <a:lnTo>
                      <a:pt x="456" y="38"/>
                    </a:lnTo>
                    <a:lnTo>
                      <a:pt x="456" y="34"/>
                    </a:lnTo>
                    <a:lnTo>
                      <a:pt x="461" y="34"/>
                    </a:lnTo>
                    <a:lnTo>
                      <a:pt x="461" y="29"/>
                    </a:lnTo>
                    <a:lnTo>
                      <a:pt x="465" y="29"/>
                    </a:lnTo>
                    <a:lnTo>
                      <a:pt x="470" y="29"/>
                    </a:lnTo>
                    <a:lnTo>
                      <a:pt x="470" y="24"/>
                    </a:lnTo>
                    <a:lnTo>
                      <a:pt x="475" y="24"/>
                    </a:lnTo>
                    <a:lnTo>
                      <a:pt x="480" y="24"/>
                    </a:lnTo>
                    <a:lnTo>
                      <a:pt x="480" y="19"/>
                    </a:lnTo>
                    <a:lnTo>
                      <a:pt x="485" y="19"/>
                    </a:lnTo>
                    <a:lnTo>
                      <a:pt x="489" y="19"/>
                    </a:lnTo>
                    <a:lnTo>
                      <a:pt x="494" y="19"/>
                    </a:lnTo>
                    <a:lnTo>
                      <a:pt x="499" y="19"/>
                    </a:lnTo>
                    <a:lnTo>
                      <a:pt x="504" y="19"/>
                    </a:lnTo>
                    <a:lnTo>
                      <a:pt x="509" y="19"/>
                    </a:lnTo>
                    <a:lnTo>
                      <a:pt x="513" y="19"/>
                    </a:lnTo>
                    <a:lnTo>
                      <a:pt x="513" y="14"/>
                    </a:lnTo>
                    <a:lnTo>
                      <a:pt x="518" y="14"/>
                    </a:lnTo>
                    <a:lnTo>
                      <a:pt x="523" y="14"/>
                    </a:lnTo>
                    <a:lnTo>
                      <a:pt x="528" y="14"/>
                    </a:lnTo>
                    <a:lnTo>
                      <a:pt x="533" y="10"/>
                    </a:lnTo>
                    <a:lnTo>
                      <a:pt x="537" y="10"/>
                    </a:lnTo>
                    <a:lnTo>
                      <a:pt x="542" y="10"/>
                    </a:lnTo>
                    <a:lnTo>
                      <a:pt x="547" y="10"/>
                    </a:lnTo>
                    <a:lnTo>
                      <a:pt x="547" y="14"/>
                    </a:lnTo>
                    <a:lnTo>
                      <a:pt x="552" y="14"/>
                    </a:lnTo>
                    <a:lnTo>
                      <a:pt x="557" y="19"/>
                    </a:lnTo>
                    <a:lnTo>
                      <a:pt x="557" y="24"/>
                    </a:lnTo>
                    <a:lnTo>
                      <a:pt x="561" y="24"/>
                    </a:lnTo>
                    <a:lnTo>
                      <a:pt x="566" y="24"/>
                    </a:lnTo>
                    <a:lnTo>
                      <a:pt x="566" y="29"/>
                    </a:lnTo>
                    <a:lnTo>
                      <a:pt x="571" y="29"/>
                    </a:lnTo>
                    <a:lnTo>
                      <a:pt x="576" y="29"/>
                    </a:lnTo>
                    <a:lnTo>
                      <a:pt x="581" y="34"/>
                    </a:lnTo>
                    <a:lnTo>
                      <a:pt x="585" y="34"/>
                    </a:lnTo>
                    <a:lnTo>
                      <a:pt x="590" y="34"/>
                    </a:lnTo>
                    <a:lnTo>
                      <a:pt x="595" y="34"/>
                    </a:lnTo>
                    <a:lnTo>
                      <a:pt x="595" y="38"/>
                    </a:lnTo>
                    <a:lnTo>
                      <a:pt x="600" y="38"/>
                    </a:lnTo>
                    <a:lnTo>
                      <a:pt x="605" y="38"/>
                    </a:lnTo>
                    <a:lnTo>
                      <a:pt x="609" y="38"/>
                    </a:lnTo>
                    <a:lnTo>
                      <a:pt x="609" y="43"/>
                    </a:lnTo>
                    <a:lnTo>
                      <a:pt x="614" y="43"/>
                    </a:lnTo>
                    <a:lnTo>
                      <a:pt x="614" y="48"/>
                    </a:lnTo>
                    <a:lnTo>
                      <a:pt x="614" y="53"/>
                    </a:lnTo>
                    <a:lnTo>
                      <a:pt x="614" y="58"/>
                    </a:lnTo>
                    <a:lnTo>
                      <a:pt x="609" y="58"/>
                    </a:lnTo>
                    <a:lnTo>
                      <a:pt x="609" y="62"/>
                    </a:lnTo>
                    <a:lnTo>
                      <a:pt x="609" y="67"/>
                    </a:lnTo>
                    <a:lnTo>
                      <a:pt x="605" y="72"/>
                    </a:lnTo>
                    <a:lnTo>
                      <a:pt x="605" y="77"/>
                    </a:lnTo>
                    <a:lnTo>
                      <a:pt x="600" y="82"/>
                    </a:lnTo>
                    <a:lnTo>
                      <a:pt x="600" y="86"/>
                    </a:lnTo>
                    <a:lnTo>
                      <a:pt x="600" y="91"/>
                    </a:lnTo>
                    <a:lnTo>
                      <a:pt x="595" y="91"/>
                    </a:lnTo>
                    <a:lnTo>
                      <a:pt x="595" y="96"/>
                    </a:lnTo>
                    <a:lnTo>
                      <a:pt x="600" y="96"/>
                    </a:lnTo>
                    <a:lnTo>
                      <a:pt x="600" y="101"/>
                    </a:lnTo>
                    <a:lnTo>
                      <a:pt x="600" y="106"/>
                    </a:lnTo>
                    <a:lnTo>
                      <a:pt x="605" y="106"/>
                    </a:lnTo>
                    <a:lnTo>
                      <a:pt x="609" y="106"/>
                    </a:lnTo>
                    <a:lnTo>
                      <a:pt x="609" y="110"/>
                    </a:lnTo>
                    <a:lnTo>
                      <a:pt x="614" y="110"/>
                    </a:lnTo>
                    <a:lnTo>
                      <a:pt x="619" y="110"/>
                    </a:lnTo>
                    <a:lnTo>
                      <a:pt x="624" y="110"/>
                    </a:lnTo>
                    <a:lnTo>
                      <a:pt x="629" y="110"/>
                    </a:lnTo>
                    <a:lnTo>
                      <a:pt x="629" y="106"/>
                    </a:lnTo>
                    <a:lnTo>
                      <a:pt x="633" y="106"/>
                    </a:lnTo>
                    <a:lnTo>
                      <a:pt x="638" y="106"/>
                    </a:lnTo>
                    <a:lnTo>
                      <a:pt x="643" y="106"/>
                    </a:lnTo>
                    <a:lnTo>
                      <a:pt x="643" y="101"/>
                    </a:lnTo>
                    <a:lnTo>
                      <a:pt x="648" y="101"/>
                    </a:lnTo>
                    <a:lnTo>
                      <a:pt x="653" y="101"/>
                    </a:lnTo>
                    <a:lnTo>
                      <a:pt x="657" y="101"/>
                    </a:lnTo>
                    <a:lnTo>
                      <a:pt x="657" y="96"/>
                    </a:lnTo>
                    <a:lnTo>
                      <a:pt x="662" y="96"/>
                    </a:lnTo>
                    <a:lnTo>
                      <a:pt x="667" y="96"/>
                    </a:lnTo>
                    <a:lnTo>
                      <a:pt x="667" y="91"/>
                    </a:lnTo>
                    <a:lnTo>
                      <a:pt x="672" y="91"/>
                    </a:lnTo>
                    <a:lnTo>
                      <a:pt x="672" y="86"/>
                    </a:lnTo>
                    <a:lnTo>
                      <a:pt x="677" y="86"/>
                    </a:lnTo>
                    <a:lnTo>
                      <a:pt x="681" y="86"/>
                    </a:lnTo>
                    <a:lnTo>
                      <a:pt x="681" y="82"/>
                    </a:lnTo>
                    <a:lnTo>
                      <a:pt x="686" y="82"/>
                    </a:lnTo>
                    <a:lnTo>
                      <a:pt x="691" y="82"/>
                    </a:lnTo>
                    <a:lnTo>
                      <a:pt x="691" y="77"/>
                    </a:lnTo>
                    <a:lnTo>
                      <a:pt x="696" y="77"/>
                    </a:lnTo>
                    <a:lnTo>
                      <a:pt x="701" y="77"/>
                    </a:lnTo>
                    <a:lnTo>
                      <a:pt x="701" y="72"/>
                    </a:lnTo>
                    <a:lnTo>
                      <a:pt x="705" y="72"/>
                    </a:lnTo>
                    <a:lnTo>
                      <a:pt x="705" y="67"/>
                    </a:lnTo>
                    <a:lnTo>
                      <a:pt x="710" y="67"/>
                    </a:lnTo>
                    <a:lnTo>
                      <a:pt x="715" y="67"/>
                    </a:lnTo>
                    <a:lnTo>
                      <a:pt x="715" y="62"/>
                    </a:lnTo>
                    <a:lnTo>
                      <a:pt x="720" y="62"/>
                    </a:lnTo>
                    <a:lnTo>
                      <a:pt x="725" y="62"/>
                    </a:lnTo>
                    <a:lnTo>
                      <a:pt x="725" y="58"/>
                    </a:lnTo>
                    <a:lnTo>
                      <a:pt x="729" y="58"/>
                    </a:lnTo>
                    <a:lnTo>
                      <a:pt x="734" y="58"/>
                    </a:lnTo>
                    <a:lnTo>
                      <a:pt x="739" y="58"/>
                    </a:lnTo>
                    <a:lnTo>
                      <a:pt x="744" y="58"/>
                    </a:lnTo>
                    <a:lnTo>
                      <a:pt x="749" y="58"/>
                    </a:lnTo>
                    <a:lnTo>
                      <a:pt x="749" y="53"/>
                    </a:lnTo>
                    <a:lnTo>
                      <a:pt x="753" y="53"/>
                    </a:lnTo>
                    <a:lnTo>
                      <a:pt x="758" y="53"/>
                    </a:lnTo>
                    <a:lnTo>
                      <a:pt x="758" y="48"/>
                    </a:lnTo>
                    <a:lnTo>
                      <a:pt x="763" y="48"/>
                    </a:lnTo>
                    <a:lnTo>
                      <a:pt x="768" y="48"/>
                    </a:lnTo>
                    <a:lnTo>
                      <a:pt x="768" y="43"/>
                    </a:lnTo>
                    <a:lnTo>
                      <a:pt x="773" y="43"/>
                    </a:lnTo>
                    <a:lnTo>
                      <a:pt x="777" y="43"/>
                    </a:lnTo>
                    <a:lnTo>
                      <a:pt x="782" y="43"/>
                    </a:lnTo>
                    <a:lnTo>
                      <a:pt x="787" y="43"/>
                    </a:lnTo>
                    <a:lnTo>
                      <a:pt x="792" y="43"/>
                    </a:lnTo>
                    <a:lnTo>
                      <a:pt x="797" y="43"/>
                    </a:lnTo>
                    <a:lnTo>
                      <a:pt x="797" y="48"/>
                    </a:lnTo>
                    <a:lnTo>
                      <a:pt x="801" y="48"/>
                    </a:lnTo>
                    <a:lnTo>
                      <a:pt x="797" y="48"/>
                    </a:lnTo>
                    <a:lnTo>
                      <a:pt x="797" y="53"/>
                    </a:lnTo>
                    <a:lnTo>
                      <a:pt x="792" y="53"/>
                    </a:lnTo>
                    <a:lnTo>
                      <a:pt x="787" y="58"/>
                    </a:lnTo>
                    <a:lnTo>
                      <a:pt x="787" y="62"/>
                    </a:lnTo>
                    <a:lnTo>
                      <a:pt x="782" y="62"/>
                    </a:lnTo>
                    <a:lnTo>
                      <a:pt x="782" y="67"/>
                    </a:lnTo>
                    <a:lnTo>
                      <a:pt x="777" y="67"/>
                    </a:lnTo>
                    <a:lnTo>
                      <a:pt x="773" y="72"/>
                    </a:lnTo>
                    <a:lnTo>
                      <a:pt x="768" y="72"/>
                    </a:lnTo>
                    <a:lnTo>
                      <a:pt x="768" y="77"/>
                    </a:lnTo>
                    <a:lnTo>
                      <a:pt x="763" y="77"/>
                    </a:lnTo>
                    <a:lnTo>
                      <a:pt x="763" y="82"/>
                    </a:lnTo>
                    <a:lnTo>
                      <a:pt x="758" y="86"/>
                    </a:lnTo>
                    <a:lnTo>
                      <a:pt x="758" y="91"/>
                    </a:lnTo>
                    <a:lnTo>
                      <a:pt x="758" y="96"/>
                    </a:lnTo>
                    <a:lnTo>
                      <a:pt x="753" y="101"/>
                    </a:lnTo>
                    <a:lnTo>
                      <a:pt x="753" y="106"/>
                    </a:lnTo>
                    <a:lnTo>
                      <a:pt x="749" y="106"/>
                    </a:lnTo>
                    <a:lnTo>
                      <a:pt x="749" y="110"/>
                    </a:lnTo>
                    <a:lnTo>
                      <a:pt x="753" y="115"/>
                    </a:lnTo>
                    <a:lnTo>
                      <a:pt x="753" y="120"/>
                    </a:lnTo>
                    <a:lnTo>
                      <a:pt x="758" y="120"/>
                    </a:lnTo>
                    <a:lnTo>
                      <a:pt x="753" y="125"/>
                    </a:lnTo>
                    <a:lnTo>
                      <a:pt x="753" y="130"/>
                    </a:lnTo>
                    <a:lnTo>
                      <a:pt x="749" y="130"/>
                    </a:lnTo>
                    <a:lnTo>
                      <a:pt x="749" y="134"/>
                    </a:lnTo>
                    <a:lnTo>
                      <a:pt x="744" y="134"/>
                    </a:lnTo>
                    <a:lnTo>
                      <a:pt x="744" y="139"/>
                    </a:lnTo>
                    <a:lnTo>
                      <a:pt x="744" y="144"/>
                    </a:lnTo>
                    <a:lnTo>
                      <a:pt x="744" y="149"/>
                    </a:lnTo>
                    <a:lnTo>
                      <a:pt x="744" y="154"/>
                    </a:lnTo>
                    <a:lnTo>
                      <a:pt x="744" y="158"/>
                    </a:lnTo>
                    <a:lnTo>
                      <a:pt x="739" y="158"/>
                    </a:lnTo>
                    <a:lnTo>
                      <a:pt x="739" y="163"/>
                    </a:lnTo>
                    <a:lnTo>
                      <a:pt x="739" y="168"/>
                    </a:lnTo>
                    <a:lnTo>
                      <a:pt x="734" y="168"/>
                    </a:lnTo>
                    <a:lnTo>
                      <a:pt x="734" y="173"/>
                    </a:lnTo>
                    <a:lnTo>
                      <a:pt x="739" y="173"/>
                    </a:lnTo>
                    <a:lnTo>
                      <a:pt x="744" y="178"/>
                    </a:lnTo>
                    <a:lnTo>
                      <a:pt x="749" y="178"/>
                    </a:lnTo>
                    <a:lnTo>
                      <a:pt x="753" y="178"/>
                    </a:lnTo>
                    <a:lnTo>
                      <a:pt x="758" y="182"/>
                    </a:lnTo>
                    <a:lnTo>
                      <a:pt x="763" y="182"/>
                    </a:lnTo>
                    <a:lnTo>
                      <a:pt x="768" y="182"/>
                    </a:lnTo>
                    <a:lnTo>
                      <a:pt x="773" y="187"/>
                    </a:lnTo>
                    <a:lnTo>
                      <a:pt x="777" y="187"/>
                    </a:lnTo>
                    <a:lnTo>
                      <a:pt x="782" y="187"/>
                    </a:lnTo>
                    <a:lnTo>
                      <a:pt x="787" y="192"/>
                    </a:lnTo>
                    <a:lnTo>
                      <a:pt x="792" y="192"/>
                    </a:lnTo>
                    <a:lnTo>
                      <a:pt x="797" y="197"/>
                    </a:lnTo>
                    <a:lnTo>
                      <a:pt x="801" y="197"/>
                    </a:lnTo>
                    <a:lnTo>
                      <a:pt x="806" y="197"/>
                    </a:lnTo>
                    <a:lnTo>
                      <a:pt x="811" y="197"/>
                    </a:lnTo>
                    <a:lnTo>
                      <a:pt x="816" y="202"/>
                    </a:lnTo>
                    <a:lnTo>
                      <a:pt x="821" y="202"/>
                    </a:lnTo>
                    <a:lnTo>
                      <a:pt x="825" y="202"/>
                    </a:lnTo>
                    <a:lnTo>
                      <a:pt x="830" y="206"/>
                    </a:lnTo>
                    <a:lnTo>
                      <a:pt x="835" y="206"/>
                    </a:lnTo>
                    <a:lnTo>
                      <a:pt x="840" y="211"/>
                    </a:lnTo>
                    <a:lnTo>
                      <a:pt x="845" y="211"/>
                    </a:lnTo>
                    <a:lnTo>
                      <a:pt x="849" y="211"/>
                    </a:lnTo>
                    <a:lnTo>
                      <a:pt x="854" y="216"/>
                    </a:lnTo>
                    <a:lnTo>
                      <a:pt x="859" y="216"/>
                    </a:lnTo>
                    <a:lnTo>
                      <a:pt x="864" y="221"/>
                    </a:lnTo>
                    <a:lnTo>
                      <a:pt x="869" y="221"/>
                    </a:lnTo>
                    <a:lnTo>
                      <a:pt x="873" y="221"/>
                    </a:lnTo>
                    <a:lnTo>
                      <a:pt x="873" y="226"/>
                    </a:lnTo>
                    <a:lnTo>
                      <a:pt x="878" y="226"/>
                    </a:lnTo>
                    <a:lnTo>
                      <a:pt x="883" y="230"/>
                    </a:lnTo>
                    <a:lnTo>
                      <a:pt x="888" y="230"/>
                    </a:lnTo>
                    <a:lnTo>
                      <a:pt x="893" y="235"/>
                    </a:lnTo>
                    <a:lnTo>
                      <a:pt x="897" y="235"/>
                    </a:lnTo>
                    <a:lnTo>
                      <a:pt x="902" y="235"/>
                    </a:lnTo>
                    <a:lnTo>
                      <a:pt x="907" y="240"/>
                    </a:lnTo>
                    <a:lnTo>
                      <a:pt x="912" y="240"/>
                    </a:lnTo>
                    <a:lnTo>
                      <a:pt x="917" y="245"/>
                    </a:lnTo>
                    <a:lnTo>
                      <a:pt x="921" y="245"/>
                    </a:lnTo>
                    <a:lnTo>
                      <a:pt x="921" y="250"/>
                    </a:lnTo>
                    <a:lnTo>
                      <a:pt x="926" y="250"/>
                    </a:lnTo>
                    <a:lnTo>
                      <a:pt x="931" y="250"/>
                    </a:lnTo>
                    <a:lnTo>
                      <a:pt x="936" y="254"/>
                    </a:lnTo>
                    <a:lnTo>
                      <a:pt x="941" y="254"/>
                    </a:lnTo>
                    <a:lnTo>
                      <a:pt x="945" y="259"/>
                    </a:lnTo>
                    <a:lnTo>
                      <a:pt x="950" y="259"/>
                    </a:lnTo>
                    <a:lnTo>
                      <a:pt x="955" y="264"/>
                    </a:lnTo>
                    <a:lnTo>
                      <a:pt x="960" y="264"/>
                    </a:lnTo>
                    <a:lnTo>
                      <a:pt x="965" y="264"/>
                    </a:lnTo>
                    <a:lnTo>
                      <a:pt x="965" y="269"/>
                    </a:lnTo>
                    <a:lnTo>
                      <a:pt x="969" y="269"/>
                    </a:lnTo>
                    <a:lnTo>
                      <a:pt x="974" y="274"/>
                    </a:lnTo>
                    <a:lnTo>
                      <a:pt x="979" y="274"/>
                    </a:lnTo>
                    <a:lnTo>
                      <a:pt x="984" y="278"/>
                    </a:lnTo>
                    <a:lnTo>
                      <a:pt x="989" y="278"/>
                    </a:lnTo>
                    <a:lnTo>
                      <a:pt x="993" y="278"/>
                    </a:lnTo>
                    <a:lnTo>
                      <a:pt x="998" y="283"/>
                    </a:lnTo>
                    <a:lnTo>
                      <a:pt x="1003" y="283"/>
                    </a:lnTo>
                    <a:lnTo>
                      <a:pt x="1008" y="288"/>
                    </a:lnTo>
                    <a:lnTo>
                      <a:pt x="1013" y="288"/>
                    </a:lnTo>
                    <a:lnTo>
                      <a:pt x="1013" y="293"/>
                    </a:lnTo>
                    <a:lnTo>
                      <a:pt x="1017" y="293"/>
                    </a:lnTo>
                    <a:lnTo>
                      <a:pt x="1022" y="293"/>
                    </a:lnTo>
                    <a:lnTo>
                      <a:pt x="1027" y="293"/>
                    </a:lnTo>
                    <a:lnTo>
                      <a:pt x="1032" y="293"/>
                    </a:lnTo>
                    <a:lnTo>
                      <a:pt x="1037" y="293"/>
                    </a:lnTo>
                    <a:lnTo>
                      <a:pt x="1041" y="293"/>
                    </a:lnTo>
                    <a:lnTo>
                      <a:pt x="1046" y="293"/>
                    </a:lnTo>
                    <a:lnTo>
                      <a:pt x="1051" y="293"/>
                    </a:lnTo>
                    <a:lnTo>
                      <a:pt x="1056" y="288"/>
                    </a:lnTo>
                    <a:lnTo>
                      <a:pt x="1061" y="288"/>
                    </a:lnTo>
                    <a:lnTo>
                      <a:pt x="1061" y="293"/>
                    </a:lnTo>
                    <a:lnTo>
                      <a:pt x="1061" y="298"/>
                    </a:lnTo>
                    <a:lnTo>
                      <a:pt x="1065" y="302"/>
                    </a:lnTo>
                    <a:lnTo>
                      <a:pt x="1070" y="302"/>
                    </a:lnTo>
                    <a:lnTo>
                      <a:pt x="1070" y="307"/>
                    </a:lnTo>
                    <a:lnTo>
                      <a:pt x="1070" y="312"/>
                    </a:lnTo>
                    <a:lnTo>
                      <a:pt x="1075" y="317"/>
                    </a:lnTo>
                    <a:lnTo>
                      <a:pt x="1080" y="322"/>
                    </a:lnTo>
                    <a:lnTo>
                      <a:pt x="1080" y="326"/>
                    </a:lnTo>
                    <a:lnTo>
                      <a:pt x="1084" y="331"/>
                    </a:lnTo>
                    <a:lnTo>
                      <a:pt x="1084" y="336"/>
                    </a:lnTo>
                    <a:lnTo>
                      <a:pt x="1089" y="336"/>
                    </a:lnTo>
                    <a:lnTo>
                      <a:pt x="1094" y="341"/>
                    </a:lnTo>
                    <a:lnTo>
                      <a:pt x="1099" y="346"/>
                    </a:lnTo>
                    <a:lnTo>
                      <a:pt x="1104" y="350"/>
                    </a:lnTo>
                    <a:lnTo>
                      <a:pt x="1108" y="355"/>
                    </a:lnTo>
                    <a:lnTo>
                      <a:pt x="1108" y="360"/>
                    </a:lnTo>
                    <a:lnTo>
                      <a:pt x="1113" y="360"/>
                    </a:lnTo>
                    <a:lnTo>
                      <a:pt x="1118" y="365"/>
                    </a:lnTo>
                    <a:lnTo>
                      <a:pt x="1123" y="370"/>
                    </a:lnTo>
                    <a:lnTo>
                      <a:pt x="1128" y="374"/>
                    </a:lnTo>
                    <a:lnTo>
                      <a:pt x="1132" y="379"/>
                    </a:lnTo>
                    <a:lnTo>
                      <a:pt x="1132" y="384"/>
                    </a:lnTo>
                    <a:lnTo>
                      <a:pt x="1132" y="389"/>
                    </a:lnTo>
                    <a:lnTo>
                      <a:pt x="1132" y="394"/>
                    </a:lnTo>
                    <a:lnTo>
                      <a:pt x="1132" y="398"/>
                    </a:lnTo>
                    <a:lnTo>
                      <a:pt x="1132" y="403"/>
                    </a:lnTo>
                    <a:lnTo>
                      <a:pt x="1137" y="408"/>
                    </a:lnTo>
                    <a:lnTo>
                      <a:pt x="1137" y="413"/>
                    </a:lnTo>
                    <a:lnTo>
                      <a:pt x="1137" y="418"/>
                    </a:lnTo>
                    <a:lnTo>
                      <a:pt x="1137" y="422"/>
                    </a:lnTo>
                    <a:lnTo>
                      <a:pt x="1137" y="427"/>
                    </a:lnTo>
                    <a:lnTo>
                      <a:pt x="1137" y="432"/>
                    </a:lnTo>
                    <a:lnTo>
                      <a:pt x="1137" y="437"/>
                    </a:lnTo>
                    <a:lnTo>
                      <a:pt x="1137" y="442"/>
                    </a:lnTo>
                    <a:lnTo>
                      <a:pt x="1137" y="446"/>
                    </a:lnTo>
                    <a:lnTo>
                      <a:pt x="1137" y="451"/>
                    </a:lnTo>
                    <a:lnTo>
                      <a:pt x="1137" y="456"/>
                    </a:lnTo>
                    <a:lnTo>
                      <a:pt x="1142" y="461"/>
                    </a:lnTo>
                    <a:lnTo>
                      <a:pt x="1142" y="466"/>
                    </a:lnTo>
                    <a:lnTo>
                      <a:pt x="1142" y="470"/>
                    </a:lnTo>
                    <a:lnTo>
                      <a:pt x="1147" y="470"/>
                    </a:lnTo>
                    <a:lnTo>
                      <a:pt x="1147" y="475"/>
                    </a:lnTo>
                    <a:lnTo>
                      <a:pt x="1152" y="475"/>
                    </a:lnTo>
                    <a:lnTo>
                      <a:pt x="1152" y="480"/>
                    </a:lnTo>
                    <a:lnTo>
                      <a:pt x="1152" y="485"/>
                    </a:lnTo>
                    <a:lnTo>
                      <a:pt x="1156" y="485"/>
                    </a:lnTo>
                    <a:lnTo>
                      <a:pt x="1156" y="490"/>
                    </a:lnTo>
                    <a:lnTo>
                      <a:pt x="1152" y="490"/>
                    </a:lnTo>
                    <a:lnTo>
                      <a:pt x="1152" y="494"/>
                    </a:lnTo>
                    <a:lnTo>
                      <a:pt x="1152" y="499"/>
                    </a:lnTo>
                    <a:lnTo>
                      <a:pt x="1152" y="504"/>
                    </a:lnTo>
                    <a:lnTo>
                      <a:pt x="1147" y="504"/>
                    </a:lnTo>
                    <a:lnTo>
                      <a:pt x="1137" y="523"/>
                    </a:lnTo>
                    <a:lnTo>
                      <a:pt x="1142" y="528"/>
                    </a:lnTo>
                    <a:lnTo>
                      <a:pt x="1137" y="528"/>
                    </a:lnTo>
                    <a:lnTo>
                      <a:pt x="1128" y="533"/>
                    </a:lnTo>
                    <a:lnTo>
                      <a:pt x="1123" y="533"/>
                    </a:lnTo>
                    <a:lnTo>
                      <a:pt x="1123" y="528"/>
                    </a:lnTo>
                    <a:lnTo>
                      <a:pt x="1113" y="528"/>
                    </a:lnTo>
                    <a:lnTo>
                      <a:pt x="1108" y="528"/>
                    </a:lnTo>
                    <a:lnTo>
                      <a:pt x="1104" y="533"/>
                    </a:lnTo>
                    <a:lnTo>
                      <a:pt x="1099" y="533"/>
                    </a:lnTo>
                    <a:lnTo>
                      <a:pt x="1094" y="533"/>
                    </a:lnTo>
                    <a:lnTo>
                      <a:pt x="1084" y="533"/>
                    </a:lnTo>
                    <a:lnTo>
                      <a:pt x="1084" y="538"/>
                    </a:lnTo>
                    <a:lnTo>
                      <a:pt x="1080" y="538"/>
                    </a:lnTo>
                    <a:lnTo>
                      <a:pt x="1070" y="542"/>
                    </a:lnTo>
                    <a:lnTo>
                      <a:pt x="1070" y="547"/>
                    </a:lnTo>
                    <a:lnTo>
                      <a:pt x="1065" y="552"/>
                    </a:lnTo>
                    <a:lnTo>
                      <a:pt x="1061" y="552"/>
                    </a:lnTo>
                    <a:lnTo>
                      <a:pt x="1061" y="566"/>
                    </a:lnTo>
                    <a:lnTo>
                      <a:pt x="1061" y="571"/>
                    </a:lnTo>
                    <a:lnTo>
                      <a:pt x="1051" y="581"/>
                    </a:lnTo>
                    <a:lnTo>
                      <a:pt x="1051" y="586"/>
                    </a:lnTo>
                    <a:lnTo>
                      <a:pt x="1046" y="595"/>
                    </a:lnTo>
                    <a:lnTo>
                      <a:pt x="1046" y="600"/>
                    </a:lnTo>
                    <a:lnTo>
                      <a:pt x="1051" y="605"/>
                    </a:lnTo>
                    <a:lnTo>
                      <a:pt x="1051" y="614"/>
                    </a:lnTo>
                    <a:lnTo>
                      <a:pt x="1046" y="614"/>
                    </a:lnTo>
                    <a:lnTo>
                      <a:pt x="1046" y="619"/>
                    </a:lnTo>
                    <a:lnTo>
                      <a:pt x="1037" y="629"/>
                    </a:lnTo>
                    <a:lnTo>
                      <a:pt x="1027" y="629"/>
                    </a:lnTo>
                    <a:lnTo>
                      <a:pt x="1013" y="634"/>
                    </a:lnTo>
                    <a:lnTo>
                      <a:pt x="1008" y="638"/>
                    </a:lnTo>
                    <a:lnTo>
                      <a:pt x="1003" y="643"/>
                    </a:lnTo>
                    <a:lnTo>
                      <a:pt x="989" y="653"/>
                    </a:lnTo>
                    <a:lnTo>
                      <a:pt x="979" y="653"/>
                    </a:lnTo>
                    <a:lnTo>
                      <a:pt x="974" y="648"/>
                    </a:lnTo>
                    <a:lnTo>
                      <a:pt x="969" y="653"/>
                    </a:lnTo>
                    <a:lnTo>
                      <a:pt x="965" y="653"/>
                    </a:lnTo>
                    <a:lnTo>
                      <a:pt x="945" y="662"/>
                    </a:lnTo>
                    <a:lnTo>
                      <a:pt x="941" y="667"/>
                    </a:lnTo>
                    <a:lnTo>
                      <a:pt x="936" y="677"/>
                    </a:lnTo>
                    <a:lnTo>
                      <a:pt x="931" y="677"/>
                    </a:lnTo>
                    <a:lnTo>
                      <a:pt x="926" y="677"/>
                    </a:lnTo>
                    <a:lnTo>
                      <a:pt x="912" y="677"/>
                    </a:lnTo>
                    <a:lnTo>
                      <a:pt x="902" y="672"/>
                    </a:lnTo>
                    <a:lnTo>
                      <a:pt x="902" y="667"/>
                    </a:lnTo>
                    <a:lnTo>
                      <a:pt x="897" y="662"/>
                    </a:lnTo>
                    <a:lnTo>
                      <a:pt x="893" y="662"/>
                    </a:lnTo>
                    <a:lnTo>
                      <a:pt x="873" y="672"/>
                    </a:lnTo>
                    <a:lnTo>
                      <a:pt x="864" y="667"/>
                    </a:lnTo>
                    <a:lnTo>
                      <a:pt x="849" y="667"/>
                    </a:lnTo>
                    <a:lnTo>
                      <a:pt x="835" y="662"/>
                    </a:lnTo>
                    <a:lnTo>
                      <a:pt x="825" y="662"/>
                    </a:lnTo>
                    <a:lnTo>
                      <a:pt x="816" y="658"/>
                    </a:lnTo>
                    <a:lnTo>
                      <a:pt x="816" y="653"/>
                    </a:lnTo>
                    <a:lnTo>
                      <a:pt x="811" y="653"/>
                    </a:lnTo>
                    <a:lnTo>
                      <a:pt x="811" y="648"/>
                    </a:lnTo>
                    <a:lnTo>
                      <a:pt x="801" y="634"/>
                    </a:lnTo>
                    <a:lnTo>
                      <a:pt x="797" y="629"/>
                    </a:lnTo>
                    <a:lnTo>
                      <a:pt x="792" y="624"/>
                    </a:lnTo>
                    <a:lnTo>
                      <a:pt x="792" y="629"/>
                    </a:lnTo>
                    <a:lnTo>
                      <a:pt x="787" y="629"/>
                    </a:lnTo>
                    <a:lnTo>
                      <a:pt x="787" y="634"/>
                    </a:lnTo>
                    <a:lnTo>
                      <a:pt x="787" y="638"/>
                    </a:lnTo>
                    <a:lnTo>
                      <a:pt x="777" y="634"/>
                    </a:lnTo>
                    <a:lnTo>
                      <a:pt x="773" y="638"/>
                    </a:lnTo>
                    <a:lnTo>
                      <a:pt x="763" y="638"/>
                    </a:lnTo>
                    <a:lnTo>
                      <a:pt x="749" y="638"/>
                    </a:lnTo>
                    <a:lnTo>
                      <a:pt x="739" y="634"/>
                    </a:lnTo>
                    <a:lnTo>
                      <a:pt x="734" y="634"/>
                    </a:lnTo>
                    <a:lnTo>
                      <a:pt x="729" y="629"/>
                    </a:lnTo>
                    <a:lnTo>
                      <a:pt x="725" y="629"/>
                    </a:lnTo>
                    <a:lnTo>
                      <a:pt x="725" y="634"/>
                    </a:lnTo>
                    <a:lnTo>
                      <a:pt x="710" y="648"/>
                    </a:lnTo>
                    <a:lnTo>
                      <a:pt x="705" y="653"/>
                    </a:lnTo>
                    <a:lnTo>
                      <a:pt x="696" y="667"/>
                    </a:lnTo>
                    <a:lnTo>
                      <a:pt x="686" y="667"/>
                    </a:lnTo>
                    <a:lnTo>
                      <a:pt x="681" y="672"/>
                    </a:lnTo>
                    <a:lnTo>
                      <a:pt x="672" y="677"/>
                    </a:lnTo>
                    <a:lnTo>
                      <a:pt x="657" y="677"/>
                    </a:lnTo>
                    <a:lnTo>
                      <a:pt x="648" y="682"/>
                    </a:lnTo>
                    <a:lnTo>
                      <a:pt x="643" y="682"/>
                    </a:lnTo>
                    <a:lnTo>
                      <a:pt x="638" y="682"/>
                    </a:lnTo>
                    <a:lnTo>
                      <a:pt x="633" y="677"/>
                    </a:lnTo>
                    <a:lnTo>
                      <a:pt x="629" y="677"/>
                    </a:lnTo>
                    <a:lnTo>
                      <a:pt x="629" y="672"/>
                    </a:lnTo>
                    <a:lnTo>
                      <a:pt x="624" y="672"/>
                    </a:lnTo>
                    <a:lnTo>
                      <a:pt x="624" y="667"/>
                    </a:lnTo>
                    <a:lnTo>
                      <a:pt x="624" y="662"/>
                    </a:lnTo>
                    <a:lnTo>
                      <a:pt x="609" y="662"/>
                    </a:lnTo>
                    <a:lnTo>
                      <a:pt x="600" y="667"/>
                    </a:lnTo>
                    <a:lnTo>
                      <a:pt x="595" y="662"/>
                    </a:lnTo>
                    <a:lnTo>
                      <a:pt x="590" y="662"/>
                    </a:lnTo>
                    <a:lnTo>
                      <a:pt x="585" y="662"/>
                    </a:lnTo>
                    <a:lnTo>
                      <a:pt x="581" y="667"/>
                    </a:lnTo>
                    <a:lnTo>
                      <a:pt x="566" y="667"/>
                    </a:lnTo>
                    <a:lnTo>
                      <a:pt x="557" y="672"/>
                    </a:lnTo>
                    <a:lnTo>
                      <a:pt x="552" y="672"/>
                    </a:lnTo>
                    <a:lnTo>
                      <a:pt x="547" y="672"/>
                    </a:lnTo>
                    <a:lnTo>
                      <a:pt x="542" y="672"/>
                    </a:lnTo>
                    <a:lnTo>
                      <a:pt x="533" y="672"/>
                    </a:lnTo>
                    <a:lnTo>
                      <a:pt x="528" y="672"/>
                    </a:lnTo>
                    <a:lnTo>
                      <a:pt x="523" y="672"/>
                    </a:lnTo>
                    <a:lnTo>
                      <a:pt x="523" y="667"/>
                    </a:lnTo>
                    <a:lnTo>
                      <a:pt x="523" y="662"/>
                    </a:lnTo>
                    <a:lnTo>
                      <a:pt x="518" y="658"/>
                    </a:lnTo>
                    <a:lnTo>
                      <a:pt x="523" y="648"/>
                    </a:lnTo>
                    <a:lnTo>
                      <a:pt x="518" y="643"/>
                    </a:lnTo>
                    <a:lnTo>
                      <a:pt x="518" y="638"/>
                    </a:lnTo>
                    <a:lnTo>
                      <a:pt x="518" y="634"/>
                    </a:lnTo>
                    <a:lnTo>
                      <a:pt x="513" y="629"/>
                    </a:lnTo>
                    <a:lnTo>
                      <a:pt x="509" y="624"/>
                    </a:lnTo>
                    <a:lnTo>
                      <a:pt x="504" y="624"/>
                    </a:lnTo>
                    <a:lnTo>
                      <a:pt x="504" y="619"/>
                    </a:lnTo>
                    <a:lnTo>
                      <a:pt x="499" y="619"/>
                    </a:lnTo>
                    <a:lnTo>
                      <a:pt x="494" y="619"/>
                    </a:lnTo>
                    <a:lnTo>
                      <a:pt x="494" y="614"/>
                    </a:lnTo>
                    <a:lnTo>
                      <a:pt x="470" y="605"/>
                    </a:lnTo>
                    <a:lnTo>
                      <a:pt x="461" y="605"/>
                    </a:lnTo>
                    <a:lnTo>
                      <a:pt x="451" y="600"/>
                    </a:lnTo>
                    <a:lnTo>
                      <a:pt x="446" y="595"/>
                    </a:lnTo>
                    <a:lnTo>
                      <a:pt x="451" y="590"/>
                    </a:lnTo>
                    <a:lnTo>
                      <a:pt x="451" y="586"/>
                    </a:lnTo>
                    <a:lnTo>
                      <a:pt x="446" y="581"/>
                    </a:lnTo>
                    <a:lnTo>
                      <a:pt x="432" y="581"/>
                    </a:lnTo>
                    <a:lnTo>
                      <a:pt x="427" y="581"/>
                    </a:lnTo>
                    <a:lnTo>
                      <a:pt x="417" y="581"/>
                    </a:lnTo>
                    <a:lnTo>
                      <a:pt x="413" y="576"/>
                    </a:lnTo>
                    <a:lnTo>
                      <a:pt x="408" y="571"/>
                    </a:lnTo>
                    <a:lnTo>
                      <a:pt x="408" y="576"/>
                    </a:lnTo>
                    <a:lnTo>
                      <a:pt x="403" y="581"/>
                    </a:lnTo>
                    <a:lnTo>
                      <a:pt x="398" y="586"/>
                    </a:lnTo>
                    <a:lnTo>
                      <a:pt x="393" y="590"/>
                    </a:lnTo>
                    <a:lnTo>
                      <a:pt x="393" y="595"/>
                    </a:lnTo>
                    <a:lnTo>
                      <a:pt x="389" y="595"/>
                    </a:lnTo>
                    <a:lnTo>
                      <a:pt x="384" y="595"/>
                    </a:lnTo>
                    <a:lnTo>
                      <a:pt x="379" y="595"/>
                    </a:lnTo>
                    <a:lnTo>
                      <a:pt x="374" y="595"/>
                    </a:lnTo>
                    <a:lnTo>
                      <a:pt x="369" y="595"/>
                    </a:lnTo>
                    <a:lnTo>
                      <a:pt x="369" y="600"/>
                    </a:lnTo>
                    <a:lnTo>
                      <a:pt x="369" y="610"/>
                    </a:lnTo>
                    <a:lnTo>
                      <a:pt x="365" y="610"/>
                    </a:lnTo>
                    <a:lnTo>
                      <a:pt x="360" y="619"/>
                    </a:lnTo>
                    <a:lnTo>
                      <a:pt x="355" y="624"/>
                    </a:lnTo>
                    <a:lnTo>
                      <a:pt x="355" y="629"/>
                    </a:lnTo>
                    <a:lnTo>
                      <a:pt x="350" y="629"/>
                    </a:lnTo>
                    <a:lnTo>
                      <a:pt x="350" y="634"/>
                    </a:lnTo>
                    <a:lnTo>
                      <a:pt x="345" y="629"/>
                    </a:lnTo>
                    <a:lnTo>
                      <a:pt x="336" y="634"/>
                    </a:lnTo>
                    <a:lnTo>
                      <a:pt x="331" y="634"/>
                    </a:lnTo>
                    <a:lnTo>
                      <a:pt x="331" y="629"/>
                    </a:lnTo>
                    <a:lnTo>
                      <a:pt x="326" y="634"/>
                    </a:lnTo>
                    <a:lnTo>
                      <a:pt x="326" y="638"/>
                    </a:lnTo>
                    <a:lnTo>
                      <a:pt x="326" y="634"/>
                    </a:lnTo>
                    <a:lnTo>
                      <a:pt x="321" y="638"/>
                    </a:lnTo>
                    <a:lnTo>
                      <a:pt x="317" y="634"/>
                    </a:lnTo>
                    <a:lnTo>
                      <a:pt x="312" y="634"/>
                    </a:lnTo>
                    <a:lnTo>
                      <a:pt x="312" y="638"/>
                    </a:lnTo>
                    <a:lnTo>
                      <a:pt x="317" y="638"/>
                    </a:lnTo>
                    <a:lnTo>
                      <a:pt x="312" y="638"/>
                    </a:lnTo>
                    <a:lnTo>
                      <a:pt x="307" y="638"/>
                    </a:lnTo>
                    <a:lnTo>
                      <a:pt x="307" y="634"/>
                    </a:lnTo>
                    <a:lnTo>
                      <a:pt x="307" y="629"/>
                    </a:lnTo>
                    <a:lnTo>
                      <a:pt x="302" y="629"/>
                    </a:lnTo>
                    <a:lnTo>
                      <a:pt x="297" y="629"/>
                    </a:lnTo>
                    <a:lnTo>
                      <a:pt x="302" y="634"/>
                    </a:lnTo>
                    <a:lnTo>
                      <a:pt x="297" y="634"/>
                    </a:lnTo>
                    <a:lnTo>
                      <a:pt x="293" y="634"/>
                    </a:lnTo>
                    <a:lnTo>
                      <a:pt x="288" y="629"/>
                    </a:lnTo>
                    <a:lnTo>
                      <a:pt x="288" y="634"/>
                    </a:lnTo>
                    <a:lnTo>
                      <a:pt x="283" y="629"/>
                    </a:lnTo>
                    <a:lnTo>
                      <a:pt x="283" y="634"/>
                    </a:lnTo>
                    <a:lnTo>
                      <a:pt x="283" y="629"/>
                    </a:lnTo>
                    <a:lnTo>
                      <a:pt x="278" y="624"/>
                    </a:lnTo>
                    <a:lnTo>
                      <a:pt x="273" y="629"/>
                    </a:lnTo>
                    <a:lnTo>
                      <a:pt x="269" y="629"/>
                    </a:lnTo>
                    <a:lnTo>
                      <a:pt x="264" y="629"/>
                    </a:lnTo>
                    <a:lnTo>
                      <a:pt x="264" y="624"/>
                    </a:lnTo>
                    <a:lnTo>
                      <a:pt x="259" y="624"/>
                    </a:lnTo>
                    <a:lnTo>
                      <a:pt x="254" y="624"/>
                    </a:lnTo>
                    <a:lnTo>
                      <a:pt x="249" y="619"/>
                    </a:lnTo>
                    <a:lnTo>
                      <a:pt x="201" y="624"/>
                    </a:lnTo>
                    <a:lnTo>
                      <a:pt x="192" y="624"/>
                    </a:lnTo>
                    <a:lnTo>
                      <a:pt x="144" y="624"/>
                    </a:lnTo>
                    <a:lnTo>
                      <a:pt x="139" y="624"/>
                    </a:lnTo>
                    <a:lnTo>
                      <a:pt x="129" y="624"/>
                    </a:lnTo>
                    <a:lnTo>
                      <a:pt x="129" y="619"/>
                    </a:lnTo>
                    <a:lnTo>
                      <a:pt x="125" y="614"/>
                    </a:lnTo>
                    <a:lnTo>
                      <a:pt x="125" y="610"/>
                    </a:lnTo>
                    <a:lnTo>
                      <a:pt x="120" y="590"/>
                    </a:lnTo>
                    <a:lnTo>
                      <a:pt x="115" y="571"/>
                    </a:lnTo>
                    <a:lnTo>
                      <a:pt x="115" y="566"/>
                    </a:lnTo>
                    <a:lnTo>
                      <a:pt x="110" y="562"/>
                    </a:lnTo>
                    <a:lnTo>
                      <a:pt x="105" y="562"/>
                    </a:lnTo>
                    <a:lnTo>
                      <a:pt x="105" y="557"/>
                    </a:lnTo>
                    <a:lnTo>
                      <a:pt x="96" y="552"/>
                    </a:lnTo>
                    <a:lnTo>
                      <a:pt x="91" y="547"/>
                    </a:lnTo>
                    <a:lnTo>
                      <a:pt x="81" y="547"/>
                    </a:lnTo>
                    <a:lnTo>
                      <a:pt x="77" y="547"/>
                    </a:lnTo>
                    <a:lnTo>
                      <a:pt x="72" y="547"/>
                    </a:lnTo>
                    <a:lnTo>
                      <a:pt x="72" y="542"/>
                    </a:lnTo>
                    <a:lnTo>
                      <a:pt x="72" y="538"/>
                    </a:lnTo>
                    <a:lnTo>
                      <a:pt x="77" y="538"/>
                    </a:lnTo>
                    <a:lnTo>
                      <a:pt x="77" y="533"/>
                    </a:lnTo>
                    <a:lnTo>
                      <a:pt x="72" y="528"/>
                    </a:lnTo>
                    <a:lnTo>
                      <a:pt x="67" y="528"/>
                    </a:lnTo>
                    <a:lnTo>
                      <a:pt x="67" y="523"/>
                    </a:lnTo>
                    <a:lnTo>
                      <a:pt x="57" y="504"/>
                    </a:lnTo>
                    <a:lnTo>
                      <a:pt x="48" y="499"/>
                    </a:lnTo>
                    <a:lnTo>
                      <a:pt x="48" y="494"/>
                    </a:lnTo>
                    <a:lnTo>
                      <a:pt x="43" y="490"/>
                    </a:lnTo>
                    <a:lnTo>
                      <a:pt x="33" y="485"/>
                    </a:lnTo>
                    <a:lnTo>
                      <a:pt x="29" y="485"/>
                    </a:lnTo>
                    <a:lnTo>
                      <a:pt x="24" y="475"/>
                    </a:lnTo>
                    <a:lnTo>
                      <a:pt x="24" y="470"/>
                    </a:lnTo>
                    <a:lnTo>
                      <a:pt x="24" y="466"/>
                    </a:lnTo>
                    <a:lnTo>
                      <a:pt x="24" y="461"/>
                    </a:lnTo>
                    <a:lnTo>
                      <a:pt x="19" y="456"/>
                    </a:lnTo>
                    <a:lnTo>
                      <a:pt x="19" y="461"/>
                    </a:lnTo>
                    <a:lnTo>
                      <a:pt x="14" y="456"/>
                    </a:lnTo>
                    <a:lnTo>
                      <a:pt x="14" y="451"/>
                    </a:lnTo>
                    <a:lnTo>
                      <a:pt x="14" y="446"/>
                    </a:lnTo>
                    <a:lnTo>
                      <a:pt x="14" y="442"/>
                    </a:lnTo>
                    <a:lnTo>
                      <a:pt x="19" y="437"/>
                    </a:lnTo>
                    <a:lnTo>
                      <a:pt x="29" y="422"/>
                    </a:lnTo>
                    <a:lnTo>
                      <a:pt x="29" y="418"/>
                    </a:lnTo>
                    <a:lnTo>
                      <a:pt x="29" y="413"/>
                    </a:lnTo>
                    <a:lnTo>
                      <a:pt x="29" y="408"/>
                    </a:lnTo>
                    <a:lnTo>
                      <a:pt x="29" y="403"/>
                    </a:lnTo>
                    <a:lnTo>
                      <a:pt x="29" y="398"/>
                    </a:lnTo>
                    <a:lnTo>
                      <a:pt x="29" y="394"/>
                    </a:lnTo>
                    <a:lnTo>
                      <a:pt x="29" y="389"/>
                    </a:lnTo>
                    <a:lnTo>
                      <a:pt x="29" y="384"/>
                    </a:lnTo>
                    <a:lnTo>
                      <a:pt x="29" y="374"/>
                    </a:lnTo>
                    <a:lnTo>
                      <a:pt x="29" y="370"/>
                    </a:lnTo>
                    <a:lnTo>
                      <a:pt x="29" y="365"/>
                    </a:lnTo>
                    <a:lnTo>
                      <a:pt x="19" y="350"/>
                    </a:lnTo>
                    <a:lnTo>
                      <a:pt x="24" y="341"/>
                    </a:lnTo>
                    <a:lnTo>
                      <a:pt x="24" y="336"/>
                    </a:lnTo>
                    <a:lnTo>
                      <a:pt x="19" y="336"/>
                    </a:lnTo>
                    <a:lnTo>
                      <a:pt x="24" y="336"/>
                    </a:lnTo>
                    <a:lnTo>
                      <a:pt x="19" y="331"/>
                    </a:lnTo>
                    <a:lnTo>
                      <a:pt x="19" y="326"/>
                    </a:lnTo>
                    <a:lnTo>
                      <a:pt x="19" y="322"/>
                    </a:lnTo>
                    <a:lnTo>
                      <a:pt x="14" y="317"/>
                    </a:lnTo>
                    <a:lnTo>
                      <a:pt x="9" y="317"/>
                    </a:lnTo>
                    <a:lnTo>
                      <a:pt x="14" y="307"/>
                    </a:lnTo>
                    <a:lnTo>
                      <a:pt x="5" y="302"/>
                    </a:lnTo>
                    <a:lnTo>
                      <a:pt x="0" y="302"/>
                    </a:lnTo>
                    <a:lnTo>
                      <a:pt x="0" y="298"/>
                    </a:lnTo>
                    <a:lnTo>
                      <a:pt x="0" y="293"/>
                    </a:lnTo>
                    <a:lnTo>
                      <a:pt x="19" y="298"/>
                    </a:lnTo>
                    <a:lnTo>
                      <a:pt x="24" y="298"/>
                    </a:lnTo>
                    <a:lnTo>
                      <a:pt x="24" y="293"/>
                    </a:lnTo>
                    <a:lnTo>
                      <a:pt x="29" y="293"/>
                    </a:lnTo>
                    <a:lnTo>
                      <a:pt x="33" y="293"/>
                    </a:lnTo>
                    <a:lnTo>
                      <a:pt x="38" y="293"/>
                    </a:lnTo>
                    <a:lnTo>
                      <a:pt x="38" y="288"/>
                    </a:lnTo>
                    <a:lnTo>
                      <a:pt x="43" y="288"/>
                    </a:lnTo>
                    <a:lnTo>
                      <a:pt x="43" y="283"/>
                    </a:lnTo>
                    <a:lnTo>
                      <a:pt x="48" y="283"/>
                    </a:lnTo>
                    <a:lnTo>
                      <a:pt x="53" y="283"/>
                    </a:lnTo>
                    <a:lnTo>
                      <a:pt x="57" y="278"/>
                    </a:lnTo>
                    <a:lnTo>
                      <a:pt x="62" y="278"/>
                    </a:lnTo>
                    <a:lnTo>
                      <a:pt x="62" y="274"/>
                    </a:lnTo>
                    <a:lnTo>
                      <a:pt x="62" y="269"/>
                    </a:lnTo>
                    <a:lnTo>
                      <a:pt x="67" y="269"/>
                    </a:lnTo>
                    <a:lnTo>
                      <a:pt x="67" y="264"/>
                    </a:lnTo>
                    <a:lnTo>
                      <a:pt x="72" y="264"/>
                    </a:lnTo>
                    <a:lnTo>
                      <a:pt x="77" y="264"/>
                    </a:lnTo>
                    <a:lnTo>
                      <a:pt x="77" y="259"/>
                    </a:lnTo>
                    <a:lnTo>
                      <a:pt x="81" y="259"/>
                    </a:lnTo>
                    <a:lnTo>
                      <a:pt x="81" y="254"/>
                    </a:lnTo>
                    <a:lnTo>
                      <a:pt x="86" y="250"/>
                    </a:lnTo>
                    <a:lnTo>
                      <a:pt x="91" y="250"/>
                    </a:lnTo>
                    <a:lnTo>
                      <a:pt x="91" y="245"/>
                    </a:lnTo>
                    <a:lnTo>
                      <a:pt x="96" y="245"/>
                    </a:lnTo>
                    <a:lnTo>
                      <a:pt x="96" y="240"/>
                    </a:lnTo>
                    <a:lnTo>
                      <a:pt x="101" y="240"/>
                    </a:lnTo>
                    <a:lnTo>
                      <a:pt x="105" y="240"/>
                    </a:lnTo>
                    <a:lnTo>
                      <a:pt x="110" y="240"/>
                    </a:lnTo>
                    <a:lnTo>
                      <a:pt x="115" y="235"/>
                    </a:lnTo>
                    <a:lnTo>
                      <a:pt x="120" y="230"/>
                    </a:lnTo>
                    <a:lnTo>
                      <a:pt x="120" y="226"/>
                    </a:lnTo>
                    <a:lnTo>
                      <a:pt x="125" y="226"/>
                    </a:lnTo>
                    <a:lnTo>
                      <a:pt x="129" y="226"/>
                    </a:lnTo>
                    <a:lnTo>
                      <a:pt x="129" y="221"/>
                    </a:lnTo>
                    <a:lnTo>
                      <a:pt x="134" y="221"/>
                    </a:lnTo>
                    <a:lnTo>
                      <a:pt x="134" y="216"/>
                    </a:lnTo>
                    <a:lnTo>
                      <a:pt x="134" y="211"/>
                    </a:lnTo>
                    <a:lnTo>
                      <a:pt x="134" y="206"/>
                    </a:lnTo>
                    <a:lnTo>
                      <a:pt x="134" y="202"/>
                    </a:lnTo>
                    <a:lnTo>
                      <a:pt x="134" y="197"/>
                    </a:lnTo>
                    <a:lnTo>
                      <a:pt x="139" y="192"/>
                    </a:lnTo>
                    <a:lnTo>
                      <a:pt x="139" y="187"/>
                    </a:lnTo>
                    <a:lnTo>
                      <a:pt x="139" y="182"/>
                    </a:lnTo>
                    <a:lnTo>
                      <a:pt x="144" y="178"/>
                    </a:lnTo>
                    <a:lnTo>
                      <a:pt x="149" y="178"/>
                    </a:lnTo>
                    <a:lnTo>
                      <a:pt x="153" y="182"/>
                    </a:lnTo>
                    <a:lnTo>
                      <a:pt x="158" y="182"/>
                    </a:lnTo>
                    <a:lnTo>
                      <a:pt x="163" y="182"/>
                    </a:lnTo>
                    <a:lnTo>
                      <a:pt x="168" y="178"/>
                    </a:lnTo>
                    <a:lnTo>
                      <a:pt x="168" y="173"/>
                    </a:lnTo>
                    <a:lnTo>
                      <a:pt x="173" y="173"/>
                    </a:lnTo>
                    <a:lnTo>
                      <a:pt x="177" y="173"/>
                    </a:lnTo>
                    <a:lnTo>
                      <a:pt x="182" y="168"/>
                    </a:lnTo>
                    <a:lnTo>
                      <a:pt x="187" y="168"/>
                    </a:lnTo>
                    <a:lnTo>
                      <a:pt x="187" y="163"/>
                    </a:lnTo>
                    <a:lnTo>
                      <a:pt x="187" y="158"/>
                    </a:lnTo>
                    <a:lnTo>
                      <a:pt x="187" y="154"/>
                    </a:lnTo>
                    <a:lnTo>
                      <a:pt x="192" y="154"/>
                    </a:lnTo>
                    <a:lnTo>
                      <a:pt x="192" y="149"/>
                    </a:lnTo>
                    <a:lnTo>
                      <a:pt x="192" y="144"/>
                    </a:lnTo>
                    <a:lnTo>
                      <a:pt x="192" y="139"/>
                    </a:lnTo>
                    <a:lnTo>
                      <a:pt x="192" y="134"/>
                    </a:lnTo>
                    <a:lnTo>
                      <a:pt x="197" y="134"/>
                    </a:lnTo>
                    <a:lnTo>
                      <a:pt x="197" y="130"/>
                    </a:lnTo>
                    <a:lnTo>
                      <a:pt x="201" y="130"/>
                    </a:lnTo>
                    <a:lnTo>
                      <a:pt x="206" y="125"/>
                    </a:lnTo>
                    <a:lnTo>
                      <a:pt x="206" y="120"/>
                    </a:lnTo>
                    <a:lnTo>
                      <a:pt x="211" y="115"/>
                    </a:lnTo>
                    <a:lnTo>
                      <a:pt x="211" y="110"/>
                    </a:lnTo>
                    <a:lnTo>
                      <a:pt x="211" y="106"/>
                    </a:lnTo>
                    <a:lnTo>
                      <a:pt x="216" y="106"/>
                    </a:lnTo>
                    <a:lnTo>
                      <a:pt x="216" y="101"/>
                    </a:lnTo>
                    <a:lnTo>
                      <a:pt x="221" y="101"/>
                    </a:lnTo>
                    <a:lnTo>
                      <a:pt x="221" y="96"/>
                    </a:lnTo>
                    <a:lnTo>
                      <a:pt x="221" y="91"/>
                    </a:lnTo>
                    <a:lnTo>
                      <a:pt x="221" y="86"/>
                    </a:lnTo>
                    <a:lnTo>
                      <a:pt x="221" y="82"/>
                    </a:lnTo>
                    <a:lnTo>
                      <a:pt x="216" y="82"/>
                    </a:lnTo>
                    <a:lnTo>
                      <a:pt x="211" y="82"/>
                    </a:lnTo>
                    <a:lnTo>
                      <a:pt x="211" y="77"/>
                    </a:lnTo>
                    <a:lnTo>
                      <a:pt x="206" y="77"/>
                    </a:lnTo>
                    <a:lnTo>
                      <a:pt x="201" y="77"/>
                    </a:lnTo>
                    <a:lnTo>
                      <a:pt x="201" y="72"/>
                    </a:lnTo>
                    <a:lnTo>
                      <a:pt x="197" y="72"/>
                    </a:lnTo>
                    <a:lnTo>
                      <a:pt x="197" y="67"/>
                    </a:lnTo>
                    <a:lnTo>
                      <a:pt x="192" y="67"/>
                    </a:lnTo>
                    <a:lnTo>
                      <a:pt x="192" y="62"/>
                    </a:lnTo>
                    <a:lnTo>
                      <a:pt x="192" y="58"/>
                    </a:lnTo>
                    <a:lnTo>
                      <a:pt x="192" y="53"/>
                    </a:lnTo>
                    <a:lnTo>
                      <a:pt x="192" y="48"/>
                    </a:lnTo>
                    <a:lnTo>
                      <a:pt x="187" y="48"/>
                    </a:lnTo>
                    <a:lnTo>
                      <a:pt x="187" y="43"/>
                    </a:lnTo>
                    <a:lnTo>
                      <a:pt x="187" y="38"/>
                    </a:lnTo>
                    <a:lnTo>
                      <a:pt x="192" y="38"/>
                    </a:lnTo>
                    <a:lnTo>
                      <a:pt x="197" y="34"/>
                    </a:lnTo>
                    <a:lnTo>
                      <a:pt x="201" y="34"/>
                    </a:lnTo>
                    <a:lnTo>
                      <a:pt x="206" y="34"/>
                    </a:lnTo>
                    <a:lnTo>
                      <a:pt x="211" y="34"/>
                    </a:lnTo>
                    <a:lnTo>
                      <a:pt x="216" y="29"/>
                    </a:lnTo>
                    <a:lnTo>
                      <a:pt x="216" y="24"/>
                    </a:lnTo>
                    <a:lnTo>
                      <a:pt x="221" y="24"/>
                    </a:lnTo>
                    <a:lnTo>
                      <a:pt x="221" y="19"/>
                    </a:lnTo>
                    <a:lnTo>
                      <a:pt x="221" y="14"/>
                    </a:lnTo>
                    <a:lnTo>
                      <a:pt x="225" y="14"/>
                    </a:lnTo>
                    <a:lnTo>
                      <a:pt x="225" y="10"/>
                    </a:lnTo>
                    <a:lnTo>
                      <a:pt x="230" y="10"/>
                    </a:lnTo>
                    <a:lnTo>
                      <a:pt x="230" y="5"/>
                    </a:lnTo>
                    <a:lnTo>
                      <a:pt x="235" y="5"/>
                    </a:lnTo>
                    <a:lnTo>
                      <a:pt x="240" y="0"/>
                    </a:lnTo>
                    <a:close/>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47" name="Freeform 15"/>
              <p:cNvSpPr>
                <a:spLocks/>
              </p:cNvSpPr>
              <p:nvPr/>
            </p:nvSpPr>
            <p:spPr bwMode="gray">
              <a:xfrm>
                <a:off x="3905251" y="3625850"/>
                <a:ext cx="1668463" cy="1866900"/>
              </a:xfrm>
              <a:custGeom>
                <a:avLst/>
                <a:gdLst>
                  <a:gd name="T0" fmla="*/ 177 w 1051"/>
                  <a:gd name="T1" fmla="*/ 153 h 1176"/>
                  <a:gd name="T2" fmla="*/ 225 w 1051"/>
                  <a:gd name="T3" fmla="*/ 134 h 1176"/>
                  <a:gd name="T4" fmla="*/ 268 w 1051"/>
                  <a:gd name="T5" fmla="*/ 100 h 1176"/>
                  <a:gd name="T6" fmla="*/ 297 w 1051"/>
                  <a:gd name="T7" fmla="*/ 57 h 1176"/>
                  <a:gd name="T8" fmla="*/ 336 w 1051"/>
                  <a:gd name="T9" fmla="*/ 24 h 1176"/>
                  <a:gd name="T10" fmla="*/ 393 w 1051"/>
                  <a:gd name="T11" fmla="*/ 0 h 1176"/>
                  <a:gd name="T12" fmla="*/ 446 w 1051"/>
                  <a:gd name="T13" fmla="*/ 28 h 1176"/>
                  <a:gd name="T14" fmla="*/ 508 w 1051"/>
                  <a:gd name="T15" fmla="*/ 14 h 1176"/>
                  <a:gd name="T16" fmla="*/ 566 w 1051"/>
                  <a:gd name="T17" fmla="*/ 33 h 1176"/>
                  <a:gd name="T18" fmla="*/ 614 w 1051"/>
                  <a:gd name="T19" fmla="*/ 62 h 1176"/>
                  <a:gd name="T20" fmla="*/ 672 w 1051"/>
                  <a:gd name="T21" fmla="*/ 72 h 1176"/>
                  <a:gd name="T22" fmla="*/ 720 w 1051"/>
                  <a:gd name="T23" fmla="*/ 76 h 1176"/>
                  <a:gd name="T24" fmla="*/ 782 w 1051"/>
                  <a:gd name="T25" fmla="*/ 81 h 1176"/>
                  <a:gd name="T26" fmla="*/ 820 w 1051"/>
                  <a:gd name="T27" fmla="*/ 120 h 1176"/>
                  <a:gd name="T28" fmla="*/ 868 w 1051"/>
                  <a:gd name="T29" fmla="*/ 148 h 1176"/>
                  <a:gd name="T30" fmla="*/ 897 w 1051"/>
                  <a:gd name="T31" fmla="*/ 196 h 1176"/>
                  <a:gd name="T32" fmla="*/ 950 w 1051"/>
                  <a:gd name="T33" fmla="*/ 220 h 1176"/>
                  <a:gd name="T34" fmla="*/ 988 w 1051"/>
                  <a:gd name="T35" fmla="*/ 244 h 1176"/>
                  <a:gd name="T36" fmla="*/ 1046 w 1051"/>
                  <a:gd name="T37" fmla="*/ 259 h 1176"/>
                  <a:gd name="T38" fmla="*/ 1003 w 1051"/>
                  <a:gd name="T39" fmla="*/ 302 h 1176"/>
                  <a:gd name="T40" fmla="*/ 950 w 1051"/>
                  <a:gd name="T41" fmla="*/ 340 h 1176"/>
                  <a:gd name="T42" fmla="*/ 883 w 1051"/>
                  <a:gd name="T43" fmla="*/ 336 h 1176"/>
                  <a:gd name="T44" fmla="*/ 820 w 1051"/>
                  <a:gd name="T45" fmla="*/ 374 h 1176"/>
                  <a:gd name="T46" fmla="*/ 753 w 1051"/>
                  <a:gd name="T47" fmla="*/ 422 h 1176"/>
                  <a:gd name="T48" fmla="*/ 691 w 1051"/>
                  <a:gd name="T49" fmla="*/ 475 h 1176"/>
                  <a:gd name="T50" fmla="*/ 628 w 1051"/>
                  <a:gd name="T51" fmla="*/ 532 h 1176"/>
                  <a:gd name="T52" fmla="*/ 614 w 1051"/>
                  <a:gd name="T53" fmla="*/ 590 h 1176"/>
                  <a:gd name="T54" fmla="*/ 556 w 1051"/>
                  <a:gd name="T55" fmla="*/ 580 h 1176"/>
                  <a:gd name="T56" fmla="*/ 494 w 1051"/>
                  <a:gd name="T57" fmla="*/ 585 h 1176"/>
                  <a:gd name="T58" fmla="*/ 508 w 1051"/>
                  <a:gd name="T59" fmla="*/ 648 h 1176"/>
                  <a:gd name="T60" fmla="*/ 532 w 1051"/>
                  <a:gd name="T61" fmla="*/ 700 h 1176"/>
                  <a:gd name="T62" fmla="*/ 604 w 1051"/>
                  <a:gd name="T63" fmla="*/ 763 h 1176"/>
                  <a:gd name="T64" fmla="*/ 576 w 1051"/>
                  <a:gd name="T65" fmla="*/ 816 h 1176"/>
                  <a:gd name="T66" fmla="*/ 508 w 1051"/>
                  <a:gd name="T67" fmla="*/ 868 h 1176"/>
                  <a:gd name="T68" fmla="*/ 460 w 1051"/>
                  <a:gd name="T69" fmla="*/ 912 h 1176"/>
                  <a:gd name="T70" fmla="*/ 465 w 1051"/>
                  <a:gd name="T71" fmla="*/ 955 h 1176"/>
                  <a:gd name="T72" fmla="*/ 465 w 1051"/>
                  <a:gd name="T73" fmla="*/ 1003 h 1176"/>
                  <a:gd name="T74" fmla="*/ 432 w 1051"/>
                  <a:gd name="T75" fmla="*/ 1051 h 1176"/>
                  <a:gd name="T76" fmla="*/ 393 w 1051"/>
                  <a:gd name="T77" fmla="*/ 1094 h 1176"/>
                  <a:gd name="T78" fmla="*/ 345 w 1051"/>
                  <a:gd name="T79" fmla="*/ 1128 h 1176"/>
                  <a:gd name="T80" fmla="*/ 302 w 1051"/>
                  <a:gd name="T81" fmla="*/ 1166 h 1176"/>
                  <a:gd name="T82" fmla="*/ 264 w 1051"/>
                  <a:gd name="T83" fmla="*/ 1142 h 1176"/>
                  <a:gd name="T84" fmla="*/ 254 w 1051"/>
                  <a:gd name="T85" fmla="*/ 1041 h 1176"/>
                  <a:gd name="T86" fmla="*/ 206 w 1051"/>
                  <a:gd name="T87" fmla="*/ 955 h 1176"/>
                  <a:gd name="T88" fmla="*/ 120 w 1051"/>
                  <a:gd name="T89" fmla="*/ 830 h 1176"/>
                  <a:gd name="T90" fmla="*/ 76 w 1051"/>
                  <a:gd name="T91" fmla="*/ 763 h 1176"/>
                  <a:gd name="T92" fmla="*/ 38 w 1051"/>
                  <a:gd name="T93" fmla="*/ 696 h 1176"/>
                  <a:gd name="T94" fmla="*/ 14 w 1051"/>
                  <a:gd name="T95" fmla="*/ 667 h 1176"/>
                  <a:gd name="T96" fmla="*/ 57 w 1051"/>
                  <a:gd name="T97" fmla="*/ 638 h 1176"/>
                  <a:gd name="T98" fmla="*/ 120 w 1051"/>
                  <a:gd name="T99" fmla="*/ 628 h 1176"/>
                  <a:gd name="T100" fmla="*/ 187 w 1051"/>
                  <a:gd name="T101" fmla="*/ 633 h 1176"/>
                  <a:gd name="T102" fmla="*/ 244 w 1051"/>
                  <a:gd name="T103" fmla="*/ 604 h 1176"/>
                  <a:gd name="T104" fmla="*/ 288 w 1051"/>
                  <a:gd name="T105" fmla="*/ 542 h 1176"/>
                  <a:gd name="T106" fmla="*/ 288 w 1051"/>
                  <a:gd name="T107" fmla="*/ 484 h 1176"/>
                  <a:gd name="T108" fmla="*/ 336 w 1051"/>
                  <a:gd name="T109" fmla="*/ 446 h 1176"/>
                  <a:gd name="T110" fmla="*/ 374 w 1051"/>
                  <a:gd name="T111" fmla="*/ 379 h 1176"/>
                  <a:gd name="T112" fmla="*/ 393 w 1051"/>
                  <a:gd name="T113" fmla="*/ 321 h 1176"/>
                  <a:gd name="T114" fmla="*/ 321 w 1051"/>
                  <a:gd name="T115" fmla="*/ 288 h 1176"/>
                  <a:gd name="T116" fmla="*/ 254 w 1051"/>
                  <a:gd name="T117" fmla="*/ 249 h 1176"/>
                  <a:gd name="T118" fmla="*/ 187 w 1051"/>
                  <a:gd name="T119" fmla="*/ 254 h 1176"/>
                  <a:gd name="T120" fmla="*/ 134 w 1051"/>
                  <a:gd name="T121" fmla="*/ 196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1" h="1176">
                    <a:moveTo>
                      <a:pt x="134" y="182"/>
                    </a:moveTo>
                    <a:lnTo>
                      <a:pt x="139" y="187"/>
                    </a:lnTo>
                    <a:lnTo>
                      <a:pt x="144" y="182"/>
                    </a:lnTo>
                    <a:lnTo>
                      <a:pt x="144" y="177"/>
                    </a:lnTo>
                    <a:lnTo>
                      <a:pt x="148" y="177"/>
                    </a:lnTo>
                    <a:lnTo>
                      <a:pt x="148" y="172"/>
                    </a:lnTo>
                    <a:lnTo>
                      <a:pt x="153" y="172"/>
                    </a:lnTo>
                    <a:lnTo>
                      <a:pt x="158" y="168"/>
                    </a:lnTo>
                    <a:lnTo>
                      <a:pt x="158" y="163"/>
                    </a:lnTo>
                    <a:lnTo>
                      <a:pt x="163" y="163"/>
                    </a:lnTo>
                    <a:lnTo>
                      <a:pt x="163" y="158"/>
                    </a:lnTo>
                    <a:lnTo>
                      <a:pt x="168" y="158"/>
                    </a:lnTo>
                    <a:lnTo>
                      <a:pt x="168" y="153"/>
                    </a:lnTo>
                    <a:lnTo>
                      <a:pt x="172" y="153"/>
                    </a:lnTo>
                    <a:lnTo>
                      <a:pt x="177" y="153"/>
                    </a:lnTo>
                    <a:lnTo>
                      <a:pt x="177" y="148"/>
                    </a:lnTo>
                    <a:lnTo>
                      <a:pt x="182" y="148"/>
                    </a:lnTo>
                    <a:lnTo>
                      <a:pt x="187" y="148"/>
                    </a:lnTo>
                    <a:lnTo>
                      <a:pt x="187" y="153"/>
                    </a:lnTo>
                    <a:lnTo>
                      <a:pt x="192" y="153"/>
                    </a:lnTo>
                    <a:lnTo>
                      <a:pt x="196" y="153"/>
                    </a:lnTo>
                    <a:lnTo>
                      <a:pt x="201" y="148"/>
                    </a:lnTo>
                    <a:lnTo>
                      <a:pt x="206" y="148"/>
                    </a:lnTo>
                    <a:lnTo>
                      <a:pt x="211" y="148"/>
                    </a:lnTo>
                    <a:lnTo>
                      <a:pt x="211" y="144"/>
                    </a:lnTo>
                    <a:lnTo>
                      <a:pt x="216" y="144"/>
                    </a:lnTo>
                    <a:lnTo>
                      <a:pt x="220" y="144"/>
                    </a:lnTo>
                    <a:lnTo>
                      <a:pt x="220" y="139"/>
                    </a:lnTo>
                    <a:lnTo>
                      <a:pt x="225" y="139"/>
                    </a:lnTo>
                    <a:lnTo>
                      <a:pt x="225" y="134"/>
                    </a:lnTo>
                    <a:lnTo>
                      <a:pt x="230" y="134"/>
                    </a:lnTo>
                    <a:lnTo>
                      <a:pt x="235" y="129"/>
                    </a:lnTo>
                    <a:lnTo>
                      <a:pt x="235" y="124"/>
                    </a:lnTo>
                    <a:lnTo>
                      <a:pt x="240" y="124"/>
                    </a:lnTo>
                    <a:lnTo>
                      <a:pt x="240" y="120"/>
                    </a:lnTo>
                    <a:lnTo>
                      <a:pt x="244" y="120"/>
                    </a:lnTo>
                    <a:lnTo>
                      <a:pt x="244" y="115"/>
                    </a:lnTo>
                    <a:lnTo>
                      <a:pt x="249" y="115"/>
                    </a:lnTo>
                    <a:lnTo>
                      <a:pt x="249" y="110"/>
                    </a:lnTo>
                    <a:lnTo>
                      <a:pt x="254" y="110"/>
                    </a:lnTo>
                    <a:lnTo>
                      <a:pt x="254" y="105"/>
                    </a:lnTo>
                    <a:lnTo>
                      <a:pt x="259" y="105"/>
                    </a:lnTo>
                    <a:lnTo>
                      <a:pt x="259" y="100"/>
                    </a:lnTo>
                    <a:lnTo>
                      <a:pt x="264" y="100"/>
                    </a:lnTo>
                    <a:lnTo>
                      <a:pt x="268" y="100"/>
                    </a:lnTo>
                    <a:lnTo>
                      <a:pt x="268" y="96"/>
                    </a:lnTo>
                    <a:lnTo>
                      <a:pt x="268" y="91"/>
                    </a:lnTo>
                    <a:lnTo>
                      <a:pt x="273" y="91"/>
                    </a:lnTo>
                    <a:lnTo>
                      <a:pt x="273" y="86"/>
                    </a:lnTo>
                    <a:lnTo>
                      <a:pt x="278" y="86"/>
                    </a:lnTo>
                    <a:lnTo>
                      <a:pt x="278" y="81"/>
                    </a:lnTo>
                    <a:lnTo>
                      <a:pt x="283" y="81"/>
                    </a:lnTo>
                    <a:lnTo>
                      <a:pt x="283" y="76"/>
                    </a:lnTo>
                    <a:lnTo>
                      <a:pt x="283" y="72"/>
                    </a:lnTo>
                    <a:lnTo>
                      <a:pt x="288" y="72"/>
                    </a:lnTo>
                    <a:lnTo>
                      <a:pt x="288" y="67"/>
                    </a:lnTo>
                    <a:lnTo>
                      <a:pt x="288" y="62"/>
                    </a:lnTo>
                    <a:lnTo>
                      <a:pt x="288" y="57"/>
                    </a:lnTo>
                    <a:lnTo>
                      <a:pt x="292" y="57"/>
                    </a:lnTo>
                    <a:lnTo>
                      <a:pt x="297" y="57"/>
                    </a:lnTo>
                    <a:lnTo>
                      <a:pt x="297" y="52"/>
                    </a:lnTo>
                    <a:lnTo>
                      <a:pt x="302" y="52"/>
                    </a:lnTo>
                    <a:lnTo>
                      <a:pt x="302" y="48"/>
                    </a:lnTo>
                    <a:lnTo>
                      <a:pt x="307" y="48"/>
                    </a:lnTo>
                    <a:lnTo>
                      <a:pt x="307" y="43"/>
                    </a:lnTo>
                    <a:lnTo>
                      <a:pt x="312" y="43"/>
                    </a:lnTo>
                    <a:lnTo>
                      <a:pt x="316" y="43"/>
                    </a:lnTo>
                    <a:lnTo>
                      <a:pt x="316" y="38"/>
                    </a:lnTo>
                    <a:lnTo>
                      <a:pt x="321" y="38"/>
                    </a:lnTo>
                    <a:lnTo>
                      <a:pt x="321" y="33"/>
                    </a:lnTo>
                    <a:lnTo>
                      <a:pt x="326" y="33"/>
                    </a:lnTo>
                    <a:lnTo>
                      <a:pt x="326" y="28"/>
                    </a:lnTo>
                    <a:lnTo>
                      <a:pt x="331" y="28"/>
                    </a:lnTo>
                    <a:lnTo>
                      <a:pt x="331" y="24"/>
                    </a:lnTo>
                    <a:lnTo>
                      <a:pt x="336" y="24"/>
                    </a:lnTo>
                    <a:lnTo>
                      <a:pt x="336" y="19"/>
                    </a:lnTo>
                    <a:lnTo>
                      <a:pt x="340" y="19"/>
                    </a:lnTo>
                    <a:lnTo>
                      <a:pt x="345" y="14"/>
                    </a:lnTo>
                    <a:lnTo>
                      <a:pt x="350" y="14"/>
                    </a:lnTo>
                    <a:lnTo>
                      <a:pt x="350" y="9"/>
                    </a:lnTo>
                    <a:lnTo>
                      <a:pt x="355" y="9"/>
                    </a:lnTo>
                    <a:lnTo>
                      <a:pt x="360" y="9"/>
                    </a:lnTo>
                    <a:lnTo>
                      <a:pt x="360" y="4"/>
                    </a:lnTo>
                    <a:lnTo>
                      <a:pt x="364" y="4"/>
                    </a:lnTo>
                    <a:lnTo>
                      <a:pt x="369" y="0"/>
                    </a:lnTo>
                    <a:lnTo>
                      <a:pt x="374" y="0"/>
                    </a:lnTo>
                    <a:lnTo>
                      <a:pt x="379" y="0"/>
                    </a:lnTo>
                    <a:lnTo>
                      <a:pt x="384" y="0"/>
                    </a:lnTo>
                    <a:lnTo>
                      <a:pt x="388" y="0"/>
                    </a:lnTo>
                    <a:lnTo>
                      <a:pt x="393" y="0"/>
                    </a:lnTo>
                    <a:lnTo>
                      <a:pt x="398" y="4"/>
                    </a:lnTo>
                    <a:lnTo>
                      <a:pt x="403" y="4"/>
                    </a:lnTo>
                    <a:lnTo>
                      <a:pt x="403" y="9"/>
                    </a:lnTo>
                    <a:lnTo>
                      <a:pt x="408" y="9"/>
                    </a:lnTo>
                    <a:lnTo>
                      <a:pt x="412" y="9"/>
                    </a:lnTo>
                    <a:lnTo>
                      <a:pt x="417" y="9"/>
                    </a:lnTo>
                    <a:lnTo>
                      <a:pt x="422" y="14"/>
                    </a:lnTo>
                    <a:lnTo>
                      <a:pt x="422" y="9"/>
                    </a:lnTo>
                    <a:lnTo>
                      <a:pt x="427" y="14"/>
                    </a:lnTo>
                    <a:lnTo>
                      <a:pt x="432" y="14"/>
                    </a:lnTo>
                    <a:lnTo>
                      <a:pt x="436" y="14"/>
                    </a:lnTo>
                    <a:lnTo>
                      <a:pt x="441" y="19"/>
                    </a:lnTo>
                    <a:lnTo>
                      <a:pt x="441" y="24"/>
                    </a:lnTo>
                    <a:lnTo>
                      <a:pt x="446" y="24"/>
                    </a:lnTo>
                    <a:lnTo>
                      <a:pt x="446" y="28"/>
                    </a:lnTo>
                    <a:lnTo>
                      <a:pt x="451" y="28"/>
                    </a:lnTo>
                    <a:lnTo>
                      <a:pt x="456" y="33"/>
                    </a:lnTo>
                    <a:lnTo>
                      <a:pt x="456" y="28"/>
                    </a:lnTo>
                    <a:lnTo>
                      <a:pt x="460" y="28"/>
                    </a:lnTo>
                    <a:lnTo>
                      <a:pt x="465" y="28"/>
                    </a:lnTo>
                    <a:lnTo>
                      <a:pt x="470" y="28"/>
                    </a:lnTo>
                    <a:lnTo>
                      <a:pt x="475" y="28"/>
                    </a:lnTo>
                    <a:lnTo>
                      <a:pt x="475" y="24"/>
                    </a:lnTo>
                    <a:lnTo>
                      <a:pt x="480" y="24"/>
                    </a:lnTo>
                    <a:lnTo>
                      <a:pt x="484" y="24"/>
                    </a:lnTo>
                    <a:lnTo>
                      <a:pt x="489" y="19"/>
                    </a:lnTo>
                    <a:lnTo>
                      <a:pt x="494" y="14"/>
                    </a:lnTo>
                    <a:lnTo>
                      <a:pt x="499" y="14"/>
                    </a:lnTo>
                    <a:lnTo>
                      <a:pt x="504" y="14"/>
                    </a:lnTo>
                    <a:lnTo>
                      <a:pt x="508" y="14"/>
                    </a:lnTo>
                    <a:lnTo>
                      <a:pt x="513" y="14"/>
                    </a:lnTo>
                    <a:lnTo>
                      <a:pt x="518" y="14"/>
                    </a:lnTo>
                    <a:lnTo>
                      <a:pt x="523" y="14"/>
                    </a:lnTo>
                    <a:lnTo>
                      <a:pt x="528" y="14"/>
                    </a:lnTo>
                    <a:lnTo>
                      <a:pt x="532" y="14"/>
                    </a:lnTo>
                    <a:lnTo>
                      <a:pt x="537" y="14"/>
                    </a:lnTo>
                    <a:lnTo>
                      <a:pt x="542" y="14"/>
                    </a:lnTo>
                    <a:lnTo>
                      <a:pt x="547" y="19"/>
                    </a:lnTo>
                    <a:lnTo>
                      <a:pt x="552" y="19"/>
                    </a:lnTo>
                    <a:lnTo>
                      <a:pt x="556" y="19"/>
                    </a:lnTo>
                    <a:lnTo>
                      <a:pt x="561" y="24"/>
                    </a:lnTo>
                    <a:lnTo>
                      <a:pt x="566" y="28"/>
                    </a:lnTo>
                    <a:lnTo>
                      <a:pt x="566" y="33"/>
                    </a:lnTo>
                    <a:lnTo>
                      <a:pt x="561" y="33"/>
                    </a:lnTo>
                    <a:lnTo>
                      <a:pt x="566" y="33"/>
                    </a:lnTo>
                    <a:lnTo>
                      <a:pt x="566" y="38"/>
                    </a:lnTo>
                    <a:lnTo>
                      <a:pt x="571" y="38"/>
                    </a:lnTo>
                    <a:lnTo>
                      <a:pt x="571" y="43"/>
                    </a:lnTo>
                    <a:lnTo>
                      <a:pt x="576" y="43"/>
                    </a:lnTo>
                    <a:lnTo>
                      <a:pt x="580" y="43"/>
                    </a:lnTo>
                    <a:lnTo>
                      <a:pt x="585" y="43"/>
                    </a:lnTo>
                    <a:lnTo>
                      <a:pt x="590" y="48"/>
                    </a:lnTo>
                    <a:lnTo>
                      <a:pt x="595" y="48"/>
                    </a:lnTo>
                    <a:lnTo>
                      <a:pt x="600" y="48"/>
                    </a:lnTo>
                    <a:lnTo>
                      <a:pt x="600" y="52"/>
                    </a:lnTo>
                    <a:lnTo>
                      <a:pt x="604" y="52"/>
                    </a:lnTo>
                    <a:lnTo>
                      <a:pt x="609" y="52"/>
                    </a:lnTo>
                    <a:lnTo>
                      <a:pt x="609" y="57"/>
                    </a:lnTo>
                    <a:lnTo>
                      <a:pt x="614" y="57"/>
                    </a:lnTo>
                    <a:lnTo>
                      <a:pt x="614" y="62"/>
                    </a:lnTo>
                    <a:lnTo>
                      <a:pt x="619" y="62"/>
                    </a:lnTo>
                    <a:lnTo>
                      <a:pt x="624" y="62"/>
                    </a:lnTo>
                    <a:lnTo>
                      <a:pt x="624" y="67"/>
                    </a:lnTo>
                    <a:lnTo>
                      <a:pt x="628" y="67"/>
                    </a:lnTo>
                    <a:lnTo>
                      <a:pt x="633" y="67"/>
                    </a:lnTo>
                    <a:lnTo>
                      <a:pt x="638" y="67"/>
                    </a:lnTo>
                    <a:lnTo>
                      <a:pt x="643" y="72"/>
                    </a:lnTo>
                    <a:lnTo>
                      <a:pt x="648" y="72"/>
                    </a:lnTo>
                    <a:lnTo>
                      <a:pt x="652" y="72"/>
                    </a:lnTo>
                    <a:lnTo>
                      <a:pt x="652" y="67"/>
                    </a:lnTo>
                    <a:lnTo>
                      <a:pt x="657" y="67"/>
                    </a:lnTo>
                    <a:lnTo>
                      <a:pt x="662" y="67"/>
                    </a:lnTo>
                    <a:lnTo>
                      <a:pt x="667" y="67"/>
                    </a:lnTo>
                    <a:lnTo>
                      <a:pt x="667" y="72"/>
                    </a:lnTo>
                    <a:lnTo>
                      <a:pt x="672" y="72"/>
                    </a:lnTo>
                    <a:lnTo>
                      <a:pt x="672" y="67"/>
                    </a:lnTo>
                    <a:lnTo>
                      <a:pt x="676" y="67"/>
                    </a:lnTo>
                    <a:lnTo>
                      <a:pt x="681" y="67"/>
                    </a:lnTo>
                    <a:lnTo>
                      <a:pt x="686" y="67"/>
                    </a:lnTo>
                    <a:lnTo>
                      <a:pt x="686" y="72"/>
                    </a:lnTo>
                    <a:lnTo>
                      <a:pt x="691" y="72"/>
                    </a:lnTo>
                    <a:lnTo>
                      <a:pt x="696" y="72"/>
                    </a:lnTo>
                    <a:lnTo>
                      <a:pt x="696" y="76"/>
                    </a:lnTo>
                    <a:lnTo>
                      <a:pt x="700" y="76"/>
                    </a:lnTo>
                    <a:lnTo>
                      <a:pt x="705" y="76"/>
                    </a:lnTo>
                    <a:lnTo>
                      <a:pt x="710" y="76"/>
                    </a:lnTo>
                    <a:lnTo>
                      <a:pt x="710" y="81"/>
                    </a:lnTo>
                    <a:lnTo>
                      <a:pt x="715" y="81"/>
                    </a:lnTo>
                    <a:lnTo>
                      <a:pt x="720" y="81"/>
                    </a:lnTo>
                    <a:lnTo>
                      <a:pt x="720" y="76"/>
                    </a:lnTo>
                    <a:lnTo>
                      <a:pt x="724" y="76"/>
                    </a:lnTo>
                    <a:lnTo>
                      <a:pt x="729" y="76"/>
                    </a:lnTo>
                    <a:lnTo>
                      <a:pt x="734" y="76"/>
                    </a:lnTo>
                    <a:lnTo>
                      <a:pt x="739" y="76"/>
                    </a:lnTo>
                    <a:lnTo>
                      <a:pt x="744" y="76"/>
                    </a:lnTo>
                    <a:lnTo>
                      <a:pt x="748" y="76"/>
                    </a:lnTo>
                    <a:lnTo>
                      <a:pt x="753" y="76"/>
                    </a:lnTo>
                    <a:lnTo>
                      <a:pt x="758" y="76"/>
                    </a:lnTo>
                    <a:lnTo>
                      <a:pt x="763" y="76"/>
                    </a:lnTo>
                    <a:lnTo>
                      <a:pt x="763" y="81"/>
                    </a:lnTo>
                    <a:lnTo>
                      <a:pt x="768" y="81"/>
                    </a:lnTo>
                    <a:lnTo>
                      <a:pt x="772" y="86"/>
                    </a:lnTo>
                    <a:lnTo>
                      <a:pt x="777" y="86"/>
                    </a:lnTo>
                    <a:lnTo>
                      <a:pt x="777" y="81"/>
                    </a:lnTo>
                    <a:lnTo>
                      <a:pt x="782" y="81"/>
                    </a:lnTo>
                    <a:lnTo>
                      <a:pt x="782" y="86"/>
                    </a:lnTo>
                    <a:lnTo>
                      <a:pt x="782" y="91"/>
                    </a:lnTo>
                    <a:lnTo>
                      <a:pt x="787" y="91"/>
                    </a:lnTo>
                    <a:lnTo>
                      <a:pt x="792" y="91"/>
                    </a:lnTo>
                    <a:lnTo>
                      <a:pt x="796" y="91"/>
                    </a:lnTo>
                    <a:lnTo>
                      <a:pt x="801" y="91"/>
                    </a:lnTo>
                    <a:lnTo>
                      <a:pt x="801" y="96"/>
                    </a:lnTo>
                    <a:lnTo>
                      <a:pt x="806" y="100"/>
                    </a:lnTo>
                    <a:lnTo>
                      <a:pt x="806" y="105"/>
                    </a:lnTo>
                    <a:lnTo>
                      <a:pt x="811" y="105"/>
                    </a:lnTo>
                    <a:lnTo>
                      <a:pt x="811" y="110"/>
                    </a:lnTo>
                    <a:lnTo>
                      <a:pt x="811" y="115"/>
                    </a:lnTo>
                    <a:lnTo>
                      <a:pt x="816" y="115"/>
                    </a:lnTo>
                    <a:lnTo>
                      <a:pt x="816" y="120"/>
                    </a:lnTo>
                    <a:lnTo>
                      <a:pt x="820" y="120"/>
                    </a:lnTo>
                    <a:lnTo>
                      <a:pt x="820" y="124"/>
                    </a:lnTo>
                    <a:lnTo>
                      <a:pt x="825" y="129"/>
                    </a:lnTo>
                    <a:lnTo>
                      <a:pt x="825" y="134"/>
                    </a:lnTo>
                    <a:lnTo>
                      <a:pt x="825" y="139"/>
                    </a:lnTo>
                    <a:lnTo>
                      <a:pt x="830" y="144"/>
                    </a:lnTo>
                    <a:lnTo>
                      <a:pt x="835" y="144"/>
                    </a:lnTo>
                    <a:lnTo>
                      <a:pt x="835" y="139"/>
                    </a:lnTo>
                    <a:lnTo>
                      <a:pt x="840" y="139"/>
                    </a:lnTo>
                    <a:lnTo>
                      <a:pt x="844" y="139"/>
                    </a:lnTo>
                    <a:lnTo>
                      <a:pt x="849" y="139"/>
                    </a:lnTo>
                    <a:lnTo>
                      <a:pt x="854" y="144"/>
                    </a:lnTo>
                    <a:lnTo>
                      <a:pt x="859" y="144"/>
                    </a:lnTo>
                    <a:lnTo>
                      <a:pt x="864" y="144"/>
                    </a:lnTo>
                    <a:lnTo>
                      <a:pt x="864" y="148"/>
                    </a:lnTo>
                    <a:lnTo>
                      <a:pt x="868" y="148"/>
                    </a:lnTo>
                    <a:lnTo>
                      <a:pt x="873" y="153"/>
                    </a:lnTo>
                    <a:lnTo>
                      <a:pt x="873" y="158"/>
                    </a:lnTo>
                    <a:lnTo>
                      <a:pt x="873" y="163"/>
                    </a:lnTo>
                    <a:lnTo>
                      <a:pt x="878" y="163"/>
                    </a:lnTo>
                    <a:lnTo>
                      <a:pt x="878" y="168"/>
                    </a:lnTo>
                    <a:lnTo>
                      <a:pt x="883" y="168"/>
                    </a:lnTo>
                    <a:lnTo>
                      <a:pt x="883" y="172"/>
                    </a:lnTo>
                    <a:lnTo>
                      <a:pt x="888" y="172"/>
                    </a:lnTo>
                    <a:lnTo>
                      <a:pt x="888" y="177"/>
                    </a:lnTo>
                    <a:lnTo>
                      <a:pt x="888" y="182"/>
                    </a:lnTo>
                    <a:lnTo>
                      <a:pt x="888" y="187"/>
                    </a:lnTo>
                    <a:lnTo>
                      <a:pt x="892" y="187"/>
                    </a:lnTo>
                    <a:lnTo>
                      <a:pt x="892" y="192"/>
                    </a:lnTo>
                    <a:lnTo>
                      <a:pt x="892" y="196"/>
                    </a:lnTo>
                    <a:lnTo>
                      <a:pt x="897" y="196"/>
                    </a:lnTo>
                    <a:lnTo>
                      <a:pt x="902" y="196"/>
                    </a:lnTo>
                    <a:lnTo>
                      <a:pt x="907" y="196"/>
                    </a:lnTo>
                    <a:lnTo>
                      <a:pt x="912" y="196"/>
                    </a:lnTo>
                    <a:lnTo>
                      <a:pt x="912" y="201"/>
                    </a:lnTo>
                    <a:lnTo>
                      <a:pt x="912" y="206"/>
                    </a:lnTo>
                    <a:lnTo>
                      <a:pt x="916" y="206"/>
                    </a:lnTo>
                    <a:lnTo>
                      <a:pt x="921" y="206"/>
                    </a:lnTo>
                    <a:lnTo>
                      <a:pt x="926" y="206"/>
                    </a:lnTo>
                    <a:lnTo>
                      <a:pt x="931" y="206"/>
                    </a:lnTo>
                    <a:lnTo>
                      <a:pt x="936" y="206"/>
                    </a:lnTo>
                    <a:lnTo>
                      <a:pt x="936" y="211"/>
                    </a:lnTo>
                    <a:lnTo>
                      <a:pt x="940" y="211"/>
                    </a:lnTo>
                    <a:lnTo>
                      <a:pt x="940" y="216"/>
                    </a:lnTo>
                    <a:lnTo>
                      <a:pt x="945" y="220"/>
                    </a:lnTo>
                    <a:lnTo>
                      <a:pt x="950" y="220"/>
                    </a:lnTo>
                    <a:lnTo>
                      <a:pt x="955" y="220"/>
                    </a:lnTo>
                    <a:lnTo>
                      <a:pt x="960" y="220"/>
                    </a:lnTo>
                    <a:lnTo>
                      <a:pt x="964" y="220"/>
                    </a:lnTo>
                    <a:lnTo>
                      <a:pt x="964" y="225"/>
                    </a:lnTo>
                    <a:lnTo>
                      <a:pt x="969" y="225"/>
                    </a:lnTo>
                    <a:lnTo>
                      <a:pt x="974" y="225"/>
                    </a:lnTo>
                    <a:lnTo>
                      <a:pt x="979" y="225"/>
                    </a:lnTo>
                    <a:lnTo>
                      <a:pt x="979" y="230"/>
                    </a:lnTo>
                    <a:lnTo>
                      <a:pt x="974" y="230"/>
                    </a:lnTo>
                    <a:lnTo>
                      <a:pt x="974" y="235"/>
                    </a:lnTo>
                    <a:lnTo>
                      <a:pt x="974" y="240"/>
                    </a:lnTo>
                    <a:lnTo>
                      <a:pt x="974" y="244"/>
                    </a:lnTo>
                    <a:lnTo>
                      <a:pt x="979" y="244"/>
                    </a:lnTo>
                    <a:lnTo>
                      <a:pt x="984" y="244"/>
                    </a:lnTo>
                    <a:lnTo>
                      <a:pt x="988" y="244"/>
                    </a:lnTo>
                    <a:lnTo>
                      <a:pt x="988" y="249"/>
                    </a:lnTo>
                    <a:lnTo>
                      <a:pt x="993" y="244"/>
                    </a:lnTo>
                    <a:lnTo>
                      <a:pt x="998" y="244"/>
                    </a:lnTo>
                    <a:lnTo>
                      <a:pt x="1003" y="244"/>
                    </a:lnTo>
                    <a:lnTo>
                      <a:pt x="1008" y="244"/>
                    </a:lnTo>
                    <a:lnTo>
                      <a:pt x="1012" y="244"/>
                    </a:lnTo>
                    <a:lnTo>
                      <a:pt x="1017" y="244"/>
                    </a:lnTo>
                    <a:lnTo>
                      <a:pt x="1022" y="244"/>
                    </a:lnTo>
                    <a:lnTo>
                      <a:pt x="1022" y="249"/>
                    </a:lnTo>
                    <a:lnTo>
                      <a:pt x="1027" y="249"/>
                    </a:lnTo>
                    <a:lnTo>
                      <a:pt x="1032" y="249"/>
                    </a:lnTo>
                    <a:lnTo>
                      <a:pt x="1036" y="254"/>
                    </a:lnTo>
                    <a:lnTo>
                      <a:pt x="1041" y="254"/>
                    </a:lnTo>
                    <a:lnTo>
                      <a:pt x="1046" y="254"/>
                    </a:lnTo>
                    <a:lnTo>
                      <a:pt x="1046" y="259"/>
                    </a:lnTo>
                    <a:lnTo>
                      <a:pt x="1051" y="259"/>
                    </a:lnTo>
                    <a:lnTo>
                      <a:pt x="1051" y="264"/>
                    </a:lnTo>
                    <a:lnTo>
                      <a:pt x="1046" y="264"/>
                    </a:lnTo>
                    <a:lnTo>
                      <a:pt x="1041" y="264"/>
                    </a:lnTo>
                    <a:lnTo>
                      <a:pt x="1041" y="268"/>
                    </a:lnTo>
                    <a:lnTo>
                      <a:pt x="1036" y="268"/>
                    </a:lnTo>
                    <a:lnTo>
                      <a:pt x="1032" y="273"/>
                    </a:lnTo>
                    <a:lnTo>
                      <a:pt x="1027" y="273"/>
                    </a:lnTo>
                    <a:lnTo>
                      <a:pt x="1022" y="273"/>
                    </a:lnTo>
                    <a:lnTo>
                      <a:pt x="1017" y="278"/>
                    </a:lnTo>
                    <a:lnTo>
                      <a:pt x="1012" y="283"/>
                    </a:lnTo>
                    <a:lnTo>
                      <a:pt x="1012" y="288"/>
                    </a:lnTo>
                    <a:lnTo>
                      <a:pt x="1008" y="292"/>
                    </a:lnTo>
                    <a:lnTo>
                      <a:pt x="1008" y="297"/>
                    </a:lnTo>
                    <a:lnTo>
                      <a:pt x="1003" y="302"/>
                    </a:lnTo>
                    <a:lnTo>
                      <a:pt x="998" y="302"/>
                    </a:lnTo>
                    <a:lnTo>
                      <a:pt x="998" y="307"/>
                    </a:lnTo>
                    <a:lnTo>
                      <a:pt x="993" y="312"/>
                    </a:lnTo>
                    <a:lnTo>
                      <a:pt x="993" y="316"/>
                    </a:lnTo>
                    <a:lnTo>
                      <a:pt x="988" y="321"/>
                    </a:lnTo>
                    <a:lnTo>
                      <a:pt x="988" y="326"/>
                    </a:lnTo>
                    <a:lnTo>
                      <a:pt x="984" y="331"/>
                    </a:lnTo>
                    <a:lnTo>
                      <a:pt x="984" y="336"/>
                    </a:lnTo>
                    <a:lnTo>
                      <a:pt x="979" y="340"/>
                    </a:lnTo>
                    <a:lnTo>
                      <a:pt x="974" y="340"/>
                    </a:lnTo>
                    <a:lnTo>
                      <a:pt x="969" y="340"/>
                    </a:lnTo>
                    <a:lnTo>
                      <a:pt x="964" y="340"/>
                    </a:lnTo>
                    <a:lnTo>
                      <a:pt x="960" y="340"/>
                    </a:lnTo>
                    <a:lnTo>
                      <a:pt x="955" y="340"/>
                    </a:lnTo>
                    <a:lnTo>
                      <a:pt x="950" y="340"/>
                    </a:lnTo>
                    <a:lnTo>
                      <a:pt x="945" y="340"/>
                    </a:lnTo>
                    <a:lnTo>
                      <a:pt x="940" y="340"/>
                    </a:lnTo>
                    <a:lnTo>
                      <a:pt x="936" y="340"/>
                    </a:lnTo>
                    <a:lnTo>
                      <a:pt x="931" y="340"/>
                    </a:lnTo>
                    <a:lnTo>
                      <a:pt x="931" y="336"/>
                    </a:lnTo>
                    <a:lnTo>
                      <a:pt x="926" y="336"/>
                    </a:lnTo>
                    <a:lnTo>
                      <a:pt x="921" y="336"/>
                    </a:lnTo>
                    <a:lnTo>
                      <a:pt x="916" y="336"/>
                    </a:lnTo>
                    <a:lnTo>
                      <a:pt x="912" y="336"/>
                    </a:lnTo>
                    <a:lnTo>
                      <a:pt x="907" y="336"/>
                    </a:lnTo>
                    <a:lnTo>
                      <a:pt x="902" y="336"/>
                    </a:lnTo>
                    <a:lnTo>
                      <a:pt x="897" y="336"/>
                    </a:lnTo>
                    <a:lnTo>
                      <a:pt x="892" y="336"/>
                    </a:lnTo>
                    <a:lnTo>
                      <a:pt x="888" y="336"/>
                    </a:lnTo>
                    <a:lnTo>
                      <a:pt x="883" y="336"/>
                    </a:lnTo>
                    <a:lnTo>
                      <a:pt x="878" y="336"/>
                    </a:lnTo>
                    <a:lnTo>
                      <a:pt x="873" y="336"/>
                    </a:lnTo>
                    <a:lnTo>
                      <a:pt x="868" y="336"/>
                    </a:lnTo>
                    <a:lnTo>
                      <a:pt x="864" y="336"/>
                    </a:lnTo>
                    <a:lnTo>
                      <a:pt x="859" y="340"/>
                    </a:lnTo>
                    <a:lnTo>
                      <a:pt x="854" y="340"/>
                    </a:lnTo>
                    <a:lnTo>
                      <a:pt x="849" y="340"/>
                    </a:lnTo>
                    <a:lnTo>
                      <a:pt x="849" y="345"/>
                    </a:lnTo>
                    <a:lnTo>
                      <a:pt x="844" y="345"/>
                    </a:lnTo>
                    <a:lnTo>
                      <a:pt x="844" y="350"/>
                    </a:lnTo>
                    <a:lnTo>
                      <a:pt x="840" y="355"/>
                    </a:lnTo>
                    <a:lnTo>
                      <a:pt x="835" y="360"/>
                    </a:lnTo>
                    <a:lnTo>
                      <a:pt x="830" y="364"/>
                    </a:lnTo>
                    <a:lnTo>
                      <a:pt x="825" y="369"/>
                    </a:lnTo>
                    <a:lnTo>
                      <a:pt x="820" y="374"/>
                    </a:lnTo>
                    <a:lnTo>
                      <a:pt x="816" y="374"/>
                    </a:lnTo>
                    <a:lnTo>
                      <a:pt x="811" y="379"/>
                    </a:lnTo>
                    <a:lnTo>
                      <a:pt x="811" y="384"/>
                    </a:lnTo>
                    <a:lnTo>
                      <a:pt x="806" y="388"/>
                    </a:lnTo>
                    <a:lnTo>
                      <a:pt x="801" y="393"/>
                    </a:lnTo>
                    <a:lnTo>
                      <a:pt x="796" y="398"/>
                    </a:lnTo>
                    <a:lnTo>
                      <a:pt x="792" y="403"/>
                    </a:lnTo>
                    <a:lnTo>
                      <a:pt x="787" y="408"/>
                    </a:lnTo>
                    <a:lnTo>
                      <a:pt x="782" y="412"/>
                    </a:lnTo>
                    <a:lnTo>
                      <a:pt x="777" y="412"/>
                    </a:lnTo>
                    <a:lnTo>
                      <a:pt x="772" y="417"/>
                    </a:lnTo>
                    <a:lnTo>
                      <a:pt x="768" y="417"/>
                    </a:lnTo>
                    <a:lnTo>
                      <a:pt x="763" y="417"/>
                    </a:lnTo>
                    <a:lnTo>
                      <a:pt x="758" y="417"/>
                    </a:lnTo>
                    <a:lnTo>
                      <a:pt x="753" y="422"/>
                    </a:lnTo>
                    <a:lnTo>
                      <a:pt x="753" y="427"/>
                    </a:lnTo>
                    <a:lnTo>
                      <a:pt x="748" y="432"/>
                    </a:lnTo>
                    <a:lnTo>
                      <a:pt x="744" y="432"/>
                    </a:lnTo>
                    <a:lnTo>
                      <a:pt x="739" y="436"/>
                    </a:lnTo>
                    <a:lnTo>
                      <a:pt x="734" y="441"/>
                    </a:lnTo>
                    <a:lnTo>
                      <a:pt x="729" y="446"/>
                    </a:lnTo>
                    <a:lnTo>
                      <a:pt x="724" y="446"/>
                    </a:lnTo>
                    <a:lnTo>
                      <a:pt x="720" y="451"/>
                    </a:lnTo>
                    <a:lnTo>
                      <a:pt x="715" y="456"/>
                    </a:lnTo>
                    <a:lnTo>
                      <a:pt x="715" y="460"/>
                    </a:lnTo>
                    <a:lnTo>
                      <a:pt x="710" y="460"/>
                    </a:lnTo>
                    <a:lnTo>
                      <a:pt x="705" y="465"/>
                    </a:lnTo>
                    <a:lnTo>
                      <a:pt x="700" y="470"/>
                    </a:lnTo>
                    <a:lnTo>
                      <a:pt x="696" y="475"/>
                    </a:lnTo>
                    <a:lnTo>
                      <a:pt x="691" y="475"/>
                    </a:lnTo>
                    <a:lnTo>
                      <a:pt x="686" y="480"/>
                    </a:lnTo>
                    <a:lnTo>
                      <a:pt x="681" y="484"/>
                    </a:lnTo>
                    <a:lnTo>
                      <a:pt x="681" y="489"/>
                    </a:lnTo>
                    <a:lnTo>
                      <a:pt x="676" y="489"/>
                    </a:lnTo>
                    <a:lnTo>
                      <a:pt x="672" y="494"/>
                    </a:lnTo>
                    <a:lnTo>
                      <a:pt x="667" y="499"/>
                    </a:lnTo>
                    <a:lnTo>
                      <a:pt x="662" y="504"/>
                    </a:lnTo>
                    <a:lnTo>
                      <a:pt x="657" y="504"/>
                    </a:lnTo>
                    <a:lnTo>
                      <a:pt x="652" y="508"/>
                    </a:lnTo>
                    <a:lnTo>
                      <a:pt x="648" y="513"/>
                    </a:lnTo>
                    <a:lnTo>
                      <a:pt x="648" y="518"/>
                    </a:lnTo>
                    <a:lnTo>
                      <a:pt x="643" y="523"/>
                    </a:lnTo>
                    <a:lnTo>
                      <a:pt x="638" y="523"/>
                    </a:lnTo>
                    <a:lnTo>
                      <a:pt x="633" y="528"/>
                    </a:lnTo>
                    <a:lnTo>
                      <a:pt x="628" y="532"/>
                    </a:lnTo>
                    <a:lnTo>
                      <a:pt x="624" y="532"/>
                    </a:lnTo>
                    <a:lnTo>
                      <a:pt x="624" y="537"/>
                    </a:lnTo>
                    <a:lnTo>
                      <a:pt x="619" y="537"/>
                    </a:lnTo>
                    <a:lnTo>
                      <a:pt x="619" y="542"/>
                    </a:lnTo>
                    <a:lnTo>
                      <a:pt x="619" y="547"/>
                    </a:lnTo>
                    <a:lnTo>
                      <a:pt x="619" y="552"/>
                    </a:lnTo>
                    <a:lnTo>
                      <a:pt x="619" y="556"/>
                    </a:lnTo>
                    <a:lnTo>
                      <a:pt x="619" y="561"/>
                    </a:lnTo>
                    <a:lnTo>
                      <a:pt x="619" y="566"/>
                    </a:lnTo>
                    <a:lnTo>
                      <a:pt x="619" y="571"/>
                    </a:lnTo>
                    <a:lnTo>
                      <a:pt x="619" y="576"/>
                    </a:lnTo>
                    <a:lnTo>
                      <a:pt x="619" y="580"/>
                    </a:lnTo>
                    <a:lnTo>
                      <a:pt x="619" y="585"/>
                    </a:lnTo>
                    <a:lnTo>
                      <a:pt x="619" y="590"/>
                    </a:lnTo>
                    <a:lnTo>
                      <a:pt x="614" y="590"/>
                    </a:lnTo>
                    <a:lnTo>
                      <a:pt x="609" y="590"/>
                    </a:lnTo>
                    <a:lnTo>
                      <a:pt x="609" y="595"/>
                    </a:lnTo>
                    <a:lnTo>
                      <a:pt x="604" y="595"/>
                    </a:lnTo>
                    <a:lnTo>
                      <a:pt x="600" y="590"/>
                    </a:lnTo>
                    <a:lnTo>
                      <a:pt x="595" y="590"/>
                    </a:lnTo>
                    <a:lnTo>
                      <a:pt x="595" y="585"/>
                    </a:lnTo>
                    <a:lnTo>
                      <a:pt x="590" y="585"/>
                    </a:lnTo>
                    <a:lnTo>
                      <a:pt x="585" y="585"/>
                    </a:lnTo>
                    <a:lnTo>
                      <a:pt x="585" y="580"/>
                    </a:lnTo>
                    <a:lnTo>
                      <a:pt x="580" y="580"/>
                    </a:lnTo>
                    <a:lnTo>
                      <a:pt x="576" y="580"/>
                    </a:lnTo>
                    <a:lnTo>
                      <a:pt x="571" y="580"/>
                    </a:lnTo>
                    <a:lnTo>
                      <a:pt x="566" y="580"/>
                    </a:lnTo>
                    <a:lnTo>
                      <a:pt x="561" y="580"/>
                    </a:lnTo>
                    <a:lnTo>
                      <a:pt x="556" y="580"/>
                    </a:lnTo>
                    <a:lnTo>
                      <a:pt x="552" y="580"/>
                    </a:lnTo>
                    <a:lnTo>
                      <a:pt x="552" y="576"/>
                    </a:lnTo>
                    <a:lnTo>
                      <a:pt x="547" y="576"/>
                    </a:lnTo>
                    <a:lnTo>
                      <a:pt x="542" y="576"/>
                    </a:lnTo>
                    <a:lnTo>
                      <a:pt x="537" y="576"/>
                    </a:lnTo>
                    <a:lnTo>
                      <a:pt x="532" y="571"/>
                    </a:lnTo>
                    <a:lnTo>
                      <a:pt x="528" y="571"/>
                    </a:lnTo>
                    <a:lnTo>
                      <a:pt x="523" y="571"/>
                    </a:lnTo>
                    <a:lnTo>
                      <a:pt x="523" y="566"/>
                    </a:lnTo>
                    <a:lnTo>
                      <a:pt x="518" y="571"/>
                    </a:lnTo>
                    <a:lnTo>
                      <a:pt x="513" y="571"/>
                    </a:lnTo>
                    <a:lnTo>
                      <a:pt x="508" y="576"/>
                    </a:lnTo>
                    <a:lnTo>
                      <a:pt x="504" y="580"/>
                    </a:lnTo>
                    <a:lnTo>
                      <a:pt x="499" y="580"/>
                    </a:lnTo>
                    <a:lnTo>
                      <a:pt x="494" y="585"/>
                    </a:lnTo>
                    <a:lnTo>
                      <a:pt x="489" y="585"/>
                    </a:lnTo>
                    <a:lnTo>
                      <a:pt x="494" y="590"/>
                    </a:lnTo>
                    <a:lnTo>
                      <a:pt x="499" y="595"/>
                    </a:lnTo>
                    <a:lnTo>
                      <a:pt x="499" y="600"/>
                    </a:lnTo>
                    <a:lnTo>
                      <a:pt x="504" y="604"/>
                    </a:lnTo>
                    <a:lnTo>
                      <a:pt x="508" y="609"/>
                    </a:lnTo>
                    <a:lnTo>
                      <a:pt x="508" y="614"/>
                    </a:lnTo>
                    <a:lnTo>
                      <a:pt x="513" y="614"/>
                    </a:lnTo>
                    <a:lnTo>
                      <a:pt x="508" y="619"/>
                    </a:lnTo>
                    <a:lnTo>
                      <a:pt x="504" y="624"/>
                    </a:lnTo>
                    <a:lnTo>
                      <a:pt x="499" y="628"/>
                    </a:lnTo>
                    <a:lnTo>
                      <a:pt x="499" y="633"/>
                    </a:lnTo>
                    <a:lnTo>
                      <a:pt x="504" y="638"/>
                    </a:lnTo>
                    <a:lnTo>
                      <a:pt x="504" y="643"/>
                    </a:lnTo>
                    <a:lnTo>
                      <a:pt x="508" y="648"/>
                    </a:lnTo>
                    <a:lnTo>
                      <a:pt x="508" y="652"/>
                    </a:lnTo>
                    <a:lnTo>
                      <a:pt x="513" y="657"/>
                    </a:lnTo>
                    <a:lnTo>
                      <a:pt x="513" y="662"/>
                    </a:lnTo>
                    <a:lnTo>
                      <a:pt x="513" y="667"/>
                    </a:lnTo>
                    <a:lnTo>
                      <a:pt x="518" y="667"/>
                    </a:lnTo>
                    <a:lnTo>
                      <a:pt x="518" y="672"/>
                    </a:lnTo>
                    <a:lnTo>
                      <a:pt x="518" y="676"/>
                    </a:lnTo>
                    <a:lnTo>
                      <a:pt x="523" y="676"/>
                    </a:lnTo>
                    <a:lnTo>
                      <a:pt x="523" y="681"/>
                    </a:lnTo>
                    <a:lnTo>
                      <a:pt x="523" y="686"/>
                    </a:lnTo>
                    <a:lnTo>
                      <a:pt x="528" y="686"/>
                    </a:lnTo>
                    <a:lnTo>
                      <a:pt x="528" y="691"/>
                    </a:lnTo>
                    <a:lnTo>
                      <a:pt x="528" y="696"/>
                    </a:lnTo>
                    <a:lnTo>
                      <a:pt x="532" y="696"/>
                    </a:lnTo>
                    <a:lnTo>
                      <a:pt x="532" y="700"/>
                    </a:lnTo>
                    <a:lnTo>
                      <a:pt x="537" y="705"/>
                    </a:lnTo>
                    <a:lnTo>
                      <a:pt x="542" y="710"/>
                    </a:lnTo>
                    <a:lnTo>
                      <a:pt x="547" y="715"/>
                    </a:lnTo>
                    <a:lnTo>
                      <a:pt x="552" y="720"/>
                    </a:lnTo>
                    <a:lnTo>
                      <a:pt x="556" y="720"/>
                    </a:lnTo>
                    <a:lnTo>
                      <a:pt x="561" y="724"/>
                    </a:lnTo>
                    <a:lnTo>
                      <a:pt x="566" y="729"/>
                    </a:lnTo>
                    <a:lnTo>
                      <a:pt x="571" y="734"/>
                    </a:lnTo>
                    <a:lnTo>
                      <a:pt x="576" y="739"/>
                    </a:lnTo>
                    <a:lnTo>
                      <a:pt x="580" y="739"/>
                    </a:lnTo>
                    <a:lnTo>
                      <a:pt x="585" y="744"/>
                    </a:lnTo>
                    <a:lnTo>
                      <a:pt x="590" y="748"/>
                    </a:lnTo>
                    <a:lnTo>
                      <a:pt x="595" y="753"/>
                    </a:lnTo>
                    <a:lnTo>
                      <a:pt x="600" y="758"/>
                    </a:lnTo>
                    <a:lnTo>
                      <a:pt x="604" y="763"/>
                    </a:lnTo>
                    <a:lnTo>
                      <a:pt x="609" y="768"/>
                    </a:lnTo>
                    <a:lnTo>
                      <a:pt x="609" y="772"/>
                    </a:lnTo>
                    <a:lnTo>
                      <a:pt x="614" y="772"/>
                    </a:lnTo>
                    <a:lnTo>
                      <a:pt x="614" y="777"/>
                    </a:lnTo>
                    <a:lnTo>
                      <a:pt x="614" y="782"/>
                    </a:lnTo>
                    <a:lnTo>
                      <a:pt x="609" y="782"/>
                    </a:lnTo>
                    <a:lnTo>
                      <a:pt x="609" y="787"/>
                    </a:lnTo>
                    <a:lnTo>
                      <a:pt x="604" y="792"/>
                    </a:lnTo>
                    <a:lnTo>
                      <a:pt x="600" y="792"/>
                    </a:lnTo>
                    <a:lnTo>
                      <a:pt x="595" y="796"/>
                    </a:lnTo>
                    <a:lnTo>
                      <a:pt x="595" y="801"/>
                    </a:lnTo>
                    <a:lnTo>
                      <a:pt x="590" y="806"/>
                    </a:lnTo>
                    <a:lnTo>
                      <a:pt x="585" y="806"/>
                    </a:lnTo>
                    <a:lnTo>
                      <a:pt x="580" y="811"/>
                    </a:lnTo>
                    <a:lnTo>
                      <a:pt x="576" y="816"/>
                    </a:lnTo>
                    <a:lnTo>
                      <a:pt x="571" y="820"/>
                    </a:lnTo>
                    <a:lnTo>
                      <a:pt x="566" y="820"/>
                    </a:lnTo>
                    <a:lnTo>
                      <a:pt x="561" y="825"/>
                    </a:lnTo>
                    <a:lnTo>
                      <a:pt x="561" y="830"/>
                    </a:lnTo>
                    <a:lnTo>
                      <a:pt x="556" y="830"/>
                    </a:lnTo>
                    <a:lnTo>
                      <a:pt x="552" y="835"/>
                    </a:lnTo>
                    <a:lnTo>
                      <a:pt x="547" y="840"/>
                    </a:lnTo>
                    <a:lnTo>
                      <a:pt x="542" y="844"/>
                    </a:lnTo>
                    <a:lnTo>
                      <a:pt x="537" y="844"/>
                    </a:lnTo>
                    <a:lnTo>
                      <a:pt x="532" y="849"/>
                    </a:lnTo>
                    <a:lnTo>
                      <a:pt x="528" y="854"/>
                    </a:lnTo>
                    <a:lnTo>
                      <a:pt x="523" y="859"/>
                    </a:lnTo>
                    <a:lnTo>
                      <a:pt x="518" y="864"/>
                    </a:lnTo>
                    <a:lnTo>
                      <a:pt x="513" y="868"/>
                    </a:lnTo>
                    <a:lnTo>
                      <a:pt x="508" y="868"/>
                    </a:lnTo>
                    <a:lnTo>
                      <a:pt x="504" y="873"/>
                    </a:lnTo>
                    <a:lnTo>
                      <a:pt x="499" y="878"/>
                    </a:lnTo>
                    <a:lnTo>
                      <a:pt x="494" y="883"/>
                    </a:lnTo>
                    <a:lnTo>
                      <a:pt x="489" y="883"/>
                    </a:lnTo>
                    <a:lnTo>
                      <a:pt x="489" y="888"/>
                    </a:lnTo>
                    <a:lnTo>
                      <a:pt x="484" y="888"/>
                    </a:lnTo>
                    <a:lnTo>
                      <a:pt x="484" y="892"/>
                    </a:lnTo>
                    <a:lnTo>
                      <a:pt x="480" y="892"/>
                    </a:lnTo>
                    <a:lnTo>
                      <a:pt x="480" y="897"/>
                    </a:lnTo>
                    <a:lnTo>
                      <a:pt x="480" y="902"/>
                    </a:lnTo>
                    <a:lnTo>
                      <a:pt x="475" y="902"/>
                    </a:lnTo>
                    <a:lnTo>
                      <a:pt x="475" y="907"/>
                    </a:lnTo>
                    <a:lnTo>
                      <a:pt x="470" y="912"/>
                    </a:lnTo>
                    <a:lnTo>
                      <a:pt x="465" y="912"/>
                    </a:lnTo>
                    <a:lnTo>
                      <a:pt x="460" y="912"/>
                    </a:lnTo>
                    <a:lnTo>
                      <a:pt x="456" y="912"/>
                    </a:lnTo>
                    <a:lnTo>
                      <a:pt x="451" y="916"/>
                    </a:lnTo>
                    <a:lnTo>
                      <a:pt x="446" y="916"/>
                    </a:lnTo>
                    <a:lnTo>
                      <a:pt x="446" y="921"/>
                    </a:lnTo>
                    <a:lnTo>
                      <a:pt x="446" y="926"/>
                    </a:lnTo>
                    <a:lnTo>
                      <a:pt x="451" y="926"/>
                    </a:lnTo>
                    <a:lnTo>
                      <a:pt x="451" y="931"/>
                    </a:lnTo>
                    <a:lnTo>
                      <a:pt x="451" y="936"/>
                    </a:lnTo>
                    <a:lnTo>
                      <a:pt x="451" y="940"/>
                    </a:lnTo>
                    <a:lnTo>
                      <a:pt x="451" y="945"/>
                    </a:lnTo>
                    <a:lnTo>
                      <a:pt x="456" y="945"/>
                    </a:lnTo>
                    <a:lnTo>
                      <a:pt x="456" y="950"/>
                    </a:lnTo>
                    <a:lnTo>
                      <a:pt x="460" y="950"/>
                    </a:lnTo>
                    <a:lnTo>
                      <a:pt x="460" y="955"/>
                    </a:lnTo>
                    <a:lnTo>
                      <a:pt x="465" y="955"/>
                    </a:lnTo>
                    <a:lnTo>
                      <a:pt x="470" y="955"/>
                    </a:lnTo>
                    <a:lnTo>
                      <a:pt x="470" y="960"/>
                    </a:lnTo>
                    <a:lnTo>
                      <a:pt x="475" y="960"/>
                    </a:lnTo>
                    <a:lnTo>
                      <a:pt x="480" y="960"/>
                    </a:lnTo>
                    <a:lnTo>
                      <a:pt x="480" y="964"/>
                    </a:lnTo>
                    <a:lnTo>
                      <a:pt x="480" y="969"/>
                    </a:lnTo>
                    <a:lnTo>
                      <a:pt x="480" y="974"/>
                    </a:lnTo>
                    <a:lnTo>
                      <a:pt x="480" y="979"/>
                    </a:lnTo>
                    <a:lnTo>
                      <a:pt x="475" y="979"/>
                    </a:lnTo>
                    <a:lnTo>
                      <a:pt x="475" y="984"/>
                    </a:lnTo>
                    <a:lnTo>
                      <a:pt x="470" y="984"/>
                    </a:lnTo>
                    <a:lnTo>
                      <a:pt x="470" y="988"/>
                    </a:lnTo>
                    <a:lnTo>
                      <a:pt x="470" y="993"/>
                    </a:lnTo>
                    <a:lnTo>
                      <a:pt x="465" y="998"/>
                    </a:lnTo>
                    <a:lnTo>
                      <a:pt x="465" y="1003"/>
                    </a:lnTo>
                    <a:lnTo>
                      <a:pt x="460" y="1008"/>
                    </a:lnTo>
                    <a:lnTo>
                      <a:pt x="456" y="1008"/>
                    </a:lnTo>
                    <a:lnTo>
                      <a:pt x="456" y="1012"/>
                    </a:lnTo>
                    <a:lnTo>
                      <a:pt x="451" y="1012"/>
                    </a:lnTo>
                    <a:lnTo>
                      <a:pt x="451" y="1017"/>
                    </a:lnTo>
                    <a:lnTo>
                      <a:pt x="451" y="1022"/>
                    </a:lnTo>
                    <a:lnTo>
                      <a:pt x="451" y="1027"/>
                    </a:lnTo>
                    <a:lnTo>
                      <a:pt x="451" y="1032"/>
                    </a:lnTo>
                    <a:lnTo>
                      <a:pt x="446" y="1032"/>
                    </a:lnTo>
                    <a:lnTo>
                      <a:pt x="446" y="1036"/>
                    </a:lnTo>
                    <a:lnTo>
                      <a:pt x="446" y="1041"/>
                    </a:lnTo>
                    <a:lnTo>
                      <a:pt x="446" y="1046"/>
                    </a:lnTo>
                    <a:lnTo>
                      <a:pt x="441" y="1046"/>
                    </a:lnTo>
                    <a:lnTo>
                      <a:pt x="436" y="1051"/>
                    </a:lnTo>
                    <a:lnTo>
                      <a:pt x="432" y="1051"/>
                    </a:lnTo>
                    <a:lnTo>
                      <a:pt x="427" y="1051"/>
                    </a:lnTo>
                    <a:lnTo>
                      <a:pt x="427" y="1056"/>
                    </a:lnTo>
                    <a:lnTo>
                      <a:pt x="422" y="1060"/>
                    </a:lnTo>
                    <a:lnTo>
                      <a:pt x="417" y="1060"/>
                    </a:lnTo>
                    <a:lnTo>
                      <a:pt x="412" y="1060"/>
                    </a:lnTo>
                    <a:lnTo>
                      <a:pt x="408" y="1056"/>
                    </a:lnTo>
                    <a:lnTo>
                      <a:pt x="403" y="1056"/>
                    </a:lnTo>
                    <a:lnTo>
                      <a:pt x="398" y="1060"/>
                    </a:lnTo>
                    <a:lnTo>
                      <a:pt x="398" y="1065"/>
                    </a:lnTo>
                    <a:lnTo>
                      <a:pt x="398" y="1070"/>
                    </a:lnTo>
                    <a:lnTo>
                      <a:pt x="393" y="1075"/>
                    </a:lnTo>
                    <a:lnTo>
                      <a:pt x="393" y="1080"/>
                    </a:lnTo>
                    <a:lnTo>
                      <a:pt x="393" y="1084"/>
                    </a:lnTo>
                    <a:lnTo>
                      <a:pt x="393" y="1089"/>
                    </a:lnTo>
                    <a:lnTo>
                      <a:pt x="393" y="1094"/>
                    </a:lnTo>
                    <a:lnTo>
                      <a:pt x="393" y="1099"/>
                    </a:lnTo>
                    <a:lnTo>
                      <a:pt x="388" y="1099"/>
                    </a:lnTo>
                    <a:lnTo>
                      <a:pt x="388" y="1104"/>
                    </a:lnTo>
                    <a:lnTo>
                      <a:pt x="384" y="1104"/>
                    </a:lnTo>
                    <a:lnTo>
                      <a:pt x="379" y="1104"/>
                    </a:lnTo>
                    <a:lnTo>
                      <a:pt x="379" y="1108"/>
                    </a:lnTo>
                    <a:lnTo>
                      <a:pt x="374" y="1113"/>
                    </a:lnTo>
                    <a:lnTo>
                      <a:pt x="369" y="1118"/>
                    </a:lnTo>
                    <a:lnTo>
                      <a:pt x="364" y="1118"/>
                    </a:lnTo>
                    <a:lnTo>
                      <a:pt x="360" y="1118"/>
                    </a:lnTo>
                    <a:lnTo>
                      <a:pt x="355" y="1118"/>
                    </a:lnTo>
                    <a:lnTo>
                      <a:pt x="355" y="1123"/>
                    </a:lnTo>
                    <a:lnTo>
                      <a:pt x="350" y="1123"/>
                    </a:lnTo>
                    <a:lnTo>
                      <a:pt x="350" y="1128"/>
                    </a:lnTo>
                    <a:lnTo>
                      <a:pt x="345" y="1128"/>
                    </a:lnTo>
                    <a:lnTo>
                      <a:pt x="340" y="1132"/>
                    </a:lnTo>
                    <a:lnTo>
                      <a:pt x="340" y="1137"/>
                    </a:lnTo>
                    <a:lnTo>
                      <a:pt x="336" y="1137"/>
                    </a:lnTo>
                    <a:lnTo>
                      <a:pt x="336" y="1142"/>
                    </a:lnTo>
                    <a:lnTo>
                      <a:pt x="331" y="1142"/>
                    </a:lnTo>
                    <a:lnTo>
                      <a:pt x="326" y="1142"/>
                    </a:lnTo>
                    <a:lnTo>
                      <a:pt x="326" y="1147"/>
                    </a:lnTo>
                    <a:lnTo>
                      <a:pt x="321" y="1147"/>
                    </a:lnTo>
                    <a:lnTo>
                      <a:pt x="321" y="1152"/>
                    </a:lnTo>
                    <a:lnTo>
                      <a:pt x="321" y="1156"/>
                    </a:lnTo>
                    <a:lnTo>
                      <a:pt x="316" y="1156"/>
                    </a:lnTo>
                    <a:lnTo>
                      <a:pt x="312" y="1161"/>
                    </a:lnTo>
                    <a:lnTo>
                      <a:pt x="307" y="1161"/>
                    </a:lnTo>
                    <a:lnTo>
                      <a:pt x="302" y="1161"/>
                    </a:lnTo>
                    <a:lnTo>
                      <a:pt x="302" y="1166"/>
                    </a:lnTo>
                    <a:lnTo>
                      <a:pt x="297" y="1166"/>
                    </a:lnTo>
                    <a:lnTo>
                      <a:pt x="297" y="1171"/>
                    </a:lnTo>
                    <a:lnTo>
                      <a:pt x="292" y="1171"/>
                    </a:lnTo>
                    <a:lnTo>
                      <a:pt x="288" y="1171"/>
                    </a:lnTo>
                    <a:lnTo>
                      <a:pt x="283" y="1171"/>
                    </a:lnTo>
                    <a:lnTo>
                      <a:pt x="283" y="1176"/>
                    </a:lnTo>
                    <a:lnTo>
                      <a:pt x="278" y="1176"/>
                    </a:lnTo>
                    <a:lnTo>
                      <a:pt x="259" y="1171"/>
                    </a:lnTo>
                    <a:lnTo>
                      <a:pt x="254" y="1166"/>
                    </a:lnTo>
                    <a:lnTo>
                      <a:pt x="259" y="1166"/>
                    </a:lnTo>
                    <a:lnTo>
                      <a:pt x="254" y="1161"/>
                    </a:lnTo>
                    <a:lnTo>
                      <a:pt x="259" y="1161"/>
                    </a:lnTo>
                    <a:lnTo>
                      <a:pt x="264" y="1152"/>
                    </a:lnTo>
                    <a:lnTo>
                      <a:pt x="264" y="1147"/>
                    </a:lnTo>
                    <a:lnTo>
                      <a:pt x="264" y="1142"/>
                    </a:lnTo>
                    <a:lnTo>
                      <a:pt x="259" y="1142"/>
                    </a:lnTo>
                    <a:lnTo>
                      <a:pt x="254" y="1132"/>
                    </a:lnTo>
                    <a:lnTo>
                      <a:pt x="254" y="1128"/>
                    </a:lnTo>
                    <a:lnTo>
                      <a:pt x="254" y="1123"/>
                    </a:lnTo>
                    <a:lnTo>
                      <a:pt x="259" y="1113"/>
                    </a:lnTo>
                    <a:lnTo>
                      <a:pt x="259" y="1104"/>
                    </a:lnTo>
                    <a:lnTo>
                      <a:pt x="264" y="1099"/>
                    </a:lnTo>
                    <a:lnTo>
                      <a:pt x="259" y="1080"/>
                    </a:lnTo>
                    <a:lnTo>
                      <a:pt x="259" y="1075"/>
                    </a:lnTo>
                    <a:lnTo>
                      <a:pt x="259" y="1070"/>
                    </a:lnTo>
                    <a:lnTo>
                      <a:pt x="259" y="1065"/>
                    </a:lnTo>
                    <a:lnTo>
                      <a:pt x="259" y="1060"/>
                    </a:lnTo>
                    <a:lnTo>
                      <a:pt x="259" y="1056"/>
                    </a:lnTo>
                    <a:lnTo>
                      <a:pt x="254" y="1046"/>
                    </a:lnTo>
                    <a:lnTo>
                      <a:pt x="254" y="1041"/>
                    </a:lnTo>
                    <a:lnTo>
                      <a:pt x="249" y="1032"/>
                    </a:lnTo>
                    <a:lnTo>
                      <a:pt x="249" y="1027"/>
                    </a:lnTo>
                    <a:lnTo>
                      <a:pt x="254" y="1022"/>
                    </a:lnTo>
                    <a:lnTo>
                      <a:pt x="254" y="1017"/>
                    </a:lnTo>
                    <a:lnTo>
                      <a:pt x="249" y="1003"/>
                    </a:lnTo>
                    <a:lnTo>
                      <a:pt x="244" y="998"/>
                    </a:lnTo>
                    <a:lnTo>
                      <a:pt x="244" y="993"/>
                    </a:lnTo>
                    <a:lnTo>
                      <a:pt x="240" y="993"/>
                    </a:lnTo>
                    <a:lnTo>
                      <a:pt x="240" y="988"/>
                    </a:lnTo>
                    <a:lnTo>
                      <a:pt x="235" y="988"/>
                    </a:lnTo>
                    <a:lnTo>
                      <a:pt x="230" y="984"/>
                    </a:lnTo>
                    <a:lnTo>
                      <a:pt x="225" y="979"/>
                    </a:lnTo>
                    <a:lnTo>
                      <a:pt x="220" y="969"/>
                    </a:lnTo>
                    <a:lnTo>
                      <a:pt x="216" y="969"/>
                    </a:lnTo>
                    <a:lnTo>
                      <a:pt x="206" y="955"/>
                    </a:lnTo>
                    <a:lnTo>
                      <a:pt x="196" y="940"/>
                    </a:lnTo>
                    <a:lnTo>
                      <a:pt x="192" y="936"/>
                    </a:lnTo>
                    <a:lnTo>
                      <a:pt x="187" y="931"/>
                    </a:lnTo>
                    <a:lnTo>
                      <a:pt x="187" y="926"/>
                    </a:lnTo>
                    <a:lnTo>
                      <a:pt x="182" y="921"/>
                    </a:lnTo>
                    <a:lnTo>
                      <a:pt x="177" y="916"/>
                    </a:lnTo>
                    <a:lnTo>
                      <a:pt x="124" y="868"/>
                    </a:lnTo>
                    <a:lnTo>
                      <a:pt x="124" y="864"/>
                    </a:lnTo>
                    <a:lnTo>
                      <a:pt x="124" y="859"/>
                    </a:lnTo>
                    <a:lnTo>
                      <a:pt x="124" y="854"/>
                    </a:lnTo>
                    <a:lnTo>
                      <a:pt x="129" y="849"/>
                    </a:lnTo>
                    <a:lnTo>
                      <a:pt x="129" y="844"/>
                    </a:lnTo>
                    <a:lnTo>
                      <a:pt x="129" y="840"/>
                    </a:lnTo>
                    <a:lnTo>
                      <a:pt x="124" y="835"/>
                    </a:lnTo>
                    <a:lnTo>
                      <a:pt x="120" y="830"/>
                    </a:lnTo>
                    <a:lnTo>
                      <a:pt x="115" y="825"/>
                    </a:lnTo>
                    <a:lnTo>
                      <a:pt x="115" y="820"/>
                    </a:lnTo>
                    <a:lnTo>
                      <a:pt x="110" y="816"/>
                    </a:lnTo>
                    <a:lnTo>
                      <a:pt x="105" y="811"/>
                    </a:lnTo>
                    <a:lnTo>
                      <a:pt x="105" y="806"/>
                    </a:lnTo>
                    <a:lnTo>
                      <a:pt x="100" y="801"/>
                    </a:lnTo>
                    <a:lnTo>
                      <a:pt x="96" y="796"/>
                    </a:lnTo>
                    <a:lnTo>
                      <a:pt x="91" y="792"/>
                    </a:lnTo>
                    <a:lnTo>
                      <a:pt x="91" y="787"/>
                    </a:lnTo>
                    <a:lnTo>
                      <a:pt x="86" y="782"/>
                    </a:lnTo>
                    <a:lnTo>
                      <a:pt x="86" y="777"/>
                    </a:lnTo>
                    <a:lnTo>
                      <a:pt x="81" y="772"/>
                    </a:lnTo>
                    <a:lnTo>
                      <a:pt x="81" y="768"/>
                    </a:lnTo>
                    <a:lnTo>
                      <a:pt x="76" y="768"/>
                    </a:lnTo>
                    <a:lnTo>
                      <a:pt x="76" y="763"/>
                    </a:lnTo>
                    <a:lnTo>
                      <a:pt x="72" y="758"/>
                    </a:lnTo>
                    <a:lnTo>
                      <a:pt x="72" y="753"/>
                    </a:lnTo>
                    <a:lnTo>
                      <a:pt x="67" y="748"/>
                    </a:lnTo>
                    <a:lnTo>
                      <a:pt x="67" y="744"/>
                    </a:lnTo>
                    <a:lnTo>
                      <a:pt x="62" y="739"/>
                    </a:lnTo>
                    <a:lnTo>
                      <a:pt x="62" y="734"/>
                    </a:lnTo>
                    <a:lnTo>
                      <a:pt x="57" y="734"/>
                    </a:lnTo>
                    <a:lnTo>
                      <a:pt x="57" y="729"/>
                    </a:lnTo>
                    <a:lnTo>
                      <a:pt x="52" y="724"/>
                    </a:lnTo>
                    <a:lnTo>
                      <a:pt x="52" y="720"/>
                    </a:lnTo>
                    <a:lnTo>
                      <a:pt x="48" y="715"/>
                    </a:lnTo>
                    <a:lnTo>
                      <a:pt x="48" y="710"/>
                    </a:lnTo>
                    <a:lnTo>
                      <a:pt x="48" y="705"/>
                    </a:lnTo>
                    <a:lnTo>
                      <a:pt x="43" y="700"/>
                    </a:lnTo>
                    <a:lnTo>
                      <a:pt x="38" y="696"/>
                    </a:lnTo>
                    <a:lnTo>
                      <a:pt x="38" y="691"/>
                    </a:lnTo>
                    <a:lnTo>
                      <a:pt x="33" y="691"/>
                    </a:lnTo>
                    <a:lnTo>
                      <a:pt x="28" y="691"/>
                    </a:lnTo>
                    <a:lnTo>
                      <a:pt x="24" y="686"/>
                    </a:lnTo>
                    <a:lnTo>
                      <a:pt x="19" y="686"/>
                    </a:lnTo>
                    <a:lnTo>
                      <a:pt x="14" y="686"/>
                    </a:lnTo>
                    <a:lnTo>
                      <a:pt x="9" y="686"/>
                    </a:lnTo>
                    <a:lnTo>
                      <a:pt x="4" y="686"/>
                    </a:lnTo>
                    <a:lnTo>
                      <a:pt x="0" y="686"/>
                    </a:lnTo>
                    <a:lnTo>
                      <a:pt x="0" y="681"/>
                    </a:lnTo>
                    <a:lnTo>
                      <a:pt x="4" y="681"/>
                    </a:lnTo>
                    <a:lnTo>
                      <a:pt x="4" y="676"/>
                    </a:lnTo>
                    <a:lnTo>
                      <a:pt x="4" y="672"/>
                    </a:lnTo>
                    <a:lnTo>
                      <a:pt x="9" y="667"/>
                    </a:lnTo>
                    <a:lnTo>
                      <a:pt x="14" y="667"/>
                    </a:lnTo>
                    <a:lnTo>
                      <a:pt x="14" y="662"/>
                    </a:lnTo>
                    <a:lnTo>
                      <a:pt x="19" y="662"/>
                    </a:lnTo>
                    <a:lnTo>
                      <a:pt x="24" y="662"/>
                    </a:lnTo>
                    <a:lnTo>
                      <a:pt x="24" y="657"/>
                    </a:lnTo>
                    <a:lnTo>
                      <a:pt x="28" y="657"/>
                    </a:lnTo>
                    <a:lnTo>
                      <a:pt x="28" y="652"/>
                    </a:lnTo>
                    <a:lnTo>
                      <a:pt x="28" y="648"/>
                    </a:lnTo>
                    <a:lnTo>
                      <a:pt x="33" y="648"/>
                    </a:lnTo>
                    <a:lnTo>
                      <a:pt x="33" y="643"/>
                    </a:lnTo>
                    <a:lnTo>
                      <a:pt x="38" y="643"/>
                    </a:lnTo>
                    <a:lnTo>
                      <a:pt x="43" y="643"/>
                    </a:lnTo>
                    <a:lnTo>
                      <a:pt x="43" y="638"/>
                    </a:lnTo>
                    <a:lnTo>
                      <a:pt x="48" y="638"/>
                    </a:lnTo>
                    <a:lnTo>
                      <a:pt x="52" y="638"/>
                    </a:lnTo>
                    <a:lnTo>
                      <a:pt x="57" y="638"/>
                    </a:lnTo>
                    <a:lnTo>
                      <a:pt x="62" y="638"/>
                    </a:lnTo>
                    <a:lnTo>
                      <a:pt x="67" y="638"/>
                    </a:lnTo>
                    <a:lnTo>
                      <a:pt x="72" y="638"/>
                    </a:lnTo>
                    <a:lnTo>
                      <a:pt x="76" y="638"/>
                    </a:lnTo>
                    <a:lnTo>
                      <a:pt x="81" y="638"/>
                    </a:lnTo>
                    <a:lnTo>
                      <a:pt x="86" y="638"/>
                    </a:lnTo>
                    <a:lnTo>
                      <a:pt x="91" y="638"/>
                    </a:lnTo>
                    <a:lnTo>
                      <a:pt x="96" y="638"/>
                    </a:lnTo>
                    <a:lnTo>
                      <a:pt x="100" y="638"/>
                    </a:lnTo>
                    <a:lnTo>
                      <a:pt x="100" y="633"/>
                    </a:lnTo>
                    <a:lnTo>
                      <a:pt x="105" y="633"/>
                    </a:lnTo>
                    <a:lnTo>
                      <a:pt x="110" y="633"/>
                    </a:lnTo>
                    <a:lnTo>
                      <a:pt x="110" y="628"/>
                    </a:lnTo>
                    <a:lnTo>
                      <a:pt x="115" y="628"/>
                    </a:lnTo>
                    <a:lnTo>
                      <a:pt x="120" y="628"/>
                    </a:lnTo>
                    <a:lnTo>
                      <a:pt x="124" y="628"/>
                    </a:lnTo>
                    <a:lnTo>
                      <a:pt x="129" y="628"/>
                    </a:lnTo>
                    <a:lnTo>
                      <a:pt x="134" y="628"/>
                    </a:lnTo>
                    <a:lnTo>
                      <a:pt x="139" y="628"/>
                    </a:lnTo>
                    <a:lnTo>
                      <a:pt x="144" y="628"/>
                    </a:lnTo>
                    <a:lnTo>
                      <a:pt x="148" y="628"/>
                    </a:lnTo>
                    <a:lnTo>
                      <a:pt x="148" y="633"/>
                    </a:lnTo>
                    <a:lnTo>
                      <a:pt x="153" y="633"/>
                    </a:lnTo>
                    <a:lnTo>
                      <a:pt x="158" y="633"/>
                    </a:lnTo>
                    <a:lnTo>
                      <a:pt x="163" y="633"/>
                    </a:lnTo>
                    <a:lnTo>
                      <a:pt x="168" y="633"/>
                    </a:lnTo>
                    <a:lnTo>
                      <a:pt x="172" y="633"/>
                    </a:lnTo>
                    <a:lnTo>
                      <a:pt x="177" y="633"/>
                    </a:lnTo>
                    <a:lnTo>
                      <a:pt x="182" y="633"/>
                    </a:lnTo>
                    <a:lnTo>
                      <a:pt x="187" y="633"/>
                    </a:lnTo>
                    <a:lnTo>
                      <a:pt x="192" y="628"/>
                    </a:lnTo>
                    <a:lnTo>
                      <a:pt x="196" y="628"/>
                    </a:lnTo>
                    <a:lnTo>
                      <a:pt x="196" y="624"/>
                    </a:lnTo>
                    <a:lnTo>
                      <a:pt x="201" y="624"/>
                    </a:lnTo>
                    <a:lnTo>
                      <a:pt x="201" y="619"/>
                    </a:lnTo>
                    <a:lnTo>
                      <a:pt x="206" y="619"/>
                    </a:lnTo>
                    <a:lnTo>
                      <a:pt x="211" y="619"/>
                    </a:lnTo>
                    <a:lnTo>
                      <a:pt x="216" y="619"/>
                    </a:lnTo>
                    <a:lnTo>
                      <a:pt x="216" y="624"/>
                    </a:lnTo>
                    <a:lnTo>
                      <a:pt x="220" y="624"/>
                    </a:lnTo>
                    <a:lnTo>
                      <a:pt x="225" y="624"/>
                    </a:lnTo>
                    <a:lnTo>
                      <a:pt x="230" y="619"/>
                    </a:lnTo>
                    <a:lnTo>
                      <a:pt x="235" y="614"/>
                    </a:lnTo>
                    <a:lnTo>
                      <a:pt x="240" y="609"/>
                    </a:lnTo>
                    <a:lnTo>
                      <a:pt x="244" y="604"/>
                    </a:lnTo>
                    <a:lnTo>
                      <a:pt x="244" y="600"/>
                    </a:lnTo>
                    <a:lnTo>
                      <a:pt x="249" y="595"/>
                    </a:lnTo>
                    <a:lnTo>
                      <a:pt x="254" y="590"/>
                    </a:lnTo>
                    <a:lnTo>
                      <a:pt x="259" y="590"/>
                    </a:lnTo>
                    <a:lnTo>
                      <a:pt x="264" y="585"/>
                    </a:lnTo>
                    <a:lnTo>
                      <a:pt x="264" y="580"/>
                    </a:lnTo>
                    <a:lnTo>
                      <a:pt x="268" y="576"/>
                    </a:lnTo>
                    <a:lnTo>
                      <a:pt x="273" y="571"/>
                    </a:lnTo>
                    <a:lnTo>
                      <a:pt x="273" y="566"/>
                    </a:lnTo>
                    <a:lnTo>
                      <a:pt x="278" y="566"/>
                    </a:lnTo>
                    <a:lnTo>
                      <a:pt x="278" y="561"/>
                    </a:lnTo>
                    <a:lnTo>
                      <a:pt x="278" y="556"/>
                    </a:lnTo>
                    <a:lnTo>
                      <a:pt x="283" y="552"/>
                    </a:lnTo>
                    <a:lnTo>
                      <a:pt x="283" y="547"/>
                    </a:lnTo>
                    <a:lnTo>
                      <a:pt x="288" y="542"/>
                    </a:lnTo>
                    <a:lnTo>
                      <a:pt x="288" y="537"/>
                    </a:lnTo>
                    <a:lnTo>
                      <a:pt x="292" y="532"/>
                    </a:lnTo>
                    <a:lnTo>
                      <a:pt x="292" y="528"/>
                    </a:lnTo>
                    <a:lnTo>
                      <a:pt x="292" y="523"/>
                    </a:lnTo>
                    <a:lnTo>
                      <a:pt x="292" y="518"/>
                    </a:lnTo>
                    <a:lnTo>
                      <a:pt x="292" y="513"/>
                    </a:lnTo>
                    <a:lnTo>
                      <a:pt x="292" y="508"/>
                    </a:lnTo>
                    <a:lnTo>
                      <a:pt x="288" y="508"/>
                    </a:lnTo>
                    <a:lnTo>
                      <a:pt x="288" y="504"/>
                    </a:lnTo>
                    <a:lnTo>
                      <a:pt x="283" y="504"/>
                    </a:lnTo>
                    <a:lnTo>
                      <a:pt x="283" y="499"/>
                    </a:lnTo>
                    <a:lnTo>
                      <a:pt x="288" y="499"/>
                    </a:lnTo>
                    <a:lnTo>
                      <a:pt x="288" y="494"/>
                    </a:lnTo>
                    <a:lnTo>
                      <a:pt x="288" y="489"/>
                    </a:lnTo>
                    <a:lnTo>
                      <a:pt x="288" y="484"/>
                    </a:lnTo>
                    <a:lnTo>
                      <a:pt x="292" y="484"/>
                    </a:lnTo>
                    <a:lnTo>
                      <a:pt x="292" y="480"/>
                    </a:lnTo>
                    <a:lnTo>
                      <a:pt x="297" y="475"/>
                    </a:lnTo>
                    <a:lnTo>
                      <a:pt x="297" y="470"/>
                    </a:lnTo>
                    <a:lnTo>
                      <a:pt x="302" y="470"/>
                    </a:lnTo>
                    <a:lnTo>
                      <a:pt x="307" y="465"/>
                    </a:lnTo>
                    <a:lnTo>
                      <a:pt x="307" y="460"/>
                    </a:lnTo>
                    <a:lnTo>
                      <a:pt x="312" y="460"/>
                    </a:lnTo>
                    <a:lnTo>
                      <a:pt x="316" y="460"/>
                    </a:lnTo>
                    <a:lnTo>
                      <a:pt x="316" y="456"/>
                    </a:lnTo>
                    <a:lnTo>
                      <a:pt x="321" y="456"/>
                    </a:lnTo>
                    <a:lnTo>
                      <a:pt x="321" y="451"/>
                    </a:lnTo>
                    <a:lnTo>
                      <a:pt x="326" y="451"/>
                    </a:lnTo>
                    <a:lnTo>
                      <a:pt x="331" y="446"/>
                    </a:lnTo>
                    <a:lnTo>
                      <a:pt x="336" y="446"/>
                    </a:lnTo>
                    <a:lnTo>
                      <a:pt x="336" y="441"/>
                    </a:lnTo>
                    <a:lnTo>
                      <a:pt x="340" y="441"/>
                    </a:lnTo>
                    <a:lnTo>
                      <a:pt x="345" y="436"/>
                    </a:lnTo>
                    <a:lnTo>
                      <a:pt x="350" y="432"/>
                    </a:lnTo>
                    <a:lnTo>
                      <a:pt x="350" y="427"/>
                    </a:lnTo>
                    <a:lnTo>
                      <a:pt x="350" y="422"/>
                    </a:lnTo>
                    <a:lnTo>
                      <a:pt x="355" y="417"/>
                    </a:lnTo>
                    <a:lnTo>
                      <a:pt x="355" y="412"/>
                    </a:lnTo>
                    <a:lnTo>
                      <a:pt x="360" y="408"/>
                    </a:lnTo>
                    <a:lnTo>
                      <a:pt x="360" y="403"/>
                    </a:lnTo>
                    <a:lnTo>
                      <a:pt x="364" y="398"/>
                    </a:lnTo>
                    <a:lnTo>
                      <a:pt x="364" y="393"/>
                    </a:lnTo>
                    <a:lnTo>
                      <a:pt x="369" y="388"/>
                    </a:lnTo>
                    <a:lnTo>
                      <a:pt x="369" y="384"/>
                    </a:lnTo>
                    <a:lnTo>
                      <a:pt x="374" y="379"/>
                    </a:lnTo>
                    <a:lnTo>
                      <a:pt x="374" y="374"/>
                    </a:lnTo>
                    <a:lnTo>
                      <a:pt x="379" y="369"/>
                    </a:lnTo>
                    <a:lnTo>
                      <a:pt x="379" y="364"/>
                    </a:lnTo>
                    <a:lnTo>
                      <a:pt x="384" y="360"/>
                    </a:lnTo>
                    <a:lnTo>
                      <a:pt x="384" y="355"/>
                    </a:lnTo>
                    <a:lnTo>
                      <a:pt x="388" y="355"/>
                    </a:lnTo>
                    <a:lnTo>
                      <a:pt x="388" y="350"/>
                    </a:lnTo>
                    <a:lnTo>
                      <a:pt x="393" y="345"/>
                    </a:lnTo>
                    <a:lnTo>
                      <a:pt x="393" y="340"/>
                    </a:lnTo>
                    <a:lnTo>
                      <a:pt x="398" y="336"/>
                    </a:lnTo>
                    <a:lnTo>
                      <a:pt x="398" y="331"/>
                    </a:lnTo>
                    <a:lnTo>
                      <a:pt x="403" y="326"/>
                    </a:lnTo>
                    <a:lnTo>
                      <a:pt x="403" y="321"/>
                    </a:lnTo>
                    <a:lnTo>
                      <a:pt x="398" y="321"/>
                    </a:lnTo>
                    <a:lnTo>
                      <a:pt x="393" y="321"/>
                    </a:lnTo>
                    <a:lnTo>
                      <a:pt x="388" y="321"/>
                    </a:lnTo>
                    <a:lnTo>
                      <a:pt x="384" y="321"/>
                    </a:lnTo>
                    <a:lnTo>
                      <a:pt x="379" y="321"/>
                    </a:lnTo>
                    <a:lnTo>
                      <a:pt x="374" y="321"/>
                    </a:lnTo>
                    <a:lnTo>
                      <a:pt x="369" y="321"/>
                    </a:lnTo>
                    <a:lnTo>
                      <a:pt x="364" y="321"/>
                    </a:lnTo>
                    <a:lnTo>
                      <a:pt x="360" y="316"/>
                    </a:lnTo>
                    <a:lnTo>
                      <a:pt x="355" y="312"/>
                    </a:lnTo>
                    <a:lnTo>
                      <a:pt x="350" y="307"/>
                    </a:lnTo>
                    <a:lnTo>
                      <a:pt x="345" y="307"/>
                    </a:lnTo>
                    <a:lnTo>
                      <a:pt x="340" y="302"/>
                    </a:lnTo>
                    <a:lnTo>
                      <a:pt x="336" y="297"/>
                    </a:lnTo>
                    <a:lnTo>
                      <a:pt x="331" y="297"/>
                    </a:lnTo>
                    <a:lnTo>
                      <a:pt x="326" y="292"/>
                    </a:lnTo>
                    <a:lnTo>
                      <a:pt x="321" y="288"/>
                    </a:lnTo>
                    <a:lnTo>
                      <a:pt x="316" y="288"/>
                    </a:lnTo>
                    <a:lnTo>
                      <a:pt x="312" y="283"/>
                    </a:lnTo>
                    <a:lnTo>
                      <a:pt x="307" y="278"/>
                    </a:lnTo>
                    <a:lnTo>
                      <a:pt x="302" y="278"/>
                    </a:lnTo>
                    <a:lnTo>
                      <a:pt x="302" y="273"/>
                    </a:lnTo>
                    <a:lnTo>
                      <a:pt x="297" y="273"/>
                    </a:lnTo>
                    <a:lnTo>
                      <a:pt x="292" y="268"/>
                    </a:lnTo>
                    <a:lnTo>
                      <a:pt x="288" y="264"/>
                    </a:lnTo>
                    <a:lnTo>
                      <a:pt x="283" y="264"/>
                    </a:lnTo>
                    <a:lnTo>
                      <a:pt x="278" y="259"/>
                    </a:lnTo>
                    <a:lnTo>
                      <a:pt x="273" y="254"/>
                    </a:lnTo>
                    <a:lnTo>
                      <a:pt x="268" y="254"/>
                    </a:lnTo>
                    <a:lnTo>
                      <a:pt x="264" y="249"/>
                    </a:lnTo>
                    <a:lnTo>
                      <a:pt x="259" y="249"/>
                    </a:lnTo>
                    <a:lnTo>
                      <a:pt x="254" y="249"/>
                    </a:lnTo>
                    <a:lnTo>
                      <a:pt x="249" y="249"/>
                    </a:lnTo>
                    <a:lnTo>
                      <a:pt x="244" y="249"/>
                    </a:lnTo>
                    <a:lnTo>
                      <a:pt x="244" y="254"/>
                    </a:lnTo>
                    <a:lnTo>
                      <a:pt x="240" y="254"/>
                    </a:lnTo>
                    <a:lnTo>
                      <a:pt x="235" y="254"/>
                    </a:lnTo>
                    <a:lnTo>
                      <a:pt x="230" y="254"/>
                    </a:lnTo>
                    <a:lnTo>
                      <a:pt x="225" y="254"/>
                    </a:lnTo>
                    <a:lnTo>
                      <a:pt x="220" y="254"/>
                    </a:lnTo>
                    <a:lnTo>
                      <a:pt x="216" y="254"/>
                    </a:lnTo>
                    <a:lnTo>
                      <a:pt x="211" y="254"/>
                    </a:lnTo>
                    <a:lnTo>
                      <a:pt x="206" y="254"/>
                    </a:lnTo>
                    <a:lnTo>
                      <a:pt x="201" y="254"/>
                    </a:lnTo>
                    <a:lnTo>
                      <a:pt x="196" y="254"/>
                    </a:lnTo>
                    <a:lnTo>
                      <a:pt x="192" y="254"/>
                    </a:lnTo>
                    <a:lnTo>
                      <a:pt x="187" y="254"/>
                    </a:lnTo>
                    <a:lnTo>
                      <a:pt x="182" y="259"/>
                    </a:lnTo>
                    <a:lnTo>
                      <a:pt x="177" y="259"/>
                    </a:lnTo>
                    <a:lnTo>
                      <a:pt x="172" y="254"/>
                    </a:lnTo>
                    <a:lnTo>
                      <a:pt x="172" y="249"/>
                    </a:lnTo>
                    <a:lnTo>
                      <a:pt x="168" y="244"/>
                    </a:lnTo>
                    <a:lnTo>
                      <a:pt x="163" y="240"/>
                    </a:lnTo>
                    <a:lnTo>
                      <a:pt x="163" y="235"/>
                    </a:lnTo>
                    <a:lnTo>
                      <a:pt x="158" y="230"/>
                    </a:lnTo>
                    <a:lnTo>
                      <a:pt x="153" y="225"/>
                    </a:lnTo>
                    <a:lnTo>
                      <a:pt x="148" y="220"/>
                    </a:lnTo>
                    <a:lnTo>
                      <a:pt x="144" y="216"/>
                    </a:lnTo>
                    <a:lnTo>
                      <a:pt x="144" y="211"/>
                    </a:lnTo>
                    <a:lnTo>
                      <a:pt x="139" y="206"/>
                    </a:lnTo>
                    <a:lnTo>
                      <a:pt x="134" y="201"/>
                    </a:lnTo>
                    <a:lnTo>
                      <a:pt x="134" y="196"/>
                    </a:lnTo>
                    <a:lnTo>
                      <a:pt x="134" y="192"/>
                    </a:lnTo>
                    <a:lnTo>
                      <a:pt x="134" y="187"/>
                    </a:lnTo>
                    <a:lnTo>
                      <a:pt x="134" y="182"/>
                    </a:lnTo>
                    <a:close/>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48" name="Freeform 16"/>
              <p:cNvSpPr>
                <a:spLocks/>
              </p:cNvSpPr>
              <p:nvPr/>
            </p:nvSpPr>
            <p:spPr bwMode="gray">
              <a:xfrm>
                <a:off x="4681538" y="3092450"/>
                <a:ext cx="1676400" cy="2101850"/>
              </a:xfrm>
              <a:custGeom>
                <a:avLst/>
                <a:gdLst>
                  <a:gd name="T0" fmla="*/ 413 w 1056"/>
                  <a:gd name="T1" fmla="*/ 451 h 1324"/>
                  <a:gd name="T2" fmla="*/ 427 w 1056"/>
                  <a:gd name="T3" fmla="*/ 388 h 1324"/>
                  <a:gd name="T4" fmla="*/ 437 w 1056"/>
                  <a:gd name="T5" fmla="*/ 326 h 1324"/>
                  <a:gd name="T6" fmla="*/ 451 w 1056"/>
                  <a:gd name="T7" fmla="*/ 254 h 1324"/>
                  <a:gd name="T8" fmla="*/ 480 w 1056"/>
                  <a:gd name="T9" fmla="*/ 201 h 1324"/>
                  <a:gd name="T10" fmla="*/ 504 w 1056"/>
                  <a:gd name="T11" fmla="*/ 144 h 1324"/>
                  <a:gd name="T12" fmla="*/ 509 w 1056"/>
                  <a:gd name="T13" fmla="*/ 67 h 1324"/>
                  <a:gd name="T14" fmla="*/ 586 w 1056"/>
                  <a:gd name="T15" fmla="*/ 52 h 1324"/>
                  <a:gd name="T16" fmla="*/ 663 w 1056"/>
                  <a:gd name="T17" fmla="*/ 43 h 1324"/>
                  <a:gd name="T18" fmla="*/ 715 w 1056"/>
                  <a:gd name="T19" fmla="*/ 4 h 1324"/>
                  <a:gd name="T20" fmla="*/ 783 w 1056"/>
                  <a:gd name="T21" fmla="*/ 19 h 1324"/>
                  <a:gd name="T22" fmla="*/ 826 w 1056"/>
                  <a:gd name="T23" fmla="*/ 57 h 1324"/>
                  <a:gd name="T24" fmla="*/ 859 w 1056"/>
                  <a:gd name="T25" fmla="*/ 120 h 1324"/>
                  <a:gd name="T26" fmla="*/ 874 w 1056"/>
                  <a:gd name="T27" fmla="*/ 192 h 1324"/>
                  <a:gd name="T28" fmla="*/ 893 w 1056"/>
                  <a:gd name="T29" fmla="*/ 254 h 1324"/>
                  <a:gd name="T30" fmla="*/ 955 w 1056"/>
                  <a:gd name="T31" fmla="*/ 278 h 1324"/>
                  <a:gd name="T32" fmla="*/ 1013 w 1056"/>
                  <a:gd name="T33" fmla="*/ 312 h 1324"/>
                  <a:gd name="T34" fmla="*/ 994 w 1056"/>
                  <a:gd name="T35" fmla="*/ 374 h 1324"/>
                  <a:gd name="T36" fmla="*/ 1046 w 1056"/>
                  <a:gd name="T37" fmla="*/ 412 h 1324"/>
                  <a:gd name="T38" fmla="*/ 998 w 1056"/>
                  <a:gd name="T39" fmla="*/ 456 h 1324"/>
                  <a:gd name="T40" fmla="*/ 994 w 1056"/>
                  <a:gd name="T41" fmla="*/ 537 h 1324"/>
                  <a:gd name="T42" fmla="*/ 955 w 1056"/>
                  <a:gd name="T43" fmla="*/ 571 h 1324"/>
                  <a:gd name="T44" fmla="*/ 883 w 1056"/>
                  <a:gd name="T45" fmla="*/ 552 h 1324"/>
                  <a:gd name="T46" fmla="*/ 835 w 1056"/>
                  <a:gd name="T47" fmla="*/ 600 h 1324"/>
                  <a:gd name="T48" fmla="*/ 811 w 1056"/>
                  <a:gd name="T49" fmla="*/ 667 h 1324"/>
                  <a:gd name="T50" fmla="*/ 778 w 1056"/>
                  <a:gd name="T51" fmla="*/ 720 h 1324"/>
                  <a:gd name="T52" fmla="*/ 730 w 1056"/>
                  <a:gd name="T53" fmla="*/ 772 h 1324"/>
                  <a:gd name="T54" fmla="*/ 691 w 1056"/>
                  <a:gd name="T55" fmla="*/ 835 h 1324"/>
                  <a:gd name="T56" fmla="*/ 672 w 1056"/>
                  <a:gd name="T57" fmla="*/ 902 h 1324"/>
                  <a:gd name="T58" fmla="*/ 653 w 1056"/>
                  <a:gd name="T59" fmla="*/ 964 h 1324"/>
                  <a:gd name="T60" fmla="*/ 687 w 1056"/>
                  <a:gd name="T61" fmla="*/ 1027 h 1324"/>
                  <a:gd name="T62" fmla="*/ 663 w 1056"/>
                  <a:gd name="T63" fmla="*/ 1094 h 1324"/>
                  <a:gd name="T64" fmla="*/ 639 w 1056"/>
                  <a:gd name="T65" fmla="*/ 1161 h 1324"/>
                  <a:gd name="T66" fmla="*/ 600 w 1056"/>
                  <a:gd name="T67" fmla="*/ 1204 h 1324"/>
                  <a:gd name="T68" fmla="*/ 571 w 1056"/>
                  <a:gd name="T69" fmla="*/ 1262 h 1324"/>
                  <a:gd name="T70" fmla="*/ 509 w 1056"/>
                  <a:gd name="T71" fmla="*/ 1272 h 1324"/>
                  <a:gd name="T72" fmla="*/ 451 w 1056"/>
                  <a:gd name="T73" fmla="*/ 1296 h 1324"/>
                  <a:gd name="T74" fmla="*/ 399 w 1056"/>
                  <a:gd name="T75" fmla="*/ 1324 h 1324"/>
                  <a:gd name="T76" fmla="*/ 379 w 1056"/>
                  <a:gd name="T77" fmla="*/ 1281 h 1324"/>
                  <a:gd name="T78" fmla="*/ 341 w 1056"/>
                  <a:gd name="T79" fmla="*/ 1243 h 1324"/>
                  <a:gd name="T80" fmla="*/ 279 w 1056"/>
                  <a:gd name="T81" fmla="*/ 1233 h 1324"/>
                  <a:gd name="T82" fmla="*/ 221 w 1056"/>
                  <a:gd name="T83" fmla="*/ 1257 h 1324"/>
                  <a:gd name="T84" fmla="*/ 173 w 1056"/>
                  <a:gd name="T85" fmla="*/ 1300 h 1324"/>
                  <a:gd name="T86" fmla="*/ 125 w 1056"/>
                  <a:gd name="T87" fmla="*/ 1262 h 1324"/>
                  <a:gd name="T88" fmla="*/ 67 w 1056"/>
                  <a:gd name="T89" fmla="*/ 1291 h 1324"/>
                  <a:gd name="T90" fmla="*/ 63 w 1056"/>
                  <a:gd name="T91" fmla="*/ 1233 h 1324"/>
                  <a:gd name="T92" fmla="*/ 15 w 1056"/>
                  <a:gd name="T93" fmla="*/ 1209 h 1324"/>
                  <a:gd name="T94" fmla="*/ 91 w 1056"/>
                  <a:gd name="T95" fmla="*/ 1147 h 1324"/>
                  <a:gd name="T96" fmla="*/ 101 w 1056"/>
                  <a:gd name="T97" fmla="*/ 1084 h 1324"/>
                  <a:gd name="T98" fmla="*/ 34 w 1056"/>
                  <a:gd name="T99" fmla="*/ 1022 h 1324"/>
                  <a:gd name="T100" fmla="*/ 24 w 1056"/>
                  <a:gd name="T101" fmla="*/ 950 h 1324"/>
                  <a:gd name="T102" fmla="*/ 43 w 1056"/>
                  <a:gd name="T103" fmla="*/ 907 h 1324"/>
                  <a:gd name="T104" fmla="*/ 111 w 1056"/>
                  <a:gd name="T105" fmla="*/ 926 h 1324"/>
                  <a:gd name="T106" fmla="*/ 135 w 1056"/>
                  <a:gd name="T107" fmla="*/ 873 h 1324"/>
                  <a:gd name="T108" fmla="*/ 202 w 1056"/>
                  <a:gd name="T109" fmla="*/ 811 h 1324"/>
                  <a:gd name="T110" fmla="*/ 274 w 1056"/>
                  <a:gd name="T111" fmla="*/ 753 h 1324"/>
                  <a:gd name="T112" fmla="*/ 351 w 1056"/>
                  <a:gd name="T113" fmla="*/ 691 h 1324"/>
                  <a:gd name="T114" fmla="*/ 423 w 1056"/>
                  <a:gd name="T115" fmla="*/ 672 h 1324"/>
                  <a:gd name="T116" fmla="*/ 495 w 1056"/>
                  <a:gd name="T117" fmla="*/ 667 h 1324"/>
                  <a:gd name="T118" fmla="*/ 552 w 1056"/>
                  <a:gd name="T119" fmla="*/ 604 h 1324"/>
                  <a:gd name="T120" fmla="*/ 509 w 1056"/>
                  <a:gd name="T121" fmla="*/ 580 h 1324"/>
                  <a:gd name="T122" fmla="*/ 466 w 1056"/>
                  <a:gd name="T123" fmla="*/ 556 h 1324"/>
                  <a:gd name="T124" fmla="*/ 403 w 1056"/>
                  <a:gd name="T125" fmla="*/ 532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6" h="1324">
                    <a:moveTo>
                      <a:pt x="394" y="508"/>
                    </a:moveTo>
                    <a:lnTo>
                      <a:pt x="394" y="504"/>
                    </a:lnTo>
                    <a:lnTo>
                      <a:pt x="399" y="504"/>
                    </a:lnTo>
                    <a:lnTo>
                      <a:pt x="399" y="499"/>
                    </a:lnTo>
                    <a:lnTo>
                      <a:pt x="399" y="494"/>
                    </a:lnTo>
                    <a:lnTo>
                      <a:pt x="403" y="494"/>
                    </a:lnTo>
                    <a:lnTo>
                      <a:pt x="403" y="489"/>
                    </a:lnTo>
                    <a:lnTo>
                      <a:pt x="403" y="484"/>
                    </a:lnTo>
                    <a:lnTo>
                      <a:pt x="408" y="484"/>
                    </a:lnTo>
                    <a:lnTo>
                      <a:pt x="408" y="480"/>
                    </a:lnTo>
                    <a:lnTo>
                      <a:pt x="408" y="475"/>
                    </a:lnTo>
                    <a:lnTo>
                      <a:pt x="408" y="470"/>
                    </a:lnTo>
                    <a:lnTo>
                      <a:pt x="408" y="465"/>
                    </a:lnTo>
                    <a:lnTo>
                      <a:pt x="413" y="465"/>
                    </a:lnTo>
                    <a:lnTo>
                      <a:pt x="413" y="460"/>
                    </a:lnTo>
                    <a:lnTo>
                      <a:pt x="413" y="456"/>
                    </a:lnTo>
                    <a:lnTo>
                      <a:pt x="413" y="451"/>
                    </a:lnTo>
                    <a:lnTo>
                      <a:pt x="413" y="446"/>
                    </a:lnTo>
                    <a:lnTo>
                      <a:pt x="408" y="446"/>
                    </a:lnTo>
                    <a:lnTo>
                      <a:pt x="408" y="441"/>
                    </a:lnTo>
                    <a:lnTo>
                      <a:pt x="408" y="436"/>
                    </a:lnTo>
                    <a:lnTo>
                      <a:pt x="408" y="432"/>
                    </a:lnTo>
                    <a:lnTo>
                      <a:pt x="403" y="427"/>
                    </a:lnTo>
                    <a:lnTo>
                      <a:pt x="408" y="422"/>
                    </a:lnTo>
                    <a:lnTo>
                      <a:pt x="408" y="417"/>
                    </a:lnTo>
                    <a:lnTo>
                      <a:pt x="408" y="412"/>
                    </a:lnTo>
                    <a:lnTo>
                      <a:pt x="413" y="408"/>
                    </a:lnTo>
                    <a:lnTo>
                      <a:pt x="413" y="403"/>
                    </a:lnTo>
                    <a:lnTo>
                      <a:pt x="418" y="403"/>
                    </a:lnTo>
                    <a:lnTo>
                      <a:pt x="418" y="398"/>
                    </a:lnTo>
                    <a:lnTo>
                      <a:pt x="423" y="398"/>
                    </a:lnTo>
                    <a:lnTo>
                      <a:pt x="423" y="393"/>
                    </a:lnTo>
                    <a:lnTo>
                      <a:pt x="427" y="393"/>
                    </a:lnTo>
                    <a:lnTo>
                      <a:pt x="427" y="388"/>
                    </a:lnTo>
                    <a:lnTo>
                      <a:pt x="432" y="388"/>
                    </a:lnTo>
                    <a:lnTo>
                      <a:pt x="432" y="384"/>
                    </a:lnTo>
                    <a:lnTo>
                      <a:pt x="437" y="384"/>
                    </a:lnTo>
                    <a:lnTo>
                      <a:pt x="442" y="379"/>
                    </a:lnTo>
                    <a:lnTo>
                      <a:pt x="442" y="374"/>
                    </a:lnTo>
                    <a:lnTo>
                      <a:pt x="447" y="369"/>
                    </a:lnTo>
                    <a:lnTo>
                      <a:pt x="447" y="364"/>
                    </a:lnTo>
                    <a:lnTo>
                      <a:pt x="447" y="360"/>
                    </a:lnTo>
                    <a:lnTo>
                      <a:pt x="447" y="355"/>
                    </a:lnTo>
                    <a:lnTo>
                      <a:pt x="447" y="350"/>
                    </a:lnTo>
                    <a:lnTo>
                      <a:pt x="442" y="350"/>
                    </a:lnTo>
                    <a:lnTo>
                      <a:pt x="442" y="345"/>
                    </a:lnTo>
                    <a:lnTo>
                      <a:pt x="442" y="340"/>
                    </a:lnTo>
                    <a:lnTo>
                      <a:pt x="442" y="336"/>
                    </a:lnTo>
                    <a:lnTo>
                      <a:pt x="442" y="331"/>
                    </a:lnTo>
                    <a:lnTo>
                      <a:pt x="437" y="331"/>
                    </a:lnTo>
                    <a:lnTo>
                      <a:pt x="437" y="326"/>
                    </a:lnTo>
                    <a:lnTo>
                      <a:pt x="437" y="321"/>
                    </a:lnTo>
                    <a:lnTo>
                      <a:pt x="437" y="316"/>
                    </a:lnTo>
                    <a:lnTo>
                      <a:pt x="437" y="312"/>
                    </a:lnTo>
                    <a:lnTo>
                      <a:pt x="437" y="307"/>
                    </a:lnTo>
                    <a:lnTo>
                      <a:pt x="437" y="302"/>
                    </a:lnTo>
                    <a:lnTo>
                      <a:pt x="437" y="297"/>
                    </a:lnTo>
                    <a:lnTo>
                      <a:pt x="437" y="292"/>
                    </a:lnTo>
                    <a:lnTo>
                      <a:pt x="442" y="292"/>
                    </a:lnTo>
                    <a:lnTo>
                      <a:pt x="442" y="288"/>
                    </a:lnTo>
                    <a:lnTo>
                      <a:pt x="442" y="283"/>
                    </a:lnTo>
                    <a:lnTo>
                      <a:pt x="442" y="278"/>
                    </a:lnTo>
                    <a:lnTo>
                      <a:pt x="447" y="278"/>
                    </a:lnTo>
                    <a:lnTo>
                      <a:pt x="447" y="273"/>
                    </a:lnTo>
                    <a:lnTo>
                      <a:pt x="447" y="268"/>
                    </a:lnTo>
                    <a:lnTo>
                      <a:pt x="451" y="264"/>
                    </a:lnTo>
                    <a:lnTo>
                      <a:pt x="451" y="259"/>
                    </a:lnTo>
                    <a:lnTo>
                      <a:pt x="451" y="254"/>
                    </a:lnTo>
                    <a:lnTo>
                      <a:pt x="456" y="254"/>
                    </a:lnTo>
                    <a:lnTo>
                      <a:pt x="456" y="249"/>
                    </a:lnTo>
                    <a:lnTo>
                      <a:pt x="456" y="254"/>
                    </a:lnTo>
                    <a:lnTo>
                      <a:pt x="456" y="249"/>
                    </a:lnTo>
                    <a:lnTo>
                      <a:pt x="461" y="249"/>
                    </a:lnTo>
                    <a:lnTo>
                      <a:pt x="461" y="244"/>
                    </a:lnTo>
                    <a:lnTo>
                      <a:pt x="466" y="240"/>
                    </a:lnTo>
                    <a:lnTo>
                      <a:pt x="466" y="235"/>
                    </a:lnTo>
                    <a:lnTo>
                      <a:pt x="466" y="230"/>
                    </a:lnTo>
                    <a:lnTo>
                      <a:pt x="466" y="225"/>
                    </a:lnTo>
                    <a:lnTo>
                      <a:pt x="466" y="220"/>
                    </a:lnTo>
                    <a:lnTo>
                      <a:pt x="471" y="216"/>
                    </a:lnTo>
                    <a:lnTo>
                      <a:pt x="471" y="211"/>
                    </a:lnTo>
                    <a:lnTo>
                      <a:pt x="471" y="206"/>
                    </a:lnTo>
                    <a:lnTo>
                      <a:pt x="475" y="206"/>
                    </a:lnTo>
                    <a:lnTo>
                      <a:pt x="475" y="201"/>
                    </a:lnTo>
                    <a:lnTo>
                      <a:pt x="480" y="201"/>
                    </a:lnTo>
                    <a:lnTo>
                      <a:pt x="480" y="196"/>
                    </a:lnTo>
                    <a:lnTo>
                      <a:pt x="485" y="196"/>
                    </a:lnTo>
                    <a:lnTo>
                      <a:pt x="490" y="196"/>
                    </a:lnTo>
                    <a:lnTo>
                      <a:pt x="495" y="196"/>
                    </a:lnTo>
                    <a:lnTo>
                      <a:pt x="499" y="196"/>
                    </a:lnTo>
                    <a:lnTo>
                      <a:pt x="499" y="192"/>
                    </a:lnTo>
                    <a:lnTo>
                      <a:pt x="504" y="192"/>
                    </a:lnTo>
                    <a:lnTo>
                      <a:pt x="504" y="187"/>
                    </a:lnTo>
                    <a:lnTo>
                      <a:pt x="504" y="182"/>
                    </a:lnTo>
                    <a:lnTo>
                      <a:pt x="504" y="177"/>
                    </a:lnTo>
                    <a:lnTo>
                      <a:pt x="504" y="172"/>
                    </a:lnTo>
                    <a:lnTo>
                      <a:pt x="504" y="168"/>
                    </a:lnTo>
                    <a:lnTo>
                      <a:pt x="504" y="163"/>
                    </a:lnTo>
                    <a:lnTo>
                      <a:pt x="504" y="158"/>
                    </a:lnTo>
                    <a:lnTo>
                      <a:pt x="504" y="153"/>
                    </a:lnTo>
                    <a:lnTo>
                      <a:pt x="504" y="148"/>
                    </a:lnTo>
                    <a:lnTo>
                      <a:pt x="504" y="144"/>
                    </a:lnTo>
                    <a:lnTo>
                      <a:pt x="504" y="139"/>
                    </a:lnTo>
                    <a:lnTo>
                      <a:pt x="504" y="134"/>
                    </a:lnTo>
                    <a:lnTo>
                      <a:pt x="504" y="129"/>
                    </a:lnTo>
                    <a:lnTo>
                      <a:pt x="504" y="124"/>
                    </a:lnTo>
                    <a:lnTo>
                      <a:pt x="499" y="120"/>
                    </a:lnTo>
                    <a:lnTo>
                      <a:pt x="499" y="115"/>
                    </a:lnTo>
                    <a:lnTo>
                      <a:pt x="499" y="110"/>
                    </a:lnTo>
                    <a:lnTo>
                      <a:pt x="499" y="105"/>
                    </a:lnTo>
                    <a:lnTo>
                      <a:pt x="499" y="100"/>
                    </a:lnTo>
                    <a:lnTo>
                      <a:pt x="499" y="96"/>
                    </a:lnTo>
                    <a:lnTo>
                      <a:pt x="499" y="91"/>
                    </a:lnTo>
                    <a:lnTo>
                      <a:pt x="499" y="86"/>
                    </a:lnTo>
                    <a:lnTo>
                      <a:pt x="499" y="81"/>
                    </a:lnTo>
                    <a:lnTo>
                      <a:pt x="499" y="76"/>
                    </a:lnTo>
                    <a:lnTo>
                      <a:pt x="499" y="72"/>
                    </a:lnTo>
                    <a:lnTo>
                      <a:pt x="504" y="72"/>
                    </a:lnTo>
                    <a:lnTo>
                      <a:pt x="509" y="67"/>
                    </a:lnTo>
                    <a:lnTo>
                      <a:pt x="514" y="67"/>
                    </a:lnTo>
                    <a:lnTo>
                      <a:pt x="519" y="62"/>
                    </a:lnTo>
                    <a:lnTo>
                      <a:pt x="523" y="62"/>
                    </a:lnTo>
                    <a:lnTo>
                      <a:pt x="528" y="57"/>
                    </a:lnTo>
                    <a:lnTo>
                      <a:pt x="533" y="57"/>
                    </a:lnTo>
                    <a:lnTo>
                      <a:pt x="538" y="52"/>
                    </a:lnTo>
                    <a:lnTo>
                      <a:pt x="543" y="52"/>
                    </a:lnTo>
                    <a:lnTo>
                      <a:pt x="547" y="48"/>
                    </a:lnTo>
                    <a:lnTo>
                      <a:pt x="552" y="48"/>
                    </a:lnTo>
                    <a:lnTo>
                      <a:pt x="552" y="43"/>
                    </a:lnTo>
                    <a:lnTo>
                      <a:pt x="557" y="43"/>
                    </a:lnTo>
                    <a:lnTo>
                      <a:pt x="562" y="48"/>
                    </a:lnTo>
                    <a:lnTo>
                      <a:pt x="567" y="48"/>
                    </a:lnTo>
                    <a:lnTo>
                      <a:pt x="571" y="48"/>
                    </a:lnTo>
                    <a:lnTo>
                      <a:pt x="576" y="48"/>
                    </a:lnTo>
                    <a:lnTo>
                      <a:pt x="581" y="52"/>
                    </a:lnTo>
                    <a:lnTo>
                      <a:pt x="586" y="52"/>
                    </a:lnTo>
                    <a:lnTo>
                      <a:pt x="591" y="52"/>
                    </a:lnTo>
                    <a:lnTo>
                      <a:pt x="591" y="57"/>
                    </a:lnTo>
                    <a:lnTo>
                      <a:pt x="595" y="57"/>
                    </a:lnTo>
                    <a:lnTo>
                      <a:pt x="600" y="57"/>
                    </a:lnTo>
                    <a:lnTo>
                      <a:pt x="605" y="57"/>
                    </a:lnTo>
                    <a:lnTo>
                      <a:pt x="610" y="62"/>
                    </a:lnTo>
                    <a:lnTo>
                      <a:pt x="615" y="62"/>
                    </a:lnTo>
                    <a:lnTo>
                      <a:pt x="619" y="62"/>
                    </a:lnTo>
                    <a:lnTo>
                      <a:pt x="624" y="57"/>
                    </a:lnTo>
                    <a:lnTo>
                      <a:pt x="629" y="57"/>
                    </a:lnTo>
                    <a:lnTo>
                      <a:pt x="634" y="52"/>
                    </a:lnTo>
                    <a:lnTo>
                      <a:pt x="639" y="52"/>
                    </a:lnTo>
                    <a:lnTo>
                      <a:pt x="643" y="52"/>
                    </a:lnTo>
                    <a:lnTo>
                      <a:pt x="648" y="48"/>
                    </a:lnTo>
                    <a:lnTo>
                      <a:pt x="653" y="48"/>
                    </a:lnTo>
                    <a:lnTo>
                      <a:pt x="658" y="48"/>
                    </a:lnTo>
                    <a:lnTo>
                      <a:pt x="663" y="43"/>
                    </a:lnTo>
                    <a:lnTo>
                      <a:pt x="667" y="43"/>
                    </a:lnTo>
                    <a:lnTo>
                      <a:pt x="672" y="38"/>
                    </a:lnTo>
                    <a:lnTo>
                      <a:pt x="677" y="38"/>
                    </a:lnTo>
                    <a:lnTo>
                      <a:pt x="682" y="38"/>
                    </a:lnTo>
                    <a:lnTo>
                      <a:pt x="687" y="33"/>
                    </a:lnTo>
                    <a:lnTo>
                      <a:pt x="691" y="33"/>
                    </a:lnTo>
                    <a:lnTo>
                      <a:pt x="696" y="33"/>
                    </a:lnTo>
                    <a:lnTo>
                      <a:pt x="696" y="28"/>
                    </a:lnTo>
                    <a:lnTo>
                      <a:pt x="696" y="24"/>
                    </a:lnTo>
                    <a:lnTo>
                      <a:pt x="696" y="19"/>
                    </a:lnTo>
                    <a:lnTo>
                      <a:pt x="696" y="14"/>
                    </a:lnTo>
                    <a:lnTo>
                      <a:pt x="696" y="9"/>
                    </a:lnTo>
                    <a:lnTo>
                      <a:pt x="701" y="4"/>
                    </a:lnTo>
                    <a:lnTo>
                      <a:pt x="701" y="0"/>
                    </a:lnTo>
                    <a:lnTo>
                      <a:pt x="706" y="4"/>
                    </a:lnTo>
                    <a:lnTo>
                      <a:pt x="711" y="4"/>
                    </a:lnTo>
                    <a:lnTo>
                      <a:pt x="715" y="4"/>
                    </a:lnTo>
                    <a:lnTo>
                      <a:pt x="720" y="4"/>
                    </a:lnTo>
                    <a:lnTo>
                      <a:pt x="725" y="4"/>
                    </a:lnTo>
                    <a:lnTo>
                      <a:pt x="730" y="4"/>
                    </a:lnTo>
                    <a:lnTo>
                      <a:pt x="735" y="4"/>
                    </a:lnTo>
                    <a:lnTo>
                      <a:pt x="739" y="4"/>
                    </a:lnTo>
                    <a:lnTo>
                      <a:pt x="744" y="4"/>
                    </a:lnTo>
                    <a:lnTo>
                      <a:pt x="744" y="9"/>
                    </a:lnTo>
                    <a:lnTo>
                      <a:pt x="749" y="9"/>
                    </a:lnTo>
                    <a:lnTo>
                      <a:pt x="754" y="9"/>
                    </a:lnTo>
                    <a:lnTo>
                      <a:pt x="759" y="9"/>
                    </a:lnTo>
                    <a:lnTo>
                      <a:pt x="759" y="14"/>
                    </a:lnTo>
                    <a:lnTo>
                      <a:pt x="763" y="14"/>
                    </a:lnTo>
                    <a:lnTo>
                      <a:pt x="763" y="19"/>
                    </a:lnTo>
                    <a:lnTo>
                      <a:pt x="768" y="19"/>
                    </a:lnTo>
                    <a:lnTo>
                      <a:pt x="773" y="19"/>
                    </a:lnTo>
                    <a:lnTo>
                      <a:pt x="778" y="19"/>
                    </a:lnTo>
                    <a:lnTo>
                      <a:pt x="783" y="19"/>
                    </a:lnTo>
                    <a:lnTo>
                      <a:pt x="787" y="19"/>
                    </a:lnTo>
                    <a:lnTo>
                      <a:pt x="792" y="19"/>
                    </a:lnTo>
                    <a:lnTo>
                      <a:pt x="797" y="19"/>
                    </a:lnTo>
                    <a:lnTo>
                      <a:pt x="802" y="19"/>
                    </a:lnTo>
                    <a:lnTo>
                      <a:pt x="807" y="19"/>
                    </a:lnTo>
                    <a:lnTo>
                      <a:pt x="811" y="19"/>
                    </a:lnTo>
                    <a:lnTo>
                      <a:pt x="811" y="24"/>
                    </a:lnTo>
                    <a:lnTo>
                      <a:pt x="816" y="24"/>
                    </a:lnTo>
                    <a:lnTo>
                      <a:pt x="816" y="28"/>
                    </a:lnTo>
                    <a:lnTo>
                      <a:pt x="821" y="28"/>
                    </a:lnTo>
                    <a:lnTo>
                      <a:pt x="821" y="33"/>
                    </a:lnTo>
                    <a:lnTo>
                      <a:pt x="821" y="38"/>
                    </a:lnTo>
                    <a:lnTo>
                      <a:pt x="826" y="38"/>
                    </a:lnTo>
                    <a:lnTo>
                      <a:pt x="826" y="43"/>
                    </a:lnTo>
                    <a:lnTo>
                      <a:pt x="826" y="48"/>
                    </a:lnTo>
                    <a:lnTo>
                      <a:pt x="826" y="52"/>
                    </a:lnTo>
                    <a:lnTo>
                      <a:pt x="826" y="57"/>
                    </a:lnTo>
                    <a:lnTo>
                      <a:pt x="826" y="62"/>
                    </a:lnTo>
                    <a:lnTo>
                      <a:pt x="826" y="67"/>
                    </a:lnTo>
                    <a:lnTo>
                      <a:pt x="831" y="72"/>
                    </a:lnTo>
                    <a:lnTo>
                      <a:pt x="831" y="76"/>
                    </a:lnTo>
                    <a:lnTo>
                      <a:pt x="831" y="81"/>
                    </a:lnTo>
                    <a:lnTo>
                      <a:pt x="835" y="86"/>
                    </a:lnTo>
                    <a:lnTo>
                      <a:pt x="835" y="91"/>
                    </a:lnTo>
                    <a:lnTo>
                      <a:pt x="840" y="91"/>
                    </a:lnTo>
                    <a:lnTo>
                      <a:pt x="840" y="96"/>
                    </a:lnTo>
                    <a:lnTo>
                      <a:pt x="845" y="100"/>
                    </a:lnTo>
                    <a:lnTo>
                      <a:pt x="845" y="105"/>
                    </a:lnTo>
                    <a:lnTo>
                      <a:pt x="850" y="105"/>
                    </a:lnTo>
                    <a:lnTo>
                      <a:pt x="850" y="110"/>
                    </a:lnTo>
                    <a:lnTo>
                      <a:pt x="854" y="110"/>
                    </a:lnTo>
                    <a:lnTo>
                      <a:pt x="854" y="115"/>
                    </a:lnTo>
                    <a:lnTo>
                      <a:pt x="859" y="115"/>
                    </a:lnTo>
                    <a:lnTo>
                      <a:pt x="859" y="120"/>
                    </a:lnTo>
                    <a:lnTo>
                      <a:pt x="864" y="120"/>
                    </a:lnTo>
                    <a:lnTo>
                      <a:pt x="869" y="120"/>
                    </a:lnTo>
                    <a:lnTo>
                      <a:pt x="869" y="124"/>
                    </a:lnTo>
                    <a:lnTo>
                      <a:pt x="874" y="124"/>
                    </a:lnTo>
                    <a:lnTo>
                      <a:pt x="874" y="134"/>
                    </a:lnTo>
                    <a:lnTo>
                      <a:pt x="874" y="139"/>
                    </a:lnTo>
                    <a:lnTo>
                      <a:pt x="874" y="144"/>
                    </a:lnTo>
                    <a:lnTo>
                      <a:pt x="874" y="148"/>
                    </a:lnTo>
                    <a:lnTo>
                      <a:pt x="874" y="153"/>
                    </a:lnTo>
                    <a:lnTo>
                      <a:pt x="874" y="158"/>
                    </a:lnTo>
                    <a:lnTo>
                      <a:pt x="874" y="163"/>
                    </a:lnTo>
                    <a:lnTo>
                      <a:pt x="874" y="168"/>
                    </a:lnTo>
                    <a:lnTo>
                      <a:pt x="874" y="172"/>
                    </a:lnTo>
                    <a:lnTo>
                      <a:pt x="874" y="177"/>
                    </a:lnTo>
                    <a:lnTo>
                      <a:pt x="874" y="182"/>
                    </a:lnTo>
                    <a:lnTo>
                      <a:pt x="874" y="187"/>
                    </a:lnTo>
                    <a:lnTo>
                      <a:pt x="874" y="192"/>
                    </a:lnTo>
                    <a:lnTo>
                      <a:pt x="874" y="196"/>
                    </a:lnTo>
                    <a:lnTo>
                      <a:pt x="874" y="201"/>
                    </a:lnTo>
                    <a:lnTo>
                      <a:pt x="874" y="206"/>
                    </a:lnTo>
                    <a:lnTo>
                      <a:pt x="874" y="211"/>
                    </a:lnTo>
                    <a:lnTo>
                      <a:pt x="874" y="216"/>
                    </a:lnTo>
                    <a:lnTo>
                      <a:pt x="874" y="220"/>
                    </a:lnTo>
                    <a:lnTo>
                      <a:pt x="874" y="225"/>
                    </a:lnTo>
                    <a:lnTo>
                      <a:pt x="874" y="230"/>
                    </a:lnTo>
                    <a:lnTo>
                      <a:pt x="874" y="235"/>
                    </a:lnTo>
                    <a:lnTo>
                      <a:pt x="874" y="240"/>
                    </a:lnTo>
                    <a:lnTo>
                      <a:pt x="874" y="244"/>
                    </a:lnTo>
                    <a:lnTo>
                      <a:pt x="878" y="244"/>
                    </a:lnTo>
                    <a:lnTo>
                      <a:pt x="883" y="244"/>
                    </a:lnTo>
                    <a:lnTo>
                      <a:pt x="883" y="249"/>
                    </a:lnTo>
                    <a:lnTo>
                      <a:pt x="888" y="249"/>
                    </a:lnTo>
                    <a:lnTo>
                      <a:pt x="893" y="249"/>
                    </a:lnTo>
                    <a:lnTo>
                      <a:pt x="893" y="254"/>
                    </a:lnTo>
                    <a:lnTo>
                      <a:pt x="898" y="254"/>
                    </a:lnTo>
                    <a:lnTo>
                      <a:pt x="898" y="259"/>
                    </a:lnTo>
                    <a:lnTo>
                      <a:pt x="902" y="259"/>
                    </a:lnTo>
                    <a:lnTo>
                      <a:pt x="902" y="264"/>
                    </a:lnTo>
                    <a:lnTo>
                      <a:pt x="907" y="264"/>
                    </a:lnTo>
                    <a:lnTo>
                      <a:pt x="912" y="264"/>
                    </a:lnTo>
                    <a:lnTo>
                      <a:pt x="917" y="264"/>
                    </a:lnTo>
                    <a:lnTo>
                      <a:pt x="922" y="264"/>
                    </a:lnTo>
                    <a:lnTo>
                      <a:pt x="926" y="259"/>
                    </a:lnTo>
                    <a:lnTo>
                      <a:pt x="931" y="259"/>
                    </a:lnTo>
                    <a:lnTo>
                      <a:pt x="936" y="259"/>
                    </a:lnTo>
                    <a:lnTo>
                      <a:pt x="936" y="264"/>
                    </a:lnTo>
                    <a:lnTo>
                      <a:pt x="941" y="264"/>
                    </a:lnTo>
                    <a:lnTo>
                      <a:pt x="941" y="268"/>
                    </a:lnTo>
                    <a:lnTo>
                      <a:pt x="946" y="268"/>
                    </a:lnTo>
                    <a:lnTo>
                      <a:pt x="950" y="273"/>
                    </a:lnTo>
                    <a:lnTo>
                      <a:pt x="955" y="278"/>
                    </a:lnTo>
                    <a:lnTo>
                      <a:pt x="955" y="283"/>
                    </a:lnTo>
                    <a:lnTo>
                      <a:pt x="960" y="283"/>
                    </a:lnTo>
                    <a:lnTo>
                      <a:pt x="965" y="283"/>
                    </a:lnTo>
                    <a:lnTo>
                      <a:pt x="965" y="288"/>
                    </a:lnTo>
                    <a:lnTo>
                      <a:pt x="970" y="288"/>
                    </a:lnTo>
                    <a:lnTo>
                      <a:pt x="974" y="288"/>
                    </a:lnTo>
                    <a:lnTo>
                      <a:pt x="979" y="288"/>
                    </a:lnTo>
                    <a:lnTo>
                      <a:pt x="984" y="288"/>
                    </a:lnTo>
                    <a:lnTo>
                      <a:pt x="989" y="288"/>
                    </a:lnTo>
                    <a:lnTo>
                      <a:pt x="994" y="288"/>
                    </a:lnTo>
                    <a:lnTo>
                      <a:pt x="994" y="292"/>
                    </a:lnTo>
                    <a:lnTo>
                      <a:pt x="998" y="292"/>
                    </a:lnTo>
                    <a:lnTo>
                      <a:pt x="1003" y="297"/>
                    </a:lnTo>
                    <a:lnTo>
                      <a:pt x="1008" y="297"/>
                    </a:lnTo>
                    <a:lnTo>
                      <a:pt x="1008" y="302"/>
                    </a:lnTo>
                    <a:lnTo>
                      <a:pt x="1013" y="307"/>
                    </a:lnTo>
                    <a:lnTo>
                      <a:pt x="1013" y="312"/>
                    </a:lnTo>
                    <a:lnTo>
                      <a:pt x="1013" y="316"/>
                    </a:lnTo>
                    <a:lnTo>
                      <a:pt x="1008" y="316"/>
                    </a:lnTo>
                    <a:lnTo>
                      <a:pt x="1008" y="321"/>
                    </a:lnTo>
                    <a:lnTo>
                      <a:pt x="1003" y="321"/>
                    </a:lnTo>
                    <a:lnTo>
                      <a:pt x="1003" y="326"/>
                    </a:lnTo>
                    <a:lnTo>
                      <a:pt x="998" y="326"/>
                    </a:lnTo>
                    <a:lnTo>
                      <a:pt x="994" y="326"/>
                    </a:lnTo>
                    <a:lnTo>
                      <a:pt x="994" y="331"/>
                    </a:lnTo>
                    <a:lnTo>
                      <a:pt x="994" y="336"/>
                    </a:lnTo>
                    <a:lnTo>
                      <a:pt x="994" y="340"/>
                    </a:lnTo>
                    <a:lnTo>
                      <a:pt x="994" y="345"/>
                    </a:lnTo>
                    <a:lnTo>
                      <a:pt x="994" y="350"/>
                    </a:lnTo>
                    <a:lnTo>
                      <a:pt x="994" y="355"/>
                    </a:lnTo>
                    <a:lnTo>
                      <a:pt x="994" y="360"/>
                    </a:lnTo>
                    <a:lnTo>
                      <a:pt x="994" y="364"/>
                    </a:lnTo>
                    <a:lnTo>
                      <a:pt x="994" y="369"/>
                    </a:lnTo>
                    <a:lnTo>
                      <a:pt x="994" y="374"/>
                    </a:lnTo>
                    <a:lnTo>
                      <a:pt x="998" y="384"/>
                    </a:lnTo>
                    <a:lnTo>
                      <a:pt x="1003" y="384"/>
                    </a:lnTo>
                    <a:lnTo>
                      <a:pt x="1008" y="384"/>
                    </a:lnTo>
                    <a:lnTo>
                      <a:pt x="1013" y="388"/>
                    </a:lnTo>
                    <a:lnTo>
                      <a:pt x="1018" y="393"/>
                    </a:lnTo>
                    <a:lnTo>
                      <a:pt x="1022" y="393"/>
                    </a:lnTo>
                    <a:lnTo>
                      <a:pt x="1027" y="393"/>
                    </a:lnTo>
                    <a:lnTo>
                      <a:pt x="1032" y="393"/>
                    </a:lnTo>
                    <a:lnTo>
                      <a:pt x="1037" y="393"/>
                    </a:lnTo>
                    <a:lnTo>
                      <a:pt x="1042" y="393"/>
                    </a:lnTo>
                    <a:lnTo>
                      <a:pt x="1046" y="393"/>
                    </a:lnTo>
                    <a:lnTo>
                      <a:pt x="1051" y="393"/>
                    </a:lnTo>
                    <a:lnTo>
                      <a:pt x="1056" y="393"/>
                    </a:lnTo>
                    <a:lnTo>
                      <a:pt x="1056" y="398"/>
                    </a:lnTo>
                    <a:lnTo>
                      <a:pt x="1056" y="403"/>
                    </a:lnTo>
                    <a:lnTo>
                      <a:pt x="1051" y="408"/>
                    </a:lnTo>
                    <a:lnTo>
                      <a:pt x="1046" y="412"/>
                    </a:lnTo>
                    <a:lnTo>
                      <a:pt x="1046" y="417"/>
                    </a:lnTo>
                    <a:lnTo>
                      <a:pt x="1046" y="422"/>
                    </a:lnTo>
                    <a:lnTo>
                      <a:pt x="1042" y="427"/>
                    </a:lnTo>
                    <a:lnTo>
                      <a:pt x="1042" y="432"/>
                    </a:lnTo>
                    <a:lnTo>
                      <a:pt x="1037" y="436"/>
                    </a:lnTo>
                    <a:lnTo>
                      <a:pt x="1032" y="436"/>
                    </a:lnTo>
                    <a:lnTo>
                      <a:pt x="1027" y="436"/>
                    </a:lnTo>
                    <a:lnTo>
                      <a:pt x="1022" y="436"/>
                    </a:lnTo>
                    <a:lnTo>
                      <a:pt x="1018" y="436"/>
                    </a:lnTo>
                    <a:lnTo>
                      <a:pt x="1013" y="436"/>
                    </a:lnTo>
                    <a:lnTo>
                      <a:pt x="1013" y="441"/>
                    </a:lnTo>
                    <a:lnTo>
                      <a:pt x="1008" y="441"/>
                    </a:lnTo>
                    <a:lnTo>
                      <a:pt x="1008" y="446"/>
                    </a:lnTo>
                    <a:lnTo>
                      <a:pt x="1003" y="446"/>
                    </a:lnTo>
                    <a:lnTo>
                      <a:pt x="1003" y="451"/>
                    </a:lnTo>
                    <a:lnTo>
                      <a:pt x="998" y="451"/>
                    </a:lnTo>
                    <a:lnTo>
                      <a:pt x="998" y="456"/>
                    </a:lnTo>
                    <a:lnTo>
                      <a:pt x="998" y="460"/>
                    </a:lnTo>
                    <a:lnTo>
                      <a:pt x="998" y="465"/>
                    </a:lnTo>
                    <a:lnTo>
                      <a:pt x="998" y="470"/>
                    </a:lnTo>
                    <a:lnTo>
                      <a:pt x="998" y="475"/>
                    </a:lnTo>
                    <a:lnTo>
                      <a:pt x="998" y="480"/>
                    </a:lnTo>
                    <a:lnTo>
                      <a:pt x="998" y="484"/>
                    </a:lnTo>
                    <a:lnTo>
                      <a:pt x="998" y="489"/>
                    </a:lnTo>
                    <a:lnTo>
                      <a:pt x="998" y="494"/>
                    </a:lnTo>
                    <a:lnTo>
                      <a:pt x="998" y="499"/>
                    </a:lnTo>
                    <a:lnTo>
                      <a:pt x="998" y="504"/>
                    </a:lnTo>
                    <a:lnTo>
                      <a:pt x="994" y="508"/>
                    </a:lnTo>
                    <a:lnTo>
                      <a:pt x="994" y="513"/>
                    </a:lnTo>
                    <a:lnTo>
                      <a:pt x="994" y="518"/>
                    </a:lnTo>
                    <a:lnTo>
                      <a:pt x="994" y="523"/>
                    </a:lnTo>
                    <a:lnTo>
                      <a:pt x="994" y="528"/>
                    </a:lnTo>
                    <a:lnTo>
                      <a:pt x="994" y="532"/>
                    </a:lnTo>
                    <a:lnTo>
                      <a:pt x="994" y="537"/>
                    </a:lnTo>
                    <a:lnTo>
                      <a:pt x="994" y="542"/>
                    </a:lnTo>
                    <a:lnTo>
                      <a:pt x="994" y="547"/>
                    </a:lnTo>
                    <a:lnTo>
                      <a:pt x="994" y="552"/>
                    </a:lnTo>
                    <a:lnTo>
                      <a:pt x="994" y="556"/>
                    </a:lnTo>
                    <a:lnTo>
                      <a:pt x="994" y="561"/>
                    </a:lnTo>
                    <a:lnTo>
                      <a:pt x="994" y="566"/>
                    </a:lnTo>
                    <a:lnTo>
                      <a:pt x="994" y="571"/>
                    </a:lnTo>
                    <a:lnTo>
                      <a:pt x="994" y="576"/>
                    </a:lnTo>
                    <a:lnTo>
                      <a:pt x="989" y="576"/>
                    </a:lnTo>
                    <a:lnTo>
                      <a:pt x="984" y="576"/>
                    </a:lnTo>
                    <a:lnTo>
                      <a:pt x="979" y="576"/>
                    </a:lnTo>
                    <a:lnTo>
                      <a:pt x="974" y="576"/>
                    </a:lnTo>
                    <a:lnTo>
                      <a:pt x="970" y="576"/>
                    </a:lnTo>
                    <a:lnTo>
                      <a:pt x="965" y="576"/>
                    </a:lnTo>
                    <a:lnTo>
                      <a:pt x="965" y="571"/>
                    </a:lnTo>
                    <a:lnTo>
                      <a:pt x="960" y="571"/>
                    </a:lnTo>
                    <a:lnTo>
                      <a:pt x="955" y="571"/>
                    </a:lnTo>
                    <a:lnTo>
                      <a:pt x="950" y="571"/>
                    </a:lnTo>
                    <a:lnTo>
                      <a:pt x="946" y="571"/>
                    </a:lnTo>
                    <a:lnTo>
                      <a:pt x="941" y="571"/>
                    </a:lnTo>
                    <a:lnTo>
                      <a:pt x="936" y="571"/>
                    </a:lnTo>
                    <a:lnTo>
                      <a:pt x="931" y="566"/>
                    </a:lnTo>
                    <a:lnTo>
                      <a:pt x="926" y="566"/>
                    </a:lnTo>
                    <a:lnTo>
                      <a:pt x="922" y="566"/>
                    </a:lnTo>
                    <a:lnTo>
                      <a:pt x="917" y="566"/>
                    </a:lnTo>
                    <a:lnTo>
                      <a:pt x="912" y="566"/>
                    </a:lnTo>
                    <a:lnTo>
                      <a:pt x="907" y="566"/>
                    </a:lnTo>
                    <a:lnTo>
                      <a:pt x="902" y="561"/>
                    </a:lnTo>
                    <a:lnTo>
                      <a:pt x="898" y="561"/>
                    </a:lnTo>
                    <a:lnTo>
                      <a:pt x="893" y="561"/>
                    </a:lnTo>
                    <a:lnTo>
                      <a:pt x="893" y="556"/>
                    </a:lnTo>
                    <a:lnTo>
                      <a:pt x="888" y="556"/>
                    </a:lnTo>
                    <a:lnTo>
                      <a:pt x="883" y="556"/>
                    </a:lnTo>
                    <a:lnTo>
                      <a:pt x="883" y="552"/>
                    </a:lnTo>
                    <a:lnTo>
                      <a:pt x="878" y="552"/>
                    </a:lnTo>
                    <a:lnTo>
                      <a:pt x="874" y="552"/>
                    </a:lnTo>
                    <a:lnTo>
                      <a:pt x="869" y="552"/>
                    </a:lnTo>
                    <a:lnTo>
                      <a:pt x="864" y="552"/>
                    </a:lnTo>
                    <a:lnTo>
                      <a:pt x="859" y="552"/>
                    </a:lnTo>
                    <a:lnTo>
                      <a:pt x="859" y="556"/>
                    </a:lnTo>
                    <a:lnTo>
                      <a:pt x="854" y="556"/>
                    </a:lnTo>
                    <a:lnTo>
                      <a:pt x="850" y="561"/>
                    </a:lnTo>
                    <a:lnTo>
                      <a:pt x="850" y="566"/>
                    </a:lnTo>
                    <a:lnTo>
                      <a:pt x="845" y="566"/>
                    </a:lnTo>
                    <a:lnTo>
                      <a:pt x="840" y="571"/>
                    </a:lnTo>
                    <a:lnTo>
                      <a:pt x="840" y="576"/>
                    </a:lnTo>
                    <a:lnTo>
                      <a:pt x="835" y="580"/>
                    </a:lnTo>
                    <a:lnTo>
                      <a:pt x="835" y="585"/>
                    </a:lnTo>
                    <a:lnTo>
                      <a:pt x="835" y="590"/>
                    </a:lnTo>
                    <a:lnTo>
                      <a:pt x="835" y="595"/>
                    </a:lnTo>
                    <a:lnTo>
                      <a:pt x="835" y="600"/>
                    </a:lnTo>
                    <a:lnTo>
                      <a:pt x="840" y="604"/>
                    </a:lnTo>
                    <a:lnTo>
                      <a:pt x="840" y="609"/>
                    </a:lnTo>
                    <a:lnTo>
                      <a:pt x="840" y="614"/>
                    </a:lnTo>
                    <a:lnTo>
                      <a:pt x="840" y="619"/>
                    </a:lnTo>
                    <a:lnTo>
                      <a:pt x="840" y="624"/>
                    </a:lnTo>
                    <a:lnTo>
                      <a:pt x="840" y="628"/>
                    </a:lnTo>
                    <a:lnTo>
                      <a:pt x="840" y="633"/>
                    </a:lnTo>
                    <a:lnTo>
                      <a:pt x="835" y="633"/>
                    </a:lnTo>
                    <a:lnTo>
                      <a:pt x="835" y="638"/>
                    </a:lnTo>
                    <a:lnTo>
                      <a:pt x="831" y="638"/>
                    </a:lnTo>
                    <a:lnTo>
                      <a:pt x="831" y="643"/>
                    </a:lnTo>
                    <a:lnTo>
                      <a:pt x="826" y="648"/>
                    </a:lnTo>
                    <a:lnTo>
                      <a:pt x="821" y="652"/>
                    </a:lnTo>
                    <a:lnTo>
                      <a:pt x="816" y="652"/>
                    </a:lnTo>
                    <a:lnTo>
                      <a:pt x="816" y="657"/>
                    </a:lnTo>
                    <a:lnTo>
                      <a:pt x="816" y="662"/>
                    </a:lnTo>
                    <a:lnTo>
                      <a:pt x="811" y="667"/>
                    </a:lnTo>
                    <a:lnTo>
                      <a:pt x="816" y="667"/>
                    </a:lnTo>
                    <a:lnTo>
                      <a:pt x="816" y="672"/>
                    </a:lnTo>
                    <a:lnTo>
                      <a:pt x="811" y="676"/>
                    </a:lnTo>
                    <a:lnTo>
                      <a:pt x="807" y="681"/>
                    </a:lnTo>
                    <a:lnTo>
                      <a:pt x="807" y="686"/>
                    </a:lnTo>
                    <a:lnTo>
                      <a:pt x="802" y="686"/>
                    </a:lnTo>
                    <a:lnTo>
                      <a:pt x="802" y="691"/>
                    </a:lnTo>
                    <a:lnTo>
                      <a:pt x="797" y="691"/>
                    </a:lnTo>
                    <a:lnTo>
                      <a:pt x="797" y="696"/>
                    </a:lnTo>
                    <a:lnTo>
                      <a:pt x="792" y="696"/>
                    </a:lnTo>
                    <a:lnTo>
                      <a:pt x="787" y="696"/>
                    </a:lnTo>
                    <a:lnTo>
                      <a:pt x="787" y="700"/>
                    </a:lnTo>
                    <a:lnTo>
                      <a:pt x="787" y="705"/>
                    </a:lnTo>
                    <a:lnTo>
                      <a:pt x="783" y="705"/>
                    </a:lnTo>
                    <a:lnTo>
                      <a:pt x="778" y="710"/>
                    </a:lnTo>
                    <a:lnTo>
                      <a:pt x="778" y="715"/>
                    </a:lnTo>
                    <a:lnTo>
                      <a:pt x="778" y="720"/>
                    </a:lnTo>
                    <a:lnTo>
                      <a:pt x="773" y="720"/>
                    </a:lnTo>
                    <a:lnTo>
                      <a:pt x="773" y="724"/>
                    </a:lnTo>
                    <a:lnTo>
                      <a:pt x="773" y="729"/>
                    </a:lnTo>
                    <a:lnTo>
                      <a:pt x="768" y="734"/>
                    </a:lnTo>
                    <a:lnTo>
                      <a:pt x="763" y="734"/>
                    </a:lnTo>
                    <a:lnTo>
                      <a:pt x="763" y="739"/>
                    </a:lnTo>
                    <a:lnTo>
                      <a:pt x="759" y="744"/>
                    </a:lnTo>
                    <a:lnTo>
                      <a:pt x="759" y="748"/>
                    </a:lnTo>
                    <a:lnTo>
                      <a:pt x="759" y="753"/>
                    </a:lnTo>
                    <a:lnTo>
                      <a:pt x="754" y="753"/>
                    </a:lnTo>
                    <a:lnTo>
                      <a:pt x="754" y="758"/>
                    </a:lnTo>
                    <a:lnTo>
                      <a:pt x="749" y="758"/>
                    </a:lnTo>
                    <a:lnTo>
                      <a:pt x="744" y="763"/>
                    </a:lnTo>
                    <a:lnTo>
                      <a:pt x="739" y="763"/>
                    </a:lnTo>
                    <a:lnTo>
                      <a:pt x="739" y="768"/>
                    </a:lnTo>
                    <a:lnTo>
                      <a:pt x="735" y="772"/>
                    </a:lnTo>
                    <a:lnTo>
                      <a:pt x="730" y="772"/>
                    </a:lnTo>
                    <a:lnTo>
                      <a:pt x="730" y="777"/>
                    </a:lnTo>
                    <a:lnTo>
                      <a:pt x="725" y="777"/>
                    </a:lnTo>
                    <a:lnTo>
                      <a:pt x="725" y="782"/>
                    </a:lnTo>
                    <a:lnTo>
                      <a:pt x="725" y="787"/>
                    </a:lnTo>
                    <a:lnTo>
                      <a:pt x="725" y="792"/>
                    </a:lnTo>
                    <a:lnTo>
                      <a:pt x="720" y="796"/>
                    </a:lnTo>
                    <a:lnTo>
                      <a:pt x="720" y="801"/>
                    </a:lnTo>
                    <a:lnTo>
                      <a:pt x="715" y="801"/>
                    </a:lnTo>
                    <a:lnTo>
                      <a:pt x="715" y="806"/>
                    </a:lnTo>
                    <a:lnTo>
                      <a:pt x="711" y="806"/>
                    </a:lnTo>
                    <a:lnTo>
                      <a:pt x="706" y="811"/>
                    </a:lnTo>
                    <a:lnTo>
                      <a:pt x="701" y="816"/>
                    </a:lnTo>
                    <a:lnTo>
                      <a:pt x="696" y="820"/>
                    </a:lnTo>
                    <a:lnTo>
                      <a:pt x="696" y="825"/>
                    </a:lnTo>
                    <a:lnTo>
                      <a:pt x="696" y="830"/>
                    </a:lnTo>
                    <a:lnTo>
                      <a:pt x="691" y="830"/>
                    </a:lnTo>
                    <a:lnTo>
                      <a:pt x="691" y="835"/>
                    </a:lnTo>
                    <a:lnTo>
                      <a:pt x="687" y="835"/>
                    </a:lnTo>
                    <a:lnTo>
                      <a:pt x="687" y="840"/>
                    </a:lnTo>
                    <a:lnTo>
                      <a:pt x="682" y="844"/>
                    </a:lnTo>
                    <a:lnTo>
                      <a:pt x="677" y="844"/>
                    </a:lnTo>
                    <a:lnTo>
                      <a:pt x="677" y="849"/>
                    </a:lnTo>
                    <a:lnTo>
                      <a:pt x="672" y="854"/>
                    </a:lnTo>
                    <a:lnTo>
                      <a:pt x="667" y="854"/>
                    </a:lnTo>
                    <a:lnTo>
                      <a:pt x="672" y="859"/>
                    </a:lnTo>
                    <a:lnTo>
                      <a:pt x="672" y="864"/>
                    </a:lnTo>
                    <a:lnTo>
                      <a:pt x="672" y="868"/>
                    </a:lnTo>
                    <a:lnTo>
                      <a:pt x="672" y="873"/>
                    </a:lnTo>
                    <a:lnTo>
                      <a:pt x="677" y="878"/>
                    </a:lnTo>
                    <a:lnTo>
                      <a:pt x="677" y="883"/>
                    </a:lnTo>
                    <a:lnTo>
                      <a:pt x="677" y="888"/>
                    </a:lnTo>
                    <a:lnTo>
                      <a:pt x="677" y="892"/>
                    </a:lnTo>
                    <a:lnTo>
                      <a:pt x="677" y="897"/>
                    </a:lnTo>
                    <a:lnTo>
                      <a:pt x="672" y="902"/>
                    </a:lnTo>
                    <a:lnTo>
                      <a:pt x="672" y="907"/>
                    </a:lnTo>
                    <a:lnTo>
                      <a:pt x="667" y="907"/>
                    </a:lnTo>
                    <a:lnTo>
                      <a:pt x="667" y="912"/>
                    </a:lnTo>
                    <a:lnTo>
                      <a:pt x="667" y="916"/>
                    </a:lnTo>
                    <a:lnTo>
                      <a:pt x="667" y="921"/>
                    </a:lnTo>
                    <a:lnTo>
                      <a:pt x="667" y="926"/>
                    </a:lnTo>
                    <a:lnTo>
                      <a:pt x="663" y="926"/>
                    </a:lnTo>
                    <a:lnTo>
                      <a:pt x="663" y="931"/>
                    </a:lnTo>
                    <a:lnTo>
                      <a:pt x="663" y="936"/>
                    </a:lnTo>
                    <a:lnTo>
                      <a:pt x="658" y="936"/>
                    </a:lnTo>
                    <a:lnTo>
                      <a:pt x="658" y="940"/>
                    </a:lnTo>
                    <a:lnTo>
                      <a:pt x="658" y="945"/>
                    </a:lnTo>
                    <a:lnTo>
                      <a:pt x="653" y="950"/>
                    </a:lnTo>
                    <a:lnTo>
                      <a:pt x="653" y="955"/>
                    </a:lnTo>
                    <a:lnTo>
                      <a:pt x="648" y="960"/>
                    </a:lnTo>
                    <a:lnTo>
                      <a:pt x="653" y="960"/>
                    </a:lnTo>
                    <a:lnTo>
                      <a:pt x="653" y="964"/>
                    </a:lnTo>
                    <a:lnTo>
                      <a:pt x="653" y="969"/>
                    </a:lnTo>
                    <a:lnTo>
                      <a:pt x="658" y="974"/>
                    </a:lnTo>
                    <a:lnTo>
                      <a:pt x="658" y="979"/>
                    </a:lnTo>
                    <a:lnTo>
                      <a:pt x="663" y="979"/>
                    </a:lnTo>
                    <a:lnTo>
                      <a:pt x="663" y="984"/>
                    </a:lnTo>
                    <a:lnTo>
                      <a:pt x="667" y="984"/>
                    </a:lnTo>
                    <a:lnTo>
                      <a:pt x="667" y="988"/>
                    </a:lnTo>
                    <a:lnTo>
                      <a:pt x="667" y="993"/>
                    </a:lnTo>
                    <a:lnTo>
                      <a:pt x="667" y="998"/>
                    </a:lnTo>
                    <a:lnTo>
                      <a:pt x="672" y="998"/>
                    </a:lnTo>
                    <a:lnTo>
                      <a:pt x="672" y="1003"/>
                    </a:lnTo>
                    <a:lnTo>
                      <a:pt x="677" y="1003"/>
                    </a:lnTo>
                    <a:lnTo>
                      <a:pt x="677" y="1008"/>
                    </a:lnTo>
                    <a:lnTo>
                      <a:pt x="682" y="1012"/>
                    </a:lnTo>
                    <a:lnTo>
                      <a:pt x="682" y="1017"/>
                    </a:lnTo>
                    <a:lnTo>
                      <a:pt x="687" y="1022"/>
                    </a:lnTo>
                    <a:lnTo>
                      <a:pt x="687" y="1027"/>
                    </a:lnTo>
                    <a:lnTo>
                      <a:pt x="687" y="1032"/>
                    </a:lnTo>
                    <a:lnTo>
                      <a:pt x="687" y="1036"/>
                    </a:lnTo>
                    <a:lnTo>
                      <a:pt x="682" y="1041"/>
                    </a:lnTo>
                    <a:lnTo>
                      <a:pt x="682" y="1046"/>
                    </a:lnTo>
                    <a:lnTo>
                      <a:pt x="677" y="1046"/>
                    </a:lnTo>
                    <a:lnTo>
                      <a:pt x="677" y="1051"/>
                    </a:lnTo>
                    <a:lnTo>
                      <a:pt x="672" y="1051"/>
                    </a:lnTo>
                    <a:lnTo>
                      <a:pt x="672" y="1056"/>
                    </a:lnTo>
                    <a:lnTo>
                      <a:pt x="667" y="1060"/>
                    </a:lnTo>
                    <a:lnTo>
                      <a:pt x="663" y="1060"/>
                    </a:lnTo>
                    <a:lnTo>
                      <a:pt x="663" y="1065"/>
                    </a:lnTo>
                    <a:lnTo>
                      <a:pt x="658" y="1070"/>
                    </a:lnTo>
                    <a:lnTo>
                      <a:pt x="658" y="1075"/>
                    </a:lnTo>
                    <a:lnTo>
                      <a:pt x="658" y="1080"/>
                    </a:lnTo>
                    <a:lnTo>
                      <a:pt x="658" y="1084"/>
                    </a:lnTo>
                    <a:lnTo>
                      <a:pt x="663" y="1089"/>
                    </a:lnTo>
                    <a:lnTo>
                      <a:pt x="663" y="1094"/>
                    </a:lnTo>
                    <a:lnTo>
                      <a:pt x="658" y="1099"/>
                    </a:lnTo>
                    <a:lnTo>
                      <a:pt x="658" y="1104"/>
                    </a:lnTo>
                    <a:lnTo>
                      <a:pt x="653" y="1104"/>
                    </a:lnTo>
                    <a:lnTo>
                      <a:pt x="648" y="1108"/>
                    </a:lnTo>
                    <a:lnTo>
                      <a:pt x="643" y="1113"/>
                    </a:lnTo>
                    <a:lnTo>
                      <a:pt x="639" y="1113"/>
                    </a:lnTo>
                    <a:lnTo>
                      <a:pt x="639" y="1118"/>
                    </a:lnTo>
                    <a:lnTo>
                      <a:pt x="639" y="1123"/>
                    </a:lnTo>
                    <a:lnTo>
                      <a:pt x="639" y="1128"/>
                    </a:lnTo>
                    <a:lnTo>
                      <a:pt x="639" y="1132"/>
                    </a:lnTo>
                    <a:lnTo>
                      <a:pt x="639" y="1137"/>
                    </a:lnTo>
                    <a:lnTo>
                      <a:pt x="639" y="1142"/>
                    </a:lnTo>
                    <a:lnTo>
                      <a:pt x="643" y="1147"/>
                    </a:lnTo>
                    <a:lnTo>
                      <a:pt x="643" y="1152"/>
                    </a:lnTo>
                    <a:lnTo>
                      <a:pt x="643" y="1156"/>
                    </a:lnTo>
                    <a:lnTo>
                      <a:pt x="639" y="1156"/>
                    </a:lnTo>
                    <a:lnTo>
                      <a:pt x="639" y="1161"/>
                    </a:lnTo>
                    <a:lnTo>
                      <a:pt x="634" y="1161"/>
                    </a:lnTo>
                    <a:lnTo>
                      <a:pt x="629" y="1161"/>
                    </a:lnTo>
                    <a:lnTo>
                      <a:pt x="629" y="1166"/>
                    </a:lnTo>
                    <a:lnTo>
                      <a:pt x="624" y="1166"/>
                    </a:lnTo>
                    <a:lnTo>
                      <a:pt x="624" y="1171"/>
                    </a:lnTo>
                    <a:lnTo>
                      <a:pt x="619" y="1171"/>
                    </a:lnTo>
                    <a:lnTo>
                      <a:pt x="619" y="1176"/>
                    </a:lnTo>
                    <a:lnTo>
                      <a:pt x="615" y="1176"/>
                    </a:lnTo>
                    <a:lnTo>
                      <a:pt x="615" y="1180"/>
                    </a:lnTo>
                    <a:lnTo>
                      <a:pt x="610" y="1180"/>
                    </a:lnTo>
                    <a:lnTo>
                      <a:pt x="610" y="1185"/>
                    </a:lnTo>
                    <a:lnTo>
                      <a:pt x="605" y="1185"/>
                    </a:lnTo>
                    <a:lnTo>
                      <a:pt x="605" y="1190"/>
                    </a:lnTo>
                    <a:lnTo>
                      <a:pt x="605" y="1195"/>
                    </a:lnTo>
                    <a:lnTo>
                      <a:pt x="600" y="1195"/>
                    </a:lnTo>
                    <a:lnTo>
                      <a:pt x="600" y="1200"/>
                    </a:lnTo>
                    <a:lnTo>
                      <a:pt x="600" y="1204"/>
                    </a:lnTo>
                    <a:lnTo>
                      <a:pt x="600" y="1209"/>
                    </a:lnTo>
                    <a:lnTo>
                      <a:pt x="600" y="1214"/>
                    </a:lnTo>
                    <a:lnTo>
                      <a:pt x="595" y="1219"/>
                    </a:lnTo>
                    <a:lnTo>
                      <a:pt x="595" y="1224"/>
                    </a:lnTo>
                    <a:lnTo>
                      <a:pt x="595" y="1228"/>
                    </a:lnTo>
                    <a:lnTo>
                      <a:pt x="595" y="1233"/>
                    </a:lnTo>
                    <a:lnTo>
                      <a:pt x="591" y="1233"/>
                    </a:lnTo>
                    <a:lnTo>
                      <a:pt x="591" y="1238"/>
                    </a:lnTo>
                    <a:lnTo>
                      <a:pt x="586" y="1238"/>
                    </a:lnTo>
                    <a:lnTo>
                      <a:pt x="586" y="1243"/>
                    </a:lnTo>
                    <a:lnTo>
                      <a:pt x="586" y="1248"/>
                    </a:lnTo>
                    <a:lnTo>
                      <a:pt x="581" y="1248"/>
                    </a:lnTo>
                    <a:lnTo>
                      <a:pt x="581" y="1252"/>
                    </a:lnTo>
                    <a:lnTo>
                      <a:pt x="581" y="1257"/>
                    </a:lnTo>
                    <a:lnTo>
                      <a:pt x="576" y="1257"/>
                    </a:lnTo>
                    <a:lnTo>
                      <a:pt x="571" y="1257"/>
                    </a:lnTo>
                    <a:lnTo>
                      <a:pt x="571" y="1262"/>
                    </a:lnTo>
                    <a:lnTo>
                      <a:pt x="567" y="1262"/>
                    </a:lnTo>
                    <a:lnTo>
                      <a:pt x="567" y="1257"/>
                    </a:lnTo>
                    <a:lnTo>
                      <a:pt x="562" y="1257"/>
                    </a:lnTo>
                    <a:lnTo>
                      <a:pt x="557" y="1257"/>
                    </a:lnTo>
                    <a:lnTo>
                      <a:pt x="552" y="1257"/>
                    </a:lnTo>
                    <a:lnTo>
                      <a:pt x="547" y="1257"/>
                    </a:lnTo>
                    <a:lnTo>
                      <a:pt x="543" y="1257"/>
                    </a:lnTo>
                    <a:lnTo>
                      <a:pt x="538" y="1257"/>
                    </a:lnTo>
                    <a:lnTo>
                      <a:pt x="538" y="1262"/>
                    </a:lnTo>
                    <a:lnTo>
                      <a:pt x="533" y="1262"/>
                    </a:lnTo>
                    <a:lnTo>
                      <a:pt x="528" y="1262"/>
                    </a:lnTo>
                    <a:lnTo>
                      <a:pt x="528" y="1267"/>
                    </a:lnTo>
                    <a:lnTo>
                      <a:pt x="523" y="1267"/>
                    </a:lnTo>
                    <a:lnTo>
                      <a:pt x="519" y="1267"/>
                    </a:lnTo>
                    <a:lnTo>
                      <a:pt x="519" y="1272"/>
                    </a:lnTo>
                    <a:lnTo>
                      <a:pt x="514" y="1272"/>
                    </a:lnTo>
                    <a:lnTo>
                      <a:pt x="509" y="1272"/>
                    </a:lnTo>
                    <a:lnTo>
                      <a:pt x="504" y="1272"/>
                    </a:lnTo>
                    <a:lnTo>
                      <a:pt x="499" y="1272"/>
                    </a:lnTo>
                    <a:lnTo>
                      <a:pt x="495" y="1272"/>
                    </a:lnTo>
                    <a:lnTo>
                      <a:pt x="495" y="1276"/>
                    </a:lnTo>
                    <a:lnTo>
                      <a:pt x="490" y="1276"/>
                    </a:lnTo>
                    <a:lnTo>
                      <a:pt x="485" y="1276"/>
                    </a:lnTo>
                    <a:lnTo>
                      <a:pt x="485" y="1281"/>
                    </a:lnTo>
                    <a:lnTo>
                      <a:pt x="480" y="1281"/>
                    </a:lnTo>
                    <a:lnTo>
                      <a:pt x="475" y="1281"/>
                    </a:lnTo>
                    <a:lnTo>
                      <a:pt x="475" y="1286"/>
                    </a:lnTo>
                    <a:lnTo>
                      <a:pt x="471" y="1286"/>
                    </a:lnTo>
                    <a:lnTo>
                      <a:pt x="471" y="1291"/>
                    </a:lnTo>
                    <a:lnTo>
                      <a:pt x="466" y="1291"/>
                    </a:lnTo>
                    <a:lnTo>
                      <a:pt x="461" y="1291"/>
                    </a:lnTo>
                    <a:lnTo>
                      <a:pt x="461" y="1296"/>
                    </a:lnTo>
                    <a:lnTo>
                      <a:pt x="456" y="1296"/>
                    </a:lnTo>
                    <a:lnTo>
                      <a:pt x="451" y="1296"/>
                    </a:lnTo>
                    <a:lnTo>
                      <a:pt x="451" y="1300"/>
                    </a:lnTo>
                    <a:lnTo>
                      <a:pt x="447" y="1300"/>
                    </a:lnTo>
                    <a:lnTo>
                      <a:pt x="442" y="1300"/>
                    </a:lnTo>
                    <a:lnTo>
                      <a:pt x="442" y="1305"/>
                    </a:lnTo>
                    <a:lnTo>
                      <a:pt x="437" y="1305"/>
                    </a:lnTo>
                    <a:lnTo>
                      <a:pt x="437" y="1310"/>
                    </a:lnTo>
                    <a:lnTo>
                      <a:pt x="432" y="1310"/>
                    </a:lnTo>
                    <a:lnTo>
                      <a:pt x="427" y="1310"/>
                    </a:lnTo>
                    <a:lnTo>
                      <a:pt x="427" y="1315"/>
                    </a:lnTo>
                    <a:lnTo>
                      <a:pt x="423" y="1315"/>
                    </a:lnTo>
                    <a:lnTo>
                      <a:pt x="418" y="1315"/>
                    </a:lnTo>
                    <a:lnTo>
                      <a:pt x="413" y="1315"/>
                    </a:lnTo>
                    <a:lnTo>
                      <a:pt x="413" y="1320"/>
                    </a:lnTo>
                    <a:lnTo>
                      <a:pt x="408" y="1320"/>
                    </a:lnTo>
                    <a:lnTo>
                      <a:pt x="403" y="1320"/>
                    </a:lnTo>
                    <a:lnTo>
                      <a:pt x="399" y="1320"/>
                    </a:lnTo>
                    <a:lnTo>
                      <a:pt x="399" y="1324"/>
                    </a:lnTo>
                    <a:lnTo>
                      <a:pt x="394" y="1324"/>
                    </a:lnTo>
                    <a:lnTo>
                      <a:pt x="389" y="1324"/>
                    </a:lnTo>
                    <a:lnTo>
                      <a:pt x="384" y="1324"/>
                    </a:lnTo>
                    <a:lnTo>
                      <a:pt x="379" y="1324"/>
                    </a:lnTo>
                    <a:lnTo>
                      <a:pt x="379" y="1320"/>
                    </a:lnTo>
                    <a:lnTo>
                      <a:pt x="375" y="1320"/>
                    </a:lnTo>
                    <a:lnTo>
                      <a:pt x="370" y="1320"/>
                    </a:lnTo>
                    <a:lnTo>
                      <a:pt x="370" y="1315"/>
                    </a:lnTo>
                    <a:lnTo>
                      <a:pt x="370" y="1310"/>
                    </a:lnTo>
                    <a:lnTo>
                      <a:pt x="365" y="1310"/>
                    </a:lnTo>
                    <a:lnTo>
                      <a:pt x="365" y="1305"/>
                    </a:lnTo>
                    <a:lnTo>
                      <a:pt x="370" y="1305"/>
                    </a:lnTo>
                    <a:lnTo>
                      <a:pt x="370" y="1300"/>
                    </a:lnTo>
                    <a:lnTo>
                      <a:pt x="370" y="1296"/>
                    </a:lnTo>
                    <a:lnTo>
                      <a:pt x="375" y="1291"/>
                    </a:lnTo>
                    <a:lnTo>
                      <a:pt x="375" y="1286"/>
                    </a:lnTo>
                    <a:lnTo>
                      <a:pt x="379" y="1281"/>
                    </a:lnTo>
                    <a:lnTo>
                      <a:pt x="379" y="1276"/>
                    </a:lnTo>
                    <a:lnTo>
                      <a:pt x="379" y="1272"/>
                    </a:lnTo>
                    <a:lnTo>
                      <a:pt x="384" y="1272"/>
                    </a:lnTo>
                    <a:lnTo>
                      <a:pt x="384" y="1267"/>
                    </a:lnTo>
                    <a:lnTo>
                      <a:pt x="384" y="1262"/>
                    </a:lnTo>
                    <a:lnTo>
                      <a:pt x="384" y="1257"/>
                    </a:lnTo>
                    <a:lnTo>
                      <a:pt x="379" y="1257"/>
                    </a:lnTo>
                    <a:lnTo>
                      <a:pt x="379" y="1252"/>
                    </a:lnTo>
                    <a:lnTo>
                      <a:pt x="375" y="1252"/>
                    </a:lnTo>
                    <a:lnTo>
                      <a:pt x="370" y="1252"/>
                    </a:lnTo>
                    <a:lnTo>
                      <a:pt x="365" y="1252"/>
                    </a:lnTo>
                    <a:lnTo>
                      <a:pt x="365" y="1248"/>
                    </a:lnTo>
                    <a:lnTo>
                      <a:pt x="360" y="1248"/>
                    </a:lnTo>
                    <a:lnTo>
                      <a:pt x="355" y="1248"/>
                    </a:lnTo>
                    <a:lnTo>
                      <a:pt x="351" y="1248"/>
                    </a:lnTo>
                    <a:lnTo>
                      <a:pt x="346" y="1243"/>
                    </a:lnTo>
                    <a:lnTo>
                      <a:pt x="341" y="1243"/>
                    </a:lnTo>
                    <a:lnTo>
                      <a:pt x="336" y="1243"/>
                    </a:lnTo>
                    <a:lnTo>
                      <a:pt x="336" y="1238"/>
                    </a:lnTo>
                    <a:lnTo>
                      <a:pt x="331" y="1238"/>
                    </a:lnTo>
                    <a:lnTo>
                      <a:pt x="327" y="1238"/>
                    </a:lnTo>
                    <a:lnTo>
                      <a:pt x="327" y="1233"/>
                    </a:lnTo>
                    <a:lnTo>
                      <a:pt x="322" y="1228"/>
                    </a:lnTo>
                    <a:lnTo>
                      <a:pt x="317" y="1228"/>
                    </a:lnTo>
                    <a:lnTo>
                      <a:pt x="317" y="1224"/>
                    </a:lnTo>
                    <a:lnTo>
                      <a:pt x="312" y="1224"/>
                    </a:lnTo>
                    <a:lnTo>
                      <a:pt x="307" y="1224"/>
                    </a:lnTo>
                    <a:lnTo>
                      <a:pt x="303" y="1224"/>
                    </a:lnTo>
                    <a:lnTo>
                      <a:pt x="298" y="1228"/>
                    </a:lnTo>
                    <a:lnTo>
                      <a:pt x="293" y="1228"/>
                    </a:lnTo>
                    <a:lnTo>
                      <a:pt x="288" y="1228"/>
                    </a:lnTo>
                    <a:lnTo>
                      <a:pt x="283" y="1228"/>
                    </a:lnTo>
                    <a:lnTo>
                      <a:pt x="283" y="1233"/>
                    </a:lnTo>
                    <a:lnTo>
                      <a:pt x="279" y="1233"/>
                    </a:lnTo>
                    <a:lnTo>
                      <a:pt x="274" y="1233"/>
                    </a:lnTo>
                    <a:lnTo>
                      <a:pt x="269" y="1233"/>
                    </a:lnTo>
                    <a:lnTo>
                      <a:pt x="264" y="1233"/>
                    </a:lnTo>
                    <a:lnTo>
                      <a:pt x="259" y="1233"/>
                    </a:lnTo>
                    <a:lnTo>
                      <a:pt x="255" y="1233"/>
                    </a:lnTo>
                    <a:lnTo>
                      <a:pt x="250" y="1233"/>
                    </a:lnTo>
                    <a:lnTo>
                      <a:pt x="250" y="1238"/>
                    </a:lnTo>
                    <a:lnTo>
                      <a:pt x="245" y="1238"/>
                    </a:lnTo>
                    <a:lnTo>
                      <a:pt x="240" y="1238"/>
                    </a:lnTo>
                    <a:lnTo>
                      <a:pt x="240" y="1243"/>
                    </a:lnTo>
                    <a:lnTo>
                      <a:pt x="235" y="1243"/>
                    </a:lnTo>
                    <a:lnTo>
                      <a:pt x="231" y="1243"/>
                    </a:lnTo>
                    <a:lnTo>
                      <a:pt x="231" y="1248"/>
                    </a:lnTo>
                    <a:lnTo>
                      <a:pt x="226" y="1248"/>
                    </a:lnTo>
                    <a:lnTo>
                      <a:pt x="226" y="1252"/>
                    </a:lnTo>
                    <a:lnTo>
                      <a:pt x="221" y="1252"/>
                    </a:lnTo>
                    <a:lnTo>
                      <a:pt x="221" y="1257"/>
                    </a:lnTo>
                    <a:lnTo>
                      <a:pt x="221" y="1262"/>
                    </a:lnTo>
                    <a:lnTo>
                      <a:pt x="216" y="1262"/>
                    </a:lnTo>
                    <a:lnTo>
                      <a:pt x="216" y="1267"/>
                    </a:lnTo>
                    <a:lnTo>
                      <a:pt x="211" y="1272"/>
                    </a:lnTo>
                    <a:lnTo>
                      <a:pt x="211" y="1276"/>
                    </a:lnTo>
                    <a:lnTo>
                      <a:pt x="207" y="1276"/>
                    </a:lnTo>
                    <a:lnTo>
                      <a:pt x="207" y="1281"/>
                    </a:lnTo>
                    <a:lnTo>
                      <a:pt x="207" y="1286"/>
                    </a:lnTo>
                    <a:lnTo>
                      <a:pt x="202" y="1286"/>
                    </a:lnTo>
                    <a:lnTo>
                      <a:pt x="202" y="1291"/>
                    </a:lnTo>
                    <a:lnTo>
                      <a:pt x="197" y="1291"/>
                    </a:lnTo>
                    <a:lnTo>
                      <a:pt x="197" y="1296"/>
                    </a:lnTo>
                    <a:lnTo>
                      <a:pt x="192" y="1296"/>
                    </a:lnTo>
                    <a:lnTo>
                      <a:pt x="187" y="1296"/>
                    </a:lnTo>
                    <a:lnTo>
                      <a:pt x="183" y="1296"/>
                    </a:lnTo>
                    <a:lnTo>
                      <a:pt x="178" y="1296"/>
                    </a:lnTo>
                    <a:lnTo>
                      <a:pt x="173" y="1300"/>
                    </a:lnTo>
                    <a:lnTo>
                      <a:pt x="168" y="1300"/>
                    </a:lnTo>
                    <a:lnTo>
                      <a:pt x="163" y="1300"/>
                    </a:lnTo>
                    <a:lnTo>
                      <a:pt x="159" y="1300"/>
                    </a:lnTo>
                    <a:lnTo>
                      <a:pt x="159" y="1296"/>
                    </a:lnTo>
                    <a:lnTo>
                      <a:pt x="154" y="1296"/>
                    </a:lnTo>
                    <a:lnTo>
                      <a:pt x="149" y="1291"/>
                    </a:lnTo>
                    <a:lnTo>
                      <a:pt x="149" y="1286"/>
                    </a:lnTo>
                    <a:lnTo>
                      <a:pt x="144" y="1286"/>
                    </a:lnTo>
                    <a:lnTo>
                      <a:pt x="139" y="1286"/>
                    </a:lnTo>
                    <a:lnTo>
                      <a:pt x="139" y="1281"/>
                    </a:lnTo>
                    <a:lnTo>
                      <a:pt x="135" y="1281"/>
                    </a:lnTo>
                    <a:lnTo>
                      <a:pt x="135" y="1276"/>
                    </a:lnTo>
                    <a:lnTo>
                      <a:pt x="135" y="1272"/>
                    </a:lnTo>
                    <a:lnTo>
                      <a:pt x="135" y="1267"/>
                    </a:lnTo>
                    <a:lnTo>
                      <a:pt x="130" y="1267"/>
                    </a:lnTo>
                    <a:lnTo>
                      <a:pt x="130" y="1262"/>
                    </a:lnTo>
                    <a:lnTo>
                      <a:pt x="125" y="1262"/>
                    </a:lnTo>
                    <a:lnTo>
                      <a:pt x="120" y="1262"/>
                    </a:lnTo>
                    <a:lnTo>
                      <a:pt x="115" y="1262"/>
                    </a:lnTo>
                    <a:lnTo>
                      <a:pt x="115" y="1267"/>
                    </a:lnTo>
                    <a:lnTo>
                      <a:pt x="111" y="1267"/>
                    </a:lnTo>
                    <a:lnTo>
                      <a:pt x="111" y="1272"/>
                    </a:lnTo>
                    <a:lnTo>
                      <a:pt x="111" y="1276"/>
                    </a:lnTo>
                    <a:lnTo>
                      <a:pt x="106" y="1276"/>
                    </a:lnTo>
                    <a:lnTo>
                      <a:pt x="106" y="1281"/>
                    </a:lnTo>
                    <a:lnTo>
                      <a:pt x="106" y="1286"/>
                    </a:lnTo>
                    <a:lnTo>
                      <a:pt x="101" y="1286"/>
                    </a:lnTo>
                    <a:lnTo>
                      <a:pt x="96" y="1291"/>
                    </a:lnTo>
                    <a:lnTo>
                      <a:pt x="91" y="1291"/>
                    </a:lnTo>
                    <a:lnTo>
                      <a:pt x="87" y="1291"/>
                    </a:lnTo>
                    <a:lnTo>
                      <a:pt x="82" y="1291"/>
                    </a:lnTo>
                    <a:lnTo>
                      <a:pt x="77" y="1291"/>
                    </a:lnTo>
                    <a:lnTo>
                      <a:pt x="72" y="1291"/>
                    </a:lnTo>
                    <a:lnTo>
                      <a:pt x="67" y="1291"/>
                    </a:lnTo>
                    <a:lnTo>
                      <a:pt x="67" y="1286"/>
                    </a:lnTo>
                    <a:lnTo>
                      <a:pt x="63" y="1286"/>
                    </a:lnTo>
                    <a:lnTo>
                      <a:pt x="63" y="1281"/>
                    </a:lnTo>
                    <a:lnTo>
                      <a:pt x="63" y="1276"/>
                    </a:lnTo>
                    <a:lnTo>
                      <a:pt x="63" y="1272"/>
                    </a:lnTo>
                    <a:lnTo>
                      <a:pt x="67" y="1272"/>
                    </a:lnTo>
                    <a:lnTo>
                      <a:pt x="67" y="1267"/>
                    </a:lnTo>
                    <a:lnTo>
                      <a:pt x="72" y="1267"/>
                    </a:lnTo>
                    <a:lnTo>
                      <a:pt x="72" y="1262"/>
                    </a:lnTo>
                    <a:lnTo>
                      <a:pt x="72" y="1257"/>
                    </a:lnTo>
                    <a:lnTo>
                      <a:pt x="72" y="1252"/>
                    </a:lnTo>
                    <a:lnTo>
                      <a:pt x="72" y="1248"/>
                    </a:lnTo>
                    <a:lnTo>
                      <a:pt x="67" y="1248"/>
                    </a:lnTo>
                    <a:lnTo>
                      <a:pt x="67" y="1243"/>
                    </a:lnTo>
                    <a:lnTo>
                      <a:pt x="63" y="1243"/>
                    </a:lnTo>
                    <a:lnTo>
                      <a:pt x="63" y="1238"/>
                    </a:lnTo>
                    <a:lnTo>
                      <a:pt x="63" y="1233"/>
                    </a:lnTo>
                    <a:lnTo>
                      <a:pt x="63" y="1228"/>
                    </a:lnTo>
                    <a:lnTo>
                      <a:pt x="58" y="1228"/>
                    </a:lnTo>
                    <a:lnTo>
                      <a:pt x="53" y="1228"/>
                    </a:lnTo>
                    <a:lnTo>
                      <a:pt x="48" y="1233"/>
                    </a:lnTo>
                    <a:lnTo>
                      <a:pt x="43" y="1233"/>
                    </a:lnTo>
                    <a:lnTo>
                      <a:pt x="39" y="1233"/>
                    </a:lnTo>
                    <a:lnTo>
                      <a:pt x="34" y="1233"/>
                    </a:lnTo>
                    <a:lnTo>
                      <a:pt x="29" y="1233"/>
                    </a:lnTo>
                    <a:lnTo>
                      <a:pt x="29" y="1228"/>
                    </a:lnTo>
                    <a:lnTo>
                      <a:pt x="24" y="1228"/>
                    </a:lnTo>
                    <a:lnTo>
                      <a:pt x="19" y="1228"/>
                    </a:lnTo>
                    <a:lnTo>
                      <a:pt x="19" y="1224"/>
                    </a:lnTo>
                    <a:lnTo>
                      <a:pt x="15" y="1224"/>
                    </a:lnTo>
                    <a:lnTo>
                      <a:pt x="15" y="1219"/>
                    </a:lnTo>
                    <a:lnTo>
                      <a:pt x="10" y="1219"/>
                    </a:lnTo>
                    <a:lnTo>
                      <a:pt x="10" y="1214"/>
                    </a:lnTo>
                    <a:lnTo>
                      <a:pt x="15" y="1209"/>
                    </a:lnTo>
                    <a:lnTo>
                      <a:pt x="19" y="1204"/>
                    </a:lnTo>
                    <a:lnTo>
                      <a:pt x="24" y="1204"/>
                    </a:lnTo>
                    <a:lnTo>
                      <a:pt x="29" y="1200"/>
                    </a:lnTo>
                    <a:lnTo>
                      <a:pt x="34" y="1195"/>
                    </a:lnTo>
                    <a:lnTo>
                      <a:pt x="39" y="1190"/>
                    </a:lnTo>
                    <a:lnTo>
                      <a:pt x="43" y="1185"/>
                    </a:lnTo>
                    <a:lnTo>
                      <a:pt x="48" y="1180"/>
                    </a:lnTo>
                    <a:lnTo>
                      <a:pt x="53" y="1180"/>
                    </a:lnTo>
                    <a:lnTo>
                      <a:pt x="58" y="1176"/>
                    </a:lnTo>
                    <a:lnTo>
                      <a:pt x="63" y="1171"/>
                    </a:lnTo>
                    <a:lnTo>
                      <a:pt x="67" y="1166"/>
                    </a:lnTo>
                    <a:lnTo>
                      <a:pt x="72" y="1166"/>
                    </a:lnTo>
                    <a:lnTo>
                      <a:pt x="72" y="1161"/>
                    </a:lnTo>
                    <a:lnTo>
                      <a:pt x="77" y="1156"/>
                    </a:lnTo>
                    <a:lnTo>
                      <a:pt x="82" y="1156"/>
                    </a:lnTo>
                    <a:lnTo>
                      <a:pt x="87" y="1152"/>
                    </a:lnTo>
                    <a:lnTo>
                      <a:pt x="91" y="1147"/>
                    </a:lnTo>
                    <a:lnTo>
                      <a:pt x="96" y="1142"/>
                    </a:lnTo>
                    <a:lnTo>
                      <a:pt x="101" y="1142"/>
                    </a:lnTo>
                    <a:lnTo>
                      <a:pt x="106" y="1137"/>
                    </a:lnTo>
                    <a:lnTo>
                      <a:pt x="106" y="1132"/>
                    </a:lnTo>
                    <a:lnTo>
                      <a:pt x="111" y="1128"/>
                    </a:lnTo>
                    <a:lnTo>
                      <a:pt x="115" y="1128"/>
                    </a:lnTo>
                    <a:lnTo>
                      <a:pt x="120" y="1123"/>
                    </a:lnTo>
                    <a:lnTo>
                      <a:pt x="120" y="1118"/>
                    </a:lnTo>
                    <a:lnTo>
                      <a:pt x="125" y="1118"/>
                    </a:lnTo>
                    <a:lnTo>
                      <a:pt x="125" y="1113"/>
                    </a:lnTo>
                    <a:lnTo>
                      <a:pt x="125" y="1108"/>
                    </a:lnTo>
                    <a:lnTo>
                      <a:pt x="120" y="1108"/>
                    </a:lnTo>
                    <a:lnTo>
                      <a:pt x="120" y="1104"/>
                    </a:lnTo>
                    <a:lnTo>
                      <a:pt x="115" y="1099"/>
                    </a:lnTo>
                    <a:lnTo>
                      <a:pt x="111" y="1094"/>
                    </a:lnTo>
                    <a:lnTo>
                      <a:pt x="106" y="1089"/>
                    </a:lnTo>
                    <a:lnTo>
                      <a:pt x="101" y="1084"/>
                    </a:lnTo>
                    <a:lnTo>
                      <a:pt x="96" y="1080"/>
                    </a:lnTo>
                    <a:lnTo>
                      <a:pt x="91" y="1075"/>
                    </a:lnTo>
                    <a:lnTo>
                      <a:pt x="87" y="1075"/>
                    </a:lnTo>
                    <a:lnTo>
                      <a:pt x="82" y="1070"/>
                    </a:lnTo>
                    <a:lnTo>
                      <a:pt x="77" y="1065"/>
                    </a:lnTo>
                    <a:lnTo>
                      <a:pt x="72" y="1060"/>
                    </a:lnTo>
                    <a:lnTo>
                      <a:pt x="67" y="1056"/>
                    </a:lnTo>
                    <a:lnTo>
                      <a:pt x="63" y="1056"/>
                    </a:lnTo>
                    <a:lnTo>
                      <a:pt x="58" y="1051"/>
                    </a:lnTo>
                    <a:lnTo>
                      <a:pt x="53" y="1046"/>
                    </a:lnTo>
                    <a:lnTo>
                      <a:pt x="48" y="1041"/>
                    </a:lnTo>
                    <a:lnTo>
                      <a:pt x="43" y="1036"/>
                    </a:lnTo>
                    <a:lnTo>
                      <a:pt x="43" y="1032"/>
                    </a:lnTo>
                    <a:lnTo>
                      <a:pt x="39" y="1032"/>
                    </a:lnTo>
                    <a:lnTo>
                      <a:pt x="39" y="1027"/>
                    </a:lnTo>
                    <a:lnTo>
                      <a:pt x="39" y="1022"/>
                    </a:lnTo>
                    <a:lnTo>
                      <a:pt x="34" y="1022"/>
                    </a:lnTo>
                    <a:lnTo>
                      <a:pt x="34" y="1017"/>
                    </a:lnTo>
                    <a:lnTo>
                      <a:pt x="34" y="1012"/>
                    </a:lnTo>
                    <a:lnTo>
                      <a:pt x="29" y="1012"/>
                    </a:lnTo>
                    <a:lnTo>
                      <a:pt x="29" y="1008"/>
                    </a:lnTo>
                    <a:lnTo>
                      <a:pt x="29" y="1003"/>
                    </a:lnTo>
                    <a:lnTo>
                      <a:pt x="24" y="1003"/>
                    </a:lnTo>
                    <a:lnTo>
                      <a:pt x="24" y="998"/>
                    </a:lnTo>
                    <a:lnTo>
                      <a:pt x="24" y="993"/>
                    </a:lnTo>
                    <a:lnTo>
                      <a:pt x="19" y="988"/>
                    </a:lnTo>
                    <a:lnTo>
                      <a:pt x="19" y="984"/>
                    </a:lnTo>
                    <a:lnTo>
                      <a:pt x="15" y="979"/>
                    </a:lnTo>
                    <a:lnTo>
                      <a:pt x="15" y="974"/>
                    </a:lnTo>
                    <a:lnTo>
                      <a:pt x="10" y="969"/>
                    </a:lnTo>
                    <a:lnTo>
                      <a:pt x="10" y="964"/>
                    </a:lnTo>
                    <a:lnTo>
                      <a:pt x="15" y="960"/>
                    </a:lnTo>
                    <a:lnTo>
                      <a:pt x="19" y="955"/>
                    </a:lnTo>
                    <a:lnTo>
                      <a:pt x="24" y="950"/>
                    </a:lnTo>
                    <a:lnTo>
                      <a:pt x="19" y="950"/>
                    </a:lnTo>
                    <a:lnTo>
                      <a:pt x="19" y="945"/>
                    </a:lnTo>
                    <a:lnTo>
                      <a:pt x="15" y="940"/>
                    </a:lnTo>
                    <a:lnTo>
                      <a:pt x="10" y="936"/>
                    </a:lnTo>
                    <a:lnTo>
                      <a:pt x="10" y="931"/>
                    </a:lnTo>
                    <a:lnTo>
                      <a:pt x="5" y="926"/>
                    </a:lnTo>
                    <a:lnTo>
                      <a:pt x="0" y="921"/>
                    </a:lnTo>
                    <a:lnTo>
                      <a:pt x="5" y="921"/>
                    </a:lnTo>
                    <a:lnTo>
                      <a:pt x="10" y="916"/>
                    </a:lnTo>
                    <a:lnTo>
                      <a:pt x="15" y="916"/>
                    </a:lnTo>
                    <a:lnTo>
                      <a:pt x="19" y="912"/>
                    </a:lnTo>
                    <a:lnTo>
                      <a:pt x="24" y="907"/>
                    </a:lnTo>
                    <a:lnTo>
                      <a:pt x="29" y="907"/>
                    </a:lnTo>
                    <a:lnTo>
                      <a:pt x="34" y="902"/>
                    </a:lnTo>
                    <a:lnTo>
                      <a:pt x="34" y="907"/>
                    </a:lnTo>
                    <a:lnTo>
                      <a:pt x="39" y="907"/>
                    </a:lnTo>
                    <a:lnTo>
                      <a:pt x="43" y="907"/>
                    </a:lnTo>
                    <a:lnTo>
                      <a:pt x="48" y="912"/>
                    </a:lnTo>
                    <a:lnTo>
                      <a:pt x="53" y="912"/>
                    </a:lnTo>
                    <a:lnTo>
                      <a:pt x="58" y="912"/>
                    </a:lnTo>
                    <a:lnTo>
                      <a:pt x="63" y="912"/>
                    </a:lnTo>
                    <a:lnTo>
                      <a:pt x="63" y="916"/>
                    </a:lnTo>
                    <a:lnTo>
                      <a:pt x="67" y="916"/>
                    </a:lnTo>
                    <a:lnTo>
                      <a:pt x="72" y="916"/>
                    </a:lnTo>
                    <a:lnTo>
                      <a:pt x="77" y="916"/>
                    </a:lnTo>
                    <a:lnTo>
                      <a:pt x="82" y="916"/>
                    </a:lnTo>
                    <a:lnTo>
                      <a:pt x="87" y="916"/>
                    </a:lnTo>
                    <a:lnTo>
                      <a:pt x="91" y="916"/>
                    </a:lnTo>
                    <a:lnTo>
                      <a:pt x="96" y="916"/>
                    </a:lnTo>
                    <a:lnTo>
                      <a:pt x="96" y="921"/>
                    </a:lnTo>
                    <a:lnTo>
                      <a:pt x="101" y="921"/>
                    </a:lnTo>
                    <a:lnTo>
                      <a:pt x="106" y="921"/>
                    </a:lnTo>
                    <a:lnTo>
                      <a:pt x="106" y="926"/>
                    </a:lnTo>
                    <a:lnTo>
                      <a:pt x="111" y="926"/>
                    </a:lnTo>
                    <a:lnTo>
                      <a:pt x="115" y="931"/>
                    </a:lnTo>
                    <a:lnTo>
                      <a:pt x="120" y="931"/>
                    </a:lnTo>
                    <a:lnTo>
                      <a:pt x="120" y="926"/>
                    </a:lnTo>
                    <a:lnTo>
                      <a:pt x="125" y="926"/>
                    </a:lnTo>
                    <a:lnTo>
                      <a:pt x="130" y="926"/>
                    </a:lnTo>
                    <a:lnTo>
                      <a:pt x="130" y="921"/>
                    </a:lnTo>
                    <a:lnTo>
                      <a:pt x="130" y="916"/>
                    </a:lnTo>
                    <a:lnTo>
                      <a:pt x="130" y="912"/>
                    </a:lnTo>
                    <a:lnTo>
                      <a:pt x="130" y="907"/>
                    </a:lnTo>
                    <a:lnTo>
                      <a:pt x="130" y="902"/>
                    </a:lnTo>
                    <a:lnTo>
                      <a:pt x="130" y="897"/>
                    </a:lnTo>
                    <a:lnTo>
                      <a:pt x="130" y="892"/>
                    </a:lnTo>
                    <a:lnTo>
                      <a:pt x="130" y="888"/>
                    </a:lnTo>
                    <a:lnTo>
                      <a:pt x="130" y="883"/>
                    </a:lnTo>
                    <a:lnTo>
                      <a:pt x="130" y="878"/>
                    </a:lnTo>
                    <a:lnTo>
                      <a:pt x="130" y="873"/>
                    </a:lnTo>
                    <a:lnTo>
                      <a:pt x="135" y="873"/>
                    </a:lnTo>
                    <a:lnTo>
                      <a:pt x="135" y="868"/>
                    </a:lnTo>
                    <a:lnTo>
                      <a:pt x="139" y="868"/>
                    </a:lnTo>
                    <a:lnTo>
                      <a:pt x="144" y="864"/>
                    </a:lnTo>
                    <a:lnTo>
                      <a:pt x="149" y="859"/>
                    </a:lnTo>
                    <a:lnTo>
                      <a:pt x="154" y="859"/>
                    </a:lnTo>
                    <a:lnTo>
                      <a:pt x="159" y="854"/>
                    </a:lnTo>
                    <a:lnTo>
                      <a:pt x="159" y="849"/>
                    </a:lnTo>
                    <a:lnTo>
                      <a:pt x="163" y="844"/>
                    </a:lnTo>
                    <a:lnTo>
                      <a:pt x="168" y="840"/>
                    </a:lnTo>
                    <a:lnTo>
                      <a:pt x="173" y="840"/>
                    </a:lnTo>
                    <a:lnTo>
                      <a:pt x="178" y="835"/>
                    </a:lnTo>
                    <a:lnTo>
                      <a:pt x="183" y="830"/>
                    </a:lnTo>
                    <a:lnTo>
                      <a:pt x="187" y="825"/>
                    </a:lnTo>
                    <a:lnTo>
                      <a:pt x="192" y="825"/>
                    </a:lnTo>
                    <a:lnTo>
                      <a:pt x="192" y="820"/>
                    </a:lnTo>
                    <a:lnTo>
                      <a:pt x="197" y="816"/>
                    </a:lnTo>
                    <a:lnTo>
                      <a:pt x="202" y="811"/>
                    </a:lnTo>
                    <a:lnTo>
                      <a:pt x="207" y="811"/>
                    </a:lnTo>
                    <a:lnTo>
                      <a:pt x="211" y="806"/>
                    </a:lnTo>
                    <a:lnTo>
                      <a:pt x="216" y="801"/>
                    </a:lnTo>
                    <a:lnTo>
                      <a:pt x="221" y="796"/>
                    </a:lnTo>
                    <a:lnTo>
                      <a:pt x="226" y="796"/>
                    </a:lnTo>
                    <a:lnTo>
                      <a:pt x="226" y="792"/>
                    </a:lnTo>
                    <a:lnTo>
                      <a:pt x="231" y="787"/>
                    </a:lnTo>
                    <a:lnTo>
                      <a:pt x="235" y="782"/>
                    </a:lnTo>
                    <a:lnTo>
                      <a:pt x="240" y="782"/>
                    </a:lnTo>
                    <a:lnTo>
                      <a:pt x="245" y="777"/>
                    </a:lnTo>
                    <a:lnTo>
                      <a:pt x="250" y="772"/>
                    </a:lnTo>
                    <a:lnTo>
                      <a:pt x="255" y="768"/>
                    </a:lnTo>
                    <a:lnTo>
                      <a:pt x="259" y="768"/>
                    </a:lnTo>
                    <a:lnTo>
                      <a:pt x="264" y="763"/>
                    </a:lnTo>
                    <a:lnTo>
                      <a:pt x="264" y="758"/>
                    </a:lnTo>
                    <a:lnTo>
                      <a:pt x="269" y="753"/>
                    </a:lnTo>
                    <a:lnTo>
                      <a:pt x="274" y="753"/>
                    </a:lnTo>
                    <a:lnTo>
                      <a:pt x="279" y="753"/>
                    </a:lnTo>
                    <a:lnTo>
                      <a:pt x="283" y="753"/>
                    </a:lnTo>
                    <a:lnTo>
                      <a:pt x="288" y="748"/>
                    </a:lnTo>
                    <a:lnTo>
                      <a:pt x="293" y="748"/>
                    </a:lnTo>
                    <a:lnTo>
                      <a:pt x="298" y="744"/>
                    </a:lnTo>
                    <a:lnTo>
                      <a:pt x="303" y="739"/>
                    </a:lnTo>
                    <a:lnTo>
                      <a:pt x="307" y="734"/>
                    </a:lnTo>
                    <a:lnTo>
                      <a:pt x="312" y="729"/>
                    </a:lnTo>
                    <a:lnTo>
                      <a:pt x="317" y="724"/>
                    </a:lnTo>
                    <a:lnTo>
                      <a:pt x="322" y="720"/>
                    </a:lnTo>
                    <a:lnTo>
                      <a:pt x="322" y="715"/>
                    </a:lnTo>
                    <a:lnTo>
                      <a:pt x="327" y="710"/>
                    </a:lnTo>
                    <a:lnTo>
                      <a:pt x="331" y="710"/>
                    </a:lnTo>
                    <a:lnTo>
                      <a:pt x="336" y="705"/>
                    </a:lnTo>
                    <a:lnTo>
                      <a:pt x="341" y="700"/>
                    </a:lnTo>
                    <a:lnTo>
                      <a:pt x="346" y="696"/>
                    </a:lnTo>
                    <a:lnTo>
                      <a:pt x="351" y="691"/>
                    </a:lnTo>
                    <a:lnTo>
                      <a:pt x="355" y="686"/>
                    </a:lnTo>
                    <a:lnTo>
                      <a:pt x="355" y="681"/>
                    </a:lnTo>
                    <a:lnTo>
                      <a:pt x="360" y="681"/>
                    </a:lnTo>
                    <a:lnTo>
                      <a:pt x="360" y="676"/>
                    </a:lnTo>
                    <a:lnTo>
                      <a:pt x="365" y="676"/>
                    </a:lnTo>
                    <a:lnTo>
                      <a:pt x="370" y="676"/>
                    </a:lnTo>
                    <a:lnTo>
                      <a:pt x="375" y="672"/>
                    </a:lnTo>
                    <a:lnTo>
                      <a:pt x="379" y="672"/>
                    </a:lnTo>
                    <a:lnTo>
                      <a:pt x="384" y="672"/>
                    </a:lnTo>
                    <a:lnTo>
                      <a:pt x="389" y="672"/>
                    </a:lnTo>
                    <a:lnTo>
                      <a:pt x="394" y="672"/>
                    </a:lnTo>
                    <a:lnTo>
                      <a:pt x="399" y="672"/>
                    </a:lnTo>
                    <a:lnTo>
                      <a:pt x="403" y="672"/>
                    </a:lnTo>
                    <a:lnTo>
                      <a:pt x="408" y="672"/>
                    </a:lnTo>
                    <a:lnTo>
                      <a:pt x="413" y="672"/>
                    </a:lnTo>
                    <a:lnTo>
                      <a:pt x="418" y="672"/>
                    </a:lnTo>
                    <a:lnTo>
                      <a:pt x="423" y="672"/>
                    </a:lnTo>
                    <a:lnTo>
                      <a:pt x="427" y="672"/>
                    </a:lnTo>
                    <a:lnTo>
                      <a:pt x="432" y="672"/>
                    </a:lnTo>
                    <a:lnTo>
                      <a:pt x="437" y="672"/>
                    </a:lnTo>
                    <a:lnTo>
                      <a:pt x="442" y="672"/>
                    </a:lnTo>
                    <a:lnTo>
                      <a:pt x="442" y="676"/>
                    </a:lnTo>
                    <a:lnTo>
                      <a:pt x="447" y="676"/>
                    </a:lnTo>
                    <a:lnTo>
                      <a:pt x="451" y="676"/>
                    </a:lnTo>
                    <a:lnTo>
                      <a:pt x="456" y="676"/>
                    </a:lnTo>
                    <a:lnTo>
                      <a:pt x="461" y="676"/>
                    </a:lnTo>
                    <a:lnTo>
                      <a:pt x="466" y="676"/>
                    </a:lnTo>
                    <a:lnTo>
                      <a:pt x="471" y="676"/>
                    </a:lnTo>
                    <a:lnTo>
                      <a:pt x="475" y="676"/>
                    </a:lnTo>
                    <a:lnTo>
                      <a:pt x="480" y="676"/>
                    </a:lnTo>
                    <a:lnTo>
                      <a:pt x="485" y="676"/>
                    </a:lnTo>
                    <a:lnTo>
                      <a:pt x="490" y="676"/>
                    </a:lnTo>
                    <a:lnTo>
                      <a:pt x="495" y="672"/>
                    </a:lnTo>
                    <a:lnTo>
                      <a:pt x="495" y="667"/>
                    </a:lnTo>
                    <a:lnTo>
                      <a:pt x="499" y="662"/>
                    </a:lnTo>
                    <a:lnTo>
                      <a:pt x="499" y="657"/>
                    </a:lnTo>
                    <a:lnTo>
                      <a:pt x="504" y="652"/>
                    </a:lnTo>
                    <a:lnTo>
                      <a:pt x="504" y="648"/>
                    </a:lnTo>
                    <a:lnTo>
                      <a:pt x="509" y="643"/>
                    </a:lnTo>
                    <a:lnTo>
                      <a:pt x="509" y="638"/>
                    </a:lnTo>
                    <a:lnTo>
                      <a:pt x="514" y="638"/>
                    </a:lnTo>
                    <a:lnTo>
                      <a:pt x="519" y="633"/>
                    </a:lnTo>
                    <a:lnTo>
                      <a:pt x="519" y="628"/>
                    </a:lnTo>
                    <a:lnTo>
                      <a:pt x="523" y="624"/>
                    </a:lnTo>
                    <a:lnTo>
                      <a:pt x="523" y="619"/>
                    </a:lnTo>
                    <a:lnTo>
                      <a:pt x="528" y="614"/>
                    </a:lnTo>
                    <a:lnTo>
                      <a:pt x="533" y="609"/>
                    </a:lnTo>
                    <a:lnTo>
                      <a:pt x="538" y="609"/>
                    </a:lnTo>
                    <a:lnTo>
                      <a:pt x="543" y="609"/>
                    </a:lnTo>
                    <a:lnTo>
                      <a:pt x="547" y="604"/>
                    </a:lnTo>
                    <a:lnTo>
                      <a:pt x="552" y="604"/>
                    </a:lnTo>
                    <a:lnTo>
                      <a:pt x="552" y="600"/>
                    </a:lnTo>
                    <a:lnTo>
                      <a:pt x="557" y="600"/>
                    </a:lnTo>
                    <a:lnTo>
                      <a:pt x="562" y="600"/>
                    </a:lnTo>
                    <a:lnTo>
                      <a:pt x="562" y="595"/>
                    </a:lnTo>
                    <a:lnTo>
                      <a:pt x="557" y="595"/>
                    </a:lnTo>
                    <a:lnTo>
                      <a:pt x="557" y="590"/>
                    </a:lnTo>
                    <a:lnTo>
                      <a:pt x="552" y="590"/>
                    </a:lnTo>
                    <a:lnTo>
                      <a:pt x="547" y="590"/>
                    </a:lnTo>
                    <a:lnTo>
                      <a:pt x="543" y="585"/>
                    </a:lnTo>
                    <a:lnTo>
                      <a:pt x="538" y="585"/>
                    </a:lnTo>
                    <a:lnTo>
                      <a:pt x="533" y="585"/>
                    </a:lnTo>
                    <a:lnTo>
                      <a:pt x="533" y="580"/>
                    </a:lnTo>
                    <a:lnTo>
                      <a:pt x="528" y="580"/>
                    </a:lnTo>
                    <a:lnTo>
                      <a:pt x="523" y="580"/>
                    </a:lnTo>
                    <a:lnTo>
                      <a:pt x="519" y="580"/>
                    </a:lnTo>
                    <a:lnTo>
                      <a:pt x="514" y="580"/>
                    </a:lnTo>
                    <a:lnTo>
                      <a:pt x="509" y="580"/>
                    </a:lnTo>
                    <a:lnTo>
                      <a:pt x="504" y="580"/>
                    </a:lnTo>
                    <a:lnTo>
                      <a:pt x="499" y="585"/>
                    </a:lnTo>
                    <a:lnTo>
                      <a:pt x="499" y="580"/>
                    </a:lnTo>
                    <a:lnTo>
                      <a:pt x="495" y="580"/>
                    </a:lnTo>
                    <a:lnTo>
                      <a:pt x="490" y="580"/>
                    </a:lnTo>
                    <a:lnTo>
                      <a:pt x="485" y="580"/>
                    </a:lnTo>
                    <a:lnTo>
                      <a:pt x="485" y="576"/>
                    </a:lnTo>
                    <a:lnTo>
                      <a:pt x="485" y="571"/>
                    </a:lnTo>
                    <a:lnTo>
                      <a:pt x="485" y="566"/>
                    </a:lnTo>
                    <a:lnTo>
                      <a:pt x="490" y="566"/>
                    </a:lnTo>
                    <a:lnTo>
                      <a:pt x="490" y="561"/>
                    </a:lnTo>
                    <a:lnTo>
                      <a:pt x="485" y="561"/>
                    </a:lnTo>
                    <a:lnTo>
                      <a:pt x="480" y="561"/>
                    </a:lnTo>
                    <a:lnTo>
                      <a:pt x="475" y="561"/>
                    </a:lnTo>
                    <a:lnTo>
                      <a:pt x="475" y="556"/>
                    </a:lnTo>
                    <a:lnTo>
                      <a:pt x="471" y="556"/>
                    </a:lnTo>
                    <a:lnTo>
                      <a:pt x="466" y="556"/>
                    </a:lnTo>
                    <a:lnTo>
                      <a:pt x="461" y="556"/>
                    </a:lnTo>
                    <a:lnTo>
                      <a:pt x="456" y="556"/>
                    </a:lnTo>
                    <a:lnTo>
                      <a:pt x="451" y="552"/>
                    </a:lnTo>
                    <a:lnTo>
                      <a:pt x="451" y="547"/>
                    </a:lnTo>
                    <a:lnTo>
                      <a:pt x="447" y="547"/>
                    </a:lnTo>
                    <a:lnTo>
                      <a:pt x="447" y="542"/>
                    </a:lnTo>
                    <a:lnTo>
                      <a:pt x="442" y="542"/>
                    </a:lnTo>
                    <a:lnTo>
                      <a:pt x="437" y="542"/>
                    </a:lnTo>
                    <a:lnTo>
                      <a:pt x="432" y="542"/>
                    </a:lnTo>
                    <a:lnTo>
                      <a:pt x="427" y="542"/>
                    </a:lnTo>
                    <a:lnTo>
                      <a:pt x="423" y="542"/>
                    </a:lnTo>
                    <a:lnTo>
                      <a:pt x="423" y="537"/>
                    </a:lnTo>
                    <a:lnTo>
                      <a:pt x="423" y="532"/>
                    </a:lnTo>
                    <a:lnTo>
                      <a:pt x="418" y="532"/>
                    </a:lnTo>
                    <a:lnTo>
                      <a:pt x="413" y="532"/>
                    </a:lnTo>
                    <a:lnTo>
                      <a:pt x="408" y="532"/>
                    </a:lnTo>
                    <a:lnTo>
                      <a:pt x="403" y="532"/>
                    </a:lnTo>
                    <a:lnTo>
                      <a:pt x="403" y="528"/>
                    </a:lnTo>
                    <a:lnTo>
                      <a:pt x="403" y="523"/>
                    </a:lnTo>
                    <a:lnTo>
                      <a:pt x="399" y="523"/>
                    </a:lnTo>
                    <a:lnTo>
                      <a:pt x="399" y="518"/>
                    </a:lnTo>
                    <a:lnTo>
                      <a:pt x="399" y="513"/>
                    </a:lnTo>
                    <a:lnTo>
                      <a:pt x="399" y="508"/>
                    </a:lnTo>
                    <a:lnTo>
                      <a:pt x="394" y="508"/>
                    </a:lnTo>
                    <a:close/>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49" name="Freeform 17"/>
              <p:cNvSpPr>
                <a:spLocks noEditPoints="1"/>
              </p:cNvSpPr>
              <p:nvPr/>
            </p:nvSpPr>
            <p:spPr bwMode="gray">
              <a:xfrm>
                <a:off x="5962651" y="3092450"/>
                <a:ext cx="1096963" cy="1339850"/>
              </a:xfrm>
              <a:custGeom>
                <a:avLst/>
                <a:gdLst>
                  <a:gd name="T0" fmla="*/ 62 w 691"/>
                  <a:gd name="T1" fmla="*/ 9 h 844"/>
                  <a:gd name="T2" fmla="*/ 115 w 691"/>
                  <a:gd name="T3" fmla="*/ 14 h 844"/>
                  <a:gd name="T4" fmla="*/ 167 w 691"/>
                  <a:gd name="T5" fmla="*/ 19 h 844"/>
                  <a:gd name="T6" fmla="*/ 220 w 691"/>
                  <a:gd name="T7" fmla="*/ 4 h 844"/>
                  <a:gd name="T8" fmla="*/ 283 w 691"/>
                  <a:gd name="T9" fmla="*/ 19 h 844"/>
                  <a:gd name="T10" fmla="*/ 321 w 691"/>
                  <a:gd name="T11" fmla="*/ 48 h 844"/>
                  <a:gd name="T12" fmla="*/ 326 w 691"/>
                  <a:gd name="T13" fmla="*/ 100 h 844"/>
                  <a:gd name="T14" fmla="*/ 340 w 691"/>
                  <a:gd name="T15" fmla="*/ 153 h 844"/>
                  <a:gd name="T16" fmla="*/ 340 w 691"/>
                  <a:gd name="T17" fmla="*/ 192 h 844"/>
                  <a:gd name="T18" fmla="*/ 364 w 691"/>
                  <a:gd name="T19" fmla="*/ 196 h 844"/>
                  <a:gd name="T20" fmla="*/ 388 w 691"/>
                  <a:gd name="T21" fmla="*/ 196 h 844"/>
                  <a:gd name="T22" fmla="*/ 427 w 691"/>
                  <a:gd name="T23" fmla="*/ 230 h 844"/>
                  <a:gd name="T24" fmla="*/ 431 w 691"/>
                  <a:gd name="T25" fmla="*/ 307 h 844"/>
                  <a:gd name="T26" fmla="*/ 556 w 691"/>
                  <a:gd name="T27" fmla="*/ 364 h 844"/>
                  <a:gd name="T28" fmla="*/ 561 w 691"/>
                  <a:gd name="T29" fmla="*/ 417 h 844"/>
                  <a:gd name="T30" fmla="*/ 532 w 691"/>
                  <a:gd name="T31" fmla="*/ 436 h 844"/>
                  <a:gd name="T32" fmla="*/ 513 w 691"/>
                  <a:gd name="T33" fmla="*/ 465 h 844"/>
                  <a:gd name="T34" fmla="*/ 499 w 691"/>
                  <a:gd name="T35" fmla="*/ 480 h 844"/>
                  <a:gd name="T36" fmla="*/ 484 w 691"/>
                  <a:gd name="T37" fmla="*/ 532 h 844"/>
                  <a:gd name="T38" fmla="*/ 484 w 691"/>
                  <a:gd name="T39" fmla="*/ 590 h 844"/>
                  <a:gd name="T40" fmla="*/ 475 w 691"/>
                  <a:gd name="T41" fmla="*/ 628 h 844"/>
                  <a:gd name="T42" fmla="*/ 499 w 691"/>
                  <a:gd name="T43" fmla="*/ 609 h 844"/>
                  <a:gd name="T44" fmla="*/ 532 w 691"/>
                  <a:gd name="T45" fmla="*/ 648 h 844"/>
                  <a:gd name="T46" fmla="*/ 527 w 691"/>
                  <a:gd name="T47" fmla="*/ 691 h 844"/>
                  <a:gd name="T48" fmla="*/ 513 w 691"/>
                  <a:gd name="T49" fmla="*/ 744 h 844"/>
                  <a:gd name="T50" fmla="*/ 431 w 691"/>
                  <a:gd name="T51" fmla="*/ 792 h 844"/>
                  <a:gd name="T52" fmla="*/ 374 w 691"/>
                  <a:gd name="T53" fmla="*/ 801 h 844"/>
                  <a:gd name="T54" fmla="*/ 326 w 691"/>
                  <a:gd name="T55" fmla="*/ 825 h 844"/>
                  <a:gd name="T56" fmla="*/ 287 w 691"/>
                  <a:gd name="T57" fmla="*/ 844 h 844"/>
                  <a:gd name="T58" fmla="*/ 244 w 691"/>
                  <a:gd name="T59" fmla="*/ 806 h 844"/>
                  <a:gd name="T60" fmla="*/ 177 w 691"/>
                  <a:gd name="T61" fmla="*/ 777 h 844"/>
                  <a:gd name="T62" fmla="*/ 115 w 691"/>
                  <a:gd name="T63" fmla="*/ 744 h 844"/>
                  <a:gd name="T64" fmla="*/ 57 w 691"/>
                  <a:gd name="T65" fmla="*/ 715 h 844"/>
                  <a:gd name="T66" fmla="*/ 19 w 691"/>
                  <a:gd name="T67" fmla="*/ 672 h 844"/>
                  <a:gd name="T68" fmla="*/ 33 w 691"/>
                  <a:gd name="T69" fmla="*/ 633 h 844"/>
                  <a:gd name="T70" fmla="*/ 38 w 691"/>
                  <a:gd name="T71" fmla="*/ 566 h 844"/>
                  <a:gd name="T72" fmla="*/ 86 w 691"/>
                  <a:gd name="T73" fmla="*/ 561 h 844"/>
                  <a:gd name="T74" fmla="*/ 153 w 691"/>
                  <a:gd name="T75" fmla="*/ 571 h 844"/>
                  <a:gd name="T76" fmla="*/ 187 w 691"/>
                  <a:gd name="T77" fmla="*/ 547 h 844"/>
                  <a:gd name="T78" fmla="*/ 191 w 691"/>
                  <a:gd name="T79" fmla="*/ 480 h 844"/>
                  <a:gd name="T80" fmla="*/ 215 w 691"/>
                  <a:gd name="T81" fmla="*/ 436 h 844"/>
                  <a:gd name="T82" fmla="*/ 239 w 691"/>
                  <a:gd name="T83" fmla="*/ 393 h 844"/>
                  <a:gd name="T84" fmla="*/ 187 w 691"/>
                  <a:gd name="T85" fmla="*/ 360 h 844"/>
                  <a:gd name="T86" fmla="*/ 206 w 691"/>
                  <a:gd name="T87" fmla="*/ 312 h 844"/>
                  <a:gd name="T88" fmla="*/ 158 w 691"/>
                  <a:gd name="T89" fmla="*/ 283 h 844"/>
                  <a:gd name="T90" fmla="*/ 105 w 691"/>
                  <a:gd name="T91" fmla="*/ 264 h 844"/>
                  <a:gd name="T92" fmla="*/ 67 w 691"/>
                  <a:gd name="T93" fmla="*/ 235 h 844"/>
                  <a:gd name="T94" fmla="*/ 67 w 691"/>
                  <a:gd name="T95" fmla="*/ 168 h 844"/>
                  <a:gd name="T96" fmla="*/ 47 w 691"/>
                  <a:gd name="T97" fmla="*/ 115 h 844"/>
                  <a:gd name="T98" fmla="*/ 19 w 691"/>
                  <a:gd name="T99" fmla="*/ 62 h 844"/>
                  <a:gd name="T100" fmla="*/ 575 w 691"/>
                  <a:gd name="T101" fmla="*/ 676 h 844"/>
                  <a:gd name="T102" fmla="*/ 623 w 691"/>
                  <a:gd name="T103" fmla="*/ 648 h 844"/>
                  <a:gd name="T104" fmla="*/ 652 w 691"/>
                  <a:gd name="T105" fmla="*/ 624 h 844"/>
                  <a:gd name="T106" fmla="*/ 657 w 691"/>
                  <a:gd name="T107" fmla="*/ 609 h 844"/>
                  <a:gd name="T108" fmla="*/ 671 w 691"/>
                  <a:gd name="T109" fmla="*/ 633 h 844"/>
                  <a:gd name="T110" fmla="*/ 628 w 691"/>
                  <a:gd name="T111" fmla="*/ 672 h 844"/>
                  <a:gd name="T112" fmla="*/ 580 w 691"/>
                  <a:gd name="T113" fmla="*/ 676 h 844"/>
                  <a:gd name="T114" fmla="*/ 643 w 691"/>
                  <a:gd name="T115" fmla="*/ 696 h 844"/>
                  <a:gd name="T116" fmla="*/ 518 w 691"/>
                  <a:gd name="T117" fmla="*/ 508 h 844"/>
                  <a:gd name="T118" fmla="*/ 484 w 691"/>
                  <a:gd name="T119" fmla="*/ 633 h 844"/>
                  <a:gd name="T120" fmla="*/ 686 w 691"/>
                  <a:gd name="T121" fmla="*/ 340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1" h="844">
                    <a:moveTo>
                      <a:pt x="0" y="19"/>
                    </a:moveTo>
                    <a:lnTo>
                      <a:pt x="4" y="19"/>
                    </a:lnTo>
                    <a:lnTo>
                      <a:pt x="9" y="19"/>
                    </a:lnTo>
                    <a:lnTo>
                      <a:pt x="14" y="19"/>
                    </a:lnTo>
                    <a:lnTo>
                      <a:pt x="19" y="14"/>
                    </a:lnTo>
                    <a:lnTo>
                      <a:pt x="24" y="14"/>
                    </a:lnTo>
                    <a:lnTo>
                      <a:pt x="28" y="14"/>
                    </a:lnTo>
                    <a:lnTo>
                      <a:pt x="33" y="14"/>
                    </a:lnTo>
                    <a:lnTo>
                      <a:pt x="38" y="14"/>
                    </a:lnTo>
                    <a:lnTo>
                      <a:pt x="43" y="14"/>
                    </a:lnTo>
                    <a:lnTo>
                      <a:pt x="47" y="9"/>
                    </a:lnTo>
                    <a:lnTo>
                      <a:pt x="52" y="9"/>
                    </a:lnTo>
                    <a:lnTo>
                      <a:pt x="57" y="9"/>
                    </a:lnTo>
                    <a:lnTo>
                      <a:pt x="62" y="9"/>
                    </a:lnTo>
                    <a:lnTo>
                      <a:pt x="67" y="9"/>
                    </a:lnTo>
                    <a:lnTo>
                      <a:pt x="71" y="4"/>
                    </a:lnTo>
                    <a:lnTo>
                      <a:pt x="76" y="4"/>
                    </a:lnTo>
                    <a:lnTo>
                      <a:pt x="81" y="4"/>
                    </a:lnTo>
                    <a:lnTo>
                      <a:pt x="86" y="4"/>
                    </a:lnTo>
                    <a:lnTo>
                      <a:pt x="91" y="4"/>
                    </a:lnTo>
                    <a:lnTo>
                      <a:pt x="91" y="0"/>
                    </a:lnTo>
                    <a:lnTo>
                      <a:pt x="95" y="0"/>
                    </a:lnTo>
                    <a:lnTo>
                      <a:pt x="100" y="0"/>
                    </a:lnTo>
                    <a:lnTo>
                      <a:pt x="100" y="4"/>
                    </a:lnTo>
                    <a:lnTo>
                      <a:pt x="105" y="4"/>
                    </a:lnTo>
                    <a:lnTo>
                      <a:pt x="105" y="9"/>
                    </a:lnTo>
                    <a:lnTo>
                      <a:pt x="110" y="9"/>
                    </a:lnTo>
                    <a:lnTo>
                      <a:pt x="115" y="14"/>
                    </a:lnTo>
                    <a:lnTo>
                      <a:pt x="119" y="14"/>
                    </a:lnTo>
                    <a:lnTo>
                      <a:pt x="124" y="14"/>
                    </a:lnTo>
                    <a:lnTo>
                      <a:pt x="124" y="19"/>
                    </a:lnTo>
                    <a:lnTo>
                      <a:pt x="129" y="19"/>
                    </a:lnTo>
                    <a:lnTo>
                      <a:pt x="134" y="19"/>
                    </a:lnTo>
                    <a:lnTo>
                      <a:pt x="134" y="24"/>
                    </a:lnTo>
                    <a:lnTo>
                      <a:pt x="139" y="24"/>
                    </a:lnTo>
                    <a:lnTo>
                      <a:pt x="143" y="24"/>
                    </a:lnTo>
                    <a:lnTo>
                      <a:pt x="148" y="24"/>
                    </a:lnTo>
                    <a:lnTo>
                      <a:pt x="153" y="24"/>
                    </a:lnTo>
                    <a:lnTo>
                      <a:pt x="158" y="24"/>
                    </a:lnTo>
                    <a:lnTo>
                      <a:pt x="158" y="19"/>
                    </a:lnTo>
                    <a:lnTo>
                      <a:pt x="163" y="19"/>
                    </a:lnTo>
                    <a:lnTo>
                      <a:pt x="167" y="19"/>
                    </a:lnTo>
                    <a:lnTo>
                      <a:pt x="172" y="19"/>
                    </a:lnTo>
                    <a:lnTo>
                      <a:pt x="177" y="14"/>
                    </a:lnTo>
                    <a:lnTo>
                      <a:pt x="182" y="14"/>
                    </a:lnTo>
                    <a:lnTo>
                      <a:pt x="187" y="14"/>
                    </a:lnTo>
                    <a:lnTo>
                      <a:pt x="187" y="9"/>
                    </a:lnTo>
                    <a:lnTo>
                      <a:pt x="191" y="9"/>
                    </a:lnTo>
                    <a:lnTo>
                      <a:pt x="196" y="9"/>
                    </a:lnTo>
                    <a:lnTo>
                      <a:pt x="196" y="4"/>
                    </a:lnTo>
                    <a:lnTo>
                      <a:pt x="201" y="4"/>
                    </a:lnTo>
                    <a:lnTo>
                      <a:pt x="206" y="4"/>
                    </a:lnTo>
                    <a:lnTo>
                      <a:pt x="211" y="0"/>
                    </a:lnTo>
                    <a:lnTo>
                      <a:pt x="215" y="0"/>
                    </a:lnTo>
                    <a:lnTo>
                      <a:pt x="220" y="0"/>
                    </a:lnTo>
                    <a:lnTo>
                      <a:pt x="220" y="4"/>
                    </a:lnTo>
                    <a:lnTo>
                      <a:pt x="225" y="4"/>
                    </a:lnTo>
                    <a:lnTo>
                      <a:pt x="230" y="4"/>
                    </a:lnTo>
                    <a:lnTo>
                      <a:pt x="235" y="4"/>
                    </a:lnTo>
                    <a:lnTo>
                      <a:pt x="239" y="4"/>
                    </a:lnTo>
                    <a:lnTo>
                      <a:pt x="244" y="4"/>
                    </a:lnTo>
                    <a:lnTo>
                      <a:pt x="249" y="9"/>
                    </a:lnTo>
                    <a:lnTo>
                      <a:pt x="254" y="9"/>
                    </a:lnTo>
                    <a:lnTo>
                      <a:pt x="259" y="9"/>
                    </a:lnTo>
                    <a:lnTo>
                      <a:pt x="263" y="14"/>
                    </a:lnTo>
                    <a:lnTo>
                      <a:pt x="268" y="14"/>
                    </a:lnTo>
                    <a:lnTo>
                      <a:pt x="273" y="14"/>
                    </a:lnTo>
                    <a:lnTo>
                      <a:pt x="278" y="14"/>
                    </a:lnTo>
                    <a:lnTo>
                      <a:pt x="278" y="19"/>
                    </a:lnTo>
                    <a:lnTo>
                      <a:pt x="283" y="19"/>
                    </a:lnTo>
                    <a:lnTo>
                      <a:pt x="287" y="19"/>
                    </a:lnTo>
                    <a:lnTo>
                      <a:pt x="292" y="19"/>
                    </a:lnTo>
                    <a:lnTo>
                      <a:pt x="292" y="24"/>
                    </a:lnTo>
                    <a:lnTo>
                      <a:pt x="297" y="24"/>
                    </a:lnTo>
                    <a:lnTo>
                      <a:pt x="302" y="24"/>
                    </a:lnTo>
                    <a:lnTo>
                      <a:pt x="307" y="28"/>
                    </a:lnTo>
                    <a:lnTo>
                      <a:pt x="311" y="28"/>
                    </a:lnTo>
                    <a:lnTo>
                      <a:pt x="311" y="33"/>
                    </a:lnTo>
                    <a:lnTo>
                      <a:pt x="316" y="33"/>
                    </a:lnTo>
                    <a:lnTo>
                      <a:pt x="321" y="33"/>
                    </a:lnTo>
                    <a:lnTo>
                      <a:pt x="321" y="38"/>
                    </a:lnTo>
                    <a:lnTo>
                      <a:pt x="326" y="38"/>
                    </a:lnTo>
                    <a:lnTo>
                      <a:pt x="326" y="43"/>
                    </a:lnTo>
                    <a:lnTo>
                      <a:pt x="321" y="48"/>
                    </a:lnTo>
                    <a:lnTo>
                      <a:pt x="321" y="52"/>
                    </a:lnTo>
                    <a:lnTo>
                      <a:pt x="321" y="57"/>
                    </a:lnTo>
                    <a:lnTo>
                      <a:pt x="316" y="62"/>
                    </a:lnTo>
                    <a:lnTo>
                      <a:pt x="316" y="67"/>
                    </a:lnTo>
                    <a:lnTo>
                      <a:pt x="321" y="67"/>
                    </a:lnTo>
                    <a:lnTo>
                      <a:pt x="321" y="72"/>
                    </a:lnTo>
                    <a:lnTo>
                      <a:pt x="321" y="76"/>
                    </a:lnTo>
                    <a:lnTo>
                      <a:pt x="326" y="81"/>
                    </a:lnTo>
                    <a:lnTo>
                      <a:pt x="326" y="86"/>
                    </a:lnTo>
                    <a:lnTo>
                      <a:pt x="331" y="86"/>
                    </a:lnTo>
                    <a:lnTo>
                      <a:pt x="331" y="91"/>
                    </a:lnTo>
                    <a:lnTo>
                      <a:pt x="331" y="96"/>
                    </a:lnTo>
                    <a:lnTo>
                      <a:pt x="326" y="96"/>
                    </a:lnTo>
                    <a:lnTo>
                      <a:pt x="326" y="100"/>
                    </a:lnTo>
                    <a:lnTo>
                      <a:pt x="331" y="96"/>
                    </a:lnTo>
                    <a:lnTo>
                      <a:pt x="331" y="91"/>
                    </a:lnTo>
                    <a:lnTo>
                      <a:pt x="335" y="96"/>
                    </a:lnTo>
                    <a:lnTo>
                      <a:pt x="340" y="105"/>
                    </a:lnTo>
                    <a:lnTo>
                      <a:pt x="345" y="105"/>
                    </a:lnTo>
                    <a:lnTo>
                      <a:pt x="345" y="120"/>
                    </a:lnTo>
                    <a:lnTo>
                      <a:pt x="345" y="124"/>
                    </a:lnTo>
                    <a:lnTo>
                      <a:pt x="345" y="129"/>
                    </a:lnTo>
                    <a:lnTo>
                      <a:pt x="340" y="129"/>
                    </a:lnTo>
                    <a:lnTo>
                      <a:pt x="340" y="134"/>
                    </a:lnTo>
                    <a:lnTo>
                      <a:pt x="345" y="134"/>
                    </a:lnTo>
                    <a:lnTo>
                      <a:pt x="340" y="139"/>
                    </a:lnTo>
                    <a:lnTo>
                      <a:pt x="340" y="148"/>
                    </a:lnTo>
                    <a:lnTo>
                      <a:pt x="340" y="153"/>
                    </a:lnTo>
                    <a:lnTo>
                      <a:pt x="340" y="158"/>
                    </a:lnTo>
                    <a:lnTo>
                      <a:pt x="340" y="163"/>
                    </a:lnTo>
                    <a:lnTo>
                      <a:pt x="345" y="168"/>
                    </a:lnTo>
                    <a:lnTo>
                      <a:pt x="345" y="172"/>
                    </a:lnTo>
                    <a:lnTo>
                      <a:pt x="340" y="177"/>
                    </a:lnTo>
                    <a:lnTo>
                      <a:pt x="345" y="177"/>
                    </a:lnTo>
                    <a:lnTo>
                      <a:pt x="345" y="182"/>
                    </a:lnTo>
                    <a:lnTo>
                      <a:pt x="340" y="177"/>
                    </a:lnTo>
                    <a:lnTo>
                      <a:pt x="335" y="182"/>
                    </a:lnTo>
                    <a:lnTo>
                      <a:pt x="335" y="187"/>
                    </a:lnTo>
                    <a:lnTo>
                      <a:pt x="335" y="192"/>
                    </a:lnTo>
                    <a:lnTo>
                      <a:pt x="340" y="192"/>
                    </a:lnTo>
                    <a:lnTo>
                      <a:pt x="340" y="196"/>
                    </a:lnTo>
                    <a:lnTo>
                      <a:pt x="340" y="192"/>
                    </a:lnTo>
                    <a:lnTo>
                      <a:pt x="335" y="192"/>
                    </a:lnTo>
                    <a:lnTo>
                      <a:pt x="335" y="187"/>
                    </a:lnTo>
                    <a:lnTo>
                      <a:pt x="340" y="187"/>
                    </a:lnTo>
                    <a:lnTo>
                      <a:pt x="335" y="187"/>
                    </a:lnTo>
                    <a:lnTo>
                      <a:pt x="340" y="182"/>
                    </a:lnTo>
                    <a:lnTo>
                      <a:pt x="345" y="182"/>
                    </a:lnTo>
                    <a:lnTo>
                      <a:pt x="345" y="177"/>
                    </a:lnTo>
                    <a:lnTo>
                      <a:pt x="345" y="172"/>
                    </a:lnTo>
                    <a:lnTo>
                      <a:pt x="350" y="177"/>
                    </a:lnTo>
                    <a:lnTo>
                      <a:pt x="355" y="182"/>
                    </a:lnTo>
                    <a:lnTo>
                      <a:pt x="359" y="187"/>
                    </a:lnTo>
                    <a:lnTo>
                      <a:pt x="359" y="192"/>
                    </a:lnTo>
                    <a:lnTo>
                      <a:pt x="359" y="196"/>
                    </a:lnTo>
                    <a:lnTo>
                      <a:pt x="364" y="196"/>
                    </a:lnTo>
                    <a:lnTo>
                      <a:pt x="369" y="196"/>
                    </a:lnTo>
                    <a:lnTo>
                      <a:pt x="374" y="196"/>
                    </a:lnTo>
                    <a:lnTo>
                      <a:pt x="379" y="201"/>
                    </a:lnTo>
                    <a:lnTo>
                      <a:pt x="383" y="201"/>
                    </a:lnTo>
                    <a:lnTo>
                      <a:pt x="388" y="201"/>
                    </a:lnTo>
                    <a:lnTo>
                      <a:pt x="393" y="206"/>
                    </a:lnTo>
                    <a:lnTo>
                      <a:pt x="398" y="211"/>
                    </a:lnTo>
                    <a:lnTo>
                      <a:pt x="403" y="206"/>
                    </a:lnTo>
                    <a:lnTo>
                      <a:pt x="407" y="206"/>
                    </a:lnTo>
                    <a:lnTo>
                      <a:pt x="403" y="206"/>
                    </a:lnTo>
                    <a:lnTo>
                      <a:pt x="403" y="201"/>
                    </a:lnTo>
                    <a:lnTo>
                      <a:pt x="398" y="201"/>
                    </a:lnTo>
                    <a:lnTo>
                      <a:pt x="393" y="201"/>
                    </a:lnTo>
                    <a:lnTo>
                      <a:pt x="388" y="196"/>
                    </a:lnTo>
                    <a:lnTo>
                      <a:pt x="383" y="196"/>
                    </a:lnTo>
                    <a:lnTo>
                      <a:pt x="379" y="196"/>
                    </a:lnTo>
                    <a:lnTo>
                      <a:pt x="383" y="196"/>
                    </a:lnTo>
                    <a:lnTo>
                      <a:pt x="388" y="196"/>
                    </a:lnTo>
                    <a:lnTo>
                      <a:pt x="393" y="196"/>
                    </a:lnTo>
                    <a:lnTo>
                      <a:pt x="398" y="201"/>
                    </a:lnTo>
                    <a:lnTo>
                      <a:pt x="403" y="201"/>
                    </a:lnTo>
                    <a:lnTo>
                      <a:pt x="407" y="206"/>
                    </a:lnTo>
                    <a:lnTo>
                      <a:pt x="407" y="211"/>
                    </a:lnTo>
                    <a:lnTo>
                      <a:pt x="412" y="211"/>
                    </a:lnTo>
                    <a:lnTo>
                      <a:pt x="417" y="216"/>
                    </a:lnTo>
                    <a:lnTo>
                      <a:pt x="417" y="220"/>
                    </a:lnTo>
                    <a:lnTo>
                      <a:pt x="422" y="225"/>
                    </a:lnTo>
                    <a:lnTo>
                      <a:pt x="427" y="230"/>
                    </a:lnTo>
                    <a:lnTo>
                      <a:pt x="427" y="235"/>
                    </a:lnTo>
                    <a:lnTo>
                      <a:pt x="431" y="235"/>
                    </a:lnTo>
                    <a:lnTo>
                      <a:pt x="436" y="235"/>
                    </a:lnTo>
                    <a:lnTo>
                      <a:pt x="441" y="244"/>
                    </a:lnTo>
                    <a:lnTo>
                      <a:pt x="446" y="249"/>
                    </a:lnTo>
                    <a:lnTo>
                      <a:pt x="446" y="254"/>
                    </a:lnTo>
                    <a:lnTo>
                      <a:pt x="451" y="254"/>
                    </a:lnTo>
                    <a:lnTo>
                      <a:pt x="455" y="254"/>
                    </a:lnTo>
                    <a:lnTo>
                      <a:pt x="455" y="259"/>
                    </a:lnTo>
                    <a:lnTo>
                      <a:pt x="436" y="278"/>
                    </a:lnTo>
                    <a:lnTo>
                      <a:pt x="431" y="288"/>
                    </a:lnTo>
                    <a:lnTo>
                      <a:pt x="431" y="292"/>
                    </a:lnTo>
                    <a:lnTo>
                      <a:pt x="431" y="297"/>
                    </a:lnTo>
                    <a:lnTo>
                      <a:pt x="431" y="307"/>
                    </a:lnTo>
                    <a:lnTo>
                      <a:pt x="431" y="316"/>
                    </a:lnTo>
                    <a:lnTo>
                      <a:pt x="427" y="326"/>
                    </a:lnTo>
                    <a:lnTo>
                      <a:pt x="427" y="331"/>
                    </a:lnTo>
                    <a:lnTo>
                      <a:pt x="431" y="345"/>
                    </a:lnTo>
                    <a:lnTo>
                      <a:pt x="446" y="350"/>
                    </a:lnTo>
                    <a:lnTo>
                      <a:pt x="451" y="355"/>
                    </a:lnTo>
                    <a:lnTo>
                      <a:pt x="455" y="360"/>
                    </a:lnTo>
                    <a:lnTo>
                      <a:pt x="465" y="364"/>
                    </a:lnTo>
                    <a:lnTo>
                      <a:pt x="489" y="369"/>
                    </a:lnTo>
                    <a:lnTo>
                      <a:pt x="503" y="369"/>
                    </a:lnTo>
                    <a:lnTo>
                      <a:pt x="518" y="369"/>
                    </a:lnTo>
                    <a:lnTo>
                      <a:pt x="523" y="369"/>
                    </a:lnTo>
                    <a:lnTo>
                      <a:pt x="532" y="369"/>
                    </a:lnTo>
                    <a:lnTo>
                      <a:pt x="556" y="364"/>
                    </a:lnTo>
                    <a:lnTo>
                      <a:pt x="561" y="364"/>
                    </a:lnTo>
                    <a:lnTo>
                      <a:pt x="561" y="369"/>
                    </a:lnTo>
                    <a:lnTo>
                      <a:pt x="566" y="369"/>
                    </a:lnTo>
                    <a:lnTo>
                      <a:pt x="566" y="379"/>
                    </a:lnTo>
                    <a:lnTo>
                      <a:pt x="566" y="384"/>
                    </a:lnTo>
                    <a:lnTo>
                      <a:pt x="566" y="388"/>
                    </a:lnTo>
                    <a:lnTo>
                      <a:pt x="566" y="398"/>
                    </a:lnTo>
                    <a:lnTo>
                      <a:pt x="561" y="403"/>
                    </a:lnTo>
                    <a:lnTo>
                      <a:pt x="566" y="403"/>
                    </a:lnTo>
                    <a:lnTo>
                      <a:pt x="566" y="408"/>
                    </a:lnTo>
                    <a:lnTo>
                      <a:pt x="571" y="412"/>
                    </a:lnTo>
                    <a:lnTo>
                      <a:pt x="566" y="417"/>
                    </a:lnTo>
                    <a:lnTo>
                      <a:pt x="561" y="412"/>
                    </a:lnTo>
                    <a:lnTo>
                      <a:pt x="561" y="417"/>
                    </a:lnTo>
                    <a:lnTo>
                      <a:pt x="556" y="417"/>
                    </a:lnTo>
                    <a:lnTo>
                      <a:pt x="556" y="422"/>
                    </a:lnTo>
                    <a:lnTo>
                      <a:pt x="556" y="427"/>
                    </a:lnTo>
                    <a:lnTo>
                      <a:pt x="551" y="432"/>
                    </a:lnTo>
                    <a:lnTo>
                      <a:pt x="551" y="436"/>
                    </a:lnTo>
                    <a:lnTo>
                      <a:pt x="547" y="432"/>
                    </a:lnTo>
                    <a:lnTo>
                      <a:pt x="547" y="427"/>
                    </a:lnTo>
                    <a:lnTo>
                      <a:pt x="542" y="427"/>
                    </a:lnTo>
                    <a:lnTo>
                      <a:pt x="547" y="427"/>
                    </a:lnTo>
                    <a:lnTo>
                      <a:pt x="542" y="427"/>
                    </a:lnTo>
                    <a:lnTo>
                      <a:pt x="532" y="432"/>
                    </a:lnTo>
                    <a:lnTo>
                      <a:pt x="527" y="432"/>
                    </a:lnTo>
                    <a:lnTo>
                      <a:pt x="532" y="432"/>
                    </a:lnTo>
                    <a:lnTo>
                      <a:pt x="532" y="436"/>
                    </a:lnTo>
                    <a:lnTo>
                      <a:pt x="527" y="436"/>
                    </a:lnTo>
                    <a:lnTo>
                      <a:pt x="527" y="441"/>
                    </a:lnTo>
                    <a:lnTo>
                      <a:pt x="527" y="446"/>
                    </a:lnTo>
                    <a:lnTo>
                      <a:pt x="527" y="451"/>
                    </a:lnTo>
                    <a:lnTo>
                      <a:pt x="523" y="456"/>
                    </a:lnTo>
                    <a:lnTo>
                      <a:pt x="523" y="451"/>
                    </a:lnTo>
                    <a:lnTo>
                      <a:pt x="523" y="446"/>
                    </a:lnTo>
                    <a:lnTo>
                      <a:pt x="523" y="451"/>
                    </a:lnTo>
                    <a:lnTo>
                      <a:pt x="518" y="451"/>
                    </a:lnTo>
                    <a:lnTo>
                      <a:pt x="518" y="456"/>
                    </a:lnTo>
                    <a:lnTo>
                      <a:pt x="523" y="456"/>
                    </a:lnTo>
                    <a:lnTo>
                      <a:pt x="518" y="460"/>
                    </a:lnTo>
                    <a:lnTo>
                      <a:pt x="513" y="460"/>
                    </a:lnTo>
                    <a:lnTo>
                      <a:pt x="513" y="465"/>
                    </a:lnTo>
                    <a:lnTo>
                      <a:pt x="513" y="460"/>
                    </a:lnTo>
                    <a:lnTo>
                      <a:pt x="513" y="456"/>
                    </a:lnTo>
                    <a:lnTo>
                      <a:pt x="513" y="460"/>
                    </a:lnTo>
                    <a:lnTo>
                      <a:pt x="508" y="460"/>
                    </a:lnTo>
                    <a:lnTo>
                      <a:pt x="508" y="465"/>
                    </a:lnTo>
                    <a:lnTo>
                      <a:pt x="508" y="470"/>
                    </a:lnTo>
                    <a:lnTo>
                      <a:pt x="508" y="465"/>
                    </a:lnTo>
                    <a:lnTo>
                      <a:pt x="513" y="470"/>
                    </a:lnTo>
                    <a:lnTo>
                      <a:pt x="508" y="475"/>
                    </a:lnTo>
                    <a:lnTo>
                      <a:pt x="508" y="480"/>
                    </a:lnTo>
                    <a:lnTo>
                      <a:pt x="503" y="475"/>
                    </a:lnTo>
                    <a:lnTo>
                      <a:pt x="503" y="480"/>
                    </a:lnTo>
                    <a:lnTo>
                      <a:pt x="499" y="475"/>
                    </a:lnTo>
                    <a:lnTo>
                      <a:pt x="499" y="480"/>
                    </a:lnTo>
                    <a:lnTo>
                      <a:pt x="499" y="484"/>
                    </a:lnTo>
                    <a:lnTo>
                      <a:pt x="499" y="489"/>
                    </a:lnTo>
                    <a:lnTo>
                      <a:pt x="503" y="484"/>
                    </a:lnTo>
                    <a:lnTo>
                      <a:pt x="503" y="494"/>
                    </a:lnTo>
                    <a:lnTo>
                      <a:pt x="503" y="499"/>
                    </a:lnTo>
                    <a:lnTo>
                      <a:pt x="499" y="504"/>
                    </a:lnTo>
                    <a:lnTo>
                      <a:pt x="499" y="508"/>
                    </a:lnTo>
                    <a:lnTo>
                      <a:pt x="494" y="504"/>
                    </a:lnTo>
                    <a:lnTo>
                      <a:pt x="494" y="508"/>
                    </a:lnTo>
                    <a:lnTo>
                      <a:pt x="494" y="513"/>
                    </a:lnTo>
                    <a:lnTo>
                      <a:pt x="489" y="523"/>
                    </a:lnTo>
                    <a:lnTo>
                      <a:pt x="489" y="528"/>
                    </a:lnTo>
                    <a:lnTo>
                      <a:pt x="484" y="528"/>
                    </a:lnTo>
                    <a:lnTo>
                      <a:pt x="484" y="532"/>
                    </a:lnTo>
                    <a:lnTo>
                      <a:pt x="484" y="537"/>
                    </a:lnTo>
                    <a:lnTo>
                      <a:pt x="484" y="532"/>
                    </a:lnTo>
                    <a:lnTo>
                      <a:pt x="479" y="537"/>
                    </a:lnTo>
                    <a:lnTo>
                      <a:pt x="479" y="532"/>
                    </a:lnTo>
                    <a:lnTo>
                      <a:pt x="479" y="537"/>
                    </a:lnTo>
                    <a:lnTo>
                      <a:pt x="484" y="537"/>
                    </a:lnTo>
                    <a:lnTo>
                      <a:pt x="484" y="547"/>
                    </a:lnTo>
                    <a:lnTo>
                      <a:pt x="479" y="552"/>
                    </a:lnTo>
                    <a:lnTo>
                      <a:pt x="475" y="561"/>
                    </a:lnTo>
                    <a:lnTo>
                      <a:pt x="479" y="571"/>
                    </a:lnTo>
                    <a:lnTo>
                      <a:pt x="475" y="571"/>
                    </a:lnTo>
                    <a:lnTo>
                      <a:pt x="479" y="580"/>
                    </a:lnTo>
                    <a:lnTo>
                      <a:pt x="484" y="585"/>
                    </a:lnTo>
                    <a:lnTo>
                      <a:pt x="484" y="590"/>
                    </a:lnTo>
                    <a:lnTo>
                      <a:pt x="484" y="595"/>
                    </a:lnTo>
                    <a:lnTo>
                      <a:pt x="484" y="600"/>
                    </a:lnTo>
                    <a:lnTo>
                      <a:pt x="479" y="604"/>
                    </a:lnTo>
                    <a:lnTo>
                      <a:pt x="479" y="609"/>
                    </a:lnTo>
                    <a:lnTo>
                      <a:pt x="479" y="604"/>
                    </a:lnTo>
                    <a:lnTo>
                      <a:pt x="484" y="604"/>
                    </a:lnTo>
                    <a:lnTo>
                      <a:pt x="484" y="609"/>
                    </a:lnTo>
                    <a:lnTo>
                      <a:pt x="484" y="614"/>
                    </a:lnTo>
                    <a:lnTo>
                      <a:pt x="489" y="614"/>
                    </a:lnTo>
                    <a:lnTo>
                      <a:pt x="484" y="619"/>
                    </a:lnTo>
                    <a:lnTo>
                      <a:pt x="484" y="624"/>
                    </a:lnTo>
                    <a:lnTo>
                      <a:pt x="479" y="624"/>
                    </a:lnTo>
                    <a:lnTo>
                      <a:pt x="479" y="628"/>
                    </a:lnTo>
                    <a:lnTo>
                      <a:pt x="475" y="628"/>
                    </a:lnTo>
                    <a:lnTo>
                      <a:pt x="475" y="633"/>
                    </a:lnTo>
                    <a:lnTo>
                      <a:pt x="470" y="633"/>
                    </a:lnTo>
                    <a:lnTo>
                      <a:pt x="475" y="638"/>
                    </a:lnTo>
                    <a:lnTo>
                      <a:pt x="479" y="638"/>
                    </a:lnTo>
                    <a:lnTo>
                      <a:pt x="484" y="638"/>
                    </a:lnTo>
                    <a:lnTo>
                      <a:pt x="484" y="633"/>
                    </a:lnTo>
                    <a:lnTo>
                      <a:pt x="489" y="633"/>
                    </a:lnTo>
                    <a:lnTo>
                      <a:pt x="489" y="628"/>
                    </a:lnTo>
                    <a:lnTo>
                      <a:pt x="489" y="624"/>
                    </a:lnTo>
                    <a:lnTo>
                      <a:pt x="489" y="619"/>
                    </a:lnTo>
                    <a:lnTo>
                      <a:pt x="494" y="614"/>
                    </a:lnTo>
                    <a:lnTo>
                      <a:pt x="489" y="614"/>
                    </a:lnTo>
                    <a:lnTo>
                      <a:pt x="494" y="609"/>
                    </a:lnTo>
                    <a:lnTo>
                      <a:pt x="499" y="609"/>
                    </a:lnTo>
                    <a:lnTo>
                      <a:pt x="499" y="614"/>
                    </a:lnTo>
                    <a:lnTo>
                      <a:pt x="503" y="614"/>
                    </a:lnTo>
                    <a:lnTo>
                      <a:pt x="503" y="619"/>
                    </a:lnTo>
                    <a:lnTo>
                      <a:pt x="508" y="619"/>
                    </a:lnTo>
                    <a:lnTo>
                      <a:pt x="508" y="624"/>
                    </a:lnTo>
                    <a:lnTo>
                      <a:pt x="518" y="624"/>
                    </a:lnTo>
                    <a:lnTo>
                      <a:pt x="518" y="628"/>
                    </a:lnTo>
                    <a:lnTo>
                      <a:pt x="523" y="633"/>
                    </a:lnTo>
                    <a:lnTo>
                      <a:pt x="527" y="633"/>
                    </a:lnTo>
                    <a:lnTo>
                      <a:pt x="527" y="638"/>
                    </a:lnTo>
                    <a:lnTo>
                      <a:pt x="532" y="633"/>
                    </a:lnTo>
                    <a:lnTo>
                      <a:pt x="532" y="638"/>
                    </a:lnTo>
                    <a:lnTo>
                      <a:pt x="532" y="643"/>
                    </a:lnTo>
                    <a:lnTo>
                      <a:pt x="532" y="648"/>
                    </a:lnTo>
                    <a:lnTo>
                      <a:pt x="527" y="648"/>
                    </a:lnTo>
                    <a:lnTo>
                      <a:pt x="527" y="657"/>
                    </a:lnTo>
                    <a:lnTo>
                      <a:pt x="523" y="662"/>
                    </a:lnTo>
                    <a:lnTo>
                      <a:pt x="518" y="667"/>
                    </a:lnTo>
                    <a:lnTo>
                      <a:pt x="513" y="667"/>
                    </a:lnTo>
                    <a:lnTo>
                      <a:pt x="518" y="672"/>
                    </a:lnTo>
                    <a:lnTo>
                      <a:pt x="518" y="667"/>
                    </a:lnTo>
                    <a:lnTo>
                      <a:pt x="523" y="667"/>
                    </a:lnTo>
                    <a:lnTo>
                      <a:pt x="523" y="672"/>
                    </a:lnTo>
                    <a:lnTo>
                      <a:pt x="527" y="672"/>
                    </a:lnTo>
                    <a:lnTo>
                      <a:pt x="527" y="676"/>
                    </a:lnTo>
                    <a:lnTo>
                      <a:pt x="527" y="681"/>
                    </a:lnTo>
                    <a:lnTo>
                      <a:pt x="527" y="686"/>
                    </a:lnTo>
                    <a:lnTo>
                      <a:pt x="527" y="691"/>
                    </a:lnTo>
                    <a:lnTo>
                      <a:pt x="532" y="696"/>
                    </a:lnTo>
                    <a:lnTo>
                      <a:pt x="532" y="700"/>
                    </a:lnTo>
                    <a:lnTo>
                      <a:pt x="527" y="710"/>
                    </a:lnTo>
                    <a:lnTo>
                      <a:pt x="527" y="715"/>
                    </a:lnTo>
                    <a:lnTo>
                      <a:pt x="523" y="715"/>
                    </a:lnTo>
                    <a:lnTo>
                      <a:pt x="523" y="720"/>
                    </a:lnTo>
                    <a:lnTo>
                      <a:pt x="518" y="724"/>
                    </a:lnTo>
                    <a:lnTo>
                      <a:pt x="523" y="724"/>
                    </a:lnTo>
                    <a:lnTo>
                      <a:pt x="518" y="729"/>
                    </a:lnTo>
                    <a:lnTo>
                      <a:pt x="518" y="734"/>
                    </a:lnTo>
                    <a:lnTo>
                      <a:pt x="513" y="734"/>
                    </a:lnTo>
                    <a:lnTo>
                      <a:pt x="513" y="739"/>
                    </a:lnTo>
                    <a:lnTo>
                      <a:pt x="508" y="744"/>
                    </a:lnTo>
                    <a:lnTo>
                      <a:pt x="513" y="744"/>
                    </a:lnTo>
                    <a:lnTo>
                      <a:pt x="508" y="748"/>
                    </a:lnTo>
                    <a:lnTo>
                      <a:pt x="503" y="763"/>
                    </a:lnTo>
                    <a:lnTo>
                      <a:pt x="499" y="758"/>
                    </a:lnTo>
                    <a:lnTo>
                      <a:pt x="494" y="758"/>
                    </a:lnTo>
                    <a:lnTo>
                      <a:pt x="499" y="758"/>
                    </a:lnTo>
                    <a:lnTo>
                      <a:pt x="499" y="763"/>
                    </a:lnTo>
                    <a:lnTo>
                      <a:pt x="499" y="768"/>
                    </a:lnTo>
                    <a:lnTo>
                      <a:pt x="455" y="782"/>
                    </a:lnTo>
                    <a:lnTo>
                      <a:pt x="455" y="787"/>
                    </a:lnTo>
                    <a:lnTo>
                      <a:pt x="451" y="787"/>
                    </a:lnTo>
                    <a:lnTo>
                      <a:pt x="446" y="787"/>
                    </a:lnTo>
                    <a:lnTo>
                      <a:pt x="441" y="787"/>
                    </a:lnTo>
                    <a:lnTo>
                      <a:pt x="436" y="787"/>
                    </a:lnTo>
                    <a:lnTo>
                      <a:pt x="431" y="792"/>
                    </a:lnTo>
                    <a:lnTo>
                      <a:pt x="427" y="792"/>
                    </a:lnTo>
                    <a:lnTo>
                      <a:pt x="422" y="792"/>
                    </a:lnTo>
                    <a:lnTo>
                      <a:pt x="417" y="792"/>
                    </a:lnTo>
                    <a:lnTo>
                      <a:pt x="417" y="796"/>
                    </a:lnTo>
                    <a:lnTo>
                      <a:pt x="412" y="796"/>
                    </a:lnTo>
                    <a:lnTo>
                      <a:pt x="407" y="796"/>
                    </a:lnTo>
                    <a:lnTo>
                      <a:pt x="403" y="796"/>
                    </a:lnTo>
                    <a:lnTo>
                      <a:pt x="398" y="796"/>
                    </a:lnTo>
                    <a:lnTo>
                      <a:pt x="393" y="796"/>
                    </a:lnTo>
                    <a:lnTo>
                      <a:pt x="393" y="801"/>
                    </a:lnTo>
                    <a:lnTo>
                      <a:pt x="388" y="801"/>
                    </a:lnTo>
                    <a:lnTo>
                      <a:pt x="383" y="801"/>
                    </a:lnTo>
                    <a:lnTo>
                      <a:pt x="379" y="801"/>
                    </a:lnTo>
                    <a:lnTo>
                      <a:pt x="374" y="801"/>
                    </a:lnTo>
                    <a:lnTo>
                      <a:pt x="369" y="806"/>
                    </a:lnTo>
                    <a:lnTo>
                      <a:pt x="364" y="806"/>
                    </a:lnTo>
                    <a:lnTo>
                      <a:pt x="359" y="806"/>
                    </a:lnTo>
                    <a:lnTo>
                      <a:pt x="355" y="806"/>
                    </a:lnTo>
                    <a:lnTo>
                      <a:pt x="350" y="806"/>
                    </a:lnTo>
                    <a:lnTo>
                      <a:pt x="345" y="806"/>
                    </a:lnTo>
                    <a:lnTo>
                      <a:pt x="345" y="811"/>
                    </a:lnTo>
                    <a:lnTo>
                      <a:pt x="340" y="811"/>
                    </a:lnTo>
                    <a:lnTo>
                      <a:pt x="335" y="811"/>
                    </a:lnTo>
                    <a:lnTo>
                      <a:pt x="331" y="811"/>
                    </a:lnTo>
                    <a:lnTo>
                      <a:pt x="331" y="816"/>
                    </a:lnTo>
                    <a:lnTo>
                      <a:pt x="331" y="820"/>
                    </a:lnTo>
                    <a:lnTo>
                      <a:pt x="331" y="825"/>
                    </a:lnTo>
                    <a:lnTo>
                      <a:pt x="326" y="825"/>
                    </a:lnTo>
                    <a:lnTo>
                      <a:pt x="326" y="830"/>
                    </a:lnTo>
                    <a:lnTo>
                      <a:pt x="321" y="830"/>
                    </a:lnTo>
                    <a:lnTo>
                      <a:pt x="321" y="825"/>
                    </a:lnTo>
                    <a:lnTo>
                      <a:pt x="316" y="825"/>
                    </a:lnTo>
                    <a:lnTo>
                      <a:pt x="311" y="825"/>
                    </a:lnTo>
                    <a:lnTo>
                      <a:pt x="307" y="820"/>
                    </a:lnTo>
                    <a:lnTo>
                      <a:pt x="302" y="820"/>
                    </a:lnTo>
                    <a:lnTo>
                      <a:pt x="297" y="820"/>
                    </a:lnTo>
                    <a:lnTo>
                      <a:pt x="292" y="825"/>
                    </a:lnTo>
                    <a:lnTo>
                      <a:pt x="292" y="830"/>
                    </a:lnTo>
                    <a:lnTo>
                      <a:pt x="292" y="835"/>
                    </a:lnTo>
                    <a:lnTo>
                      <a:pt x="292" y="840"/>
                    </a:lnTo>
                    <a:lnTo>
                      <a:pt x="292" y="844"/>
                    </a:lnTo>
                    <a:lnTo>
                      <a:pt x="287" y="844"/>
                    </a:lnTo>
                    <a:lnTo>
                      <a:pt x="283" y="840"/>
                    </a:lnTo>
                    <a:lnTo>
                      <a:pt x="278" y="840"/>
                    </a:lnTo>
                    <a:lnTo>
                      <a:pt x="273" y="840"/>
                    </a:lnTo>
                    <a:lnTo>
                      <a:pt x="268" y="840"/>
                    </a:lnTo>
                    <a:lnTo>
                      <a:pt x="268" y="835"/>
                    </a:lnTo>
                    <a:lnTo>
                      <a:pt x="263" y="835"/>
                    </a:lnTo>
                    <a:lnTo>
                      <a:pt x="259" y="835"/>
                    </a:lnTo>
                    <a:lnTo>
                      <a:pt x="254" y="830"/>
                    </a:lnTo>
                    <a:lnTo>
                      <a:pt x="249" y="830"/>
                    </a:lnTo>
                    <a:lnTo>
                      <a:pt x="249" y="825"/>
                    </a:lnTo>
                    <a:lnTo>
                      <a:pt x="249" y="820"/>
                    </a:lnTo>
                    <a:lnTo>
                      <a:pt x="249" y="816"/>
                    </a:lnTo>
                    <a:lnTo>
                      <a:pt x="244" y="811"/>
                    </a:lnTo>
                    <a:lnTo>
                      <a:pt x="244" y="806"/>
                    </a:lnTo>
                    <a:lnTo>
                      <a:pt x="239" y="806"/>
                    </a:lnTo>
                    <a:lnTo>
                      <a:pt x="235" y="801"/>
                    </a:lnTo>
                    <a:lnTo>
                      <a:pt x="230" y="801"/>
                    </a:lnTo>
                    <a:lnTo>
                      <a:pt x="225" y="796"/>
                    </a:lnTo>
                    <a:lnTo>
                      <a:pt x="220" y="796"/>
                    </a:lnTo>
                    <a:lnTo>
                      <a:pt x="215" y="796"/>
                    </a:lnTo>
                    <a:lnTo>
                      <a:pt x="211" y="792"/>
                    </a:lnTo>
                    <a:lnTo>
                      <a:pt x="206" y="787"/>
                    </a:lnTo>
                    <a:lnTo>
                      <a:pt x="201" y="787"/>
                    </a:lnTo>
                    <a:lnTo>
                      <a:pt x="196" y="782"/>
                    </a:lnTo>
                    <a:lnTo>
                      <a:pt x="191" y="782"/>
                    </a:lnTo>
                    <a:lnTo>
                      <a:pt x="187" y="782"/>
                    </a:lnTo>
                    <a:lnTo>
                      <a:pt x="182" y="777"/>
                    </a:lnTo>
                    <a:lnTo>
                      <a:pt x="177" y="777"/>
                    </a:lnTo>
                    <a:lnTo>
                      <a:pt x="172" y="772"/>
                    </a:lnTo>
                    <a:lnTo>
                      <a:pt x="167" y="772"/>
                    </a:lnTo>
                    <a:lnTo>
                      <a:pt x="163" y="768"/>
                    </a:lnTo>
                    <a:lnTo>
                      <a:pt x="158" y="763"/>
                    </a:lnTo>
                    <a:lnTo>
                      <a:pt x="153" y="763"/>
                    </a:lnTo>
                    <a:lnTo>
                      <a:pt x="148" y="763"/>
                    </a:lnTo>
                    <a:lnTo>
                      <a:pt x="143" y="758"/>
                    </a:lnTo>
                    <a:lnTo>
                      <a:pt x="139" y="758"/>
                    </a:lnTo>
                    <a:lnTo>
                      <a:pt x="134" y="753"/>
                    </a:lnTo>
                    <a:lnTo>
                      <a:pt x="129" y="753"/>
                    </a:lnTo>
                    <a:lnTo>
                      <a:pt x="124" y="748"/>
                    </a:lnTo>
                    <a:lnTo>
                      <a:pt x="119" y="748"/>
                    </a:lnTo>
                    <a:lnTo>
                      <a:pt x="115" y="748"/>
                    </a:lnTo>
                    <a:lnTo>
                      <a:pt x="115" y="744"/>
                    </a:lnTo>
                    <a:lnTo>
                      <a:pt x="110" y="744"/>
                    </a:lnTo>
                    <a:lnTo>
                      <a:pt x="105" y="739"/>
                    </a:lnTo>
                    <a:lnTo>
                      <a:pt x="100" y="739"/>
                    </a:lnTo>
                    <a:lnTo>
                      <a:pt x="95" y="734"/>
                    </a:lnTo>
                    <a:lnTo>
                      <a:pt x="91" y="734"/>
                    </a:lnTo>
                    <a:lnTo>
                      <a:pt x="86" y="734"/>
                    </a:lnTo>
                    <a:lnTo>
                      <a:pt x="81" y="729"/>
                    </a:lnTo>
                    <a:lnTo>
                      <a:pt x="76" y="729"/>
                    </a:lnTo>
                    <a:lnTo>
                      <a:pt x="71" y="724"/>
                    </a:lnTo>
                    <a:lnTo>
                      <a:pt x="67" y="724"/>
                    </a:lnTo>
                    <a:lnTo>
                      <a:pt x="67" y="720"/>
                    </a:lnTo>
                    <a:lnTo>
                      <a:pt x="62" y="720"/>
                    </a:lnTo>
                    <a:lnTo>
                      <a:pt x="62" y="715"/>
                    </a:lnTo>
                    <a:lnTo>
                      <a:pt x="57" y="715"/>
                    </a:lnTo>
                    <a:lnTo>
                      <a:pt x="57" y="710"/>
                    </a:lnTo>
                    <a:lnTo>
                      <a:pt x="52" y="705"/>
                    </a:lnTo>
                    <a:lnTo>
                      <a:pt x="47" y="705"/>
                    </a:lnTo>
                    <a:lnTo>
                      <a:pt x="47" y="700"/>
                    </a:lnTo>
                    <a:lnTo>
                      <a:pt x="47" y="696"/>
                    </a:lnTo>
                    <a:lnTo>
                      <a:pt x="43" y="691"/>
                    </a:lnTo>
                    <a:lnTo>
                      <a:pt x="43" y="686"/>
                    </a:lnTo>
                    <a:lnTo>
                      <a:pt x="38" y="686"/>
                    </a:lnTo>
                    <a:lnTo>
                      <a:pt x="38" y="681"/>
                    </a:lnTo>
                    <a:lnTo>
                      <a:pt x="33" y="681"/>
                    </a:lnTo>
                    <a:lnTo>
                      <a:pt x="33" y="676"/>
                    </a:lnTo>
                    <a:lnTo>
                      <a:pt x="28" y="676"/>
                    </a:lnTo>
                    <a:lnTo>
                      <a:pt x="24" y="672"/>
                    </a:lnTo>
                    <a:lnTo>
                      <a:pt x="19" y="672"/>
                    </a:lnTo>
                    <a:lnTo>
                      <a:pt x="14" y="672"/>
                    </a:lnTo>
                    <a:lnTo>
                      <a:pt x="9" y="672"/>
                    </a:lnTo>
                    <a:lnTo>
                      <a:pt x="9" y="667"/>
                    </a:lnTo>
                    <a:lnTo>
                      <a:pt x="4" y="667"/>
                    </a:lnTo>
                    <a:lnTo>
                      <a:pt x="9" y="662"/>
                    </a:lnTo>
                    <a:lnTo>
                      <a:pt x="9" y="657"/>
                    </a:lnTo>
                    <a:lnTo>
                      <a:pt x="9" y="652"/>
                    </a:lnTo>
                    <a:lnTo>
                      <a:pt x="14" y="652"/>
                    </a:lnTo>
                    <a:lnTo>
                      <a:pt x="19" y="648"/>
                    </a:lnTo>
                    <a:lnTo>
                      <a:pt x="24" y="643"/>
                    </a:lnTo>
                    <a:lnTo>
                      <a:pt x="24" y="638"/>
                    </a:lnTo>
                    <a:lnTo>
                      <a:pt x="28" y="638"/>
                    </a:lnTo>
                    <a:lnTo>
                      <a:pt x="28" y="633"/>
                    </a:lnTo>
                    <a:lnTo>
                      <a:pt x="33" y="633"/>
                    </a:lnTo>
                    <a:lnTo>
                      <a:pt x="33" y="628"/>
                    </a:lnTo>
                    <a:lnTo>
                      <a:pt x="33" y="624"/>
                    </a:lnTo>
                    <a:lnTo>
                      <a:pt x="33" y="619"/>
                    </a:lnTo>
                    <a:lnTo>
                      <a:pt x="33" y="614"/>
                    </a:lnTo>
                    <a:lnTo>
                      <a:pt x="33" y="609"/>
                    </a:lnTo>
                    <a:lnTo>
                      <a:pt x="33" y="604"/>
                    </a:lnTo>
                    <a:lnTo>
                      <a:pt x="28" y="600"/>
                    </a:lnTo>
                    <a:lnTo>
                      <a:pt x="28" y="595"/>
                    </a:lnTo>
                    <a:lnTo>
                      <a:pt x="28" y="590"/>
                    </a:lnTo>
                    <a:lnTo>
                      <a:pt x="28" y="585"/>
                    </a:lnTo>
                    <a:lnTo>
                      <a:pt x="28" y="580"/>
                    </a:lnTo>
                    <a:lnTo>
                      <a:pt x="33" y="576"/>
                    </a:lnTo>
                    <a:lnTo>
                      <a:pt x="33" y="571"/>
                    </a:lnTo>
                    <a:lnTo>
                      <a:pt x="38" y="566"/>
                    </a:lnTo>
                    <a:lnTo>
                      <a:pt x="43" y="566"/>
                    </a:lnTo>
                    <a:lnTo>
                      <a:pt x="43" y="561"/>
                    </a:lnTo>
                    <a:lnTo>
                      <a:pt x="47" y="556"/>
                    </a:lnTo>
                    <a:lnTo>
                      <a:pt x="52" y="556"/>
                    </a:lnTo>
                    <a:lnTo>
                      <a:pt x="52" y="552"/>
                    </a:lnTo>
                    <a:lnTo>
                      <a:pt x="57" y="552"/>
                    </a:lnTo>
                    <a:lnTo>
                      <a:pt x="62" y="552"/>
                    </a:lnTo>
                    <a:lnTo>
                      <a:pt x="67" y="552"/>
                    </a:lnTo>
                    <a:lnTo>
                      <a:pt x="71" y="552"/>
                    </a:lnTo>
                    <a:lnTo>
                      <a:pt x="76" y="552"/>
                    </a:lnTo>
                    <a:lnTo>
                      <a:pt x="76" y="556"/>
                    </a:lnTo>
                    <a:lnTo>
                      <a:pt x="81" y="556"/>
                    </a:lnTo>
                    <a:lnTo>
                      <a:pt x="86" y="556"/>
                    </a:lnTo>
                    <a:lnTo>
                      <a:pt x="86" y="561"/>
                    </a:lnTo>
                    <a:lnTo>
                      <a:pt x="91" y="561"/>
                    </a:lnTo>
                    <a:lnTo>
                      <a:pt x="95" y="561"/>
                    </a:lnTo>
                    <a:lnTo>
                      <a:pt x="100" y="566"/>
                    </a:lnTo>
                    <a:lnTo>
                      <a:pt x="105" y="566"/>
                    </a:lnTo>
                    <a:lnTo>
                      <a:pt x="110" y="566"/>
                    </a:lnTo>
                    <a:lnTo>
                      <a:pt x="115" y="566"/>
                    </a:lnTo>
                    <a:lnTo>
                      <a:pt x="119" y="566"/>
                    </a:lnTo>
                    <a:lnTo>
                      <a:pt x="124" y="566"/>
                    </a:lnTo>
                    <a:lnTo>
                      <a:pt x="129" y="571"/>
                    </a:lnTo>
                    <a:lnTo>
                      <a:pt x="134" y="571"/>
                    </a:lnTo>
                    <a:lnTo>
                      <a:pt x="139" y="571"/>
                    </a:lnTo>
                    <a:lnTo>
                      <a:pt x="143" y="571"/>
                    </a:lnTo>
                    <a:lnTo>
                      <a:pt x="148" y="571"/>
                    </a:lnTo>
                    <a:lnTo>
                      <a:pt x="153" y="571"/>
                    </a:lnTo>
                    <a:lnTo>
                      <a:pt x="158" y="571"/>
                    </a:lnTo>
                    <a:lnTo>
                      <a:pt x="158" y="576"/>
                    </a:lnTo>
                    <a:lnTo>
                      <a:pt x="163" y="576"/>
                    </a:lnTo>
                    <a:lnTo>
                      <a:pt x="167" y="576"/>
                    </a:lnTo>
                    <a:lnTo>
                      <a:pt x="172" y="576"/>
                    </a:lnTo>
                    <a:lnTo>
                      <a:pt x="177" y="576"/>
                    </a:lnTo>
                    <a:lnTo>
                      <a:pt x="182" y="576"/>
                    </a:lnTo>
                    <a:lnTo>
                      <a:pt x="187" y="576"/>
                    </a:lnTo>
                    <a:lnTo>
                      <a:pt x="187" y="571"/>
                    </a:lnTo>
                    <a:lnTo>
                      <a:pt x="187" y="566"/>
                    </a:lnTo>
                    <a:lnTo>
                      <a:pt x="187" y="561"/>
                    </a:lnTo>
                    <a:lnTo>
                      <a:pt x="187" y="556"/>
                    </a:lnTo>
                    <a:lnTo>
                      <a:pt x="187" y="552"/>
                    </a:lnTo>
                    <a:lnTo>
                      <a:pt x="187" y="547"/>
                    </a:lnTo>
                    <a:lnTo>
                      <a:pt x="187" y="542"/>
                    </a:lnTo>
                    <a:lnTo>
                      <a:pt x="187" y="537"/>
                    </a:lnTo>
                    <a:lnTo>
                      <a:pt x="187" y="532"/>
                    </a:lnTo>
                    <a:lnTo>
                      <a:pt x="187" y="528"/>
                    </a:lnTo>
                    <a:lnTo>
                      <a:pt x="187" y="523"/>
                    </a:lnTo>
                    <a:lnTo>
                      <a:pt x="187" y="518"/>
                    </a:lnTo>
                    <a:lnTo>
                      <a:pt x="187" y="513"/>
                    </a:lnTo>
                    <a:lnTo>
                      <a:pt x="187" y="508"/>
                    </a:lnTo>
                    <a:lnTo>
                      <a:pt x="191" y="504"/>
                    </a:lnTo>
                    <a:lnTo>
                      <a:pt x="191" y="499"/>
                    </a:lnTo>
                    <a:lnTo>
                      <a:pt x="191" y="494"/>
                    </a:lnTo>
                    <a:lnTo>
                      <a:pt x="191" y="489"/>
                    </a:lnTo>
                    <a:lnTo>
                      <a:pt x="191" y="484"/>
                    </a:lnTo>
                    <a:lnTo>
                      <a:pt x="191" y="480"/>
                    </a:lnTo>
                    <a:lnTo>
                      <a:pt x="191" y="475"/>
                    </a:lnTo>
                    <a:lnTo>
                      <a:pt x="191" y="470"/>
                    </a:lnTo>
                    <a:lnTo>
                      <a:pt x="191" y="465"/>
                    </a:lnTo>
                    <a:lnTo>
                      <a:pt x="191" y="460"/>
                    </a:lnTo>
                    <a:lnTo>
                      <a:pt x="191" y="456"/>
                    </a:lnTo>
                    <a:lnTo>
                      <a:pt x="191" y="451"/>
                    </a:lnTo>
                    <a:lnTo>
                      <a:pt x="196" y="451"/>
                    </a:lnTo>
                    <a:lnTo>
                      <a:pt x="196" y="446"/>
                    </a:lnTo>
                    <a:lnTo>
                      <a:pt x="201" y="446"/>
                    </a:lnTo>
                    <a:lnTo>
                      <a:pt x="201" y="441"/>
                    </a:lnTo>
                    <a:lnTo>
                      <a:pt x="206" y="441"/>
                    </a:lnTo>
                    <a:lnTo>
                      <a:pt x="206" y="436"/>
                    </a:lnTo>
                    <a:lnTo>
                      <a:pt x="211" y="436"/>
                    </a:lnTo>
                    <a:lnTo>
                      <a:pt x="215" y="436"/>
                    </a:lnTo>
                    <a:lnTo>
                      <a:pt x="220" y="436"/>
                    </a:lnTo>
                    <a:lnTo>
                      <a:pt x="225" y="436"/>
                    </a:lnTo>
                    <a:lnTo>
                      <a:pt x="230" y="436"/>
                    </a:lnTo>
                    <a:lnTo>
                      <a:pt x="235" y="432"/>
                    </a:lnTo>
                    <a:lnTo>
                      <a:pt x="235" y="427"/>
                    </a:lnTo>
                    <a:lnTo>
                      <a:pt x="239" y="422"/>
                    </a:lnTo>
                    <a:lnTo>
                      <a:pt x="239" y="417"/>
                    </a:lnTo>
                    <a:lnTo>
                      <a:pt x="239" y="412"/>
                    </a:lnTo>
                    <a:lnTo>
                      <a:pt x="244" y="408"/>
                    </a:lnTo>
                    <a:lnTo>
                      <a:pt x="249" y="403"/>
                    </a:lnTo>
                    <a:lnTo>
                      <a:pt x="249" y="398"/>
                    </a:lnTo>
                    <a:lnTo>
                      <a:pt x="249" y="393"/>
                    </a:lnTo>
                    <a:lnTo>
                      <a:pt x="244" y="393"/>
                    </a:lnTo>
                    <a:lnTo>
                      <a:pt x="239" y="393"/>
                    </a:lnTo>
                    <a:lnTo>
                      <a:pt x="235" y="393"/>
                    </a:lnTo>
                    <a:lnTo>
                      <a:pt x="230" y="393"/>
                    </a:lnTo>
                    <a:lnTo>
                      <a:pt x="225" y="393"/>
                    </a:lnTo>
                    <a:lnTo>
                      <a:pt x="220" y="393"/>
                    </a:lnTo>
                    <a:lnTo>
                      <a:pt x="215" y="393"/>
                    </a:lnTo>
                    <a:lnTo>
                      <a:pt x="211" y="393"/>
                    </a:lnTo>
                    <a:lnTo>
                      <a:pt x="206" y="388"/>
                    </a:lnTo>
                    <a:lnTo>
                      <a:pt x="201" y="384"/>
                    </a:lnTo>
                    <a:lnTo>
                      <a:pt x="196" y="384"/>
                    </a:lnTo>
                    <a:lnTo>
                      <a:pt x="191" y="384"/>
                    </a:lnTo>
                    <a:lnTo>
                      <a:pt x="187" y="374"/>
                    </a:lnTo>
                    <a:lnTo>
                      <a:pt x="187" y="369"/>
                    </a:lnTo>
                    <a:lnTo>
                      <a:pt x="187" y="364"/>
                    </a:lnTo>
                    <a:lnTo>
                      <a:pt x="187" y="360"/>
                    </a:lnTo>
                    <a:lnTo>
                      <a:pt x="187" y="355"/>
                    </a:lnTo>
                    <a:lnTo>
                      <a:pt x="187" y="350"/>
                    </a:lnTo>
                    <a:lnTo>
                      <a:pt x="187" y="345"/>
                    </a:lnTo>
                    <a:lnTo>
                      <a:pt x="187" y="340"/>
                    </a:lnTo>
                    <a:lnTo>
                      <a:pt x="187" y="336"/>
                    </a:lnTo>
                    <a:lnTo>
                      <a:pt x="187" y="331"/>
                    </a:lnTo>
                    <a:lnTo>
                      <a:pt x="187" y="326"/>
                    </a:lnTo>
                    <a:lnTo>
                      <a:pt x="191" y="326"/>
                    </a:lnTo>
                    <a:lnTo>
                      <a:pt x="196" y="326"/>
                    </a:lnTo>
                    <a:lnTo>
                      <a:pt x="196" y="321"/>
                    </a:lnTo>
                    <a:lnTo>
                      <a:pt x="201" y="321"/>
                    </a:lnTo>
                    <a:lnTo>
                      <a:pt x="201" y="316"/>
                    </a:lnTo>
                    <a:lnTo>
                      <a:pt x="206" y="316"/>
                    </a:lnTo>
                    <a:lnTo>
                      <a:pt x="206" y="312"/>
                    </a:lnTo>
                    <a:lnTo>
                      <a:pt x="206" y="307"/>
                    </a:lnTo>
                    <a:lnTo>
                      <a:pt x="201" y="302"/>
                    </a:lnTo>
                    <a:lnTo>
                      <a:pt x="201" y="297"/>
                    </a:lnTo>
                    <a:lnTo>
                      <a:pt x="196" y="297"/>
                    </a:lnTo>
                    <a:lnTo>
                      <a:pt x="191" y="292"/>
                    </a:lnTo>
                    <a:lnTo>
                      <a:pt x="187" y="292"/>
                    </a:lnTo>
                    <a:lnTo>
                      <a:pt x="187" y="288"/>
                    </a:lnTo>
                    <a:lnTo>
                      <a:pt x="182" y="288"/>
                    </a:lnTo>
                    <a:lnTo>
                      <a:pt x="177" y="288"/>
                    </a:lnTo>
                    <a:lnTo>
                      <a:pt x="172" y="288"/>
                    </a:lnTo>
                    <a:lnTo>
                      <a:pt x="167" y="288"/>
                    </a:lnTo>
                    <a:lnTo>
                      <a:pt x="163" y="288"/>
                    </a:lnTo>
                    <a:lnTo>
                      <a:pt x="158" y="288"/>
                    </a:lnTo>
                    <a:lnTo>
                      <a:pt x="158" y="283"/>
                    </a:lnTo>
                    <a:lnTo>
                      <a:pt x="153" y="283"/>
                    </a:lnTo>
                    <a:lnTo>
                      <a:pt x="148" y="283"/>
                    </a:lnTo>
                    <a:lnTo>
                      <a:pt x="148" y="278"/>
                    </a:lnTo>
                    <a:lnTo>
                      <a:pt x="143" y="273"/>
                    </a:lnTo>
                    <a:lnTo>
                      <a:pt x="139" y="268"/>
                    </a:lnTo>
                    <a:lnTo>
                      <a:pt x="134" y="268"/>
                    </a:lnTo>
                    <a:lnTo>
                      <a:pt x="134" y="264"/>
                    </a:lnTo>
                    <a:lnTo>
                      <a:pt x="129" y="264"/>
                    </a:lnTo>
                    <a:lnTo>
                      <a:pt x="129" y="259"/>
                    </a:lnTo>
                    <a:lnTo>
                      <a:pt x="124" y="259"/>
                    </a:lnTo>
                    <a:lnTo>
                      <a:pt x="119" y="259"/>
                    </a:lnTo>
                    <a:lnTo>
                      <a:pt x="115" y="264"/>
                    </a:lnTo>
                    <a:lnTo>
                      <a:pt x="110" y="264"/>
                    </a:lnTo>
                    <a:lnTo>
                      <a:pt x="105" y="264"/>
                    </a:lnTo>
                    <a:lnTo>
                      <a:pt x="100" y="264"/>
                    </a:lnTo>
                    <a:lnTo>
                      <a:pt x="95" y="264"/>
                    </a:lnTo>
                    <a:lnTo>
                      <a:pt x="95" y="259"/>
                    </a:lnTo>
                    <a:lnTo>
                      <a:pt x="91" y="259"/>
                    </a:lnTo>
                    <a:lnTo>
                      <a:pt x="91" y="254"/>
                    </a:lnTo>
                    <a:lnTo>
                      <a:pt x="86" y="254"/>
                    </a:lnTo>
                    <a:lnTo>
                      <a:pt x="86" y="249"/>
                    </a:lnTo>
                    <a:lnTo>
                      <a:pt x="81" y="249"/>
                    </a:lnTo>
                    <a:lnTo>
                      <a:pt x="76" y="249"/>
                    </a:lnTo>
                    <a:lnTo>
                      <a:pt x="76" y="244"/>
                    </a:lnTo>
                    <a:lnTo>
                      <a:pt x="71" y="244"/>
                    </a:lnTo>
                    <a:lnTo>
                      <a:pt x="67" y="244"/>
                    </a:lnTo>
                    <a:lnTo>
                      <a:pt x="67" y="240"/>
                    </a:lnTo>
                    <a:lnTo>
                      <a:pt x="67" y="235"/>
                    </a:lnTo>
                    <a:lnTo>
                      <a:pt x="67" y="230"/>
                    </a:lnTo>
                    <a:lnTo>
                      <a:pt x="67" y="225"/>
                    </a:lnTo>
                    <a:lnTo>
                      <a:pt x="67" y="220"/>
                    </a:lnTo>
                    <a:lnTo>
                      <a:pt x="67" y="216"/>
                    </a:lnTo>
                    <a:lnTo>
                      <a:pt x="67" y="211"/>
                    </a:lnTo>
                    <a:lnTo>
                      <a:pt x="67" y="206"/>
                    </a:lnTo>
                    <a:lnTo>
                      <a:pt x="67" y="201"/>
                    </a:lnTo>
                    <a:lnTo>
                      <a:pt x="67" y="196"/>
                    </a:lnTo>
                    <a:lnTo>
                      <a:pt x="67" y="192"/>
                    </a:lnTo>
                    <a:lnTo>
                      <a:pt x="67" y="187"/>
                    </a:lnTo>
                    <a:lnTo>
                      <a:pt x="67" y="182"/>
                    </a:lnTo>
                    <a:lnTo>
                      <a:pt x="67" y="177"/>
                    </a:lnTo>
                    <a:lnTo>
                      <a:pt x="67" y="172"/>
                    </a:lnTo>
                    <a:lnTo>
                      <a:pt x="67" y="168"/>
                    </a:lnTo>
                    <a:lnTo>
                      <a:pt x="67" y="163"/>
                    </a:lnTo>
                    <a:lnTo>
                      <a:pt x="67" y="158"/>
                    </a:lnTo>
                    <a:lnTo>
                      <a:pt x="67" y="153"/>
                    </a:lnTo>
                    <a:lnTo>
                      <a:pt x="67" y="148"/>
                    </a:lnTo>
                    <a:lnTo>
                      <a:pt x="67" y="144"/>
                    </a:lnTo>
                    <a:lnTo>
                      <a:pt x="67" y="139"/>
                    </a:lnTo>
                    <a:lnTo>
                      <a:pt x="67" y="134"/>
                    </a:lnTo>
                    <a:lnTo>
                      <a:pt x="67" y="124"/>
                    </a:lnTo>
                    <a:lnTo>
                      <a:pt x="62" y="124"/>
                    </a:lnTo>
                    <a:lnTo>
                      <a:pt x="62" y="120"/>
                    </a:lnTo>
                    <a:lnTo>
                      <a:pt x="57" y="120"/>
                    </a:lnTo>
                    <a:lnTo>
                      <a:pt x="52" y="120"/>
                    </a:lnTo>
                    <a:lnTo>
                      <a:pt x="52" y="115"/>
                    </a:lnTo>
                    <a:lnTo>
                      <a:pt x="47" y="115"/>
                    </a:lnTo>
                    <a:lnTo>
                      <a:pt x="47" y="110"/>
                    </a:lnTo>
                    <a:lnTo>
                      <a:pt x="43" y="110"/>
                    </a:lnTo>
                    <a:lnTo>
                      <a:pt x="43" y="105"/>
                    </a:lnTo>
                    <a:lnTo>
                      <a:pt x="38" y="105"/>
                    </a:lnTo>
                    <a:lnTo>
                      <a:pt x="38" y="100"/>
                    </a:lnTo>
                    <a:lnTo>
                      <a:pt x="33" y="96"/>
                    </a:lnTo>
                    <a:lnTo>
                      <a:pt x="33" y="91"/>
                    </a:lnTo>
                    <a:lnTo>
                      <a:pt x="28" y="91"/>
                    </a:lnTo>
                    <a:lnTo>
                      <a:pt x="28" y="86"/>
                    </a:lnTo>
                    <a:lnTo>
                      <a:pt x="24" y="81"/>
                    </a:lnTo>
                    <a:lnTo>
                      <a:pt x="24" y="76"/>
                    </a:lnTo>
                    <a:lnTo>
                      <a:pt x="24" y="72"/>
                    </a:lnTo>
                    <a:lnTo>
                      <a:pt x="19" y="67"/>
                    </a:lnTo>
                    <a:lnTo>
                      <a:pt x="19" y="62"/>
                    </a:lnTo>
                    <a:lnTo>
                      <a:pt x="19" y="57"/>
                    </a:lnTo>
                    <a:lnTo>
                      <a:pt x="19" y="52"/>
                    </a:lnTo>
                    <a:lnTo>
                      <a:pt x="19" y="48"/>
                    </a:lnTo>
                    <a:lnTo>
                      <a:pt x="19" y="43"/>
                    </a:lnTo>
                    <a:lnTo>
                      <a:pt x="19" y="38"/>
                    </a:lnTo>
                    <a:lnTo>
                      <a:pt x="14" y="38"/>
                    </a:lnTo>
                    <a:lnTo>
                      <a:pt x="14" y="33"/>
                    </a:lnTo>
                    <a:lnTo>
                      <a:pt x="14" y="28"/>
                    </a:lnTo>
                    <a:lnTo>
                      <a:pt x="9" y="28"/>
                    </a:lnTo>
                    <a:lnTo>
                      <a:pt x="9" y="24"/>
                    </a:lnTo>
                    <a:lnTo>
                      <a:pt x="4" y="24"/>
                    </a:lnTo>
                    <a:lnTo>
                      <a:pt x="4" y="19"/>
                    </a:lnTo>
                    <a:lnTo>
                      <a:pt x="0" y="19"/>
                    </a:lnTo>
                    <a:close/>
                    <a:moveTo>
                      <a:pt x="575" y="676"/>
                    </a:moveTo>
                    <a:lnTo>
                      <a:pt x="580" y="676"/>
                    </a:lnTo>
                    <a:lnTo>
                      <a:pt x="585" y="676"/>
                    </a:lnTo>
                    <a:lnTo>
                      <a:pt x="590" y="672"/>
                    </a:lnTo>
                    <a:lnTo>
                      <a:pt x="595" y="672"/>
                    </a:lnTo>
                    <a:lnTo>
                      <a:pt x="595" y="667"/>
                    </a:lnTo>
                    <a:lnTo>
                      <a:pt x="599" y="667"/>
                    </a:lnTo>
                    <a:lnTo>
                      <a:pt x="604" y="662"/>
                    </a:lnTo>
                    <a:lnTo>
                      <a:pt x="604" y="657"/>
                    </a:lnTo>
                    <a:lnTo>
                      <a:pt x="609" y="657"/>
                    </a:lnTo>
                    <a:lnTo>
                      <a:pt x="609" y="652"/>
                    </a:lnTo>
                    <a:lnTo>
                      <a:pt x="614" y="652"/>
                    </a:lnTo>
                    <a:lnTo>
                      <a:pt x="614" y="648"/>
                    </a:lnTo>
                    <a:lnTo>
                      <a:pt x="619" y="648"/>
                    </a:lnTo>
                    <a:lnTo>
                      <a:pt x="623" y="648"/>
                    </a:lnTo>
                    <a:lnTo>
                      <a:pt x="623" y="643"/>
                    </a:lnTo>
                    <a:lnTo>
                      <a:pt x="619" y="643"/>
                    </a:lnTo>
                    <a:lnTo>
                      <a:pt x="614" y="643"/>
                    </a:lnTo>
                    <a:lnTo>
                      <a:pt x="614" y="638"/>
                    </a:lnTo>
                    <a:lnTo>
                      <a:pt x="614" y="633"/>
                    </a:lnTo>
                    <a:lnTo>
                      <a:pt x="619" y="633"/>
                    </a:lnTo>
                    <a:lnTo>
                      <a:pt x="623" y="633"/>
                    </a:lnTo>
                    <a:lnTo>
                      <a:pt x="633" y="633"/>
                    </a:lnTo>
                    <a:lnTo>
                      <a:pt x="643" y="628"/>
                    </a:lnTo>
                    <a:lnTo>
                      <a:pt x="647" y="628"/>
                    </a:lnTo>
                    <a:lnTo>
                      <a:pt x="652" y="624"/>
                    </a:lnTo>
                    <a:lnTo>
                      <a:pt x="652" y="628"/>
                    </a:lnTo>
                    <a:lnTo>
                      <a:pt x="657" y="624"/>
                    </a:lnTo>
                    <a:lnTo>
                      <a:pt x="652" y="624"/>
                    </a:lnTo>
                    <a:lnTo>
                      <a:pt x="652" y="619"/>
                    </a:lnTo>
                    <a:lnTo>
                      <a:pt x="647" y="624"/>
                    </a:lnTo>
                    <a:lnTo>
                      <a:pt x="643" y="624"/>
                    </a:lnTo>
                    <a:lnTo>
                      <a:pt x="638" y="624"/>
                    </a:lnTo>
                    <a:lnTo>
                      <a:pt x="643" y="619"/>
                    </a:lnTo>
                    <a:lnTo>
                      <a:pt x="647" y="619"/>
                    </a:lnTo>
                    <a:lnTo>
                      <a:pt x="647" y="614"/>
                    </a:lnTo>
                    <a:lnTo>
                      <a:pt x="652" y="614"/>
                    </a:lnTo>
                    <a:lnTo>
                      <a:pt x="657" y="614"/>
                    </a:lnTo>
                    <a:lnTo>
                      <a:pt x="657" y="619"/>
                    </a:lnTo>
                    <a:lnTo>
                      <a:pt x="662" y="619"/>
                    </a:lnTo>
                    <a:lnTo>
                      <a:pt x="662" y="614"/>
                    </a:lnTo>
                    <a:lnTo>
                      <a:pt x="657" y="614"/>
                    </a:lnTo>
                    <a:lnTo>
                      <a:pt x="657" y="609"/>
                    </a:lnTo>
                    <a:lnTo>
                      <a:pt x="662" y="604"/>
                    </a:lnTo>
                    <a:lnTo>
                      <a:pt x="667" y="600"/>
                    </a:lnTo>
                    <a:lnTo>
                      <a:pt x="667" y="595"/>
                    </a:lnTo>
                    <a:lnTo>
                      <a:pt x="667" y="590"/>
                    </a:lnTo>
                    <a:lnTo>
                      <a:pt x="671" y="590"/>
                    </a:lnTo>
                    <a:lnTo>
                      <a:pt x="671" y="585"/>
                    </a:lnTo>
                    <a:lnTo>
                      <a:pt x="676" y="580"/>
                    </a:lnTo>
                    <a:lnTo>
                      <a:pt x="681" y="580"/>
                    </a:lnTo>
                    <a:lnTo>
                      <a:pt x="681" y="585"/>
                    </a:lnTo>
                    <a:lnTo>
                      <a:pt x="681" y="590"/>
                    </a:lnTo>
                    <a:lnTo>
                      <a:pt x="681" y="604"/>
                    </a:lnTo>
                    <a:lnTo>
                      <a:pt x="676" y="614"/>
                    </a:lnTo>
                    <a:lnTo>
                      <a:pt x="671" y="628"/>
                    </a:lnTo>
                    <a:lnTo>
                      <a:pt x="671" y="633"/>
                    </a:lnTo>
                    <a:lnTo>
                      <a:pt x="667" y="643"/>
                    </a:lnTo>
                    <a:lnTo>
                      <a:pt x="662" y="643"/>
                    </a:lnTo>
                    <a:lnTo>
                      <a:pt x="662" y="648"/>
                    </a:lnTo>
                    <a:lnTo>
                      <a:pt x="662" y="652"/>
                    </a:lnTo>
                    <a:lnTo>
                      <a:pt x="662" y="657"/>
                    </a:lnTo>
                    <a:lnTo>
                      <a:pt x="657" y="662"/>
                    </a:lnTo>
                    <a:lnTo>
                      <a:pt x="657" y="667"/>
                    </a:lnTo>
                    <a:lnTo>
                      <a:pt x="652" y="667"/>
                    </a:lnTo>
                    <a:lnTo>
                      <a:pt x="647" y="667"/>
                    </a:lnTo>
                    <a:lnTo>
                      <a:pt x="643" y="662"/>
                    </a:lnTo>
                    <a:lnTo>
                      <a:pt x="638" y="662"/>
                    </a:lnTo>
                    <a:lnTo>
                      <a:pt x="633" y="667"/>
                    </a:lnTo>
                    <a:lnTo>
                      <a:pt x="628" y="667"/>
                    </a:lnTo>
                    <a:lnTo>
                      <a:pt x="628" y="672"/>
                    </a:lnTo>
                    <a:lnTo>
                      <a:pt x="623" y="676"/>
                    </a:lnTo>
                    <a:lnTo>
                      <a:pt x="628" y="681"/>
                    </a:lnTo>
                    <a:lnTo>
                      <a:pt x="628" y="686"/>
                    </a:lnTo>
                    <a:lnTo>
                      <a:pt x="623" y="686"/>
                    </a:lnTo>
                    <a:lnTo>
                      <a:pt x="619" y="691"/>
                    </a:lnTo>
                    <a:lnTo>
                      <a:pt x="614" y="691"/>
                    </a:lnTo>
                    <a:lnTo>
                      <a:pt x="609" y="691"/>
                    </a:lnTo>
                    <a:lnTo>
                      <a:pt x="604" y="691"/>
                    </a:lnTo>
                    <a:lnTo>
                      <a:pt x="599" y="691"/>
                    </a:lnTo>
                    <a:lnTo>
                      <a:pt x="595" y="691"/>
                    </a:lnTo>
                    <a:lnTo>
                      <a:pt x="590" y="691"/>
                    </a:lnTo>
                    <a:lnTo>
                      <a:pt x="585" y="686"/>
                    </a:lnTo>
                    <a:lnTo>
                      <a:pt x="585" y="681"/>
                    </a:lnTo>
                    <a:lnTo>
                      <a:pt x="580" y="676"/>
                    </a:lnTo>
                    <a:lnTo>
                      <a:pt x="575" y="676"/>
                    </a:lnTo>
                    <a:close/>
                    <a:moveTo>
                      <a:pt x="628" y="691"/>
                    </a:moveTo>
                    <a:lnTo>
                      <a:pt x="633" y="686"/>
                    </a:lnTo>
                    <a:lnTo>
                      <a:pt x="633" y="691"/>
                    </a:lnTo>
                    <a:lnTo>
                      <a:pt x="638" y="686"/>
                    </a:lnTo>
                    <a:lnTo>
                      <a:pt x="638" y="691"/>
                    </a:lnTo>
                    <a:lnTo>
                      <a:pt x="643" y="691"/>
                    </a:lnTo>
                    <a:lnTo>
                      <a:pt x="643" y="686"/>
                    </a:lnTo>
                    <a:lnTo>
                      <a:pt x="647" y="686"/>
                    </a:lnTo>
                    <a:lnTo>
                      <a:pt x="647" y="681"/>
                    </a:lnTo>
                    <a:lnTo>
                      <a:pt x="647" y="686"/>
                    </a:lnTo>
                    <a:lnTo>
                      <a:pt x="647" y="691"/>
                    </a:lnTo>
                    <a:lnTo>
                      <a:pt x="647" y="696"/>
                    </a:lnTo>
                    <a:lnTo>
                      <a:pt x="643" y="696"/>
                    </a:lnTo>
                    <a:lnTo>
                      <a:pt x="643" y="700"/>
                    </a:lnTo>
                    <a:lnTo>
                      <a:pt x="638" y="700"/>
                    </a:lnTo>
                    <a:lnTo>
                      <a:pt x="633" y="700"/>
                    </a:lnTo>
                    <a:lnTo>
                      <a:pt x="633" y="705"/>
                    </a:lnTo>
                    <a:lnTo>
                      <a:pt x="633" y="700"/>
                    </a:lnTo>
                    <a:lnTo>
                      <a:pt x="633" y="696"/>
                    </a:lnTo>
                    <a:lnTo>
                      <a:pt x="633" y="691"/>
                    </a:lnTo>
                    <a:lnTo>
                      <a:pt x="628" y="691"/>
                    </a:lnTo>
                    <a:close/>
                    <a:moveTo>
                      <a:pt x="508" y="508"/>
                    </a:moveTo>
                    <a:lnTo>
                      <a:pt x="513" y="504"/>
                    </a:lnTo>
                    <a:lnTo>
                      <a:pt x="518" y="504"/>
                    </a:lnTo>
                    <a:lnTo>
                      <a:pt x="523" y="504"/>
                    </a:lnTo>
                    <a:lnTo>
                      <a:pt x="523" y="508"/>
                    </a:lnTo>
                    <a:lnTo>
                      <a:pt x="518" y="508"/>
                    </a:lnTo>
                    <a:lnTo>
                      <a:pt x="513" y="508"/>
                    </a:lnTo>
                    <a:lnTo>
                      <a:pt x="508" y="508"/>
                    </a:lnTo>
                    <a:close/>
                    <a:moveTo>
                      <a:pt x="619" y="710"/>
                    </a:moveTo>
                    <a:lnTo>
                      <a:pt x="628" y="710"/>
                    </a:lnTo>
                    <a:lnTo>
                      <a:pt x="628" y="715"/>
                    </a:lnTo>
                    <a:lnTo>
                      <a:pt x="619" y="715"/>
                    </a:lnTo>
                    <a:lnTo>
                      <a:pt x="619" y="710"/>
                    </a:lnTo>
                    <a:close/>
                    <a:moveTo>
                      <a:pt x="484" y="633"/>
                    </a:moveTo>
                    <a:lnTo>
                      <a:pt x="484" y="624"/>
                    </a:lnTo>
                    <a:lnTo>
                      <a:pt x="489" y="624"/>
                    </a:lnTo>
                    <a:lnTo>
                      <a:pt x="489" y="619"/>
                    </a:lnTo>
                    <a:lnTo>
                      <a:pt x="489" y="624"/>
                    </a:lnTo>
                    <a:lnTo>
                      <a:pt x="484" y="628"/>
                    </a:lnTo>
                    <a:lnTo>
                      <a:pt x="484" y="633"/>
                    </a:lnTo>
                    <a:close/>
                    <a:moveTo>
                      <a:pt x="647" y="672"/>
                    </a:moveTo>
                    <a:lnTo>
                      <a:pt x="652" y="672"/>
                    </a:lnTo>
                    <a:lnTo>
                      <a:pt x="652" y="676"/>
                    </a:lnTo>
                    <a:lnTo>
                      <a:pt x="647" y="676"/>
                    </a:lnTo>
                    <a:lnTo>
                      <a:pt x="647" y="672"/>
                    </a:lnTo>
                    <a:close/>
                    <a:moveTo>
                      <a:pt x="551" y="676"/>
                    </a:moveTo>
                    <a:lnTo>
                      <a:pt x="561" y="676"/>
                    </a:lnTo>
                    <a:lnTo>
                      <a:pt x="551" y="676"/>
                    </a:lnTo>
                    <a:close/>
                    <a:moveTo>
                      <a:pt x="479" y="633"/>
                    </a:moveTo>
                    <a:lnTo>
                      <a:pt x="484" y="633"/>
                    </a:lnTo>
                    <a:lnTo>
                      <a:pt x="484" y="638"/>
                    </a:lnTo>
                    <a:lnTo>
                      <a:pt x="479" y="638"/>
                    </a:lnTo>
                    <a:lnTo>
                      <a:pt x="479" y="633"/>
                    </a:lnTo>
                    <a:close/>
                    <a:moveTo>
                      <a:pt x="686" y="340"/>
                    </a:moveTo>
                    <a:lnTo>
                      <a:pt x="691" y="340"/>
                    </a:lnTo>
                    <a:lnTo>
                      <a:pt x="691" y="345"/>
                    </a:lnTo>
                    <a:lnTo>
                      <a:pt x="686" y="345"/>
                    </a:lnTo>
                    <a:lnTo>
                      <a:pt x="686" y="340"/>
                    </a:lnTo>
                    <a:close/>
                    <a:moveTo>
                      <a:pt x="475" y="628"/>
                    </a:moveTo>
                    <a:lnTo>
                      <a:pt x="479" y="628"/>
                    </a:lnTo>
                    <a:lnTo>
                      <a:pt x="479" y="633"/>
                    </a:lnTo>
                    <a:lnTo>
                      <a:pt x="475" y="633"/>
                    </a:lnTo>
                    <a:lnTo>
                      <a:pt x="475" y="628"/>
                    </a:lnTo>
                    <a:close/>
                  </a:path>
                </a:pathLst>
              </a:custGeom>
              <a:solidFill>
                <a:schemeClr val="accent6">
                  <a:lumMod val="40000"/>
                  <a:lumOff val="6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51" name="Freeform 18"/>
              <p:cNvSpPr>
                <a:spLocks noEditPoints="1"/>
              </p:cNvSpPr>
              <p:nvPr/>
            </p:nvSpPr>
            <p:spPr bwMode="gray">
              <a:xfrm>
                <a:off x="6640513" y="3503613"/>
                <a:ext cx="204788" cy="174625"/>
              </a:xfrm>
              <a:custGeom>
                <a:avLst/>
                <a:gdLst>
                  <a:gd name="T0" fmla="*/ 28 w 129"/>
                  <a:gd name="T1" fmla="*/ 5 h 110"/>
                  <a:gd name="T2" fmla="*/ 33 w 129"/>
                  <a:gd name="T3" fmla="*/ 9 h 110"/>
                  <a:gd name="T4" fmla="*/ 33 w 129"/>
                  <a:gd name="T5" fmla="*/ 14 h 110"/>
                  <a:gd name="T6" fmla="*/ 33 w 129"/>
                  <a:gd name="T7" fmla="*/ 14 h 110"/>
                  <a:gd name="T8" fmla="*/ 43 w 129"/>
                  <a:gd name="T9" fmla="*/ 33 h 110"/>
                  <a:gd name="T10" fmla="*/ 52 w 129"/>
                  <a:gd name="T11" fmla="*/ 29 h 110"/>
                  <a:gd name="T12" fmla="*/ 57 w 129"/>
                  <a:gd name="T13" fmla="*/ 33 h 110"/>
                  <a:gd name="T14" fmla="*/ 57 w 129"/>
                  <a:gd name="T15" fmla="*/ 43 h 110"/>
                  <a:gd name="T16" fmla="*/ 48 w 129"/>
                  <a:gd name="T17" fmla="*/ 53 h 110"/>
                  <a:gd name="T18" fmla="*/ 48 w 129"/>
                  <a:gd name="T19" fmla="*/ 53 h 110"/>
                  <a:gd name="T20" fmla="*/ 52 w 129"/>
                  <a:gd name="T21" fmla="*/ 48 h 110"/>
                  <a:gd name="T22" fmla="*/ 57 w 129"/>
                  <a:gd name="T23" fmla="*/ 57 h 110"/>
                  <a:gd name="T24" fmla="*/ 57 w 129"/>
                  <a:gd name="T25" fmla="*/ 67 h 110"/>
                  <a:gd name="T26" fmla="*/ 52 w 129"/>
                  <a:gd name="T27" fmla="*/ 72 h 110"/>
                  <a:gd name="T28" fmla="*/ 62 w 129"/>
                  <a:gd name="T29" fmla="*/ 72 h 110"/>
                  <a:gd name="T30" fmla="*/ 57 w 129"/>
                  <a:gd name="T31" fmla="*/ 67 h 110"/>
                  <a:gd name="T32" fmla="*/ 62 w 129"/>
                  <a:gd name="T33" fmla="*/ 62 h 110"/>
                  <a:gd name="T34" fmla="*/ 62 w 129"/>
                  <a:gd name="T35" fmla="*/ 57 h 110"/>
                  <a:gd name="T36" fmla="*/ 67 w 129"/>
                  <a:gd name="T37" fmla="*/ 53 h 110"/>
                  <a:gd name="T38" fmla="*/ 72 w 129"/>
                  <a:gd name="T39" fmla="*/ 57 h 110"/>
                  <a:gd name="T40" fmla="*/ 76 w 129"/>
                  <a:gd name="T41" fmla="*/ 62 h 110"/>
                  <a:gd name="T42" fmla="*/ 81 w 129"/>
                  <a:gd name="T43" fmla="*/ 67 h 110"/>
                  <a:gd name="T44" fmla="*/ 96 w 129"/>
                  <a:gd name="T45" fmla="*/ 67 h 110"/>
                  <a:gd name="T46" fmla="*/ 100 w 129"/>
                  <a:gd name="T47" fmla="*/ 72 h 110"/>
                  <a:gd name="T48" fmla="*/ 110 w 129"/>
                  <a:gd name="T49" fmla="*/ 67 h 110"/>
                  <a:gd name="T50" fmla="*/ 115 w 129"/>
                  <a:gd name="T51" fmla="*/ 72 h 110"/>
                  <a:gd name="T52" fmla="*/ 120 w 129"/>
                  <a:gd name="T53" fmla="*/ 77 h 110"/>
                  <a:gd name="T54" fmla="*/ 124 w 129"/>
                  <a:gd name="T55" fmla="*/ 86 h 110"/>
                  <a:gd name="T56" fmla="*/ 124 w 129"/>
                  <a:gd name="T57" fmla="*/ 96 h 110"/>
                  <a:gd name="T58" fmla="*/ 129 w 129"/>
                  <a:gd name="T59" fmla="*/ 105 h 110"/>
                  <a:gd name="T60" fmla="*/ 96 w 129"/>
                  <a:gd name="T61" fmla="*/ 110 h 110"/>
                  <a:gd name="T62" fmla="*/ 76 w 129"/>
                  <a:gd name="T63" fmla="*/ 110 h 110"/>
                  <a:gd name="T64" fmla="*/ 38 w 129"/>
                  <a:gd name="T65" fmla="*/ 105 h 110"/>
                  <a:gd name="T66" fmla="*/ 24 w 129"/>
                  <a:gd name="T67" fmla="*/ 96 h 110"/>
                  <a:gd name="T68" fmla="*/ 4 w 129"/>
                  <a:gd name="T69" fmla="*/ 86 h 110"/>
                  <a:gd name="T70" fmla="*/ 0 w 129"/>
                  <a:gd name="T71" fmla="*/ 67 h 110"/>
                  <a:gd name="T72" fmla="*/ 4 w 129"/>
                  <a:gd name="T73" fmla="*/ 48 h 110"/>
                  <a:gd name="T74" fmla="*/ 4 w 129"/>
                  <a:gd name="T75" fmla="*/ 33 h 110"/>
                  <a:gd name="T76" fmla="*/ 9 w 129"/>
                  <a:gd name="T77" fmla="*/ 19 h 110"/>
                  <a:gd name="T78" fmla="*/ 48 w 129"/>
                  <a:gd name="T79" fmla="*/ 14 h 110"/>
                  <a:gd name="T80" fmla="*/ 48 w 129"/>
                  <a:gd name="T81" fmla="*/ 19 h 110"/>
                  <a:gd name="T82" fmla="*/ 43 w 129"/>
                  <a:gd name="T83" fmla="*/ 0 h 110"/>
                  <a:gd name="T84" fmla="*/ 43 w 129"/>
                  <a:gd name="T85" fmla="*/ 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9" h="110">
                    <a:moveTo>
                      <a:pt x="28" y="0"/>
                    </a:moveTo>
                    <a:lnTo>
                      <a:pt x="28" y="5"/>
                    </a:lnTo>
                    <a:lnTo>
                      <a:pt x="33" y="5"/>
                    </a:lnTo>
                    <a:lnTo>
                      <a:pt x="33" y="9"/>
                    </a:lnTo>
                    <a:lnTo>
                      <a:pt x="28" y="9"/>
                    </a:lnTo>
                    <a:lnTo>
                      <a:pt x="33" y="14"/>
                    </a:lnTo>
                    <a:lnTo>
                      <a:pt x="33" y="9"/>
                    </a:lnTo>
                    <a:lnTo>
                      <a:pt x="33" y="14"/>
                    </a:lnTo>
                    <a:lnTo>
                      <a:pt x="38" y="24"/>
                    </a:lnTo>
                    <a:lnTo>
                      <a:pt x="43" y="33"/>
                    </a:lnTo>
                    <a:lnTo>
                      <a:pt x="48" y="33"/>
                    </a:lnTo>
                    <a:lnTo>
                      <a:pt x="52" y="29"/>
                    </a:lnTo>
                    <a:lnTo>
                      <a:pt x="52" y="33"/>
                    </a:lnTo>
                    <a:lnTo>
                      <a:pt x="57" y="33"/>
                    </a:lnTo>
                    <a:lnTo>
                      <a:pt x="52" y="38"/>
                    </a:lnTo>
                    <a:lnTo>
                      <a:pt x="57" y="43"/>
                    </a:lnTo>
                    <a:lnTo>
                      <a:pt x="52" y="48"/>
                    </a:lnTo>
                    <a:lnTo>
                      <a:pt x="48" y="53"/>
                    </a:lnTo>
                    <a:lnTo>
                      <a:pt x="48" y="57"/>
                    </a:lnTo>
                    <a:lnTo>
                      <a:pt x="48" y="53"/>
                    </a:lnTo>
                    <a:lnTo>
                      <a:pt x="52" y="53"/>
                    </a:lnTo>
                    <a:lnTo>
                      <a:pt x="52" y="48"/>
                    </a:lnTo>
                    <a:lnTo>
                      <a:pt x="57" y="53"/>
                    </a:lnTo>
                    <a:lnTo>
                      <a:pt x="57" y="57"/>
                    </a:lnTo>
                    <a:lnTo>
                      <a:pt x="57" y="62"/>
                    </a:lnTo>
                    <a:lnTo>
                      <a:pt x="57" y="67"/>
                    </a:lnTo>
                    <a:lnTo>
                      <a:pt x="57" y="72"/>
                    </a:lnTo>
                    <a:lnTo>
                      <a:pt x="52" y="72"/>
                    </a:lnTo>
                    <a:lnTo>
                      <a:pt x="57" y="72"/>
                    </a:lnTo>
                    <a:lnTo>
                      <a:pt x="62" y="72"/>
                    </a:lnTo>
                    <a:lnTo>
                      <a:pt x="57" y="72"/>
                    </a:lnTo>
                    <a:lnTo>
                      <a:pt x="57" y="67"/>
                    </a:lnTo>
                    <a:lnTo>
                      <a:pt x="62" y="67"/>
                    </a:lnTo>
                    <a:lnTo>
                      <a:pt x="62" y="62"/>
                    </a:lnTo>
                    <a:lnTo>
                      <a:pt x="57" y="57"/>
                    </a:lnTo>
                    <a:lnTo>
                      <a:pt x="62" y="57"/>
                    </a:lnTo>
                    <a:lnTo>
                      <a:pt x="62" y="53"/>
                    </a:lnTo>
                    <a:lnTo>
                      <a:pt x="67" y="53"/>
                    </a:lnTo>
                    <a:lnTo>
                      <a:pt x="67" y="57"/>
                    </a:lnTo>
                    <a:lnTo>
                      <a:pt x="72" y="57"/>
                    </a:lnTo>
                    <a:lnTo>
                      <a:pt x="76" y="57"/>
                    </a:lnTo>
                    <a:lnTo>
                      <a:pt x="76" y="62"/>
                    </a:lnTo>
                    <a:lnTo>
                      <a:pt x="76" y="67"/>
                    </a:lnTo>
                    <a:lnTo>
                      <a:pt x="81" y="67"/>
                    </a:lnTo>
                    <a:lnTo>
                      <a:pt x="86" y="67"/>
                    </a:lnTo>
                    <a:lnTo>
                      <a:pt x="96" y="67"/>
                    </a:lnTo>
                    <a:lnTo>
                      <a:pt x="96" y="72"/>
                    </a:lnTo>
                    <a:lnTo>
                      <a:pt x="100" y="72"/>
                    </a:lnTo>
                    <a:lnTo>
                      <a:pt x="110" y="72"/>
                    </a:lnTo>
                    <a:lnTo>
                      <a:pt x="110" y="67"/>
                    </a:lnTo>
                    <a:lnTo>
                      <a:pt x="110" y="72"/>
                    </a:lnTo>
                    <a:lnTo>
                      <a:pt x="115" y="72"/>
                    </a:lnTo>
                    <a:lnTo>
                      <a:pt x="115" y="77"/>
                    </a:lnTo>
                    <a:lnTo>
                      <a:pt x="120" y="77"/>
                    </a:lnTo>
                    <a:lnTo>
                      <a:pt x="120" y="81"/>
                    </a:lnTo>
                    <a:lnTo>
                      <a:pt x="124" y="86"/>
                    </a:lnTo>
                    <a:lnTo>
                      <a:pt x="124" y="91"/>
                    </a:lnTo>
                    <a:lnTo>
                      <a:pt x="124" y="96"/>
                    </a:lnTo>
                    <a:lnTo>
                      <a:pt x="129" y="101"/>
                    </a:lnTo>
                    <a:lnTo>
                      <a:pt x="129" y="105"/>
                    </a:lnTo>
                    <a:lnTo>
                      <a:pt x="105" y="110"/>
                    </a:lnTo>
                    <a:lnTo>
                      <a:pt x="96" y="110"/>
                    </a:lnTo>
                    <a:lnTo>
                      <a:pt x="91" y="110"/>
                    </a:lnTo>
                    <a:lnTo>
                      <a:pt x="76" y="110"/>
                    </a:lnTo>
                    <a:lnTo>
                      <a:pt x="62" y="110"/>
                    </a:lnTo>
                    <a:lnTo>
                      <a:pt x="38" y="105"/>
                    </a:lnTo>
                    <a:lnTo>
                      <a:pt x="28" y="101"/>
                    </a:lnTo>
                    <a:lnTo>
                      <a:pt x="24" y="96"/>
                    </a:lnTo>
                    <a:lnTo>
                      <a:pt x="19" y="91"/>
                    </a:lnTo>
                    <a:lnTo>
                      <a:pt x="4" y="86"/>
                    </a:lnTo>
                    <a:lnTo>
                      <a:pt x="0" y="72"/>
                    </a:lnTo>
                    <a:lnTo>
                      <a:pt x="0" y="67"/>
                    </a:lnTo>
                    <a:lnTo>
                      <a:pt x="4" y="57"/>
                    </a:lnTo>
                    <a:lnTo>
                      <a:pt x="4" y="48"/>
                    </a:lnTo>
                    <a:lnTo>
                      <a:pt x="4" y="38"/>
                    </a:lnTo>
                    <a:lnTo>
                      <a:pt x="4" y="33"/>
                    </a:lnTo>
                    <a:lnTo>
                      <a:pt x="4" y="29"/>
                    </a:lnTo>
                    <a:lnTo>
                      <a:pt x="9" y="19"/>
                    </a:lnTo>
                    <a:lnTo>
                      <a:pt x="28" y="0"/>
                    </a:lnTo>
                    <a:close/>
                    <a:moveTo>
                      <a:pt x="48" y="14"/>
                    </a:moveTo>
                    <a:lnTo>
                      <a:pt x="48" y="19"/>
                    </a:lnTo>
                    <a:lnTo>
                      <a:pt x="48" y="19"/>
                    </a:lnTo>
                    <a:lnTo>
                      <a:pt x="48" y="14"/>
                    </a:lnTo>
                    <a:close/>
                    <a:moveTo>
                      <a:pt x="43" y="0"/>
                    </a:moveTo>
                    <a:lnTo>
                      <a:pt x="43" y="5"/>
                    </a:lnTo>
                    <a:lnTo>
                      <a:pt x="43" y="5"/>
                    </a:lnTo>
                    <a:lnTo>
                      <a:pt x="43" y="0"/>
                    </a:lnTo>
                    <a:close/>
                  </a:path>
                </a:pathLst>
              </a:custGeom>
              <a:solidFill>
                <a:schemeClr val="accent6">
                  <a:lumMod val="40000"/>
                  <a:lumOff val="6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52" name="Freeform 19"/>
              <p:cNvSpPr>
                <a:spLocks/>
              </p:cNvSpPr>
              <p:nvPr/>
            </p:nvSpPr>
            <p:spPr bwMode="gray">
              <a:xfrm>
                <a:off x="4583113" y="2260600"/>
                <a:ext cx="982663" cy="1638300"/>
              </a:xfrm>
              <a:custGeom>
                <a:avLst/>
                <a:gdLst>
                  <a:gd name="T0" fmla="*/ 125 w 619"/>
                  <a:gd name="T1" fmla="*/ 207 h 1032"/>
                  <a:gd name="T2" fmla="*/ 163 w 619"/>
                  <a:gd name="T3" fmla="*/ 168 h 1032"/>
                  <a:gd name="T4" fmla="*/ 187 w 619"/>
                  <a:gd name="T5" fmla="*/ 115 h 1032"/>
                  <a:gd name="T6" fmla="*/ 221 w 619"/>
                  <a:gd name="T7" fmla="*/ 72 h 1032"/>
                  <a:gd name="T8" fmla="*/ 249 w 619"/>
                  <a:gd name="T9" fmla="*/ 34 h 1032"/>
                  <a:gd name="T10" fmla="*/ 302 w 619"/>
                  <a:gd name="T11" fmla="*/ 34 h 1032"/>
                  <a:gd name="T12" fmla="*/ 350 w 619"/>
                  <a:gd name="T13" fmla="*/ 15 h 1032"/>
                  <a:gd name="T14" fmla="*/ 389 w 619"/>
                  <a:gd name="T15" fmla="*/ 15 h 1032"/>
                  <a:gd name="T16" fmla="*/ 393 w 619"/>
                  <a:gd name="T17" fmla="*/ 63 h 1032"/>
                  <a:gd name="T18" fmla="*/ 403 w 619"/>
                  <a:gd name="T19" fmla="*/ 115 h 1032"/>
                  <a:gd name="T20" fmla="*/ 403 w 619"/>
                  <a:gd name="T21" fmla="*/ 168 h 1032"/>
                  <a:gd name="T22" fmla="*/ 389 w 619"/>
                  <a:gd name="T23" fmla="*/ 221 h 1032"/>
                  <a:gd name="T24" fmla="*/ 379 w 619"/>
                  <a:gd name="T25" fmla="*/ 274 h 1032"/>
                  <a:gd name="T26" fmla="*/ 369 w 619"/>
                  <a:gd name="T27" fmla="*/ 327 h 1032"/>
                  <a:gd name="T28" fmla="*/ 393 w 619"/>
                  <a:gd name="T29" fmla="*/ 351 h 1032"/>
                  <a:gd name="T30" fmla="*/ 384 w 619"/>
                  <a:gd name="T31" fmla="*/ 399 h 1032"/>
                  <a:gd name="T32" fmla="*/ 413 w 619"/>
                  <a:gd name="T33" fmla="*/ 437 h 1032"/>
                  <a:gd name="T34" fmla="*/ 461 w 619"/>
                  <a:gd name="T35" fmla="*/ 476 h 1032"/>
                  <a:gd name="T36" fmla="*/ 504 w 619"/>
                  <a:gd name="T37" fmla="*/ 519 h 1032"/>
                  <a:gd name="T38" fmla="*/ 547 w 619"/>
                  <a:gd name="T39" fmla="*/ 557 h 1032"/>
                  <a:gd name="T40" fmla="*/ 600 w 619"/>
                  <a:gd name="T41" fmla="*/ 562 h 1032"/>
                  <a:gd name="T42" fmla="*/ 590 w 619"/>
                  <a:gd name="T43" fmla="*/ 581 h 1032"/>
                  <a:gd name="T44" fmla="*/ 561 w 619"/>
                  <a:gd name="T45" fmla="*/ 620 h 1032"/>
                  <a:gd name="T46" fmla="*/ 566 w 619"/>
                  <a:gd name="T47" fmla="*/ 672 h 1032"/>
                  <a:gd name="T48" fmla="*/ 561 w 619"/>
                  <a:gd name="T49" fmla="*/ 720 h 1032"/>
                  <a:gd name="T50" fmla="*/ 528 w 619"/>
                  <a:gd name="T51" fmla="*/ 744 h 1032"/>
                  <a:gd name="T52" fmla="*/ 513 w 619"/>
                  <a:gd name="T53" fmla="*/ 778 h 1032"/>
                  <a:gd name="T54" fmla="*/ 499 w 619"/>
                  <a:gd name="T55" fmla="*/ 821 h 1032"/>
                  <a:gd name="T56" fmla="*/ 504 w 619"/>
                  <a:gd name="T57" fmla="*/ 869 h 1032"/>
                  <a:gd name="T58" fmla="*/ 494 w 619"/>
                  <a:gd name="T59" fmla="*/ 912 h 1032"/>
                  <a:gd name="T60" fmla="*/ 470 w 619"/>
                  <a:gd name="T61" fmla="*/ 946 h 1032"/>
                  <a:gd name="T62" fmla="*/ 470 w 619"/>
                  <a:gd name="T63" fmla="*/ 989 h 1032"/>
                  <a:gd name="T64" fmla="*/ 456 w 619"/>
                  <a:gd name="T65" fmla="*/ 1028 h 1032"/>
                  <a:gd name="T66" fmla="*/ 432 w 619"/>
                  <a:gd name="T67" fmla="*/ 1004 h 1032"/>
                  <a:gd name="T68" fmla="*/ 393 w 619"/>
                  <a:gd name="T69" fmla="*/ 984 h 1032"/>
                  <a:gd name="T70" fmla="*/ 369 w 619"/>
                  <a:gd name="T71" fmla="*/ 951 h 1032"/>
                  <a:gd name="T72" fmla="*/ 336 w 619"/>
                  <a:gd name="T73" fmla="*/ 936 h 1032"/>
                  <a:gd name="T74" fmla="*/ 288 w 619"/>
                  <a:gd name="T75" fmla="*/ 941 h 1032"/>
                  <a:gd name="T76" fmla="*/ 249 w 619"/>
                  <a:gd name="T77" fmla="*/ 927 h 1032"/>
                  <a:gd name="T78" fmla="*/ 211 w 619"/>
                  <a:gd name="T79" fmla="*/ 927 h 1032"/>
                  <a:gd name="T80" fmla="*/ 173 w 619"/>
                  <a:gd name="T81" fmla="*/ 912 h 1032"/>
                  <a:gd name="T82" fmla="*/ 134 w 619"/>
                  <a:gd name="T83" fmla="*/ 893 h 1032"/>
                  <a:gd name="T84" fmla="*/ 96 w 619"/>
                  <a:gd name="T85" fmla="*/ 874 h 1032"/>
                  <a:gd name="T86" fmla="*/ 48 w 619"/>
                  <a:gd name="T87" fmla="*/ 888 h 1032"/>
                  <a:gd name="T88" fmla="*/ 9 w 619"/>
                  <a:gd name="T89" fmla="*/ 874 h 1032"/>
                  <a:gd name="T90" fmla="*/ 5 w 619"/>
                  <a:gd name="T91" fmla="*/ 831 h 1032"/>
                  <a:gd name="T92" fmla="*/ 24 w 619"/>
                  <a:gd name="T93" fmla="*/ 788 h 1032"/>
                  <a:gd name="T94" fmla="*/ 53 w 619"/>
                  <a:gd name="T95" fmla="*/ 740 h 1032"/>
                  <a:gd name="T96" fmla="*/ 62 w 619"/>
                  <a:gd name="T97" fmla="*/ 687 h 1032"/>
                  <a:gd name="T98" fmla="*/ 43 w 619"/>
                  <a:gd name="T99" fmla="*/ 648 h 1032"/>
                  <a:gd name="T100" fmla="*/ 48 w 619"/>
                  <a:gd name="T101" fmla="*/ 596 h 1032"/>
                  <a:gd name="T102" fmla="*/ 53 w 619"/>
                  <a:gd name="T103" fmla="*/ 548 h 1032"/>
                  <a:gd name="T104" fmla="*/ 72 w 619"/>
                  <a:gd name="T105" fmla="*/ 500 h 1032"/>
                  <a:gd name="T106" fmla="*/ 77 w 619"/>
                  <a:gd name="T107" fmla="*/ 456 h 1032"/>
                  <a:gd name="T108" fmla="*/ 53 w 619"/>
                  <a:gd name="T109" fmla="*/ 418 h 1032"/>
                  <a:gd name="T110" fmla="*/ 24 w 619"/>
                  <a:gd name="T111" fmla="*/ 389 h 1032"/>
                  <a:gd name="T112" fmla="*/ 19 w 619"/>
                  <a:gd name="T113" fmla="*/ 336 h 1032"/>
                  <a:gd name="T114" fmla="*/ 33 w 619"/>
                  <a:gd name="T115" fmla="*/ 288 h 1032"/>
                  <a:gd name="T116" fmla="*/ 72 w 619"/>
                  <a:gd name="T117" fmla="*/ 284 h 1032"/>
                  <a:gd name="T118" fmla="*/ 81 w 619"/>
                  <a:gd name="T119" fmla="*/ 255 h 1032"/>
                  <a:gd name="T120" fmla="*/ 81 w 619"/>
                  <a:gd name="T121" fmla="*/ 207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9" h="1032">
                    <a:moveTo>
                      <a:pt x="81" y="197"/>
                    </a:moveTo>
                    <a:lnTo>
                      <a:pt x="81" y="202"/>
                    </a:lnTo>
                    <a:lnTo>
                      <a:pt x="86" y="202"/>
                    </a:lnTo>
                    <a:lnTo>
                      <a:pt x="91" y="202"/>
                    </a:lnTo>
                    <a:lnTo>
                      <a:pt x="96" y="202"/>
                    </a:lnTo>
                    <a:lnTo>
                      <a:pt x="101" y="202"/>
                    </a:lnTo>
                    <a:lnTo>
                      <a:pt x="105" y="202"/>
                    </a:lnTo>
                    <a:lnTo>
                      <a:pt x="110" y="207"/>
                    </a:lnTo>
                    <a:lnTo>
                      <a:pt x="115" y="207"/>
                    </a:lnTo>
                    <a:lnTo>
                      <a:pt x="120" y="207"/>
                    </a:lnTo>
                    <a:lnTo>
                      <a:pt x="125" y="207"/>
                    </a:lnTo>
                    <a:lnTo>
                      <a:pt x="129" y="207"/>
                    </a:lnTo>
                    <a:lnTo>
                      <a:pt x="134" y="207"/>
                    </a:lnTo>
                    <a:lnTo>
                      <a:pt x="134" y="202"/>
                    </a:lnTo>
                    <a:lnTo>
                      <a:pt x="139" y="197"/>
                    </a:lnTo>
                    <a:lnTo>
                      <a:pt x="144" y="197"/>
                    </a:lnTo>
                    <a:lnTo>
                      <a:pt x="144" y="192"/>
                    </a:lnTo>
                    <a:lnTo>
                      <a:pt x="149" y="188"/>
                    </a:lnTo>
                    <a:lnTo>
                      <a:pt x="153" y="183"/>
                    </a:lnTo>
                    <a:lnTo>
                      <a:pt x="153" y="178"/>
                    </a:lnTo>
                    <a:lnTo>
                      <a:pt x="158" y="173"/>
                    </a:lnTo>
                    <a:lnTo>
                      <a:pt x="163" y="168"/>
                    </a:lnTo>
                    <a:lnTo>
                      <a:pt x="163" y="164"/>
                    </a:lnTo>
                    <a:lnTo>
                      <a:pt x="168" y="159"/>
                    </a:lnTo>
                    <a:lnTo>
                      <a:pt x="173" y="154"/>
                    </a:lnTo>
                    <a:lnTo>
                      <a:pt x="173" y="149"/>
                    </a:lnTo>
                    <a:lnTo>
                      <a:pt x="177" y="144"/>
                    </a:lnTo>
                    <a:lnTo>
                      <a:pt x="182" y="139"/>
                    </a:lnTo>
                    <a:lnTo>
                      <a:pt x="187" y="135"/>
                    </a:lnTo>
                    <a:lnTo>
                      <a:pt x="187" y="130"/>
                    </a:lnTo>
                    <a:lnTo>
                      <a:pt x="187" y="125"/>
                    </a:lnTo>
                    <a:lnTo>
                      <a:pt x="187" y="120"/>
                    </a:lnTo>
                    <a:lnTo>
                      <a:pt x="187" y="115"/>
                    </a:lnTo>
                    <a:lnTo>
                      <a:pt x="187" y="111"/>
                    </a:lnTo>
                    <a:lnTo>
                      <a:pt x="192" y="106"/>
                    </a:lnTo>
                    <a:lnTo>
                      <a:pt x="192" y="101"/>
                    </a:lnTo>
                    <a:lnTo>
                      <a:pt x="192" y="96"/>
                    </a:lnTo>
                    <a:lnTo>
                      <a:pt x="192" y="91"/>
                    </a:lnTo>
                    <a:lnTo>
                      <a:pt x="197" y="91"/>
                    </a:lnTo>
                    <a:lnTo>
                      <a:pt x="201" y="87"/>
                    </a:lnTo>
                    <a:lnTo>
                      <a:pt x="206" y="82"/>
                    </a:lnTo>
                    <a:lnTo>
                      <a:pt x="211" y="82"/>
                    </a:lnTo>
                    <a:lnTo>
                      <a:pt x="216" y="77"/>
                    </a:lnTo>
                    <a:lnTo>
                      <a:pt x="221" y="72"/>
                    </a:lnTo>
                    <a:lnTo>
                      <a:pt x="225" y="72"/>
                    </a:lnTo>
                    <a:lnTo>
                      <a:pt x="230" y="67"/>
                    </a:lnTo>
                    <a:lnTo>
                      <a:pt x="235" y="67"/>
                    </a:lnTo>
                    <a:lnTo>
                      <a:pt x="240" y="63"/>
                    </a:lnTo>
                    <a:lnTo>
                      <a:pt x="240" y="58"/>
                    </a:lnTo>
                    <a:lnTo>
                      <a:pt x="245" y="58"/>
                    </a:lnTo>
                    <a:lnTo>
                      <a:pt x="245" y="53"/>
                    </a:lnTo>
                    <a:lnTo>
                      <a:pt x="245" y="48"/>
                    </a:lnTo>
                    <a:lnTo>
                      <a:pt x="249" y="43"/>
                    </a:lnTo>
                    <a:lnTo>
                      <a:pt x="249" y="39"/>
                    </a:lnTo>
                    <a:lnTo>
                      <a:pt x="249" y="34"/>
                    </a:lnTo>
                    <a:lnTo>
                      <a:pt x="254" y="34"/>
                    </a:lnTo>
                    <a:lnTo>
                      <a:pt x="259" y="39"/>
                    </a:lnTo>
                    <a:lnTo>
                      <a:pt x="264" y="39"/>
                    </a:lnTo>
                    <a:lnTo>
                      <a:pt x="269" y="43"/>
                    </a:lnTo>
                    <a:lnTo>
                      <a:pt x="273" y="43"/>
                    </a:lnTo>
                    <a:lnTo>
                      <a:pt x="278" y="43"/>
                    </a:lnTo>
                    <a:lnTo>
                      <a:pt x="283" y="43"/>
                    </a:lnTo>
                    <a:lnTo>
                      <a:pt x="288" y="39"/>
                    </a:lnTo>
                    <a:lnTo>
                      <a:pt x="293" y="39"/>
                    </a:lnTo>
                    <a:lnTo>
                      <a:pt x="297" y="39"/>
                    </a:lnTo>
                    <a:lnTo>
                      <a:pt x="302" y="34"/>
                    </a:lnTo>
                    <a:lnTo>
                      <a:pt x="307" y="34"/>
                    </a:lnTo>
                    <a:lnTo>
                      <a:pt x="312" y="34"/>
                    </a:lnTo>
                    <a:lnTo>
                      <a:pt x="312" y="29"/>
                    </a:lnTo>
                    <a:lnTo>
                      <a:pt x="317" y="29"/>
                    </a:lnTo>
                    <a:lnTo>
                      <a:pt x="321" y="24"/>
                    </a:lnTo>
                    <a:lnTo>
                      <a:pt x="326" y="24"/>
                    </a:lnTo>
                    <a:lnTo>
                      <a:pt x="331" y="24"/>
                    </a:lnTo>
                    <a:lnTo>
                      <a:pt x="336" y="19"/>
                    </a:lnTo>
                    <a:lnTo>
                      <a:pt x="341" y="19"/>
                    </a:lnTo>
                    <a:lnTo>
                      <a:pt x="345" y="19"/>
                    </a:lnTo>
                    <a:lnTo>
                      <a:pt x="350" y="15"/>
                    </a:lnTo>
                    <a:lnTo>
                      <a:pt x="355" y="15"/>
                    </a:lnTo>
                    <a:lnTo>
                      <a:pt x="360" y="10"/>
                    </a:lnTo>
                    <a:lnTo>
                      <a:pt x="365" y="10"/>
                    </a:lnTo>
                    <a:lnTo>
                      <a:pt x="369" y="10"/>
                    </a:lnTo>
                    <a:lnTo>
                      <a:pt x="374" y="5"/>
                    </a:lnTo>
                    <a:lnTo>
                      <a:pt x="379" y="5"/>
                    </a:lnTo>
                    <a:lnTo>
                      <a:pt x="384" y="0"/>
                    </a:lnTo>
                    <a:lnTo>
                      <a:pt x="389" y="0"/>
                    </a:lnTo>
                    <a:lnTo>
                      <a:pt x="389" y="5"/>
                    </a:lnTo>
                    <a:lnTo>
                      <a:pt x="389" y="10"/>
                    </a:lnTo>
                    <a:lnTo>
                      <a:pt x="389" y="15"/>
                    </a:lnTo>
                    <a:lnTo>
                      <a:pt x="389" y="19"/>
                    </a:lnTo>
                    <a:lnTo>
                      <a:pt x="389" y="24"/>
                    </a:lnTo>
                    <a:lnTo>
                      <a:pt x="393" y="24"/>
                    </a:lnTo>
                    <a:lnTo>
                      <a:pt x="393" y="29"/>
                    </a:lnTo>
                    <a:lnTo>
                      <a:pt x="393" y="34"/>
                    </a:lnTo>
                    <a:lnTo>
                      <a:pt x="393" y="39"/>
                    </a:lnTo>
                    <a:lnTo>
                      <a:pt x="393" y="43"/>
                    </a:lnTo>
                    <a:lnTo>
                      <a:pt x="393" y="48"/>
                    </a:lnTo>
                    <a:lnTo>
                      <a:pt x="393" y="53"/>
                    </a:lnTo>
                    <a:lnTo>
                      <a:pt x="393" y="58"/>
                    </a:lnTo>
                    <a:lnTo>
                      <a:pt x="393" y="63"/>
                    </a:lnTo>
                    <a:lnTo>
                      <a:pt x="398" y="67"/>
                    </a:lnTo>
                    <a:lnTo>
                      <a:pt x="398" y="72"/>
                    </a:lnTo>
                    <a:lnTo>
                      <a:pt x="398" y="77"/>
                    </a:lnTo>
                    <a:lnTo>
                      <a:pt x="398" y="82"/>
                    </a:lnTo>
                    <a:lnTo>
                      <a:pt x="398" y="87"/>
                    </a:lnTo>
                    <a:lnTo>
                      <a:pt x="398" y="91"/>
                    </a:lnTo>
                    <a:lnTo>
                      <a:pt x="398" y="96"/>
                    </a:lnTo>
                    <a:lnTo>
                      <a:pt x="403" y="101"/>
                    </a:lnTo>
                    <a:lnTo>
                      <a:pt x="403" y="106"/>
                    </a:lnTo>
                    <a:lnTo>
                      <a:pt x="403" y="111"/>
                    </a:lnTo>
                    <a:lnTo>
                      <a:pt x="403" y="115"/>
                    </a:lnTo>
                    <a:lnTo>
                      <a:pt x="403" y="120"/>
                    </a:lnTo>
                    <a:lnTo>
                      <a:pt x="403" y="125"/>
                    </a:lnTo>
                    <a:lnTo>
                      <a:pt x="408" y="130"/>
                    </a:lnTo>
                    <a:lnTo>
                      <a:pt x="408" y="135"/>
                    </a:lnTo>
                    <a:lnTo>
                      <a:pt x="408" y="139"/>
                    </a:lnTo>
                    <a:lnTo>
                      <a:pt x="408" y="144"/>
                    </a:lnTo>
                    <a:lnTo>
                      <a:pt x="408" y="149"/>
                    </a:lnTo>
                    <a:lnTo>
                      <a:pt x="408" y="154"/>
                    </a:lnTo>
                    <a:lnTo>
                      <a:pt x="403" y="159"/>
                    </a:lnTo>
                    <a:lnTo>
                      <a:pt x="403" y="164"/>
                    </a:lnTo>
                    <a:lnTo>
                      <a:pt x="403" y="168"/>
                    </a:lnTo>
                    <a:lnTo>
                      <a:pt x="403" y="173"/>
                    </a:lnTo>
                    <a:lnTo>
                      <a:pt x="403" y="178"/>
                    </a:lnTo>
                    <a:lnTo>
                      <a:pt x="398" y="183"/>
                    </a:lnTo>
                    <a:lnTo>
                      <a:pt x="398" y="188"/>
                    </a:lnTo>
                    <a:lnTo>
                      <a:pt x="398" y="192"/>
                    </a:lnTo>
                    <a:lnTo>
                      <a:pt x="398" y="197"/>
                    </a:lnTo>
                    <a:lnTo>
                      <a:pt x="393" y="202"/>
                    </a:lnTo>
                    <a:lnTo>
                      <a:pt x="393" y="207"/>
                    </a:lnTo>
                    <a:lnTo>
                      <a:pt x="393" y="212"/>
                    </a:lnTo>
                    <a:lnTo>
                      <a:pt x="393" y="216"/>
                    </a:lnTo>
                    <a:lnTo>
                      <a:pt x="389" y="221"/>
                    </a:lnTo>
                    <a:lnTo>
                      <a:pt x="389" y="226"/>
                    </a:lnTo>
                    <a:lnTo>
                      <a:pt x="389" y="231"/>
                    </a:lnTo>
                    <a:lnTo>
                      <a:pt x="389" y="236"/>
                    </a:lnTo>
                    <a:lnTo>
                      <a:pt x="389" y="240"/>
                    </a:lnTo>
                    <a:lnTo>
                      <a:pt x="384" y="245"/>
                    </a:lnTo>
                    <a:lnTo>
                      <a:pt x="384" y="250"/>
                    </a:lnTo>
                    <a:lnTo>
                      <a:pt x="384" y="255"/>
                    </a:lnTo>
                    <a:lnTo>
                      <a:pt x="384" y="260"/>
                    </a:lnTo>
                    <a:lnTo>
                      <a:pt x="379" y="264"/>
                    </a:lnTo>
                    <a:lnTo>
                      <a:pt x="379" y="269"/>
                    </a:lnTo>
                    <a:lnTo>
                      <a:pt x="379" y="274"/>
                    </a:lnTo>
                    <a:lnTo>
                      <a:pt x="379" y="279"/>
                    </a:lnTo>
                    <a:lnTo>
                      <a:pt x="379" y="284"/>
                    </a:lnTo>
                    <a:lnTo>
                      <a:pt x="374" y="288"/>
                    </a:lnTo>
                    <a:lnTo>
                      <a:pt x="374" y="293"/>
                    </a:lnTo>
                    <a:lnTo>
                      <a:pt x="374" y="298"/>
                    </a:lnTo>
                    <a:lnTo>
                      <a:pt x="374" y="303"/>
                    </a:lnTo>
                    <a:lnTo>
                      <a:pt x="369" y="308"/>
                    </a:lnTo>
                    <a:lnTo>
                      <a:pt x="369" y="312"/>
                    </a:lnTo>
                    <a:lnTo>
                      <a:pt x="369" y="317"/>
                    </a:lnTo>
                    <a:lnTo>
                      <a:pt x="369" y="322"/>
                    </a:lnTo>
                    <a:lnTo>
                      <a:pt x="369" y="327"/>
                    </a:lnTo>
                    <a:lnTo>
                      <a:pt x="365" y="332"/>
                    </a:lnTo>
                    <a:lnTo>
                      <a:pt x="365" y="336"/>
                    </a:lnTo>
                    <a:lnTo>
                      <a:pt x="365" y="341"/>
                    </a:lnTo>
                    <a:lnTo>
                      <a:pt x="365" y="346"/>
                    </a:lnTo>
                    <a:lnTo>
                      <a:pt x="365" y="351"/>
                    </a:lnTo>
                    <a:lnTo>
                      <a:pt x="369" y="351"/>
                    </a:lnTo>
                    <a:lnTo>
                      <a:pt x="374" y="351"/>
                    </a:lnTo>
                    <a:lnTo>
                      <a:pt x="379" y="351"/>
                    </a:lnTo>
                    <a:lnTo>
                      <a:pt x="384" y="351"/>
                    </a:lnTo>
                    <a:lnTo>
                      <a:pt x="389" y="351"/>
                    </a:lnTo>
                    <a:lnTo>
                      <a:pt x="393" y="351"/>
                    </a:lnTo>
                    <a:lnTo>
                      <a:pt x="393" y="356"/>
                    </a:lnTo>
                    <a:lnTo>
                      <a:pt x="393" y="360"/>
                    </a:lnTo>
                    <a:lnTo>
                      <a:pt x="393" y="365"/>
                    </a:lnTo>
                    <a:lnTo>
                      <a:pt x="393" y="370"/>
                    </a:lnTo>
                    <a:lnTo>
                      <a:pt x="393" y="375"/>
                    </a:lnTo>
                    <a:lnTo>
                      <a:pt x="393" y="380"/>
                    </a:lnTo>
                    <a:lnTo>
                      <a:pt x="393" y="384"/>
                    </a:lnTo>
                    <a:lnTo>
                      <a:pt x="389" y="384"/>
                    </a:lnTo>
                    <a:lnTo>
                      <a:pt x="389" y="389"/>
                    </a:lnTo>
                    <a:lnTo>
                      <a:pt x="384" y="394"/>
                    </a:lnTo>
                    <a:lnTo>
                      <a:pt x="384" y="399"/>
                    </a:lnTo>
                    <a:lnTo>
                      <a:pt x="379" y="404"/>
                    </a:lnTo>
                    <a:lnTo>
                      <a:pt x="379" y="408"/>
                    </a:lnTo>
                    <a:lnTo>
                      <a:pt x="379" y="413"/>
                    </a:lnTo>
                    <a:lnTo>
                      <a:pt x="384" y="413"/>
                    </a:lnTo>
                    <a:lnTo>
                      <a:pt x="384" y="418"/>
                    </a:lnTo>
                    <a:lnTo>
                      <a:pt x="389" y="423"/>
                    </a:lnTo>
                    <a:lnTo>
                      <a:pt x="393" y="428"/>
                    </a:lnTo>
                    <a:lnTo>
                      <a:pt x="398" y="428"/>
                    </a:lnTo>
                    <a:lnTo>
                      <a:pt x="403" y="432"/>
                    </a:lnTo>
                    <a:lnTo>
                      <a:pt x="408" y="437"/>
                    </a:lnTo>
                    <a:lnTo>
                      <a:pt x="413" y="437"/>
                    </a:lnTo>
                    <a:lnTo>
                      <a:pt x="417" y="442"/>
                    </a:lnTo>
                    <a:lnTo>
                      <a:pt x="422" y="447"/>
                    </a:lnTo>
                    <a:lnTo>
                      <a:pt x="422" y="452"/>
                    </a:lnTo>
                    <a:lnTo>
                      <a:pt x="427" y="452"/>
                    </a:lnTo>
                    <a:lnTo>
                      <a:pt x="432" y="456"/>
                    </a:lnTo>
                    <a:lnTo>
                      <a:pt x="437" y="461"/>
                    </a:lnTo>
                    <a:lnTo>
                      <a:pt x="441" y="461"/>
                    </a:lnTo>
                    <a:lnTo>
                      <a:pt x="446" y="466"/>
                    </a:lnTo>
                    <a:lnTo>
                      <a:pt x="451" y="471"/>
                    </a:lnTo>
                    <a:lnTo>
                      <a:pt x="456" y="476"/>
                    </a:lnTo>
                    <a:lnTo>
                      <a:pt x="461" y="476"/>
                    </a:lnTo>
                    <a:lnTo>
                      <a:pt x="465" y="480"/>
                    </a:lnTo>
                    <a:lnTo>
                      <a:pt x="470" y="485"/>
                    </a:lnTo>
                    <a:lnTo>
                      <a:pt x="475" y="490"/>
                    </a:lnTo>
                    <a:lnTo>
                      <a:pt x="480" y="490"/>
                    </a:lnTo>
                    <a:lnTo>
                      <a:pt x="485" y="495"/>
                    </a:lnTo>
                    <a:lnTo>
                      <a:pt x="485" y="500"/>
                    </a:lnTo>
                    <a:lnTo>
                      <a:pt x="489" y="500"/>
                    </a:lnTo>
                    <a:lnTo>
                      <a:pt x="494" y="504"/>
                    </a:lnTo>
                    <a:lnTo>
                      <a:pt x="499" y="509"/>
                    </a:lnTo>
                    <a:lnTo>
                      <a:pt x="499" y="514"/>
                    </a:lnTo>
                    <a:lnTo>
                      <a:pt x="504" y="519"/>
                    </a:lnTo>
                    <a:lnTo>
                      <a:pt x="509" y="524"/>
                    </a:lnTo>
                    <a:lnTo>
                      <a:pt x="513" y="524"/>
                    </a:lnTo>
                    <a:lnTo>
                      <a:pt x="518" y="528"/>
                    </a:lnTo>
                    <a:lnTo>
                      <a:pt x="518" y="533"/>
                    </a:lnTo>
                    <a:lnTo>
                      <a:pt x="523" y="538"/>
                    </a:lnTo>
                    <a:lnTo>
                      <a:pt x="528" y="543"/>
                    </a:lnTo>
                    <a:lnTo>
                      <a:pt x="533" y="548"/>
                    </a:lnTo>
                    <a:lnTo>
                      <a:pt x="537" y="552"/>
                    </a:lnTo>
                    <a:lnTo>
                      <a:pt x="537" y="557"/>
                    </a:lnTo>
                    <a:lnTo>
                      <a:pt x="542" y="557"/>
                    </a:lnTo>
                    <a:lnTo>
                      <a:pt x="547" y="557"/>
                    </a:lnTo>
                    <a:lnTo>
                      <a:pt x="552" y="552"/>
                    </a:lnTo>
                    <a:lnTo>
                      <a:pt x="557" y="552"/>
                    </a:lnTo>
                    <a:lnTo>
                      <a:pt x="561" y="552"/>
                    </a:lnTo>
                    <a:lnTo>
                      <a:pt x="566" y="552"/>
                    </a:lnTo>
                    <a:lnTo>
                      <a:pt x="571" y="552"/>
                    </a:lnTo>
                    <a:lnTo>
                      <a:pt x="576" y="552"/>
                    </a:lnTo>
                    <a:lnTo>
                      <a:pt x="581" y="557"/>
                    </a:lnTo>
                    <a:lnTo>
                      <a:pt x="585" y="557"/>
                    </a:lnTo>
                    <a:lnTo>
                      <a:pt x="590" y="557"/>
                    </a:lnTo>
                    <a:lnTo>
                      <a:pt x="595" y="557"/>
                    </a:lnTo>
                    <a:lnTo>
                      <a:pt x="600" y="562"/>
                    </a:lnTo>
                    <a:lnTo>
                      <a:pt x="605" y="562"/>
                    </a:lnTo>
                    <a:lnTo>
                      <a:pt x="609" y="567"/>
                    </a:lnTo>
                    <a:lnTo>
                      <a:pt x="614" y="567"/>
                    </a:lnTo>
                    <a:lnTo>
                      <a:pt x="619" y="567"/>
                    </a:lnTo>
                    <a:lnTo>
                      <a:pt x="614" y="567"/>
                    </a:lnTo>
                    <a:lnTo>
                      <a:pt x="614" y="572"/>
                    </a:lnTo>
                    <a:lnTo>
                      <a:pt x="609" y="572"/>
                    </a:lnTo>
                    <a:lnTo>
                      <a:pt x="605" y="576"/>
                    </a:lnTo>
                    <a:lnTo>
                      <a:pt x="600" y="576"/>
                    </a:lnTo>
                    <a:lnTo>
                      <a:pt x="595" y="581"/>
                    </a:lnTo>
                    <a:lnTo>
                      <a:pt x="590" y="581"/>
                    </a:lnTo>
                    <a:lnTo>
                      <a:pt x="585" y="586"/>
                    </a:lnTo>
                    <a:lnTo>
                      <a:pt x="581" y="586"/>
                    </a:lnTo>
                    <a:lnTo>
                      <a:pt x="576" y="591"/>
                    </a:lnTo>
                    <a:lnTo>
                      <a:pt x="571" y="591"/>
                    </a:lnTo>
                    <a:lnTo>
                      <a:pt x="566" y="596"/>
                    </a:lnTo>
                    <a:lnTo>
                      <a:pt x="561" y="596"/>
                    </a:lnTo>
                    <a:lnTo>
                      <a:pt x="561" y="600"/>
                    </a:lnTo>
                    <a:lnTo>
                      <a:pt x="561" y="605"/>
                    </a:lnTo>
                    <a:lnTo>
                      <a:pt x="561" y="610"/>
                    </a:lnTo>
                    <a:lnTo>
                      <a:pt x="561" y="615"/>
                    </a:lnTo>
                    <a:lnTo>
                      <a:pt x="561" y="620"/>
                    </a:lnTo>
                    <a:lnTo>
                      <a:pt x="561" y="624"/>
                    </a:lnTo>
                    <a:lnTo>
                      <a:pt x="561" y="629"/>
                    </a:lnTo>
                    <a:lnTo>
                      <a:pt x="561" y="634"/>
                    </a:lnTo>
                    <a:lnTo>
                      <a:pt x="561" y="639"/>
                    </a:lnTo>
                    <a:lnTo>
                      <a:pt x="561" y="644"/>
                    </a:lnTo>
                    <a:lnTo>
                      <a:pt x="566" y="648"/>
                    </a:lnTo>
                    <a:lnTo>
                      <a:pt x="566" y="653"/>
                    </a:lnTo>
                    <a:lnTo>
                      <a:pt x="566" y="658"/>
                    </a:lnTo>
                    <a:lnTo>
                      <a:pt x="566" y="663"/>
                    </a:lnTo>
                    <a:lnTo>
                      <a:pt x="566" y="668"/>
                    </a:lnTo>
                    <a:lnTo>
                      <a:pt x="566" y="672"/>
                    </a:lnTo>
                    <a:lnTo>
                      <a:pt x="566" y="677"/>
                    </a:lnTo>
                    <a:lnTo>
                      <a:pt x="566" y="682"/>
                    </a:lnTo>
                    <a:lnTo>
                      <a:pt x="566" y="687"/>
                    </a:lnTo>
                    <a:lnTo>
                      <a:pt x="566" y="692"/>
                    </a:lnTo>
                    <a:lnTo>
                      <a:pt x="566" y="696"/>
                    </a:lnTo>
                    <a:lnTo>
                      <a:pt x="566" y="701"/>
                    </a:lnTo>
                    <a:lnTo>
                      <a:pt x="566" y="706"/>
                    </a:lnTo>
                    <a:lnTo>
                      <a:pt x="566" y="711"/>
                    </a:lnTo>
                    <a:lnTo>
                      <a:pt x="566" y="716"/>
                    </a:lnTo>
                    <a:lnTo>
                      <a:pt x="561" y="716"/>
                    </a:lnTo>
                    <a:lnTo>
                      <a:pt x="561" y="720"/>
                    </a:lnTo>
                    <a:lnTo>
                      <a:pt x="557" y="720"/>
                    </a:lnTo>
                    <a:lnTo>
                      <a:pt x="552" y="720"/>
                    </a:lnTo>
                    <a:lnTo>
                      <a:pt x="547" y="720"/>
                    </a:lnTo>
                    <a:lnTo>
                      <a:pt x="542" y="720"/>
                    </a:lnTo>
                    <a:lnTo>
                      <a:pt x="542" y="725"/>
                    </a:lnTo>
                    <a:lnTo>
                      <a:pt x="537" y="725"/>
                    </a:lnTo>
                    <a:lnTo>
                      <a:pt x="537" y="730"/>
                    </a:lnTo>
                    <a:lnTo>
                      <a:pt x="533" y="730"/>
                    </a:lnTo>
                    <a:lnTo>
                      <a:pt x="533" y="735"/>
                    </a:lnTo>
                    <a:lnTo>
                      <a:pt x="533" y="740"/>
                    </a:lnTo>
                    <a:lnTo>
                      <a:pt x="528" y="744"/>
                    </a:lnTo>
                    <a:lnTo>
                      <a:pt x="528" y="749"/>
                    </a:lnTo>
                    <a:lnTo>
                      <a:pt x="528" y="754"/>
                    </a:lnTo>
                    <a:lnTo>
                      <a:pt x="528" y="759"/>
                    </a:lnTo>
                    <a:lnTo>
                      <a:pt x="528" y="764"/>
                    </a:lnTo>
                    <a:lnTo>
                      <a:pt x="523" y="768"/>
                    </a:lnTo>
                    <a:lnTo>
                      <a:pt x="523" y="773"/>
                    </a:lnTo>
                    <a:lnTo>
                      <a:pt x="518" y="773"/>
                    </a:lnTo>
                    <a:lnTo>
                      <a:pt x="518" y="778"/>
                    </a:lnTo>
                    <a:lnTo>
                      <a:pt x="518" y="773"/>
                    </a:lnTo>
                    <a:lnTo>
                      <a:pt x="518" y="778"/>
                    </a:lnTo>
                    <a:lnTo>
                      <a:pt x="513" y="778"/>
                    </a:lnTo>
                    <a:lnTo>
                      <a:pt x="513" y="783"/>
                    </a:lnTo>
                    <a:lnTo>
                      <a:pt x="513" y="788"/>
                    </a:lnTo>
                    <a:lnTo>
                      <a:pt x="509" y="792"/>
                    </a:lnTo>
                    <a:lnTo>
                      <a:pt x="509" y="797"/>
                    </a:lnTo>
                    <a:lnTo>
                      <a:pt x="509" y="802"/>
                    </a:lnTo>
                    <a:lnTo>
                      <a:pt x="504" y="802"/>
                    </a:lnTo>
                    <a:lnTo>
                      <a:pt x="504" y="807"/>
                    </a:lnTo>
                    <a:lnTo>
                      <a:pt x="504" y="812"/>
                    </a:lnTo>
                    <a:lnTo>
                      <a:pt x="504" y="816"/>
                    </a:lnTo>
                    <a:lnTo>
                      <a:pt x="499" y="816"/>
                    </a:lnTo>
                    <a:lnTo>
                      <a:pt x="499" y="821"/>
                    </a:lnTo>
                    <a:lnTo>
                      <a:pt x="499" y="826"/>
                    </a:lnTo>
                    <a:lnTo>
                      <a:pt x="499" y="831"/>
                    </a:lnTo>
                    <a:lnTo>
                      <a:pt x="499" y="836"/>
                    </a:lnTo>
                    <a:lnTo>
                      <a:pt x="499" y="840"/>
                    </a:lnTo>
                    <a:lnTo>
                      <a:pt x="499" y="845"/>
                    </a:lnTo>
                    <a:lnTo>
                      <a:pt x="499" y="850"/>
                    </a:lnTo>
                    <a:lnTo>
                      <a:pt x="499" y="855"/>
                    </a:lnTo>
                    <a:lnTo>
                      <a:pt x="504" y="855"/>
                    </a:lnTo>
                    <a:lnTo>
                      <a:pt x="504" y="860"/>
                    </a:lnTo>
                    <a:lnTo>
                      <a:pt x="504" y="864"/>
                    </a:lnTo>
                    <a:lnTo>
                      <a:pt x="504" y="869"/>
                    </a:lnTo>
                    <a:lnTo>
                      <a:pt x="504" y="874"/>
                    </a:lnTo>
                    <a:lnTo>
                      <a:pt x="509" y="874"/>
                    </a:lnTo>
                    <a:lnTo>
                      <a:pt x="509" y="879"/>
                    </a:lnTo>
                    <a:lnTo>
                      <a:pt x="509" y="884"/>
                    </a:lnTo>
                    <a:lnTo>
                      <a:pt x="509" y="888"/>
                    </a:lnTo>
                    <a:lnTo>
                      <a:pt x="509" y="893"/>
                    </a:lnTo>
                    <a:lnTo>
                      <a:pt x="504" y="898"/>
                    </a:lnTo>
                    <a:lnTo>
                      <a:pt x="504" y="903"/>
                    </a:lnTo>
                    <a:lnTo>
                      <a:pt x="499" y="908"/>
                    </a:lnTo>
                    <a:lnTo>
                      <a:pt x="494" y="908"/>
                    </a:lnTo>
                    <a:lnTo>
                      <a:pt x="494" y="912"/>
                    </a:lnTo>
                    <a:lnTo>
                      <a:pt x="489" y="912"/>
                    </a:lnTo>
                    <a:lnTo>
                      <a:pt x="489" y="917"/>
                    </a:lnTo>
                    <a:lnTo>
                      <a:pt x="485" y="917"/>
                    </a:lnTo>
                    <a:lnTo>
                      <a:pt x="485" y="922"/>
                    </a:lnTo>
                    <a:lnTo>
                      <a:pt x="480" y="922"/>
                    </a:lnTo>
                    <a:lnTo>
                      <a:pt x="480" y="927"/>
                    </a:lnTo>
                    <a:lnTo>
                      <a:pt x="475" y="927"/>
                    </a:lnTo>
                    <a:lnTo>
                      <a:pt x="475" y="932"/>
                    </a:lnTo>
                    <a:lnTo>
                      <a:pt x="470" y="936"/>
                    </a:lnTo>
                    <a:lnTo>
                      <a:pt x="470" y="941"/>
                    </a:lnTo>
                    <a:lnTo>
                      <a:pt x="470" y="946"/>
                    </a:lnTo>
                    <a:lnTo>
                      <a:pt x="465" y="951"/>
                    </a:lnTo>
                    <a:lnTo>
                      <a:pt x="470" y="956"/>
                    </a:lnTo>
                    <a:lnTo>
                      <a:pt x="470" y="960"/>
                    </a:lnTo>
                    <a:lnTo>
                      <a:pt x="470" y="965"/>
                    </a:lnTo>
                    <a:lnTo>
                      <a:pt x="470" y="970"/>
                    </a:lnTo>
                    <a:lnTo>
                      <a:pt x="475" y="970"/>
                    </a:lnTo>
                    <a:lnTo>
                      <a:pt x="475" y="975"/>
                    </a:lnTo>
                    <a:lnTo>
                      <a:pt x="475" y="980"/>
                    </a:lnTo>
                    <a:lnTo>
                      <a:pt x="475" y="984"/>
                    </a:lnTo>
                    <a:lnTo>
                      <a:pt x="475" y="989"/>
                    </a:lnTo>
                    <a:lnTo>
                      <a:pt x="470" y="989"/>
                    </a:lnTo>
                    <a:lnTo>
                      <a:pt x="470" y="994"/>
                    </a:lnTo>
                    <a:lnTo>
                      <a:pt x="470" y="999"/>
                    </a:lnTo>
                    <a:lnTo>
                      <a:pt x="470" y="1004"/>
                    </a:lnTo>
                    <a:lnTo>
                      <a:pt x="470" y="1008"/>
                    </a:lnTo>
                    <a:lnTo>
                      <a:pt x="465" y="1008"/>
                    </a:lnTo>
                    <a:lnTo>
                      <a:pt x="465" y="1013"/>
                    </a:lnTo>
                    <a:lnTo>
                      <a:pt x="465" y="1018"/>
                    </a:lnTo>
                    <a:lnTo>
                      <a:pt x="461" y="1018"/>
                    </a:lnTo>
                    <a:lnTo>
                      <a:pt x="461" y="1023"/>
                    </a:lnTo>
                    <a:lnTo>
                      <a:pt x="461" y="1028"/>
                    </a:lnTo>
                    <a:lnTo>
                      <a:pt x="456" y="1028"/>
                    </a:lnTo>
                    <a:lnTo>
                      <a:pt x="456" y="1032"/>
                    </a:lnTo>
                    <a:lnTo>
                      <a:pt x="456" y="1028"/>
                    </a:lnTo>
                    <a:lnTo>
                      <a:pt x="451" y="1028"/>
                    </a:lnTo>
                    <a:lnTo>
                      <a:pt x="451" y="1023"/>
                    </a:lnTo>
                    <a:lnTo>
                      <a:pt x="446" y="1023"/>
                    </a:lnTo>
                    <a:lnTo>
                      <a:pt x="446" y="1018"/>
                    </a:lnTo>
                    <a:lnTo>
                      <a:pt x="446" y="1013"/>
                    </a:lnTo>
                    <a:lnTo>
                      <a:pt x="441" y="1008"/>
                    </a:lnTo>
                    <a:lnTo>
                      <a:pt x="437" y="1008"/>
                    </a:lnTo>
                    <a:lnTo>
                      <a:pt x="437" y="1004"/>
                    </a:lnTo>
                    <a:lnTo>
                      <a:pt x="432" y="1004"/>
                    </a:lnTo>
                    <a:lnTo>
                      <a:pt x="427" y="1004"/>
                    </a:lnTo>
                    <a:lnTo>
                      <a:pt x="422" y="999"/>
                    </a:lnTo>
                    <a:lnTo>
                      <a:pt x="417" y="999"/>
                    </a:lnTo>
                    <a:lnTo>
                      <a:pt x="413" y="999"/>
                    </a:lnTo>
                    <a:lnTo>
                      <a:pt x="408" y="999"/>
                    </a:lnTo>
                    <a:lnTo>
                      <a:pt x="408" y="1004"/>
                    </a:lnTo>
                    <a:lnTo>
                      <a:pt x="403" y="1004"/>
                    </a:lnTo>
                    <a:lnTo>
                      <a:pt x="398" y="999"/>
                    </a:lnTo>
                    <a:lnTo>
                      <a:pt x="398" y="994"/>
                    </a:lnTo>
                    <a:lnTo>
                      <a:pt x="398" y="989"/>
                    </a:lnTo>
                    <a:lnTo>
                      <a:pt x="393" y="984"/>
                    </a:lnTo>
                    <a:lnTo>
                      <a:pt x="393" y="980"/>
                    </a:lnTo>
                    <a:lnTo>
                      <a:pt x="389" y="980"/>
                    </a:lnTo>
                    <a:lnTo>
                      <a:pt x="389" y="975"/>
                    </a:lnTo>
                    <a:lnTo>
                      <a:pt x="384" y="975"/>
                    </a:lnTo>
                    <a:lnTo>
                      <a:pt x="384" y="970"/>
                    </a:lnTo>
                    <a:lnTo>
                      <a:pt x="384" y="965"/>
                    </a:lnTo>
                    <a:lnTo>
                      <a:pt x="379" y="965"/>
                    </a:lnTo>
                    <a:lnTo>
                      <a:pt x="379" y="960"/>
                    </a:lnTo>
                    <a:lnTo>
                      <a:pt x="374" y="956"/>
                    </a:lnTo>
                    <a:lnTo>
                      <a:pt x="374" y="951"/>
                    </a:lnTo>
                    <a:lnTo>
                      <a:pt x="369" y="951"/>
                    </a:lnTo>
                    <a:lnTo>
                      <a:pt x="365" y="951"/>
                    </a:lnTo>
                    <a:lnTo>
                      <a:pt x="360" y="951"/>
                    </a:lnTo>
                    <a:lnTo>
                      <a:pt x="355" y="951"/>
                    </a:lnTo>
                    <a:lnTo>
                      <a:pt x="355" y="946"/>
                    </a:lnTo>
                    <a:lnTo>
                      <a:pt x="355" y="941"/>
                    </a:lnTo>
                    <a:lnTo>
                      <a:pt x="350" y="941"/>
                    </a:lnTo>
                    <a:lnTo>
                      <a:pt x="350" y="946"/>
                    </a:lnTo>
                    <a:lnTo>
                      <a:pt x="345" y="946"/>
                    </a:lnTo>
                    <a:lnTo>
                      <a:pt x="341" y="941"/>
                    </a:lnTo>
                    <a:lnTo>
                      <a:pt x="336" y="941"/>
                    </a:lnTo>
                    <a:lnTo>
                      <a:pt x="336" y="936"/>
                    </a:lnTo>
                    <a:lnTo>
                      <a:pt x="331" y="936"/>
                    </a:lnTo>
                    <a:lnTo>
                      <a:pt x="326" y="936"/>
                    </a:lnTo>
                    <a:lnTo>
                      <a:pt x="321" y="936"/>
                    </a:lnTo>
                    <a:lnTo>
                      <a:pt x="317" y="936"/>
                    </a:lnTo>
                    <a:lnTo>
                      <a:pt x="312" y="936"/>
                    </a:lnTo>
                    <a:lnTo>
                      <a:pt x="307" y="936"/>
                    </a:lnTo>
                    <a:lnTo>
                      <a:pt x="302" y="936"/>
                    </a:lnTo>
                    <a:lnTo>
                      <a:pt x="297" y="936"/>
                    </a:lnTo>
                    <a:lnTo>
                      <a:pt x="293" y="936"/>
                    </a:lnTo>
                    <a:lnTo>
                      <a:pt x="293" y="941"/>
                    </a:lnTo>
                    <a:lnTo>
                      <a:pt x="288" y="941"/>
                    </a:lnTo>
                    <a:lnTo>
                      <a:pt x="283" y="941"/>
                    </a:lnTo>
                    <a:lnTo>
                      <a:pt x="283" y="936"/>
                    </a:lnTo>
                    <a:lnTo>
                      <a:pt x="278" y="936"/>
                    </a:lnTo>
                    <a:lnTo>
                      <a:pt x="273" y="936"/>
                    </a:lnTo>
                    <a:lnTo>
                      <a:pt x="269" y="936"/>
                    </a:lnTo>
                    <a:lnTo>
                      <a:pt x="269" y="932"/>
                    </a:lnTo>
                    <a:lnTo>
                      <a:pt x="264" y="932"/>
                    </a:lnTo>
                    <a:lnTo>
                      <a:pt x="259" y="932"/>
                    </a:lnTo>
                    <a:lnTo>
                      <a:pt x="259" y="927"/>
                    </a:lnTo>
                    <a:lnTo>
                      <a:pt x="254" y="927"/>
                    </a:lnTo>
                    <a:lnTo>
                      <a:pt x="249" y="927"/>
                    </a:lnTo>
                    <a:lnTo>
                      <a:pt x="245" y="927"/>
                    </a:lnTo>
                    <a:lnTo>
                      <a:pt x="245" y="932"/>
                    </a:lnTo>
                    <a:lnTo>
                      <a:pt x="240" y="932"/>
                    </a:lnTo>
                    <a:lnTo>
                      <a:pt x="240" y="927"/>
                    </a:lnTo>
                    <a:lnTo>
                      <a:pt x="235" y="927"/>
                    </a:lnTo>
                    <a:lnTo>
                      <a:pt x="230" y="927"/>
                    </a:lnTo>
                    <a:lnTo>
                      <a:pt x="225" y="927"/>
                    </a:lnTo>
                    <a:lnTo>
                      <a:pt x="225" y="932"/>
                    </a:lnTo>
                    <a:lnTo>
                      <a:pt x="221" y="932"/>
                    </a:lnTo>
                    <a:lnTo>
                      <a:pt x="216" y="932"/>
                    </a:lnTo>
                    <a:lnTo>
                      <a:pt x="211" y="927"/>
                    </a:lnTo>
                    <a:lnTo>
                      <a:pt x="206" y="927"/>
                    </a:lnTo>
                    <a:lnTo>
                      <a:pt x="201" y="927"/>
                    </a:lnTo>
                    <a:lnTo>
                      <a:pt x="197" y="927"/>
                    </a:lnTo>
                    <a:lnTo>
                      <a:pt x="197" y="922"/>
                    </a:lnTo>
                    <a:lnTo>
                      <a:pt x="192" y="922"/>
                    </a:lnTo>
                    <a:lnTo>
                      <a:pt x="187" y="922"/>
                    </a:lnTo>
                    <a:lnTo>
                      <a:pt x="187" y="917"/>
                    </a:lnTo>
                    <a:lnTo>
                      <a:pt x="182" y="917"/>
                    </a:lnTo>
                    <a:lnTo>
                      <a:pt x="182" y="912"/>
                    </a:lnTo>
                    <a:lnTo>
                      <a:pt x="177" y="912"/>
                    </a:lnTo>
                    <a:lnTo>
                      <a:pt x="173" y="912"/>
                    </a:lnTo>
                    <a:lnTo>
                      <a:pt x="173" y="908"/>
                    </a:lnTo>
                    <a:lnTo>
                      <a:pt x="168" y="908"/>
                    </a:lnTo>
                    <a:lnTo>
                      <a:pt x="163" y="908"/>
                    </a:lnTo>
                    <a:lnTo>
                      <a:pt x="158" y="903"/>
                    </a:lnTo>
                    <a:lnTo>
                      <a:pt x="153" y="903"/>
                    </a:lnTo>
                    <a:lnTo>
                      <a:pt x="149" y="903"/>
                    </a:lnTo>
                    <a:lnTo>
                      <a:pt x="144" y="903"/>
                    </a:lnTo>
                    <a:lnTo>
                      <a:pt x="144" y="898"/>
                    </a:lnTo>
                    <a:lnTo>
                      <a:pt x="139" y="898"/>
                    </a:lnTo>
                    <a:lnTo>
                      <a:pt x="139" y="893"/>
                    </a:lnTo>
                    <a:lnTo>
                      <a:pt x="134" y="893"/>
                    </a:lnTo>
                    <a:lnTo>
                      <a:pt x="139" y="893"/>
                    </a:lnTo>
                    <a:lnTo>
                      <a:pt x="139" y="888"/>
                    </a:lnTo>
                    <a:lnTo>
                      <a:pt x="134" y="884"/>
                    </a:lnTo>
                    <a:lnTo>
                      <a:pt x="129" y="879"/>
                    </a:lnTo>
                    <a:lnTo>
                      <a:pt x="125" y="879"/>
                    </a:lnTo>
                    <a:lnTo>
                      <a:pt x="120" y="879"/>
                    </a:lnTo>
                    <a:lnTo>
                      <a:pt x="115" y="874"/>
                    </a:lnTo>
                    <a:lnTo>
                      <a:pt x="110" y="874"/>
                    </a:lnTo>
                    <a:lnTo>
                      <a:pt x="105" y="874"/>
                    </a:lnTo>
                    <a:lnTo>
                      <a:pt x="101" y="874"/>
                    </a:lnTo>
                    <a:lnTo>
                      <a:pt x="96" y="874"/>
                    </a:lnTo>
                    <a:lnTo>
                      <a:pt x="91" y="874"/>
                    </a:lnTo>
                    <a:lnTo>
                      <a:pt x="86" y="874"/>
                    </a:lnTo>
                    <a:lnTo>
                      <a:pt x="81" y="874"/>
                    </a:lnTo>
                    <a:lnTo>
                      <a:pt x="77" y="874"/>
                    </a:lnTo>
                    <a:lnTo>
                      <a:pt x="72" y="874"/>
                    </a:lnTo>
                    <a:lnTo>
                      <a:pt x="67" y="874"/>
                    </a:lnTo>
                    <a:lnTo>
                      <a:pt x="62" y="879"/>
                    </a:lnTo>
                    <a:lnTo>
                      <a:pt x="57" y="884"/>
                    </a:lnTo>
                    <a:lnTo>
                      <a:pt x="53" y="884"/>
                    </a:lnTo>
                    <a:lnTo>
                      <a:pt x="48" y="884"/>
                    </a:lnTo>
                    <a:lnTo>
                      <a:pt x="48" y="888"/>
                    </a:lnTo>
                    <a:lnTo>
                      <a:pt x="43" y="888"/>
                    </a:lnTo>
                    <a:lnTo>
                      <a:pt x="38" y="888"/>
                    </a:lnTo>
                    <a:lnTo>
                      <a:pt x="33" y="888"/>
                    </a:lnTo>
                    <a:lnTo>
                      <a:pt x="29" y="888"/>
                    </a:lnTo>
                    <a:lnTo>
                      <a:pt x="29" y="893"/>
                    </a:lnTo>
                    <a:lnTo>
                      <a:pt x="24" y="888"/>
                    </a:lnTo>
                    <a:lnTo>
                      <a:pt x="19" y="888"/>
                    </a:lnTo>
                    <a:lnTo>
                      <a:pt x="19" y="884"/>
                    </a:lnTo>
                    <a:lnTo>
                      <a:pt x="14" y="884"/>
                    </a:lnTo>
                    <a:lnTo>
                      <a:pt x="14" y="879"/>
                    </a:lnTo>
                    <a:lnTo>
                      <a:pt x="9" y="874"/>
                    </a:lnTo>
                    <a:lnTo>
                      <a:pt x="5" y="874"/>
                    </a:lnTo>
                    <a:lnTo>
                      <a:pt x="5" y="869"/>
                    </a:lnTo>
                    <a:lnTo>
                      <a:pt x="9" y="869"/>
                    </a:lnTo>
                    <a:lnTo>
                      <a:pt x="5" y="864"/>
                    </a:lnTo>
                    <a:lnTo>
                      <a:pt x="5" y="860"/>
                    </a:lnTo>
                    <a:lnTo>
                      <a:pt x="5" y="855"/>
                    </a:lnTo>
                    <a:lnTo>
                      <a:pt x="5" y="850"/>
                    </a:lnTo>
                    <a:lnTo>
                      <a:pt x="0" y="845"/>
                    </a:lnTo>
                    <a:lnTo>
                      <a:pt x="0" y="840"/>
                    </a:lnTo>
                    <a:lnTo>
                      <a:pt x="5" y="836"/>
                    </a:lnTo>
                    <a:lnTo>
                      <a:pt x="5" y="831"/>
                    </a:lnTo>
                    <a:lnTo>
                      <a:pt x="5" y="826"/>
                    </a:lnTo>
                    <a:lnTo>
                      <a:pt x="0" y="826"/>
                    </a:lnTo>
                    <a:lnTo>
                      <a:pt x="5" y="821"/>
                    </a:lnTo>
                    <a:lnTo>
                      <a:pt x="5" y="816"/>
                    </a:lnTo>
                    <a:lnTo>
                      <a:pt x="9" y="816"/>
                    </a:lnTo>
                    <a:lnTo>
                      <a:pt x="9" y="812"/>
                    </a:lnTo>
                    <a:lnTo>
                      <a:pt x="14" y="807"/>
                    </a:lnTo>
                    <a:lnTo>
                      <a:pt x="14" y="802"/>
                    </a:lnTo>
                    <a:lnTo>
                      <a:pt x="19" y="797"/>
                    </a:lnTo>
                    <a:lnTo>
                      <a:pt x="24" y="792"/>
                    </a:lnTo>
                    <a:lnTo>
                      <a:pt x="24" y="788"/>
                    </a:lnTo>
                    <a:lnTo>
                      <a:pt x="29" y="783"/>
                    </a:lnTo>
                    <a:lnTo>
                      <a:pt x="29" y="778"/>
                    </a:lnTo>
                    <a:lnTo>
                      <a:pt x="33" y="773"/>
                    </a:lnTo>
                    <a:lnTo>
                      <a:pt x="33" y="768"/>
                    </a:lnTo>
                    <a:lnTo>
                      <a:pt x="38" y="764"/>
                    </a:lnTo>
                    <a:lnTo>
                      <a:pt x="43" y="764"/>
                    </a:lnTo>
                    <a:lnTo>
                      <a:pt x="43" y="759"/>
                    </a:lnTo>
                    <a:lnTo>
                      <a:pt x="48" y="754"/>
                    </a:lnTo>
                    <a:lnTo>
                      <a:pt x="48" y="749"/>
                    </a:lnTo>
                    <a:lnTo>
                      <a:pt x="53" y="744"/>
                    </a:lnTo>
                    <a:lnTo>
                      <a:pt x="53" y="740"/>
                    </a:lnTo>
                    <a:lnTo>
                      <a:pt x="57" y="735"/>
                    </a:lnTo>
                    <a:lnTo>
                      <a:pt x="62" y="730"/>
                    </a:lnTo>
                    <a:lnTo>
                      <a:pt x="62" y="725"/>
                    </a:lnTo>
                    <a:lnTo>
                      <a:pt x="67" y="720"/>
                    </a:lnTo>
                    <a:lnTo>
                      <a:pt x="67" y="716"/>
                    </a:lnTo>
                    <a:lnTo>
                      <a:pt x="67" y="711"/>
                    </a:lnTo>
                    <a:lnTo>
                      <a:pt x="67" y="706"/>
                    </a:lnTo>
                    <a:lnTo>
                      <a:pt x="67" y="701"/>
                    </a:lnTo>
                    <a:lnTo>
                      <a:pt x="62" y="696"/>
                    </a:lnTo>
                    <a:lnTo>
                      <a:pt x="62" y="692"/>
                    </a:lnTo>
                    <a:lnTo>
                      <a:pt x="62" y="687"/>
                    </a:lnTo>
                    <a:lnTo>
                      <a:pt x="62" y="682"/>
                    </a:lnTo>
                    <a:lnTo>
                      <a:pt x="62" y="677"/>
                    </a:lnTo>
                    <a:lnTo>
                      <a:pt x="57" y="672"/>
                    </a:lnTo>
                    <a:lnTo>
                      <a:pt x="57" y="668"/>
                    </a:lnTo>
                    <a:lnTo>
                      <a:pt x="57" y="663"/>
                    </a:lnTo>
                    <a:lnTo>
                      <a:pt x="57" y="658"/>
                    </a:lnTo>
                    <a:lnTo>
                      <a:pt x="57" y="653"/>
                    </a:lnTo>
                    <a:lnTo>
                      <a:pt x="53" y="653"/>
                    </a:lnTo>
                    <a:lnTo>
                      <a:pt x="48" y="653"/>
                    </a:lnTo>
                    <a:lnTo>
                      <a:pt x="43" y="653"/>
                    </a:lnTo>
                    <a:lnTo>
                      <a:pt x="43" y="648"/>
                    </a:lnTo>
                    <a:lnTo>
                      <a:pt x="43" y="644"/>
                    </a:lnTo>
                    <a:lnTo>
                      <a:pt x="43" y="639"/>
                    </a:lnTo>
                    <a:lnTo>
                      <a:pt x="43" y="634"/>
                    </a:lnTo>
                    <a:lnTo>
                      <a:pt x="43" y="629"/>
                    </a:lnTo>
                    <a:lnTo>
                      <a:pt x="43" y="624"/>
                    </a:lnTo>
                    <a:lnTo>
                      <a:pt x="48" y="620"/>
                    </a:lnTo>
                    <a:lnTo>
                      <a:pt x="48" y="615"/>
                    </a:lnTo>
                    <a:lnTo>
                      <a:pt x="48" y="610"/>
                    </a:lnTo>
                    <a:lnTo>
                      <a:pt x="48" y="605"/>
                    </a:lnTo>
                    <a:lnTo>
                      <a:pt x="48" y="600"/>
                    </a:lnTo>
                    <a:lnTo>
                      <a:pt x="48" y="596"/>
                    </a:lnTo>
                    <a:lnTo>
                      <a:pt x="48" y="591"/>
                    </a:lnTo>
                    <a:lnTo>
                      <a:pt x="48" y="586"/>
                    </a:lnTo>
                    <a:lnTo>
                      <a:pt x="53" y="586"/>
                    </a:lnTo>
                    <a:lnTo>
                      <a:pt x="53" y="581"/>
                    </a:lnTo>
                    <a:lnTo>
                      <a:pt x="53" y="576"/>
                    </a:lnTo>
                    <a:lnTo>
                      <a:pt x="53" y="572"/>
                    </a:lnTo>
                    <a:lnTo>
                      <a:pt x="53" y="567"/>
                    </a:lnTo>
                    <a:lnTo>
                      <a:pt x="53" y="562"/>
                    </a:lnTo>
                    <a:lnTo>
                      <a:pt x="53" y="557"/>
                    </a:lnTo>
                    <a:lnTo>
                      <a:pt x="53" y="552"/>
                    </a:lnTo>
                    <a:lnTo>
                      <a:pt x="53" y="548"/>
                    </a:lnTo>
                    <a:lnTo>
                      <a:pt x="57" y="543"/>
                    </a:lnTo>
                    <a:lnTo>
                      <a:pt x="57" y="538"/>
                    </a:lnTo>
                    <a:lnTo>
                      <a:pt x="57" y="533"/>
                    </a:lnTo>
                    <a:lnTo>
                      <a:pt x="57" y="528"/>
                    </a:lnTo>
                    <a:lnTo>
                      <a:pt x="57" y="524"/>
                    </a:lnTo>
                    <a:lnTo>
                      <a:pt x="62" y="524"/>
                    </a:lnTo>
                    <a:lnTo>
                      <a:pt x="62" y="519"/>
                    </a:lnTo>
                    <a:lnTo>
                      <a:pt x="62" y="514"/>
                    </a:lnTo>
                    <a:lnTo>
                      <a:pt x="67" y="509"/>
                    </a:lnTo>
                    <a:lnTo>
                      <a:pt x="67" y="504"/>
                    </a:lnTo>
                    <a:lnTo>
                      <a:pt x="72" y="500"/>
                    </a:lnTo>
                    <a:lnTo>
                      <a:pt x="72" y="495"/>
                    </a:lnTo>
                    <a:lnTo>
                      <a:pt x="72" y="490"/>
                    </a:lnTo>
                    <a:lnTo>
                      <a:pt x="77" y="485"/>
                    </a:lnTo>
                    <a:lnTo>
                      <a:pt x="77" y="480"/>
                    </a:lnTo>
                    <a:lnTo>
                      <a:pt x="81" y="476"/>
                    </a:lnTo>
                    <a:lnTo>
                      <a:pt x="81" y="471"/>
                    </a:lnTo>
                    <a:lnTo>
                      <a:pt x="86" y="466"/>
                    </a:lnTo>
                    <a:lnTo>
                      <a:pt x="86" y="461"/>
                    </a:lnTo>
                    <a:lnTo>
                      <a:pt x="81" y="461"/>
                    </a:lnTo>
                    <a:lnTo>
                      <a:pt x="81" y="456"/>
                    </a:lnTo>
                    <a:lnTo>
                      <a:pt x="77" y="456"/>
                    </a:lnTo>
                    <a:lnTo>
                      <a:pt x="77" y="452"/>
                    </a:lnTo>
                    <a:lnTo>
                      <a:pt x="72" y="452"/>
                    </a:lnTo>
                    <a:lnTo>
                      <a:pt x="67" y="447"/>
                    </a:lnTo>
                    <a:lnTo>
                      <a:pt x="62" y="447"/>
                    </a:lnTo>
                    <a:lnTo>
                      <a:pt x="62" y="442"/>
                    </a:lnTo>
                    <a:lnTo>
                      <a:pt x="62" y="437"/>
                    </a:lnTo>
                    <a:lnTo>
                      <a:pt x="57" y="437"/>
                    </a:lnTo>
                    <a:lnTo>
                      <a:pt x="57" y="432"/>
                    </a:lnTo>
                    <a:lnTo>
                      <a:pt x="57" y="428"/>
                    </a:lnTo>
                    <a:lnTo>
                      <a:pt x="57" y="423"/>
                    </a:lnTo>
                    <a:lnTo>
                      <a:pt x="53" y="418"/>
                    </a:lnTo>
                    <a:lnTo>
                      <a:pt x="53" y="413"/>
                    </a:lnTo>
                    <a:lnTo>
                      <a:pt x="48" y="413"/>
                    </a:lnTo>
                    <a:lnTo>
                      <a:pt x="48" y="408"/>
                    </a:lnTo>
                    <a:lnTo>
                      <a:pt x="43" y="408"/>
                    </a:lnTo>
                    <a:lnTo>
                      <a:pt x="43" y="404"/>
                    </a:lnTo>
                    <a:lnTo>
                      <a:pt x="38" y="399"/>
                    </a:lnTo>
                    <a:lnTo>
                      <a:pt x="33" y="399"/>
                    </a:lnTo>
                    <a:lnTo>
                      <a:pt x="33" y="394"/>
                    </a:lnTo>
                    <a:lnTo>
                      <a:pt x="29" y="394"/>
                    </a:lnTo>
                    <a:lnTo>
                      <a:pt x="29" y="389"/>
                    </a:lnTo>
                    <a:lnTo>
                      <a:pt x="24" y="389"/>
                    </a:lnTo>
                    <a:lnTo>
                      <a:pt x="24" y="384"/>
                    </a:lnTo>
                    <a:lnTo>
                      <a:pt x="19" y="380"/>
                    </a:lnTo>
                    <a:lnTo>
                      <a:pt x="19" y="375"/>
                    </a:lnTo>
                    <a:lnTo>
                      <a:pt x="19" y="370"/>
                    </a:lnTo>
                    <a:lnTo>
                      <a:pt x="19" y="365"/>
                    </a:lnTo>
                    <a:lnTo>
                      <a:pt x="19" y="360"/>
                    </a:lnTo>
                    <a:lnTo>
                      <a:pt x="19" y="356"/>
                    </a:lnTo>
                    <a:lnTo>
                      <a:pt x="19" y="351"/>
                    </a:lnTo>
                    <a:lnTo>
                      <a:pt x="19" y="346"/>
                    </a:lnTo>
                    <a:lnTo>
                      <a:pt x="19" y="341"/>
                    </a:lnTo>
                    <a:lnTo>
                      <a:pt x="19" y="336"/>
                    </a:lnTo>
                    <a:lnTo>
                      <a:pt x="14" y="332"/>
                    </a:lnTo>
                    <a:lnTo>
                      <a:pt x="14" y="327"/>
                    </a:lnTo>
                    <a:lnTo>
                      <a:pt x="14" y="322"/>
                    </a:lnTo>
                    <a:lnTo>
                      <a:pt x="14" y="317"/>
                    </a:lnTo>
                    <a:lnTo>
                      <a:pt x="14" y="312"/>
                    </a:lnTo>
                    <a:lnTo>
                      <a:pt x="14" y="308"/>
                    </a:lnTo>
                    <a:lnTo>
                      <a:pt x="14" y="303"/>
                    </a:lnTo>
                    <a:lnTo>
                      <a:pt x="19" y="298"/>
                    </a:lnTo>
                    <a:lnTo>
                      <a:pt x="24" y="298"/>
                    </a:lnTo>
                    <a:lnTo>
                      <a:pt x="29" y="293"/>
                    </a:lnTo>
                    <a:lnTo>
                      <a:pt x="33" y="288"/>
                    </a:lnTo>
                    <a:lnTo>
                      <a:pt x="38" y="288"/>
                    </a:lnTo>
                    <a:lnTo>
                      <a:pt x="43" y="284"/>
                    </a:lnTo>
                    <a:lnTo>
                      <a:pt x="43" y="279"/>
                    </a:lnTo>
                    <a:lnTo>
                      <a:pt x="48" y="279"/>
                    </a:lnTo>
                    <a:lnTo>
                      <a:pt x="53" y="274"/>
                    </a:lnTo>
                    <a:lnTo>
                      <a:pt x="57" y="274"/>
                    </a:lnTo>
                    <a:lnTo>
                      <a:pt x="62" y="274"/>
                    </a:lnTo>
                    <a:lnTo>
                      <a:pt x="62" y="279"/>
                    </a:lnTo>
                    <a:lnTo>
                      <a:pt x="67" y="279"/>
                    </a:lnTo>
                    <a:lnTo>
                      <a:pt x="67" y="284"/>
                    </a:lnTo>
                    <a:lnTo>
                      <a:pt x="72" y="284"/>
                    </a:lnTo>
                    <a:lnTo>
                      <a:pt x="72" y="288"/>
                    </a:lnTo>
                    <a:lnTo>
                      <a:pt x="77" y="288"/>
                    </a:lnTo>
                    <a:lnTo>
                      <a:pt x="81" y="288"/>
                    </a:lnTo>
                    <a:lnTo>
                      <a:pt x="86" y="284"/>
                    </a:lnTo>
                    <a:lnTo>
                      <a:pt x="86" y="279"/>
                    </a:lnTo>
                    <a:lnTo>
                      <a:pt x="86" y="274"/>
                    </a:lnTo>
                    <a:lnTo>
                      <a:pt x="86" y="269"/>
                    </a:lnTo>
                    <a:lnTo>
                      <a:pt x="81" y="269"/>
                    </a:lnTo>
                    <a:lnTo>
                      <a:pt x="81" y="264"/>
                    </a:lnTo>
                    <a:lnTo>
                      <a:pt x="81" y="260"/>
                    </a:lnTo>
                    <a:lnTo>
                      <a:pt x="81" y="255"/>
                    </a:lnTo>
                    <a:lnTo>
                      <a:pt x="86" y="255"/>
                    </a:lnTo>
                    <a:lnTo>
                      <a:pt x="86" y="250"/>
                    </a:lnTo>
                    <a:lnTo>
                      <a:pt x="86" y="245"/>
                    </a:lnTo>
                    <a:lnTo>
                      <a:pt x="86" y="240"/>
                    </a:lnTo>
                    <a:lnTo>
                      <a:pt x="86" y="236"/>
                    </a:lnTo>
                    <a:lnTo>
                      <a:pt x="86" y="231"/>
                    </a:lnTo>
                    <a:lnTo>
                      <a:pt x="86" y="226"/>
                    </a:lnTo>
                    <a:lnTo>
                      <a:pt x="86" y="221"/>
                    </a:lnTo>
                    <a:lnTo>
                      <a:pt x="86" y="216"/>
                    </a:lnTo>
                    <a:lnTo>
                      <a:pt x="81" y="212"/>
                    </a:lnTo>
                    <a:lnTo>
                      <a:pt x="81" y="207"/>
                    </a:lnTo>
                    <a:lnTo>
                      <a:pt x="81" y="202"/>
                    </a:lnTo>
                    <a:lnTo>
                      <a:pt x="81" y="197"/>
                    </a:lnTo>
                    <a:close/>
                  </a:path>
                </a:pathLst>
              </a:custGeom>
              <a:solidFill>
                <a:schemeClr val="accent6">
                  <a:lumMod val="40000"/>
                  <a:lumOff val="6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53" name="Freeform 20"/>
              <p:cNvSpPr>
                <a:spLocks/>
              </p:cNvSpPr>
              <p:nvPr/>
            </p:nvSpPr>
            <p:spPr bwMode="gray">
              <a:xfrm>
                <a:off x="3759201" y="2055813"/>
                <a:ext cx="960438" cy="1897062"/>
              </a:xfrm>
              <a:custGeom>
                <a:avLst/>
                <a:gdLst>
                  <a:gd name="T0" fmla="*/ 264 w 605"/>
                  <a:gd name="T1" fmla="*/ 96 h 1195"/>
                  <a:gd name="T2" fmla="*/ 293 w 605"/>
                  <a:gd name="T3" fmla="*/ 67 h 1195"/>
                  <a:gd name="T4" fmla="*/ 327 w 605"/>
                  <a:gd name="T5" fmla="*/ 38 h 1195"/>
                  <a:gd name="T6" fmla="*/ 370 w 605"/>
                  <a:gd name="T7" fmla="*/ 28 h 1195"/>
                  <a:gd name="T8" fmla="*/ 408 w 605"/>
                  <a:gd name="T9" fmla="*/ 0 h 1195"/>
                  <a:gd name="T10" fmla="*/ 461 w 605"/>
                  <a:gd name="T11" fmla="*/ 28 h 1195"/>
                  <a:gd name="T12" fmla="*/ 519 w 605"/>
                  <a:gd name="T13" fmla="*/ 67 h 1195"/>
                  <a:gd name="T14" fmla="*/ 476 w 605"/>
                  <a:gd name="T15" fmla="*/ 120 h 1195"/>
                  <a:gd name="T16" fmla="*/ 452 w 605"/>
                  <a:gd name="T17" fmla="*/ 182 h 1195"/>
                  <a:gd name="T18" fmla="*/ 476 w 605"/>
                  <a:gd name="T19" fmla="*/ 216 h 1195"/>
                  <a:gd name="T20" fmla="*/ 519 w 605"/>
                  <a:gd name="T21" fmla="*/ 254 h 1195"/>
                  <a:gd name="T22" fmla="*/ 552 w 605"/>
                  <a:gd name="T23" fmla="*/ 293 h 1195"/>
                  <a:gd name="T24" fmla="*/ 600 w 605"/>
                  <a:gd name="T25" fmla="*/ 326 h 1195"/>
                  <a:gd name="T26" fmla="*/ 600 w 605"/>
                  <a:gd name="T27" fmla="*/ 384 h 1195"/>
                  <a:gd name="T28" fmla="*/ 586 w 605"/>
                  <a:gd name="T29" fmla="*/ 408 h 1195"/>
                  <a:gd name="T30" fmla="*/ 533 w 605"/>
                  <a:gd name="T31" fmla="*/ 432 h 1195"/>
                  <a:gd name="T32" fmla="*/ 538 w 605"/>
                  <a:gd name="T33" fmla="*/ 494 h 1195"/>
                  <a:gd name="T34" fmla="*/ 567 w 605"/>
                  <a:gd name="T35" fmla="*/ 537 h 1195"/>
                  <a:gd name="T36" fmla="*/ 596 w 605"/>
                  <a:gd name="T37" fmla="*/ 581 h 1195"/>
                  <a:gd name="T38" fmla="*/ 586 w 605"/>
                  <a:gd name="T39" fmla="*/ 633 h 1195"/>
                  <a:gd name="T40" fmla="*/ 572 w 605"/>
                  <a:gd name="T41" fmla="*/ 691 h 1195"/>
                  <a:gd name="T42" fmla="*/ 567 w 605"/>
                  <a:gd name="T43" fmla="*/ 749 h 1195"/>
                  <a:gd name="T44" fmla="*/ 576 w 605"/>
                  <a:gd name="T45" fmla="*/ 797 h 1195"/>
                  <a:gd name="T46" fmla="*/ 581 w 605"/>
                  <a:gd name="T47" fmla="*/ 859 h 1195"/>
                  <a:gd name="T48" fmla="*/ 543 w 605"/>
                  <a:gd name="T49" fmla="*/ 917 h 1195"/>
                  <a:gd name="T50" fmla="*/ 519 w 605"/>
                  <a:gd name="T51" fmla="*/ 969 h 1195"/>
                  <a:gd name="T52" fmla="*/ 504 w 605"/>
                  <a:gd name="T53" fmla="*/ 998 h 1195"/>
                  <a:gd name="T54" fmla="*/ 452 w 605"/>
                  <a:gd name="T55" fmla="*/ 998 h 1195"/>
                  <a:gd name="T56" fmla="*/ 413 w 605"/>
                  <a:gd name="T57" fmla="*/ 1027 h 1195"/>
                  <a:gd name="T58" fmla="*/ 380 w 605"/>
                  <a:gd name="T59" fmla="*/ 1056 h 1195"/>
                  <a:gd name="T60" fmla="*/ 351 w 605"/>
                  <a:gd name="T61" fmla="*/ 1089 h 1195"/>
                  <a:gd name="T62" fmla="*/ 317 w 605"/>
                  <a:gd name="T63" fmla="*/ 1123 h 1195"/>
                  <a:gd name="T64" fmla="*/ 274 w 605"/>
                  <a:gd name="T65" fmla="*/ 1137 h 1195"/>
                  <a:gd name="T66" fmla="*/ 236 w 605"/>
                  <a:gd name="T67" fmla="*/ 1166 h 1195"/>
                  <a:gd name="T68" fmla="*/ 192 w 605"/>
                  <a:gd name="T69" fmla="*/ 1176 h 1195"/>
                  <a:gd name="T70" fmla="*/ 154 w 605"/>
                  <a:gd name="T71" fmla="*/ 1181 h 1195"/>
                  <a:gd name="T72" fmla="*/ 130 w 605"/>
                  <a:gd name="T73" fmla="*/ 1128 h 1195"/>
                  <a:gd name="T74" fmla="*/ 106 w 605"/>
                  <a:gd name="T75" fmla="*/ 1065 h 1195"/>
                  <a:gd name="T76" fmla="*/ 68 w 605"/>
                  <a:gd name="T77" fmla="*/ 1041 h 1195"/>
                  <a:gd name="T78" fmla="*/ 44 w 605"/>
                  <a:gd name="T79" fmla="*/ 1017 h 1195"/>
                  <a:gd name="T80" fmla="*/ 10 w 605"/>
                  <a:gd name="T81" fmla="*/ 993 h 1195"/>
                  <a:gd name="T82" fmla="*/ 44 w 605"/>
                  <a:gd name="T83" fmla="*/ 965 h 1195"/>
                  <a:gd name="T84" fmla="*/ 48 w 605"/>
                  <a:gd name="T85" fmla="*/ 931 h 1195"/>
                  <a:gd name="T86" fmla="*/ 0 w 605"/>
                  <a:gd name="T87" fmla="*/ 917 h 1195"/>
                  <a:gd name="T88" fmla="*/ 39 w 605"/>
                  <a:gd name="T89" fmla="*/ 883 h 1195"/>
                  <a:gd name="T90" fmla="*/ 82 w 605"/>
                  <a:gd name="T91" fmla="*/ 854 h 1195"/>
                  <a:gd name="T92" fmla="*/ 125 w 605"/>
                  <a:gd name="T93" fmla="*/ 825 h 1195"/>
                  <a:gd name="T94" fmla="*/ 154 w 605"/>
                  <a:gd name="T95" fmla="*/ 787 h 1195"/>
                  <a:gd name="T96" fmla="*/ 178 w 605"/>
                  <a:gd name="T97" fmla="*/ 744 h 1195"/>
                  <a:gd name="T98" fmla="*/ 178 w 605"/>
                  <a:gd name="T99" fmla="*/ 681 h 1195"/>
                  <a:gd name="T100" fmla="*/ 178 w 605"/>
                  <a:gd name="T101" fmla="*/ 619 h 1195"/>
                  <a:gd name="T102" fmla="*/ 197 w 605"/>
                  <a:gd name="T103" fmla="*/ 576 h 1195"/>
                  <a:gd name="T104" fmla="*/ 221 w 605"/>
                  <a:gd name="T105" fmla="*/ 537 h 1195"/>
                  <a:gd name="T106" fmla="*/ 245 w 605"/>
                  <a:gd name="T107" fmla="*/ 504 h 1195"/>
                  <a:gd name="T108" fmla="*/ 231 w 605"/>
                  <a:gd name="T109" fmla="*/ 461 h 1195"/>
                  <a:gd name="T110" fmla="*/ 192 w 605"/>
                  <a:gd name="T111" fmla="*/ 432 h 1195"/>
                  <a:gd name="T112" fmla="*/ 168 w 605"/>
                  <a:gd name="T113" fmla="*/ 384 h 1195"/>
                  <a:gd name="T114" fmla="*/ 144 w 605"/>
                  <a:gd name="T115" fmla="*/ 345 h 1195"/>
                  <a:gd name="T116" fmla="*/ 159 w 605"/>
                  <a:gd name="T117" fmla="*/ 297 h 1195"/>
                  <a:gd name="T118" fmla="*/ 154 w 605"/>
                  <a:gd name="T119" fmla="*/ 244 h 1195"/>
                  <a:gd name="T120" fmla="*/ 178 w 605"/>
                  <a:gd name="T121" fmla="*/ 201 h 1195"/>
                  <a:gd name="T122" fmla="*/ 207 w 605"/>
                  <a:gd name="T123" fmla="*/ 158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5" h="1195">
                    <a:moveTo>
                      <a:pt x="231" y="115"/>
                    </a:moveTo>
                    <a:lnTo>
                      <a:pt x="231" y="110"/>
                    </a:lnTo>
                    <a:lnTo>
                      <a:pt x="236" y="110"/>
                    </a:lnTo>
                    <a:lnTo>
                      <a:pt x="240" y="110"/>
                    </a:lnTo>
                    <a:lnTo>
                      <a:pt x="245" y="110"/>
                    </a:lnTo>
                    <a:lnTo>
                      <a:pt x="250" y="110"/>
                    </a:lnTo>
                    <a:lnTo>
                      <a:pt x="255" y="110"/>
                    </a:lnTo>
                    <a:lnTo>
                      <a:pt x="255" y="115"/>
                    </a:lnTo>
                    <a:lnTo>
                      <a:pt x="255" y="110"/>
                    </a:lnTo>
                    <a:lnTo>
                      <a:pt x="260" y="110"/>
                    </a:lnTo>
                    <a:lnTo>
                      <a:pt x="260" y="105"/>
                    </a:lnTo>
                    <a:lnTo>
                      <a:pt x="260" y="100"/>
                    </a:lnTo>
                    <a:lnTo>
                      <a:pt x="264" y="96"/>
                    </a:lnTo>
                    <a:lnTo>
                      <a:pt x="264" y="91"/>
                    </a:lnTo>
                    <a:lnTo>
                      <a:pt x="264" y="86"/>
                    </a:lnTo>
                    <a:lnTo>
                      <a:pt x="260" y="86"/>
                    </a:lnTo>
                    <a:lnTo>
                      <a:pt x="264" y="81"/>
                    </a:lnTo>
                    <a:lnTo>
                      <a:pt x="264" y="76"/>
                    </a:lnTo>
                    <a:lnTo>
                      <a:pt x="264" y="72"/>
                    </a:lnTo>
                    <a:lnTo>
                      <a:pt x="269" y="72"/>
                    </a:lnTo>
                    <a:lnTo>
                      <a:pt x="269" y="67"/>
                    </a:lnTo>
                    <a:lnTo>
                      <a:pt x="274" y="67"/>
                    </a:lnTo>
                    <a:lnTo>
                      <a:pt x="279" y="67"/>
                    </a:lnTo>
                    <a:lnTo>
                      <a:pt x="284" y="67"/>
                    </a:lnTo>
                    <a:lnTo>
                      <a:pt x="288" y="67"/>
                    </a:lnTo>
                    <a:lnTo>
                      <a:pt x="293" y="67"/>
                    </a:lnTo>
                    <a:lnTo>
                      <a:pt x="293" y="72"/>
                    </a:lnTo>
                    <a:lnTo>
                      <a:pt x="293" y="67"/>
                    </a:lnTo>
                    <a:lnTo>
                      <a:pt x="293" y="62"/>
                    </a:lnTo>
                    <a:lnTo>
                      <a:pt x="298" y="57"/>
                    </a:lnTo>
                    <a:lnTo>
                      <a:pt x="298" y="52"/>
                    </a:lnTo>
                    <a:lnTo>
                      <a:pt x="303" y="52"/>
                    </a:lnTo>
                    <a:lnTo>
                      <a:pt x="308" y="52"/>
                    </a:lnTo>
                    <a:lnTo>
                      <a:pt x="308" y="48"/>
                    </a:lnTo>
                    <a:lnTo>
                      <a:pt x="312" y="48"/>
                    </a:lnTo>
                    <a:lnTo>
                      <a:pt x="312" y="43"/>
                    </a:lnTo>
                    <a:lnTo>
                      <a:pt x="317" y="43"/>
                    </a:lnTo>
                    <a:lnTo>
                      <a:pt x="322" y="43"/>
                    </a:lnTo>
                    <a:lnTo>
                      <a:pt x="327" y="38"/>
                    </a:lnTo>
                    <a:lnTo>
                      <a:pt x="332" y="38"/>
                    </a:lnTo>
                    <a:lnTo>
                      <a:pt x="336" y="38"/>
                    </a:lnTo>
                    <a:lnTo>
                      <a:pt x="336" y="43"/>
                    </a:lnTo>
                    <a:lnTo>
                      <a:pt x="341" y="43"/>
                    </a:lnTo>
                    <a:lnTo>
                      <a:pt x="341" y="38"/>
                    </a:lnTo>
                    <a:lnTo>
                      <a:pt x="346" y="38"/>
                    </a:lnTo>
                    <a:lnTo>
                      <a:pt x="351" y="38"/>
                    </a:lnTo>
                    <a:lnTo>
                      <a:pt x="356" y="38"/>
                    </a:lnTo>
                    <a:lnTo>
                      <a:pt x="360" y="38"/>
                    </a:lnTo>
                    <a:lnTo>
                      <a:pt x="365" y="38"/>
                    </a:lnTo>
                    <a:lnTo>
                      <a:pt x="365" y="33"/>
                    </a:lnTo>
                    <a:lnTo>
                      <a:pt x="370" y="33"/>
                    </a:lnTo>
                    <a:lnTo>
                      <a:pt x="370" y="28"/>
                    </a:lnTo>
                    <a:lnTo>
                      <a:pt x="375" y="28"/>
                    </a:lnTo>
                    <a:lnTo>
                      <a:pt x="375" y="24"/>
                    </a:lnTo>
                    <a:lnTo>
                      <a:pt x="380" y="24"/>
                    </a:lnTo>
                    <a:lnTo>
                      <a:pt x="380" y="19"/>
                    </a:lnTo>
                    <a:lnTo>
                      <a:pt x="384" y="19"/>
                    </a:lnTo>
                    <a:lnTo>
                      <a:pt x="389" y="19"/>
                    </a:lnTo>
                    <a:lnTo>
                      <a:pt x="394" y="19"/>
                    </a:lnTo>
                    <a:lnTo>
                      <a:pt x="394" y="14"/>
                    </a:lnTo>
                    <a:lnTo>
                      <a:pt x="399" y="14"/>
                    </a:lnTo>
                    <a:lnTo>
                      <a:pt x="399" y="9"/>
                    </a:lnTo>
                    <a:lnTo>
                      <a:pt x="399" y="4"/>
                    </a:lnTo>
                    <a:lnTo>
                      <a:pt x="404" y="0"/>
                    </a:lnTo>
                    <a:lnTo>
                      <a:pt x="408" y="0"/>
                    </a:lnTo>
                    <a:lnTo>
                      <a:pt x="413" y="0"/>
                    </a:lnTo>
                    <a:lnTo>
                      <a:pt x="418" y="0"/>
                    </a:lnTo>
                    <a:lnTo>
                      <a:pt x="423" y="0"/>
                    </a:lnTo>
                    <a:lnTo>
                      <a:pt x="423" y="4"/>
                    </a:lnTo>
                    <a:lnTo>
                      <a:pt x="428" y="4"/>
                    </a:lnTo>
                    <a:lnTo>
                      <a:pt x="428" y="9"/>
                    </a:lnTo>
                    <a:lnTo>
                      <a:pt x="432" y="9"/>
                    </a:lnTo>
                    <a:lnTo>
                      <a:pt x="437" y="14"/>
                    </a:lnTo>
                    <a:lnTo>
                      <a:pt x="442" y="19"/>
                    </a:lnTo>
                    <a:lnTo>
                      <a:pt x="447" y="19"/>
                    </a:lnTo>
                    <a:lnTo>
                      <a:pt x="452" y="24"/>
                    </a:lnTo>
                    <a:lnTo>
                      <a:pt x="456" y="24"/>
                    </a:lnTo>
                    <a:lnTo>
                      <a:pt x="461" y="28"/>
                    </a:lnTo>
                    <a:lnTo>
                      <a:pt x="466" y="33"/>
                    </a:lnTo>
                    <a:lnTo>
                      <a:pt x="471" y="33"/>
                    </a:lnTo>
                    <a:lnTo>
                      <a:pt x="476" y="38"/>
                    </a:lnTo>
                    <a:lnTo>
                      <a:pt x="480" y="43"/>
                    </a:lnTo>
                    <a:lnTo>
                      <a:pt x="485" y="43"/>
                    </a:lnTo>
                    <a:lnTo>
                      <a:pt x="490" y="48"/>
                    </a:lnTo>
                    <a:lnTo>
                      <a:pt x="495" y="48"/>
                    </a:lnTo>
                    <a:lnTo>
                      <a:pt x="495" y="52"/>
                    </a:lnTo>
                    <a:lnTo>
                      <a:pt x="500" y="57"/>
                    </a:lnTo>
                    <a:lnTo>
                      <a:pt x="504" y="57"/>
                    </a:lnTo>
                    <a:lnTo>
                      <a:pt x="509" y="62"/>
                    </a:lnTo>
                    <a:lnTo>
                      <a:pt x="514" y="67"/>
                    </a:lnTo>
                    <a:lnTo>
                      <a:pt x="519" y="67"/>
                    </a:lnTo>
                    <a:lnTo>
                      <a:pt x="519" y="72"/>
                    </a:lnTo>
                    <a:lnTo>
                      <a:pt x="514" y="72"/>
                    </a:lnTo>
                    <a:lnTo>
                      <a:pt x="509" y="76"/>
                    </a:lnTo>
                    <a:lnTo>
                      <a:pt x="504" y="81"/>
                    </a:lnTo>
                    <a:lnTo>
                      <a:pt x="500" y="86"/>
                    </a:lnTo>
                    <a:lnTo>
                      <a:pt x="495" y="91"/>
                    </a:lnTo>
                    <a:lnTo>
                      <a:pt x="490" y="91"/>
                    </a:lnTo>
                    <a:lnTo>
                      <a:pt x="485" y="96"/>
                    </a:lnTo>
                    <a:lnTo>
                      <a:pt x="480" y="100"/>
                    </a:lnTo>
                    <a:lnTo>
                      <a:pt x="480" y="105"/>
                    </a:lnTo>
                    <a:lnTo>
                      <a:pt x="480" y="110"/>
                    </a:lnTo>
                    <a:lnTo>
                      <a:pt x="476" y="115"/>
                    </a:lnTo>
                    <a:lnTo>
                      <a:pt x="476" y="120"/>
                    </a:lnTo>
                    <a:lnTo>
                      <a:pt x="476" y="124"/>
                    </a:lnTo>
                    <a:lnTo>
                      <a:pt x="471" y="129"/>
                    </a:lnTo>
                    <a:lnTo>
                      <a:pt x="471" y="134"/>
                    </a:lnTo>
                    <a:lnTo>
                      <a:pt x="466" y="139"/>
                    </a:lnTo>
                    <a:lnTo>
                      <a:pt x="466" y="144"/>
                    </a:lnTo>
                    <a:lnTo>
                      <a:pt x="461" y="148"/>
                    </a:lnTo>
                    <a:lnTo>
                      <a:pt x="461" y="153"/>
                    </a:lnTo>
                    <a:lnTo>
                      <a:pt x="461" y="158"/>
                    </a:lnTo>
                    <a:lnTo>
                      <a:pt x="456" y="163"/>
                    </a:lnTo>
                    <a:lnTo>
                      <a:pt x="456" y="168"/>
                    </a:lnTo>
                    <a:lnTo>
                      <a:pt x="456" y="172"/>
                    </a:lnTo>
                    <a:lnTo>
                      <a:pt x="452" y="177"/>
                    </a:lnTo>
                    <a:lnTo>
                      <a:pt x="452" y="182"/>
                    </a:lnTo>
                    <a:lnTo>
                      <a:pt x="452" y="187"/>
                    </a:lnTo>
                    <a:lnTo>
                      <a:pt x="447" y="192"/>
                    </a:lnTo>
                    <a:lnTo>
                      <a:pt x="447" y="196"/>
                    </a:lnTo>
                    <a:lnTo>
                      <a:pt x="442" y="196"/>
                    </a:lnTo>
                    <a:lnTo>
                      <a:pt x="442" y="201"/>
                    </a:lnTo>
                    <a:lnTo>
                      <a:pt x="442" y="206"/>
                    </a:lnTo>
                    <a:lnTo>
                      <a:pt x="447" y="211"/>
                    </a:lnTo>
                    <a:lnTo>
                      <a:pt x="452" y="211"/>
                    </a:lnTo>
                    <a:lnTo>
                      <a:pt x="456" y="211"/>
                    </a:lnTo>
                    <a:lnTo>
                      <a:pt x="461" y="211"/>
                    </a:lnTo>
                    <a:lnTo>
                      <a:pt x="466" y="211"/>
                    </a:lnTo>
                    <a:lnTo>
                      <a:pt x="471" y="211"/>
                    </a:lnTo>
                    <a:lnTo>
                      <a:pt x="476" y="216"/>
                    </a:lnTo>
                    <a:lnTo>
                      <a:pt x="480" y="216"/>
                    </a:lnTo>
                    <a:lnTo>
                      <a:pt x="485" y="216"/>
                    </a:lnTo>
                    <a:lnTo>
                      <a:pt x="490" y="216"/>
                    </a:lnTo>
                    <a:lnTo>
                      <a:pt x="495" y="220"/>
                    </a:lnTo>
                    <a:lnTo>
                      <a:pt x="500" y="220"/>
                    </a:lnTo>
                    <a:lnTo>
                      <a:pt x="500" y="225"/>
                    </a:lnTo>
                    <a:lnTo>
                      <a:pt x="504" y="230"/>
                    </a:lnTo>
                    <a:lnTo>
                      <a:pt x="504" y="235"/>
                    </a:lnTo>
                    <a:lnTo>
                      <a:pt x="509" y="240"/>
                    </a:lnTo>
                    <a:lnTo>
                      <a:pt x="509" y="244"/>
                    </a:lnTo>
                    <a:lnTo>
                      <a:pt x="514" y="244"/>
                    </a:lnTo>
                    <a:lnTo>
                      <a:pt x="514" y="249"/>
                    </a:lnTo>
                    <a:lnTo>
                      <a:pt x="519" y="254"/>
                    </a:lnTo>
                    <a:lnTo>
                      <a:pt x="524" y="259"/>
                    </a:lnTo>
                    <a:lnTo>
                      <a:pt x="528" y="259"/>
                    </a:lnTo>
                    <a:lnTo>
                      <a:pt x="533" y="259"/>
                    </a:lnTo>
                    <a:lnTo>
                      <a:pt x="538" y="259"/>
                    </a:lnTo>
                    <a:lnTo>
                      <a:pt x="543" y="259"/>
                    </a:lnTo>
                    <a:lnTo>
                      <a:pt x="543" y="264"/>
                    </a:lnTo>
                    <a:lnTo>
                      <a:pt x="548" y="268"/>
                    </a:lnTo>
                    <a:lnTo>
                      <a:pt x="548" y="273"/>
                    </a:lnTo>
                    <a:lnTo>
                      <a:pt x="552" y="278"/>
                    </a:lnTo>
                    <a:lnTo>
                      <a:pt x="557" y="278"/>
                    </a:lnTo>
                    <a:lnTo>
                      <a:pt x="557" y="288"/>
                    </a:lnTo>
                    <a:lnTo>
                      <a:pt x="552" y="288"/>
                    </a:lnTo>
                    <a:lnTo>
                      <a:pt x="552" y="293"/>
                    </a:lnTo>
                    <a:lnTo>
                      <a:pt x="552" y="297"/>
                    </a:lnTo>
                    <a:lnTo>
                      <a:pt x="552" y="302"/>
                    </a:lnTo>
                    <a:lnTo>
                      <a:pt x="557" y="307"/>
                    </a:lnTo>
                    <a:lnTo>
                      <a:pt x="562" y="307"/>
                    </a:lnTo>
                    <a:lnTo>
                      <a:pt x="567" y="312"/>
                    </a:lnTo>
                    <a:lnTo>
                      <a:pt x="572" y="312"/>
                    </a:lnTo>
                    <a:lnTo>
                      <a:pt x="576" y="317"/>
                    </a:lnTo>
                    <a:lnTo>
                      <a:pt x="581" y="317"/>
                    </a:lnTo>
                    <a:lnTo>
                      <a:pt x="586" y="321"/>
                    </a:lnTo>
                    <a:lnTo>
                      <a:pt x="591" y="321"/>
                    </a:lnTo>
                    <a:lnTo>
                      <a:pt x="591" y="326"/>
                    </a:lnTo>
                    <a:lnTo>
                      <a:pt x="596" y="326"/>
                    </a:lnTo>
                    <a:lnTo>
                      <a:pt x="600" y="326"/>
                    </a:lnTo>
                    <a:lnTo>
                      <a:pt x="600" y="331"/>
                    </a:lnTo>
                    <a:lnTo>
                      <a:pt x="600" y="336"/>
                    </a:lnTo>
                    <a:lnTo>
                      <a:pt x="600" y="341"/>
                    </a:lnTo>
                    <a:lnTo>
                      <a:pt x="605" y="345"/>
                    </a:lnTo>
                    <a:lnTo>
                      <a:pt x="605" y="350"/>
                    </a:lnTo>
                    <a:lnTo>
                      <a:pt x="605" y="355"/>
                    </a:lnTo>
                    <a:lnTo>
                      <a:pt x="605" y="360"/>
                    </a:lnTo>
                    <a:lnTo>
                      <a:pt x="605" y="365"/>
                    </a:lnTo>
                    <a:lnTo>
                      <a:pt x="605" y="369"/>
                    </a:lnTo>
                    <a:lnTo>
                      <a:pt x="605" y="374"/>
                    </a:lnTo>
                    <a:lnTo>
                      <a:pt x="605" y="379"/>
                    </a:lnTo>
                    <a:lnTo>
                      <a:pt x="605" y="384"/>
                    </a:lnTo>
                    <a:lnTo>
                      <a:pt x="600" y="384"/>
                    </a:lnTo>
                    <a:lnTo>
                      <a:pt x="600" y="389"/>
                    </a:lnTo>
                    <a:lnTo>
                      <a:pt x="600" y="393"/>
                    </a:lnTo>
                    <a:lnTo>
                      <a:pt x="600" y="398"/>
                    </a:lnTo>
                    <a:lnTo>
                      <a:pt x="605" y="398"/>
                    </a:lnTo>
                    <a:lnTo>
                      <a:pt x="605" y="403"/>
                    </a:lnTo>
                    <a:lnTo>
                      <a:pt x="605" y="408"/>
                    </a:lnTo>
                    <a:lnTo>
                      <a:pt x="605" y="413"/>
                    </a:lnTo>
                    <a:lnTo>
                      <a:pt x="600" y="417"/>
                    </a:lnTo>
                    <a:lnTo>
                      <a:pt x="596" y="417"/>
                    </a:lnTo>
                    <a:lnTo>
                      <a:pt x="591" y="417"/>
                    </a:lnTo>
                    <a:lnTo>
                      <a:pt x="591" y="413"/>
                    </a:lnTo>
                    <a:lnTo>
                      <a:pt x="586" y="413"/>
                    </a:lnTo>
                    <a:lnTo>
                      <a:pt x="586" y="408"/>
                    </a:lnTo>
                    <a:lnTo>
                      <a:pt x="581" y="408"/>
                    </a:lnTo>
                    <a:lnTo>
                      <a:pt x="581" y="403"/>
                    </a:lnTo>
                    <a:lnTo>
                      <a:pt x="576" y="403"/>
                    </a:lnTo>
                    <a:lnTo>
                      <a:pt x="572" y="403"/>
                    </a:lnTo>
                    <a:lnTo>
                      <a:pt x="567" y="408"/>
                    </a:lnTo>
                    <a:lnTo>
                      <a:pt x="562" y="408"/>
                    </a:lnTo>
                    <a:lnTo>
                      <a:pt x="562" y="413"/>
                    </a:lnTo>
                    <a:lnTo>
                      <a:pt x="557" y="417"/>
                    </a:lnTo>
                    <a:lnTo>
                      <a:pt x="552" y="417"/>
                    </a:lnTo>
                    <a:lnTo>
                      <a:pt x="548" y="422"/>
                    </a:lnTo>
                    <a:lnTo>
                      <a:pt x="543" y="427"/>
                    </a:lnTo>
                    <a:lnTo>
                      <a:pt x="538" y="427"/>
                    </a:lnTo>
                    <a:lnTo>
                      <a:pt x="533" y="432"/>
                    </a:lnTo>
                    <a:lnTo>
                      <a:pt x="533" y="437"/>
                    </a:lnTo>
                    <a:lnTo>
                      <a:pt x="533" y="441"/>
                    </a:lnTo>
                    <a:lnTo>
                      <a:pt x="533" y="446"/>
                    </a:lnTo>
                    <a:lnTo>
                      <a:pt x="533" y="451"/>
                    </a:lnTo>
                    <a:lnTo>
                      <a:pt x="533" y="456"/>
                    </a:lnTo>
                    <a:lnTo>
                      <a:pt x="533" y="461"/>
                    </a:lnTo>
                    <a:lnTo>
                      <a:pt x="538" y="465"/>
                    </a:lnTo>
                    <a:lnTo>
                      <a:pt x="538" y="470"/>
                    </a:lnTo>
                    <a:lnTo>
                      <a:pt x="538" y="475"/>
                    </a:lnTo>
                    <a:lnTo>
                      <a:pt x="538" y="480"/>
                    </a:lnTo>
                    <a:lnTo>
                      <a:pt x="538" y="485"/>
                    </a:lnTo>
                    <a:lnTo>
                      <a:pt x="538" y="489"/>
                    </a:lnTo>
                    <a:lnTo>
                      <a:pt x="538" y="494"/>
                    </a:lnTo>
                    <a:lnTo>
                      <a:pt x="538" y="499"/>
                    </a:lnTo>
                    <a:lnTo>
                      <a:pt x="538" y="504"/>
                    </a:lnTo>
                    <a:lnTo>
                      <a:pt x="538" y="509"/>
                    </a:lnTo>
                    <a:lnTo>
                      <a:pt x="543" y="513"/>
                    </a:lnTo>
                    <a:lnTo>
                      <a:pt x="543" y="518"/>
                    </a:lnTo>
                    <a:lnTo>
                      <a:pt x="548" y="518"/>
                    </a:lnTo>
                    <a:lnTo>
                      <a:pt x="548" y="523"/>
                    </a:lnTo>
                    <a:lnTo>
                      <a:pt x="552" y="523"/>
                    </a:lnTo>
                    <a:lnTo>
                      <a:pt x="552" y="528"/>
                    </a:lnTo>
                    <a:lnTo>
                      <a:pt x="557" y="528"/>
                    </a:lnTo>
                    <a:lnTo>
                      <a:pt x="562" y="533"/>
                    </a:lnTo>
                    <a:lnTo>
                      <a:pt x="562" y="537"/>
                    </a:lnTo>
                    <a:lnTo>
                      <a:pt x="567" y="537"/>
                    </a:lnTo>
                    <a:lnTo>
                      <a:pt x="567" y="542"/>
                    </a:lnTo>
                    <a:lnTo>
                      <a:pt x="572" y="542"/>
                    </a:lnTo>
                    <a:lnTo>
                      <a:pt x="572" y="547"/>
                    </a:lnTo>
                    <a:lnTo>
                      <a:pt x="576" y="552"/>
                    </a:lnTo>
                    <a:lnTo>
                      <a:pt x="576" y="557"/>
                    </a:lnTo>
                    <a:lnTo>
                      <a:pt x="576" y="561"/>
                    </a:lnTo>
                    <a:lnTo>
                      <a:pt x="576" y="566"/>
                    </a:lnTo>
                    <a:lnTo>
                      <a:pt x="581" y="566"/>
                    </a:lnTo>
                    <a:lnTo>
                      <a:pt x="581" y="571"/>
                    </a:lnTo>
                    <a:lnTo>
                      <a:pt x="581" y="576"/>
                    </a:lnTo>
                    <a:lnTo>
                      <a:pt x="586" y="576"/>
                    </a:lnTo>
                    <a:lnTo>
                      <a:pt x="591" y="581"/>
                    </a:lnTo>
                    <a:lnTo>
                      <a:pt x="596" y="581"/>
                    </a:lnTo>
                    <a:lnTo>
                      <a:pt x="596" y="585"/>
                    </a:lnTo>
                    <a:lnTo>
                      <a:pt x="600" y="585"/>
                    </a:lnTo>
                    <a:lnTo>
                      <a:pt x="600" y="590"/>
                    </a:lnTo>
                    <a:lnTo>
                      <a:pt x="605" y="590"/>
                    </a:lnTo>
                    <a:lnTo>
                      <a:pt x="605" y="595"/>
                    </a:lnTo>
                    <a:lnTo>
                      <a:pt x="600" y="600"/>
                    </a:lnTo>
                    <a:lnTo>
                      <a:pt x="600" y="605"/>
                    </a:lnTo>
                    <a:lnTo>
                      <a:pt x="596" y="609"/>
                    </a:lnTo>
                    <a:lnTo>
                      <a:pt x="596" y="614"/>
                    </a:lnTo>
                    <a:lnTo>
                      <a:pt x="591" y="619"/>
                    </a:lnTo>
                    <a:lnTo>
                      <a:pt x="591" y="624"/>
                    </a:lnTo>
                    <a:lnTo>
                      <a:pt x="591" y="629"/>
                    </a:lnTo>
                    <a:lnTo>
                      <a:pt x="586" y="633"/>
                    </a:lnTo>
                    <a:lnTo>
                      <a:pt x="586" y="638"/>
                    </a:lnTo>
                    <a:lnTo>
                      <a:pt x="581" y="643"/>
                    </a:lnTo>
                    <a:lnTo>
                      <a:pt x="581" y="648"/>
                    </a:lnTo>
                    <a:lnTo>
                      <a:pt x="581" y="653"/>
                    </a:lnTo>
                    <a:lnTo>
                      <a:pt x="576" y="653"/>
                    </a:lnTo>
                    <a:lnTo>
                      <a:pt x="576" y="657"/>
                    </a:lnTo>
                    <a:lnTo>
                      <a:pt x="576" y="662"/>
                    </a:lnTo>
                    <a:lnTo>
                      <a:pt x="576" y="667"/>
                    </a:lnTo>
                    <a:lnTo>
                      <a:pt x="576" y="672"/>
                    </a:lnTo>
                    <a:lnTo>
                      <a:pt x="572" y="677"/>
                    </a:lnTo>
                    <a:lnTo>
                      <a:pt x="572" y="681"/>
                    </a:lnTo>
                    <a:lnTo>
                      <a:pt x="572" y="686"/>
                    </a:lnTo>
                    <a:lnTo>
                      <a:pt x="572" y="691"/>
                    </a:lnTo>
                    <a:lnTo>
                      <a:pt x="572" y="696"/>
                    </a:lnTo>
                    <a:lnTo>
                      <a:pt x="572" y="701"/>
                    </a:lnTo>
                    <a:lnTo>
                      <a:pt x="572" y="705"/>
                    </a:lnTo>
                    <a:lnTo>
                      <a:pt x="572" y="710"/>
                    </a:lnTo>
                    <a:lnTo>
                      <a:pt x="572" y="715"/>
                    </a:lnTo>
                    <a:lnTo>
                      <a:pt x="567" y="715"/>
                    </a:lnTo>
                    <a:lnTo>
                      <a:pt x="567" y="720"/>
                    </a:lnTo>
                    <a:lnTo>
                      <a:pt x="567" y="725"/>
                    </a:lnTo>
                    <a:lnTo>
                      <a:pt x="567" y="729"/>
                    </a:lnTo>
                    <a:lnTo>
                      <a:pt x="567" y="734"/>
                    </a:lnTo>
                    <a:lnTo>
                      <a:pt x="567" y="739"/>
                    </a:lnTo>
                    <a:lnTo>
                      <a:pt x="567" y="744"/>
                    </a:lnTo>
                    <a:lnTo>
                      <a:pt x="567" y="749"/>
                    </a:lnTo>
                    <a:lnTo>
                      <a:pt x="562" y="753"/>
                    </a:lnTo>
                    <a:lnTo>
                      <a:pt x="562" y="758"/>
                    </a:lnTo>
                    <a:lnTo>
                      <a:pt x="562" y="763"/>
                    </a:lnTo>
                    <a:lnTo>
                      <a:pt x="562" y="768"/>
                    </a:lnTo>
                    <a:lnTo>
                      <a:pt x="562" y="773"/>
                    </a:lnTo>
                    <a:lnTo>
                      <a:pt x="562" y="777"/>
                    </a:lnTo>
                    <a:lnTo>
                      <a:pt x="562" y="782"/>
                    </a:lnTo>
                    <a:lnTo>
                      <a:pt x="567" y="782"/>
                    </a:lnTo>
                    <a:lnTo>
                      <a:pt x="572" y="782"/>
                    </a:lnTo>
                    <a:lnTo>
                      <a:pt x="576" y="782"/>
                    </a:lnTo>
                    <a:lnTo>
                      <a:pt x="576" y="787"/>
                    </a:lnTo>
                    <a:lnTo>
                      <a:pt x="576" y="792"/>
                    </a:lnTo>
                    <a:lnTo>
                      <a:pt x="576" y="797"/>
                    </a:lnTo>
                    <a:lnTo>
                      <a:pt x="576" y="801"/>
                    </a:lnTo>
                    <a:lnTo>
                      <a:pt x="581" y="806"/>
                    </a:lnTo>
                    <a:lnTo>
                      <a:pt x="581" y="811"/>
                    </a:lnTo>
                    <a:lnTo>
                      <a:pt x="581" y="816"/>
                    </a:lnTo>
                    <a:lnTo>
                      <a:pt x="581" y="821"/>
                    </a:lnTo>
                    <a:lnTo>
                      <a:pt x="581" y="825"/>
                    </a:lnTo>
                    <a:lnTo>
                      <a:pt x="586" y="830"/>
                    </a:lnTo>
                    <a:lnTo>
                      <a:pt x="586" y="835"/>
                    </a:lnTo>
                    <a:lnTo>
                      <a:pt x="586" y="840"/>
                    </a:lnTo>
                    <a:lnTo>
                      <a:pt x="586" y="845"/>
                    </a:lnTo>
                    <a:lnTo>
                      <a:pt x="586" y="849"/>
                    </a:lnTo>
                    <a:lnTo>
                      <a:pt x="581" y="854"/>
                    </a:lnTo>
                    <a:lnTo>
                      <a:pt x="581" y="859"/>
                    </a:lnTo>
                    <a:lnTo>
                      <a:pt x="576" y="864"/>
                    </a:lnTo>
                    <a:lnTo>
                      <a:pt x="572" y="869"/>
                    </a:lnTo>
                    <a:lnTo>
                      <a:pt x="572" y="873"/>
                    </a:lnTo>
                    <a:lnTo>
                      <a:pt x="567" y="878"/>
                    </a:lnTo>
                    <a:lnTo>
                      <a:pt x="567" y="883"/>
                    </a:lnTo>
                    <a:lnTo>
                      <a:pt x="562" y="888"/>
                    </a:lnTo>
                    <a:lnTo>
                      <a:pt x="562" y="893"/>
                    </a:lnTo>
                    <a:lnTo>
                      <a:pt x="557" y="893"/>
                    </a:lnTo>
                    <a:lnTo>
                      <a:pt x="552" y="897"/>
                    </a:lnTo>
                    <a:lnTo>
                      <a:pt x="552" y="902"/>
                    </a:lnTo>
                    <a:lnTo>
                      <a:pt x="548" y="907"/>
                    </a:lnTo>
                    <a:lnTo>
                      <a:pt x="548" y="912"/>
                    </a:lnTo>
                    <a:lnTo>
                      <a:pt x="543" y="917"/>
                    </a:lnTo>
                    <a:lnTo>
                      <a:pt x="543" y="921"/>
                    </a:lnTo>
                    <a:lnTo>
                      <a:pt x="538" y="926"/>
                    </a:lnTo>
                    <a:lnTo>
                      <a:pt x="533" y="931"/>
                    </a:lnTo>
                    <a:lnTo>
                      <a:pt x="533" y="936"/>
                    </a:lnTo>
                    <a:lnTo>
                      <a:pt x="528" y="941"/>
                    </a:lnTo>
                    <a:lnTo>
                      <a:pt x="528" y="945"/>
                    </a:lnTo>
                    <a:lnTo>
                      <a:pt x="524" y="945"/>
                    </a:lnTo>
                    <a:lnTo>
                      <a:pt x="524" y="950"/>
                    </a:lnTo>
                    <a:lnTo>
                      <a:pt x="519" y="955"/>
                    </a:lnTo>
                    <a:lnTo>
                      <a:pt x="524" y="955"/>
                    </a:lnTo>
                    <a:lnTo>
                      <a:pt x="524" y="960"/>
                    </a:lnTo>
                    <a:lnTo>
                      <a:pt x="524" y="965"/>
                    </a:lnTo>
                    <a:lnTo>
                      <a:pt x="519" y="969"/>
                    </a:lnTo>
                    <a:lnTo>
                      <a:pt x="519" y="974"/>
                    </a:lnTo>
                    <a:lnTo>
                      <a:pt x="524" y="979"/>
                    </a:lnTo>
                    <a:lnTo>
                      <a:pt x="524" y="984"/>
                    </a:lnTo>
                    <a:lnTo>
                      <a:pt x="524" y="989"/>
                    </a:lnTo>
                    <a:lnTo>
                      <a:pt x="524" y="993"/>
                    </a:lnTo>
                    <a:lnTo>
                      <a:pt x="528" y="998"/>
                    </a:lnTo>
                    <a:lnTo>
                      <a:pt x="524" y="998"/>
                    </a:lnTo>
                    <a:lnTo>
                      <a:pt x="524" y="1003"/>
                    </a:lnTo>
                    <a:lnTo>
                      <a:pt x="519" y="1003"/>
                    </a:lnTo>
                    <a:lnTo>
                      <a:pt x="514" y="998"/>
                    </a:lnTo>
                    <a:lnTo>
                      <a:pt x="514" y="1003"/>
                    </a:lnTo>
                    <a:lnTo>
                      <a:pt x="509" y="998"/>
                    </a:lnTo>
                    <a:lnTo>
                      <a:pt x="504" y="998"/>
                    </a:lnTo>
                    <a:lnTo>
                      <a:pt x="500" y="998"/>
                    </a:lnTo>
                    <a:lnTo>
                      <a:pt x="495" y="998"/>
                    </a:lnTo>
                    <a:lnTo>
                      <a:pt x="495" y="993"/>
                    </a:lnTo>
                    <a:lnTo>
                      <a:pt x="490" y="993"/>
                    </a:lnTo>
                    <a:lnTo>
                      <a:pt x="485" y="989"/>
                    </a:lnTo>
                    <a:lnTo>
                      <a:pt x="480" y="989"/>
                    </a:lnTo>
                    <a:lnTo>
                      <a:pt x="476" y="989"/>
                    </a:lnTo>
                    <a:lnTo>
                      <a:pt x="471" y="989"/>
                    </a:lnTo>
                    <a:lnTo>
                      <a:pt x="466" y="989"/>
                    </a:lnTo>
                    <a:lnTo>
                      <a:pt x="461" y="989"/>
                    </a:lnTo>
                    <a:lnTo>
                      <a:pt x="456" y="993"/>
                    </a:lnTo>
                    <a:lnTo>
                      <a:pt x="452" y="993"/>
                    </a:lnTo>
                    <a:lnTo>
                      <a:pt x="452" y="998"/>
                    </a:lnTo>
                    <a:lnTo>
                      <a:pt x="447" y="998"/>
                    </a:lnTo>
                    <a:lnTo>
                      <a:pt x="442" y="998"/>
                    </a:lnTo>
                    <a:lnTo>
                      <a:pt x="442" y="1003"/>
                    </a:lnTo>
                    <a:lnTo>
                      <a:pt x="437" y="1003"/>
                    </a:lnTo>
                    <a:lnTo>
                      <a:pt x="432" y="1008"/>
                    </a:lnTo>
                    <a:lnTo>
                      <a:pt x="428" y="1008"/>
                    </a:lnTo>
                    <a:lnTo>
                      <a:pt x="428" y="1013"/>
                    </a:lnTo>
                    <a:lnTo>
                      <a:pt x="423" y="1013"/>
                    </a:lnTo>
                    <a:lnTo>
                      <a:pt x="423" y="1017"/>
                    </a:lnTo>
                    <a:lnTo>
                      <a:pt x="418" y="1017"/>
                    </a:lnTo>
                    <a:lnTo>
                      <a:pt x="418" y="1022"/>
                    </a:lnTo>
                    <a:lnTo>
                      <a:pt x="413" y="1022"/>
                    </a:lnTo>
                    <a:lnTo>
                      <a:pt x="413" y="1027"/>
                    </a:lnTo>
                    <a:lnTo>
                      <a:pt x="408" y="1027"/>
                    </a:lnTo>
                    <a:lnTo>
                      <a:pt x="408" y="1032"/>
                    </a:lnTo>
                    <a:lnTo>
                      <a:pt x="404" y="1032"/>
                    </a:lnTo>
                    <a:lnTo>
                      <a:pt x="399" y="1032"/>
                    </a:lnTo>
                    <a:lnTo>
                      <a:pt x="399" y="1037"/>
                    </a:lnTo>
                    <a:lnTo>
                      <a:pt x="394" y="1037"/>
                    </a:lnTo>
                    <a:lnTo>
                      <a:pt x="394" y="1041"/>
                    </a:lnTo>
                    <a:lnTo>
                      <a:pt x="389" y="1041"/>
                    </a:lnTo>
                    <a:lnTo>
                      <a:pt x="389" y="1046"/>
                    </a:lnTo>
                    <a:lnTo>
                      <a:pt x="384" y="1046"/>
                    </a:lnTo>
                    <a:lnTo>
                      <a:pt x="380" y="1046"/>
                    </a:lnTo>
                    <a:lnTo>
                      <a:pt x="380" y="1051"/>
                    </a:lnTo>
                    <a:lnTo>
                      <a:pt x="380" y="1056"/>
                    </a:lnTo>
                    <a:lnTo>
                      <a:pt x="380" y="1061"/>
                    </a:lnTo>
                    <a:lnTo>
                      <a:pt x="375" y="1061"/>
                    </a:lnTo>
                    <a:lnTo>
                      <a:pt x="375" y="1065"/>
                    </a:lnTo>
                    <a:lnTo>
                      <a:pt x="375" y="1070"/>
                    </a:lnTo>
                    <a:lnTo>
                      <a:pt x="370" y="1070"/>
                    </a:lnTo>
                    <a:lnTo>
                      <a:pt x="370" y="1075"/>
                    </a:lnTo>
                    <a:lnTo>
                      <a:pt x="365" y="1075"/>
                    </a:lnTo>
                    <a:lnTo>
                      <a:pt x="365" y="1080"/>
                    </a:lnTo>
                    <a:lnTo>
                      <a:pt x="360" y="1080"/>
                    </a:lnTo>
                    <a:lnTo>
                      <a:pt x="360" y="1085"/>
                    </a:lnTo>
                    <a:lnTo>
                      <a:pt x="360" y="1089"/>
                    </a:lnTo>
                    <a:lnTo>
                      <a:pt x="356" y="1089"/>
                    </a:lnTo>
                    <a:lnTo>
                      <a:pt x="351" y="1089"/>
                    </a:lnTo>
                    <a:lnTo>
                      <a:pt x="351" y="1094"/>
                    </a:lnTo>
                    <a:lnTo>
                      <a:pt x="346" y="1094"/>
                    </a:lnTo>
                    <a:lnTo>
                      <a:pt x="346" y="1099"/>
                    </a:lnTo>
                    <a:lnTo>
                      <a:pt x="341" y="1099"/>
                    </a:lnTo>
                    <a:lnTo>
                      <a:pt x="341" y="1104"/>
                    </a:lnTo>
                    <a:lnTo>
                      <a:pt x="336" y="1104"/>
                    </a:lnTo>
                    <a:lnTo>
                      <a:pt x="336" y="1109"/>
                    </a:lnTo>
                    <a:lnTo>
                      <a:pt x="332" y="1109"/>
                    </a:lnTo>
                    <a:lnTo>
                      <a:pt x="332" y="1113"/>
                    </a:lnTo>
                    <a:lnTo>
                      <a:pt x="327" y="1113"/>
                    </a:lnTo>
                    <a:lnTo>
                      <a:pt x="327" y="1118"/>
                    </a:lnTo>
                    <a:lnTo>
                      <a:pt x="322" y="1123"/>
                    </a:lnTo>
                    <a:lnTo>
                      <a:pt x="317" y="1123"/>
                    </a:lnTo>
                    <a:lnTo>
                      <a:pt x="317" y="1128"/>
                    </a:lnTo>
                    <a:lnTo>
                      <a:pt x="312" y="1128"/>
                    </a:lnTo>
                    <a:lnTo>
                      <a:pt x="312" y="1133"/>
                    </a:lnTo>
                    <a:lnTo>
                      <a:pt x="308" y="1133"/>
                    </a:lnTo>
                    <a:lnTo>
                      <a:pt x="303" y="1133"/>
                    </a:lnTo>
                    <a:lnTo>
                      <a:pt x="303" y="1137"/>
                    </a:lnTo>
                    <a:lnTo>
                      <a:pt x="298" y="1137"/>
                    </a:lnTo>
                    <a:lnTo>
                      <a:pt x="293" y="1137"/>
                    </a:lnTo>
                    <a:lnTo>
                      <a:pt x="288" y="1142"/>
                    </a:lnTo>
                    <a:lnTo>
                      <a:pt x="284" y="1142"/>
                    </a:lnTo>
                    <a:lnTo>
                      <a:pt x="279" y="1142"/>
                    </a:lnTo>
                    <a:lnTo>
                      <a:pt x="279" y="1137"/>
                    </a:lnTo>
                    <a:lnTo>
                      <a:pt x="274" y="1137"/>
                    </a:lnTo>
                    <a:lnTo>
                      <a:pt x="269" y="1137"/>
                    </a:lnTo>
                    <a:lnTo>
                      <a:pt x="269" y="1142"/>
                    </a:lnTo>
                    <a:lnTo>
                      <a:pt x="264" y="1142"/>
                    </a:lnTo>
                    <a:lnTo>
                      <a:pt x="260" y="1142"/>
                    </a:lnTo>
                    <a:lnTo>
                      <a:pt x="260" y="1147"/>
                    </a:lnTo>
                    <a:lnTo>
                      <a:pt x="255" y="1147"/>
                    </a:lnTo>
                    <a:lnTo>
                      <a:pt x="255" y="1152"/>
                    </a:lnTo>
                    <a:lnTo>
                      <a:pt x="250" y="1152"/>
                    </a:lnTo>
                    <a:lnTo>
                      <a:pt x="250" y="1157"/>
                    </a:lnTo>
                    <a:lnTo>
                      <a:pt x="245" y="1161"/>
                    </a:lnTo>
                    <a:lnTo>
                      <a:pt x="240" y="1161"/>
                    </a:lnTo>
                    <a:lnTo>
                      <a:pt x="240" y="1166"/>
                    </a:lnTo>
                    <a:lnTo>
                      <a:pt x="236" y="1166"/>
                    </a:lnTo>
                    <a:lnTo>
                      <a:pt x="236" y="1171"/>
                    </a:lnTo>
                    <a:lnTo>
                      <a:pt x="231" y="1176"/>
                    </a:lnTo>
                    <a:lnTo>
                      <a:pt x="226" y="1171"/>
                    </a:lnTo>
                    <a:lnTo>
                      <a:pt x="221" y="1171"/>
                    </a:lnTo>
                    <a:lnTo>
                      <a:pt x="221" y="1176"/>
                    </a:lnTo>
                    <a:lnTo>
                      <a:pt x="216" y="1176"/>
                    </a:lnTo>
                    <a:lnTo>
                      <a:pt x="216" y="1171"/>
                    </a:lnTo>
                    <a:lnTo>
                      <a:pt x="212" y="1171"/>
                    </a:lnTo>
                    <a:lnTo>
                      <a:pt x="207" y="1171"/>
                    </a:lnTo>
                    <a:lnTo>
                      <a:pt x="202" y="1171"/>
                    </a:lnTo>
                    <a:lnTo>
                      <a:pt x="197" y="1171"/>
                    </a:lnTo>
                    <a:lnTo>
                      <a:pt x="197" y="1176"/>
                    </a:lnTo>
                    <a:lnTo>
                      <a:pt x="192" y="1176"/>
                    </a:lnTo>
                    <a:lnTo>
                      <a:pt x="192" y="1181"/>
                    </a:lnTo>
                    <a:lnTo>
                      <a:pt x="188" y="1181"/>
                    </a:lnTo>
                    <a:lnTo>
                      <a:pt x="188" y="1185"/>
                    </a:lnTo>
                    <a:lnTo>
                      <a:pt x="183" y="1185"/>
                    </a:lnTo>
                    <a:lnTo>
                      <a:pt x="178" y="1185"/>
                    </a:lnTo>
                    <a:lnTo>
                      <a:pt x="173" y="1185"/>
                    </a:lnTo>
                    <a:lnTo>
                      <a:pt x="173" y="1190"/>
                    </a:lnTo>
                    <a:lnTo>
                      <a:pt x="168" y="1190"/>
                    </a:lnTo>
                    <a:lnTo>
                      <a:pt x="164" y="1190"/>
                    </a:lnTo>
                    <a:lnTo>
                      <a:pt x="164" y="1195"/>
                    </a:lnTo>
                    <a:lnTo>
                      <a:pt x="159" y="1190"/>
                    </a:lnTo>
                    <a:lnTo>
                      <a:pt x="159" y="1185"/>
                    </a:lnTo>
                    <a:lnTo>
                      <a:pt x="154" y="1181"/>
                    </a:lnTo>
                    <a:lnTo>
                      <a:pt x="154" y="1176"/>
                    </a:lnTo>
                    <a:lnTo>
                      <a:pt x="154" y="1171"/>
                    </a:lnTo>
                    <a:lnTo>
                      <a:pt x="149" y="1166"/>
                    </a:lnTo>
                    <a:lnTo>
                      <a:pt x="149" y="1161"/>
                    </a:lnTo>
                    <a:lnTo>
                      <a:pt x="144" y="1161"/>
                    </a:lnTo>
                    <a:lnTo>
                      <a:pt x="144" y="1157"/>
                    </a:lnTo>
                    <a:lnTo>
                      <a:pt x="144" y="1152"/>
                    </a:lnTo>
                    <a:lnTo>
                      <a:pt x="140" y="1147"/>
                    </a:lnTo>
                    <a:lnTo>
                      <a:pt x="140" y="1142"/>
                    </a:lnTo>
                    <a:lnTo>
                      <a:pt x="140" y="1137"/>
                    </a:lnTo>
                    <a:lnTo>
                      <a:pt x="135" y="1133"/>
                    </a:lnTo>
                    <a:lnTo>
                      <a:pt x="135" y="1128"/>
                    </a:lnTo>
                    <a:lnTo>
                      <a:pt x="130" y="1128"/>
                    </a:lnTo>
                    <a:lnTo>
                      <a:pt x="130" y="1123"/>
                    </a:lnTo>
                    <a:lnTo>
                      <a:pt x="130" y="1118"/>
                    </a:lnTo>
                    <a:lnTo>
                      <a:pt x="125" y="1113"/>
                    </a:lnTo>
                    <a:lnTo>
                      <a:pt x="125" y="1109"/>
                    </a:lnTo>
                    <a:lnTo>
                      <a:pt x="125" y="1104"/>
                    </a:lnTo>
                    <a:lnTo>
                      <a:pt x="120" y="1099"/>
                    </a:lnTo>
                    <a:lnTo>
                      <a:pt x="120" y="1094"/>
                    </a:lnTo>
                    <a:lnTo>
                      <a:pt x="116" y="1089"/>
                    </a:lnTo>
                    <a:lnTo>
                      <a:pt x="116" y="1085"/>
                    </a:lnTo>
                    <a:lnTo>
                      <a:pt x="111" y="1080"/>
                    </a:lnTo>
                    <a:lnTo>
                      <a:pt x="111" y="1075"/>
                    </a:lnTo>
                    <a:lnTo>
                      <a:pt x="106" y="1070"/>
                    </a:lnTo>
                    <a:lnTo>
                      <a:pt x="106" y="1065"/>
                    </a:lnTo>
                    <a:lnTo>
                      <a:pt x="106" y="1061"/>
                    </a:lnTo>
                    <a:lnTo>
                      <a:pt x="101" y="1056"/>
                    </a:lnTo>
                    <a:lnTo>
                      <a:pt x="96" y="1056"/>
                    </a:lnTo>
                    <a:lnTo>
                      <a:pt x="96" y="1051"/>
                    </a:lnTo>
                    <a:lnTo>
                      <a:pt x="92" y="1051"/>
                    </a:lnTo>
                    <a:lnTo>
                      <a:pt x="87" y="1051"/>
                    </a:lnTo>
                    <a:lnTo>
                      <a:pt x="82" y="1051"/>
                    </a:lnTo>
                    <a:lnTo>
                      <a:pt x="77" y="1051"/>
                    </a:lnTo>
                    <a:lnTo>
                      <a:pt x="77" y="1046"/>
                    </a:lnTo>
                    <a:lnTo>
                      <a:pt x="77" y="1051"/>
                    </a:lnTo>
                    <a:lnTo>
                      <a:pt x="72" y="1046"/>
                    </a:lnTo>
                    <a:lnTo>
                      <a:pt x="72" y="1041"/>
                    </a:lnTo>
                    <a:lnTo>
                      <a:pt x="68" y="1041"/>
                    </a:lnTo>
                    <a:lnTo>
                      <a:pt x="68" y="1037"/>
                    </a:lnTo>
                    <a:lnTo>
                      <a:pt x="63" y="1037"/>
                    </a:lnTo>
                    <a:lnTo>
                      <a:pt x="63" y="1032"/>
                    </a:lnTo>
                    <a:lnTo>
                      <a:pt x="58" y="1032"/>
                    </a:lnTo>
                    <a:lnTo>
                      <a:pt x="63" y="1027"/>
                    </a:lnTo>
                    <a:lnTo>
                      <a:pt x="68" y="1027"/>
                    </a:lnTo>
                    <a:lnTo>
                      <a:pt x="68" y="1022"/>
                    </a:lnTo>
                    <a:lnTo>
                      <a:pt x="68" y="1017"/>
                    </a:lnTo>
                    <a:lnTo>
                      <a:pt x="63" y="1017"/>
                    </a:lnTo>
                    <a:lnTo>
                      <a:pt x="58" y="1017"/>
                    </a:lnTo>
                    <a:lnTo>
                      <a:pt x="53" y="1017"/>
                    </a:lnTo>
                    <a:lnTo>
                      <a:pt x="48" y="1017"/>
                    </a:lnTo>
                    <a:lnTo>
                      <a:pt x="44" y="1017"/>
                    </a:lnTo>
                    <a:lnTo>
                      <a:pt x="39" y="1017"/>
                    </a:lnTo>
                    <a:lnTo>
                      <a:pt x="34" y="1017"/>
                    </a:lnTo>
                    <a:lnTo>
                      <a:pt x="29" y="1013"/>
                    </a:lnTo>
                    <a:lnTo>
                      <a:pt x="24" y="1013"/>
                    </a:lnTo>
                    <a:lnTo>
                      <a:pt x="20" y="1013"/>
                    </a:lnTo>
                    <a:lnTo>
                      <a:pt x="15" y="1013"/>
                    </a:lnTo>
                    <a:lnTo>
                      <a:pt x="10" y="1013"/>
                    </a:lnTo>
                    <a:lnTo>
                      <a:pt x="10" y="1008"/>
                    </a:lnTo>
                    <a:lnTo>
                      <a:pt x="5" y="1008"/>
                    </a:lnTo>
                    <a:lnTo>
                      <a:pt x="5" y="1003"/>
                    </a:lnTo>
                    <a:lnTo>
                      <a:pt x="5" y="998"/>
                    </a:lnTo>
                    <a:lnTo>
                      <a:pt x="10" y="998"/>
                    </a:lnTo>
                    <a:lnTo>
                      <a:pt x="10" y="993"/>
                    </a:lnTo>
                    <a:lnTo>
                      <a:pt x="15" y="993"/>
                    </a:lnTo>
                    <a:lnTo>
                      <a:pt x="15" y="989"/>
                    </a:lnTo>
                    <a:lnTo>
                      <a:pt x="20" y="989"/>
                    </a:lnTo>
                    <a:lnTo>
                      <a:pt x="20" y="984"/>
                    </a:lnTo>
                    <a:lnTo>
                      <a:pt x="24" y="984"/>
                    </a:lnTo>
                    <a:lnTo>
                      <a:pt x="24" y="979"/>
                    </a:lnTo>
                    <a:lnTo>
                      <a:pt x="29" y="979"/>
                    </a:lnTo>
                    <a:lnTo>
                      <a:pt x="29" y="974"/>
                    </a:lnTo>
                    <a:lnTo>
                      <a:pt x="34" y="974"/>
                    </a:lnTo>
                    <a:lnTo>
                      <a:pt x="34" y="969"/>
                    </a:lnTo>
                    <a:lnTo>
                      <a:pt x="39" y="969"/>
                    </a:lnTo>
                    <a:lnTo>
                      <a:pt x="39" y="965"/>
                    </a:lnTo>
                    <a:lnTo>
                      <a:pt x="44" y="965"/>
                    </a:lnTo>
                    <a:lnTo>
                      <a:pt x="44" y="960"/>
                    </a:lnTo>
                    <a:lnTo>
                      <a:pt x="44" y="955"/>
                    </a:lnTo>
                    <a:lnTo>
                      <a:pt x="48" y="955"/>
                    </a:lnTo>
                    <a:lnTo>
                      <a:pt x="48" y="950"/>
                    </a:lnTo>
                    <a:lnTo>
                      <a:pt x="53" y="945"/>
                    </a:lnTo>
                    <a:lnTo>
                      <a:pt x="53" y="941"/>
                    </a:lnTo>
                    <a:lnTo>
                      <a:pt x="53" y="936"/>
                    </a:lnTo>
                    <a:lnTo>
                      <a:pt x="58" y="936"/>
                    </a:lnTo>
                    <a:lnTo>
                      <a:pt x="58" y="931"/>
                    </a:lnTo>
                    <a:lnTo>
                      <a:pt x="58" y="926"/>
                    </a:lnTo>
                    <a:lnTo>
                      <a:pt x="53" y="926"/>
                    </a:lnTo>
                    <a:lnTo>
                      <a:pt x="53" y="931"/>
                    </a:lnTo>
                    <a:lnTo>
                      <a:pt x="48" y="931"/>
                    </a:lnTo>
                    <a:lnTo>
                      <a:pt x="44" y="931"/>
                    </a:lnTo>
                    <a:lnTo>
                      <a:pt x="39" y="931"/>
                    </a:lnTo>
                    <a:lnTo>
                      <a:pt x="34" y="936"/>
                    </a:lnTo>
                    <a:lnTo>
                      <a:pt x="29" y="936"/>
                    </a:lnTo>
                    <a:lnTo>
                      <a:pt x="24" y="936"/>
                    </a:lnTo>
                    <a:lnTo>
                      <a:pt x="20" y="931"/>
                    </a:lnTo>
                    <a:lnTo>
                      <a:pt x="15" y="931"/>
                    </a:lnTo>
                    <a:lnTo>
                      <a:pt x="15" y="926"/>
                    </a:lnTo>
                    <a:lnTo>
                      <a:pt x="10" y="926"/>
                    </a:lnTo>
                    <a:lnTo>
                      <a:pt x="10" y="921"/>
                    </a:lnTo>
                    <a:lnTo>
                      <a:pt x="5" y="921"/>
                    </a:lnTo>
                    <a:lnTo>
                      <a:pt x="5" y="917"/>
                    </a:lnTo>
                    <a:lnTo>
                      <a:pt x="0" y="917"/>
                    </a:lnTo>
                    <a:lnTo>
                      <a:pt x="5" y="917"/>
                    </a:lnTo>
                    <a:lnTo>
                      <a:pt x="10" y="917"/>
                    </a:lnTo>
                    <a:lnTo>
                      <a:pt x="10" y="912"/>
                    </a:lnTo>
                    <a:lnTo>
                      <a:pt x="15" y="912"/>
                    </a:lnTo>
                    <a:lnTo>
                      <a:pt x="15" y="907"/>
                    </a:lnTo>
                    <a:lnTo>
                      <a:pt x="20" y="907"/>
                    </a:lnTo>
                    <a:lnTo>
                      <a:pt x="20" y="902"/>
                    </a:lnTo>
                    <a:lnTo>
                      <a:pt x="24" y="897"/>
                    </a:lnTo>
                    <a:lnTo>
                      <a:pt x="24" y="893"/>
                    </a:lnTo>
                    <a:lnTo>
                      <a:pt x="29" y="893"/>
                    </a:lnTo>
                    <a:lnTo>
                      <a:pt x="29" y="888"/>
                    </a:lnTo>
                    <a:lnTo>
                      <a:pt x="34" y="888"/>
                    </a:lnTo>
                    <a:lnTo>
                      <a:pt x="39" y="883"/>
                    </a:lnTo>
                    <a:lnTo>
                      <a:pt x="44" y="883"/>
                    </a:lnTo>
                    <a:lnTo>
                      <a:pt x="44" y="878"/>
                    </a:lnTo>
                    <a:lnTo>
                      <a:pt x="48" y="878"/>
                    </a:lnTo>
                    <a:lnTo>
                      <a:pt x="53" y="878"/>
                    </a:lnTo>
                    <a:lnTo>
                      <a:pt x="58" y="873"/>
                    </a:lnTo>
                    <a:lnTo>
                      <a:pt x="63" y="873"/>
                    </a:lnTo>
                    <a:lnTo>
                      <a:pt x="68" y="873"/>
                    </a:lnTo>
                    <a:lnTo>
                      <a:pt x="68" y="869"/>
                    </a:lnTo>
                    <a:lnTo>
                      <a:pt x="72" y="869"/>
                    </a:lnTo>
                    <a:lnTo>
                      <a:pt x="72" y="864"/>
                    </a:lnTo>
                    <a:lnTo>
                      <a:pt x="77" y="859"/>
                    </a:lnTo>
                    <a:lnTo>
                      <a:pt x="77" y="854"/>
                    </a:lnTo>
                    <a:lnTo>
                      <a:pt x="82" y="854"/>
                    </a:lnTo>
                    <a:lnTo>
                      <a:pt x="82" y="849"/>
                    </a:lnTo>
                    <a:lnTo>
                      <a:pt x="87" y="849"/>
                    </a:lnTo>
                    <a:lnTo>
                      <a:pt x="87" y="845"/>
                    </a:lnTo>
                    <a:lnTo>
                      <a:pt x="92" y="845"/>
                    </a:lnTo>
                    <a:lnTo>
                      <a:pt x="96" y="840"/>
                    </a:lnTo>
                    <a:lnTo>
                      <a:pt x="101" y="840"/>
                    </a:lnTo>
                    <a:lnTo>
                      <a:pt x="101" y="835"/>
                    </a:lnTo>
                    <a:lnTo>
                      <a:pt x="106" y="835"/>
                    </a:lnTo>
                    <a:lnTo>
                      <a:pt x="106" y="830"/>
                    </a:lnTo>
                    <a:lnTo>
                      <a:pt x="111" y="830"/>
                    </a:lnTo>
                    <a:lnTo>
                      <a:pt x="116" y="830"/>
                    </a:lnTo>
                    <a:lnTo>
                      <a:pt x="120" y="830"/>
                    </a:lnTo>
                    <a:lnTo>
                      <a:pt x="125" y="825"/>
                    </a:lnTo>
                    <a:lnTo>
                      <a:pt x="125" y="821"/>
                    </a:lnTo>
                    <a:lnTo>
                      <a:pt x="130" y="821"/>
                    </a:lnTo>
                    <a:lnTo>
                      <a:pt x="130" y="816"/>
                    </a:lnTo>
                    <a:lnTo>
                      <a:pt x="135" y="811"/>
                    </a:lnTo>
                    <a:lnTo>
                      <a:pt x="135" y="806"/>
                    </a:lnTo>
                    <a:lnTo>
                      <a:pt x="140" y="806"/>
                    </a:lnTo>
                    <a:lnTo>
                      <a:pt x="140" y="801"/>
                    </a:lnTo>
                    <a:lnTo>
                      <a:pt x="140" y="797"/>
                    </a:lnTo>
                    <a:lnTo>
                      <a:pt x="144" y="797"/>
                    </a:lnTo>
                    <a:lnTo>
                      <a:pt x="144" y="792"/>
                    </a:lnTo>
                    <a:lnTo>
                      <a:pt x="149" y="792"/>
                    </a:lnTo>
                    <a:lnTo>
                      <a:pt x="149" y="787"/>
                    </a:lnTo>
                    <a:lnTo>
                      <a:pt x="154" y="787"/>
                    </a:lnTo>
                    <a:lnTo>
                      <a:pt x="159" y="787"/>
                    </a:lnTo>
                    <a:lnTo>
                      <a:pt x="164" y="787"/>
                    </a:lnTo>
                    <a:lnTo>
                      <a:pt x="164" y="782"/>
                    </a:lnTo>
                    <a:lnTo>
                      <a:pt x="168" y="782"/>
                    </a:lnTo>
                    <a:lnTo>
                      <a:pt x="173" y="782"/>
                    </a:lnTo>
                    <a:lnTo>
                      <a:pt x="178" y="777"/>
                    </a:lnTo>
                    <a:lnTo>
                      <a:pt x="178" y="773"/>
                    </a:lnTo>
                    <a:lnTo>
                      <a:pt x="178" y="768"/>
                    </a:lnTo>
                    <a:lnTo>
                      <a:pt x="178" y="763"/>
                    </a:lnTo>
                    <a:lnTo>
                      <a:pt x="178" y="758"/>
                    </a:lnTo>
                    <a:lnTo>
                      <a:pt x="178" y="753"/>
                    </a:lnTo>
                    <a:lnTo>
                      <a:pt x="178" y="749"/>
                    </a:lnTo>
                    <a:lnTo>
                      <a:pt x="178" y="744"/>
                    </a:lnTo>
                    <a:lnTo>
                      <a:pt x="178" y="739"/>
                    </a:lnTo>
                    <a:lnTo>
                      <a:pt x="178" y="734"/>
                    </a:lnTo>
                    <a:lnTo>
                      <a:pt x="178" y="729"/>
                    </a:lnTo>
                    <a:lnTo>
                      <a:pt x="178" y="725"/>
                    </a:lnTo>
                    <a:lnTo>
                      <a:pt x="178" y="720"/>
                    </a:lnTo>
                    <a:lnTo>
                      <a:pt x="178" y="715"/>
                    </a:lnTo>
                    <a:lnTo>
                      <a:pt x="178" y="710"/>
                    </a:lnTo>
                    <a:lnTo>
                      <a:pt x="178" y="705"/>
                    </a:lnTo>
                    <a:lnTo>
                      <a:pt x="178" y="701"/>
                    </a:lnTo>
                    <a:lnTo>
                      <a:pt x="178" y="696"/>
                    </a:lnTo>
                    <a:lnTo>
                      <a:pt x="178" y="691"/>
                    </a:lnTo>
                    <a:lnTo>
                      <a:pt x="178" y="686"/>
                    </a:lnTo>
                    <a:lnTo>
                      <a:pt x="178" y="681"/>
                    </a:lnTo>
                    <a:lnTo>
                      <a:pt x="178" y="677"/>
                    </a:lnTo>
                    <a:lnTo>
                      <a:pt x="178" y="672"/>
                    </a:lnTo>
                    <a:lnTo>
                      <a:pt x="178" y="667"/>
                    </a:lnTo>
                    <a:lnTo>
                      <a:pt x="178" y="662"/>
                    </a:lnTo>
                    <a:lnTo>
                      <a:pt x="178" y="657"/>
                    </a:lnTo>
                    <a:lnTo>
                      <a:pt x="178" y="653"/>
                    </a:lnTo>
                    <a:lnTo>
                      <a:pt x="178" y="648"/>
                    </a:lnTo>
                    <a:lnTo>
                      <a:pt x="178" y="643"/>
                    </a:lnTo>
                    <a:lnTo>
                      <a:pt x="178" y="638"/>
                    </a:lnTo>
                    <a:lnTo>
                      <a:pt x="178" y="633"/>
                    </a:lnTo>
                    <a:lnTo>
                      <a:pt x="178" y="629"/>
                    </a:lnTo>
                    <a:lnTo>
                      <a:pt x="178" y="624"/>
                    </a:lnTo>
                    <a:lnTo>
                      <a:pt x="178" y="619"/>
                    </a:lnTo>
                    <a:lnTo>
                      <a:pt x="178" y="614"/>
                    </a:lnTo>
                    <a:lnTo>
                      <a:pt x="178" y="609"/>
                    </a:lnTo>
                    <a:lnTo>
                      <a:pt x="178" y="605"/>
                    </a:lnTo>
                    <a:lnTo>
                      <a:pt x="178" y="600"/>
                    </a:lnTo>
                    <a:lnTo>
                      <a:pt x="173" y="595"/>
                    </a:lnTo>
                    <a:lnTo>
                      <a:pt x="168" y="590"/>
                    </a:lnTo>
                    <a:lnTo>
                      <a:pt x="168" y="585"/>
                    </a:lnTo>
                    <a:lnTo>
                      <a:pt x="173" y="581"/>
                    </a:lnTo>
                    <a:lnTo>
                      <a:pt x="178" y="581"/>
                    </a:lnTo>
                    <a:lnTo>
                      <a:pt x="183" y="581"/>
                    </a:lnTo>
                    <a:lnTo>
                      <a:pt x="188" y="576"/>
                    </a:lnTo>
                    <a:lnTo>
                      <a:pt x="192" y="576"/>
                    </a:lnTo>
                    <a:lnTo>
                      <a:pt x="197" y="576"/>
                    </a:lnTo>
                    <a:lnTo>
                      <a:pt x="197" y="571"/>
                    </a:lnTo>
                    <a:lnTo>
                      <a:pt x="202" y="571"/>
                    </a:lnTo>
                    <a:lnTo>
                      <a:pt x="202" y="566"/>
                    </a:lnTo>
                    <a:lnTo>
                      <a:pt x="202" y="561"/>
                    </a:lnTo>
                    <a:lnTo>
                      <a:pt x="202" y="557"/>
                    </a:lnTo>
                    <a:lnTo>
                      <a:pt x="202" y="552"/>
                    </a:lnTo>
                    <a:lnTo>
                      <a:pt x="202" y="547"/>
                    </a:lnTo>
                    <a:lnTo>
                      <a:pt x="207" y="547"/>
                    </a:lnTo>
                    <a:lnTo>
                      <a:pt x="212" y="547"/>
                    </a:lnTo>
                    <a:lnTo>
                      <a:pt x="216" y="547"/>
                    </a:lnTo>
                    <a:lnTo>
                      <a:pt x="216" y="542"/>
                    </a:lnTo>
                    <a:lnTo>
                      <a:pt x="221" y="542"/>
                    </a:lnTo>
                    <a:lnTo>
                      <a:pt x="221" y="537"/>
                    </a:lnTo>
                    <a:lnTo>
                      <a:pt x="226" y="533"/>
                    </a:lnTo>
                    <a:lnTo>
                      <a:pt x="231" y="528"/>
                    </a:lnTo>
                    <a:lnTo>
                      <a:pt x="236" y="528"/>
                    </a:lnTo>
                    <a:lnTo>
                      <a:pt x="236" y="523"/>
                    </a:lnTo>
                    <a:lnTo>
                      <a:pt x="240" y="523"/>
                    </a:lnTo>
                    <a:lnTo>
                      <a:pt x="240" y="518"/>
                    </a:lnTo>
                    <a:lnTo>
                      <a:pt x="245" y="518"/>
                    </a:lnTo>
                    <a:lnTo>
                      <a:pt x="250" y="518"/>
                    </a:lnTo>
                    <a:lnTo>
                      <a:pt x="255" y="513"/>
                    </a:lnTo>
                    <a:lnTo>
                      <a:pt x="255" y="509"/>
                    </a:lnTo>
                    <a:lnTo>
                      <a:pt x="250" y="509"/>
                    </a:lnTo>
                    <a:lnTo>
                      <a:pt x="245" y="509"/>
                    </a:lnTo>
                    <a:lnTo>
                      <a:pt x="245" y="504"/>
                    </a:lnTo>
                    <a:lnTo>
                      <a:pt x="240" y="504"/>
                    </a:lnTo>
                    <a:lnTo>
                      <a:pt x="240" y="499"/>
                    </a:lnTo>
                    <a:lnTo>
                      <a:pt x="236" y="499"/>
                    </a:lnTo>
                    <a:lnTo>
                      <a:pt x="236" y="494"/>
                    </a:lnTo>
                    <a:lnTo>
                      <a:pt x="236" y="489"/>
                    </a:lnTo>
                    <a:lnTo>
                      <a:pt x="236" y="485"/>
                    </a:lnTo>
                    <a:lnTo>
                      <a:pt x="236" y="480"/>
                    </a:lnTo>
                    <a:lnTo>
                      <a:pt x="240" y="475"/>
                    </a:lnTo>
                    <a:lnTo>
                      <a:pt x="236" y="475"/>
                    </a:lnTo>
                    <a:lnTo>
                      <a:pt x="236" y="470"/>
                    </a:lnTo>
                    <a:lnTo>
                      <a:pt x="231" y="470"/>
                    </a:lnTo>
                    <a:lnTo>
                      <a:pt x="231" y="465"/>
                    </a:lnTo>
                    <a:lnTo>
                      <a:pt x="231" y="461"/>
                    </a:lnTo>
                    <a:lnTo>
                      <a:pt x="236" y="456"/>
                    </a:lnTo>
                    <a:lnTo>
                      <a:pt x="231" y="451"/>
                    </a:lnTo>
                    <a:lnTo>
                      <a:pt x="226" y="446"/>
                    </a:lnTo>
                    <a:lnTo>
                      <a:pt x="221" y="446"/>
                    </a:lnTo>
                    <a:lnTo>
                      <a:pt x="216" y="446"/>
                    </a:lnTo>
                    <a:lnTo>
                      <a:pt x="212" y="446"/>
                    </a:lnTo>
                    <a:lnTo>
                      <a:pt x="207" y="446"/>
                    </a:lnTo>
                    <a:lnTo>
                      <a:pt x="207" y="441"/>
                    </a:lnTo>
                    <a:lnTo>
                      <a:pt x="202" y="441"/>
                    </a:lnTo>
                    <a:lnTo>
                      <a:pt x="202" y="437"/>
                    </a:lnTo>
                    <a:lnTo>
                      <a:pt x="197" y="437"/>
                    </a:lnTo>
                    <a:lnTo>
                      <a:pt x="197" y="432"/>
                    </a:lnTo>
                    <a:lnTo>
                      <a:pt x="192" y="432"/>
                    </a:lnTo>
                    <a:lnTo>
                      <a:pt x="192" y="427"/>
                    </a:lnTo>
                    <a:lnTo>
                      <a:pt x="192" y="422"/>
                    </a:lnTo>
                    <a:lnTo>
                      <a:pt x="188" y="417"/>
                    </a:lnTo>
                    <a:lnTo>
                      <a:pt x="188" y="413"/>
                    </a:lnTo>
                    <a:lnTo>
                      <a:pt x="183" y="408"/>
                    </a:lnTo>
                    <a:lnTo>
                      <a:pt x="178" y="408"/>
                    </a:lnTo>
                    <a:lnTo>
                      <a:pt x="178" y="403"/>
                    </a:lnTo>
                    <a:lnTo>
                      <a:pt x="178" y="398"/>
                    </a:lnTo>
                    <a:lnTo>
                      <a:pt x="173" y="398"/>
                    </a:lnTo>
                    <a:lnTo>
                      <a:pt x="173" y="393"/>
                    </a:lnTo>
                    <a:lnTo>
                      <a:pt x="168" y="393"/>
                    </a:lnTo>
                    <a:lnTo>
                      <a:pt x="168" y="389"/>
                    </a:lnTo>
                    <a:lnTo>
                      <a:pt x="168" y="384"/>
                    </a:lnTo>
                    <a:lnTo>
                      <a:pt x="164" y="384"/>
                    </a:lnTo>
                    <a:lnTo>
                      <a:pt x="164" y="379"/>
                    </a:lnTo>
                    <a:lnTo>
                      <a:pt x="159" y="379"/>
                    </a:lnTo>
                    <a:lnTo>
                      <a:pt x="159" y="374"/>
                    </a:lnTo>
                    <a:lnTo>
                      <a:pt x="154" y="374"/>
                    </a:lnTo>
                    <a:lnTo>
                      <a:pt x="154" y="369"/>
                    </a:lnTo>
                    <a:lnTo>
                      <a:pt x="149" y="369"/>
                    </a:lnTo>
                    <a:lnTo>
                      <a:pt x="149" y="365"/>
                    </a:lnTo>
                    <a:lnTo>
                      <a:pt x="149" y="360"/>
                    </a:lnTo>
                    <a:lnTo>
                      <a:pt x="144" y="360"/>
                    </a:lnTo>
                    <a:lnTo>
                      <a:pt x="144" y="355"/>
                    </a:lnTo>
                    <a:lnTo>
                      <a:pt x="144" y="350"/>
                    </a:lnTo>
                    <a:lnTo>
                      <a:pt x="144" y="345"/>
                    </a:lnTo>
                    <a:lnTo>
                      <a:pt x="144" y="341"/>
                    </a:lnTo>
                    <a:lnTo>
                      <a:pt x="144" y="336"/>
                    </a:lnTo>
                    <a:lnTo>
                      <a:pt x="144" y="331"/>
                    </a:lnTo>
                    <a:lnTo>
                      <a:pt x="144" y="326"/>
                    </a:lnTo>
                    <a:lnTo>
                      <a:pt x="149" y="326"/>
                    </a:lnTo>
                    <a:lnTo>
                      <a:pt x="149" y="321"/>
                    </a:lnTo>
                    <a:lnTo>
                      <a:pt x="149" y="317"/>
                    </a:lnTo>
                    <a:lnTo>
                      <a:pt x="154" y="317"/>
                    </a:lnTo>
                    <a:lnTo>
                      <a:pt x="154" y="312"/>
                    </a:lnTo>
                    <a:lnTo>
                      <a:pt x="154" y="307"/>
                    </a:lnTo>
                    <a:lnTo>
                      <a:pt x="154" y="302"/>
                    </a:lnTo>
                    <a:lnTo>
                      <a:pt x="159" y="302"/>
                    </a:lnTo>
                    <a:lnTo>
                      <a:pt x="159" y="297"/>
                    </a:lnTo>
                    <a:lnTo>
                      <a:pt x="154" y="297"/>
                    </a:lnTo>
                    <a:lnTo>
                      <a:pt x="159" y="293"/>
                    </a:lnTo>
                    <a:lnTo>
                      <a:pt x="159" y="288"/>
                    </a:lnTo>
                    <a:lnTo>
                      <a:pt x="159" y="283"/>
                    </a:lnTo>
                    <a:lnTo>
                      <a:pt x="159" y="278"/>
                    </a:lnTo>
                    <a:lnTo>
                      <a:pt x="159" y="273"/>
                    </a:lnTo>
                    <a:lnTo>
                      <a:pt x="154" y="273"/>
                    </a:lnTo>
                    <a:lnTo>
                      <a:pt x="154" y="268"/>
                    </a:lnTo>
                    <a:lnTo>
                      <a:pt x="154" y="264"/>
                    </a:lnTo>
                    <a:lnTo>
                      <a:pt x="154" y="259"/>
                    </a:lnTo>
                    <a:lnTo>
                      <a:pt x="154" y="254"/>
                    </a:lnTo>
                    <a:lnTo>
                      <a:pt x="154" y="249"/>
                    </a:lnTo>
                    <a:lnTo>
                      <a:pt x="154" y="244"/>
                    </a:lnTo>
                    <a:lnTo>
                      <a:pt x="159" y="244"/>
                    </a:lnTo>
                    <a:lnTo>
                      <a:pt x="159" y="240"/>
                    </a:lnTo>
                    <a:lnTo>
                      <a:pt x="159" y="235"/>
                    </a:lnTo>
                    <a:lnTo>
                      <a:pt x="159" y="230"/>
                    </a:lnTo>
                    <a:lnTo>
                      <a:pt x="159" y="225"/>
                    </a:lnTo>
                    <a:lnTo>
                      <a:pt x="159" y="220"/>
                    </a:lnTo>
                    <a:lnTo>
                      <a:pt x="164" y="220"/>
                    </a:lnTo>
                    <a:lnTo>
                      <a:pt x="164" y="216"/>
                    </a:lnTo>
                    <a:lnTo>
                      <a:pt x="164" y="211"/>
                    </a:lnTo>
                    <a:lnTo>
                      <a:pt x="164" y="206"/>
                    </a:lnTo>
                    <a:lnTo>
                      <a:pt x="168" y="206"/>
                    </a:lnTo>
                    <a:lnTo>
                      <a:pt x="173" y="201"/>
                    </a:lnTo>
                    <a:lnTo>
                      <a:pt x="178" y="201"/>
                    </a:lnTo>
                    <a:lnTo>
                      <a:pt x="178" y="196"/>
                    </a:lnTo>
                    <a:lnTo>
                      <a:pt x="183" y="196"/>
                    </a:lnTo>
                    <a:lnTo>
                      <a:pt x="188" y="196"/>
                    </a:lnTo>
                    <a:lnTo>
                      <a:pt x="188" y="192"/>
                    </a:lnTo>
                    <a:lnTo>
                      <a:pt x="192" y="187"/>
                    </a:lnTo>
                    <a:lnTo>
                      <a:pt x="192" y="182"/>
                    </a:lnTo>
                    <a:lnTo>
                      <a:pt x="197" y="177"/>
                    </a:lnTo>
                    <a:lnTo>
                      <a:pt x="197" y="172"/>
                    </a:lnTo>
                    <a:lnTo>
                      <a:pt x="202" y="172"/>
                    </a:lnTo>
                    <a:lnTo>
                      <a:pt x="202" y="168"/>
                    </a:lnTo>
                    <a:lnTo>
                      <a:pt x="202" y="163"/>
                    </a:lnTo>
                    <a:lnTo>
                      <a:pt x="207" y="163"/>
                    </a:lnTo>
                    <a:lnTo>
                      <a:pt x="207" y="158"/>
                    </a:lnTo>
                    <a:lnTo>
                      <a:pt x="207" y="153"/>
                    </a:lnTo>
                    <a:lnTo>
                      <a:pt x="207" y="148"/>
                    </a:lnTo>
                    <a:lnTo>
                      <a:pt x="212" y="144"/>
                    </a:lnTo>
                    <a:lnTo>
                      <a:pt x="212" y="139"/>
                    </a:lnTo>
                    <a:lnTo>
                      <a:pt x="212" y="134"/>
                    </a:lnTo>
                    <a:lnTo>
                      <a:pt x="216" y="134"/>
                    </a:lnTo>
                    <a:lnTo>
                      <a:pt x="216" y="129"/>
                    </a:lnTo>
                    <a:lnTo>
                      <a:pt x="221" y="129"/>
                    </a:lnTo>
                    <a:lnTo>
                      <a:pt x="226" y="124"/>
                    </a:lnTo>
                    <a:lnTo>
                      <a:pt x="226" y="120"/>
                    </a:lnTo>
                    <a:lnTo>
                      <a:pt x="231" y="115"/>
                    </a:lnTo>
                    <a:close/>
                  </a:path>
                </a:pathLst>
              </a:custGeom>
              <a:solidFill>
                <a:schemeClr val="accent6">
                  <a:lumMod val="40000"/>
                  <a:lumOff val="6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54" name="Freeform 21"/>
              <p:cNvSpPr>
                <a:spLocks/>
              </p:cNvSpPr>
              <p:nvPr/>
            </p:nvSpPr>
            <p:spPr bwMode="gray">
              <a:xfrm>
                <a:off x="1968501" y="2741613"/>
                <a:ext cx="1425575" cy="2003425"/>
              </a:xfrm>
              <a:custGeom>
                <a:avLst/>
                <a:gdLst>
                  <a:gd name="T0" fmla="*/ 538 w 898"/>
                  <a:gd name="T1" fmla="*/ 259 h 1262"/>
                  <a:gd name="T2" fmla="*/ 816 w 898"/>
                  <a:gd name="T3" fmla="*/ 379 h 1262"/>
                  <a:gd name="T4" fmla="*/ 879 w 898"/>
                  <a:gd name="T5" fmla="*/ 600 h 1262"/>
                  <a:gd name="T6" fmla="*/ 845 w 898"/>
                  <a:gd name="T7" fmla="*/ 605 h 1262"/>
                  <a:gd name="T8" fmla="*/ 831 w 898"/>
                  <a:gd name="T9" fmla="*/ 629 h 1262"/>
                  <a:gd name="T10" fmla="*/ 807 w 898"/>
                  <a:gd name="T11" fmla="*/ 643 h 1262"/>
                  <a:gd name="T12" fmla="*/ 783 w 898"/>
                  <a:gd name="T13" fmla="*/ 648 h 1262"/>
                  <a:gd name="T14" fmla="*/ 759 w 898"/>
                  <a:gd name="T15" fmla="*/ 662 h 1262"/>
                  <a:gd name="T16" fmla="*/ 744 w 898"/>
                  <a:gd name="T17" fmla="*/ 691 h 1262"/>
                  <a:gd name="T18" fmla="*/ 730 w 898"/>
                  <a:gd name="T19" fmla="*/ 725 h 1262"/>
                  <a:gd name="T20" fmla="*/ 706 w 898"/>
                  <a:gd name="T21" fmla="*/ 744 h 1262"/>
                  <a:gd name="T22" fmla="*/ 682 w 898"/>
                  <a:gd name="T23" fmla="*/ 773 h 1262"/>
                  <a:gd name="T24" fmla="*/ 668 w 898"/>
                  <a:gd name="T25" fmla="*/ 806 h 1262"/>
                  <a:gd name="T26" fmla="*/ 634 w 898"/>
                  <a:gd name="T27" fmla="*/ 830 h 1262"/>
                  <a:gd name="T28" fmla="*/ 596 w 898"/>
                  <a:gd name="T29" fmla="*/ 830 h 1262"/>
                  <a:gd name="T30" fmla="*/ 600 w 898"/>
                  <a:gd name="T31" fmla="*/ 854 h 1262"/>
                  <a:gd name="T32" fmla="*/ 668 w 898"/>
                  <a:gd name="T33" fmla="*/ 902 h 1262"/>
                  <a:gd name="T34" fmla="*/ 759 w 898"/>
                  <a:gd name="T35" fmla="*/ 936 h 1262"/>
                  <a:gd name="T36" fmla="*/ 802 w 898"/>
                  <a:gd name="T37" fmla="*/ 974 h 1262"/>
                  <a:gd name="T38" fmla="*/ 792 w 898"/>
                  <a:gd name="T39" fmla="*/ 1013 h 1262"/>
                  <a:gd name="T40" fmla="*/ 730 w 898"/>
                  <a:gd name="T41" fmla="*/ 1133 h 1262"/>
                  <a:gd name="T42" fmla="*/ 663 w 898"/>
                  <a:gd name="T43" fmla="*/ 1257 h 1262"/>
                  <a:gd name="T44" fmla="*/ 634 w 898"/>
                  <a:gd name="T45" fmla="*/ 1229 h 1262"/>
                  <a:gd name="T46" fmla="*/ 596 w 898"/>
                  <a:gd name="T47" fmla="*/ 1200 h 1262"/>
                  <a:gd name="T48" fmla="*/ 552 w 898"/>
                  <a:gd name="T49" fmla="*/ 1205 h 1262"/>
                  <a:gd name="T50" fmla="*/ 519 w 898"/>
                  <a:gd name="T51" fmla="*/ 1176 h 1262"/>
                  <a:gd name="T52" fmla="*/ 504 w 898"/>
                  <a:gd name="T53" fmla="*/ 1133 h 1262"/>
                  <a:gd name="T54" fmla="*/ 471 w 898"/>
                  <a:gd name="T55" fmla="*/ 1118 h 1262"/>
                  <a:gd name="T56" fmla="*/ 452 w 898"/>
                  <a:gd name="T57" fmla="*/ 1109 h 1262"/>
                  <a:gd name="T58" fmla="*/ 423 w 898"/>
                  <a:gd name="T59" fmla="*/ 1113 h 1262"/>
                  <a:gd name="T60" fmla="*/ 394 w 898"/>
                  <a:gd name="T61" fmla="*/ 1109 h 1262"/>
                  <a:gd name="T62" fmla="*/ 346 w 898"/>
                  <a:gd name="T63" fmla="*/ 1104 h 1262"/>
                  <a:gd name="T64" fmla="*/ 303 w 898"/>
                  <a:gd name="T65" fmla="*/ 1056 h 1262"/>
                  <a:gd name="T66" fmla="*/ 260 w 898"/>
                  <a:gd name="T67" fmla="*/ 974 h 1262"/>
                  <a:gd name="T68" fmla="*/ 221 w 898"/>
                  <a:gd name="T69" fmla="*/ 902 h 1262"/>
                  <a:gd name="T70" fmla="*/ 183 w 898"/>
                  <a:gd name="T71" fmla="*/ 787 h 1262"/>
                  <a:gd name="T72" fmla="*/ 130 w 898"/>
                  <a:gd name="T73" fmla="*/ 672 h 1262"/>
                  <a:gd name="T74" fmla="*/ 77 w 898"/>
                  <a:gd name="T75" fmla="*/ 576 h 1262"/>
                  <a:gd name="T76" fmla="*/ 58 w 898"/>
                  <a:gd name="T77" fmla="*/ 523 h 1262"/>
                  <a:gd name="T78" fmla="*/ 87 w 898"/>
                  <a:gd name="T79" fmla="*/ 485 h 1262"/>
                  <a:gd name="T80" fmla="*/ 106 w 898"/>
                  <a:gd name="T81" fmla="*/ 446 h 1262"/>
                  <a:gd name="T82" fmla="*/ 125 w 898"/>
                  <a:gd name="T83" fmla="*/ 408 h 1262"/>
                  <a:gd name="T84" fmla="*/ 149 w 898"/>
                  <a:gd name="T85" fmla="*/ 369 h 1262"/>
                  <a:gd name="T86" fmla="*/ 149 w 898"/>
                  <a:gd name="T87" fmla="*/ 345 h 1262"/>
                  <a:gd name="T88" fmla="*/ 120 w 898"/>
                  <a:gd name="T89" fmla="*/ 341 h 1262"/>
                  <a:gd name="T90" fmla="*/ 101 w 898"/>
                  <a:gd name="T91" fmla="*/ 302 h 1262"/>
                  <a:gd name="T92" fmla="*/ 82 w 898"/>
                  <a:gd name="T93" fmla="*/ 264 h 1262"/>
                  <a:gd name="T94" fmla="*/ 68 w 898"/>
                  <a:gd name="T95" fmla="*/ 225 h 1262"/>
                  <a:gd name="T96" fmla="*/ 63 w 898"/>
                  <a:gd name="T97" fmla="*/ 192 h 1262"/>
                  <a:gd name="T98" fmla="*/ 53 w 898"/>
                  <a:gd name="T99" fmla="*/ 153 h 1262"/>
                  <a:gd name="T100" fmla="*/ 44 w 898"/>
                  <a:gd name="T101" fmla="*/ 115 h 1262"/>
                  <a:gd name="T102" fmla="*/ 20 w 898"/>
                  <a:gd name="T103" fmla="*/ 81 h 1262"/>
                  <a:gd name="T104" fmla="*/ 20 w 898"/>
                  <a:gd name="T105" fmla="*/ 62 h 1262"/>
                  <a:gd name="T106" fmla="*/ 58 w 898"/>
                  <a:gd name="T107" fmla="*/ 53 h 1262"/>
                  <a:gd name="T108" fmla="*/ 96 w 898"/>
                  <a:gd name="T109" fmla="*/ 38 h 1262"/>
                  <a:gd name="T110" fmla="*/ 125 w 898"/>
                  <a:gd name="T111" fmla="*/ 24 h 1262"/>
                  <a:gd name="T112" fmla="*/ 159 w 898"/>
                  <a:gd name="T113" fmla="*/ 9 h 1262"/>
                  <a:gd name="T114" fmla="*/ 192 w 898"/>
                  <a:gd name="T115" fmla="*/ 29 h 1262"/>
                  <a:gd name="T116" fmla="*/ 231 w 898"/>
                  <a:gd name="T117" fmla="*/ 48 h 1262"/>
                  <a:gd name="T118" fmla="*/ 269 w 898"/>
                  <a:gd name="T119" fmla="*/ 72 h 1262"/>
                  <a:gd name="T120" fmla="*/ 308 w 898"/>
                  <a:gd name="T121" fmla="*/ 96 h 1262"/>
                  <a:gd name="T122" fmla="*/ 346 w 898"/>
                  <a:gd name="T123" fmla="*/ 115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8" h="1262">
                    <a:moveTo>
                      <a:pt x="356" y="120"/>
                    </a:moveTo>
                    <a:lnTo>
                      <a:pt x="375" y="158"/>
                    </a:lnTo>
                    <a:lnTo>
                      <a:pt x="380" y="192"/>
                    </a:lnTo>
                    <a:lnTo>
                      <a:pt x="389" y="216"/>
                    </a:lnTo>
                    <a:lnTo>
                      <a:pt x="404" y="225"/>
                    </a:lnTo>
                    <a:lnTo>
                      <a:pt x="423" y="225"/>
                    </a:lnTo>
                    <a:lnTo>
                      <a:pt x="480" y="240"/>
                    </a:lnTo>
                    <a:lnTo>
                      <a:pt x="538" y="259"/>
                    </a:lnTo>
                    <a:lnTo>
                      <a:pt x="581" y="259"/>
                    </a:lnTo>
                    <a:lnTo>
                      <a:pt x="615" y="283"/>
                    </a:lnTo>
                    <a:lnTo>
                      <a:pt x="639" y="264"/>
                    </a:lnTo>
                    <a:lnTo>
                      <a:pt x="687" y="245"/>
                    </a:lnTo>
                    <a:lnTo>
                      <a:pt x="720" y="283"/>
                    </a:lnTo>
                    <a:lnTo>
                      <a:pt x="730" y="326"/>
                    </a:lnTo>
                    <a:lnTo>
                      <a:pt x="783" y="355"/>
                    </a:lnTo>
                    <a:lnTo>
                      <a:pt x="816" y="379"/>
                    </a:lnTo>
                    <a:lnTo>
                      <a:pt x="845" y="393"/>
                    </a:lnTo>
                    <a:lnTo>
                      <a:pt x="860" y="369"/>
                    </a:lnTo>
                    <a:lnTo>
                      <a:pt x="879" y="379"/>
                    </a:lnTo>
                    <a:lnTo>
                      <a:pt x="888" y="441"/>
                    </a:lnTo>
                    <a:lnTo>
                      <a:pt x="898" y="499"/>
                    </a:lnTo>
                    <a:lnTo>
                      <a:pt x="888" y="600"/>
                    </a:lnTo>
                    <a:lnTo>
                      <a:pt x="884" y="600"/>
                    </a:lnTo>
                    <a:lnTo>
                      <a:pt x="879" y="600"/>
                    </a:lnTo>
                    <a:lnTo>
                      <a:pt x="874" y="600"/>
                    </a:lnTo>
                    <a:lnTo>
                      <a:pt x="869" y="600"/>
                    </a:lnTo>
                    <a:lnTo>
                      <a:pt x="864" y="600"/>
                    </a:lnTo>
                    <a:lnTo>
                      <a:pt x="860" y="600"/>
                    </a:lnTo>
                    <a:lnTo>
                      <a:pt x="855" y="600"/>
                    </a:lnTo>
                    <a:lnTo>
                      <a:pt x="850" y="600"/>
                    </a:lnTo>
                    <a:lnTo>
                      <a:pt x="845" y="600"/>
                    </a:lnTo>
                    <a:lnTo>
                      <a:pt x="845" y="605"/>
                    </a:lnTo>
                    <a:lnTo>
                      <a:pt x="845" y="609"/>
                    </a:lnTo>
                    <a:lnTo>
                      <a:pt x="845" y="614"/>
                    </a:lnTo>
                    <a:lnTo>
                      <a:pt x="845" y="619"/>
                    </a:lnTo>
                    <a:lnTo>
                      <a:pt x="845" y="624"/>
                    </a:lnTo>
                    <a:lnTo>
                      <a:pt x="840" y="624"/>
                    </a:lnTo>
                    <a:lnTo>
                      <a:pt x="840" y="629"/>
                    </a:lnTo>
                    <a:lnTo>
                      <a:pt x="836" y="629"/>
                    </a:lnTo>
                    <a:lnTo>
                      <a:pt x="831" y="629"/>
                    </a:lnTo>
                    <a:lnTo>
                      <a:pt x="831" y="633"/>
                    </a:lnTo>
                    <a:lnTo>
                      <a:pt x="826" y="633"/>
                    </a:lnTo>
                    <a:lnTo>
                      <a:pt x="821" y="633"/>
                    </a:lnTo>
                    <a:lnTo>
                      <a:pt x="821" y="638"/>
                    </a:lnTo>
                    <a:lnTo>
                      <a:pt x="816" y="638"/>
                    </a:lnTo>
                    <a:lnTo>
                      <a:pt x="816" y="643"/>
                    </a:lnTo>
                    <a:lnTo>
                      <a:pt x="812" y="643"/>
                    </a:lnTo>
                    <a:lnTo>
                      <a:pt x="807" y="643"/>
                    </a:lnTo>
                    <a:lnTo>
                      <a:pt x="807" y="638"/>
                    </a:lnTo>
                    <a:lnTo>
                      <a:pt x="802" y="638"/>
                    </a:lnTo>
                    <a:lnTo>
                      <a:pt x="802" y="643"/>
                    </a:lnTo>
                    <a:lnTo>
                      <a:pt x="797" y="643"/>
                    </a:lnTo>
                    <a:lnTo>
                      <a:pt x="792" y="643"/>
                    </a:lnTo>
                    <a:lnTo>
                      <a:pt x="792" y="648"/>
                    </a:lnTo>
                    <a:lnTo>
                      <a:pt x="788" y="648"/>
                    </a:lnTo>
                    <a:lnTo>
                      <a:pt x="783" y="648"/>
                    </a:lnTo>
                    <a:lnTo>
                      <a:pt x="783" y="653"/>
                    </a:lnTo>
                    <a:lnTo>
                      <a:pt x="778" y="653"/>
                    </a:lnTo>
                    <a:lnTo>
                      <a:pt x="773" y="653"/>
                    </a:lnTo>
                    <a:lnTo>
                      <a:pt x="768" y="653"/>
                    </a:lnTo>
                    <a:lnTo>
                      <a:pt x="764" y="653"/>
                    </a:lnTo>
                    <a:lnTo>
                      <a:pt x="764" y="657"/>
                    </a:lnTo>
                    <a:lnTo>
                      <a:pt x="759" y="657"/>
                    </a:lnTo>
                    <a:lnTo>
                      <a:pt x="759" y="662"/>
                    </a:lnTo>
                    <a:lnTo>
                      <a:pt x="754" y="662"/>
                    </a:lnTo>
                    <a:lnTo>
                      <a:pt x="749" y="662"/>
                    </a:lnTo>
                    <a:lnTo>
                      <a:pt x="740" y="667"/>
                    </a:lnTo>
                    <a:lnTo>
                      <a:pt x="740" y="672"/>
                    </a:lnTo>
                    <a:lnTo>
                      <a:pt x="744" y="677"/>
                    </a:lnTo>
                    <a:lnTo>
                      <a:pt x="744" y="681"/>
                    </a:lnTo>
                    <a:lnTo>
                      <a:pt x="744" y="686"/>
                    </a:lnTo>
                    <a:lnTo>
                      <a:pt x="744" y="691"/>
                    </a:lnTo>
                    <a:lnTo>
                      <a:pt x="740" y="696"/>
                    </a:lnTo>
                    <a:lnTo>
                      <a:pt x="740" y="701"/>
                    </a:lnTo>
                    <a:lnTo>
                      <a:pt x="740" y="705"/>
                    </a:lnTo>
                    <a:lnTo>
                      <a:pt x="735" y="705"/>
                    </a:lnTo>
                    <a:lnTo>
                      <a:pt x="735" y="710"/>
                    </a:lnTo>
                    <a:lnTo>
                      <a:pt x="735" y="715"/>
                    </a:lnTo>
                    <a:lnTo>
                      <a:pt x="735" y="720"/>
                    </a:lnTo>
                    <a:lnTo>
                      <a:pt x="730" y="725"/>
                    </a:lnTo>
                    <a:lnTo>
                      <a:pt x="730" y="729"/>
                    </a:lnTo>
                    <a:lnTo>
                      <a:pt x="730" y="734"/>
                    </a:lnTo>
                    <a:lnTo>
                      <a:pt x="725" y="734"/>
                    </a:lnTo>
                    <a:lnTo>
                      <a:pt x="725" y="739"/>
                    </a:lnTo>
                    <a:lnTo>
                      <a:pt x="720" y="744"/>
                    </a:lnTo>
                    <a:lnTo>
                      <a:pt x="716" y="744"/>
                    </a:lnTo>
                    <a:lnTo>
                      <a:pt x="711" y="744"/>
                    </a:lnTo>
                    <a:lnTo>
                      <a:pt x="706" y="744"/>
                    </a:lnTo>
                    <a:lnTo>
                      <a:pt x="701" y="744"/>
                    </a:lnTo>
                    <a:lnTo>
                      <a:pt x="696" y="744"/>
                    </a:lnTo>
                    <a:lnTo>
                      <a:pt x="692" y="749"/>
                    </a:lnTo>
                    <a:lnTo>
                      <a:pt x="692" y="753"/>
                    </a:lnTo>
                    <a:lnTo>
                      <a:pt x="692" y="758"/>
                    </a:lnTo>
                    <a:lnTo>
                      <a:pt x="687" y="763"/>
                    </a:lnTo>
                    <a:lnTo>
                      <a:pt x="687" y="768"/>
                    </a:lnTo>
                    <a:lnTo>
                      <a:pt x="682" y="773"/>
                    </a:lnTo>
                    <a:lnTo>
                      <a:pt x="682" y="777"/>
                    </a:lnTo>
                    <a:lnTo>
                      <a:pt x="677" y="777"/>
                    </a:lnTo>
                    <a:lnTo>
                      <a:pt x="677" y="782"/>
                    </a:lnTo>
                    <a:lnTo>
                      <a:pt x="672" y="787"/>
                    </a:lnTo>
                    <a:lnTo>
                      <a:pt x="672" y="792"/>
                    </a:lnTo>
                    <a:lnTo>
                      <a:pt x="668" y="797"/>
                    </a:lnTo>
                    <a:lnTo>
                      <a:pt x="668" y="801"/>
                    </a:lnTo>
                    <a:lnTo>
                      <a:pt x="668" y="806"/>
                    </a:lnTo>
                    <a:lnTo>
                      <a:pt x="663" y="811"/>
                    </a:lnTo>
                    <a:lnTo>
                      <a:pt x="663" y="816"/>
                    </a:lnTo>
                    <a:lnTo>
                      <a:pt x="658" y="821"/>
                    </a:lnTo>
                    <a:lnTo>
                      <a:pt x="653" y="825"/>
                    </a:lnTo>
                    <a:lnTo>
                      <a:pt x="648" y="830"/>
                    </a:lnTo>
                    <a:lnTo>
                      <a:pt x="644" y="830"/>
                    </a:lnTo>
                    <a:lnTo>
                      <a:pt x="639" y="830"/>
                    </a:lnTo>
                    <a:lnTo>
                      <a:pt x="634" y="830"/>
                    </a:lnTo>
                    <a:lnTo>
                      <a:pt x="629" y="830"/>
                    </a:lnTo>
                    <a:lnTo>
                      <a:pt x="624" y="830"/>
                    </a:lnTo>
                    <a:lnTo>
                      <a:pt x="620" y="830"/>
                    </a:lnTo>
                    <a:lnTo>
                      <a:pt x="615" y="830"/>
                    </a:lnTo>
                    <a:lnTo>
                      <a:pt x="610" y="830"/>
                    </a:lnTo>
                    <a:lnTo>
                      <a:pt x="605" y="830"/>
                    </a:lnTo>
                    <a:lnTo>
                      <a:pt x="600" y="830"/>
                    </a:lnTo>
                    <a:lnTo>
                      <a:pt x="596" y="830"/>
                    </a:lnTo>
                    <a:lnTo>
                      <a:pt x="591" y="830"/>
                    </a:lnTo>
                    <a:lnTo>
                      <a:pt x="586" y="830"/>
                    </a:lnTo>
                    <a:lnTo>
                      <a:pt x="586" y="825"/>
                    </a:lnTo>
                    <a:lnTo>
                      <a:pt x="581" y="821"/>
                    </a:lnTo>
                    <a:lnTo>
                      <a:pt x="581" y="816"/>
                    </a:lnTo>
                    <a:lnTo>
                      <a:pt x="576" y="816"/>
                    </a:lnTo>
                    <a:lnTo>
                      <a:pt x="581" y="825"/>
                    </a:lnTo>
                    <a:lnTo>
                      <a:pt x="600" y="854"/>
                    </a:lnTo>
                    <a:lnTo>
                      <a:pt x="610" y="869"/>
                    </a:lnTo>
                    <a:lnTo>
                      <a:pt x="615" y="873"/>
                    </a:lnTo>
                    <a:lnTo>
                      <a:pt x="624" y="897"/>
                    </a:lnTo>
                    <a:lnTo>
                      <a:pt x="634" y="912"/>
                    </a:lnTo>
                    <a:lnTo>
                      <a:pt x="639" y="917"/>
                    </a:lnTo>
                    <a:lnTo>
                      <a:pt x="644" y="917"/>
                    </a:lnTo>
                    <a:lnTo>
                      <a:pt x="658" y="912"/>
                    </a:lnTo>
                    <a:lnTo>
                      <a:pt x="668" y="902"/>
                    </a:lnTo>
                    <a:lnTo>
                      <a:pt x="682" y="902"/>
                    </a:lnTo>
                    <a:lnTo>
                      <a:pt x="701" y="897"/>
                    </a:lnTo>
                    <a:lnTo>
                      <a:pt x="706" y="897"/>
                    </a:lnTo>
                    <a:lnTo>
                      <a:pt x="720" y="912"/>
                    </a:lnTo>
                    <a:lnTo>
                      <a:pt x="735" y="921"/>
                    </a:lnTo>
                    <a:lnTo>
                      <a:pt x="744" y="921"/>
                    </a:lnTo>
                    <a:lnTo>
                      <a:pt x="744" y="926"/>
                    </a:lnTo>
                    <a:lnTo>
                      <a:pt x="759" y="936"/>
                    </a:lnTo>
                    <a:lnTo>
                      <a:pt x="764" y="936"/>
                    </a:lnTo>
                    <a:lnTo>
                      <a:pt x="768" y="941"/>
                    </a:lnTo>
                    <a:lnTo>
                      <a:pt x="778" y="941"/>
                    </a:lnTo>
                    <a:lnTo>
                      <a:pt x="778" y="945"/>
                    </a:lnTo>
                    <a:lnTo>
                      <a:pt x="783" y="950"/>
                    </a:lnTo>
                    <a:lnTo>
                      <a:pt x="788" y="955"/>
                    </a:lnTo>
                    <a:lnTo>
                      <a:pt x="802" y="965"/>
                    </a:lnTo>
                    <a:lnTo>
                      <a:pt x="802" y="974"/>
                    </a:lnTo>
                    <a:lnTo>
                      <a:pt x="807" y="974"/>
                    </a:lnTo>
                    <a:lnTo>
                      <a:pt x="812" y="969"/>
                    </a:lnTo>
                    <a:lnTo>
                      <a:pt x="816" y="969"/>
                    </a:lnTo>
                    <a:lnTo>
                      <a:pt x="821" y="969"/>
                    </a:lnTo>
                    <a:lnTo>
                      <a:pt x="831" y="969"/>
                    </a:lnTo>
                    <a:lnTo>
                      <a:pt x="812" y="998"/>
                    </a:lnTo>
                    <a:lnTo>
                      <a:pt x="807" y="1008"/>
                    </a:lnTo>
                    <a:lnTo>
                      <a:pt x="792" y="1013"/>
                    </a:lnTo>
                    <a:lnTo>
                      <a:pt x="778" y="1013"/>
                    </a:lnTo>
                    <a:lnTo>
                      <a:pt x="759" y="1022"/>
                    </a:lnTo>
                    <a:lnTo>
                      <a:pt x="759" y="1041"/>
                    </a:lnTo>
                    <a:lnTo>
                      <a:pt x="764" y="1065"/>
                    </a:lnTo>
                    <a:lnTo>
                      <a:pt x="759" y="1070"/>
                    </a:lnTo>
                    <a:lnTo>
                      <a:pt x="759" y="1099"/>
                    </a:lnTo>
                    <a:lnTo>
                      <a:pt x="759" y="1118"/>
                    </a:lnTo>
                    <a:lnTo>
                      <a:pt x="730" y="1133"/>
                    </a:lnTo>
                    <a:lnTo>
                      <a:pt x="716" y="1142"/>
                    </a:lnTo>
                    <a:lnTo>
                      <a:pt x="711" y="1166"/>
                    </a:lnTo>
                    <a:lnTo>
                      <a:pt x="706" y="1181"/>
                    </a:lnTo>
                    <a:lnTo>
                      <a:pt x="701" y="1209"/>
                    </a:lnTo>
                    <a:lnTo>
                      <a:pt x="687" y="1233"/>
                    </a:lnTo>
                    <a:lnTo>
                      <a:pt x="677" y="1253"/>
                    </a:lnTo>
                    <a:lnTo>
                      <a:pt x="668" y="1253"/>
                    </a:lnTo>
                    <a:lnTo>
                      <a:pt x="663" y="1257"/>
                    </a:lnTo>
                    <a:lnTo>
                      <a:pt x="658" y="1262"/>
                    </a:lnTo>
                    <a:lnTo>
                      <a:pt x="653" y="1257"/>
                    </a:lnTo>
                    <a:lnTo>
                      <a:pt x="648" y="1257"/>
                    </a:lnTo>
                    <a:lnTo>
                      <a:pt x="644" y="1253"/>
                    </a:lnTo>
                    <a:lnTo>
                      <a:pt x="644" y="1248"/>
                    </a:lnTo>
                    <a:lnTo>
                      <a:pt x="639" y="1243"/>
                    </a:lnTo>
                    <a:lnTo>
                      <a:pt x="639" y="1238"/>
                    </a:lnTo>
                    <a:lnTo>
                      <a:pt x="634" y="1229"/>
                    </a:lnTo>
                    <a:lnTo>
                      <a:pt x="639" y="1224"/>
                    </a:lnTo>
                    <a:lnTo>
                      <a:pt x="644" y="1219"/>
                    </a:lnTo>
                    <a:lnTo>
                      <a:pt x="644" y="1214"/>
                    </a:lnTo>
                    <a:lnTo>
                      <a:pt x="624" y="1209"/>
                    </a:lnTo>
                    <a:lnTo>
                      <a:pt x="615" y="1205"/>
                    </a:lnTo>
                    <a:lnTo>
                      <a:pt x="605" y="1200"/>
                    </a:lnTo>
                    <a:lnTo>
                      <a:pt x="600" y="1200"/>
                    </a:lnTo>
                    <a:lnTo>
                      <a:pt x="596" y="1200"/>
                    </a:lnTo>
                    <a:lnTo>
                      <a:pt x="586" y="1200"/>
                    </a:lnTo>
                    <a:lnTo>
                      <a:pt x="581" y="1205"/>
                    </a:lnTo>
                    <a:lnTo>
                      <a:pt x="576" y="1209"/>
                    </a:lnTo>
                    <a:lnTo>
                      <a:pt x="572" y="1209"/>
                    </a:lnTo>
                    <a:lnTo>
                      <a:pt x="567" y="1209"/>
                    </a:lnTo>
                    <a:lnTo>
                      <a:pt x="562" y="1209"/>
                    </a:lnTo>
                    <a:lnTo>
                      <a:pt x="557" y="1209"/>
                    </a:lnTo>
                    <a:lnTo>
                      <a:pt x="552" y="1205"/>
                    </a:lnTo>
                    <a:lnTo>
                      <a:pt x="548" y="1195"/>
                    </a:lnTo>
                    <a:lnTo>
                      <a:pt x="538" y="1195"/>
                    </a:lnTo>
                    <a:lnTo>
                      <a:pt x="533" y="1190"/>
                    </a:lnTo>
                    <a:lnTo>
                      <a:pt x="528" y="1185"/>
                    </a:lnTo>
                    <a:lnTo>
                      <a:pt x="524" y="1185"/>
                    </a:lnTo>
                    <a:lnTo>
                      <a:pt x="524" y="1181"/>
                    </a:lnTo>
                    <a:lnTo>
                      <a:pt x="524" y="1176"/>
                    </a:lnTo>
                    <a:lnTo>
                      <a:pt x="519" y="1176"/>
                    </a:lnTo>
                    <a:lnTo>
                      <a:pt x="524" y="1166"/>
                    </a:lnTo>
                    <a:lnTo>
                      <a:pt x="524" y="1161"/>
                    </a:lnTo>
                    <a:lnTo>
                      <a:pt x="524" y="1152"/>
                    </a:lnTo>
                    <a:lnTo>
                      <a:pt x="519" y="1142"/>
                    </a:lnTo>
                    <a:lnTo>
                      <a:pt x="514" y="1137"/>
                    </a:lnTo>
                    <a:lnTo>
                      <a:pt x="509" y="1137"/>
                    </a:lnTo>
                    <a:lnTo>
                      <a:pt x="509" y="1133"/>
                    </a:lnTo>
                    <a:lnTo>
                      <a:pt x="504" y="1133"/>
                    </a:lnTo>
                    <a:lnTo>
                      <a:pt x="500" y="1133"/>
                    </a:lnTo>
                    <a:lnTo>
                      <a:pt x="495" y="1133"/>
                    </a:lnTo>
                    <a:lnTo>
                      <a:pt x="490" y="1128"/>
                    </a:lnTo>
                    <a:lnTo>
                      <a:pt x="490" y="1123"/>
                    </a:lnTo>
                    <a:lnTo>
                      <a:pt x="485" y="1123"/>
                    </a:lnTo>
                    <a:lnTo>
                      <a:pt x="485" y="1118"/>
                    </a:lnTo>
                    <a:lnTo>
                      <a:pt x="480" y="1118"/>
                    </a:lnTo>
                    <a:lnTo>
                      <a:pt x="471" y="1118"/>
                    </a:lnTo>
                    <a:lnTo>
                      <a:pt x="466" y="1118"/>
                    </a:lnTo>
                    <a:lnTo>
                      <a:pt x="461" y="1113"/>
                    </a:lnTo>
                    <a:lnTo>
                      <a:pt x="461" y="1109"/>
                    </a:lnTo>
                    <a:lnTo>
                      <a:pt x="456" y="1109"/>
                    </a:lnTo>
                    <a:lnTo>
                      <a:pt x="456" y="1104"/>
                    </a:lnTo>
                    <a:lnTo>
                      <a:pt x="452" y="1104"/>
                    </a:lnTo>
                    <a:lnTo>
                      <a:pt x="456" y="1109"/>
                    </a:lnTo>
                    <a:lnTo>
                      <a:pt x="452" y="1109"/>
                    </a:lnTo>
                    <a:lnTo>
                      <a:pt x="452" y="1113"/>
                    </a:lnTo>
                    <a:lnTo>
                      <a:pt x="447" y="1113"/>
                    </a:lnTo>
                    <a:lnTo>
                      <a:pt x="442" y="1113"/>
                    </a:lnTo>
                    <a:lnTo>
                      <a:pt x="442" y="1109"/>
                    </a:lnTo>
                    <a:lnTo>
                      <a:pt x="437" y="1113"/>
                    </a:lnTo>
                    <a:lnTo>
                      <a:pt x="432" y="1118"/>
                    </a:lnTo>
                    <a:lnTo>
                      <a:pt x="428" y="1118"/>
                    </a:lnTo>
                    <a:lnTo>
                      <a:pt x="423" y="1113"/>
                    </a:lnTo>
                    <a:lnTo>
                      <a:pt x="418" y="1113"/>
                    </a:lnTo>
                    <a:lnTo>
                      <a:pt x="418" y="1109"/>
                    </a:lnTo>
                    <a:lnTo>
                      <a:pt x="413" y="1109"/>
                    </a:lnTo>
                    <a:lnTo>
                      <a:pt x="408" y="1104"/>
                    </a:lnTo>
                    <a:lnTo>
                      <a:pt x="404" y="1104"/>
                    </a:lnTo>
                    <a:lnTo>
                      <a:pt x="399" y="1104"/>
                    </a:lnTo>
                    <a:lnTo>
                      <a:pt x="399" y="1109"/>
                    </a:lnTo>
                    <a:lnTo>
                      <a:pt x="394" y="1109"/>
                    </a:lnTo>
                    <a:lnTo>
                      <a:pt x="389" y="1113"/>
                    </a:lnTo>
                    <a:lnTo>
                      <a:pt x="384" y="1118"/>
                    </a:lnTo>
                    <a:lnTo>
                      <a:pt x="380" y="1118"/>
                    </a:lnTo>
                    <a:lnTo>
                      <a:pt x="370" y="1118"/>
                    </a:lnTo>
                    <a:lnTo>
                      <a:pt x="360" y="1113"/>
                    </a:lnTo>
                    <a:lnTo>
                      <a:pt x="356" y="1109"/>
                    </a:lnTo>
                    <a:lnTo>
                      <a:pt x="351" y="1109"/>
                    </a:lnTo>
                    <a:lnTo>
                      <a:pt x="346" y="1104"/>
                    </a:lnTo>
                    <a:lnTo>
                      <a:pt x="341" y="1099"/>
                    </a:lnTo>
                    <a:lnTo>
                      <a:pt x="332" y="1089"/>
                    </a:lnTo>
                    <a:lnTo>
                      <a:pt x="332" y="1085"/>
                    </a:lnTo>
                    <a:lnTo>
                      <a:pt x="327" y="1085"/>
                    </a:lnTo>
                    <a:lnTo>
                      <a:pt x="322" y="1075"/>
                    </a:lnTo>
                    <a:lnTo>
                      <a:pt x="317" y="1065"/>
                    </a:lnTo>
                    <a:lnTo>
                      <a:pt x="308" y="1061"/>
                    </a:lnTo>
                    <a:lnTo>
                      <a:pt x="303" y="1056"/>
                    </a:lnTo>
                    <a:lnTo>
                      <a:pt x="303" y="1051"/>
                    </a:lnTo>
                    <a:lnTo>
                      <a:pt x="298" y="1046"/>
                    </a:lnTo>
                    <a:lnTo>
                      <a:pt x="279" y="1022"/>
                    </a:lnTo>
                    <a:lnTo>
                      <a:pt x="274" y="1013"/>
                    </a:lnTo>
                    <a:lnTo>
                      <a:pt x="269" y="998"/>
                    </a:lnTo>
                    <a:lnTo>
                      <a:pt x="264" y="989"/>
                    </a:lnTo>
                    <a:lnTo>
                      <a:pt x="264" y="984"/>
                    </a:lnTo>
                    <a:lnTo>
                      <a:pt x="260" y="974"/>
                    </a:lnTo>
                    <a:lnTo>
                      <a:pt x="255" y="960"/>
                    </a:lnTo>
                    <a:lnTo>
                      <a:pt x="255" y="950"/>
                    </a:lnTo>
                    <a:lnTo>
                      <a:pt x="250" y="950"/>
                    </a:lnTo>
                    <a:lnTo>
                      <a:pt x="250" y="945"/>
                    </a:lnTo>
                    <a:lnTo>
                      <a:pt x="245" y="936"/>
                    </a:lnTo>
                    <a:lnTo>
                      <a:pt x="236" y="917"/>
                    </a:lnTo>
                    <a:lnTo>
                      <a:pt x="226" y="907"/>
                    </a:lnTo>
                    <a:lnTo>
                      <a:pt x="221" y="902"/>
                    </a:lnTo>
                    <a:lnTo>
                      <a:pt x="221" y="893"/>
                    </a:lnTo>
                    <a:lnTo>
                      <a:pt x="216" y="883"/>
                    </a:lnTo>
                    <a:lnTo>
                      <a:pt x="212" y="864"/>
                    </a:lnTo>
                    <a:lnTo>
                      <a:pt x="202" y="835"/>
                    </a:lnTo>
                    <a:lnTo>
                      <a:pt x="197" y="825"/>
                    </a:lnTo>
                    <a:lnTo>
                      <a:pt x="188" y="806"/>
                    </a:lnTo>
                    <a:lnTo>
                      <a:pt x="183" y="792"/>
                    </a:lnTo>
                    <a:lnTo>
                      <a:pt x="183" y="787"/>
                    </a:lnTo>
                    <a:lnTo>
                      <a:pt x="168" y="763"/>
                    </a:lnTo>
                    <a:lnTo>
                      <a:pt x="164" y="749"/>
                    </a:lnTo>
                    <a:lnTo>
                      <a:pt x="154" y="729"/>
                    </a:lnTo>
                    <a:lnTo>
                      <a:pt x="144" y="715"/>
                    </a:lnTo>
                    <a:lnTo>
                      <a:pt x="144" y="710"/>
                    </a:lnTo>
                    <a:lnTo>
                      <a:pt x="135" y="686"/>
                    </a:lnTo>
                    <a:lnTo>
                      <a:pt x="130" y="677"/>
                    </a:lnTo>
                    <a:lnTo>
                      <a:pt x="130" y="672"/>
                    </a:lnTo>
                    <a:lnTo>
                      <a:pt x="116" y="643"/>
                    </a:lnTo>
                    <a:lnTo>
                      <a:pt x="116" y="638"/>
                    </a:lnTo>
                    <a:lnTo>
                      <a:pt x="101" y="619"/>
                    </a:lnTo>
                    <a:lnTo>
                      <a:pt x="96" y="609"/>
                    </a:lnTo>
                    <a:lnTo>
                      <a:pt x="96" y="605"/>
                    </a:lnTo>
                    <a:lnTo>
                      <a:pt x="92" y="600"/>
                    </a:lnTo>
                    <a:lnTo>
                      <a:pt x="87" y="590"/>
                    </a:lnTo>
                    <a:lnTo>
                      <a:pt x="77" y="576"/>
                    </a:lnTo>
                    <a:lnTo>
                      <a:pt x="72" y="571"/>
                    </a:lnTo>
                    <a:lnTo>
                      <a:pt x="63" y="557"/>
                    </a:lnTo>
                    <a:lnTo>
                      <a:pt x="48" y="547"/>
                    </a:lnTo>
                    <a:lnTo>
                      <a:pt x="44" y="542"/>
                    </a:lnTo>
                    <a:lnTo>
                      <a:pt x="44" y="537"/>
                    </a:lnTo>
                    <a:lnTo>
                      <a:pt x="48" y="533"/>
                    </a:lnTo>
                    <a:lnTo>
                      <a:pt x="53" y="528"/>
                    </a:lnTo>
                    <a:lnTo>
                      <a:pt x="58" y="523"/>
                    </a:lnTo>
                    <a:lnTo>
                      <a:pt x="58" y="518"/>
                    </a:lnTo>
                    <a:lnTo>
                      <a:pt x="63" y="513"/>
                    </a:lnTo>
                    <a:lnTo>
                      <a:pt x="68" y="509"/>
                    </a:lnTo>
                    <a:lnTo>
                      <a:pt x="72" y="504"/>
                    </a:lnTo>
                    <a:lnTo>
                      <a:pt x="77" y="499"/>
                    </a:lnTo>
                    <a:lnTo>
                      <a:pt x="77" y="494"/>
                    </a:lnTo>
                    <a:lnTo>
                      <a:pt x="82" y="489"/>
                    </a:lnTo>
                    <a:lnTo>
                      <a:pt x="87" y="485"/>
                    </a:lnTo>
                    <a:lnTo>
                      <a:pt x="92" y="480"/>
                    </a:lnTo>
                    <a:lnTo>
                      <a:pt x="96" y="475"/>
                    </a:lnTo>
                    <a:lnTo>
                      <a:pt x="101" y="470"/>
                    </a:lnTo>
                    <a:lnTo>
                      <a:pt x="101" y="465"/>
                    </a:lnTo>
                    <a:lnTo>
                      <a:pt x="101" y="461"/>
                    </a:lnTo>
                    <a:lnTo>
                      <a:pt x="101" y="456"/>
                    </a:lnTo>
                    <a:lnTo>
                      <a:pt x="106" y="451"/>
                    </a:lnTo>
                    <a:lnTo>
                      <a:pt x="106" y="446"/>
                    </a:lnTo>
                    <a:lnTo>
                      <a:pt x="106" y="441"/>
                    </a:lnTo>
                    <a:lnTo>
                      <a:pt x="106" y="437"/>
                    </a:lnTo>
                    <a:lnTo>
                      <a:pt x="106" y="432"/>
                    </a:lnTo>
                    <a:lnTo>
                      <a:pt x="106" y="427"/>
                    </a:lnTo>
                    <a:lnTo>
                      <a:pt x="111" y="422"/>
                    </a:lnTo>
                    <a:lnTo>
                      <a:pt x="116" y="417"/>
                    </a:lnTo>
                    <a:lnTo>
                      <a:pt x="120" y="413"/>
                    </a:lnTo>
                    <a:lnTo>
                      <a:pt x="125" y="408"/>
                    </a:lnTo>
                    <a:lnTo>
                      <a:pt x="125" y="403"/>
                    </a:lnTo>
                    <a:lnTo>
                      <a:pt x="130" y="398"/>
                    </a:lnTo>
                    <a:lnTo>
                      <a:pt x="135" y="393"/>
                    </a:lnTo>
                    <a:lnTo>
                      <a:pt x="135" y="389"/>
                    </a:lnTo>
                    <a:lnTo>
                      <a:pt x="140" y="384"/>
                    </a:lnTo>
                    <a:lnTo>
                      <a:pt x="144" y="379"/>
                    </a:lnTo>
                    <a:lnTo>
                      <a:pt x="149" y="374"/>
                    </a:lnTo>
                    <a:lnTo>
                      <a:pt x="149" y="369"/>
                    </a:lnTo>
                    <a:lnTo>
                      <a:pt x="144" y="365"/>
                    </a:lnTo>
                    <a:lnTo>
                      <a:pt x="144" y="360"/>
                    </a:lnTo>
                    <a:lnTo>
                      <a:pt x="149" y="360"/>
                    </a:lnTo>
                    <a:lnTo>
                      <a:pt x="149" y="355"/>
                    </a:lnTo>
                    <a:lnTo>
                      <a:pt x="149" y="350"/>
                    </a:lnTo>
                    <a:lnTo>
                      <a:pt x="154" y="350"/>
                    </a:lnTo>
                    <a:lnTo>
                      <a:pt x="154" y="345"/>
                    </a:lnTo>
                    <a:lnTo>
                      <a:pt x="149" y="345"/>
                    </a:lnTo>
                    <a:lnTo>
                      <a:pt x="149" y="341"/>
                    </a:lnTo>
                    <a:lnTo>
                      <a:pt x="144" y="336"/>
                    </a:lnTo>
                    <a:lnTo>
                      <a:pt x="140" y="336"/>
                    </a:lnTo>
                    <a:lnTo>
                      <a:pt x="135" y="336"/>
                    </a:lnTo>
                    <a:lnTo>
                      <a:pt x="130" y="336"/>
                    </a:lnTo>
                    <a:lnTo>
                      <a:pt x="125" y="336"/>
                    </a:lnTo>
                    <a:lnTo>
                      <a:pt x="125" y="341"/>
                    </a:lnTo>
                    <a:lnTo>
                      <a:pt x="120" y="341"/>
                    </a:lnTo>
                    <a:lnTo>
                      <a:pt x="116" y="336"/>
                    </a:lnTo>
                    <a:lnTo>
                      <a:pt x="116" y="331"/>
                    </a:lnTo>
                    <a:lnTo>
                      <a:pt x="111" y="326"/>
                    </a:lnTo>
                    <a:lnTo>
                      <a:pt x="111" y="321"/>
                    </a:lnTo>
                    <a:lnTo>
                      <a:pt x="106" y="317"/>
                    </a:lnTo>
                    <a:lnTo>
                      <a:pt x="106" y="312"/>
                    </a:lnTo>
                    <a:lnTo>
                      <a:pt x="101" y="307"/>
                    </a:lnTo>
                    <a:lnTo>
                      <a:pt x="101" y="302"/>
                    </a:lnTo>
                    <a:lnTo>
                      <a:pt x="96" y="297"/>
                    </a:lnTo>
                    <a:lnTo>
                      <a:pt x="96" y="293"/>
                    </a:lnTo>
                    <a:lnTo>
                      <a:pt x="92" y="288"/>
                    </a:lnTo>
                    <a:lnTo>
                      <a:pt x="92" y="283"/>
                    </a:lnTo>
                    <a:lnTo>
                      <a:pt x="87" y="278"/>
                    </a:lnTo>
                    <a:lnTo>
                      <a:pt x="87" y="273"/>
                    </a:lnTo>
                    <a:lnTo>
                      <a:pt x="82" y="269"/>
                    </a:lnTo>
                    <a:lnTo>
                      <a:pt x="82" y="264"/>
                    </a:lnTo>
                    <a:lnTo>
                      <a:pt x="77" y="259"/>
                    </a:lnTo>
                    <a:lnTo>
                      <a:pt x="77" y="254"/>
                    </a:lnTo>
                    <a:lnTo>
                      <a:pt x="72" y="249"/>
                    </a:lnTo>
                    <a:lnTo>
                      <a:pt x="72" y="245"/>
                    </a:lnTo>
                    <a:lnTo>
                      <a:pt x="72" y="240"/>
                    </a:lnTo>
                    <a:lnTo>
                      <a:pt x="72" y="235"/>
                    </a:lnTo>
                    <a:lnTo>
                      <a:pt x="72" y="230"/>
                    </a:lnTo>
                    <a:lnTo>
                      <a:pt x="68" y="225"/>
                    </a:lnTo>
                    <a:lnTo>
                      <a:pt x="68" y="221"/>
                    </a:lnTo>
                    <a:lnTo>
                      <a:pt x="68" y="216"/>
                    </a:lnTo>
                    <a:lnTo>
                      <a:pt x="68" y="211"/>
                    </a:lnTo>
                    <a:lnTo>
                      <a:pt x="63" y="211"/>
                    </a:lnTo>
                    <a:lnTo>
                      <a:pt x="63" y="206"/>
                    </a:lnTo>
                    <a:lnTo>
                      <a:pt x="63" y="201"/>
                    </a:lnTo>
                    <a:lnTo>
                      <a:pt x="63" y="197"/>
                    </a:lnTo>
                    <a:lnTo>
                      <a:pt x="63" y="192"/>
                    </a:lnTo>
                    <a:lnTo>
                      <a:pt x="58" y="187"/>
                    </a:lnTo>
                    <a:lnTo>
                      <a:pt x="58" y="182"/>
                    </a:lnTo>
                    <a:lnTo>
                      <a:pt x="58" y="177"/>
                    </a:lnTo>
                    <a:lnTo>
                      <a:pt x="58" y="173"/>
                    </a:lnTo>
                    <a:lnTo>
                      <a:pt x="53" y="168"/>
                    </a:lnTo>
                    <a:lnTo>
                      <a:pt x="53" y="163"/>
                    </a:lnTo>
                    <a:lnTo>
                      <a:pt x="53" y="158"/>
                    </a:lnTo>
                    <a:lnTo>
                      <a:pt x="53" y="153"/>
                    </a:lnTo>
                    <a:lnTo>
                      <a:pt x="53" y="149"/>
                    </a:lnTo>
                    <a:lnTo>
                      <a:pt x="48" y="144"/>
                    </a:lnTo>
                    <a:lnTo>
                      <a:pt x="48" y="139"/>
                    </a:lnTo>
                    <a:lnTo>
                      <a:pt x="48" y="134"/>
                    </a:lnTo>
                    <a:lnTo>
                      <a:pt x="48" y="129"/>
                    </a:lnTo>
                    <a:lnTo>
                      <a:pt x="44" y="125"/>
                    </a:lnTo>
                    <a:lnTo>
                      <a:pt x="44" y="120"/>
                    </a:lnTo>
                    <a:lnTo>
                      <a:pt x="44" y="115"/>
                    </a:lnTo>
                    <a:lnTo>
                      <a:pt x="44" y="110"/>
                    </a:lnTo>
                    <a:lnTo>
                      <a:pt x="44" y="105"/>
                    </a:lnTo>
                    <a:lnTo>
                      <a:pt x="39" y="101"/>
                    </a:lnTo>
                    <a:lnTo>
                      <a:pt x="34" y="96"/>
                    </a:lnTo>
                    <a:lnTo>
                      <a:pt x="29" y="91"/>
                    </a:lnTo>
                    <a:lnTo>
                      <a:pt x="24" y="91"/>
                    </a:lnTo>
                    <a:lnTo>
                      <a:pt x="24" y="86"/>
                    </a:lnTo>
                    <a:lnTo>
                      <a:pt x="20" y="81"/>
                    </a:lnTo>
                    <a:lnTo>
                      <a:pt x="15" y="77"/>
                    </a:lnTo>
                    <a:lnTo>
                      <a:pt x="10" y="77"/>
                    </a:lnTo>
                    <a:lnTo>
                      <a:pt x="5" y="72"/>
                    </a:lnTo>
                    <a:lnTo>
                      <a:pt x="0" y="72"/>
                    </a:lnTo>
                    <a:lnTo>
                      <a:pt x="5" y="67"/>
                    </a:lnTo>
                    <a:lnTo>
                      <a:pt x="10" y="67"/>
                    </a:lnTo>
                    <a:lnTo>
                      <a:pt x="15" y="67"/>
                    </a:lnTo>
                    <a:lnTo>
                      <a:pt x="20" y="62"/>
                    </a:lnTo>
                    <a:lnTo>
                      <a:pt x="24" y="62"/>
                    </a:lnTo>
                    <a:lnTo>
                      <a:pt x="29" y="62"/>
                    </a:lnTo>
                    <a:lnTo>
                      <a:pt x="34" y="62"/>
                    </a:lnTo>
                    <a:lnTo>
                      <a:pt x="39" y="57"/>
                    </a:lnTo>
                    <a:lnTo>
                      <a:pt x="44" y="57"/>
                    </a:lnTo>
                    <a:lnTo>
                      <a:pt x="48" y="53"/>
                    </a:lnTo>
                    <a:lnTo>
                      <a:pt x="53" y="53"/>
                    </a:lnTo>
                    <a:lnTo>
                      <a:pt x="58" y="53"/>
                    </a:lnTo>
                    <a:lnTo>
                      <a:pt x="63" y="48"/>
                    </a:lnTo>
                    <a:lnTo>
                      <a:pt x="68" y="48"/>
                    </a:lnTo>
                    <a:lnTo>
                      <a:pt x="72" y="48"/>
                    </a:lnTo>
                    <a:lnTo>
                      <a:pt x="77" y="48"/>
                    </a:lnTo>
                    <a:lnTo>
                      <a:pt x="82" y="43"/>
                    </a:lnTo>
                    <a:lnTo>
                      <a:pt x="87" y="43"/>
                    </a:lnTo>
                    <a:lnTo>
                      <a:pt x="92" y="38"/>
                    </a:lnTo>
                    <a:lnTo>
                      <a:pt x="96" y="38"/>
                    </a:lnTo>
                    <a:lnTo>
                      <a:pt x="101" y="38"/>
                    </a:lnTo>
                    <a:lnTo>
                      <a:pt x="106" y="38"/>
                    </a:lnTo>
                    <a:lnTo>
                      <a:pt x="111" y="33"/>
                    </a:lnTo>
                    <a:lnTo>
                      <a:pt x="116" y="33"/>
                    </a:lnTo>
                    <a:lnTo>
                      <a:pt x="120" y="33"/>
                    </a:lnTo>
                    <a:lnTo>
                      <a:pt x="120" y="29"/>
                    </a:lnTo>
                    <a:lnTo>
                      <a:pt x="125" y="29"/>
                    </a:lnTo>
                    <a:lnTo>
                      <a:pt x="125" y="24"/>
                    </a:lnTo>
                    <a:lnTo>
                      <a:pt x="130" y="19"/>
                    </a:lnTo>
                    <a:lnTo>
                      <a:pt x="135" y="19"/>
                    </a:lnTo>
                    <a:lnTo>
                      <a:pt x="140" y="14"/>
                    </a:lnTo>
                    <a:lnTo>
                      <a:pt x="144" y="9"/>
                    </a:lnTo>
                    <a:lnTo>
                      <a:pt x="149" y="5"/>
                    </a:lnTo>
                    <a:lnTo>
                      <a:pt x="149" y="0"/>
                    </a:lnTo>
                    <a:lnTo>
                      <a:pt x="154" y="5"/>
                    </a:lnTo>
                    <a:lnTo>
                      <a:pt x="159" y="9"/>
                    </a:lnTo>
                    <a:lnTo>
                      <a:pt x="164" y="9"/>
                    </a:lnTo>
                    <a:lnTo>
                      <a:pt x="168" y="14"/>
                    </a:lnTo>
                    <a:lnTo>
                      <a:pt x="173" y="14"/>
                    </a:lnTo>
                    <a:lnTo>
                      <a:pt x="178" y="19"/>
                    </a:lnTo>
                    <a:lnTo>
                      <a:pt x="183" y="19"/>
                    </a:lnTo>
                    <a:lnTo>
                      <a:pt x="183" y="24"/>
                    </a:lnTo>
                    <a:lnTo>
                      <a:pt x="188" y="24"/>
                    </a:lnTo>
                    <a:lnTo>
                      <a:pt x="192" y="29"/>
                    </a:lnTo>
                    <a:lnTo>
                      <a:pt x="197" y="29"/>
                    </a:lnTo>
                    <a:lnTo>
                      <a:pt x="202" y="33"/>
                    </a:lnTo>
                    <a:lnTo>
                      <a:pt x="207" y="33"/>
                    </a:lnTo>
                    <a:lnTo>
                      <a:pt x="212" y="38"/>
                    </a:lnTo>
                    <a:lnTo>
                      <a:pt x="216" y="43"/>
                    </a:lnTo>
                    <a:lnTo>
                      <a:pt x="221" y="43"/>
                    </a:lnTo>
                    <a:lnTo>
                      <a:pt x="226" y="48"/>
                    </a:lnTo>
                    <a:lnTo>
                      <a:pt x="231" y="48"/>
                    </a:lnTo>
                    <a:lnTo>
                      <a:pt x="236" y="53"/>
                    </a:lnTo>
                    <a:lnTo>
                      <a:pt x="240" y="53"/>
                    </a:lnTo>
                    <a:lnTo>
                      <a:pt x="245" y="57"/>
                    </a:lnTo>
                    <a:lnTo>
                      <a:pt x="250" y="62"/>
                    </a:lnTo>
                    <a:lnTo>
                      <a:pt x="255" y="62"/>
                    </a:lnTo>
                    <a:lnTo>
                      <a:pt x="260" y="67"/>
                    </a:lnTo>
                    <a:lnTo>
                      <a:pt x="264" y="72"/>
                    </a:lnTo>
                    <a:lnTo>
                      <a:pt x="269" y="72"/>
                    </a:lnTo>
                    <a:lnTo>
                      <a:pt x="274" y="77"/>
                    </a:lnTo>
                    <a:lnTo>
                      <a:pt x="279" y="77"/>
                    </a:lnTo>
                    <a:lnTo>
                      <a:pt x="284" y="81"/>
                    </a:lnTo>
                    <a:lnTo>
                      <a:pt x="288" y="81"/>
                    </a:lnTo>
                    <a:lnTo>
                      <a:pt x="293" y="86"/>
                    </a:lnTo>
                    <a:lnTo>
                      <a:pt x="298" y="86"/>
                    </a:lnTo>
                    <a:lnTo>
                      <a:pt x="303" y="91"/>
                    </a:lnTo>
                    <a:lnTo>
                      <a:pt x="308" y="96"/>
                    </a:lnTo>
                    <a:lnTo>
                      <a:pt x="312" y="96"/>
                    </a:lnTo>
                    <a:lnTo>
                      <a:pt x="317" y="101"/>
                    </a:lnTo>
                    <a:lnTo>
                      <a:pt x="322" y="101"/>
                    </a:lnTo>
                    <a:lnTo>
                      <a:pt x="327" y="105"/>
                    </a:lnTo>
                    <a:lnTo>
                      <a:pt x="332" y="110"/>
                    </a:lnTo>
                    <a:lnTo>
                      <a:pt x="336" y="110"/>
                    </a:lnTo>
                    <a:lnTo>
                      <a:pt x="341" y="115"/>
                    </a:lnTo>
                    <a:lnTo>
                      <a:pt x="346" y="115"/>
                    </a:lnTo>
                    <a:lnTo>
                      <a:pt x="351" y="120"/>
                    </a:lnTo>
                    <a:lnTo>
                      <a:pt x="356" y="120"/>
                    </a:lnTo>
                    <a:close/>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55" name="Freeform 22"/>
              <p:cNvSpPr>
                <a:spLocks/>
              </p:cNvSpPr>
              <p:nvPr/>
            </p:nvSpPr>
            <p:spPr bwMode="gray">
              <a:xfrm>
                <a:off x="2882901" y="3632200"/>
                <a:ext cx="1662113" cy="1433512"/>
              </a:xfrm>
              <a:custGeom>
                <a:avLst/>
                <a:gdLst>
                  <a:gd name="T0" fmla="*/ 356 w 1047"/>
                  <a:gd name="T1" fmla="*/ 39 h 903"/>
                  <a:gd name="T2" fmla="*/ 399 w 1047"/>
                  <a:gd name="T3" fmla="*/ 15 h 903"/>
                  <a:gd name="T4" fmla="*/ 437 w 1047"/>
                  <a:gd name="T5" fmla="*/ 5 h 903"/>
                  <a:gd name="T6" fmla="*/ 485 w 1047"/>
                  <a:gd name="T7" fmla="*/ 10 h 903"/>
                  <a:gd name="T8" fmla="*/ 538 w 1047"/>
                  <a:gd name="T9" fmla="*/ 15 h 903"/>
                  <a:gd name="T10" fmla="*/ 591 w 1047"/>
                  <a:gd name="T11" fmla="*/ 24 h 903"/>
                  <a:gd name="T12" fmla="*/ 615 w 1047"/>
                  <a:gd name="T13" fmla="*/ 44 h 903"/>
                  <a:gd name="T14" fmla="*/ 648 w 1047"/>
                  <a:gd name="T15" fmla="*/ 63 h 903"/>
                  <a:gd name="T16" fmla="*/ 677 w 1047"/>
                  <a:gd name="T17" fmla="*/ 116 h 903"/>
                  <a:gd name="T18" fmla="*/ 696 w 1047"/>
                  <a:gd name="T19" fmla="*/ 168 h 903"/>
                  <a:gd name="T20" fmla="*/ 725 w 1047"/>
                  <a:gd name="T21" fmla="*/ 192 h 903"/>
                  <a:gd name="T22" fmla="*/ 768 w 1047"/>
                  <a:gd name="T23" fmla="*/ 178 h 903"/>
                  <a:gd name="T24" fmla="*/ 792 w 1047"/>
                  <a:gd name="T25" fmla="*/ 216 h 903"/>
                  <a:gd name="T26" fmla="*/ 840 w 1047"/>
                  <a:gd name="T27" fmla="*/ 250 h 903"/>
                  <a:gd name="T28" fmla="*/ 893 w 1047"/>
                  <a:gd name="T29" fmla="*/ 245 h 903"/>
                  <a:gd name="T30" fmla="*/ 946 w 1047"/>
                  <a:gd name="T31" fmla="*/ 274 h 903"/>
                  <a:gd name="T32" fmla="*/ 1004 w 1047"/>
                  <a:gd name="T33" fmla="*/ 312 h 903"/>
                  <a:gd name="T34" fmla="*/ 1042 w 1047"/>
                  <a:gd name="T35" fmla="*/ 332 h 903"/>
                  <a:gd name="T36" fmla="*/ 1013 w 1047"/>
                  <a:gd name="T37" fmla="*/ 384 h 903"/>
                  <a:gd name="T38" fmla="*/ 980 w 1047"/>
                  <a:gd name="T39" fmla="*/ 437 h 903"/>
                  <a:gd name="T40" fmla="*/ 941 w 1047"/>
                  <a:gd name="T41" fmla="*/ 466 h 903"/>
                  <a:gd name="T42" fmla="*/ 936 w 1047"/>
                  <a:gd name="T43" fmla="*/ 504 h 903"/>
                  <a:gd name="T44" fmla="*/ 922 w 1047"/>
                  <a:gd name="T45" fmla="*/ 562 h 903"/>
                  <a:gd name="T46" fmla="*/ 879 w 1047"/>
                  <a:gd name="T47" fmla="*/ 610 h 903"/>
                  <a:gd name="T48" fmla="*/ 836 w 1047"/>
                  <a:gd name="T49" fmla="*/ 624 h 903"/>
                  <a:gd name="T50" fmla="*/ 783 w 1047"/>
                  <a:gd name="T51" fmla="*/ 624 h 903"/>
                  <a:gd name="T52" fmla="*/ 735 w 1047"/>
                  <a:gd name="T53" fmla="*/ 634 h 903"/>
                  <a:gd name="T54" fmla="*/ 682 w 1047"/>
                  <a:gd name="T55" fmla="*/ 639 h 903"/>
                  <a:gd name="T56" fmla="*/ 648 w 1047"/>
                  <a:gd name="T57" fmla="*/ 668 h 903"/>
                  <a:gd name="T58" fmla="*/ 682 w 1047"/>
                  <a:gd name="T59" fmla="*/ 687 h 903"/>
                  <a:gd name="T60" fmla="*/ 711 w 1047"/>
                  <a:gd name="T61" fmla="*/ 740 h 903"/>
                  <a:gd name="T62" fmla="*/ 740 w 1047"/>
                  <a:gd name="T63" fmla="*/ 792 h 903"/>
                  <a:gd name="T64" fmla="*/ 768 w 1047"/>
                  <a:gd name="T65" fmla="*/ 850 h 903"/>
                  <a:gd name="T66" fmla="*/ 716 w 1047"/>
                  <a:gd name="T67" fmla="*/ 850 h 903"/>
                  <a:gd name="T68" fmla="*/ 692 w 1047"/>
                  <a:gd name="T69" fmla="*/ 893 h 903"/>
                  <a:gd name="T70" fmla="*/ 644 w 1047"/>
                  <a:gd name="T71" fmla="*/ 864 h 903"/>
                  <a:gd name="T72" fmla="*/ 596 w 1047"/>
                  <a:gd name="T73" fmla="*/ 860 h 903"/>
                  <a:gd name="T74" fmla="*/ 538 w 1047"/>
                  <a:gd name="T75" fmla="*/ 864 h 903"/>
                  <a:gd name="T76" fmla="*/ 495 w 1047"/>
                  <a:gd name="T77" fmla="*/ 831 h 903"/>
                  <a:gd name="T78" fmla="*/ 447 w 1047"/>
                  <a:gd name="T79" fmla="*/ 831 h 903"/>
                  <a:gd name="T80" fmla="*/ 408 w 1047"/>
                  <a:gd name="T81" fmla="*/ 797 h 903"/>
                  <a:gd name="T82" fmla="*/ 360 w 1047"/>
                  <a:gd name="T83" fmla="*/ 792 h 903"/>
                  <a:gd name="T84" fmla="*/ 317 w 1047"/>
                  <a:gd name="T85" fmla="*/ 764 h 903"/>
                  <a:gd name="T86" fmla="*/ 240 w 1047"/>
                  <a:gd name="T87" fmla="*/ 735 h 903"/>
                  <a:gd name="T88" fmla="*/ 188 w 1047"/>
                  <a:gd name="T89" fmla="*/ 716 h 903"/>
                  <a:gd name="T90" fmla="*/ 120 w 1047"/>
                  <a:gd name="T91" fmla="*/ 696 h 903"/>
                  <a:gd name="T92" fmla="*/ 183 w 1047"/>
                  <a:gd name="T93" fmla="*/ 509 h 903"/>
                  <a:gd name="T94" fmla="*/ 231 w 1047"/>
                  <a:gd name="T95" fmla="*/ 413 h 903"/>
                  <a:gd name="T96" fmla="*/ 159 w 1047"/>
                  <a:gd name="T97" fmla="*/ 360 h 903"/>
                  <a:gd name="T98" fmla="*/ 34 w 1047"/>
                  <a:gd name="T99" fmla="*/ 308 h 903"/>
                  <a:gd name="T100" fmla="*/ 34 w 1047"/>
                  <a:gd name="T101" fmla="*/ 269 h 903"/>
                  <a:gd name="T102" fmla="*/ 87 w 1047"/>
                  <a:gd name="T103" fmla="*/ 250 h 903"/>
                  <a:gd name="T104" fmla="*/ 116 w 1047"/>
                  <a:gd name="T105" fmla="*/ 197 h 903"/>
                  <a:gd name="T106" fmla="*/ 154 w 1047"/>
                  <a:gd name="T107" fmla="*/ 168 h 903"/>
                  <a:gd name="T108" fmla="*/ 168 w 1047"/>
                  <a:gd name="T109" fmla="*/ 116 h 903"/>
                  <a:gd name="T110" fmla="*/ 207 w 1047"/>
                  <a:gd name="T111" fmla="*/ 92 h 903"/>
                  <a:gd name="T112" fmla="*/ 240 w 1047"/>
                  <a:gd name="T113" fmla="*/ 77 h 903"/>
                  <a:gd name="T114" fmla="*/ 269 w 1047"/>
                  <a:gd name="T115" fmla="*/ 48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7" h="903">
                    <a:moveTo>
                      <a:pt x="312" y="39"/>
                    </a:moveTo>
                    <a:lnTo>
                      <a:pt x="317" y="39"/>
                    </a:lnTo>
                    <a:lnTo>
                      <a:pt x="322" y="39"/>
                    </a:lnTo>
                    <a:lnTo>
                      <a:pt x="322" y="34"/>
                    </a:lnTo>
                    <a:lnTo>
                      <a:pt x="327" y="34"/>
                    </a:lnTo>
                    <a:lnTo>
                      <a:pt x="332" y="34"/>
                    </a:lnTo>
                    <a:lnTo>
                      <a:pt x="336" y="34"/>
                    </a:lnTo>
                    <a:lnTo>
                      <a:pt x="336" y="39"/>
                    </a:lnTo>
                    <a:lnTo>
                      <a:pt x="341" y="39"/>
                    </a:lnTo>
                    <a:lnTo>
                      <a:pt x="346" y="39"/>
                    </a:lnTo>
                    <a:lnTo>
                      <a:pt x="351" y="39"/>
                    </a:lnTo>
                    <a:lnTo>
                      <a:pt x="356" y="39"/>
                    </a:lnTo>
                    <a:lnTo>
                      <a:pt x="360" y="39"/>
                    </a:lnTo>
                    <a:lnTo>
                      <a:pt x="365" y="39"/>
                    </a:lnTo>
                    <a:lnTo>
                      <a:pt x="370" y="39"/>
                    </a:lnTo>
                    <a:lnTo>
                      <a:pt x="375" y="34"/>
                    </a:lnTo>
                    <a:lnTo>
                      <a:pt x="380" y="34"/>
                    </a:lnTo>
                    <a:lnTo>
                      <a:pt x="384" y="34"/>
                    </a:lnTo>
                    <a:lnTo>
                      <a:pt x="384" y="29"/>
                    </a:lnTo>
                    <a:lnTo>
                      <a:pt x="389" y="29"/>
                    </a:lnTo>
                    <a:lnTo>
                      <a:pt x="389" y="24"/>
                    </a:lnTo>
                    <a:lnTo>
                      <a:pt x="394" y="20"/>
                    </a:lnTo>
                    <a:lnTo>
                      <a:pt x="399" y="20"/>
                    </a:lnTo>
                    <a:lnTo>
                      <a:pt x="399" y="15"/>
                    </a:lnTo>
                    <a:lnTo>
                      <a:pt x="404" y="15"/>
                    </a:lnTo>
                    <a:lnTo>
                      <a:pt x="408" y="15"/>
                    </a:lnTo>
                    <a:lnTo>
                      <a:pt x="413" y="15"/>
                    </a:lnTo>
                    <a:lnTo>
                      <a:pt x="413" y="10"/>
                    </a:lnTo>
                    <a:lnTo>
                      <a:pt x="418" y="10"/>
                    </a:lnTo>
                    <a:lnTo>
                      <a:pt x="423" y="10"/>
                    </a:lnTo>
                    <a:lnTo>
                      <a:pt x="423" y="5"/>
                    </a:lnTo>
                    <a:lnTo>
                      <a:pt x="428" y="5"/>
                    </a:lnTo>
                    <a:lnTo>
                      <a:pt x="428" y="0"/>
                    </a:lnTo>
                    <a:lnTo>
                      <a:pt x="432" y="0"/>
                    </a:lnTo>
                    <a:lnTo>
                      <a:pt x="437" y="0"/>
                    </a:lnTo>
                    <a:lnTo>
                      <a:pt x="437" y="5"/>
                    </a:lnTo>
                    <a:lnTo>
                      <a:pt x="442" y="5"/>
                    </a:lnTo>
                    <a:lnTo>
                      <a:pt x="447" y="5"/>
                    </a:lnTo>
                    <a:lnTo>
                      <a:pt x="452" y="5"/>
                    </a:lnTo>
                    <a:lnTo>
                      <a:pt x="456" y="5"/>
                    </a:lnTo>
                    <a:lnTo>
                      <a:pt x="461" y="5"/>
                    </a:lnTo>
                    <a:lnTo>
                      <a:pt x="461" y="0"/>
                    </a:lnTo>
                    <a:lnTo>
                      <a:pt x="466" y="5"/>
                    </a:lnTo>
                    <a:lnTo>
                      <a:pt x="471" y="5"/>
                    </a:lnTo>
                    <a:lnTo>
                      <a:pt x="476" y="5"/>
                    </a:lnTo>
                    <a:lnTo>
                      <a:pt x="476" y="10"/>
                    </a:lnTo>
                    <a:lnTo>
                      <a:pt x="480" y="10"/>
                    </a:lnTo>
                    <a:lnTo>
                      <a:pt x="485" y="10"/>
                    </a:lnTo>
                    <a:lnTo>
                      <a:pt x="490" y="10"/>
                    </a:lnTo>
                    <a:lnTo>
                      <a:pt x="490" y="15"/>
                    </a:lnTo>
                    <a:lnTo>
                      <a:pt x="495" y="15"/>
                    </a:lnTo>
                    <a:lnTo>
                      <a:pt x="500" y="15"/>
                    </a:lnTo>
                    <a:lnTo>
                      <a:pt x="504" y="15"/>
                    </a:lnTo>
                    <a:lnTo>
                      <a:pt x="509" y="15"/>
                    </a:lnTo>
                    <a:lnTo>
                      <a:pt x="514" y="15"/>
                    </a:lnTo>
                    <a:lnTo>
                      <a:pt x="519" y="15"/>
                    </a:lnTo>
                    <a:lnTo>
                      <a:pt x="524" y="15"/>
                    </a:lnTo>
                    <a:lnTo>
                      <a:pt x="528" y="15"/>
                    </a:lnTo>
                    <a:lnTo>
                      <a:pt x="533" y="15"/>
                    </a:lnTo>
                    <a:lnTo>
                      <a:pt x="538" y="15"/>
                    </a:lnTo>
                    <a:lnTo>
                      <a:pt x="543" y="15"/>
                    </a:lnTo>
                    <a:lnTo>
                      <a:pt x="548" y="15"/>
                    </a:lnTo>
                    <a:lnTo>
                      <a:pt x="552" y="15"/>
                    </a:lnTo>
                    <a:lnTo>
                      <a:pt x="557" y="15"/>
                    </a:lnTo>
                    <a:lnTo>
                      <a:pt x="562" y="15"/>
                    </a:lnTo>
                    <a:lnTo>
                      <a:pt x="562" y="20"/>
                    </a:lnTo>
                    <a:lnTo>
                      <a:pt x="567" y="20"/>
                    </a:lnTo>
                    <a:lnTo>
                      <a:pt x="572" y="20"/>
                    </a:lnTo>
                    <a:lnTo>
                      <a:pt x="576" y="20"/>
                    </a:lnTo>
                    <a:lnTo>
                      <a:pt x="581" y="20"/>
                    </a:lnTo>
                    <a:lnTo>
                      <a:pt x="586" y="24"/>
                    </a:lnTo>
                    <a:lnTo>
                      <a:pt x="591" y="24"/>
                    </a:lnTo>
                    <a:lnTo>
                      <a:pt x="596" y="24"/>
                    </a:lnTo>
                    <a:lnTo>
                      <a:pt x="600" y="24"/>
                    </a:lnTo>
                    <a:lnTo>
                      <a:pt x="605" y="24"/>
                    </a:lnTo>
                    <a:lnTo>
                      <a:pt x="610" y="24"/>
                    </a:lnTo>
                    <a:lnTo>
                      <a:pt x="615" y="24"/>
                    </a:lnTo>
                    <a:lnTo>
                      <a:pt x="620" y="24"/>
                    </a:lnTo>
                    <a:lnTo>
                      <a:pt x="620" y="29"/>
                    </a:lnTo>
                    <a:lnTo>
                      <a:pt x="620" y="34"/>
                    </a:lnTo>
                    <a:lnTo>
                      <a:pt x="615" y="34"/>
                    </a:lnTo>
                    <a:lnTo>
                      <a:pt x="610" y="39"/>
                    </a:lnTo>
                    <a:lnTo>
                      <a:pt x="615" y="39"/>
                    </a:lnTo>
                    <a:lnTo>
                      <a:pt x="615" y="44"/>
                    </a:lnTo>
                    <a:lnTo>
                      <a:pt x="620" y="44"/>
                    </a:lnTo>
                    <a:lnTo>
                      <a:pt x="620" y="48"/>
                    </a:lnTo>
                    <a:lnTo>
                      <a:pt x="624" y="48"/>
                    </a:lnTo>
                    <a:lnTo>
                      <a:pt x="624" y="53"/>
                    </a:lnTo>
                    <a:lnTo>
                      <a:pt x="629" y="58"/>
                    </a:lnTo>
                    <a:lnTo>
                      <a:pt x="629" y="53"/>
                    </a:lnTo>
                    <a:lnTo>
                      <a:pt x="629" y="58"/>
                    </a:lnTo>
                    <a:lnTo>
                      <a:pt x="634" y="58"/>
                    </a:lnTo>
                    <a:lnTo>
                      <a:pt x="639" y="58"/>
                    </a:lnTo>
                    <a:lnTo>
                      <a:pt x="644" y="58"/>
                    </a:lnTo>
                    <a:lnTo>
                      <a:pt x="648" y="58"/>
                    </a:lnTo>
                    <a:lnTo>
                      <a:pt x="648" y="63"/>
                    </a:lnTo>
                    <a:lnTo>
                      <a:pt x="653" y="63"/>
                    </a:lnTo>
                    <a:lnTo>
                      <a:pt x="658" y="68"/>
                    </a:lnTo>
                    <a:lnTo>
                      <a:pt x="658" y="72"/>
                    </a:lnTo>
                    <a:lnTo>
                      <a:pt x="658" y="77"/>
                    </a:lnTo>
                    <a:lnTo>
                      <a:pt x="663" y="82"/>
                    </a:lnTo>
                    <a:lnTo>
                      <a:pt x="663" y="87"/>
                    </a:lnTo>
                    <a:lnTo>
                      <a:pt x="668" y="92"/>
                    </a:lnTo>
                    <a:lnTo>
                      <a:pt x="668" y="96"/>
                    </a:lnTo>
                    <a:lnTo>
                      <a:pt x="672" y="101"/>
                    </a:lnTo>
                    <a:lnTo>
                      <a:pt x="672" y="106"/>
                    </a:lnTo>
                    <a:lnTo>
                      <a:pt x="677" y="111"/>
                    </a:lnTo>
                    <a:lnTo>
                      <a:pt x="677" y="116"/>
                    </a:lnTo>
                    <a:lnTo>
                      <a:pt x="677" y="120"/>
                    </a:lnTo>
                    <a:lnTo>
                      <a:pt x="682" y="125"/>
                    </a:lnTo>
                    <a:lnTo>
                      <a:pt x="682" y="130"/>
                    </a:lnTo>
                    <a:lnTo>
                      <a:pt x="682" y="135"/>
                    </a:lnTo>
                    <a:lnTo>
                      <a:pt x="687" y="135"/>
                    </a:lnTo>
                    <a:lnTo>
                      <a:pt x="687" y="140"/>
                    </a:lnTo>
                    <a:lnTo>
                      <a:pt x="692" y="144"/>
                    </a:lnTo>
                    <a:lnTo>
                      <a:pt x="692" y="149"/>
                    </a:lnTo>
                    <a:lnTo>
                      <a:pt x="692" y="154"/>
                    </a:lnTo>
                    <a:lnTo>
                      <a:pt x="696" y="159"/>
                    </a:lnTo>
                    <a:lnTo>
                      <a:pt x="696" y="164"/>
                    </a:lnTo>
                    <a:lnTo>
                      <a:pt x="696" y="168"/>
                    </a:lnTo>
                    <a:lnTo>
                      <a:pt x="701" y="168"/>
                    </a:lnTo>
                    <a:lnTo>
                      <a:pt x="701" y="173"/>
                    </a:lnTo>
                    <a:lnTo>
                      <a:pt x="706" y="178"/>
                    </a:lnTo>
                    <a:lnTo>
                      <a:pt x="706" y="183"/>
                    </a:lnTo>
                    <a:lnTo>
                      <a:pt x="706" y="188"/>
                    </a:lnTo>
                    <a:lnTo>
                      <a:pt x="711" y="192"/>
                    </a:lnTo>
                    <a:lnTo>
                      <a:pt x="711" y="197"/>
                    </a:lnTo>
                    <a:lnTo>
                      <a:pt x="716" y="202"/>
                    </a:lnTo>
                    <a:lnTo>
                      <a:pt x="716" y="197"/>
                    </a:lnTo>
                    <a:lnTo>
                      <a:pt x="720" y="197"/>
                    </a:lnTo>
                    <a:lnTo>
                      <a:pt x="725" y="197"/>
                    </a:lnTo>
                    <a:lnTo>
                      <a:pt x="725" y="192"/>
                    </a:lnTo>
                    <a:lnTo>
                      <a:pt x="730" y="192"/>
                    </a:lnTo>
                    <a:lnTo>
                      <a:pt x="735" y="192"/>
                    </a:lnTo>
                    <a:lnTo>
                      <a:pt x="740" y="192"/>
                    </a:lnTo>
                    <a:lnTo>
                      <a:pt x="740" y="188"/>
                    </a:lnTo>
                    <a:lnTo>
                      <a:pt x="744" y="188"/>
                    </a:lnTo>
                    <a:lnTo>
                      <a:pt x="744" y="183"/>
                    </a:lnTo>
                    <a:lnTo>
                      <a:pt x="749" y="183"/>
                    </a:lnTo>
                    <a:lnTo>
                      <a:pt x="749" y="178"/>
                    </a:lnTo>
                    <a:lnTo>
                      <a:pt x="754" y="178"/>
                    </a:lnTo>
                    <a:lnTo>
                      <a:pt x="759" y="178"/>
                    </a:lnTo>
                    <a:lnTo>
                      <a:pt x="764" y="178"/>
                    </a:lnTo>
                    <a:lnTo>
                      <a:pt x="768" y="178"/>
                    </a:lnTo>
                    <a:lnTo>
                      <a:pt x="768" y="183"/>
                    </a:lnTo>
                    <a:lnTo>
                      <a:pt x="773" y="183"/>
                    </a:lnTo>
                    <a:lnTo>
                      <a:pt x="773" y="178"/>
                    </a:lnTo>
                    <a:lnTo>
                      <a:pt x="778" y="178"/>
                    </a:lnTo>
                    <a:lnTo>
                      <a:pt x="778" y="183"/>
                    </a:lnTo>
                    <a:lnTo>
                      <a:pt x="778" y="188"/>
                    </a:lnTo>
                    <a:lnTo>
                      <a:pt x="778" y="192"/>
                    </a:lnTo>
                    <a:lnTo>
                      <a:pt x="778" y="197"/>
                    </a:lnTo>
                    <a:lnTo>
                      <a:pt x="783" y="202"/>
                    </a:lnTo>
                    <a:lnTo>
                      <a:pt x="788" y="207"/>
                    </a:lnTo>
                    <a:lnTo>
                      <a:pt x="788" y="212"/>
                    </a:lnTo>
                    <a:lnTo>
                      <a:pt x="792" y="216"/>
                    </a:lnTo>
                    <a:lnTo>
                      <a:pt x="797" y="221"/>
                    </a:lnTo>
                    <a:lnTo>
                      <a:pt x="802" y="226"/>
                    </a:lnTo>
                    <a:lnTo>
                      <a:pt x="807" y="231"/>
                    </a:lnTo>
                    <a:lnTo>
                      <a:pt x="807" y="236"/>
                    </a:lnTo>
                    <a:lnTo>
                      <a:pt x="812" y="240"/>
                    </a:lnTo>
                    <a:lnTo>
                      <a:pt x="816" y="245"/>
                    </a:lnTo>
                    <a:lnTo>
                      <a:pt x="816" y="250"/>
                    </a:lnTo>
                    <a:lnTo>
                      <a:pt x="821" y="255"/>
                    </a:lnTo>
                    <a:lnTo>
                      <a:pt x="826" y="255"/>
                    </a:lnTo>
                    <a:lnTo>
                      <a:pt x="831" y="250"/>
                    </a:lnTo>
                    <a:lnTo>
                      <a:pt x="836" y="250"/>
                    </a:lnTo>
                    <a:lnTo>
                      <a:pt x="840" y="250"/>
                    </a:lnTo>
                    <a:lnTo>
                      <a:pt x="845" y="250"/>
                    </a:lnTo>
                    <a:lnTo>
                      <a:pt x="850" y="250"/>
                    </a:lnTo>
                    <a:lnTo>
                      <a:pt x="855" y="250"/>
                    </a:lnTo>
                    <a:lnTo>
                      <a:pt x="860" y="250"/>
                    </a:lnTo>
                    <a:lnTo>
                      <a:pt x="864" y="250"/>
                    </a:lnTo>
                    <a:lnTo>
                      <a:pt x="869" y="250"/>
                    </a:lnTo>
                    <a:lnTo>
                      <a:pt x="874" y="250"/>
                    </a:lnTo>
                    <a:lnTo>
                      <a:pt x="879" y="250"/>
                    </a:lnTo>
                    <a:lnTo>
                      <a:pt x="884" y="250"/>
                    </a:lnTo>
                    <a:lnTo>
                      <a:pt x="888" y="250"/>
                    </a:lnTo>
                    <a:lnTo>
                      <a:pt x="888" y="245"/>
                    </a:lnTo>
                    <a:lnTo>
                      <a:pt x="893" y="245"/>
                    </a:lnTo>
                    <a:lnTo>
                      <a:pt x="898" y="245"/>
                    </a:lnTo>
                    <a:lnTo>
                      <a:pt x="903" y="245"/>
                    </a:lnTo>
                    <a:lnTo>
                      <a:pt x="908" y="245"/>
                    </a:lnTo>
                    <a:lnTo>
                      <a:pt x="912" y="250"/>
                    </a:lnTo>
                    <a:lnTo>
                      <a:pt x="917" y="250"/>
                    </a:lnTo>
                    <a:lnTo>
                      <a:pt x="922" y="255"/>
                    </a:lnTo>
                    <a:lnTo>
                      <a:pt x="927" y="260"/>
                    </a:lnTo>
                    <a:lnTo>
                      <a:pt x="932" y="260"/>
                    </a:lnTo>
                    <a:lnTo>
                      <a:pt x="936" y="264"/>
                    </a:lnTo>
                    <a:lnTo>
                      <a:pt x="941" y="269"/>
                    </a:lnTo>
                    <a:lnTo>
                      <a:pt x="946" y="269"/>
                    </a:lnTo>
                    <a:lnTo>
                      <a:pt x="946" y="274"/>
                    </a:lnTo>
                    <a:lnTo>
                      <a:pt x="951" y="274"/>
                    </a:lnTo>
                    <a:lnTo>
                      <a:pt x="956" y="279"/>
                    </a:lnTo>
                    <a:lnTo>
                      <a:pt x="960" y="284"/>
                    </a:lnTo>
                    <a:lnTo>
                      <a:pt x="965" y="284"/>
                    </a:lnTo>
                    <a:lnTo>
                      <a:pt x="970" y="288"/>
                    </a:lnTo>
                    <a:lnTo>
                      <a:pt x="975" y="293"/>
                    </a:lnTo>
                    <a:lnTo>
                      <a:pt x="980" y="293"/>
                    </a:lnTo>
                    <a:lnTo>
                      <a:pt x="984" y="298"/>
                    </a:lnTo>
                    <a:lnTo>
                      <a:pt x="989" y="303"/>
                    </a:lnTo>
                    <a:lnTo>
                      <a:pt x="994" y="303"/>
                    </a:lnTo>
                    <a:lnTo>
                      <a:pt x="999" y="308"/>
                    </a:lnTo>
                    <a:lnTo>
                      <a:pt x="1004" y="312"/>
                    </a:lnTo>
                    <a:lnTo>
                      <a:pt x="1008" y="317"/>
                    </a:lnTo>
                    <a:lnTo>
                      <a:pt x="1013" y="317"/>
                    </a:lnTo>
                    <a:lnTo>
                      <a:pt x="1018" y="317"/>
                    </a:lnTo>
                    <a:lnTo>
                      <a:pt x="1023" y="317"/>
                    </a:lnTo>
                    <a:lnTo>
                      <a:pt x="1028" y="317"/>
                    </a:lnTo>
                    <a:lnTo>
                      <a:pt x="1032" y="317"/>
                    </a:lnTo>
                    <a:lnTo>
                      <a:pt x="1037" y="317"/>
                    </a:lnTo>
                    <a:lnTo>
                      <a:pt x="1042" y="317"/>
                    </a:lnTo>
                    <a:lnTo>
                      <a:pt x="1047" y="317"/>
                    </a:lnTo>
                    <a:lnTo>
                      <a:pt x="1047" y="322"/>
                    </a:lnTo>
                    <a:lnTo>
                      <a:pt x="1042" y="327"/>
                    </a:lnTo>
                    <a:lnTo>
                      <a:pt x="1042" y="332"/>
                    </a:lnTo>
                    <a:lnTo>
                      <a:pt x="1037" y="336"/>
                    </a:lnTo>
                    <a:lnTo>
                      <a:pt x="1037" y="341"/>
                    </a:lnTo>
                    <a:lnTo>
                      <a:pt x="1032" y="346"/>
                    </a:lnTo>
                    <a:lnTo>
                      <a:pt x="1032" y="351"/>
                    </a:lnTo>
                    <a:lnTo>
                      <a:pt x="1028" y="351"/>
                    </a:lnTo>
                    <a:lnTo>
                      <a:pt x="1028" y="356"/>
                    </a:lnTo>
                    <a:lnTo>
                      <a:pt x="1023" y="360"/>
                    </a:lnTo>
                    <a:lnTo>
                      <a:pt x="1023" y="365"/>
                    </a:lnTo>
                    <a:lnTo>
                      <a:pt x="1018" y="370"/>
                    </a:lnTo>
                    <a:lnTo>
                      <a:pt x="1018" y="375"/>
                    </a:lnTo>
                    <a:lnTo>
                      <a:pt x="1013" y="380"/>
                    </a:lnTo>
                    <a:lnTo>
                      <a:pt x="1013" y="384"/>
                    </a:lnTo>
                    <a:lnTo>
                      <a:pt x="1008" y="389"/>
                    </a:lnTo>
                    <a:lnTo>
                      <a:pt x="1008" y="394"/>
                    </a:lnTo>
                    <a:lnTo>
                      <a:pt x="1004" y="399"/>
                    </a:lnTo>
                    <a:lnTo>
                      <a:pt x="1004" y="404"/>
                    </a:lnTo>
                    <a:lnTo>
                      <a:pt x="999" y="408"/>
                    </a:lnTo>
                    <a:lnTo>
                      <a:pt x="999" y="413"/>
                    </a:lnTo>
                    <a:lnTo>
                      <a:pt x="994" y="418"/>
                    </a:lnTo>
                    <a:lnTo>
                      <a:pt x="994" y="423"/>
                    </a:lnTo>
                    <a:lnTo>
                      <a:pt x="994" y="428"/>
                    </a:lnTo>
                    <a:lnTo>
                      <a:pt x="989" y="432"/>
                    </a:lnTo>
                    <a:lnTo>
                      <a:pt x="984" y="437"/>
                    </a:lnTo>
                    <a:lnTo>
                      <a:pt x="980" y="437"/>
                    </a:lnTo>
                    <a:lnTo>
                      <a:pt x="980" y="442"/>
                    </a:lnTo>
                    <a:lnTo>
                      <a:pt x="975" y="442"/>
                    </a:lnTo>
                    <a:lnTo>
                      <a:pt x="970" y="447"/>
                    </a:lnTo>
                    <a:lnTo>
                      <a:pt x="965" y="447"/>
                    </a:lnTo>
                    <a:lnTo>
                      <a:pt x="965" y="452"/>
                    </a:lnTo>
                    <a:lnTo>
                      <a:pt x="960" y="452"/>
                    </a:lnTo>
                    <a:lnTo>
                      <a:pt x="960" y="456"/>
                    </a:lnTo>
                    <a:lnTo>
                      <a:pt x="956" y="456"/>
                    </a:lnTo>
                    <a:lnTo>
                      <a:pt x="951" y="456"/>
                    </a:lnTo>
                    <a:lnTo>
                      <a:pt x="951" y="461"/>
                    </a:lnTo>
                    <a:lnTo>
                      <a:pt x="946" y="466"/>
                    </a:lnTo>
                    <a:lnTo>
                      <a:pt x="941" y="466"/>
                    </a:lnTo>
                    <a:lnTo>
                      <a:pt x="941" y="471"/>
                    </a:lnTo>
                    <a:lnTo>
                      <a:pt x="936" y="476"/>
                    </a:lnTo>
                    <a:lnTo>
                      <a:pt x="936" y="480"/>
                    </a:lnTo>
                    <a:lnTo>
                      <a:pt x="932" y="480"/>
                    </a:lnTo>
                    <a:lnTo>
                      <a:pt x="932" y="485"/>
                    </a:lnTo>
                    <a:lnTo>
                      <a:pt x="932" y="490"/>
                    </a:lnTo>
                    <a:lnTo>
                      <a:pt x="932" y="495"/>
                    </a:lnTo>
                    <a:lnTo>
                      <a:pt x="927" y="495"/>
                    </a:lnTo>
                    <a:lnTo>
                      <a:pt x="927" y="500"/>
                    </a:lnTo>
                    <a:lnTo>
                      <a:pt x="932" y="500"/>
                    </a:lnTo>
                    <a:lnTo>
                      <a:pt x="932" y="504"/>
                    </a:lnTo>
                    <a:lnTo>
                      <a:pt x="936" y="504"/>
                    </a:lnTo>
                    <a:lnTo>
                      <a:pt x="936" y="509"/>
                    </a:lnTo>
                    <a:lnTo>
                      <a:pt x="936" y="514"/>
                    </a:lnTo>
                    <a:lnTo>
                      <a:pt x="936" y="519"/>
                    </a:lnTo>
                    <a:lnTo>
                      <a:pt x="936" y="524"/>
                    </a:lnTo>
                    <a:lnTo>
                      <a:pt x="936" y="528"/>
                    </a:lnTo>
                    <a:lnTo>
                      <a:pt x="932" y="533"/>
                    </a:lnTo>
                    <a:lnTo>
                      <a:pt x="932" y="538"/>
                    </a:lnTo>
                    <a:lnTo>
                      <a:pt x="927" y="543"/>
                    </a:lnTo>
                    <a:lnTo>
                      <a:pt x="927" y="548"/>
                    </a:lnTo>
                    <a:lnTo>
                      <a:pt x="922" y="552"/>
                    </a:lnTo>
                    <a:lnTo>
                      <a:pt x="922" y="557"/>
                    </a:lnTo>
                    <a:lnTo>
                      <a:pt x="922" y="562"/>
                    </a:lnTo>
                    <a:lnTo>
                      <a:pt x="917" y="562"/>
                    </a:lnTo>
                    <a:lnTo>
                      <a:pt x="917" y="567"/>
                    </a:lnTo>
                    <a:lnTo>
                      <a:pt x="912" y="572"/>
                    </a:lnTo>
                    <a:lnTo>
                      <a:pt x="908" y="576"/>
                    </a:lnTo>
                    <a:lnTo>
                      <a:pt x="908" y="581"/>
                    </a:lnTo>
                    <a:lnTo>
                      <a:pt x="903" y="586"/>
                    </a:lnTo>
                    <a:lnTo>
                      <a:pt x="898" y="586"/>
                    </a:lnTo>
                    <a:lnTo>
                      <a:pt x="893" y="591"/>
                    </a:lnTo>
                    <a:lnTo>
                      <a:pt x="888" y="596"/>
                    </a:lnTo>
                    <a:lnTo>
                      <a:pt x="888" y="600"/>
                    </a:lnTo>
                    <a:lnTo>
                      <a:pt x="884" y="605"/>
                    </a:lnTo>
                    <a:lnTo>
                      <a:pt x="879" y="610"/>
                    </a:lnTo>
                    <a:lnTo>
                      <a:pt x="874" y="615"/>
                    </a:lnTo>
                    <a:lnTo>
                      <a:pt x="869" y="620"/>
                    </a:lnTo>
                    <a:lnTo>
                      <a:pt x="864" y="620"/>
                    </a:lnTo>
                    <a:lnTo>
                      <a:pt x="860" y="620"/>
                    </a:lnTo>
                    <a:lnTo>
                      <a:pt x="860" y="615"/>
                    </a:lnTo>
                    <a:lnTo>
                      <a:pt x="855" y="615"/>
                    </a:lnTo>
                    <a:lnTo>
                      <a:pt x="850" y="615"/>
                    </a:lnTo>
                    <a:lnTo>
                      <a:pt x="845" y="615"/>
                    </a:lnTo>
                    <a:lnTo>
                      <a:pt x="845" y="620"/>
                    </a:lnTo>
                    <a:lnTo>
                      <a:pt x="840" y="620"/>
                    </a:lnTo>
                    <a:lnTo>
                      <a:pt x="840" y="624"/>
                    </a:lnTo>
                    <a:lnTo>
                      <a:pt x="836" y="624"/>
                    </a:lnTo>
                    <a:lnTo>
                      <a:pt x="831" y="629"/>
                    </a:lnTo>
                    <a:lnTo>
                      <a:pt x="826" y="629"/>
                    </a:lnTo>
                    <a:lnTo>
                      <a:pt x="821" y="629"/>
                    </a:lnTo>
                    <a:lnTo>
                      <a:pt x="816" y="629"/>
                    </a:lnTo>
                    <a:lnTo>
                      <a:pt x="812" y="629"/>
                    </a:lnTo>
                    <a:lnTo>
                      <a:pt x="807" y="629"/>
                    </a:lnTo>
                    <a:lnTo>
                      <a:pt x="802" y="629"/>
                    </a:lnTo>
                    <a:lnTo>
                      <a:pt x="797" y="629"/>
                    </a:lnTo>
                    <a:lnTo>
                      <a:pt x="792" y="629"/>
                    </a:lnTo>
                    <a:lnTo>
                      <a:pt x="792" y="624"/>
                    </a:lnTo>
                    <a:lnTo>
                      <a:pt x="788" y="624"/>
                    </a:lnTo>
                    <a:lnTo>
                      <a:pt x="783" y="624"/>
                    </a:lnTo>
                    <a:lnTo>
                      <a:pt x="778" y="624"/>
                    </a:lnTo>
                    <a:lnTo>
                      <a:pt x="773" y="624"/>
                    </a:lnTo>
                    <a:lnTo>
                      <a:pt x="768" y="624"/>
                    </a:lnTo>
                    <a:lnTo>
                      <a:pt x="764" y="624"/>
                    </a:lnTo>
                    <a:lnTo>
                      <a:pt x="759" y="624"/>
                    </a:lnTo>
                    <a:lnTo>
                      <a:pt x="754" y="624"/>
                    </a:lnTo>
                    <a:lnTo>
                      <a:pt x="754" y="629"/>
                    </a:lnTo>
                    <a:lnTo>
                      <a:pt x="749" y="629"/>
                    </a:lnTo>
                    <a:lnTo>
                      <a:pt x="744" y="629"/>
                    </a:lnTo>
                    <a:lnTo>
                      <a:pt x="744" y="634"/>
                    </a:lnTo>
                    <a:lnTo>
                      <a:pt x="740" y="634"/>
                    </a:lnTo>
                    <a:lnTo>
                      <a:pt x="735" y="634"/>
                    </a:lnTo>
                    <a:lnTo>
                      <a:pt x="730" y="634"/>
                    </a:lnTo>
                    <a:lnTo>
                      <a:pt x="725" y="634"/>
                    </a:lnTo>
                    <a:lnTo>
                      <a:pt x="720" y="634"/>
                    </a:lnTo>
                    <a:lnTo>
                      <a:pt x="716" y="634"/>
                    </a:lnTo>
                    <a:lnTo>
                      <a:pt x="711" y="634"/>
                    </a:lnTo>
                    <a:lnTo>
                      <a:pt x="706" y="634"/>
                    </a:lnTo>
                    <a:lnTo>
                      <a:pt x="701" y="634"/>
                    </a:lnTo>
                    <a:lnTo>
                      <a:pt x="696" y="634"/>
                    </a:lnTo>
                    <a:lnTo>
                      <a:pt x="692" y="634"/>
                    </a:lnTo>
                    <a:lnTo>
                      <a:pt x="687" y="634"/>
                    </a:lnTo>
                    <a:lnTo>
                      <a:pt x="687" y="639"/>
                    </a:lnTo>
                    <a:lnTo>
                      <a:pt x="682" y="639"/>
                    </a:lnTo>
                    <a:lnTo>
                      <a:pt x="677" y="639"/>
                    </a:lnTo>
                    <a:lnTo>
                      <a:pt x="677" y="644"/>
                    </a:lnTo>
                    <a:lnTo>
                      <a:pt x="672" y="644"/>
                    </a:lnTo>
                    <a:lnTo>
                      <a:pt x="672" y="648"/>
                    </a:lnTo>
                    <a:lnTo>
                      <a:pt x="672" y="653"/>
                    </a:lnTo>
                    <a:lnTo>
                      <a:pt x="668" y="653"/>
                    </a:lnTo>
                    <a:lnTo>
                      <a:pt x="668" y="658"/>
                    </a:lnTo>
                    <a:lnTo>
                      <a:pt x="663" y="658"/>
                    </a:lnTo>
                    <a:lnTo>
                      <a:pt x="658" y="658"/>
                    </a:lnTo>
                    <a:lnTo>
                      <a:pt x="658" y="663"/>
                    </a:lnTo>
                    <a:lnTo>
                      <a:pt x="653" y="663"/>
                    </a:lnTo>
                    <a:lnTo>
                      <a:pt x="648" y="668"/>
                    </a:lnTo>
                    <a:lnTo>
                      <a:pt x="648" y="672"/>
                    </a:lnTo>
                    <a:lnTo>
                      <a:pt x="648" y="677"/>
                    </a:lnTo>
                    <a:lnTo>
                      <a:pt x="644" y="677"/>
                    </a:lnTo>
                    <a:lnTo>
                      <a:pt x="644" y="682"/>
                    </a:lnTo>
                    <a:lnTo>
                      <a:pt x="648" y="682"/>
                    </a:lnTo>
                    <a:lnTo>
                      <a:pt x="653" y="682"/>
                    </a:lnTo>
                    <a:lnTo>
                      <a:pt x="658" y="682"/>
                    </a:lnTo>
                    <a:lnTo>
                      <a:pt x="663" y="682"/>
                    </a:lnTo>
                    <a:lnTo>
                      <a:pt x="668" y="682"/>
                    </a:lnTo>
                    <a:lnTo>
                      <a:pt x="672" y="687"/>
                    </a:lnTo>
                    <a:lnTo>
                      <a:pt x="677" y="687"/>
                    </a:lnTo>
                    <a:lnTo>
                      <a:pt x="682" y="687"/>
                    </a:lnTo>
                    <a:lnTo>
                      <a:pt x="682" y="692"/>
                    </a:lnTo>
                    <a:lnTo>
                      <a:pt x="687" y="696"/>
                    </a:lnTo>
                    <a:lnTo>
                      <a:pt x="692" y="701"/>
                    </a:lnTo>
                    <a:lnTo>
                      <a:pt x="692" y="706"/>
                    </a:lnTo>
                    <a:lnTo>
                      <a:pt x="692" y="711"/>
                    </a:lnTo>
                    <a:lnTo>
                      <a:pt x="696" y="716"/>
                    </a:lnTo>
                    <a:lnTo>
                      <a:pt x="696" y="720"/>
                    </a:lnTo>
                    <a:lnTo>
                      <a:pt x="701" y="725"/>
                    </a:lnTo>
                    <a:lnTo>
                      <a:pt x="701" y="730"/>
                    </a:lnTo>
                    <a:lnTo>
                      <a:pt x="706" y="730"/>
                    </a:lnTo>
                    <a:lnTo>
                      <a:pt x="706" y="735"/>
                    </a:lnTo>
                    <a:lnTo>
                      <a:pt x="711" y="740"/>
                    </a:lnTo>
                    <a:lnTo>
                      <a:pt x="711" y="744"/>
                    </a:lnTo>
                    <a:lnTo>
                      <a:pt x="716" y="749"/>
                    </a:lnTo>
                    <a:lnTo>
                      <a:pt x="716" y="754"/>
                    </a:lnTo>
                    <a:lnTo>
                      <a:pt x="720" y="759"/>
                    </a:lnTo>
                    <a:lnTo>
                      <a:pt x="720" y="764"/>
                    </a:lnTo>
                    <a:lnTo>
                      <a:pt x="725" y="764"/>
                    </a:lnTo>
                    <a:lnTo>
                      <a:pt x="725" y="768"/>
                    </a:lnTo>
                    <a:lnTo>
                      <a:pt x="730" y="773"/>
                    </a:lnTo>
                    <a:lnTo>
                      <a:pt x="730" y="778"/>
                    </a:lnTo>
                    <a:lnTo>
                      <a:pt x="735" y="783"/>
                    </a:lnTo>
                    <a:lnTo>
                      <a:pt x="735" y="788"/>
                    </a:lnTo>
                    <a:lnTo>
                      <a:pt x="740" y="792"/>
                    </a:lnTo>
                    <a:lnTo>
                      <a:pt x="744" y="797"/>
                    </a:lnTo>
                    <a:lnTo>
                      <a:pt x="749" y="802"/>
                    </a:lnTo>
                    <a:lnTo>
                      <a:pt x="749" y="807"/>
                    </a:lnTo>
                    <a:lnTo>
                      <a:pt x="754" y="812"/>
                    </a:lnTo>
                    <a:lnTo>
                      <a:pt x="759" y="816"/>
                    </a:lnTo>
                    <a:lnTo>
                      <a:pt x="759" y="821"/>
                    </a:lnTo>
                    <a:lnTo>
                      <a:pt x="764" y="826"/>
                    </a:lnTo>
                    <a:lnTo>
                      <a:pt x="768" y="831"/>
                    </a:lnTo>
                    <a:lnTo>
                      <a:pt x="773" y="836"/>
                    </a:lnTo>
                    <a:lnTo>
                      <a:pt x="773" y="840"/>
                    </a:lnTo>
                    <a:lnTo>
                      <a:pt x="773" y="845"/>
                    </a:lnTo>
                    <a:lnTo>
                      <a:pt x="768" y="850"/>
                    </a:lnTo>
                    <a:lnTo>
                      <a:pt x="768" y="855"/>
                    </a:lnTo>
                    <a:lnTo>
                      <a:pt x="768" y="860"/>
                    </a:lnTo>
                    <a:lnTo>
                      <a:pt x="764" y="860"/>
                    </a:lnTo>
                    <a:lnTo>
                      <a:pt x="759" y="850"/>
                    </a:lnTo>
                    <a:lnTo>
                      <a:pt x="754" y="850"/>
                    </a:lnTo>
                    <a:lnTo>
                      <a:pt x="749" y="845"/>
                    </a:lnTo>
                    <a:lnTo>
                      <a:pt x="744" y="845"/>
                    </a:lnTo>
                    <a:lnTo>
                      <a:pt x="744" y="840"/>
                    </a:lnTo>
                    <a:lnTo>
                      <a:pt x="740" y="836"/>
                    </a:lnTo>
                    <a:lnTo>
                      <a:pt x="735" y="831"/>
                    </a:lnTo>
                    <a:lnTo>
                      <a:pt x="725" y="836"/>
                    </a:lnTo>
                    <a:lnTo>
                      <a:pt x="716" y="850"/>
                    </a:lnTo>
                    <a:lnTo>
                      <a:pt x="711" y="850"/>
                    </a:lnTo>
                    <a:lnTo>
                      <a:pt x="711" y="855"/>
                    </a:lnTo>
                    <a:lnTo>
                      <a:pt x="706" y="860"/>
                    </a:lnTo>
                    <a:lnTo>
                      <a:pt x="711" y="864"/>
                    </a:lnTo>
                    <a:lnTo>
                      <a:pt x="716" y="874"/>
                    </a:lnTo>
                    <a:lnTo>
                      <a:pt x="711" y="884"/>
                    </a:lnTo>
                    <a:lnTo>
                      <a:pt x="711" y="888"/>
                    </a:lnTo>
                    <a:lnTo>
                      <a:pt x="706" y="903"/>
                    </a:lnTo>
                    <a:lnTo>
                      <a:pt x="701" y="903"/>
                    </a:lnTo>
                    <a:lnTo>
                      <a:pt x="696" y="903"/>
                    </a:lnTo>
                    <a:lnTo>
                      <a:pt x="696" y="898"/>
                    </a:lnTo>
                    <a:lnTo>
                      <a:pt x="692" y="893"/>
                    </a:lnTo>
                    <a:lnTo>
                      <a:pt x="687" y="893"/>
                    </a:lnTo>
                    <a:lnTo>
                      <a:pt x="682" y="884"/>
                    </a:lnTo>
                    <a:lnTo>
                      <a:pt x="677" y="884"/>
                    </a:lnTo>
                    <a:lnTo>
                      <a:pt x="672" y="879"/>
                    </a:lnTo>
                    <a:lnTo>
                      <a:pt x="668" y="879"/>
                    </a:lnTo>
                    <a:lnTo>
                      <a:pt x="663" y="879"/>
                    </a:lnTo>
                    <a:lnTo>
                      <a:pt x="663" y="874"/>
                    </a:lnTo>
                    <a:lnTo>
                      <a:pt x="663" y="869"/>
                    </a:lnTo>
                    <a:lnTo>
                      <a:pt x="658" y="869"/>
                    </a:lnTo>
                    <a:lnTo>
                      <a:pt x="653" y="864"/>
                    </a:lnTo>
                    <a:lnTo>
                      <a:pt x="648" y="860"/>
                    </a:lnTo>
                    <a:lnTo>
                      <a:pt x="644" y="864"/>
                    </a:lnTo>
                    <a:lnTo>
                      <a:pt x="639" y="864"/>
                    </a:lnTo>
                    <a:lnTo>
                      <a:pt x="634" y="864"/>
                    </a:lnTo>
                    <a:lnTo>
                      <a:pt x="634" y="869"/>
                    </a:lnTo>
                    <a:lnTo>
                      <a:pt x="629" y="874"/>
                    </a:lnTo>
                    <a:lnTo>
                      <a:pt x="624" y="869"/>
                    </a:lnTo>
                    <a:lnTo>
                      <a:pt x="620" y="869"/>
                    </a:lnTo>
                    <a:lnTo>
                      <a:pt x="615" y="869"/>
                    </a:lnTo>
                    <a:lnTo>
                      <a:pt x="610" y="869"/>
                    </a:lnTo>
                    <a:lnTo>
                      <a:pt x="605" y="869"/>
                    </a:lnTo>
                    <a:lnTo>
                      <a:pt x="600" y="864"/>
                    </a:lnTo>
                    <a:lnTo>
                      <a:pt x="596" y="864"/>
                    </a:lnTo>
                    <a:lnTo>
                      <a:pt x="596" y="860"/>
                    </a:lnTo>
                    <a:lnTo>
                      <a:pt x="591" y="860"/>
                    </a:lnTo>
                    <a:lnTo>
                      <a:pt x="586" y="864"/>
                    </a:lnTo>
                    <a:lnTo>
                      <a:pt x="581" y="864"/>
                    </a:lnTo>
                    <a:lnTo>
                      <a:pt x="576" y="874"/>
                    </a:lnTo>
                    <a:lnTo>
                      <a:pt x="572" y="874"/>
                    </a:lnTo>
                    <a:lnTo>
                      <a:pt x="567" y="874"/>
                    </a:lnTo>
                    <a:lnTo>
                      <a:pt x="562" y="874"/>
                    </a:lnTo>
                    <a:lnTo>
                      <a:pt x="557" y="874"/>
                    </a:lnTo>
                    <a:lnTo>
                      <a:pt x="552" y="874"/>
                    </a:lnTo>
                    <a:lnTo>
                      <a:pt x="548" y="874"/>
                    </a:lnTo>
                    <a:lnTo>
                      <a:pt x="543" y="869"/>
                    </a:lnTo>
                    <a:lnTo>
                      <a:pt x="538" y="864"/>
                    </a:lnTo>
                    <a:lnTo>
                      <a:pt x="538" y="860"/>
                    </a:lnTo>
                    <a:lnTo>
                      <a:pt x="533" y="855"/>
                    </a:lnTo>
                    <a:lnTo>
                      <a:pt x="533" y="850"/>
                    </a:lnTo>
                    <a:lnTo>
                      <a:pt x="528" y="850"/>
                    </a:lnTo>
                    <a:lnTo>
                      <a:pt x="528" y="845"/>
                    </a:lnTo>
                    <a:lnTo>
                      <a:pt x="524" y="845"/>
                    </a:lnTo>
                    <a:lnTo>
                      <a:pt x="519" y="840"/>
                    </a:lnTo>
                    <a:lnTo>
                      <a:pt x="514" y="836"/>
                    </a:lnTo>
                    <a:lnTo>
                      <a:pt x="509" y="831"/>
                    </a:lnTo>
                    <a:lnTo>
                      <a:pt x="504" y="831"/>
                    </a:lnTo>
                    <a:lnTo>
                      <a:pt x="500" y="831"/>
                    </a:lnTo>
                    <a:lnTo>
                      <a:pt x="495" y="831"/>
                    </a:lnTo>
                    <a:lnTo>
                      <a:pt x="495" y="836"/>
                    </a:lnTo>
                    <a:lnTo>
                      <a:pt x="490" y="836"/>
                    </a:lnTo>
                    <a:lnTo>
                      <a:pt x="485" y="831"/>
                    </a:lnTo>
                    <a:lnTo>
                      <a:pt x="480" y="831"/>
                    </a:lnTo>
                    <a:lnTo>
                      <a:pt x="476" y="836"/>
                    </a:lnTo>
                    <a:lnTo>
                      <a:pt x="471" y="840"/>
                    </a:lnTo>
                    <a:lnTo>
                      <a:pt x="466" y="836"/>
                    </a:lnTo>
                    <a:lnTo>
                      <a:pt x="461" y="836"/>
                    </a:lnTo>
                    <a:lnTo>
                      <a:pt x="456" y="836"/>
                    </a:lnTo>
                    <a:lnTo>
                      <a:pt x="452" y="836"/>
                    </a:lnTo>
                    <a:lnTo>
                      <a:pt x="452" y="831"/>
                    </a:lnTo>
                    <a:lnTo>
                      <a:pt x="447" y="831"/>
                    </a:lnTo>
                    <a:lnTo>
                      <a:pt x="442" y="831"/>
                    </a:lnTo>
                    <a:lnTo>
                      <a:pt x="442" y="826"/>
                    </a:lnTo>
                    <a:lnTo>
                      <a:pt x="437" y="826"/>
                    </a:lnTo>
                    <a:lnTo>
                      <a:pt x="437" y="821"/>
                    </a:lnTo>
                    <a:lnTo>
                      <a:pt x="432" y="821"/>
                    </a:lnTo>
                    <a:lnTo>
                      <a:pt x="428" y="821"/>
                    </a:lnTo>
                    <a:lnTo>
                      <a:pt x="428" y="816"/>
                    </a:lnTo>
                    <a:lnTo>
                      <a:pt x="423" y="816"/>
                    </a:lnTo>
                    <a:lnTo>
                      <a:pt x="418" y="812"/>
                    </a:lnTo>
                    <a:lnTo>
                      <a:pt x="413" y="807"/>
                    </a:lnTo>
                    <a:lnTo>
                      <a:pt x="408" y="802"/>
                    </a:lnTo>
                    <a:lnTo>
                      <a:pt x="408" y="797"/>
                    </a:lnTo>
                    <a:lnTo>
                      <a:pt x="404" y="792"/>
                    </a:lnTo>
                    <a:lnTo>
                      <a:pt x="399" y="792"/>
                    </a:lnTo>
                    <a:lnTo>
                      <a:pt x="394" y="802"/>
                    </a:lnTo>
                    <a:lnTo>
                      <a:pt x="389" y="802"/>
                    </a:lnTo>
                    <a:lnTo>
                      <a:pt x="380" y="802"/>
                    </a:lnTo>
                    <a:lnTo>
                      <a:pt x="375" y="797"/>
                    </a:lnTo>
                    <a:lnTo>
                      <a:pt x="370" y="802"/>
                    </a:lnTo>
                    <a:lnTo>
                      <a:pt x="370" y="797"/>
                    </a:lnTo>
                    <a:lnTo>
                      <a:pt x="370" y="792"/>
                    </a:lnTo>
                    <a:lnTo>
                      <a:pt x="365" y="792"/>
                    </a:lnTo>
                    <a:lnTo>
                      <a:pt x="360" y="797"/>
                    </a:lnTo>
                    <a:lnTo>
                      <a:pt x="360" y="792"/>
                    </a:lnTo>
                    <a:lnTo>
                      <a:pt x="356" y="792"/>
                    </a:lnTo>
                    <a:lnTo>
                      <a:pt x="346" y="788"/>
                    </a:lnTo>
                    <a:lnTo>
                      <a:pt x="341" y="783"/>
                    </a:lnTo>
                    <a:lnTo>
                      <a:pt x="341" y="778"/>
                    </a:lnTo>
                    <a:lnTo>
                      <a:pt x="336" y="778"/>
                    </a:lnTo>
                    <a:lnTo>
                      <a:pt x="332" y="778"/>
                    </a:lnTo>
                    <a:lnTo>
                      <a:pt x="327" y="778"/>
                    </a:lnTo>
                    <a:lnTo>
                      <a:pt x="327" y="773"/>
                    </a:lnTo>
                    <a:lnTo>
                      <a:pt x="327" y="768"/>
                    </a:lnTo>
                    <a:lnTo>
                      <a:pt x="322" y="768"/>
                    </a:lnTo>
                    <a:lnTo>
                      <a:pt x="322" y="764"/>
                    </a:lnTo>
                    <a:lnTo>
                      <a:pt x="317" y="764"/>
                    </a:lnTo>
                    <a:lnTo>
                      <a:pt x="312" y="764"/>
                    </a:lnTo>
                    <a:lnTo>
                      <a:pt x="308" y="764"/>
                    </a:lnTo>
                    <a:lnTo>
                      <a:pt x="293" y="764"/>
                    </a:lnTo>
                    <a:lnTo>
                      <a:pt x="288" y="764"/>
                    </a:lnTo>
                    <a:lnTo>
                      <a:pt x="279" y="759"/>
                    </a:lnTo>
                    <a:lnTo>
                      <a:pt x="274" y="754"/>
                    </a:lnTo>
                    <a:lnTo>
                      <a:pt x="269" y="754"/>
                    </a:lnTo>
                    <a:lnTo>
                      <a:pt x="264" y="754"/>
                    </a:lnTo>
                    <a:lnTo>
                      <a:pt x="260" y="754"/>
                    </a:lnTo>
                    <a:lnTo>
                      <a:pt x="255" y="759"/>
                    </a:lnTo>
                    <a:lnTo>
                      <a:pt x="255" y="754"/>
                    </a:lnTo>
                    <a:lnTo>
                      <a:pt x="240" y="735"/>
                    </a:lnTo>
                    <a:lnTo>
                      <a:pt x="240" y="730"/>
                    </a:lnTo>
                    <a:lnTo>
                      <a:pt x="240" y="725"/>
                    </a:lnTo>
                    <a:lnTo>
                      <a:pt x="236" y="720"/>
                    </a:lnTo>
                    <a:lnTo>
                      <a:pt x="231" y="716"/>
                    </a:lnTo>
                    <a:lnTo>
                      <a:pt x="226" y="716"/>
                    </a:lnTo>
                    <a:lnTo>
                      <a:pt x="221" y="711"/>
                    </a:lnTo>
                    <a:lnTo>
                      <a:pt x="216" y="716"/>
                    </a:lnTo>
                    <a:lnTo>
                      <a:pt x="212" y="716"/>
                    </a:lnTo>
                    <a:lnTo>
                      <a:pt x="207" y="716"/>
                    </a:lnTo>
                    <a:lnTo>
                      <a:pt x="202" y="716"/>
                    </a:lnTo>
                    <a:lnTo>
                      <a:pt x="197" y="716"/>
                    </a:lnTo>
                    <a:lnTo>
                      <a:pt x="188" y="716"/>
                    </a:lnTo>
                    <a:lnTo>
                      <a:pt x="183" y="716"/>
                    </a:lnTo>
                    <a:lnTo>
                      <a:pt x="168" y="716"/>
                    </a:lnTo>
                    <a:lnTo>
                      <a:pt x="164" y="716"/>
                    </a:lnTo>
                    <a:lnTo>
                      <a:pt x="159" y="716"/>
                    </a:lnTo>
                    <a:lnTo>
                      <a:pt x="154" y="711"/>
                    </a:lnTo>
                    <a:lnTo>
                      <a:pt x="149" y="706"/>
                    </a:lnTo>
                    <a:lnTo>
                      <a:pt x="140" y="701"/>
                    </a:lnTo>
                    <a:lnTo>
                      <a:pt x="135" y="701"/>
                    </a:lnTo>
                    <a:lnTo>
                      <a:pt x="135" y="696"/>
                    </a:lnTo>
                    <a:lnTo>
                      <a:pt x="130" y="696"/>
                    </a:lnTo>
                    <a:lnTo>
                      <a:pt x="125" y="696"/>
                    </a:lnTo>
                    <a:lnTo>
                      <a:pt x="120" y="696"/>
                    </a:lnTo>
                    <a:lnTo>
                      <a:pt x="116" y="692"/>
                    </a:lnTo>
                    <a:lnTo>
                      <a:pt x="111" y="692"/>
                    </a:lnTo>
                    <a:lnTo>
                      <a:pt x="101" y="692"/>
                    </a:lnTo>
                    <a:lnTo>
                      <a:pt x="111" y="672"/>
                    </a:lnTo>
                    <a:lnTo>
                      <a:pt x="125" y="648"/>
                    </a:lnTo>
                    <a:lnTo>
                      <a:pt x="130" y="620"/>
                    </a:lnTo>
                    <a:lnTo>
                      <a:pt x="135" y="605"/>
                    </a:lnTo>
                    <a:lnTo>
                      <a:pt x="140" y="581"/>
                    </a:lnTo>
                    <a:lnTo>
                      <a:pt x="154" y="572"/>
                    </a:lnTo>
                    <a:lnTo>
                      <a:pt x="183" y="557"/>
                    </a:lnTo>
                    <a:lnTo>
                      <a:pt x="183" y="538"/>
                    </a:lnTo>
                    <a:lnTo>
                      <a:pt x="183" y="509"/>
                    </a:lnTo>
                    <a:lnTo>
                      <a:pt x="188" y="504"/>
                    </a:lnTo>
                    <a:lnTo>
                      <a:pt x="183" y="480"/>
                    </a:lnTo>
                    <a:lnTo>
                      <a:pt x="183" y="461"/>
                    </a:lnTo>
                    <a:lnTo>
                      <a:pt x="202" y="452"/>
                    </a:lnTo>
                    <a:lnTo>
                      <a:pt x="216" y="452"/>
                    </a:lnTo>
                    <a:lnTo>
                      <a:pt x="231" y="447"/>
                    </a:lnTo>
                    <a:lnTo>
                      <a:pt x="236" y="437"/>
                    </a:lnTo>
                    <a:lnTo>
                      <a:pt x="255" y="408"/>
                    </a:lnTo>
                    <a:lnTo>
                      <a:pt x="245" y="408"/>
                    </a:lnTo>
                    <a:lnTo>
                      <a:pt x="240" y="408"/>
                    </a:lnTo>
                    <a:lnTo>
                      <a:pt x="236" y="408"/>
                    </a:lnTo>
                    <a:lnTo>
                      <a:pt x="231" y="413"/>
                    </a:lnTo>
                    <a:lnTo>
                      <a:pt x="226" y="413"/>
                    </a:lnTo>
                    <a:lnTo>
                      <a:pt x="226" y="404"/>
                    </a:lnTo>
                    <a:lnTo>
                      <a:pt x="212" y="394"/>
                    </a:lnTo>
                    <a:lnTo>
                      <a:pt x="207" y="389"/>
                    </a:lnTo>
                    <a:lnTo>
                      <a:pt x="202" y="384"/>
                    </a:lnTo>
                    <a:lnTo>
                      <a:pt x="202" y="380"/>
                    </a:lnTo>
                    <a:lnTo>
                      <a:pt x="192" y="380"/>
                    </a:lnTo>
                    <a:lnTo>
                      <a:pt x="188" y="375"/>
                    </a:lnTo>
                    <a:lnTo>
                      <a:pt x="183" y="375"/>
                    </a:lnTo>
                    <a:lnTo>
                      <a:pt x="168" y="365"/>
                    </a:lnTo>
                    <a:lnTo>
                      <a:pt x="168" y="360"/>
                    </a:lnTo>
                    <a:lnTo>
                      <a:pt x="159" y="360"/>
                    </a:lnTo>
                    <a:lnTo>
                      <a:pt x="144" y="351"/>
                    </a:lnTo>
                    <a:lnTo>
                      <a:pt x="130" y="336"/>
                    </a:lnTo>
                    <a:lnTo>
                      <a:pt x="125" y="336"/>
                    </a:lnTo>
                    <a:lnTo>
                      <a:pt x="106" y="341"/>
                    </a:lnTo>
                    <a:lnTo>
                      <a:pt x="92" y="341"/>
                    </a:lnTo>
                    <a:lnTo>
                      <a:pt x="82" y="351"/>
                    </a:lnTo>
                    <a:lnTo>
                      <a:pt x="68" y="356"/>
                    </a:lnTo>
                    <a:lnTo>
                      <a:pt x="63" y="356"/>
                    </a:lnTo>
                    <a:lnTo>
                      <a:pt x="58" y="351"/>
                    </a:lnTo>
                    <a:lnTo>
                      <a:pt x="48" y="336"/>
                    </a:lnTo>
                    <a:lnTo>
                      <a:pt x="39" y="312"/>
                    </a:lnTo>
                    <a:lnTo>
                      <a:pt x="34" y="308"/>
                    </a:lnTo>
                    <a:lnTo>
                      <a:pt x="24" y="293"/>
                    </a:lnTo>
                    <a:lnTo>
                      <a:pt x="5" y="264"/>
                    </a:lnTo>
                    <a:lnTo>
                      <a:pt x="0" y="255"/>
                    </a:lnTo>
                    <a:lnTo>
                      <a:pt x="5" y="255"/>
                    </a:lnTo>
                    <a:lnTo>
                      <a:pt x="5" y="260"/>
                    </a:lnTo>
                    <a:lnTo>
                      <a:pt x="10" y="264"/>
                    </a:lnTo>
                    <a:lnTo>
                      <a:pt x="10" y="269"/>
                    </a:lnTo>
                    <a:lnTo>
                      <a:pt x="15" y="269"/>
                    </a:lnTo>
                    <a:lnTo>
                      <a:pt x="20" y="269"/>
                    </a:lnTo>
                    <a:lnTo>
                      <a:pt x="24" y="269"/>
                    </a:lnTo>
                    <a:lnTo>
                      <a:pt x="29" y="269"/>
                    </a:lnTo>
                    <a:lnTo>
                      <a:pt x="34" y="269"/>
                    </a:lnTo>
                    <a:lnTo>
                      <a:pt x="39" y="269"/>
                    </a:lnTo>
                    <a:lnTo>
                      <a:pt x="44" y="269"/>
                    </a:lnTo>
                    <a:lnTo>
                      <a:pt x="48" y="269"/>
                    </a:lnTo>
                    <a:lnTo>
                      <a:pt x="53" y="269"/>
                    </a:lnTo>
                    <a:lnTo>
                      <a:pt x="58" y="269"/>
                    </a:lnTo>
                    <a:lnTo>
                      <a:pt x="63" y="269"/>
                    </a:lnTo>
                    <a:lnTo>
                      <a:pt x="68" y="269"/>
                    </a:lnTo>
                    <a:lnTo>
                      <a:pt x="72" y="269"/>
                    </a:lnTo>
                    <a:lnTo>
                      <a:pt x="77" y="264"/>
                    </a:lnTo>
                    <a:lnTo>
                      <a:pt x="82" y="260"/>
                    </a:lnTo>
                    <a:lnTo>
                      <a:pt x="87" y="255"/>
                    </a:lnTo>
                    <a:lnTo>
                      <a:pt x="87" y="250"/>
                    </a:lnTo>
                    <a:lnTo>
                      <a:pt x="92" y="245"/>
                    </a:lnTo>
                    <a:lnTo>
                      <a:pt x="92" y="240"/>
                    </a:lnTo>
                    <a:lnTo>
                      <a:pt x="92" y="236"/>
                    </a:lnTo>
                    <a:lnTo>
                      <a:pt x="96" y="231"/>
                    </a:lnTo>
                    <a:lnTo>
                      <a:pt x="96" y="226"/>
                    </a:lnTo>
                    <a:lnTo>
                      <a:pt x="101" y="221"/>
                    </a:lnTo>
                    <a:lnTo>
                      <a:pt x="101" y="216"/>
                    </a:lnTo>
                    <a:lnTo>
                      <a:pt x="106" y="216"/>
                    </a:lnTo>
                    <a:lnTo>
                      <a:pt x="106" y="212"/>
                    </a:lnTo>
                    <a:lnTo>
                      <a:pt x="111" y="207"/>
                    </a:lnTo>
                    <a:lnTo>
                      <a:pt x="111" y="202"/>
                    </a:lnTo>
                    <a:lnTo>
                      <a:pt x="116" y="197"/>
                    </a:lnTo>
                    <a:lnTo>
                      <a:pt x="116" y="192"/>
                    </a:lnTo>
                    <a:lnTo>
                      <a:pt x="116" y="188"/>
                    </a:lnTo>
                    <a:lnTo>
                      <a:pt x="120" y="183"/>
                    </a:lnTo>
                    <a:lnTo>
                      <a:pt x="125" y="183"/>
                    </a:lnTo>
                    <a:lnTo>
                      <a:pt x="130" y="183"/>
                    </a:lnTo>
                    <a:lnTo>
                      <a:pt x="135" y="183"/>
                    </a:lnTo>
                    <a:lnTo>
                      <a:pt x="140" y="183"/>
                    </a:lnTo>
                    <a:lnTo>
                      <a:pt x="144" y="183"/>
                    </a:lnTo>
                    <a:lnTo>
                      <a:pt x="149" y="178"/>
                    </a:lnTo>
                    <a:lnTo>
                      <a:pt x="149" y="173"/>
                    </a:lnTo>
                    <a:lnTo>
                      <a:pt x="154" y="173"/>
                    </a:lnTo>
                    <a:lnTo>
                      <a:pt x="154" y="168"/>
                    </a:lnTo>
                    <a:lnTo>
                      <a:pt x="154" y="164"/>
                    </a:lnTo>
                    <a:lnTo>
                      <a:pt x="159" y="159"/>
                    </a:lnTo>
                    <a:lnTo>
                      <a:pt x="159" y="154"/>
                    </a:lnTo>
                    <a:lnTo>
                      <a:pt x="159" y="149"/>
                    </a:lnTo>
                    <a:lnTo>
                      <a:pt x="159" y="144"/>
                    </a:lnTo>
                    <a:lnTo>
                      <a:pt x="164" y="144"/>
                    </a:lnTo>
                    <a:lnTo>
                      <a:pt x="164" y="140"/>
                    </a:lnTo>
                    <a:lnTo>
                      <a:pt x="164" y="135"/>
                    </a:lnTo>
                    <a:lnTo>
                      <a:pt x="168" y="130"/>
                    </a:lnTo>
                    <a:lnTo>
                      <a:pt x="168" y="125"/>
                    </a:lnTo>
                    <a:lnTo>
                      <a:pt x="168" y="120"/>
                    </a:lnTo>
                    <a:lnTo>
                      <a:pt x="168" y="116"/>
                    </a:lnTo>
                    <a:lnTo>
                      <a:pt x="164" y="111"/>
                    </a:lnTo>
                    <a:lnTo>
                      <a:pt x="164" y="106"/>
                    </a:lnTo>
                    <a:lnTo>
                      <a:pt x="173" y="101"/>
                    </a:lnTo>
                    <a:lnTo>
                      <a:pt x="178" y="101"/>
                    </a:lnTo>
                    <a:lnTo>
                      <a:pt x="183" y="101"/>
                    </a:lnTo>
                    <a:lnTo>
                      <a:pt x="183" y="96"/>
                    </a:lnTo>
                    <a:lnTo>
                      <a:pt x="188" y="96"/>
                    </a:lnTo>
                    <a:lnTo>
                      <a:pt x="188" y="92"/>
                    </a:lnTo>
                    <a:lnTo>
                      <a:pt x="192" y="92"/>
                    </a:lnTo>
                    <a:lnTo>
                      <a:pt x="197" y="92"/>
                    </a:lnTo>
                    <a:lnTo>
                      <a:pt x="202" y="92"/>
                    </a:lnTo>
                    <a:lnTo>
                      <a:pt x="207" y="92"/>
                    </a:lnTo>
                    <a:lnTo>
                      <a:pt x="207" y="87"/>
                    </a:lnTo>
                    <a:lnTo>
                      <a:pt x="212" y="87"/>
                    </a:lnTo>
                    <a:lnTo>
                      <a:pt x="216" y="87"/>
                    </a:lnTo>
                    <a:lnTo>
                      <a:pt x="216" y="82"/>
                    </a:lnTo>
                    <a:lnTo>
                      <a:pt x="221" y="82"/>
                    </a:lnTo>
                    <a:lnTo>
                      <a:pt x="226" y="82"/>
                    </a:lnTo>
                    <a:lnTo>
                      <a:pt x="226" y="77"/>
                    </a:lnTo>
                    <a:lnTo>
                      <a:pt x="231" y="77"/>
                    </a:lnTo>
                    <a:lnTo>
                      <a:pt x="231" y="82"/>
                    </a:lnTo>
                    <a:lnTo>
                      <a:pt x="236" y="82"/>
                    </a:lnTo>
                    <a:lnTo>
                      <a:pt x="240" y="82"/>
                    </a:lnTo>
                    <a:lnTo>
                      <a:pt x="240" y="77"/>
                    </a:lnTo>
                    <a:lnTo>
                      <a:pt x="245" y="77"/>
                    </a:lnTo>
                    <a:lnTo>
                      <a:pt x="245" y="72"/>
                    </a:lnTo>
                    <a:lnTo>
                      <a:pt x="250" y="72"/>
                    </a:lnTo>
                    <a:lnTo>
                      <a:pt x="255" y="72"/>
                    </a:lnTo>
                    <a:lnTo>
                      <a:pt x="255" y="68"/>
                    </a:lnTo>
                    <a:lnTo>
                      <a:pt x="260" y="68"/>
                    </a:lnTo>
                    <a:lnTo>
                      <a:pt x="264" y="68"/>
                    </a:lnTo>
                    <a:lnTo>
                      <a:pt x="264" y="63"/>
                    </a:lnTo>
                    <a:lnTo>
                      <a:pt x="269" y="63"/>
                    </a:lnTo>
                    <a:lnTo>
                      <a:pt x="269" y="58"/>
                    </a:lnTo>
                    <a:lnTo>
                      <a:pt x="269" y="53"/>
                    </a:lnTo>
                    <a:lnTo>
                      <a:pt x="269" y="48"/>
                    </a:lnTo>
                    <a:lnTo>
                      <a:pt x="269" y="44"/>
                    </a:lnTo>
                    <a:lnTo>
                      <a:pt x="269" y="39"/>
                    </a:lnTo>
                    <a:lnTo>
                      <a:pt x="274" y="39"/>
                    </a:lnTo>
                    <a:lnTo>
                      <a:pt x="279" y="39"/>
                    </a:lnTo>
                    <a:lnTo>
                      <a:pt x="284" y="39"/>
                    </a:lnTo>
                    <a:lnTo>
                      <a:pt x="288" y="39"/>
                    </a:lnTo>
                    <a:lnTo>
                      <a:pt x="293" y="39"/>
                    </a:lnTo>
                    <a:lnTo>
                      <a:pt x="298" y="39"/>
                    </a:lnTo>
                    <a:lnTo>
                      <a:pt x="303" y="39"/>
                    </a:lnTo>
                    <a:lnTo>
                      <a:pt x="308" y="39"/>
                    </a:lnTo>
                    <a:lnTo>
                      <a:pt x="312" y="39"/>
                    </a:lnTo>
                    <a:close/>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56" name="Freeform 23"/>
              <p:cNvSpPr>
                <a:spLocks/>
              </p:cNvSpPr>
              <p:nvPr/>
            </p:nvSpPr>
            <p:spPr bwMode="gray">
              <a:xfrm>
                <a:off x="1649413" y="1560513"/>
                <a:ext cx="1104900" cy="2041525"/>
              </a:xfrm>
              <a:custGeom>
                <a:avLst/>
                <a:gdLst>
                  <a:gd name="T0" fmla="*/ 513 w 696"/>
                  <a:gd name="T1" fmla="*/ 14 h 1286"/>
                  <a:gd name="T2" fmla="*/ 547 w 696"/>
                  <a:gd name="T3" fmla="*/ 9 h 1286"/>
                  <a:gd name="T4" fmla="*/ 571 w 696"/>
                  <a:gd name="T5" fmla="*/ 48 h 1286"/>
                  <a:gd name="T6" fmla="*/ 566 w 696"/>
                  <a:gd name="T7" fmla="*/ 81 h 1286"/>
                  <a:gd name="T8" fmla="*/ 590 w 696"/>
                  <a:gd name="T9" fmla="*/ 105 h 1286"/>
                  <a:gd name="T10" fmla="*/ 595 w 696"/>
                  <a:gd name="T11" fmla="*/ 158 h 1286"/>
                  <a:gd name="T12" fmla="*/ 590 w 696"/>
                  <a:gd name="T13" fmla="*/ 196 h 1286"/>
                  <a:gd name="T14" fmla="*/ 600 w 696"/>
                  <a:gd name="T15" fmla="*/ 230 h 1286"/>
                  <a:gd name="T16" fmla="*/ 614 w 696"/>
                  <a:gd name="T17" fmla="*/ 268 h 1286"/>
                  <a:gd name="T18" fmla="*/ 633 w 696"/>
                  <a:gd name="T19" fmla="*/ 302 h 1286"/>
                  <a:gd name="T20" fmla="*/ 643 w 696"/>
                  <a:gd name="T21" fmla="*/ 345 h 1286"/>
                  <a:gd name="T22" fmla="*/ 653 w 696"/>
                  <a:gd name="T23" fmla="*/ 388 h 1286"/>
                  <a:gd name="T24" fmla="*/ 657 w 696"/>
                  <a:gd name="T25" fmla="*/ 436 h 1286"/>
                  <a:gd name="T26" fmla="*/ 672 w 696"/>
                  <a:gd name="T27" fmla="*/ 480 h 1286"/>
                  <a:gd name="T28" fmla="*/ 696 w 696"/>
                  <a:gd name="T29" fmla="*/ 508 h 1286"/>
                  <a:gd name="T30" fmla="*/ 691 w 696"/>
                  <a:gd name="T31" fmla="*/ 552 h 1286"/>
                  <a:gd name="T32" fmla="*/ 686 w 696"/>
                  <a:gd name="T33" fmla="*/ 595 h 1286"/>
                  <a:gd name="T34" fmla="*/ 662 w 696"/>
                  <a:gd name="T35" fmla="*/ 624 h 1286"/>
                  <a:gd name="T36" fmla="*/ 643 w 696"/>
                  <a:gd name="T37" fmla="*/ 657 h 1286"/>
                  <a:gd name="T38" fmla="*/ 614 w 696"/>
                  <a:gd name="T39" fmla="*/ 681 h 1286"/>
                  <a:gd name="T40" fmla="*/ 600 w 696"/>
                  <a:gd name="T41" fmla="*/ 705 h 1286"/>
                  <a:gd name="T42" fmla="*/ 590 w 696"/>
                  <a:gd name="T43" fmla="*/ 758 h 1286"/>
                  <a:gd name="T44" fmla="*/ 605 w 696"/>
                  <a:gd name="T45" fmla="*/ 811 h 1286"/>
                  <a:gd name="T46" fmla="*/ 600 w 696"/>
                  <a:gd name="T47" fmla="*/ 845 h 1286"/>
                  <a:gd name="T48" fmla="*/ 552 w 696"/>
                  <a:gd name="T49" fmla="*/ 864 h 1286"/>
                  <a:gd name="T50" fmla="*/ 499 w 696"/>
                  <a:gd name="T51" fmla="*/ 830 h 1286"/>
                  <a:gd name="T52" fmla="*/ 446 w 696"/>
                  <a:gd name="T53" fmla="*/ 801 h 1286"/>
                  <a:gd name="T54" fmla="*/ 393 w 696"/>
                  <a:gd name="T55" fmla="*/ 773 h 1286"/>
                  <a:gd name="T56" fmla="*/ 350 w 696"/>
                  <a:gd name="T57" fmla="*/ 749 h 1286"/>
                  <a:gd name="T58" fmla="*/ 307 w 696"/>
                  <a:gd name="T59" fmla="*/ 782 h 1286"/>
                  <a:gd name="T60" fmla="*/ 254 w 696"/>
                  <a:gd name="T61" fmla="*/ 797 h 1286"/>
                  <a:gd name="T62" fmla="*/ 201 w 696"/>
                  <a:gd name="T63" fmla="*/ 816 h 1286"/>
                  <a:gd name="T64" fmla="*/ 245 w 696"/>
                  <a:gd name="T65" fmla="*/ 854 h 1286"/>
                  <a:gd name="T66" fmla="*/ 254 w 696"/>
                  <a:gd name="T67" fmla="*/ 907 h 1286"/>
                  <a:gd name="T68" fmla="*/ 269 w 696"/>
                  <a:gd name="T69" fmla="*/ 955 h 1286"/>
                  <a:gd name="T70" fmla="*/ 283 w 696"/>
                  <a:gd name="T71" fmla="*/ 1008 h 1286"/>
                  <a:gd name="T72" fmla="*/ 307 w 696"/>
                  <a:gd name="T73" fmla="*/ 1061 h 1286"/>
                  <a:gd name="T74" fmla="*/ 345 w 696"/>
                  <a:gd name="T75" fmla="*/ 1080 h 1286"/>
                  <a:gd name="T76" fmla="*/ 350 w 696"/>
                  <a:gd name="T77" fmla="*/ 1118 h 1286"/>
                  <a:gd name="T78" fmla="*/ 307 w 696"/>
                  <a:gd name="T79" fmla="*/ 1171 h 1286"/>
                  <a:gd name="T80" fmla="*/ 293 w 696"/>
                  <a:gd name="T81" fmla="*/ 1224 h 1286"/>
                  <a:gd name="T82" fmla="*/ 249 w 696"/>
                  <a:gd name="T83" fmla="*/ 1277 h 1286"/>
                  <a:gd name="T84" fmla="*/ 149 w 696"/>
                  <a:gd name="T85" fmla="*/ 1209 h 1286"/>
                  <a:gd name="T86" fmla="*/ 91 w 696"/>
                  <a:gd name="T87" fmla="*/ 1109 h 1286"/>
                  <a:gd name="T88" fmla="*/ 91 w 696"/>
                  <a:gd name="T89" fmla="*/ 945 h 1286"/>
                  <a:gd name="T90" fmla="*/ 67 w 696"/>
                  <a:gd name="T91" fmla="*/ 825 h 1286"/>
                  <a:gd name="T92" fmla="*/ 14 w 696"/>
                  <a:gd name="T93" fmla="*/ 701 h 1286"/>
                  <a:gd name="T94" fmla="*/ 19 w 696"/>
                  <a:gd name="T95" fmla="*/ 547 h 1286"/>
                  <a:gd name="T96" fmla="*/ 129 w 696"/>
                  <a:gd name="T97" fmla="*/ 523 h 1286"/>
                  <a:gd name="T98" fmla="*/ 163 w 696"/>
                  <a:gd name="T99" fmla="*/ 494 h 1286"/>
                  <a:gd name="T100" fmla="*/ 206 w 696"/>
                  <a:gd name="T101" fmla="*/ 475 h 1286"/>
                  <a:gd name="T102" fmla="*/ 235 w 696"/>
                  <a:gd name="T103" fmla="*/ 441 h 1286"/>
                  <a:gd name="T104" fmla="*/ 278 w 696"/>
                  <a:gd name="T105" fmla="*/ 388 h 1286"/>
                  <a:gd name="T106" fmla="*/ 302 w 696"/>
                  <a:gd name="T107" fmla="*/ 340 h 1286"/>
                  <a:gd name="T108" fmla="*/ 336 w 696"/>
                  <a:gd name="T109" fmla="*/ 302 h 1286"/>
                  <a:gd name="T110" fmla="*/ 345 w 696"/>
                  <a:gd name="T111" fmla="*/ 268 h 1286"/>
                  <a:gd name="T112" fmla="*/ 369 w 696"/>
                  <a:gd name="T113" fmla="*/ 225 h 1286"/>
                  <a:gd name="T114" fmla="*/ 413 w 696"/>
                  <a:gd name="T115" fmla="*/ 201 h 1286"/>
                  <a:gd name="T116" fmla="*/ 437 w 696"/>
                  <a:gd name="T117" fmla="*/ 158 h 1286"/>
                  <a:gd name="T118" fmla="*/ 475 w 696"/>
                  <a:gd name="T119" fmla="*/ 144 h 1286"/>
                  <a:gd name="T120" fmla="*/ 485 w 696"/>
                  <a:gd name="T121" fmla="*/ 96 h 1286"/>
                  <a:gd name="T122" fmla="*/ 485 w 696"/>
                  <a:gd name="T123" fmla="*/ 48 h 1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96" h="1286">
                    <a:moveTo>
                      <a:pt x="489" y="48"/>
                    </a:moveTo>
                    <a:lnTo>
                      <a:pt x="489" y="43"/>
                    </a:lnTo>
                    <a:lnTo>
                      <a:pt x="489" y="38"/>
                    </a:lnTo>
                    <a:lnTo>
                      <a:pt x="494" y="38"/>
                    </a:lnTo>
                    <a:lnTo>
                      <a:pt x="494" y="33"/>
                    </a:lnTo>
                    <a:lnTo>
                      <a:pt x="499" y="33"/>
                    </a:lnTo>
                    <a:lnTo>
                      <a:pt x="499" y="28"/>
                    </a:lnTo>
                    <a:lnTo>
                      <a:pt x="504" y="28"/>
                    </a:lnTo>
                    <a:lnTo>
                      <a:pt x="504" y="24"/>
                    </a:lnTo>
                    <a:lnTo>
                      <a:pt x="509" y="19"/>
                    </a:lnTo>
                    <a:lnTo>
                      <a:pt x="513" y="14"/>
                    </a:lnTo>
                    <a:lnTo>
                      <a:pt x="518" y="14"/>
                    </a:lnTo>
                    <a:lnTo>
                      <a:pt x="518" y="9"/>
                    </a:lnTo>
                    <a:lnTo>
                      <a:pt x="523" y="9"/>
                    </a:lnTo>
                    <a:lnTo>
                      <a:pt x="523" y="4"/>
                    </a:lnTo>
                    <a:lnTo>
                      <a:pt x="528" y="4"/>
                    </a:lnTo>
                    <a:lnTo>
                      <a:pt x="533" y="0"/>
                    </a:lnTo>
                    <a:lnTo>
                      <a:pt x="537" y="0"/>
                    </a:lnTo>
                    <a:lnTo>
                      <a:pt x="542" y="0"/>
                    </a:lnTo>
                    <a:lnTo>
                      <a:pt x="542" y="4"/>
                    </a:lnTo>
                    <a:lnTo>
                      <a:pt x="547" y="4"/>
                    </a:lnTo>
                    <a:lnTo>
                      <a:pt x="547" y="9"/>
                    </a:lnTo>
                    <a:lnTo>
                      <a:pt x="547" y="14"/>
                    </a:lnTo>
                    <a:lnTo>
                      <a:pt x="552" y="19"/>
                    </a:lnTo>
                    <a:lnTo>
                      <a:pt x="552" y="24"/>
                    </a:lnTo>
                    <a:lnTo>
                      <a:pt x="552" y="28"/>
                    </a:lnTo>
                    <a:lnTo>
                      <a:pt x="557" y="33"/>
                    </a:lnTo>
                    <a:lnTo>
                      <a:pt x="561" y="33"/>
                    </a:lnTo>
                    <a:lnTo>
                      <a:pt x="561" y="38"/>
                    </a:lnTo>
                    <a:lnTo>
                      <a:pt x="561" y="43"/>
                    </a:lnTo>
                    <a:lnTo>
                      <a:pt x="566" y="43"/>
                    </a:lnTo>
                    <a:lnTo>
                      <a:pt x="566" y="48"/>
                    </a:lnTo>
                    <a:lnTo>
                      <a:pt x="571" y="48"/>
                    </a:lnTo>
                    <a:lnTo>
                      <a:pt x="576" y="52"/>
                    </a:lnTo>
                    <a:lnTo>
                      <a:pt x="581" y="52"/>
                    </a:lnTo>
                    <a:lnTo>
                      <a:pt x="581" y="57"/>
                    </a:lnTo>
                    <a:lnTo>
                      <a:pt x="581" y="62"/>
                    </a:lnTo>
                    <a:lnTo>
                      <a:pt x="576" y="62"/>
                    </a:lnTo>
                    <a:lnTo>
                      <a:pt x="576" y="67"/>
                    </a:lnTo>
                    <a:lnTo>
                      <a:pt x="576" y="72"/>
                    </a:lnTo>
                    <a:lnTo>
                      <a:pt x="571" y="72"/>
                    </a:lnTo>
                    <a:lnTo>
                      <a:pt x="571" y="76"/>
                    </a:lnTo>
                    <a:lnTo>
                      <a:pt x="566" y="76"/>
                    </a:lnTo>
                    <a:lnTo>
                      <a:pt x="566" y="81"/>
                    </a:lnTo>
                    <a:lnTo>
                      <a:pt x="561" y="81"/>
                    </a:lnTo>
                    <a:lnTo>
                      <a:pt x="561" y="86"/>
                    </a:lnTo>
                    <a:lnTo>
                      <a:pt x="561" y="91"/>
                    </a:lnTo>
                    <a:lnTo>
                      <a:pt x="561" y="96"/>
                    </a:lnTo>
                    <a:lnTo>
                      <a:pt x="566" y="96"/>
                    </a:lnTo>
                    <a:lnTo>
                      <a:pt x="571" y="96"/>
                    </a:lnTo>
                    <a:lnTo>
                      <a:pt x="576" y="96"/>
                    </a:lnTo>
                    <a:lnTo>
                      <a:pt x="581" y="96"/>
                    </a:lnTo>
                    <a:lnTo>
                      <a:pt x="585" y="96"/>
                    </a:lnTo>
                    <a:lnTo>
                      <a:pt x="590" y="100"/>
                    </a:lnTo>
                    <a:lnTo>
                      <a:pt x="590" y="105"/>
                    </a:lnTo>
                    <a:lnTo>
                      <a:pt x="590" y="110"/>
                    </a:lnTo>
                    <a:lnTo>
                      <a:pt x="590" y="115"/>
                    </a:lnTo>
                    <a:lnTo>
                      <a:pt x="590" y="120"/>
                    </a:lnTo>
                    <a:lnTo>
                      <a:pt x="590" y="124"/>
                    </a:lnTo>
                    <a:lnTo>
                      <a:pt x="595" y="129"/>
                    </a:lnTo>
                    <a:lnTo>
                      <a:pt x="595" y="134"/>
                    </a:lnTo>
                    <a:lnTo>
                      <a:pt x="595" y="139"/>
                    </a:lnTo>
                    <a:lnTo>
                      <a:pt x="595" y="144"/>
                    </a:lnTo>
                    <a:lnTo>
                      <a:pt x="595" y="148"/>
                    </a:lnTo>
                    <a:lnTo>
                      <a:pt x="595" y="153"/>
                    </a:lnTo>
                    <a:lnTo>
                      <a:pt x="595" y="158"/>
                    </a:lnTo>
                    <a:lnTo>
                      <a:pt x="595" y="163"/>
                    </a:lnTo>
                    <a:lnTo>
                      <a:pt x="595" y="168"/>
                    </a:lnTo>
                    <a:lnTo>
                      <a:pt x="590" y="168"/>
                    </a:lnTo>
                    <a:lnTo>
                      <a:pt x="590" y="172"/>
                    </a:lnTo>
                    <a:lnTo>
                      <a:pt x="590" y="177"/>
                    </a:lnTo>
                    <a:lnTo>
                      <a:pt x="595" y="177"/>
                    </a:lnTo>
                    <a:lnTo>
                      <a:pt x="595" y="182"/>
                    </a:lnTo>
                    <a:lnTo>
                      <a:pt x="590" y="182"/>
                    </a:lnTo>
                    <a:lnTo>
                      <a:pt x="590" y="187"/>
                    </a:lnTo>
                    <a:lnTo>
                      <a:pt x="590" y="192"/>
                    </a:lnTo>
                    <a:lnTo>
                      <a:pt x="590" y="196"/>
                    </a:lnTo>
                    <a:lnTo>
                      <a:pt x="595" y="196"/>
                    </a:lnTo>
                    <a:lnTo>
                      <a:pt x="595" y="201"/>
                    </a:lnTo>
                    <a:lnTo>
                      <a:pt x="595" y="206"/>
                    </a:lnTo>
                    <a:lnTo>
                      <a:pt x="600" y="206"/>
                    </a:lnTo>
                    <a:lnTo>
                      <a:pt x="600" y="211"/>
                    </a:lnTo>
                    <a:lnTo>
                      <a:pt x="600" y="216"/>
                    </a:lnTo>
                    <a:lnTo>
                      <a:pt x="605" y="216"/>
                    </a:lnTo>
                    <a:lnTo>
                      <a:pt x="605" y="220"/>
                    </a:lnTo>
                    <a:lnTo>
                      <a:pt x="605" y="225"/>
                    </a:lnTo>
                    <a:lnTo>
                      <a:pt x="605" y="230"/>
                    </a:lnTo>
                    <a:lnTo>
                      <a:pt x="600" y="230"/>
                    </a:lnTo>
                    <a:lnTo>
                      <a:pt x="600" y="235"/>
                    </a:lnTo>
                    <a:lnTo>
                      <a:pt x="600" y="240"/>
                    </a:lnTo>
                    <a:lnTo>
                      <a:pt x="600" y="244"/>
                    </a:lnTo>
                    <a:lnTo>
                      <a:pt x="605" y="244"/>
                    </a:lnTo>
                    <a:lnTo>
                      <a:pt x="605" y="249"/>
                    </a:lnTo>
                    <a:lnTo>
                      <a:pt x="605" y="254"/>
                    </a:lnTo>
                    <a:lnTo>
                      <a:pt x="605" y="259"/>
                    </a:lnTo>
                    <a:lnTo>
                      <a:pt x="609" y="259"/>
                    </a:lnTo>
                    <a:lnTo>
                      <a:pt x="609" y="264"/>
                    </a:lnTo>
                    <a:lnTo>
                      <a:pt x="609" y="268"/>
                    </a:lnTo>
                    <a:lnTo>
                      <a:pt x="614" y="268"/>
                    </a:lnTo>
                    <a:lnTo>
                      <a:pt x="614" y="273"/>
                    </a:lnTo>
                    <a:lnTo>
                      <a:pt x="614" y="278"/>
                    </a:lnTo>
                    <a:lnTo>
                      <a:pt x="614" y="283"/>
                    </a:lnTo>
                    <a:lnTo>
                      <a:pt x="619" y="283"/>
                    </a:lnTo>
                    <a:lnTo>
                      <a:pt x="619" y="288"/>
                    </a:lnTo>
                    <a:lnTo>
                      <a:pt x="624" y="288"/>
                    </a:lnTo>
                    <a:lnTo>
                      <a:pt x="624" y="292"/>
                    </a:lnTo>
                    <a:lnTo>
                      <a:pt x="629" y="292"/>
                    </a:lnTo>
                    <a:lnTo>
                      <a:pt x="629" y="297"/>
                    </a:lnTo>
                    <a:lnTo>
                      <a:pt x="633" y="297"/>
                    </a:lnTo>
                    <a:lnTo>
                      <a:pt x="633" y="302"/>
                    </a:lnTo>
                    <a:lnTo>
                      <a:pt x="633" y="307"/>
                    </a:lnTo>
                    <a:lnTo>
                      <a:pt x="633" y="312"/>
                    </a:lnTo>
                    <a:lnTo>
                      <a:pt x="633" y="316"/>
                    </a:lnTo>
                    <a:lnTo>
                      <a:pt x="638" y="316"/>
                    </a:lnTo>
                    <a:lnTo>
                      <a:pt x="638" y="321"/>
                    </a:lnTo>
                    <a:lnTo>
                      <a:pt x="638" y="326"/>
                    </a:lnTo>
                    <a:lnTo>
                      <a:pt x="638" y="331"/>
                    </a:lnTo>
                    <a:lnTo>
                      <a:pt x="638" y="336"/>
                    </a:lnTo>
                    <a:lnTo>
                      <a:pt x="643" y="336"/>
                    </a:lnTo>
                    <a:lnTo>
                      <a:pt x="643" y="340"/>
                    </a:lnTo>
                    <a:lnTo>
                      <a:pt x="643" y="345"/>
                    </a:lnTo>
                    <a:lnTo>
                      <a:pt x="643" y="350"/>
                    </a:lnTo>
                    <a:lnTo>
                      <a:pt x="648" y="350"/>
                    </a:lnTo>
                    <a:lnTo>
                      <a:pt x="648" y="355"/>
                    </a:lnTo>
                    <a:lnTo>
                      <a:pt x="648" y="360"/>
                    </a:lnTo>
                    <a:lnTo>
                      <a:pt x="653" y="360"/>
                    </a:lnTo>
                    <a:lnTo>
                      <a:pt x="653" y="364"/>
                    </a:lnTo>
                    <a:lnTo>
                      <a:pt x="653" y="369"/>
                    </a:lnTo>
                    <a:lnTo>
                      <a:pt x="653" y="374"/>
                    </a:lnTo>
                    <a:lnTo>
                      <a:pt x="653" y="379"/>
                    </a:lnTo>
                    <a:lnTo>
                      <a:pt x="653" y="384"/>
                    </a:lnTo>
                    <a:lnTo>
                      <a:pt x="653" y="388"/>
                    </a:lnTo>
                    <a:lnTo>
                      <a:pt x="653" y="393"/>
                    </a:lnTo>
                    <a:lnTo>
                      <a:pt x="653" y="398"/>
                    </a:lnTo>
                    <a:lnTo>
                      <a:pt x="657" y="398"/>
                    </a:lnTo>
                    <a:lnTo>
                      <a:pt x="657" y="403"/>
                    </a:lnTo>
                    <a:lnTo>
                      <a:pt x="657" y="408"/>
                    </a:lnTo>
                    <a:lnTo>
                      <a:pt x="657" y="412"/>
                    </a:lnTo>
                    <a:lnTo>
                      <a:pt x="657" y="417"/>
                    </a:lnTo>
                    <a:lnTo>
                      <a:pt x="657" y="422"/>
                    </a:lnTo>
                    <a:lnTo>
                      <a:pt x="657" y="427"/>
                    </a:lnTo>
                    <a:lnTo>
                      <a:pt x="657" y="432"/>
                    </a:lnTo>
                    <a:lnTo>
                      <a:pt x="657" y="436"/>
                    </a:lnTo>
                    <a:lnTo>
                      <a:pt x="657" y="441"/>
                    </a:lnTo>
                    <a:lnTo>
                      <a:pt x="657" y="446"/>
                    </a:lnTo>
                    <a:lnTo>
                      <a:pt x="657" y="451"/>
                    </a:lnTo>
                    <a:lnTo>
                      <a:pt x="657" y="456"/>
                    </a:lnTo>
                    <a:lnTo>
                      <a:pt x="657" y="460"/>
                    </a:lnTo>
                    <a:lnTo>
                      <a:pt x="662" y="460"/>
                    </a:lnTo>
                    <a:lnTo>
                      <a:pt x="662" y="465"/>
                    </a:lnTo>
                    <a:lnTo>
                      <a:pt x="662" y="470"/>
                    </a:lnTo>
                    <a:lnTo>
                      <a:pt x="667" y="475"/>
                    </a:lnTo>
                    <a:lnTo>
                      <a:pt x="667" y="480"/>
                    </a:lnTo>
                    <a:lnTo>
                      <a:pt x="672" y="480"/>
                    </a:lnTo>
                    <a:lnTo>
                      <a:pt x="672" y="484"/>
                    </a:lnTo>
                    <a:lnTo>
                      <a:pt x="677" y="484"/>
                    </a:lnTo>
                    <a:lnTo>
                      <a:pt x="677" y="489"/>
                    </a:lnTo>
                    <a:lnTo>
                      <a:pt x="681" y="489"/>
                    </a:lnTo>
                    <a:lnTo>
                      <a:pt x="686" y="489"/>
                    </a:lnTo>
                    <a:lnTo>
                      <a:pt x="686" y="494"/>
                    </a:lnTo>
                    <a:lnTo>
                      <a:pt x="691" y="494"/>
                    </a:lnTo>
                    <a:lnTo>
                      <a:pt x="691" y="499"/>
                    </a:lnTo>
                    <a:lnTo>
                      <a:pt x="696" y="499"/>
                    </a:lnTo>
                    <a:lnTo>
                      <a:pt x="696" y="504"/>
                    </a:lnTo>
                    <a:lnTo>
                      <a:pt x="696" y="508"/>
                    </a:lnTo>
                    <a:lnTo>
                      <a:pt x="691" y="508"/>
                    </a:lnTo>
                    <a:lnTo>
                      <a:pt x="691" y="513"/>
                    </a:lnTo>
                    <a:lnTo>
                      <a:pt x="691" y="518"/>
                    </a:lnTo>
                    <a:lnTo>
                      <a:pt x="691" y="523"/>
                    </a:lnTo>
                    <a:lnTo>
                      <a:pt x="686" y="523"/>
                    </a:lnTo>
                    <a:lnTo>
                      <a:pt x="686" y="528"/>
                    </a:lnTo>
                    <a:lnTo>
                      <a:pt x="686" y="532"/>
                    </a:lnTo>
                    <a:lnTo>
                      <a:pt x="686" y="537"/>
                    </a:lnTo>
                    <a:lnTo>
                      <a:pt x="686" y="542"/>
                    </a:lnTo>
                    <a:lnTo>
                      <a:pt x="691" y="547"/>
                    </a:lnTo>
                    <a:lnTo>
                      <a:pt x="691" y="552"/>
                    </a:lnTo>
                    <a:lnTo>
                      <a:pt x="691" y="556"/>
                    </a:lnTo>
                    <a:lnTo>
                      <a:pt x="691" y="561"/>
                    </a:lnTo>
                    <a:lnTo>
                      <a:pt x="691" y="566"/>
                    </a:lnTo>
                    <a:lnTo>
                      <a:pt x="696" y="566"/>
                    </a:lnTo>
                    <a:lnTo>
                      <a:pt x="696" y="571"/>
                    </a:lnTo>
                    <a:lnTo>
                      <a:pt x="696" y="576"/>
                    </a:lnTo>
                    <a:lnTo>
                      <a:pt x="691" y="580"/>
                    </a:lnTo>
                    <a:lnTo>
                      <a:pt x="691" y="585"/>
                    </a:lnTo>
                    <a:lnTo>
                      <a:pt x="691" y="590"/>
                    </a:lnTo>
                    <a:lnTo>
                      <a:pt x="686" y="590"/>
                    </a:lnTo>
                    <a:lnTo>
                      <a:pt x="686" y="595"/>
                    </a:lnTo>
                    <a:lnTo>
                      <a:pt x="681" y="595"/>
                    </a:lnTo>
                    <a:lnTo>
                      <a:pt x="681" y="600"/>
                    </a:lnTo>
                    <a:lnTo>
                      <a:pt x="677" y="600"/>
                    </a:lnTo>
                    <a:lnTo>
                      <a:pt x="672" y="600"/>
                    </a:lnTo>
                    <a:lnTo>
                      <a:pt x="667" y="600"/>
                    </a:lnTo>
                    <a:lnTo>
                      <a:pt x="662" y="605"/>
                    </a:lnTo>
                    <a:lnTo>
                      <a:pt x="662" y="609"/>
                    </a:lnTo>
                    <a:lnTo>
                      <a:pt x="662" y="614"/>
                    </a:lnTo>
                    <a:lnTo>
                      <a:pt x="662" y="619"/>
                    </a:lnTo>
                    <a:lnTo>
                      <a:pt x="667" y="624"/>
                    </a:lnTo>
                    <a:lnTo>
                      <a:pt x="662" y="624"/>
                    </a:lnTo>
                    <a:lnTo>
                      <a:pt x="667" y="629"/>
                    </a:lnTo>
                    <a:lnTo>
                      <a:pt x="667" y="633"/>
                    </a:lnTo>
                    <a:lnTo>
                      <a:pt x="667" y="638"/>
                    </a:lnTo>
                    <a:lnTo>
                      <a:pt x="667" y="643"/>
                    </a:lnTo>
                    <a:lnTo>
                      <a:pt x="667" y="648"/>
                    </a:lnTo>
                    <a:lnTo>
                      <a:pt x="662" y="648"/>
                    </a:lnTo>
                    <a:lnTo>
                      <a:pt x="657" y="648"/>
                    </a:lnTo>
                    <a:lnTo>
                      <a:pt x="653" y="648"/>
                    </a:lnTo>
                    <a:lnTo>
                      <a:pt x="648" y="653"/>
                    </a:lnTo>
                    <a:lnTo>
                      <a:pt x="643" y="653"/>
                    </a:lnTo>
                    <a:lnTo>
                      <a:pt x="643" y="657"/>
                    </a:lnTo>
                    <a:lnTo>
                      <a:pt x="643" y="662"/>
                    </a:lnTo>
                    <a:lnTo>
                      <a:pt x="638" y="662"/>
                    </a:lnTo>
                    <a:lnTo>
                      <a:pt x="638" y="667"/>
                    </a:lnTo>
                    <a:lnTo>
                      <a:pt x="633" y="667"/>
                    </a:lnTo>
                    <a:lnTo>
                      <a:pt x="629" y="667"/>
                    </a:lnTo>
                    <a:lnTo>
                      <a:pt x="629" y="672"/>
                    </a:lnTo>
                    <a:lnTo>
                      <a:pt x="624" y="672"/>
                    </a:lnTo>
                    <a:lnTo>
                      <a:pt x="619" y="672"/>
                    </a:lnTo>
                    <a:lnTo>
                      <a:pt x="619" y="677"/>
                    </a:lnTo>
                    <a:lnTo>
                      <a:pt x="614" y="677"/>
                    </a:lnTo>
                    <a:lnTo>
                      <a:pt x="614" y="681"/>
                    </a:lnTo>
                    <a:lnTo>
                      <a:pt x="609" y="681"/>
                    </a:lnTo>
                    <a:lnTo>
                      <a:pt x="609" y="686"/>
                    </a:lnTo>
                    <a:lnTo>
                      <a:pt x="605" y="686"/>
                    </a:lnTo>
                    <a:lnTo>
                      <a:pt x="600" y="681"/>
                    </a:lnTo>
                    <a:lnTo>
                      <a:pt x="595" y="681"/>
                    </a:lnTo>
                    <a:lnTo>
                      <a:pt x="595" y="686"/>
                    </a:lnTo>
                    <a:lnTo>
                      <a:pt x="600" y="686"/>
                    </a:lnTo>
                    <a:lnTo>
                      <a:pt x="600" y="691"/>
                    </a:lnTo>
                    <a:lnTo>
                      <a:pt x="600" y="696"/>
                    </a:lnTo>
                    <a:lnTo>
                      <a:pt x="605" y="701"/>
                    </a:lnTo>
                    <a:lnTo>
                      <a:pt x="600" y="705"/>
                    </a:lnTo>
                    <a:lnTo>
                      <a:pt x="600" y="710"/>
                    </a:lnTo>
                    <a:lnTo>
                      <a:pt x="595" y="715"/>
                    </a:lnTo>
                    <a:lnTo>
                      <a:pt x="595" y="720"/>
                    </a:lnTo>
                    <a:lnTo>
                      <a:pt x="595" y="725"/>
                    </a:lnTo>
                    <a:lnTo>
                      <a:pt x="590" y="729"/>
                    </a:lnTo>
                    <a:lnTo>
                      <a:pt x="590" y="734"/>
                    </a:lnTo>
                    <a:lnTo>
                      <a:pt x="590" y="739"/>
                    </a:lnTo>
                    <a:lnTo>
                      <a:pt x="585" y="744"/>
                    </a:lnTo>
                    <a:lnTo>
                      <a:pt x="585" y="749"/>
                    </a:lnTo>
                    <a:lnTo>
                      <a:pt x="585" y="753"/>
                    </a:lnTo>
                    <a:lnTo>
                      <a:pt x="590" y="758"/>
                    </a:lnTo>
                    <a:lnTo>
                      <a:pt x="590" y="763"/>
                    </a:lnTo>
                    <a:lnTo>
                      <a:pt x="590" y="768"/>
                    </a:lnTo>
                    <a:lnTo>
                      <a:pt x="595" y="773"/>
                    </a:lnTo>
                    <a:lnTo>
                      <a:pt x="595" y="777"/>
                    </a:lnTo>
                    <a:lnTo>
                      <a:pt x="595" y="782"/>
                    </a:lnTo>
                    <a:lnTo>
                      <a:pt x="600" y="787"/>
                    </a:lnTo>
                    <a:lnTo>
                      <a:pt x="600" y="792"/>
                    </a:lnTo>
                    <a:lnTo>
                      <a:pt x="600" y="797"/>
                    </a:lnTo>
                    <a:lnTo>
                      <a:pt x="600" y="801"/>
                    </a:lnTo>
                    <a:lnTo>
                      <a:pt x="605" y="806"/>
                    </a:lnTo>
                    <a:lnTo>
                      <a:pt x="605" y="811"/>
                    </a:lnTo>
                    <a:lnTo>
                      <a:pt x="605" y="816"/>
                    </a:lnTo>
                    <a:lnTo>
                      <a:pt x="609" y="816"/>
                    </a:lnTo>
                    <a:lnTo>
                      <a:pt x="609" y="821"/>
                    </a:lnTo>
                    <a:lnTo>
                      <a:pt x="609" y="825"/>
                    </a:lnTo>
                    <a:lnTo>
                      <a:pt x="609" y="830"/>
                    </a:lnTo>
                    <a:lnTo>
                      <a:pt x="614" y="835"/>
                    </a:lnTo>
                    <a:lnTo>
                      <a:pt x="614" y="840"/>
                    </a:lnTo>
                    <a:lnTo>
                      <a:pt x="609" y="840"/>
                    </a:lnTo>
                    <a:lnTo>
                      <a:pt x="609" y="845"/>
                    </a:lnTo>
                    <a:lnTo>
                      <a:pt x="605" y="845"/>
                    </a:lnTo>
                    <a:lnTo>
                      <a:pt x="600" y="845"/>
                    </a:lnTo>
                    <a:lnTo>
                      <a:pt x="595" y="849"/>
                    </a:lnTo>
                    <a:lnTo>
                      <a:pt x="590" y="849"/>
                    </a:lnTo>
                    <a:lnTo>
                      <a:pt x="585" y="854"/>
                    </a:lnTo>
                    <a:lnTo>
                      <a:pt x="581" y="854"/>
                    </a:lnTo>
                    <a:lnTo>
                      <a:pt x="576" y="854"/>
                    </a:lnTo>
                    <a:lnTo>
                      <a:pt x="571" y="859"/>
                    </a:lnTo>
                    <a:lnTo>
                      <a:pt x="566" y="859"/>
                    </a:lnTo>
                    <a:lnTo>
                      <a:pt x="566" y="864"/>
                    </a:lnTo>
                    <a:lnTo>
                      <a:pt x="561" y="864"/>
                    </a:lnTo>
                    <a:lnTo>
                      <a:pt x="557" y="864"/>
                    </a:lnTo>
                    <a:lnTo>
                      <a:pt x="552" y="864"/>
                    </a:lnTo>
                    <a:lnTo>
                      <a:pt x="547" y="859"/>
                    </a:lnTo>
                    <a:lnTo>
                      <a:pt x="542" y="859"/>
                    </a:lnTo>
                    <a:lnTo>
                      <a:pt x="537" y="854"/>
                    </a:lnTo>
                    <a:lnTo>
                      <a:pt x="533" y="854"/>
                    </a:lnTo>
                    <a:lnTo>
                      <a:pt x="528" y="849"/>
                    </a:lnTo>
                    <a:lnTo>
                      <a:pt x="523" y="845"/>
                    </a:lnTo>
                    <a:lnTo>
                      <a:pt x="518" y="845"/>
                    </a:lnTo>
                    <a:lnTo>
                      <a:pt x="513" y="840"/>
                    </a:lnTo>
                    <a:lnTo>
                      <a:pt x="509" y="840"/>
                    </a:lnTo>
                    <a:lnTo>
                      <a:pt x="504" y="835"/>
                    </a:lnTo>
                    <a:lnTo>
                      <a:pt x="499" y="830"/>
                    </a:lnTo>
                    <a:lnTo>
                      <a:pt x="494" y="830"/>
                    </a:lnTo>
                    <a:lnTo>
                      <a:pt x="489" y="825"/>
                    </a:lnTo>
                    <a:lnTo>
                      <a:pt x="485" y="825"/>
                    </a:lnTo>
                    <a:lnTo>
                      <a:pt x="480" y="821"/>
                    </a:lnTo>
                    <a:lnTo>
                      <a:pt x="475" y="821"/>
                    </a:lnTo>
                    <a:lnTo>
                      <a:pt x="470" y="816"/>
                    </a:lnTo>
                    <a:lnTo>
                      <a:pt x="465" y="816"/>
                    </a:lnTo>
                    <a:lnTo>
                      <a:pt x="461" y="811"/>
                    </a:lnTo>
                    <a:lnTo>
                      <a:pt x="456" y="806"/>
                    </a:lnTo>
                    <a:lnTo>
                      <a:pt x="451" y="806"/>
                    </a:lnTo>
                    <a:lnTo>
                      <a:pt x="446" y="801"/>
                    </a:lnTo>
                    <a:lnTo>
                      <a:pt x="441" y="797"/>
                    </a:lnTo>
                    <a:lnTo>
                      <a:pt x="437" y="797"/>
                    </a:lnTo>
                    <a:lnTo>
                      <a:pt x="432" y="792"/>
                    </a:lnTo>
                    <a:lnTo>
                      <a:pt x="427" y="792"/>
                    </a:lnTo>
                    <a:lnTo>
                      <a:pt x="422" y="787"/>
                    </a:lnTo>
                    <a:lnTo>
                      <a:pt x="417" y="787"/>
                    </a:lnTo>
                    <a:lnTo>
                      <a:pt x="413" y="782"/>
                    </a:lnTo>
                    <a:lnTo>
                      <a:pt x="408" y="777"/>
                    </a:lnTo>
                    <a:lnTo>
                      <a:pt x="403" y="777"/>
                    </a:lnTo>
                    <a:lnTo>
                      <a:pt x="398" y="773"/>
                    </a:lnTo>
                    <a:lnTo>
                      <a:pt x="393" y="773"/>
                    </a:lnTo>
                    <a:lnTo>
                      <a:pt x="389" y="768"/>
                    </a:lnTo>
                    <a:lnTo>
                      <a:pt x="384" y="768"/>
                    </a:lnTo>
                    <a:lnTo>
                      <a:pt x="384" y="763"/>
                    </a:lnTo>
                    <a:lnTo>
                      <a:pt x="379" y="763"/>
                    </a:lnTo>
                    <a:lnTo>
                      <a:pt x="374" y="758"/>
                    </a:lnTo>
                    <a:lnTo>
                      <a:pt x="369" y="758"/>
                    </a:lnTo>
                    <a:lnTo>
                      <a:pt x="365" y="753"/>
                    </a:lnTo>
                    <a:lnTo>
                      <a:pt x="360" y="753"/>
                    </a:lnTo>
                    <a:lnTo>
                      <a:pt x="355" y="749"/>
                    </a:lnTo>
                    <a:lnTo>
                      <a:pt x="350" y="744"/>
                    </a:lnTo>
                    <a:lnTo>
                      <a:pt x="350" y="749"/>
                    </a:lnTo>
                    <a:lnTo>
                      <a:pt x="345" y="753"/>
                    </a:lnTo>
                    <a:lnTo>
                      <a:pt x="341" y="758"/>
                    </a:lnTo>
                    <a:lnTo>
                      <a:pt x="336" y="763"/>
                    </a:lnTo>
                    <a:lnTo>
                      <a:pt x="331" y="763"/>
                    </a:lnTo>
                    <a:lnTo>
                      <a:pt x="326" y="768"/>
                    </a:lnTo>
                    <a:lnTo>
                      <a:pt x="326" y="773"/>
                    </a:lnTo>
                    <a:lnTo>
                      <a:pt x="321" y="773"/>
                    </a:lnTo>
                    <a:lnTo>
                      <a:pt x="321" y="777"/>
                    </a:lnTo>
                    <a:lnTo>
                      <a:pt x="317" y="777"/>
                    </a:lnTo>
                    <a:lnTo>
                      <a:pt x="312" y="777"/>
                    </a:lnTo>
                    <a:lnTo>
                      <a:pt x="307" y="782"/>
                    </a:lnTo>
                    <a:lnTo>
                      <a:pt x="302" y="782"/>
                    </a:lnTo>
                    <a:lnTo>
                      <a:pt x="297" y="782"/>
                    </a:lnTo>
                    <a:lnTo>
                      <a:pt x="293" y="782"/>
                    </a:lnTo>
                    <a:lnTo>
                      <a:pt x="288" y="787"/>
                    </a:lnTo>
                    <a:lnTo>
                      <a:pt x="283" y="787"/>
                    </a:lnTo>
                    <a:lnTo>
                      <a:pt x="278" y="792"/>
                    </a:lnTo>
                    <a:lnTo>
                      <a:pt x="273" y="792"/>
                    </a:lnTo>
                    <a:lnTo>
                      <a:pt x="269" y="792"/>
                    </a:lnTo>
                    <a:lnTo>
                      <a:pt x="264" y="792"/>
                    </a:lnTo>
                    <a:lnTo>
                      <a:pt x="259" y="797"/>
                    </a:lnTo>
                    <a:lnTo>
                      <a:pt x="254" y="797"/>
                    </a:lnTo>
                    <a:lnTo>
                      <a:pt x="249" y="797"/>
                    </a:lnTo>
                    <a:lnTo>
                      <a:pt x="245" y="801"/>
                    </a:lnTo>
                    <a:lnTo>
                      <a:pt x="240" y="801"/>
                    </a:lnTo>
                    <a:lnTo>
                      <a:pt x="235" y="806"/>
                    </a:lnTo>
                    <a:lnTo>
                      <a:pt x="230" y="806"/>
                    </a:lnTo>
                    <a:lnTo>
                      <a:pt x="225" y="806"/>
                    </a:lnTo>
                    <a:lnTo>
                      <a:pt x="221" y="806"/>
                    </a:lnTo>
                    <a:lnTo>
                      <a:pt x="216" y="811"/>
                    </a:lnTo>
                    <a:lnTo>
                      <a:pt x="211" y="811"/>
                    </a:lnTo>
                    <a:lnTo>
                      <a:pt x="206" y="811"/>
                    </a:lnTo>
                    <a:lnTo>
                      <a:pt x="201" y="816"/>
                    </a:lnTo>
                    <a:lnTo>
                      <a:pt x="206" y="816"/>
                    </a:lnTo>
                    <a:lnTo>
                      <a:pt x="211" y="821"/>
                    </a:lnTo>
                    <a:lnTo>
                      <a:pt x="216" y="821"/>
                    </a:lnTo>
                    <a:lnTo>
                      <a:pt x="221" y="825"/>
                    </a:lnTo>
                    <a:lnTo>
                      <a:pt x="225" y="830"/>
                    </a:lnTo>
                    <a:lnTo>
                      <a:pt x="225" y="835"/>
                    </a:lnTo>
                    <a:lnTo>
                      <a:pt x="230" y="835"/>
                    </a:lnTo>
                    <a:lnTo>
                      <a:pt x="235" y="840"/>
                    </a:lnTo>
                    <a:lnTo>
                      <a:pt x="240" y="845"/>
                    </a:lnTo>
                    <a:lnTo>
                      <a:pt x="245" y="849"/>
                    </a:lnTo>
                    <a:lnTo>
                      <a:pt x="245" y="854"/>
                    </a:lnTo>
                    <a:lnTo>
                      <a:pt x="245" y="859"/>
                    </a:lnTo>
                    <a:lnTo>
                      <a:pt x="245" y="864"/>
                    </a:lnTo>
                    <a:lnTo>
                      <a:pt x="245" y="869"/>
                    </a:lnTo>
                    <a:lnTo>
                      <a:pt x="249" y="873"/>
                    </a:lnTo>
                    <a:lnTo>
                      <a:pt x="249" y="878"/>
                    </a:lnTo>
                    <a:lnTo>
                      <a:pt x="249" y="883"/>
                    </a:lnTo>
                    <a:lnTo>
                      <a:pt x="249" y="888"/>
                    </a:lnTo>
                    <a:lnTo>
                      <a:pt x="254" y="893"/>
                    </a:lnTo>
                    <a:lnTo>
                      <a:pt x="254" y="897"/>
                    </a:lnTo>
                    <a:lnTo>
                      <a:pt x="254" y="902"/>
                    </a:lnTo>
                    <a:lnTo>
                      <a:pt x="254" y="907"/>
                    </a:lnTo>
                    <a:lnTo>
                      <a:pt x="254" y="912"/>
                    </a:lnTo>
                    <a:lnTo>
                      <a:pt x="259" y="917"/>
                    </a:lnTo>
                    <a:lnTo>
                      <a:pt x="259" y="921"/>
                    </a:lnTo>
                    <a:lnTo>
                      <a:pt x="259" y="926"/>
                    </a:lnTo>
                    <a:lnTo>
                      <a:pt x="259" y="931"/>
                    </a:lnTo>
                    <a:lnTo>
                      <a:pt x="264" y="936"/>
                    </a:lnTo>
                    <a:lnTo>
                      <a:pt x="264" y="941"/>
                    </a:lnTo>
                    <a:lnTo>
                      <a:pt x="264" y="945"/>
                    </a:lnTo>
                    <a:lnTo>
                      <a:pt x="264" y="950"/>
                    </a:lnTo>
                    <a:lnTo>
                      <a:pt x="264" y="955"/>
                    </a:lnTo>
                    <a:lnTo>
                      <a:pt x="269" y="955"/>
                    </a:lnTo>
                    <a:lnTo>
                      <a:pt x="269" y="960"/>
                    </a:lnTo>
                    <a:lnTo>
                      <a:pt x="269" y="965"/>
                    </a:lnTo>
                    <a:lnTo>
                      <a:pt x="269" y="969"/>
                    </a:lnTo>
                    <a:lnTo>
                      <a:pt x="273" y="974"/>
                    </a:lnTo>
                    <a:lnTo>
                      <a:pt x="273" y="979"/>
                    </a:lnTo>
                    <a:lnTo>
                      <a:pt x="273" y="984"/>
                    </a:lnTo>
                    <a:lnTo>
                      <a:pt x="273" y="989"/>
                    </a:lnTo>
                    <a:lnTo>
                      <a:pt x="273" y="993"/>
                    </a:lnTo>
                    <a:lnTo>
                      <a:pt x="278" y="998"/>
                    </a:lnTo>
                    <a:lnTo>
                      <a:pt x="278" y="1003"/>
                    </a:lnTo>
                    <a:lnTo>
                      <a:pt x="283" y="1008"/>
                    </a:lnTo>
                    <a:lnTo>
                      <a:pt x="283" y="1013"/>
                    </a:lnTo>
                    <a:lnTo>
                      <a:pt x="288" y="1017"/>
                    </a:lnTo>
                    <a:lnTo>
                      <a:pt x="288" y="1022"/>
                    </a:lnTo>
                    <a:lnTo>
                      <a:pt x="293" y="1027"/>
                    </a:lnTo>
                    <a:lnTo>
                      <a:pt x="293" y="1032"/>
                    </a:lnTo>
                    <a:lnTo>
                      <a:pt x="297" y="1037"/>
                    </a:lnTo>
                    <a:lnTo>
                      <a:pt x="297" y="1041"/>
                    </a:lnTo>
                    <a:lnTo>
                      <a:pt x="302" y="1046"/>
                    </a:lnTo>
                    <a:lnTo>
                      <a:pt x="302" y="1051"/>
                    </a:lnTo>
                    <a:lnTo>
                      <a:pt x="307" y="1056"/>
                    </a:lnTo>
                    <a:lnTo>
                      <a:pt x="307" y="1061"/>
                    </a:lnTo>
                    <a:lnTo>
                      <a:pt x="312" y="1065"/>
                    </a:lnTo>
                    <a:lnTo>
                      <a:pt x="312" y="1070"/>
                    </a:lnTo>
                    <a:lnTo>
                      <a:pt x="317" y="1075"/>
                    </a:lnTo>
                    <a:lnTo>
                      <a:pt x="317" y="1080"/>
                    </a:lnTo>
                    <a:lnTo>
                      <a:pt x="321" y="1085"/>
                    </a:lnTo>
                    <a:lnTo>
                      <a:pt x="326" y="1085"/>
                    </a:lnTo>
                    <a:lnTo>
                      <a:pt x="326" y="1080"/>
                    </a:lnTo>
                    <a:lnTo>
                      <a:pt x="331" y="1080"/>
                    </a:lnTo>
                    <a:lnTo>
                      <a:pt x="336" y="1080"/>
                    </a:lnTo>
                    <a:lnTo>
                      <a:pt x="341" y="1080"/>
                    </a:lnTo>
                    <a:lnTo>
                      <a:pt x="345" y="1080"/>
                    </a:lnTo>
                    <a:lnTo>
                      <a:pt x="350" y="1085"/>
                    </a:lnTo>
                    <a:lnTo>
                      <a:pt x="350" y="1089"/>
                    </a:lnTo>
                    <a:lnTo>
                      <a:pt x="355" y="1089"/>
                    </a:lnTo>
                    <a:lnTo>
                      <a:pt x="355" y="1094"/>
                    </a:lnTo>
                    <a:lnTo>
                      <a:pt x="350" y="1094"/>
                    </a:lnTo>
                    <a:lnTo>
                      <a:pt x="350" y="1099"/>
                    </a:lnTo>
                    <a:lnTo>
                      <a:pt x="350" y="1104"/>
                    </a:lnTo>
                    <a:lnTo>
                      <a:pt x="345" y="1104"/>
                    </a:lnTo>
                    <a:lnTo>
                      <a:pt x="345" y="1109"/>
                    </a:lnTo>
                    <a:lnTo>
                      <a:pt x="350" y="1113"/>
                    </a:lnTo>
                    <a:lnTo>
                      <a:pt x="350" y="1118"/>
                    </a:lnTo>
                    <a:lnTo>
                      <a:pt x="345" y="1123"/>
                    </a:lnTo>
                    <a:lnTo>
                      <a:pt x="341" y="1128"/>
                    </a:lnTo>
                    <a:lnTo>
                      <a:pt x="336" y="1133"/>
                    </a:lnTo>
                    <a:lnTo>
                      <a:pt x="336" y="1137"/>
                    </a:lnTo>
                    <a:lnTo>
                      <a:pt x="331" y="1142"/>
                    </a:lnTo>
                    <a:lnTo>
                      <a:pt x="326" y="1147"/>
                    </a:lnTo>
                    <a:lnTo>
                      <a:pt x="326" y="1152"/>
                    </a:lnTo>
                    <a:lnTo>
                      <a:pt x="321" y="1157"/>
                    </a:lnTo>
                    <a:lnTo>
                      <a:pt x="317" y="1161"/>
                    </a:lnTo>
                    <a:lnTo>
                      <a:pt x="312" y="1166"/>
                    </a:lnTo>
                    <a:lnTo>
                      <a:pt x="307" y="1171"/>
                    </a:lnTo>
                    <a:lnTo>
                      <a:pt x="307" y="1176"/>
                    </a:lnTo>
                    <a:lnTo>
                      <a:pt x="307" y="1181"/>
                    </a:lnTo>
                    <a:lnTo>
                      <a:pt x="307" y="1185"/>
                    </a:lnTo>
                    <a:lnTo>
                      <a:pt x="307" y="1190"/>
                    </a:lnTo>
                    <a:lnTo>
                      <a:pt x="307" y="1195"/>
                    </a:lnTo>
                    <a:lnTo>
                      <a:pt x="302" y="1200"/>
                    </a:lnTo>
                    <a:lnTo>
                      <a:pt x="302" y="1205"/>
                    </a:lnTo>
                    <a:lnTo>
                      <a:pt x="302" y="1209"/>
                    </a:lnTo>
                    <a:lnTo>
                      <a:pt x="302" y="1214"/>
                    </a:lnTo>
                    <a:lnTo>
                      <a:pt x="297" y="1219"/>
                    </a:lnTo>
                    <a:lnTo>
                      <a:pt x="293" y="1224"/>
                    </a:lnTo>
                    <a:lnTo>
                      <a:pt x="288" y="1229"/>
                    </a:lnTo>
                    <a:lnTo>
                      <a:pt x="283" y="1233"/>
                    </a:lnTo>
                    <a:lnTo>
                      <a:pt x="278" y="1238"/>
                    </a:lnTo>
                    <a:lnTo>
                      <a:pt x="278" y="1243"/>
                    </a:lnTo>
                    <a:lnTo>
                      <a:pt x="273" y="1248"/>
                    </a:lnTo>
                    <a:lnTo>
                      <a:pt x="269" y="1253"/>
                    </a:lnTo>
                    <a:lnTo>
                      <a:pt x="264" y="1257"/>
                    </a:lnTo>
                    <a:lnTo>
                      <a:pt x="259" y="1262"/>
                    </a:lnTo>
                    <a:lnTo>
                      <a:pt x="259" y="1267"/>
                    </a:lnTo>
                    <a:lnTo>
                      <a:pt x="254" y="1272"/>
                    </a:lnTo>
                    <a:lnTo>
                      <a:pt x="249" y="1277"/>
                    </a:lnTo>
                    <a:lnTo>
                      <a:pt x="245" y="1281"/>
                    </a:lnTo>
                    <a:lnTo>
                      <a:pt x="245" y="1286"/>
                    </a:lnTo>
                    <a:lnTo>
                      <a:pt x="225" y="1272"/>
                    </a:lnTo>
                    <a:lnTo>
                      <a:pt x="216" y="1267"/>
                    </a:lnTo>
                    <a:lnTo>
                      <a:pt x="211" y="1262"/>
                    </a:lnTo>
                    <a:lnTo>
                      <a:pt x="206" y="1257"/>
                    </a:lnTo>
                    <a:lnTo>
                      <a:pt x="187" y="1243"/>
                    </a:lnTo>
                    <a:lnTo>
                      <a:pt x="177" y="1238"/>
                    </a:lnTo>
                    <a:lnTo>
                      <a:pt x="163" y="1224"/>
                    </a:lnTo>
                    <a:lnTo>
                      <a:pt x="149" y="1214"/>
                    </a:lnTo>
                    <a:lnTo>
                      <a:pt x="149" y="1209"/>
                    </a:lnTo>
                    <a:lnTo>
                      <a:pt x="144" y="1205"/>
                    </a:lnTo>
                    <a:lnTo>
                      <a:pt x="134" y="1195"/>
                    </a:lnTo>
                    <a:lnTo>
                      <a:pt x="125" y="1181"/>
                    </a:lnTo>
                    <a:lnTo>
                      <a:pt x="110" y="1157"/>
                    </a:lnTo>
                    <a:lnTo>
                      <a:pt x="110" y="1152"/>
                    </a:lnTo>
                    <a:lnTo>
                      <a:pt x="105" y="1152"/>
                    </a:lnTo>
                    <a:lnTo>
                      <a:pt x="105" y="1142"/>
                    </a:lnTo>
                    <a:lnTo>
                      <a:pt x="96" y="1123"/>
                    </a:lnTo>
                    <a:lnTo>
                      <a:pt x="96" y="1118"/>
                    </a:lnTo>
                    <a:lnTo>
                      <a:pt x="91" y="1113"/>
                    </a:lnTo>
                    <a:lnTo>
                      <a:pt x="91" y="1109"/>
                    </a:lnTo>
                    <a:lnTo>
                      <a:pt x="86" y="1099"/>
                    </a:lnTo>
                    <a:lnTo>
                      <a:pt x="86" y="1089"/>
                    </a:lnTo>
                    <a:lnTo>
                      <a:pt x="81" y="1065"/>
                    </a:lnTo>
                    <a:lnTo>
                      <a:pt x="81" y="1051"/>
                    </a:lnTo>
                    <a:lnTo>
                      <a:pt x="81" y="1027"/>
                    </a:lnTo>
                    <a:lnTo>
                      <a:pt x="81" y="1003"/>
                    </a:lnTo>
                    <a:lnTo>
                      <a:pt x="81" y="998"/>
                    </a:lnTo>
                    <a:lnTo>
                      <a:pt x="86" y="984"/>
                    </a:lnTo>
                    <a:lnTo>
                      <a:pt x="91" y="969"/>
                    </a:lnTo>
                    <a:lnTo>
                      <a:pt x="91" y="955"/>
                    </a:lnTo>
                    <a:lnTo>
                      <a:pt x="91" y="945"/>
                    </a:lnTo>
                    <a:lnTo>
                      <a:pt x="91" y="941"/>
                    </a:lnTo>
                    <a:lnTo>
                      <a:pt x="91" y="936"/>
                    </a:lnTo>
                    <a:lnTo>
                      <a:pt x="86" y="907"/>
                    </a:lnTo>
                    <a:lnTo>
                      <a:pt x="86" y="893"/>
                    </a:lnTo>
                    <a:lnTo>
                      <a:pt x="81" y="873"/>
                    </a:lnTo>
                    <a:lnTo>
                      <a:pt x="77" y="869"/>
                    </a:lnTo>
                    <a:lnTo>
                      <a:pt x="77" y="864"/>
                    </a:lnTo>
                    <a:lnTo>
                      <a:pt x="77" y="859"/>
                    </a:lnTo>
                    <a:lnTo>
                      <a:pt x="72" y="849"/>
                    </a:lnTo>
                    <a:lnTo>
                      <a:pt x="67" y="830"/>
                    </a:lnTo>
                    <a:lnTo>
                      <a:pt x="67" y="825"/>
                    </a:lnTo>
                    <a:lnTo>
                      <a:pt x="62" y="825"/>
                    </a:lnTo>
                    <a:lnTo>
                      <a:pt x="57" y="806"/>
                    </a:lnTo>
                    <a:lnTo>
                      <a:pt x="48" y="792"/>
                    </a:lnTo>
                    <a:lnTo>
                      <a:pt x="48" y="782"/>
                    </a:lnTo>
                    <a:lnTo>
                      <a:pt x="38" y="763"/>
                    </a:lnTo>
                    <a:lnTo>
                      <a:pt x="33" y="753"/>
                    </a:lnTo>
                    <a:lnTo>
                      <a:pt x="29" y="734"/>
                    </a:lnTo>
                    <a:lnTo>
                      <a:pt x="24" y="725"/>
                    </a:lnTo>
                    <a:lnTo>
                      <a:pt x="24" y="720"/>
                    </a:lnTo>
                    <a:lnTo>
                      <a:pt x="19" y="715"/>
                    </a:lnTo>
                    <a:lnTo>
                      <a:pt x="14" y="701"/>
                    </a:lnTo>
                    <a:lnTo>
                      <a:pt x="14" y="696"/>
                    </a:lnTo>
                    <a:lnTo>
                      <a:pt x="9" y="681"/>
                    </a:lnTo>
                    <a:lnTo>
                      <a:pt x="9" y="677"/>
                    </a:lnTo>
                    <a:lnTo>
                      <a:pt x="5" y="648"/>
                    </a:lnTo>
                    <a:lnTo>
                      <a:pt x="5" y="633"/>
                    </a:lnTo>
                    <a:lnTo>
                      <a:pt x="0" y="624"/>
                    </a:lnTo>
                    <a:lnTo>
                      <a:pt x="0" y="600"/>
                    </a:lnTo>
                    <a:lnTo>
                      <a:pt x="0" y="595"/>
                    </a:lnTo>
                    <a:lnTo>
                      <a:pt x="5" y="585"/>
                    </a:lnTo>
                    <a:lnTo>
                      <a:pt x="14" y="556"/>
                    </a:lnTo>
                    <a:lnTo>
                      <a:pt x="19" y="547"/>
                    </a:lnTo>
                    <a:lnTo>
                      <a:pt x="24" y="537"/>
                    </a:lnTo>
                    <a:lnTo>
                      <a:pt x="24" y="518"/>
                    </a:lnTo>
                    <a:lnTo>
                      <a:pt x="48" y="518"/>
                    </a:lnTo>
                    <a:lnTo>
                      <a:pt x="77" y="518"/>
                    </a:lnTo>
                    <a:lnTo>
                      <a:pt x="86" y="518"/>
                    </a:lnTo>
                    <a:lnTo>
                      <a:pt x="105" y="518"/>
                    </a:lnTo>
                    <a:lnTo>
                      <a:pt x="110" y="518"/>
                    </a:lnTo>
                    <a:lnTo>
                      <a:pt x="115" y="518"/>
                    </a:lnTo>
                    <a:lnTo>
                      <a:pt x="120" y="523"/>
                    </a:lnTo>
                    <a:lnTo>
                      <a:pt x="129" y="518"/>
                    </a:lnTo>
                    <a:lnTo>
                      <a:pt x="129" y="523"/>
                    </a:lnTo>
                    <a:lnTo>
                      <a:pt x="134" y="523"/>
                    </a:lnTo>
                    <a:lnTo>
                      <a:pt x="139" y="523"/>
                    </a:lnTo>
                    <a:lnTo>
                      <a:pt x="144" y="523"/>
                    </a:lnTo>
                    <a:lnTo>
                      <a:pt x="139" y="513"/>
                    </a:lnTo>
                    <a:lnTo>
                      <a:pt x="144" y="513"/>
                    </a:lnTo>
                    <a:lnTo>
                      <a:pt x="144" y="508"/>
                    </a:lnTo>
                    <a:lnTo>
                      <a:pt x="153" y="504"/>
                    </a:lnTo>
                    <a:lnTo>
                      <a:pt x="153" y="499"/>
                    </a:lnTo>
                    <a:lnTo>
                      <a:pt x="153" y="494"/>
                    </a:lnTo>
                    <a:lnTo>
                      <a:pt x="158" y="489"/>
                    </a:lnTo>
                    <a:lnTo>
                      <a:pt x="163" y="494"/>
                    </a:lnTo>
                    <a:lnTo>
                      <a:pt x="163" y="489"/>
                    </a:lnTo>
                    <a:lnTo>
                      <a:pt x="168" y="494"/>
                    </a:lnTo>
                    <a:lnTo>
                      <a:pt x="173" y="494"/>
                    </a:lnTo>
                    <a:lnTo>
                      <a:pt x="177" y="494"/>
                    </a:lnTo>
                    <a:lnTo>
                      <a:pt x="177" y="489"/>
                    </a:lnTo>
                    <a:lnTo>
                      <a:pt x="182" y="489"/>
                    </a:lnTo>
                    <a:lnTo>
                      <a:pt x="192" y="484"/>
                    </a:lnTo>
                    <a:lnTo>
                      <a:pt x="197" y="484"/>
                    </a:lnTo>
                    <a:lnTo>
                      <a:pt x="197" y="480"/>
                    </a:lnTo>
                    <a:lnTo>
                      <a:pt x="201" y="480"/>
                    </a:lnTo>
                    <a:lnTo>
                      <a:pt x="206" y="475"/>
                    </a:lnTo>
                    <a:lnTo>
                      <a:pt x="206" y="470"/>
                    </a:lnTo>
                    <a:lnTo>
                      <a:pt x="211" y="470"/>
                    </a:lnTo>
                    <a:lnTo>
                      <a:pt x="216" y="470"/>
                    </a:lnTo>
                    <a:lnTo>
                      <a:pt x="221" y="465"/>
                    </a:lnTo>
                    <a:lnTo>
                      <a:pt x="230" y="460"/>
                    </a:lnTo>
                    <a:lnTo>
                      <a:pt x="230" y="456"/>
                    </a:lnTo>
                    <a:lnTo>
                      <a:pt x="235" y="456"/>
                    </a:lnTo>
                    <a:lnTo>
                      <a:pt x="230" y="451"/>
                    </a:lnTo>
                    <a:lnTo>
                      <a:pt x="235" y="451"/>
                    </a:lnTo>
                    <a:lnTo>
                      <a:pt x="235" y="446"/>
                    </a:lnTo>
                    <a:lnTo>
                      <a:pt x="235" y="441"/>
                    </a:lnTo>
                    <a:lnTo>
                      <a:pt x="235" y="436"/>
                    </a:lnTo>
                    <a:lnTo>
                      <a:pt x="240" y="436"/>
                    </a:lnTo>
                    <a:lnTo>
                      <a:pt x="240" y="432"/>
                    </a:lnTo>
                    <a:lnTo>
                      <a:pt x="240" y="427"/>
                    </a:lnTo>
                    <a:lnTo>
                      <a:pt x="245" y="427"/>
                    </a:lnTo>
                    <a:lnTo>
                      <a:pt x="249" y="422"/>
                    </a:lnTo>
                    <a:lnTo>
                      <a:pt x="254" y="422"/>
                    </a:lnTo>
                    <a:lnTo>
                      <a:pt x="259" y="417"/>
                    </a:lnTo>
                    <a:lnTo>
                      <a:pt x="273" y="403"/>
                    </a:lnTo>
                    <a:lnTo>
                      <a:pt x="278" y="393"/>
                    </a:lnTo>
                    <a:lnTo>
                      <a:pt x="278" y="388"/>
                    </a:lnTo>
                    <a:lnTo>
                      <a:pt x="283" y="388"/>
                    </a:lnTo>
                    <a:lnTo>
                      <a:pt x="288" y="384"/>
                    </a:lnTo>
                    <a:lnTo>
                      <a:pt x="288" y="379"/>
                    </a:lnTo>
                    <a:lnTo>
                      <a:pt x="288" y="374"/>
                    </a:lnTo>
                    <a:lnTo>
                      <a:pt x="288" y="369"/>
                    </a:lnTo>
                    <a:lnTo>
                      <a:pt x="293" y="364"/>
                    </a:lnTo>
                    <a:lnTo>
                      <a:pt x="293" y="360"/>
                    </a:lnTo>
                    <a:lnTo>
                      <a:pt x="293" y="355"/>
                    </a:lnTo>
                    <a:lnTo>
                      <a:pt x="293" y="350"/>
                    </a:lnTo>
                    <a:lnTo>
                      <a:pt x="297" y="350"/>
                    </a:lnTo>
                    <a:lnTo>
                      <a:pt x="302" y="340"/>
                    </a:lnTo>
                    <a:lnTo>
                      <a:pt x="302" y="336"/>
                    </a:lnTo>
                    <a:lnTo>
                      <a:pt x="307" y="336"/>
                    </a:lnTo>
                    <a:lnTo>
                      <a:pt x="312" y="331"/>
                    </a:lnTo>
                    <a:lnTo>
                      <a:pt x="317" y="326"/>
                    </a:lnTo>
                    <a:lnTo>
                      <a:pt x="317" y="321"/>
                    </a:lnTo>
                    <a:lnTo>
                      <a:pt x="321" y="316"/>
                    </a:lnTo>
                    <a:lnTo>
                      <a:pt x="321" y="312"/>
                    </a:lnTo>
                    <a:lnTo>
                      <a:pt x="321" y="307"/>
                    </a:lnTo>
                    <a:lnTo>
                      <a:pt x="326" y="302"/>
                    </a:lnTo>
                    <a:lnTo>
                      <a:pt x="331" y="302"/>
                    </a:lnTo>
                    <a:lnTo>
                      <a:pt x="336" y="302"/>
                    </a:lnTo>
                    <a:lnTo>
                      <a:pt x="341" y="302"/>
                    </a:lnTo>
                    <a:lnTo>
                      <a:pt x="341" y="307"/>
                    </a:lnTo>
                    <a:lnTo>
                      <a:pt x="345" y="307"/>
                    </a:lnTo>
                    <a:lnTo>
                      <a:pt x="345" y="302"/>
                    </a:lnTo>
                    <a:lnTo>
                      <a:pt x="345" y="297"/>
                    </a:lnTo>
                    <a:lnTo>
                      <a:pt x="345" y="292"/>
                    </a:lnTo>
                    <a:lnTo>
                      <a:pt x="341" y="283"/>
                    </a:lnTo>
                    <a:lnTo>
                      <a:pt x="345" y="283"/>
                    </a:lnTo>
                    <a:lnTo>
                      <a:pt x="345" y="278"/>
                    </a:lnTo>
                    <a:lnTo>
                      <a:pt x="345" y="273"/>
                    </a:lnTo>
                    <a:lnTo>
                      <a:pt x="345" y="268"/>
                    </a:lnTo>
                    <a:lnTo>
                      <a:pt x="350" y="268"/>
                    </a:lnTo>
                    <a:lnTo>
                      <a:pt x="350" y="264"/>
                    </a:lnTo>
                    <a:lnTo>
                      <a:pt x="350" y="259"/>
                    </a:lnTo>
                    <a:lnTo>
                      <a:pt x="355" y="254"/>
                    </a:lnTo>
                    <a:lnTo>
                      <a:pt x="355" y="249"/>
                    </a:lnTo>
                    <a:lnTo>
                      <a:pt x="360" y="249"/>
                    </a:lnTo>
                    <a:lnTo>
                      <a:pt x="360" y="240"/>
                    </a:lnTo>
                    <a:lnTo>
                      <a:pt x="360" y="235"/>
                    </a:lnTo>
                    <a:lnTo>
                      <a:pt x="360" y="230"/>
                    </a:lnTo>
                    <a:lnTo>
                      <a:pt x="365" y="230"/>
                    </a:lnTo>
                    <a:lnTo>
                      <a:pt x="369" y="225"/>
                    </a:lnTo>
                    <a:lnTo>
                      <a:pt x="369" y="220"/>
                    </a:lnTo>
                    <a:lnTo>
                      <a:pt x="374" y="220"/>
                    </a:lnTo>
                    <a:lnTo>
                      <a:pt x="374" y="216"/>
                    </a:lnTo>
                    <a:lnTo>
                      <a:pt x="379" y="220"/>
                    </a:lnTo>
                    <a:lnTo>
                      <a:pt x="384" y="220"/>
                    </a:lnTo>
                    <a:lnTo>
                      <a:pt x="384" y="216"/>
                    </a:lnTo>
                    <a:lnTo>
                      <a:pt x="389" y="211"/>
                    </a:lnTo>
                    <a:lnTo>
                      <a:pt x="398" y="211"/>
                    </a:lnTo>
                    <a:lnTo>
                      <a:pt x="403" y="206"/>
                    </a:lnTo>
                    <a:lnTo>
                      <a:pt x="408" y="201"/>
                    </a:lnTo>
                    <a:lnTo>
                      <a:pt x="413" y="201"/>
                    </a:lnTo>
                    <a:lnTo>
                      <a:pt x="427" y="192"/>
                    </a:lnTo>
                    <a:lnTo>
                      <a:pt x="432" y="192"/>
                    </a:lnTo>
                    <a:lnTo>
                      <a:pt x="432" y="187"/>
                    </a:lnTo>
                    <a:lnTo>
                      <a:pt x="432" y="182"/>
                    </a:lnTo>
                    <a:lnTo>
                      <a:pt x="432" y="177"/>
                    </a:lnTo>
                    <a:lnTo>
                      <a:pt x="427" y="172"/>
                    </a:lnTo>
                    <a:lnTo>
                      <a:pt x="422" y="172"/>
                    </a:lnTo>
                    <a:lnTo>
                      <a:pt x="422" y="168"/>
                    </a:lnTo>
                    <a:lnTo>
                      <a:pt x="432" y="163"/>
                    </a:lnTo>
                    <a:lnTo>
                      <a:pt x="432" y="158"/>
                    </a:lnTo>
                    <a:lnTo>
                      <a:pt x="437" y="158"/>
                    </a:lnTo>
                    <a:lnTo>
                      <a:pt x="437" y="153"/>
                    </a:lnTo>
                    <a:lnTo>
                      <a:pt x="441" y="153"/>
                    </a:lnTo>
                    <a:lnTo>
                      <a:pt x="451" y="153"/>
                    </a:lnTo>
                    <a:lnTo>
                      <a:pt x="451" y="148"/>
                    </a:lnTo>
                    <a:lnTo>
                      <a:pt x="451" y="144"/>
                    </a:lnTo>
                    <a:lnTo>
                      <a:pt x="456" y="144"/>
                    </a:lnTo>
                    <a:lnTo>
                      <a:pt x="456" y="148"/>
                    </a:lnTo>
                    <a:lnTo>
                      <a:pt x="461" y="148"/>
                    </a:lnTo>
                    <a:lnTo>
                      <a:pt x="465" y="144"/>
                    </a:lnTo>
                    <a:lnTo>
                      <a:pt x="470" y="144"/>
                    </a:lnTo>
                    <a:lnTo>
                      <a:pt x="475" y="144"/>
                    </a:lnTo>
                    <a:lnTo>
                      <a:pt x="475" y="139"/>
                    </a:lnTo>
                    <a:lnTo>
                      <a:pt x="485" y="139"/>
                    </a:lnTo>
                    <a:lnTo>
                      <a:pt x="485" y="134"/>
                    </a:lnTo>
                    <a:lnTo>
                      <a:pt x="485" y="129"/>
                    </a:lnTo>
                    <a:lnTo>
                      <a:pt x="485" y="124"/>
                    </a:lnTo>
                    <a:lnTo>
                      <a:pt x="485" y="120"/>
                    </a:lnTo>
                    <a:lnTo>
                      <a:pt x="489" y="120"/>
                    </a:lnTo>
                    <a:lnTo>
                      <a:pt x="489" y="115"/>
                    </a:lnTo>
                    <a:lnTo>
                      <a:pt x="489" y="105"/>
                    </a:lnTo>
                    <a:lnTo>
                      <a:pt x="489" y="100"/>
                    </a:lnTo>
                    <a:lnTo>
                      <a:pt x="485" y="96"/>
                    </a:lnTo>
                    <a:lnTo>
                      <a:pt x="485" y="91"/>
                    </a:lnTo>
                    <a:lnTo>
                      <a:pt x="485" y="86"/>
                    </a:lnTo>
                    <a:lnTo>
                      <a:pt x="485" y="81"/>
                    </a:lnTo>
                    <a:lnTo>
                      <a:pt x="480" y="81"/>
                    </a:lnTo>
                    <a:lnTo>
                      <a:pt x="475" y="76"/>
                    </a:lnTo>
                    <a:lnTo>
                      <a:pt x="470" y="72"/>
                    </a:lnTo>
                    <a:lnTo>
                      <a:pt x="475" y="67"/>
                    </a:lnTo>
                    <a:lnTo>
                      <a:pt x="480" y="62"/>
                    </a:lnTo>
                    <a:lnTo>
                      <a:pt x="480" y="57"/>
                    </a:lnTo>
                    <a:lnTo>
                      <a:pt x="485" y="52"/>
                    </a:lnTo>
                    <a:lnTo>
                      <a:pt x="485" y="48"/>
                    </a:lnTo>
                    <a:lnTo>
                      <a:pt x="489" y="48"/>
                    </a:lnTo>
                    <a:close/>
                  </a:path>
                </a:pathLst>
              </a:custGeom>
              <a:solidFill>
                <a:schemeClr val="accent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57" name="Freeform 24"/>
              <p:cNvSpPr>
                <a:spLocks/>
              </p:cNvSpPr>
              <p:nvPr/>
            </p:nvSpPr>
            <p:spPr bwMode="gray">
              <a:xfrm>
                <a:off x="2533651" y="2093913"/>
                <a:ext cx="1630363" cy="1600200"/>
              </a:xfrm>
              <a:custGeom>
                <a:avLst/>
                <a:gdLst>
                  <a:gd name="T0" fmla="*/ 48 w 1027"/>
                  <a:gd name="T1" fmla="*/ 509 h 1008"/>
                  <a:gd name="T2" fmla="*/ 43 w 1027"/>
                  <a:gd name="T3" fmla="*/ 465 h 1008"/>
                  <a:gd name="T4" fmla="*/ 28 w 1027"/>
                  <a:gd name="T5" fmla="*/ 408 h 1008"/>
                  <a:gd name="T6" fmla="*/ 43 w 1027"/>
                  <a:gd name="T7" fmla="*/ 350 h 1008"/>
                  <a:gd name="T8" fmla="*/ 72 w 1027"/>
                  <a:gd name="T9" fmla="*/ 336 h 1008"/>
                  <a:gd name="T10" fmla="*/ 110 w 1027"/>
                  <a:gd name="T11" fmla="*/ 312 h 1008"/>
                  <a:gd name="T12" fmla="*/ 115 w 1027"/>
                  <a:gd name="T13" fmla="*/ 264 h 1008"/>
                  <a:gd name="T14" fmla="*/ 134 w 1027"/>
                  <a:gd name="T15" fmla="*/ 230 h 1008"/>
                  <a:gd name="T16" fmla="*/ 134 w 1027"/>
                  <a:gd name="T17" fmla="*/ 177 h 1008"/>
                  <a:gd name="T18" fmla="*/ 124 w 1027"/>
                  <a:gd name="T19" fmla="*/ 139 h 1008"/>
                  <a:gd name="T20" fmla="*/ 158 w 1027"/>
                  <a:gd name="T21" fmla="*/ 115 h 1008"/>
                  <a:gd name="T22" fmla="*/ 196 w 1027"/>
                  <a:gd name="T23" fmla="*/ 91 h 1008"/>
                  <a:gd name="T24" fmla="*/ 254 w 1027"/>
                  <a:gd name="T25" fmla="*/ 86 h 1008"/>
                  <a:gd name="T26" fmla="*/ 283 w 1027"/>
                  <a:gd name="T27" fmla="*/ 100 h 1008"/>
                  <a:gd name="T28" fmla="*/ 278 w 1027"/>
                  <a:gd name="T29" fmla="*/ 144 h 1008"/>
                  <a:gd name="T30" fmla="*/ 288 w 1027"/>
                  <a:gd name="T31" fmla="*/ 177 h 1008"/>
                  <a:gd name="T32" fmla="*/ 340 w 1027"/>
                  <a:gd name="T33" fmla="*/ 153 h 1008"/>
                  <a:gd name="T34" fmla="*/ 388 w 1027"/>
                  <a:gd name="T35" fmla="*/ 139 h 1008"/>
                  <a:gd name="T36" fmla="*/ 446 w 1027"/>
                  <a:gd name="T37" fmla="*/ 148 h 1008"/>
                  <a:gd name="T38" fmla="*/ 494 w 1027"/>
                  <a:gd name="T39" fmla="*/ 120 h 1008"/>
                  <a:gd name="T40" fmla="*/ 523 w 1027"/>
                  <a:gd name="T41" fmla="*/ 67 h 1008"/>
                  <a:gd name="T42" fmla="*/ 552 w 1027"/>
                  <a:gd name="T43" fmla="*/ 19 h 1008"/>
                  <a:gd name="T44" fmla="*/ 604 w 1027"/>
                  <a:gd name="T45" fmla="*/ 14 h 1008"/>
                  <a:gd name="T46" fmla="*/ 657 w 1027"/>
                  <a:gd name="T47" fmla="*/ 19 h 1008"/>
                  <a:gd name="T48" fmla="*/ 705 w 1027"/>
                  <a:gd name="T49" fmla="*/ 14 h 1008"/>
                  <a:gd name="T50" fmla="*/ 753 w 1027"/>
                  <a:gd name="T51" fmla="*/ 4 h 1008"/>
                  <a:gd name="T52" fmla="*/ 806 w 1027"/>
                  <a:gd name="T53" fmla="*/ 4 h 1008"/>
                  <a:gd name="T54" fmla="*/ 844 w 1027"/>
                  <a:gd name="T55" fmla="*/ 14 h 1008"/>
                  <a:gd name="T56" fmla="*/ 892 w 1027"/>
                  <a:gd name="T57" fmla="*/ 28 h 1008"/>
                  <a:gd name="T58" fmla="*/ 940 w 1027"/>
                  <a:gd name="T59" fmla="*/ 48 h 1008"/>
                  <a:gd name="T60" fmla="*/ 984 w 1027"/>
                  <a:gd name="T61" fmla="*/ 72 h 1008"/>
                  <a:gd name="T62" fmla="*/ 988 w 1027"/>
                  <a:gd name="T63" fmla="*/ 105 h 1008"/>
                  <a:gd name="T64" fmla="*/ 969 w 1027"/>
                  <a:gd name="T65" fmla="*/ 148 h 1008"/>
                  <a:gd name="T66" fmla="*/ 936 w 1027"/>
                  <a:gd name="T67" fmla="*/ 187 h 1008"/>
                  <a:gd name="T68" fmla="*/ 926 w 1027"/>
                  <a:gd name="T69" fmla="*/ 235 h 1008"/>
                  <a:gd name="T70" fmla="*/ 926 w 1027"/>
                  <a:gd name="T71" fmla="*/ 278 h 1008"/>
                  <a:gd name="T72" fmla="*/ 916 w 1027"/>
                  <a:gd name="T73" fmla="*/ 326 h 1008"/>
                  <a:gd name="T74" fmla="*/ 940 w 1027"/>
                  <a:gd name="T75" fmla="*/ 360 h 1008"/>
                  <a:gd name="T76" fmla="*/ 964 w 1027"/>
                  <a:gd name="T77" fmla="*/ 403 h 1008"/>
                  <a:gd name="T78" fmla="*/ 1003 w 1027"/>
                  <a:gd name="T79" fmla="*/ 427 h 1008"/>
                  <a:gd name="T80" fmla="*/ 1008 w 1027"/>
                  <a:gd name="T81" fmla="*/ 475 h 1008"/>
                  <a:gd name="T82" fmla="*/ 1008 w 1027"/>
                  <a:gd name="T83" fmla="*/ 499 h 1008"/>
                  <a:gd name="T84" fmla="*/ 974 w 1027"/>
                  <a:gd name="T85" fmla="*/ 533 h 1008"/>
                  <a:gd name="T86" fmla="*/ 940 w 1027"/>
                  <a:gd name="T87" fmla="*/ 566 h 1008"/>
                  <a:gd name="T88" fmla="*/ 950 w 1027"/>
                  <a:gd name="T89" fmla="*/ 624 h 1008"/>
                  <a:gd name="T90" fmla="*/ 950 w 1027"/>
                  <a:gd name="T91" fmla="*/ 681 h 1008"/>
                  <a:gd name="T92" fmla="*/ 950 w 1027"/>
                  <a:gd name="T93" fmla="*/ 739 h 1008"/>
                  <a:gd name="T94" fmla="*/ 916 w 1027"/>
                  <a:gd name="T95" fmla="*/ 768 h 1008"/>
                  <a:gd name="T96" fmla="*/ 888 w 1027"/>
                  <a:gd name="T97" fmla="*/ 806 h 1008"/>
                  <a:gd name="T98" fmla="*/ 849 w 1027"/>
                  <a:gd name="T99" fmla="*/ 830 h 1008"/>
                  <a:gd name="T100" fmla="*/ 811 w 1027"/>
                  <a:gd name="T101" fmla="*/ 859 h 1008"/>
                  <a:gd name="T102" fmla="*/ 777 w 1027"/>
                  <a:gd name="T103" fmla="*/ 893 h 1008"/>
                  <a:gd name="T104" fmla="*/ 811 w 1027"/>
                  <a:gd name="T105" fmla="*/ 907 h 1008"/>
                  <a:gd name="T106" fmla="*/ 820 w 1027"/>
                  <a:gd name="T107" fmla="*/ 931 h 1008"/>
                  <a:gd name="T108" fmla="*/ 792 w 1027"/>
                  <a:gd name="T109" fmla="*/ 960 h 1008"/>
                  <a:gd name="T110" fmla="*/ 758 w 1027"/>
                  <a:gd name="T111" fmla="*/ 984 h 1008"/>
                  <a:gd name="T112" fmla="*/ 705 w 1027"/>
                  <a:gd name="T113" fmla="*/ 979 h 1008"/>
                  <a:gd name="T114" fmla="*/ 657 w 1027"/>
                  <a:gd name="T115" fmla="*/ 974 h 1008"/>
                  <a:gd name="T116" fmla="*/ 619 w 1027"/>
                  <a:gd name="T117" fmla="*/ 984 h 1008"/>
                  <a:gd name="T118" fmla="*/ 576 w 1027"/>
                  <a:gd name="T119" fmla="*/ 1008 h 1008"/>
                  <a:gd name="T120" fmla="*/ 542 w 1027"/>
                  <a:gd name="T121" fmla="*/ 907 h 1008"/>
                  <a:gd name="T122" fmla="*/ 225 w 1027"/>
                  <a:gd name="T123" fmla="*/ 667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7" h="1008">
                    <a:moveTo>
                      <a:pt x="0" y="528"/>
                    </a:moveTo>
                    <a:lnTo>
                      <a:pt x="4" y="528"/>
                    </a:lnTo>
                    <a:lnTo>
                      <a:pt x="9" y="528"/>
                    </a:lnTo>
                    <a:lnTo>
                      <a:pt x="9" y="523"/>
                    </a:lnTo>
                    <a:lnTo>
                      <a:pt x="14" y="523"/>
                    </a:lnTo>
                    <a:lnTo>
                      <a:pt x="19" y="518"/>
                    </a:lnTo>
                    <a:lnTo>
                      <a:pt x="24" y="518"/>
                    </a:lnTo>
                    <a:lnTo>
                      <a:pt x="28" y="518"/>
                    </a:lnTo>
                    <a:lnTo>
                      <a:pt x="33" y="513"/>
                    </a:lnTo>
                    <a:lnTo>
                      <a:pt x="38" y="513"/>
                    </a:lnTo>
                    <a:lnTo>
                      <a:pt x="43" y="509"/>
                    </a:lnTo>
                    <a:lnTo>
                      <a:pt x="48" y="509"/>
                    </a:lnTo>
                    <a:lnTo>
                      <a:pt x="52" y="509"/>
                    </a:lnTo>
                    <a:lnTo>
                      <a:pt x="52" y="504"/>
                    </a:lnTo>
                    <a:lnTo>
                      <a:pt x="57" y="504"/>
                    </a:lnTo>
                    <a:lnTo>
                      <a:pt x="57" y="499"/>
                    </a:lnTo>
                    <a:lnTo>
                      <a:pt x="52" y="494"/>
                    </a:lnTo>
                    <a:lnTo>
                      <a:pt x="52" y="489"/>
                    </a:lnTo>
                    <a:lnTo>
                      <a:pt x="52" y="485"/>
                    </a:lnTo>
                    <a:lnTo>
                      <a:pt x="52" y="480"/>
                    </a:lnTo>
                    <a:lnTo>
                      <a:pt x="48" y="480"/>
                    </a:lnTo>
                    <a:lnTo>
                      <a:pt x="48" y="475"/>
                    </a:lnTo>
                    <a:lnTo>
                      <a:pt x="48" y="470"/>
                    </a:lnTo>
                    <a:lnTo>
                      <a:pt x="43" y="465"/>
                    </a:lnTo>
                    <a:lnTo>
                      <a:pt x="43" y="461"/>
                    </a:lnTo>
                    <a:lnTo>
                      <a:pt x="43" y="456"/>
                    </a:lnTo>
                    <a:lnTo>
                      <a:pt x="43" y="451"/>
                    </a:lnTo>
                    <a:lnTo>
                      <a:pt x="38" y="446"/>
                    </a:lnTo>
                    <a:lnTo>
                      <a:pt x="38" y="441"/>
                    </a:lnTo>
                    <a:lnTo>
                      <a:pt x="38" y="437"/>
                    </a:lnTo>
                    <a:lnTo>
                      <a:pt x="33" y="432"/>
                    </a:lnTo>
                    <a:lnTo>
                      <a:pt x="33" y="427"/>
                    </a:lnTo>
                    <a:lnTo>
                      <a:pt x="33" y="422"/>
                    </a:lnTo>
                    <a:lnTo>
                      <a:pt x="28" y="417"/>
                    </a:lnTo>
                    <a:lnTo>
                      <a:pt x="28" y="413"/>
                    </a:lnTo>
                    <a:lnTo>
                      <a:pt x="28" y="408"/>
                    </a:lnTo>
                    <a:lnTo>
                      <a:pt x="33" y="403"/>
                    </a:lnTo>
                    <a:lnTo>
                      <a:pt x="33" y="398"/>
                    </a:lnTo>
                    <a:lnTo>
                      <a:pt x="33" y="393"/>
                    </a:lnTo>
                    <a:lnTo>
                      <a:pt x="38" y="389"/>
                    </a:lnTo>
                    <a:lnTo>
                      <a:pt x="38" y="384"/>
                    </a:lnTo>
                    <a:lnTo>
                      <a:pt x="38" y="379"/>
                    </a:lnTo>
                    <a:lnTo>
                      <a:pt x="43" y="374"/>
                    </a:lnTo>
                    <a:lnTo>
                      <a:pt x="43" y="369"/>
                    </a:lnTo>
                    <a:lnTo>
                      <a:pt x="48" y="365"/>
                    </a:lnTo>
                    <a:lnTo>
                      <a:pt x="43" y="360"/>
                    </a:lnTo>
                    <a:lnTo>
                      <a:pt x="43" y="355"/>
                    </a:lnTo>
                    <a:lnTo>
                      <a:pt x="43" y="350"/>
                    </a:lnTo>
                    <a:lnTo>
                      <a:pt x="38" y="350"/>
                    </a:lnTo>
                    <a:lnTo>
                      <a:pt x="38" y="345"/>
                    </a:lnTo>
                    <a:lnTo>
                      <a:pt x="43" y="345"/>
                    </a:lnTo>
                    <a:lnTo>
                      <a:pt x="48" y="350"/>
                    </a:lnTo>
                    <a:lnTo>
                      <a:pt x="52" y="350"/>
                    </a:lnTo>
                    <a:lnTo>
                      <a:pt x="52" y="345"/>
                    </a:lnTo>
                    <a:lnTo>
                      <a:pt x="57" y="345"/>
                    </a:lnTo>
                    <a:lnTo>
                      <a:pt x="57" y="341"/>
                    </a:lnTo>
                    <a:lnTo>
                      <a:pt x="62" y="341"/>
                    </a:lnTo>
                    <a:lnTo>
                      <a:pt x="62" y="336"/>
                    </a:lnTo>
                    <a:lnTo>
                      <a:pt x="67" y="336"/>
                    </a:lnTo>
                    <a:lnTo>
                      <a:pt x="72" y="336"/>
                    </a:lnTo>
                    <a:lnTo>
                      <a:pt x="72" y="331"/>
                    </a:lnTo>
                    <a:lnTo>
                      <a:pt x="76" y="331"/>
                    </a:lnTo>
                    <a:lnTo>
                      <a:pt x="81" y="331"/>
                    </a:lnTo>
                    <a:lnTo>
                      <a:pt x="81" y="326"/>
                    </a:lnTo>
                    <a:lnTo>
                      <a:pt x="86" y="326"/>
                    </a:lnTo>
                    <a:lnTo>
                      <a:pt x="86" y="321"/>
                    </a:lnTo>
                    <a:lnTo>
                      <a:pt x="86" y="317"/>
                    </a:lnTo>
                    <a:lnTo>
                      <a:pt x="91" y="317"/>
                    </a:lnTo>
                    <a:lnTo>
                      <a:pt x="96" y="312"/>
                    </a:lnTo>
                    <a:lnTo>
                      <a:pt x="100" y="312"/>
                    </a:lnTo>
                    <a:lnTo>
                      <a:pt x="105" y="312"/>
                    </a:lnTo>
                    <a:lnTo>
                      <a:pt x="110" y="312"/>
                    </a:lnTo>
                    <a:lnTo>
                      <a:pt x="110" y="307"/>
                    </a:lnTo>
                    <a:lnTo>
                      <a:pt x="110" y="302"/>
                    </a:lnTo>
                    <a:lnTo>
                      <a:pt x="110" y="297"/>
                    </a:lnTo>
                    <a:lnTo>
                      <a:pt x="110" y="293"/>
                    </a:lnTo>
                    <a:lnTo>
                      <a:pt x="105" y="288"/>
                    </a:lnTo>
                    <a:lnTo>
                      <a:pt x="110" y="288"/>
                    </a:lnTo>
                    <a:lnTo>
                      <a:pt x="105" y="283"/>
                    </a:lnTo>
                    <a:lnTo>
                      <a:pt x="105" y="278"/>
                    </a:lnTo>
                    <a:lnTo>
                      <a:pt x="105" y="273"/>
                    </a:lnTo>
                    <a:lnTo>
                      <a:pt x="105" y="269"/>
                    </a:lnTo>
                    <a:lnTo>
                      <a:pt x="110" y="264"/>
                    </a:lnTo>
                    <a:lnTo>
                      <a:pt x="115" y="264"/>
                    </a:lnTo>
                    <a:lnTo>
                      <a:pt x="120" y="264"/>
                    </a:lnTo>
                    <a:lnTo>
                      <a:pt x="124" y="264"/>
                    </a:lnTo>
                    <a:lnTo>
                      <a:pt x="124" y="259"/>
                    </a:lnTo>
                    <a:lnTo>
                      <a:pt x="129" y="259"/>
                    </a:lnTo>
                    <a:lnTo>
                      <a:pt x="129" y="254"/>
                    </a:lnTo>
                    <a:lnTo>
                      <a:pt x="134" y="254"/>
                    </a:lnTo>
                    <a:lnTo>
                      <a:pt x="134" y="249"/>
                    </a:lnTo>
                    <a:lnTo>
                      <a:pt x="134" y="244"/>
                    </a:lnTo>
                    <a:lnTo>
                      <a:pt x="139" y="240"/>
                    </a:lnTo>
                    <a:lnTo>
                      <a:pt x="139" y="235"/>
                    </a:lnTo>
                    <a:lnTo>
                      <a:pt x="139" y="230"/>
                    </a:lnTo>
                    <a:lnTo>
                      <a:pt x="134" y="230"/>
                    </a:lnTo>
                    <a:lnTo>
                      <a:pt x="134" y="225"/>
                    </a:lnTo>
                    <a:lnTo>
                      <a:pt x="134" y="220"/>
                    </a:lnTo>
                    <a:lnTo>
                      <a:pt x="134" y="216"/>
                    </a:lnTo>
                    <a:lnTo>
                      <a:pt x="134" y="211"/>
                    </a:lnTo>
                    <a:lnTo>
                      <a:pt x="129" y="206"/>
                    </a:lnTo>
                    <a:lnTo>
                      <a:pt x="129" y="201"/>
                    </a:lnTo>
                    <a:lnTo>
                      <a:pt x="129" y="196"/>
                    </a:lnTo>
                    <a:lnTo>
                      <a:pt x="129" y="192"/>
                    </a:lnTo>
                    <a:lnTo>
                      <a:pt x="129" y="187"/>
                    </a:lnTo>
                    <a:lnTo>
                      <a:pt x="134" y="187"/>
                    </a:lnTo>
                    <a:lnTo>
                      <a:pt x="134" y="182"/>
                    </a:lnTo>
                    <a:lnTo>
                      <a:pt x="134" y="177"/>
                    </a:lnTo>
                    <a:lnTo>
                      <a:pt x="134" y="172"/>
                    </a:lnTo>
                    <a:lnTo>
                      <a:pt x="139" y="172"/>
                    </a:lnTo>
                    <a:lnTo>
                      <a:pt x="139" y="168"/>
                    </a:lnTo>
                    <a:lnTo>
                      <a:pt x="139" y="163"/>
                    </a:lnTo>
                    <a:lnTo>
                      <a:pt x="134" y="163"/>
                    </a:lnTo>
                    <a:lnTo>
                      <a:pt x="134" y="158"/>
                    </a:lnTo>
                    <a:lnTo>
                      <a:pt x="129" y="158"/>
                    </a:lnTo>
                    <a:lnTo>
                      <a:pt x="129" y="153"/>
                    </a:lnTo>
                    <a:lnTo>
                      <a:pt x="124" y="153"/>
                    </a:lnTo>
                    <a:lnTo>
                      <a:pt x="124" y="148"/>
                    </a:lnTo>
                    <a:lnTo>
                      <a:pt x="124" y="144"/>
                    </a:lnTo>
                    <a:lnTo>
                      <a:pt x="124" y="139"/>
                    </a:lnTo>
                    <a:lnTo>
                      <a:pt x="124" y="134"/>
                    </a:lnTo>
                    <a:lnTo>
                      <a:pt x="129" y="134"/>
                    </a:lnTo>
                    <a:lnTo>
                      <a:pt x="129" y="129"/>
                    </a:lnTo>
                    <a:lnTo>
                      <a:pt x="129" y="124"/>
                    </a:lnTo>
                    <a:lnTo>
                      <a:pt x="129" y="120"/>
                    </a:lnTo>
                    <a:lnTo>
                      <a:pt x="134" y="120"/>
                    </a:lnTo>
                    <a:lnTo>
                      <a:pt x="134" y="115"/>
                    </a:lnTo>
                    <a:lnTo>
                      <a:pt x="139" y="115"/>
                    </a:lnTo>
                    <a:lnTo>
                      <a:pt x="144" y="115"/>
                    </a:lnTo>
                    <a:lnTo>
                      <a:pt x="148" y="115"/>
                    </a:lnTo>
                    <a:lnTo>
                      <a:pt x="153" y="115"/>
                    </a:lnTo>
                    <a:lnTo>
                      <a:pt x="158" y="115"/>
                    </a:lnTo>
                    <a:lnTo>
                      <a:pt x="163" y="115"/>
                    </a:lnTo>
                    <a:lnTo>
                      <a:pt x="168" y="110"/>
                    </a:lnTo>
                    <a:lnTo>
                      <a:pt x="172" y="110"/>
                    </a:lnTo>
                    <a:lnTo>
                      <a:pt x="177" y="110"/>
                    </a:lnTo>
                    <a:lnTo>
                      <a:pt x="182" y="110"/>
                    </a:lnTo>
                    <a:lnTo>
                      <a:pt x="187" y="110"/>
                    </a:lnTo>
                    <a:lnTo>
                      <a:pt x="192" y="110"/>
                    </a:lnTo>
                    <a:lnTo>
                      <a:pt x="192" y="105"/>
                    </a:lnTo>
                    <a:lnTo>
                      <a:pt x="196" y="105"/>
                    </a:lnTo>
                    <a:lnTo>
                      <a:pt x="196" y="100"/>
                    </a:lnTo>
                    <a:lnTo>
                      <a:pt x="196" y="96"/>
                    </a:lnTo>
                    <a:lnTo>
                      <a:pt x="196" y="91"/>
                    </a:lnTo>
                    <a:lnTo>
                      <a:pt x="201" y="91"/>
                    </a:lnTo>
                    <a:lnTo>
                      <a:pt x="206" y="91"/>
                    </a:lnTo>
                    <a:lnTo>
                      <a:pt x="211" y="91"/>
                    </a:lnTo>
                    <a:lnTo>
                      <a:pt x="216" y="91"/>
                    </a:lnTo>
                    <a:lnTo>
                      <a:pt x="220" y="86"/>
                    </a:lnTo>
                    <a:lnTo>
                      <a:pt x="225" y="86"/>
                    </a:lnTo>
                    <a:lnTo>
                      <a:pt x="230" y="86"/>
                    </a:lnTo>
                    <a:lnTo>
                      <a:pt x="235" y="86"/>
                    </a:lnTo>
                    <a:lnTo>
                      <a:pt x="240" y="86"/>
                    </a:lnTo>
                    <a:lnTo>
                      <a:pt x="244" y="86"/>
                    </a:lnTo>
                    <a:lnTo>
                      <a:pt x="249" y="86"/>
                    </a:lnTo>
                    <a:lnTo>
                      <a:pt x="254" y="86"/>
                    </a:lnTo>
                    <a:lnTo>
                      <a:pt x="259" y="86"/>
                    </a:lnTo>
                    <a:lnTo>
                      <a:pt x="264" y="86"/>
                    </a:lnTo>
                    <a:lnTo>
                      <a:pt x="268" y="86"/>
                    </a:lnTo>
                    <a:lnTo>
                      <a:pt x="273" y="81"/>
                    </a:lnTo>
                    <a:lnTo>
                      <a:pt x="278" y="81"/>
                    </a:lnTo>
                    <a:lnTo>
                      <a:pt x="283" y="81"/>
                    </a:lnTo>
                    <a:lnTo>
                      <a:pt x="283" y="86"/>
                    </a:lnTo>
                    <a:lnTo>
                      <a:pt x="283" y="91"/>
                    </a:lnTo>
                    <a:lnTo>
                      <a:pt x="278" y="91"/>
                    </a:lnTo>
                    <a:lnTo>
                      <a:pt x="278" y="96"/>
                    </a:lnTo>
                    <a:lnTo>
                      <a:pt x="278" y="100"/>
                    </a:lnTo>
                    <a:lnTo>
                      <a:pt x="283" y="100"/>
                    </a:lnTo>
                    <a:lnTo>
                      <a:pt x="283" y="105"/>
                    </a:lnTo>
                    <a:lnTo>
                      <a:pt x="283" y="110"/>
                    </a:lnTo>
                    <a:lnTo>
                      <a:pt x="283" y="115"/>
                    </a:lnTo>
                    <a:lnTo>
                      <a:pt x="288" y="115"/>
                    </a:lnTo>
                    <a:lnTo>
                      <a:pt x="288" y="120"/>
                    </a:lnTo>
                    <a:lnTo>
                      <a:pt x="288" y="124"/>
                    </a:lnTo>
                    <a:lnTo>
                      <a:pt x="283" y="124"/>
                    </a:lnTo>
                    <a:lnTo>
                      <a:pt x="283" y="129"/>
                    </a:lnTo>
                    <a:lnTo>
                      <a:pt x="283" y="134"/>
                    </a:lnTo>
                    <a:lnTo>
                      <a:pt x="283" y="139"/>
                    </a:lnTo>
                    <a:lnTo>
                      <a:pt x="278" y="139"/>
                    </a:lnTo>
                    <a:lnTo>
                      <a:pt x="278" y="144"/>
                    </a:lnTo>
                    <a:lnTo>
                      <a:pt x="278" y="148"/>
                    </a:lnTo>
                    <a:lnTo>
                      <a:pt x="278" y="153"/>
                    </a:lnTo>
                    <a:lnTo>
                      <a:pt x="278" y="158"/>
                    </a:lnTo>
                    <a:lnTo>
                      <a:pt x="278" y="163"/>
                    </a:lnTo>
                    <a:lnTo>
                      <a:pt x="278" y="168"/>
                    </a:lnTo>
                    <a:lnTo>
                      <a:pt x="278" y="172"/>
                    </a:lnTo>
                    <a:lnTo>
                      <a:pt x="278" y="177"/>
                    </a:lnTo>
                    <a:lnTo>
                      <a:pt x="278" y="182"/>
                    </a:lnTo>
                    <a:lnTo>
                      <a:pt x="278" y="187"/>
                    </a:lnTo>
                    <a:lnTo>
                      <a:pt x="283" y="187"/>
                    </a:lnTo>
                    <a:lnTo>
                      <a:pt x="283" y="182"/>
                    </a:lnTo>
                    <a:lnTo>
                      <a:pt x="288" y="177"/>
                    </a:lnTo>
                    <a:lnTo>
                      <a:pt x="292" y="177"/>
                    </a:lnTo>
                    <a:lnTo>
                      <a:pt x="292" y="172"/>
                    </a:lnTo>
                    <a:lnTo>
                      <a:pt x="297" y="172"/>
                    </a:lnTo>
                    <a:lnTo>
                      <a:pt x="302" y="168"/>
                    </a:lnTo>
                    <a:lnTo>
                      <a:pt x="302" y="163"/>
                    </a:lnTo>
                    <a:lnTo>
                      <a:pt x="312" y="163"/>
                    </a:lnTo>
                    <a:lnTo>
                      <a:pt x="316" y="163"/>
                    </a:lnTo>
                    <a:lnTo>
                      <a:pt x="321" y="158"/>
                    </a:lnTo>
                    <a:lnTo>
                      <a:pt x="326" y="158"/>
                    </a:lnTo>
                    <a:lnTo>
                      <a:pt x="331" y="153"/>
                    </a:lnTo>
                    <a:lnTo>
                      <a:pt x="336" y="153"/>
                    </a:lnTo>
                    <a:lnTo>
                      <a:pt x="340" y="153"/>
                    </a:lnTo>
                    <a:lnTo>
                      <a:pt x="340" y="148"/>
                    </a:lnTo>
                    <a:lnTo>
                      <a:pt x="345" y="148"/>
                    </a:lnTo>
                    <a:lnTo>
                      <a:pt x="350" y="144"/>
                    </a:lnTo>
                    <a:lnTo>
                      <a:pt x="355" y="144"/>
                    </a:lnTo>
                    <a:lnTo>
                      <a:pt x="360" y="144"/>
                    </a:lnTo>
                    <a:lnTo>
                      <a:pt x="364" y="139"/>
                    </a:lnTo>
                    <a:lnTo>
                      <a:pt x="369" y="139"/>
                    </a:lnTo>
                    <a:lnTo>
                      <a:pt x="374" y="134"/>
                    </a:lnTo>
                    <a:lnTo>
                      <a:pt x="374" y="139"/>
                    </a:lnTo>
                    <a:lnTo>
                      <a:pt x="379" y="139"/>
                    </a:lnTo>
                    <a:lnTo>
                      <a:pt x="384" y="139"/>
                    </a:lnTo>
                    <a:lnTo>
                      <a:pt x="388" y="139"/>
                    </a:lnTo>
                    <a:lnTo>
                      <a:pt x="393" y="144"/>
                    </a:lnTo>
                    <a:lnTo>
                      <a:pt x="398" y="144"/>
                    </a:lnTo>
                    <a:lnTo>
                      <a:pt x="403" y="144"/>
                    </a:lnTo>
                    <a:lnTo>
                      <a:pt x="408" y="144"/>
                    </a:lnTo>
                    <a:lnTo>
                      <a:pt x="412" y="148"/>
                    </a:lnTo>
                    <a:lnTo>
                      <a:pt x="417" y="148"/>
                    </a:lnTo>
                    <a:lnTo>
                      <a:pt x="422" y="148"/>
                    </a:lnTo>
                    <a:lnTo>
                      <a:pt x="427" y="148"/>
                    </a:lnTo>
                    <a:lnTo>
                      <a:pt x="432" y="148"/>
                    </a:lnTo>
                    <a:lnTo>
                      <a:pt x="436" y="153"/>
                    </a:lnTo>
                    <a:lnTo>
                      <a:pt x="441" y="153"/>
                    </a:lnTo>
                    <a:lnTo>
                      <a:pt x="446" y="148"/>
                    </a:lnTo>
                    <a:lnTo>
                      <a:pt x="451" y="144"/>
                    </a:lnTo>
                    <a:lnTo>
                      <a:pt x="456" y="139"/>
                    </a:lnTo>
                    <a:lnTo>
                      <a:pt x="456" y="134"/>
                    </a:lnTo>
                    <a:lnTo>
                      <a:pt x="460" y="129"/>
                    </a:lnTo>
                    <a:lnTo>
                      <a:pt x="465" y="124"/>
                    </a:lnTo>
                    <a:lnTo>
                      <a:pt x="470" y="124"/>
                    </a:lnTo>
                    <a:lnTo>
                      <a:pt x="475" y="124"/>
                    </a:lnTo>
                    <a:lnTo>
                      <a:pt x="480" y="124"/>
                    </a:lnTo>
                    <a:lnTo>
                      <a:pt x="480" y="120"/>
                    </a:lnTo>
                    <a:lnTo>
                      <a:pt x="484" y="120"/>
                    </a:lnTo>
                    <a:lnTo>
                      <a:pt x="489" y="120"/>
                    </a:lnTo>
                    <a:lnTo>
                      <a:pt x="494" y="120"/>
                    </a:lnTo>
                    <a:lnTo>
                      <a:pt x="499" y="120"/>
                    </a:lnTo>
                    <a:lnTo>
                      <a:pt x="499" y="115"/>
                    </a:lnTo>
                    <a:lnTo>
                      <a:pt x="504" y="110"/>
                    </a:lnTo>
                    <a:lnTo>
                      <a:pt x="504" y="105"/>
                    </a:lnTo>
                    <a:lnTo>
                      <a:pt x="508" y="100"/>
                    </a:lnTo>
                    <a:lnTo>
                      <a:pt x="508" y="96"/>
                    </a:lnTo>
                    <a:lnTo>
                      <a:pt x="513" y="91"/>
                    </a:lnTo>
                    <a:lnTo>
                      <a:pt x="513" y="86"/>
                    </a:lnTo>
                    <a:lnTo>
                      <a:pt x="518" y="81"/>
                    </a:lnTo>
                    <a:lnTo>
                      <a:pt x="518" y="76"/>
                    </a:lnTo>
                    <a:lnTo>
                      <a:pt x="523" y="72"/>
                    </a:lnTo>
                    <a:lnTo>
                      <a:pt x="523" y="67"/>
                    </a:lnTo>
                    <a:lnTo>
                      <a:pt x="523" y="62"/>
                    </a:lnTo>
                    <a:lnTo>
                      <a:pt x="528" y="57"/>
                    </a:lnTo>
                    <a:lnTo>
                      <a:pt x="528" y="52"/>
                    </a:lnTo>
                    <a:lnTo>
                      <a:pt x="532" y="48"/>
                    </a:lnTo>
                    <a:lnTo>
                      <a:pt x="532" y="43"/>
                    </a:lnTo>
                    <a:lnTo>
                      <a:pt x="537" y="38"/>
                    </a:lnTo>
                    <a:lnTo>
                      <a:pt x="537" y="33"/>
                    </a:lnTo>
                    <a:lnTo>
                      <a:pt x="542" y="28"/>
                    </a:lnTo>
                    <a:lnTo>
                      <a:pt x="542" y="24"/>
                    </a:lnTo>
                    <a:lnTo>
                      <a:pt x="542" y="19"/>
                    </a:lnTo>
                    <a:lnTo>
                      <a:pt x="547" y="19"/>
                    </a:lnTo>
                    <a:lnTo>
                      <a:pt x="552" y="19"/>
                    </a:lnTo>
                    <a:lnTo>
                      <a:pt x="556" y="19"/>
                    </a:lnTo>
                    <a:lnTo>
                      <a:pt x="561" y="19"/>
                    </a:lnTo>
                    <a:lnTo>
                      <a:pt x="566" y="19"/>
                    </a:lnTo>
                    <a:lnTo>
                      <a:pt x="571" y="19"/>
                    </a:lnTo>
                    <a:lnTo>
                      <a:pt x="576" y="19"/>
                    </a:lnTo>
                    <a:lnTo>
                      <a:pt x="580" y="19"/>
                    </a:lnTo>
                    <a:lnTo>
                      <a:pt x="585" y="19"/>
                    </a:lnTo>
                    <a:lnTo>
                      <a:pt x="590" y="19"/>
                    </a:lnTo>
                    <a:lnTo>
                      <a:pt x="595" y="19"/>
                    </a:lnTo>
                    <a:lnTo>
                      <a:pt x="595" y="14"/>
                    </a:lnTo>
                    <a:lnTo>
                      <a:pt x="600" y="14"/>
                    </a:lnTo>
                    <a:lnTo>
                      <a:pt x="604" y="14"/>
                    </a:lnTo>
                    <a:lnTo>
                      <a:pt x="609" y="14"/>
                    </a:lnTo>
                    <a:lnTo>
                      <a:pt x="614" y="14"/>
                    </a:lnTo>
                    <a:lnTo>
                      <a:pt x="619" y="14"/>
                    </a:lnTo>
                    <a:lnTo>
                      <a:pt x="624" y="14"/>
                    </a:lnTo>
                    <a:lnTo>
                      <a:pt x="628" y="14"/>
                    </a:lnTo>
                    <a:lnTo>
                      <a:pt x="633" y="14"/>
                    </a:lnTo>
                    <a:lnTo>
                      <a:pt x="633" y="19"/>
                    </a:lnTo>
                    <a:lnTo>
                      <a:pt x="638" y="19"/>
                    </a:lnTo>
                    <a:lnTo>
                      <a:pt x="643" y="19"/>
                    </a:lnTo>
                    <a:lnTo>
                      <a:pt x="648" y="19"/>
                    </a:lnTo>
                    <a:lnTo>
                      <a:pt x="652" y="19"/>
                    </a:lnTo>
                    <a:lnTo>
                      <a:pt x="657" y="19"/>
                    </a:lnTo>
                    <a:lnTo>
                      <a:pt x="662" y="19"/>
                    </a:lnTo>
                    <a:lnTo>
                      <a:pt x="662" y="24"/>
                    </a:lnTo>
                    <a:lnTo>
                      <a:pt x="667" y="24"/>
                    </a:lnTo>
                    <a:lnTo>
                      <a:pt x="672" y="24"/>
                    </a:lnTo>
                    <a:lnTo>
                      <a:pt x="676" y="24"/>
                    </a:lnTo>
                    <a:lnTo>
                      <a:pt x="681" y="24"/>
                    </a:lnTo>
                    <a:lnTo>
                      <a:pt x="686" y="24"/>
                    </a:lnTo>
                    <a:lnTo>
                      <a:pt x="686" y="19"/>
                    </a:lnTo>
                    <a:lnTo>
                      <a:pt x="691" y="19"/>
                    </a:lnTo>
                    <a:lnTo>
                      <a:pt x="696" y="14"/>
                    </a:lnTo>
                    <a:lnTo>
                      <a:pt x="700" y="14"/>
                    </a:lnTo>
                    <a:lnTo>
                      <a:pt x="705" y="14"/>
                    </a:lnTo>
                    <a:lnTo>
                      <a:pt x="705" y="9"/>
                    </a:lnTo>
                    <a:lnTo>
                      <a:pt x="710" y="9"/>
                    </a:lnTo>
                    <a:lnTo>
                      <a:pt x="715" y="9"/>
                    </a:lnTo>
                    <a:lnTo>
                      <a:pt x="715" y="4"/>
                    </a:lnTo>
                    <a:lnTo>
                      <a:pt x="720" y="4"/>
                    </a:lnTo>
                    <a:lnTo>
                      <a:pt x="724" y="4"/>
                    </a:lnTo>
                    <a:lnTo>
                      <a:pt x="729" y="4"/>
                    </a:lnTo>
                    <a:lnTo>
                      <a:pt x="734" y="4"/>
                    </a:lnTo>
                    <a:lnTo>
                      <a:pt x="739" y="4"/>
                    </a:lnTo>
                    <a:lnTo>
                      <a:pt x="744" y="4"/>
                    </a:lnTo>
                    <a:lnTo>
                      <a:pt x="748" y="4"/>
                    </a:lnTo>
                    <a:lnTo>
                      <a:pt x="753" y="4"/>
                    </a:lnTo>
                    <a:lnTo>
                      <a:pt x="753" y="9"/>
                    </a:lnTo>
                    <a:lnTo>
                      <a:pt x="758" y="9"/>
                    </a:lnTo>
                    <a:lnTo>
                      <a:pt x="763" y="9"/>
                    </a:lnTo>
                    <a:lnTo>
                      <a:pt x="768" y="14"/>
                    </a:lnTo>
                    <a:lnTo>
                      <a:pt x="772" y="9"/>
                    </a:lnTo>
                    <a:lnTo>
                      <a:pt x="777" y="9"/>
                    </a:lnTo>
                    <a:lnTo>
                      <a:pt x="782" y="9"/>
                    </a:lnTo>
                    <a:lnTo>
                      <a:pt x="787" y="9"/>
                    </a:lnTo>
                    <a:lnTo>
                      <a:pt x="792" y="9"/>
                    </a:lnTo>
                    <a:lnTo>
                      <a:pt x="796" y="9"/>
                    </a:lnTo>
                    <a:lnTo>
                      <a:pt x="801" y="4"/>
                    </a:lnTo>
                    <a:lnTo>
                      <a:pt x="806" y="4"/>
                    </a:lnTo>
                    <a:lnTo>
                      <a:pt x="806" y="0"/>
                    </a:lnTo>
                    <a:lnTo>
                      <a:pt x="811" y="0"/>
                    </a:lnTo>
                    <a:lnTo>
                      <a:pt x="816" y="0"/>
                    </a:lnTo>
                    <a:lnTo>
                      <a:pt x="820" y="0"/>
                    </a:lnTo>
                    <a:lnTo>
                      <a:pt x="825" y="0"/>
                    </a:lnTo>
                    <a:lnTo>
                      <a:pt x="825" y="4"/>
                    </a:lnTo>
                    <a:lnTo>
                      <a:pt x="830" y="4"/>
                    </a:lnTo>
                    <a:lnTo>
                      <a:pt x="835" y="4"/>
                    </a:lnTo>
                    <a:lnTo>
                      <a:pt x="835" y="9"/>
                    </a:lnTo>
                    <a:lnTo>
                      <a:pt x="840" y="9"/>
                    </a:lnTo>
                    <a:lnTo>
                      <a:pt x="840" y="14"/>
                    </a:lnTo>
                    <a:lnTo>
                      <a:pt x="844" y="14"/>
                    </a:lnTo>
                    <a:lnTo>
                      <a:pt x="849" y="19"/>
                    </a:lnTo>
                    <a:lnTo>
                      <a:pt x="854" y="19"/>
                    </a:lnTo>
                    <a:lnTo>
                      <a:pt x="854" y="24"/>
                    </a:lnTo>
                    <a:lnTo>
                      <a:pt x="859" y="24"/>
                    </a:lnTo>
                    <a:lnTo>
                      <a:pt x="864" y="24"/>
                    </a:lnTo>
                    <a:lnTo>
                      <a:pt x="868" y="24"/>
                    </a:lnTo>
                    <a:lnTo>
                      <a:pt x="873" y="24"/>
                    </a:lnTo>
                    <a:lnTo>
                      <a:pt x="873" y="28"/>
                    </a:lnTo>
                    <a:lnTo>
                      <a:pt x="878" y="28"/>
                    </a:lnTo>
                    <a:lnTo>
                      <a:pt x="883" y="28"/>
                    </a:lnTo>
                    <a:lnTo>
                      <a:pt x="888" y="28"/>
                    </a:lnTo>
                    <a:lnTo>
                      <a:pt x="892" y="28"/>
                    </a:lnTo>
                    <a:lnTo>
                      <a:pt x="892" y="33"/>
                    </a:lnTo>
                    <a:lnTo>
                      <a:pt x="897" y="33"/>
                    </a:lnTo>
                    <a:lnTo>
                      <a:pt x="902" y="33"/>
                    </a:lnTo>
                    <a:lnTo>
                      <a:pt x="907" y="33"/>
                    </a:lnTo>
                    <a:lnTo>
                      <a:pt x="912" y="33"/>
                    </a:lnTo>
                    <a:lnTo>
                      <a:pt x="916" y="33"/>
                    </a:lnTo>
                    <a:lnTo>
                      <a:pt x="921" y="33"/>
                    </a:lnTo>
                    <a:lnTo>
                      <a:pt x="926" y="38"/>
                    </a:lnTo>
                    <a:lnTo>
                      <a:pt x="931" y="38"/>
                    </a:lnTo>
                    <a:lnTo>
                      <a:pt x="931" y="43"/>
                    </a:lnTo>
                    <a:lnTo>
                      <a:pt x="936" y="43"/>
                    </a:lnTo>
                    <a:lnTo>
                      <a:pt x="940" y="48"/>
                    </a:lnTo>
                    <a:lnTo>
                      <a:pt x="945" y="48"/>
                    </a:lnTo>
                    <a:lnTo>
                      <a:pt x="950" y="48"/>
                    </a:lnTo>
                    <a:lnTo>
                      <a:pt x="955" y="48"/>
                    </a:lnTo>
                    <a:lnTo>
                      <a:pt x="960" y="48"/>
                    </a:lnTo>
                    <a:lnTo>
                      <a:pt x="964" y="52"/>
                    </a:lnTo>
                    <a:lnTo>
                      <a:pt x="969" y="52"/>
                    </a:lnTo>
                    <a:lnTo>
                      <a:pt x="969" y="57"/>
                    </a:lnTo>
                    <a:lnTo>
                      <a:pt x="974" y="57"/>
                    </a:lnTo>
                    <a:lnTo>
                      <a:pt x="974" y="62"/>
                    </a:lnTo>
                    <a:lnTo>
                      <a:pt x="979" y="62"/>
                    </a:lnTo>
                    <a:lnTo>
                      <a:pt x="979" y="67"/>
                    </a:lnTo>
                    <a:lnTo>
                      <a:pt x="984" y="72"/>
                    </a:lnTo>
                    <a:lnTo>
                      <a:pt x="984" y="76"/>
                    </a:lnTo>
                    <a:lnTo>
                      <a:pt x="988" y="76"/>
                    </a:lnTo>
                    <a:lnTo>
                      <a:pt x="988" y="81"/>
                    </a:lnTo>
                    <a:lnTo>
                      <a:pt x="993" y="81"/>
                    </a:lnTo>
                    <a:lnTo>
                      <a:pt x="993" y="86"/>
                    </a:lnTo>
                    <a:lnTo>
                      <a:pt x="998" y="86"/>
                    </a:lnTo>
                    <a:lnTo>
                      <a:pt x="998" y="91"/>
                    </a:lnTo>
                    <a:lnTo>
                      <a:pt x="1003" y="91"/>
                    </a:lnTo>
                    <a:lnTo>
                      <a:pt x="998" y="96"/>
                    </a:lnTo>
                    <a:lnTo>
                      <a:pt x="998" y="100"/>
                    </a:lnTo>
                    <a:lnTo>
                      <a:pt x="993" y="105"/>
                    </a:lnTo>
                    <a:lnTo>
                      <a:pt x="988" y="105"/>
                    </a:lnTo>
                    <a:lnTo>
                      <a:pt x="988" y="110"/>
                    </a:lnTo>
                    <a:lnTo>
                      <a:pt x="984" y="110"/>
                    </a:lnTo>
                    <a:lnTo>
                      <a:pt x="984" y="115"/>
                    </a:lnTo>
                    <a:lnTo>
                      <a:pt x="984" y="120"/>
                    </a:lnTo>
                    <a:lnTo>
                      <a:pt x="979" y="124"/>
                    </a:lnTo>
                    <a:lnTo>
                      <a:pt x="979" y="129"/>
                    </a:lnTo>
                    <a:lnTo>
                      <a:pt x="979" y="134"/>
                    </a:lnTo>
                    <a:lnTo>
                      <a:pt x="979" y="139"/>
                    </a:lnTo>
                    <a:lnTo>
                      <a:pt x="974" y="139"/>
                    </a:lnTo>
                    <a:lnTo>
                      <a:pt x="974" y="144"/>
                    </a:lnTo>
                    <a:lnTo>
                      <a:pt x="974" y="148"/>
                    </a:lnTo>
                    <a:lnTo>
                      <a:pt x="969" y="148"/>
                    </a:lnTo>
                    <a:lnTo>
                      <a:pt x="969" y="153"/>
                    </a:lnTo>
                    <a:lnTo>
                      <a:pt x="964" y="158"/>
                    </a:lnTo>
                    <a:lnTo>
                      <a:pt x="964" y="163"/>
                    </a:lnTo>
                    <a:lnTo>
                      <a:pt x="960" y="168"/>
                    </a:lnTo>
                    <a:lnTo>
                      <a:pt x="960" y="172"/>
                    </a:lnTo>
                    <a:lnTo>
                      <a:pt x="955" y="172"/>
                    </a:lnTo>
                    <a:lnTo>
                      <a:pt x="950" y="172"/>
                    </a:lnTo>
                    <a:lnTo>
                      <a:pt x="950" y="177"/>
                    </a:lnTo>
                    <a:lnTo>
                      <a:pt x="945" y="177"/>
                    </a:lnTo>
                    <a:lnTo>
                      <a:pt x="940" y="182"/>
                    </a:lnTo>
                    <a:lnTo>
                      <a:pt x="936" y="182"/>
                    </a:lnTo>
                    <a:lnTo>
                      <a:pt x="936" y="187"/>
                    </a:lnTo>
                    <a:lnTo>
                      <a:pt x="936" y="192"/>
                    </a:lnTo>
                    <a:lnTo>
                      <a:pt x="936" y="196"/>
                    </a:lnTo>
                    <a:lnTo>
                      <a:pt x="931" y="196"/>
                    </a:lnTo>
                    <a:lnTo>
                      <a:pt x="931" y="201"/>
                    </a:lnTo>
                    <a:lnTo>
                      <a:pt x="931" y="206"/>
                    </a:lnTo>
                    <a:lnTo>
                      <a:pt x="931" y="211"/>
                    </a:lnTo>
                    <a:lnTo>
                      <a:pt x="931" y="216"/>
                    </a:lnTo>
                    <a:lnTo>
                      <a:pt x="931" y="220"/>
                    </a:lnTo>
                    <a:lnTo>
                      <a:pt x="926" y="220"/>
                    </a:lnTo>
                    <a:lnTo>
                      <a:pt x="926" y="225"/>
                    </a:lnTo>
                    <a:lnTo>
                      <a:pt x="926" y="230"/>
                    </a:lnTo>
                    <a:lnTo>
                      <a:pt x="926" y="235"/>
                    </a:lnTo>
                    <a:lnTo>
                      <a:pt x="926" y="240"/>
                    </a:lnTo>
                    <a:lnTo>
                      <a:pt x="926" y="244"/>
                    </a:lnTo>
                    <a:lnTo>
                      <a:pt x="926" y="249"/>
                    </a:lnTo>
                    <a:lnTo>
                      <a:pt x="931" y="249"/>
                    </a:lnTo>
                    <a:lnTo>
                      <a:pt x="931" y="254"/>
                    </a:lnTo>
                    <a:lnTo>
                      <a:pt x="931" y="259"/>
                    </a:lnTo>
                    <a:lnTo>
                      <a:pt x="931" y="264"/>
                    </a:lnTo>
                    <a:lnTo>
                      <a:pt x="931" y="269"/>
                    </a:lnTo>
                    <a:lnTo>
                      <a:pt x="926" y="273"/>
                    </a:lnTo>
                    <a:lnTo>
                      <a:pt x="931" y="273"/>
                    </a:lnTo>
                    <a:lnTo>
                      <a:pt x="931" y="278"/>
                    </a:lnTo>
                    <a:lnTo>
                      <a:pt x="926" y="278"/>
                    </a:lnTo>
                    <a:lnTo>
                      <a:pt x="926" y="283"/>
                    </a:lnTo>
                    <a:lnTo>
                      <a:pt x="926" y="288"/>
                    </a:lnTo>
                    <a:lnTo>
                      <a:pt x="926" y="293"/>
                    </a:lnTo>
                    <a:lnTo>
                      <a:pt x="921" y="293"/>
                    </a:lnTo>
                    <a:lnTo>
                      <a:pt x="921" y="297"/>
                    </a:lnTo>
                    <a:lnTo>
                      <a:pt x="921" y="302"/>
                    </a:lnTo>
                    <a:lnTo>
                      <a:pt x="916" y="302"/>
                    </a:lnTo>
                    <a:lnTo>
                      <a:pt x="916" y="307"/>
                    </a:lnTo>
                    <a:lnTo>
                      <a:pt x="916" y="312"/>
                    </a:lnTo>
                    <a:lnTo>
                      <a:pt x="916" y="317"/>
                    </a:lnTo>
                    <a:lnTo>
                      <a:pt x="916" y="321"/>
                    </a:lnTo>
                    <a:lnTo>
                      <a:pt x="916" y="326"/>
                    </a:lnTo>
                    <a:lnTo>
                      <a:pt x="916" y="331"/>
                    </a:lnTo>
                    <a:lnTo>
                      <a:pt x="916" y="336"/>
                    </a:lnTo>
                    <a:lnTo>
                      <a:pt x="921" y="336"/>
                    </a:lnTo>
                    <a:lnTo>
                      <a:pt x="921" y="341"/>
                    </a:lnTo>
                    <a:lnTo>
                      <a:pt x="921" y="345"/>
                    </a:lnTo>
                    <a:lnTo>
                      <a:pt x="926" y="345"/>
                    </a:lnTo>
                    <a:lnTo>
                      <a:pt x="926" y="350"/>
                    </a:lnTo>
                    <a:lnTo>
                      <a:pt x="931" y="350"/>
                    </a:lnTo>
                    <a:lnTo>
                      <a:pt x="931" y="355"/>
                    </a:lnTo>
                    <a:lnTo>
                      <a:pt x="936" y="355"/>
                    </a:lnTo>
                    <a:lnTo>
                      <a:pt x="936" y="360"/>
                    </a:lnTo>
                    <a:lnTo>
                      <a:pt x="940" y="360"/>
                    </a:lnTo>
                    <a:lnTo>
                      <a:pt x="940" y="365"/>
                    </a:lnTo>
                    <a:lnTo>
                      <a:pt x="940" y="369"/>
                    </a:lnTo>
                    <a:lnTo>
                      <a:pt x="945" y="369"/>
                    </a:lnTo>
                    <a:lnTo>
                      <a:pt x="945" y="374"/>
                    </a:lnTo>
                    <a:lnTo>
                      <a:pt x="950" y="374"/>
                    </a:lnTo>
                    <a:lnTo>
                      <a:pt x="950" y="379"/>
                    </a:lnTo>
                    <a:lnTo>
                      <a:pt x="950" y="384"/>
                    </a:lnTo>
                    <a:lnTo>
                      <a:pt x="955" y="384"/>
                    </a:lnTo>
                    <a:lnTo>
                      <a:pt x="960" y="389"/>
                    </a:lnTo>
                    <a:lnTo>
                      <a:pt x="960" y="393"/>
                    </a:lnTo>
                    <a:lnTo>
                      <a:pt x="964" y="398"/>
                    </a:lnTo>
                    <a:lnTo>
                      <a:pt x="964" y="403"/>
                    </a:lnTo>
                    <a:lnTo>
                      <a:pt x="964" y="408"/>
                    </a:lnTo>
                    <a:lnTo>
                      <a:pt x="969" y="408"/>
                    </a:lnTo>
                    <a:lnTo>
                      <a:pt x="969" y="413"/>
                    </a:lnTo>
                    <a:lnTo>
                      <a:pt x="974" y="413"/>
                    </a:lnTo>
                    <a:lnTo>
                      <a:pt x="974" y="417"/>
                    </a:lnTo>
                    <a:lnTo>
                      <a:pt x="979" y="417"/>
                    </a:lnTo>
                    <a:lnTo>
                      <a:pt x="979" y="422"/>
                    </a:lnTo>
                    <a:lnTo>
                      <a:pt x="984" y="422"/>
                    </a:lnTo>
                    <a:lnTo>
                      <a:pt x="988" y="422"/>
                    </a:lnTo>
                    <a:lnTo>
                      <a:pt x="993" y="422"/>
                    </a:lnTo>
                    <a:lnTo>
                      <a:pt x="998" y="422"/>
                    </a:lnTo>
                    <a:lnTo>
                      <a:pt x="1003" y="427"/>
                    </a:lnTo>
                    <a:lnTo>
                      <a:pt x="1008" y="432"/>
                    </a:lnTo>
                    <a:lnTo>
                      <a:pt x="1003" y="437"/>
                    </a:lnTo>
                    <a:lnTo>
                      <a:pt x="1003" y="441"/>
                    </a:lnTo>
                    <a:lnTo>
                      <a:pt x="1003" y="446"/>
                    </a:lnTo>
                    <a:lnTo>
                      <a:pt x="1008" y="446"/>
                    </a:lnTo>
                    <a:lnTo>
                      <a:pt x="1008" y="451"/>
                    </a:lnTo>
                    <a:lnTo>
                      <a:pt x="1012" y="451"/>
                    </a:lnTo>
                    <a:lnTo>
                      <a:pt x="1008" y="456"/>
                    </a:lnTo>
                    <a:lnTo>
                      <a:pt x="1008" y="461"/>
                    </a:lnTo>
                    <a:lnTo>
                      <a:pt x="1008" y="465"/>
                    </a:lnTo>
                    <a:lnTo>
                      <a:pt x="1008" y="470"/>
                    </a:lnTo>
                    <a:lnTo>
                      <a:pt x="1008" y="475"/>
                    </a:lnTo>
                    <a:lnTo>
                      <a:pt x="1012" y="475"/>
                    </a:lnTo>
                    <a:lnTo>
                      <a:pt x="1012" y="480"/>
                    </a:lnTo>
                    <a:lnTo>
                      <a:pt x="1017" y="480"/>
                    </a:lnTo>
                    <a:lnTo>
                      <a:pt x="1017" y="485"/>
                    </a:lnTo>
                    <a:lnTo>
                      <a:pt x="1022" y="485"/>
                    </a:lnTo>
                    <a:lnTo>
                      <a:pt x="1027" y="485"/>
                    </a:lnTo>
                    <a:lnTo>
                      <a:pt x="1027" y="489"/>
                    </a:lnTo>
                    <a:lnTo>
                      <a:pt x="1022" y="494"/>
                    </a:lnTo>
                    <a:lnTo>
                      <a:pt x="1017" y="494"/>
                    </a:lnTo>
                    <a:lnTo>
                      <a:pt x="1012" y="494"/>
                    </a:lnTo>
                    <a:lnTo>
                      <a:pt x="1012" y="499"/>
                    </a:lnTo>
                    <a:lnTo>
                      <a:pt x="1008" y="499"/>
                    </a:lnTo>
                    <a:lnTo>
                      <a:pt x="1008" y="504"/>
                    </a:lnTo>
                    <a:lnTo>
                      <a:pt x="1003" y="504"/>
                    </a:lnTo>
                    <a:lnTo>
                      <a:pt x="998" y="509"/>
                    </a:lnTo>
                    <a:lnTo>
                      <a:pt x="993" y="513"/>
                    </a:lnTo>
                    <a:lnTo>
                      <a:pt x="993" y="518"/>
                    </a:lnTo>
                    <a:lnTo>
                      <a:pt x="988" y="518"/>
                    </a:lnTo>
                    <a:lnTo>
                      <a:pt x="988" y="523"/>
                    </a:lnTo>
                    <a:lnTo>
                      <a:pt x="984" y="523"/>
                    </a:lnTo>
                    <a:lnTo>
                      <a:pt x="979" y="523"/>
                    </a:lnTo>
                    <a:lnTo>
                      <a:pt x="974" y="523"/>
                    </a:lnTo>
                    <a:lnTo>
                      <a:pt x="974" y="528"/>
                    </a:lnTo>
                    <a:lnTo>
                      <a:pt x="974" y="533"/>
                    </a:lnTo>
                    <a:lnTo>
                      <a:pt x="974" y="537"/>
                    </a:lnTo>
                    <a:lnTo>
                      <a:pt x="974" y="542"/>
                    </a:lnTo>
                    <a:lnTo>
                      <a:pt x="974" y="547"/>
                    </a:lnTo>
                    <a:lnTo>
                      <a:pt x="969" y="547"/>
                    </a:lnTo>
                    <a:lnTo>
                      <a:pt x="969" y="552"/>
                    </a:lnTo>
                    <a:lnTo>
                      <a:pt x="964" y="552"/>
                    </a:lnTo>
                    <a:lnTo>
                      <a:pt x="960" y="552"/>
                    </a:lnTo>
                    <a:lnTo>
                      <a:pt x="955" y="557"/>
                    </a:lnTo>
                    <a:lnTo>
                      <a:pt x="950" y="557"/>
                    </a:lnTo>
                    <a:lnTo>
                      <a:pt x="945" y="557"/>
                    </a:lnTo>
                    <a:lnTo>
                      <a:pt x="940" y="561"/>
                    </a:lnTo>
                    <a:lnTo>
                      <a:pt x="940" y="566"/>
                    </a:lnTo>
                    <a:lnTo>
                      <a:pt x="945" y="571"/>
                    </a:lnTo>
                    <a:lnTo>
                      <a:pt x="950" y="576"/>
                    </a:lnTo>
                    <a:lnTo>
                      <a:pt x="950" y="581"/>
                    </a:lnTo>
                    <a:lnTo>
                      <a:pt x="950" y="585"/>
                    </a:lnTo>
                    <a:lnTo>
                      <a:pt x="950" y="590"/>
                    </a:lnTo>
                    <a:lnTo>
                      <a:pt x="950" y="595"/>
                    </a:lnTo>
                    <a:lnTo>
                      <a:pt x="950" y="600"/>
                    </a:lnTo>
                    <a:lnTo>
                      <a:pt x="950" y="605"/>
                    </a:lnTo>
                    <a:lnTo>
                      <a:pt x="950" y="609"/>
                    </a:lnTo>
                    <a:lnTo>
                      <a:pt x="950" y="614"/>
                    </a:lnTo>
                    <a:lnTo>
                      <a:pt x="950" y="619"/>
                    </a:lnTo>
                    <a:lnTo>
                      <a:pt x="950" y="624"/>
                    </a:lnTo>
                    <a:lnTo>
                      <a:pt x="950" y="629"/>
                    </a:lnTo>
                    <a:lnTo>
                      <a:pt x="950" y="633"/>
                    </a:lnTo>
                    <a:lnTo>
                      <a:pt x="950" y="638"/>
                    </a:lnTo>
                    <a:lnTo>
                      <a:pt x="950" y="643"/>
                    </a:lnTo>
                    <a:lnTo>
                      <a:pt x="950" y="648"/>
                    </a:lnTo>
                    <a:lnTo>
                      <a:pt x="950" y="653"/>
                    </a:lnTo>
                    <a:lnTo>
                      <a:pt x="950" y="657"/>
                    </a:lnTo>
                    <a:lnTo>
                      <a:pt x="950" y="662"/>
                    </a:lnTo>
                    <a:lnTo>
                      <a:pt x="950" y="667"/>
                    </a:lnTo>
                    <a:lnTo>
                      <a:pt x="950" y="672"/>
                    </a:lnTo>
                    <a:lnTo>
                      <a:pt x="950" y="677"/>
                    </a:lnTo>
                    <a:lnTo>
                      <a:pt x="950" y="681"/>
                    </a:lnTo>
                    <a:lnTo>
                      <a:pt x="950" y="686"/>
                    </a:lnTo>
                    <a:lnTo>
                      <a:pt x="950" y="691"/>
                    </a:lnTo>
                    <a:lnTo>
                      <a:pt x="950" y="696"/>
                    </a:lnTo>
                    <a:lnTo>
                      <a:pt x="950" y="701"/>
                    </a:lnTo>
                    <a:lnTo>
                      <a:pt x="950" y="705"/>
                    </a:lnTo>
                    <a:lnTo>
                      <a:pt x="950" y="710"/>
                    </a:lnTo>
                    <a:lnTo>
                      <a:pt x="950" y="715"/>
                    </a:lnTo>
                    <a:lnTo>
                      <a:pt x="950" y="720"/>
                    </a:lnTo>
                    <a:lnTo>
                      <a:pt x="950" y="725"/>
                    </a:lnTo>
                    <a:lnTo>
                      <a:pt x="950" y="729"/>
                    </a:lnTo>
                    <a:lnTo>
                      <a:pt x="950" y="734"/>
                    </a:lnTo>
                    <a:lnTo>
                      <a:pt x="950" y="739"/>
                    </a:lnTo>
                    <a:lnTo>
                      <a:pt x="950" y="744"/>
                    </a:lnTo>
                    <a:lnTo>
                      <a:pt x="950" y="749"/>
                    </a:lnTo>
                    <a:lnTo>
                      <a:pt x="950" y="753"/>
                    </a:lnTo>
                    <a:lnTo>
                      <a:pt x="945" y="758"/>
                    </a:lnTo>
                    <a:lnTo>
                      <a:pt x="940" y="758"/>
                    </a:lnTo>
                    <a:lnTo>
                      <a:pt x="936" y="758"/>
                    </a:lnTo>
                    <a:lnTo>
                      <a:pt x="936" y="763"/>
                    </a:lnTo>
                    <a:lnTo>
                      <a:pt x="931" y="763"/>
                    </a:lnTo>
                    <a:lnTo>
                      <a:pt x="926" y="763"/>
                    </a:lnTo>
                    <a:lnTo>
                      <a:pt x="921" y="763"/>
                    </a:lnTo>
                    <a:lnTo>
                      <a:pt x="921" y="768"/>
                    </a:lnTo>
                    <a:lnTo>
                      <a:pt x="916" y="768"/>
                    </a:lnTo>
                    <a:lnTo>
                      <a:pt x="916" y="773"/>
                    </a:lnTo>
                    <a:lnTo>
                      <a:pt x="912" y="773"/>
                    </a:lnTo>
                    <a:lnTo>
                      <a:pt x="912" y="777"/>
                    </a:lnTo>
                    <a:lnTo>
                      <a:pt x="912" y="782"/>
                    </a:lnTo>
                    <a:lnTo>
                      <a:pt x="907" y="782"/>
                    </a:lnTo>
                    <a:lnTo>
                      <a:pt x="907" y="787"/>
                    </a:lnTo>
                    <a:lnTo>
                      <a:pt x="902" y="792"/>
                    </a:lnTo>
                    <a:lnTo>
                      <a:pt x="902" y="797"/>
                    </a:lnTo>
                    <a:lnTo>
                      <a:pt x="897" y="797"/>
                    </a:lnTo>
                    <a:lnTo>
                      <a:pt x="897" y="801"/>
                    </a:lnTo>
                    <a:lnTo>
                      <a:pt x="892" y="806"/>
                    </a:lnTo>
                    <a:lnTo>
                      <a:pt x="888" y="806"/>
                    </a:lnTo>
                    <a:lnTo>
                      <a:pt x="883" y="806"/>
                    </a:lnTo>
                    <a:lnTo>
                      <a:pt x="878" y="806"/>
                    </a:lnTo>
                    <a:lnTo>
                      <a:pt x="878" y="811"/>
                    </a:lnTo>
                    <a:lnTo>
                      <a:pt x="873" y="811"/>
                    </a:lnTo>
                    <a:lnTo>
                      <a:pt x="873" y="816"/>
                    </a:lnTo>
                    <a:lnTo>
                      <a:pt x="868" y="816"/>
                    </a:lnTo>
                    <a:lnTo>
                      <a:pt x="864" y="821"/>
                    </a:lnTo>
                    <a:lnTo>
                      <a:pt x="859" y="821"/>
                    </a:lnTo>
                    <a:lnTo>
                      <a:pt x="859" y="825"/>
                    </a:lnTo>
                    <a:lnTo>
                      <a:pt x="854" y="825"/>
                    </a:lnTo>
                    <a:lnTo>
                      <a:pt x="854" y="830"/>
                    </a:lnTo>
                    <a:lnTo>
                      <a:pt x="849" y="830"/>
                    </a:lnTo>
                    <a:lnTo>
                      <a:pt x="849" y="835"/>
                    </a:lnTo>
                    <a:lnTo>
                      <a:pt x="844" y="840"/>
                    </a:lnTo>
                    <a:lnTo>
                      <a:pt x="844" y="845"/>
                    </a:lnTo>
                    <a:lnTo>
                      <a:pt x="840" y="845"/>
                    </a:lnTo>
                    <a:lnTo>
                      <a:pt x="840" y="849"/>
                    </a:lnTo>
                    <a:lnTo>
                      <a:pt x="835" y="849"/>
                    </a:lnTo>
                    <a:lnTo>
                      <a:pt x="830" y="849"/>
                    </a:lnTo>
                    <a:lnTo>
                      <a:pt x="825" y="854"/>
                    </a:lnTo>
                    <a:lnTo>
                      <a:pt x="820" y="854"/>
                    </a:lnTo>
                    <a:lnTo>
                      <a:pt x="816" y="854"/>
                    </a:lnTo>
                    <a:lnTo>
                      <a:pt x="816" y="859"/>
                    </a:lnTo>
                    <a:lnTo>
                      <a:pt x="811" y="859"/>
                    </a:lnTo>
                    <a:lnTo>
                      <a:pt x="806" y="864"/>
                    </a:lnTo>
                    <a:lnTo>
                      <a:pt x="801" y="864"/>
                    </a:lnTo>
                    <a:lnTo>
                      <a:pt x="801" y="869"/>
                    </a:lnTo>
                    <a:lnTo>
                      <a:pt x="796" y="869"/>
                    </a:lnTo>
                    <a:lnTo>
                      <a:pt x="796" y="873"/>
                    </a:lnTo>
                    <a:lnTo>
                      <a:pt x="792" y="878"/>
                    </a:lnTo>
                    <a:lnTo>
                      <a:pt x="792" y="883"/>
                    </a:lnTo>
                    <a:lnTo>
                      <a:pt x="787" y="883"/>
                    </a:lnTo>
                    <a:lnTo>
                      <a:pt x="787" y="888"/>
                    </a:lnTo>
                    <a:lnTo>
                      <a:pt x="782" y="888"/>
                    </a:lnTo>
                    <a:lnTo>
                      <a:pt x="782" y="893"/>
                    </a:lnTo>
                    <a:lnTo>
                      <a:pt x="777" y="893"/>
                    </a:lnTo>
                    <a:lnTo>
                      <a:pt x="772" y="893"/>
                    </a:lnTo>
                    <a:lnTo>
                      <a:pt x="777" y="893"/>
                    </a:lnTo>
                    <a:lnTo>
                      <a:pt x="777" y="897"/>
                    </a:lnTo>
                    <a:lnTo>
                      <a:pt x="782" y="897"/>
                    </a:lnTo>
                    <a:lnTo>
                      <a:pt x="782" y="902"/>
                    </a:lnTo>
                    <a:lnTo>
                      <a:pt x="787" y="902"/>
                    </a:lnTo>
                    <a:lnTo>
                      <a:pt x="787" y="907"/>
                    </a:lnTo>
                    <a:lnTo>
                      <a:pt x="792" y="907"/>
                    </a:lnTo>
                    <a:lnTo>
                      <a:pt x="796" y="912"/>
                    </a:lnTo>
                    <a:lnTo>
                      <a:pt x="801" y="912"/>
                    </a:lnTo>
                    <a:lnTo>
                      <a:pt x="806" y="912"/>
                    </a:lnTo>
                    <a:lnTo>
                      <a:pt x="811" y="907"/>
                    </a:lnTo>
                    <a:lnTo>
                      <a:pt x="816" y="907"/>
                    </a:lnTo>
                    <a:lnTo>
                      <a:pt x="820" y="907"/>
                    </a:lnTo>
                    <a:lnTo>
                      <a:pt x="825" y="907"/>
                    </a:lnTo>
                    <a:lnTo>
                      <a:pt x="825" y="902"/>
                    </a:lnTo>
                    <a:lnTo>
                      <a:pt x="830" y="902"/>
                    </a:lnTo>
                    <a:lnTo>
                      <a:pt x="830" y="907"/>
                    </a:lnTo>
                    <a:lnTo>
                      <a:pt x="830" y="912"/>
                    </a:lnTo>
                    <a:lnTo>
                      <a:pt x="825" y="912"/>
                    </a:lnTo>
                    <a:lnTo>
                      <a:pt x="825" y="917"/>
                    </a:lnTo>
                    <a:lnTo>
                      <a:pt x="825" y="921"/>
                    </a:lnTo>
                    <a:lnTo>
                      <a:pt x="820" y="926"/>
                    </a:lnTo>
                    <a:lnTo>
                      <a:pt x="820" y="931"/>
                    </a:lnTo>
                    <a:lnTo>
                      <a:pt x="816" y="931"/>
                    </a:lnTo>
                    <a:lnTo>
                      <a:pt x="816" y="936"/>
                    </a:lnTo>
                    <a:lnTo>
                      <a:pt x="816" y="941"/>
                    </a:lnTo>
                    <a:lnTo>
                      <a:pt x="811" y="941"/>
                    </a:lnTo>
                    <a:lnTo>
                      <a:pt x="811" y="945"/>
                    </a:lnTo>
                    <a:lnTo>
                      <a:pt x="806" y="945"/>
                    </a:lnTo>
                    <a:lnTo>
                      <a:pt x="806" y="950"/>
                    </a:lnTo>
                    <a:lnTo>
                      <a:pt x="801" y="950"/>
                    </a:lnTo>
                    <a:lnTo>
                      <a:pt x="801" y="955"/>
                    </a:lnTo>
                    <a:lnTo>
                      <a:pt x="796" y="955"/>
                    </a:lnTo>
                    <a:lnTo>
                      <a:pt x="796" y="960"/>
                    </a:lnTo>
                    <a:lnTo>
                      <a:pt x="792" y="960"/>
                    </a:lnTo>
                    <a:lnTo>
                      <a:pt x="792" y="965"/>
                    </a:lnTo>
                    <a:lnTo>
                      <a:pt x="787" y="965"/>
                    </a:lnTo>
                    <a:lnTo>
                      <a:pt x="787" y="969"/>
                    </a:lnTo>
                    <a:lnTo>
                      <a:pt x="782" y="969"/>
                    </a:lnTo>
                    <a:lnTo>
                      <a:pt x="782" y="974"/>
                    </a:lnTo>
                    <a:lnTo>
                      <a:pt x="777" y="974"/>
                    </a:lnTo>
                    <a:lnTo>
                      <a:pt x="777" y="979"/>
                    </a:lnTo>
                    <a:lnTo>
                      <a:pt x="777" y="984"/>
                    </a:lnTo>
                    <a:lnTo>
                      <a:pt x="772" y="984"/>
                    </a:lnTo>
                    <a:lnTo>
                      <a:pt x="768" y="984"/>
                    </a:lnTo>
                    <a:lnTo>
                      <a:pt x="763" y="984"/>
                    </a:lnTo>
                    <a:lnTo>
                      <a:pt x="758" y="984"/>
                    </a:lnTo>
                    <a:lnTo>
                      <a:pt x="753" y="984"/>
                    </a:lnTo>
                    <a:lnTo>
                      <a:pt x="748" y="984"/>
                    </a:lnTo>
                    <a:lnTo>
                      <a:pt x="744" y="984"/>
                    </a:lnTo>
                    <a:lnTo>
                      <a:pt x="739" y="984"/>
                    </a:lnTo>
                    <a:lnTo>
                      <a:pt x="734" y="984"/>
                    </a:lnTo>
                    <a:lnTo>
                      <a:pt x="729" y="984"/>
                    </a:lnTo>
                    <a:lnTo>
                      <a:pt x="724" y="984"/>
                    </a:lnTo>
                    <a:lnTo>
                      <a:pt x="720" y="984"/>
                    </a:lnTo>
                    <a:lnTo>
                      <a:pt x="715" y="984"/>
                    </a:lnTo>
                    <a:lnTo>
                      <a:pt x="710" y="984"/>
                    </a:lnTo>
                    <a:lnTo>
                      <a:pt x="710" y="979"/>
                    </a:lnTo>
                    <a:lnTo>
                      <a:pt x="705" y="979"/>
                    </a:lnTo>
                    <a:lnTo>
                      <a:pt x="700" y="979"/>
                    </a:lnTo>
                    <a:lnTo>
                      <a:pt x="696" y="979"/>
                    </a:lnTo>
                    <a:lnTo>
                      <a:pt x="696" y="974"/>
                    </a:lnTo>
                    <a:lnTo>
                      <a:pt x="691" y="974"/>
                    </a:lnTo>
                    <a:lnTo>
                      <a:pt x="686" y="974"/>
                    </a:lnTo>
                    <a:lnTo>
                      <a:pt x="681" y="969"/>
                    </a:lnTo>
                    <a:lnTo>
                      <a:pt x="681" y="974"/>
                    </a:lnTo>
                    <a:lnTo>
                      <a:pt x="676" y="974"/>
                    </a:lnTo>
                    <a:lnTo>
                      <a:pt x="672" y="974"/>
                    </a:lnTo>
                    <a:lnTo>
                      <a:pt x="667" y="974"/>
                    </a:lnTo>
                    <a:lnTo>
                      <a:pt x="662" y="974"/>
                    </a:lnTo>
                    <a:lnTo>
                      <a:pt x="657" y="974"/>
                    </a:lnTo>
                    <a:lnTo>
                      <a:pt x="657" y="969"/>
                    </a:lnTo>
                    <a:lnTo>
                      <a:pt x="652" y="969"/>
                    </a:lnTo>
                    <a:lnTo>
                      <a:pt x="648" y="969"/>
                    </a:lnTo>
                    <a:lnTo>
                      <a:pt x="648" y="974"/>
                    </a:lnTo>
                    <a:lnTo>
                      <a:pt x="643" y="974"/>
                    </a:lnTo>
                    <a:lnTo>
                      <a:pt x="643" y="979"/>
                    </a:lnTo>
                    <a:lnTo>
                      <a:pt x="638" y="979"/>
                    </a:lnTo>
                    <a:lnTo>
                      <a:pt x="633" y="979"/>
                    </a:lnTo>
                    <a:lnTo>
                      <a:pt x="633" y="984"/>
                    </a:lnTo>
                    <a:lnTo>
                      <a:pt x="628" y="984"/>
                    </a:lnTo>
                    <a:lnTo>
                      <a:pt x="624" y="984"/>
                    </a:lnTo>
                    <a:lnTo>
                      <a:pt x="619" y="984"/>
                    </a:lnTo>
                    <a:lnTo>
                      <a:pt x="619" y="989"/>
                    </a:lnTo>
                    <a:lnTo>
                      <a:pt x="614" y="989"/>
                    </a:lnTo>
                    <a:lnTo>
                      <a:pt x="609" y="993"/>
                    </a:lnTo>
                    <a:lnTo>
                      <a:pt x="609" y="998"/>
                    </a:lnTo>
                    <a:lnTo>
                      <a:pt x="604" y="998"/>
                    </a:lnTo>
                    <a:lnTo>
                      <a:pt x="604" y="1003"/>
                    </a:lnTo>
                    <a:lnTo>
                      <a:pt x="600" y="1003"/>
                    </a:lnTo>
                    <a:lnTo>
                      <a:pt x="595" y="1003"/>
                    </a:lnTo>
                    <a:lnTo>
                      <a:pt x="590" y="1008"/>
                    </a:lnTo>
                    <a:lnTo>
                      <a:pt x="585" y="1008"/>
                    </a:lnTo>
                    <a:lnTo>
                      <a:pt x="580" y="1008"/>
                    </a:lnTo>
                    <a:lnTo>
                      <a:pt x="576" y="1008"/>
                    </a:lnTo>
                    <a:lnTo>
                      <a:pt x="571" y="1008"/>
                    </a:lnTo>
                    <a:lnTo>
                      <a:pt x="566" y="1008"/>
                    </a:lnTo>
                    <a:lnTo>
                      <a:pt x="561" y="1008"/>
                    </a:lnTo>
                    <a:lnTo>
                      <a:pt x="556" y="1008"/>
                    </a:lnTo>
                    <a:lnTo>
                      <a:pt x="556" y="1003"/>
                    </a:lnTo>
                    <a:lnTo>
                      <a:pt x="552" y="1003"/>
                    </a:lnTo>
                    <a:lnTo>
                      <a:pt x="547" y="1003"/>
                    </a:lnTo>
                    <a:lnTo>
                      <a:pt x="542" y="1003"/>
                    </a:lnTo>
                    <a:lnTo>
                      <a:pt x="542" y="1008"/>
                    </a:lnTo>
                    <a:lnTo>
                      <a:pt x="537" y="1008"/>
                    </a:lnTo>
                    <a:lnTo>
                      <a:pt x="532" y="1008"/>
                    </a:lnTo>
                    <a:lnTo>
                      <a:pt x="542" y="907"/>
                    </a:lnTo>
                    <a:lnTo>
                      <a:pt x="532" y="849"/>
                    </a:lnTo>
                    <a:lnTo>
                      <a:pt x="523" y="787"/>
                    </a:lnTo>
                    <a:lnTo>
                      <a:pt x="504" y="777"/>
                    </a:lnTo>
                    <a:lnTo>
                      <a:pt x="489" y="801"/>
                    </a:lnTo>
                    <a:lnTo>
                      <a:pt x="460" y="787"/>
                    </a:lnTo>
                    <a:lnTo>
                      <a:pt x="427" y="763"/>
                    </a:lnTo>
                    <a:lnTo>
                      <a:pt x="374" y="734"/>
                    </a:lnTo>
                    <a:lnTo>
                      <a:pt x="364" y="691"/>
                    </a:lnTo>
                    <a:lnTo>
                      <a:pt x="331" y="653"/>
                    </a:lnTo>
                    <a:lnTo>
                      <a:pt x="283" y="672"/>
                    </a:lnTo>
                    <a:lnTo>
                      <a:pt x="259" y="691"/>
                    </a:lnTo>
                    <a:lnTo>
                      <a:pt x="225" y="667"/>
                    </a:lnTo>
                    <a:lnTo>
                      <a:pt x="182" y="667"/>
                    </a:lnTo>
                    <a:lnTo>
                      <a:pt x="124" y="648"/>
                    </a:lnTo>
                    <a:lnTo>
                      <a:pt x="67" y="633"/>
                    </a:lnTo>
                    <a:lnTo>
                      <a:pt x="48" y="633"/>
                    </a:lnTo>
                    <a:lnTo>
                      <a:pt x="33" y="624"/>
                    </a:lnTo>
                    <a:lnTo>
                      <a:pt x="24" y="600"/>
                    </a:lnTo>
                    <a:lnTo>
                      <a:pt x="19" y="566"/>
                    </a:lnTo>
                    <a:lnTo>
                      <a:pt x="0" y="528"/>
                    </a:lnTo>
                    <a:close/>
                  </a:path>
                </a:pathLst>
              </a:custGeom>
              <a:solidFill>
                <a:schemeClr val="accent6">
                  <a:lumMod val="40000"/>
                  <a:lumOff val="6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58" name="Freeform 25"/>
              <p:cNvSpPr>
                <a:spLocks/>
              </p:cNvSpPr>
              <p:nvPr/>
            </p:nvSpPr>
            <p:spPr bwMode="gray">
              <a:xfrm>
                <a:off x="2586038" y="1239838"/>
                <a:ext cx="2057400" cy="1150937"/>
              </a:xfrm>
              <a:custGeom>
                <a:avLst/>
                <a:gdLst>
                  <a:gd name="T0" fmla="*/ 43 w 1296"/>
                  <a:gd name="T1" fmla="*/ 346 h 725"/>
                  <a:gd name="T2" fmla="*/ 87 w 1296"/>
                  <a:gd name="T3" fmla="*/ 322 h 725"/>
                  <a:gd name="T4" fmla="*/ 115 w 1296"/>
                  <a:gd name="T5" fmla="*/ 269 h 725"/>
                  <a:gd name="T6" fmla="*/ 144 w 1296"/>
                  <a:gd name="T7" fmla="*/ 288 h 725"/>
                  <a:gd name="T8" fmla="*/ 125 w 1296"/>
                  <a:gd name="T9" fmla="*/ 341 h 725"/>
                  <a:gd name="T10" fmla="*/ 178 w 1296"/>
                  <a:gd name="T11" fmla="*/ 326 h 725"/>
                  <a:gd name="T12" fmla="*/ 245 w 1296"/>
                  <a:gd name="T13" fmla="*/ 302 h 725"/>
                  <a:gd name="T14" fmla="*/ 307 w 1296"/>
                  <a:gd name="T15" fmla="*/ 312 h 725"/>
                  <a:gd name="T16" fmla="*/ 355 w 1296"/>
                  <a:gd name="T17" fmla="*/ 331 h 725"/>
                  <a:gd name="T18" fmla="*/ 403 w 1296"/>
                  <a:gd name="T19" fmla="*/ 331 h 725"/>
                  <a:gd name="T20" fmla="*/ 442 w 1296"/>
                  <a:gd name="T21" fmla="*/ 360 h 725"/>
                  <a:gd name="T22" fmla="*/ 499 w 1296"/>
                  <a:gd name="T23" fmla="*/ 384 h 725"/>
                  <a:gd name="T24" fmla="*/ 509 w 1296"/>
                  <a:gd name="T25" fmla="*/ 336 h 725"/>
                  <a:gd name="T26" fmla="*/ 567 w 1296"/>
                  <a:gd name="T27" fmla="*/ 350 h 725"/>
                  <a:gd name="T28" fmla="*/ 619 w 1296"/>
                  <a:gd name="T29" fmla="*/ 384 h 725"/>
                  <a:gd name="T30" fmla="*/ 687 w 1296"/>
                  <a:gd name="T31" fmla="*/ 374 h 725"/>
                  <a:gd name="T32" fmla="*/ 730 w 1296"/>
                  <a:gd name="T33" fmla="*/ 331 h 725"/>
                  <a:gd name="T34" fmla="*/ 744 w 1296"/>
                  <a:gd name="T35" fmla="*/ 264 h 725"/>
                  <a:gd name="T36" fmla="*/ 759 w 1296"/>
                  <a:gd name="T37" fmla="*/ 197 h 725"/>
                  <a:gd name="T38" fmla="*/ 807 w 1296"/>
                  <a:gd name="T39" fmla="*/ 163 h 725"/>
                  <a:gd name="T40" fmla="*/ 783 w 1296"/>
                  <a:gd name="T41" fmla="*/ 125 h 725"/>
                  <a:gd name="T42" fmla="*/ 850 w 1296"/>
                  <a:gd name="T43" fmla="*/ 106 h 725"/>
                  <a:gd name="T44" fmla="*/ 907 w 1296"/>
                  <a:gd name="T45" fmla="*/ 67 h 725"/>
                  <a:gd name="T46" fmla="*/ 927 w 1296"/>
                  <a:gd name="T47" fmla="*/ 10 h 725"/>
                  <a:gd name="T48" fmla="*/ 984 w 1296"/>
                  <a:gd name="T49" fmla="*/ 19 h 725"/>
                  <a:gd name="T50" fmla="*/ 1056 w 1296"/>
                  <a:gd name="T51" fmla="*/ 72 h 725"/>
                  <a:gd name="T52" fmla="*/ 1133 w 1296"/>
                  <a:gd name="T53" fmla="*/ 91 h 725"/>
                  <a:gd name="T54" fmla="*/ 1210 w 1296"/>
                  <a:gd name="T55" fmla="*/ 91 h 725"/>
                  <a:gd name="T56" fmla="*/ 1287 w 1296"/>
                  <a:gd name="T57" fmla="*/ 96 h 725"/>
                  <a:gd name="T58" fmla="*/ 1287 w 1296"/>
                  <a:gd name="T59" fmla="*/ 163 h 725"/>
                  <a:gd name="T60" fmla="*/ 1253 w 1296"/>
                  <a:gd name="T61" fmla="*/ 240 h 725"/>
                  <a:gd name="T62" fmla="*/ 1210 w 1296"/>
                  <a:gd name="T63" fmla="*/ 221 h 725"/>
                  <a:gd name="T64" fmla="*/ 1195 w 1296"/>
                  <a:gd name="T65" fmla="*/ 259 h 725"/>
                  <a:gd name="T66" fmla="*/ 1195 w 1296"/>
                  <a:gd name="T67" fmla="*/ 336 h 725"/>
                  <a:gd name="T68" fmla="*/ 1195 w 1296"/>
                  <a:gd name="T69" fmla="*/ 413 h 725"/>
                  <a:gd name="T70" fmla="*/ 1157 w 1296"/>
                  <a:gd name="T71" fmla="*/ 470 h 725"/>
                  <a:gd name="T72" fmla="*/ 1162 w 1296"/>
                  <a:gd name="T73" fmla="*/ 514 h 725"/>
                  <a:gd name="T74" fmla="*/ 1109 w 1296"/>
                  <a:gd name="T75" fmla="*/ 542 h 725"/>
                  <a:gd name="T76" fmla="*/ 1051 w 1296"/>
                  <a:gd name="T77" fmla="*/ 557 h 725"/>
                  <a:gd name="T78" fmla="*/ 1008 w 1296"/>
                  <a:gd name="T79" fmla="*/ 586 h 725"/>
                  <a:gd name="T80" fmla="*/ 979 w 1296"/>
                  <a:gd name="T81" fmla="*/ 624 h 725"/>
                  <a:gd name="T82" fmla="*/ 936 w 1296"/>
                  <a:gd name="T83" fmla="*/ 595 h 725"/>
                  <a:gd name="T84" fmla="*/ 869 w 1296"/>
                  <a:gd name="T85" fmla="*/ 571 h 725"/>
                  <a:gd name="T86" fmla="*/ 807 w 1296"/>
                  <a:gd name="T87" fmla="*/ 552 h 725"/>
                  <a:gd name="T88" fmla="*/ 749 w 1296"/>
                  <a:gd name="T89" fmla="*/ 547 h 725"/>
                  <a:gd name="T90" fmla="*/ 682 w 1296"/>
                  <a:gd name="T91" fmla="*/ 547 h 725"/>
                  <a:gd name="T92" fmla="*/ 619 w 1296"/>
                  <a:gd name="T93" fmla="*/ 557 h 725"/>
                  <a:gd name="T94" fmla="*/ 552 w 1296"/>
                  <a:gd name="T95" fmla="*/ 557 h 725"/>
                  <a:gd name="T96" fmla="*/ 495 w 1296"/>
                  <a:gd name="T97" fmla="*/ 590 h 725"/>
                  <a:gd name="T98" fmla="*/ 456 w 1296"/>
                  <a:gd name="T99" fmla="*/ 658 h 725"/>
                  <a:gd name="T100" fmla="*/ 389 w 1296"/>
                  <a:gd name="T101" fmla="*/ 686 h 725"/>
                  <a:gd name="T102" fmla="*/ 317 w 1296"/>
                  <a:gd name="T103" fmla="*/ 682 h 725"/>
                  <a:gd name="T104" fmla="*/ 250 w 1296"/>
                  <a:gd name="T105" fmla="*/ 720 h 725"/>
                  <a:gd name="T106" fmla="*/ 250 w 1296"/>
                  <a:gd name="T107" fmla="*/ 662 h 725"/>
                  <a:gd name="T108" fmla="*/ 235 w 1296"/>
                  <a:gd name="T109" fmla="*/ 624 h 725"/>
                  <a:gd name="T110" fmla="*/ 163 w 1296"/>
                  <a:gd name="T111" fmla="*/ 634 h 725"/>
                  <a:gd name="T112" fmla="*/ 101 w 1296"/>
                  <a:gd name="T113" fmla="*/ 653 h 725"/>
                  <a:gd name="T114" fmla="*/ 77 w 1296"/>
                  <a:gd name="T115" fmla="*/ 677 h 725"/>
                  <a:gd name="T116" fmla="*/ 67 w 1296"/>
                  <a:gd name="T117" fmla="*/ 605 h 725"/>
                  <a:gd name="T118" fmla="*/ 53 w 1296"/>
                  <a:gd name="T119" fmla="*/ 542 h 725"/>
                  <a:gd name="T120" fmla="*/ 29 w 1296"/>
                  <a:gd name="T121" fmla="*/ 490 h 725"/>
                  <a:gd name="T122" fmla="*/ 10 w 1296"/>
                  <a:gd name="T123" fmla="*/ 432 h 725"/>
                  <a:gd name="T124" fmla="*/ 5 w 1296"/>
                  <a:gd name="T125" fmla="*/ 379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6" h="725">
                    <a:moveTo>
                      <a:pt x="5" y="355"/>
                    </a:moveTo>
                    <a:lnTo>
                      <a:pt x="15" y="355"/>
                    </a:lnTo>
                    <a:lnTo>
                      <a:pt x="19" y="346"/>
                    </a:lnTo>
                    <a:lnTo>
                      <a:pt x="24" y="346"/>
                    </a:lnTo>
                    <a:lnTo>
                      <a:pt x="24" y="341"/>
                    </a:lnTo>
                    <a:lnTo>
                      <a:pt x="24" y="336"/>
                    </a:lnTo>
                    <a:lnTo>
                      <a:pt x="29" y="336"/>
                    </a:lnTo>
                    <a:lnTo>
                      <a:pt x="29" y="331"/>
                    </a:lnTo>
                    <a:lnTo>
                      <a:pt x="34" y="331"/>
                    </a:lnTo>
                    <a:lnTo>
                      <a:pt x="34" y="326"/>
                    </a:lnTo>
                    <a:lnTo>
                      <a:pt x="39" y="326"/>
                    </a:lnTo>
                    <a:lnTo>
                      <a:pt x="43" y="326"/>
                    </a:lnTo>
                    <a:lnTo>
                      <a:pt x="43" y="331"/>
                    </a:lnTo>
                    <a:lnTo>
                      <a:pt x="43" y="336"/>
                    </a:lnTo>
                    <a:lnTo>
                      <a:pt x="43" y="341"/>
                    </a:lnTo>
                    <a:lnTo>
                      <a:pt x="43" y="346"/>
                    </a:lnTo>
                    <a:lnTo>
                      <a:pt x="43" y="350"/>
                    </a:lnTo>
                    <a:lnTo>
                      <a:pt x="43" y="355"/>
                    </a:lnTo>
                    <a:lnTo>
                      <a:pt x="48" y="355"/>
                    </a:lnTo>
                    <a:lnTo>
                      <a:pt x="53" y="355"/>
                    </a:lnTo>
                    <a:lnTo>
                      <a:pt x="58" y="350"/>
                    </a:lnTo>
                    <a:lnTo>
                      <a:pt x="63" y="350"/>
                    </a:lnTo>
                    <a:lnTo>
                      <a:pt x="63" y="346"/>
                    </a:lnTo>
                    <a:lnTo>
                      <a:pt x="67" y="346"/>
                    </a:lnTo>
                    <a:lnTo>
                      <a:pt x="67" y="341"/>
                    </a:lnTo>
                    <a:lnTo>
                      <a:pt x="67" y="336"/>
                    </a:lnTo>
                    <a:lnTo>
                      <a:pt x="72" y="336"/>
                    </a:lnTo>
                    <a:lnTo>
                      <a:pt x="72" y="331"/>
                    </a:lnTo>
                    <a:lnTo>
                      <a:pt x="72" y="326"/>
                    </a:lnTo>
                    <a:lnTo>
                      <a:pt x="77" y="326"/>
                    </a:lnTo>
                    <a:lnTo>
                      <a:pt x="82" y="322"/>
                    </a:lnTo>
                    <a:lnTo>
                      <a:pt x="87" y="322"/>
                    </a:lnTo>
                    <a:lnTo>
                      <a:pt x="87" y="317"/>
                    </a:lnTo>
                    <a:lnTo>
                      <a:pt x="91" y="317"/>
                    </a:lnTo>
                    <a:lnTo>
                      <a:pt x="96" y="312"/>
                    </a:lnTo>
                    <a:lnTo>
                      <a:pt x="101" y="312"/>
                    </a:lnTo>
                    <a:lnTo>
                      <a:pt x="101" y="307"/>
                    </a:lnTo>
                    <a:lnTo>
                      <a:pt x="106" y="307"/>
                    </a:lnTo>
                    <a:lnTo>
                      <a:pt x="106" y="302"/>
                    </a:lnTo>
                    <a:lnTo>
                      <a:pt x="106" y="298"/>
                    </a:lnTo>
                    <a:lnTo>
                      <a:pt x="106" y="293"/>
                    </a:lnTo>
                    <a:lnTo>
                      <a:pt x="106" y="288"/>
                    </a:lnTo>
                    <a:lnTo>
                      <a:pt x="106" y="283"/>
                    </a:lnTo>
                    <a:lnTo>
                      <a:pt x="106" y="278"/>
                    </a:lnTo>
                    <a:lnTo>
                      <a:pt x="106" y="274"/>
                    </a:lnTo>
                    <a:lnTo>
                      <a:pt x="111" y="274"/>
                    </a:lnTo>
                    <a:lnTo>
                      <a:pt x="111" y="269"/>
                    </a:lnTo>
                    <a:lnTo>
                      <a:pt x="115" y="269"/>
                    </a:lnTo>
                    <a:lnTo>
                      <a:pt x="120" y="269"/>
                    </a:lnTo>
                    <a:lnTo>
                      <a:pt x="125" y="269"/>
                    </a:lnTo>
                    <a:lnTo>
                      <a:pt x="130" y="269"/>
                    </a:lnTo>
                    <a:lnTo>
                      <a:pt x="135" y="269"/>
                    </a:lnTo>
                    <a:lnTo>
                      <a:pt x="139" y="269"/>
                    </a:lnTo>
                    <a:lnTo>
                      <a:pt x="144" y="269"/>
                    </a:lnTo>
                    <a:lnTo>
                      <a:pt x="149" y="269"/>
                    </a:lnTo>
                    <a:lnTo>
                      <a:pt x="154" y="269"/>
                    </a:lnTo>
                    <a:lnTo>
                      <a:pt x="159" y="269"/>
                    </a:lnTo>
                    <a:lnTo>
                      <a:pt x="163" y="269"/>
                    </a:lnTo>
                    <a:lnTo>
                      <a:pt x="168" y="269"/>
                    </a:lnTo>
                    <a:lnTo>
                      <a:pt x="163" y="274"/>
                    </a:lnTo>
                    <a:lnTo>
                      <a:pt x="159" y="278"/>
                    </a:lnTo>
                    <a:lnTo>
                      <a:pt x="154" y="283"/>
                    </a:lnTo>
                    <a:lnTo>
                      <a:pt x="149" y="283"/>
                    </a:lnTo>
                    <a:lnTo>
                      <a:pt x="144" y="288"/>
                    </a:lnTo>
                    <a:lnTo>
                      <a:pt x="139" y="293"/>
                    </a:lnTo>
                    <a:lnTo>
                      <a:pt x="139" y="298"/>
                    </a:lnTo>
                    <a:lnTo>
                      <a:pt x="135" y="302"/>
                    </a:lnTo>
                    <a:lnTo>
                      <a:pt x="130" y="302"/>
                    </a:lnTo>
                    <a:lnTo>
                      <a:pt x="130" y="307"/>
                    </a:lnTo>
                    <a:lnTo>
                      <a:pt x="125" y="307"/>
                    </a:lnTo>
                    <a:lnTo>
                      <a:pt x="125" y="312"/>
                    </a:lnTo>
                    <a:lnTo>
                      <a:pt x="120" y="312"/>
                    </a:lnTo>
                    <a:lnTo>
                      <a:pt x="120" y="317"/>
                    </a:lnTo>
                    <a:lnTo>
                      <a:pt x="120" y="322"/>
                    </a:lnTo>
                    <a:lnTo>
                      <a:pt x="115" y="322"/>
                    </a:lnTo>
                    <a:lnTo>
                      <a:pt x="120" y="326"/>
                    </a:lnTo>
                    <a:lnTo>
                      <a:pt x="120" y="331"/>
                    </a:lnTo>
                    <a:lnTo>
                      <a:pt x="120" y="336"/>
                    </a:lnTo>
                    <a:lnTo>
                      <a:pt x="125" y="336"/>
                    </a:lnTo>
                    <a:lnTo>
                      <a:pt x="125" y="341"/>
                    </a:lnTo>
                    <a:lnTo>
                      <a:pt x="130" y="341"/>
                    </a:lnTo>
                    <a:lnTo>
                      <a:pt x="130" y="336"/>
                    </a:lnTo>
                    <a:lnTo>
                      <a:pt x="135" y="336"/>
                    </a:lnTo>
                    <a:lnTo>
                      <a:pt x="139" y="336"/>
                    </a:lnTo>
                    <a:lnTo>
                      <a:pt x="139" y="331"/>
                    </a:lnTo>
                    <a:lnTo>
                      <a:pt x="144" y="331"/>
                    </a:lnTo>
                    <a:lnTo>
                      <a:pt x="144" y="326"/>
                    </a:lnTo>
                    <a:lnTo>
                      <a:pt x="149" y="326"/>
                    </a:lnTo>
                    <a:lnTo>
                      <a:pt x="149" y="322"/>
                    </a:lnTo>
                    <a:lnTo>
                      <a:pt x="154" y="322"/>
                    </a:lnTo>
                    <a:lnTo>
                      <a:pt x="159" y="322"/>
                    </a:lnTo>
                    <a:lnTo>
                      <a:pt x="163" y="322"/>
                    </a:lnTo>
                    <a:lnTo>
                      <a:pt x="168" y="322"/>
                    </a:lnTo>
                    <a:lnTo>
                      <a:pt x="173" y="322"/>
                    </a:lnTo>
                    <a:lnTo>
                      <a:pt x="173" y="326"/>
                    </a:lnTo>
                    <a:lnTo>
                      <a:pt x="178" y="326"/>
                    </a:lnTo>
                    <a:lnTo>
                      <a:pt x="178" y="322"/>
                    </a:lnTo>
                    <a:lnTo>
                      <a:pt x="183" y="322"/>
                    </a:lnTo>
                    <a:lnTo>
                      <a:pt x="187" y="317"/>
                    </a:lnTo>
                    <a:lnTo>
                      <a:pt x="192" y="317"/>
                    </a:lnTo>
                    <a:lnTo>
                      <a:pt x="197" y="312"/>
                    </a:lnTo>
                    <a:lnTo>
                      <a:pt x="202" y="307"/>
                    </a:lnTo>
                    <a:lnTo>
                      <a:pt x="207" y="307"/>
                    </a:lnTo>
                    <a:lnTo>
                      <a:pt x="207" y="302"/>
                    </a:lnTo>
                    <a:lnTo>
                      <a:pt x="211" y="302"/>
                    </a:lnTo>
                    <a:lnTo>
                      <a:pt x="216" y="298"/>
                    </a:lnTo>
                    <a:lnTo>
                      <a:pt x="221" y="298"/>
                    </a:lnTo>
                    <a:lnTo>
                      <a:pt x="226" y="293"/>
                    </a:lnTo>
                    <a:lnTo>
                      <a:pt x="231" y="298"/>
                    </a:lnTo>
                    <a:lnTo>
                      <a:pt x="235" y="298"/>
                    </a:lnTo>
                    <a:lnTo>
                      <a:pt x="240" y="298"/>
                    </a:lnTo>
                    <a:lnTo>
                      <a:pt x="245" y="302"/>
                    </a:lnTo>
                    <a:lnTo>
                      <a:pt x="250" y="302"/>
                    </a:lnTo>
                    <a:lnTo>
                      <a:pt x="255" y="307"/>
                    </a:lnTo>
                    <a:lnTo>
                      <a:pt x="259" y="307"/>
                    </a:lnTo>
                    <a:lnTo>
                      <a:pt x="264" y="307"/>
                    </a:lnTo>
                    <a:lnTo>
                      <a:pt x="264" y="312"/>
                    </a:lnTo>
                    <a:lnTo>
                      <a:pt x="269" y="312"/>
                    </a:lnTo>
                    <a:lnTo>
                      <a:pt x="274" y="312"/>
                    </a:lnTo>
                    <a:lnTo>
                      <a:pt x="274" y="317"/>
                    </a:lnTo>
                    <a:lnTo>
                      <a:pt x="279" y="317"/>
                    </a:lnTo>
                    <a:lnTo>
                      <a:pt x="283" y="317"/>
                    </a:lnTo>
                    <a:lnTo>
                      <a:pt x="288" y="317"/>
                    </a:lnTo>
                    <a:lnTo>
                      <a:pt x="293" y="317"/>
                    </a:lnTo>
                    <a:lnTo>
                      <a:pt x="298" y="317"/>
                    </a:lnTo>
                    <a:lnTo>
                      <a:pt x="298" y="312"/>
                    </a:lnTo>
                    <a:lnTo>
                      <a:pt x="303" y="312"/>
                    </a:lnTo>
                    <a:lnTo>
                      <a:pt x="307" y="312"/>
                    </a:lnTo>
                    <a:lnTo>
                      <a:pt x="307" y="307"/>
                    </a:lnTo>
                    <a:lnTo>
                      <a:pt x="312" y="307"/>
                    </a:lnTo>
                    <a:lnTo>
                      <a:pt x="317" y="302"/>
                    </a:lnTo>
                    <a:lnTo>
                      <a:pt x="322" y="302"/>
                    </a:lnTo>
                    <a:lnTo>
                      <a:pt x="327" y="302"/>
                    </a:lnTo>
                    <a:lnTo>
                      <a:pt x="331" y="302"/>
                    </a:lnTo>
                    <a:lnTo>
                      <a:pt x="331" y="307"/>
                    </a:lnTo>
                    <a:lnTo>
                      <a:pt x="336" y="312"/>
                    </a:lnTo>
                    <a:lnTo>
                      <a:pt x="336" y="317"/>
                    </a:lnTo>
                    <a:lnTo>
                      <a:pt x="336" y="322"/>
                    </a:lnTo>
                    <a:lnTo>
                      <a:pt x="336" y="326"/>
                    </a:lnTo>
                    <a:lnTo>
                      <a:pt x="341" y="326"/>
                    </a:lnTo>
                    <a:lnTo>
                      <a:pt x="341" y="331"/>
                    </a:lnTo>
                    <a:lnTo>
                      <a:pt x="346" y="331"/>
                    </a:lnTo>
                    <a:lnTo>
                      <a:pt x="351" y="331"/>
                    </a:lnTo>
                    <a:lnTo>
                      <a:pt x="355" y="331"/>
                    </a:lnTo>
                    <a:lnTo>
                      <a:pt x="360" y="331"/>
                    </a:lnTo>
                    <a:lnTo>
                      <a:pt x="360" y="336"/>
                    </a:lnTo>
                    <a:lnTo>
                      <a:pt x="365" y="336"/>
                    </a:lnTo>
                    <a:lnTo>
                      <a:pt x="365" y="341"/>
                    </a:lnTo>
                    <a:lnTo>
                      <a:pt x="370" y="341"/>
                    </a:lnTo>
                    <a:lnTo>
                      <a:pt x="370" y="346"/>
                    </a:lnTo>
                    <a:lnTo>
                      <a:pt x="375" y="346"/>
                    </a:lnTo>
                    <a:lnTo>
                      <a:pt x="379" y="346"/>
                    </a:lnTo>
                    <a:lnTo>
                      <a:pt x="384" y="346"/>
                    </a:lnTo>
                    <a:lnTo>
                      <a:pt x="389" y="346"/>
                    </a:lnTo>
                    <a:lnTo>
                      <a:pt x="394" y="346"/>
                    </a:lnTo>
                    <a:lnTo>
                      <a:pt x="394" y="341"/>
                    </a:lnTo>
                    <a:lnTo>
                      <a:pt x="399" y="341"/>
                    </a:lnTo>
                    <a:lnTo>
                      <a:pt x="399" y="336"/>
                    </a:lnTo>
                    <a:lnTo>
                      <a:pt x="403" y="336"/>
                    </a:lnTo>
                    <a:lnTo>
                      <a:pt x="403" y="331"/>
                    </a:lnTo>
                    <a:lnTo>
                      <a:pt x="408" y="331"/>
                    </a:lnTo>
                    <a:lnTo>
                      <a:pt x="408" y="326"/>
                    </a:lnTo>
                    <a:lnTo>
                      <a:pt x="413" y="326"/>
                    </a:lnTo>
                    <a:lnTo>
                      <a:pt x="418" y="322"/>
                    </a:lnTo>
                    <a:lnTo>
                      <a:pt x="423" y="322"/>
                    </a:lnTo>
                    <a:lnTo>
                      <a:pt x="427" y="326"/>
                    </a:lnTo>
                    <a:lnTo>
                      <a:pt x="427" y="331"/>
                    </a:lnTo>
                    <a:lnTo>
                      <a:pt x="432" y="331"/>
                    </a:lnTo>
                    <a:lnTo>
                      <a:pt x="432" y="336"/>
                    </a:lnTo>
                    <a:lnTo>
                      <a:pt x="432" y="341"/>
                    </a:lnTo>
                    <a:lnTo>
                      <a:pt x="432" y="346"/>
                    </a:lnTo>
                    <a:lnTo>
                      <a:pt x="437" y="346"/>
                    </a:lnTo>
                    <a:lnTo>
                      <a:pt x="437" y="350"/>
                    </a:lnTo>
                    <a:lnTo>
                      <a:pt x="437" y="355"/>
                    </a:lnTo>
                    <a:lnTo>
                      <a:pt x="437" y="360"/>
                    </a:lnTo>
                    <a:lnTo>
                      <a:pt x="442" y="360"/>
                    </a:lnTo>
                    <a:lnTo>
                      <a:pt x="442" y="365"/>
                    </a:lnTo>
                    <a:lnTo>
                      <a:pt x="442" y="370"/>
                    </a:lnTo>
                    <a:lnTo>
                      <a:pt x="447" y="370"/>
                    </a:lnTo>
                    <a:lnTo>
                      <a:pt x="451" y="374"/>
                    </a:lnTo>
                    <a:lnTo>
                      <a:pt x="456" y="374"/>
                    </a:lnTo>
                    <a:lnTo>
                      <a:pt x="456" y="379"/>
                    </a:lnTo>
                    <a:lnTo>
                      <a:pt x="461" y="379"/>
                    </a:lnTo>
                    <a:lnTo>
                      <a:pt x="466" y="379"/>
                    </a:lnTo>
                    <a:lnTo>
                      <a:pt x="471" y="379"/>
                    </a:lnTo>
                    <a:lnTo>
                      <a:pt x="471" y="384"/>
                    </a:lnTo>
                    <a:lnTo>
                      <a:pt x="475" y="384"/>
                    </a:lnTo>
                    <a:lnTo>
                      <a:pt x="480" y="384"/>
                    </a:lnTo>
                    <a:lnTo>
                      <a:pt x="485" y="384"/>
                    </a:lnTo>
                    <a:lnTo>
                      <a:pt x="490" y="384"/>
                    </a:lnTo>
                    <a:lnTo>
                      <a:pt x="495" y="384"/>
                    </a:lnTo>
                    <a:lnTo>
                      <a:pt x="499" y="384"/>
                    </a:lnTo>
                    <a:lnTo>
                      <a:pt x="499" y="379"/>
                    </a:lnTo>
                    <a:lnTo>
                      <a:pt x="504" y="379"/>
                    </a:lnTo>
                    <a:lnTo>
                      <a:pt x="504" y="374"/>
                    </a:lnTo>
                    <a:lnTo>
                      <a:pt x="499" y="370"/>
                    </a:lnTo>
                    <a:lnTo>
                      <a:pt x="499" y="365"/>
                    </a:lnTo>
                    <a:lnTo>
                      <a:pt x="495" y="365"/>
                    </a:lnTo>
                    <a:lnTo>
                      <a:pt x="495" y="360"/>
                    </a:lnTo>
                    <a:lnTo>
                      <a:pt x="499" y="360"/>
                    </a:lnTo>
                    <a:lnTo>
                      <a:pt x="499" y="355"/>
                    </a:lnTo>
                    <a:lnTo>
                      <a:pt x="504" y="355"/>
                    </a:lnTo>
                    <a:lnTo>
                      <a:pt x="509" y="355"/>
                    </a:lnTo>
                    <a:lnTo>
                      <a:pt x="509" y="350"/>
                    </a:lnTo>
                    <a:lnTo>
                      <a:pt x="509" y="346"/>
                    </a:lnTo>
                    <a:lnTo>
                      <a:pt x="504" y="346"/>
                    </a:lnTo>
                    <a:lnTo>
                      <a:pt x="504" y="341"/>
                    </a:lnTo>
                    <a:lnTo>
                      <a:pt x="509" y="336"/>
                    </a:lnTo>
                    <a:lnTo>
                      <a:pt x="514" y="336"/>
                    </a:lnTo>
                    <a:lnTo>
                      <a:pt x="514" y="331"/>
                    </a:lnTo>
                    <a:lnTo>
                      <a:pt x="519" y="331"/>
                    </a:lnTo>
                    <a:lnTo>
                      <a:pt x="523" y="331"/>
                    </a:lnTo>
                    <a:lnTo>
                      <a:pt x="523" y="336"/>
                    </a:lnTo>
                    <a:lnTo>
                      <a:pt x="528" y="336"/>
                    </a:lnTo>
                    <a:lnTo>
                      <a:pt x="533" y="336"/>
                    </a:lnTo>
                    <a:lnTo>
                      <a:pt x="538" y="336"/>
                    </a:lnTo>
                    <a:lnTo>
                      <a:pt x="543" y="341"/>
                    </a:lnTo>
                    <a:lnTo>
                      <a:pt x="547" y="341"/>
                    </a:lnTo>
                    <a:lnTo>
                      <a:pt x="552" y="341"/>
                    </a:lnTo>
                    <a:lnTo>
                      <a:pt x="552" y="346"/>
                    </a:lnTo>
                    <a:lnTo>
                      <a:pt x="557" y="346"/>
                    </a:lnTo>
                    <a:lnTo>
                      <a:pt x="562" y="346"/>
                    </a:lnTo>
                    <a:lnTo>
                      <a:pt x="562" y="350"/>
                    </a:lnTo>
                    <a:lnTo>
                      <a:pt x="567" y="350"/>
                    </a:lnTo>
                    <a:lnTo>
                      <a:pt x="567" y="355"/>
                    </a:lnTo>
                    <a:lnTo>
                      <a:pt x="571" y="355"/>
                    </a:lnTo>
                    <a:lnTo>
                      <a:pt x="576" y="355"/>
                    </a:lnTo>
                    <a:lnTo>
                      <a:pt x="581" y="360"/>
                    </a:lnTo>
                    <a:lnTo>
                      <a:pt x="586" y="360"/>
                    </a:lnTo>
                    <a:lnTo>
                      <a:pt x="591" y="360"/>
                    </a:lnTo>
                    <a:lnTo>
                      <a:pt x="591" y="365"/>
                    </a:lnTo>
                    <a:lnTo>
                      <a:pt x="595" y="365"/>
                    </a:lnTo>
                    <a:lnTo>
                      <a:pt x="600" y="365"/>
                    </a:lnTo>
                    <a:lnTo>
                      <a:pt x="605" y="370"/>
                    </a:lnTo>
                    <a:lnTo>
                      <a:pt x="610" y="370"/>
                    </a:lnTo>
                    <a:lnTo>
                      <a:pt x="610" y="374"/>
                    </a:lnTo>
                    <a:lnTo>
                      <a:pt x="615" y="374"/>
                    </a:lnTo>
                    <a:lnTo>
                      <a:pt x="615" y="379"/>
                    </a:lnTo>
                    <a:lnTo>
                      <a:pt x="619" y="379"/>
                    </a:lnTo>
                    <a:lnTo>
                      <a:pt x="619" y="384"/>
                    </a:lnTo>
                    <a:lnTo>
                      <a:pt x="624" y="384"/>
                    </a:lnTo>
                    <a:lnTo>
                      <a:pt x="629" y="384"/>
                    </a:lnTo>
                    <a:lnTo>
                      <a:pt x="629" y="389"/>
                    </a:lnTo>
                    <a:lnTo>
                      <a:pt x="634" y="389"/>
                    </a:lnTo>
                    <a:lnTo>
                      <a:pt x="639" y="389"/>
                    </a:lnTo>
                    <a:lnTo>
                      <a:pt x="643" y="389"/>
                    </a:lnTo>
                    <a:lnTo>
                      <a:pt x="648" y="389"/>
                    </a:lnTo>
                    <a:lnTo>
                      <a:pt x="653" y="384"/>
                    </a:lnTo>
                    <a:lnTo>
                      <a:pt x="658" y="384"/>
                    </a:lnTo>
                    <a:lnTo>
                      <a:pt x="663" y="379"/>
                    </a:lnTo>
                    <a:lnTo>
                      <a:pt x="667" y="379"/>
                    </a:lnTo>
                    <a:lnTo>
                      <a:pt x="672" y="379"/>
                    </a:lnTo>
                    <a:lnTo>
                      <a:pt x="677" y="379"/>
                    </a:lnTo>
                    <a:lnTo>
                      <a:pt x="682" y="379"/>
                    </a:lnTo>
                    <a:lnTo>
                      <a:pt x="682" y="374"/>
                    </a:lnTo>
                    <a:lnTo>
                      <a:pt x="687" y="374"/>
                    </a:lnTo>
                    <a:lnTo>
                      <a:pt x="691" y="374"/>
                    </a:lnTo>
                    <a:lnTo>
                      <a:pt x="691" y="370"/>
                    </a:lnTo>
                    <a:lnTo>
                      <a:pt x="696" y="370"/>
                    </a:lnTo>
                    <a:lnTo>
                      <a:pt x="696" y="365"/>
                    </a:lnTo>
                    <a:lnTo>
                      <a:pt x="701" y="365"/>
                    </a:lnTo>
                    <a:lnTo>
                      <a:pt x="701" y="360"/>
                    </a:lnTo>
                    <a:lnTo>
                      <a:pt x="706" y="360"/>
                    </a:lnTo>
                    <a:lnTo>
                      <a:pt x="706" y="355"/>
                    </a:lnTo>
                    <a:lnTo>
                      <a:pt x="711" y="350"/>
                    </a:lnTo>
                    <a:lnTo>
                      <a:pt x="715" y="346"/>
                    </a:lnTo>
                    <a:lnTo>
                      <a:pt x="720" y="346"/>
                    </a:lnTo>
                    <a:lnTo>
                      <a:pt x="720" y="341"/>
                    </a:lnTo>
                    <a:lnTo>
                      <a:pt x="725" y="341"/>
                    </a:lnTo>
                    <a:lnTo>
                      <a:pt x="730" y="341"/>
                    </a:lnTo>
                    <a:lnTo>
                      <a:pt x="730" y="336"/>
                    </a:lnTo>
                    <a:lnTo>
                      <a:pt x="730" y="331"/>
                    </a:lnTo>
                    <a:lnTo>
                      <a:pt x="730" y="326"/>
                    </a:lnTo>
                    <a:lnTo>
                      <a:pt x="730" y="322"/>
                    </a:lnTo>
                    <a:lnTo>
                      <a:pt x="730" y="317"/>
                    </a:lnTo>
                    <a:lnTo>
                      <a:pt x="730" y="312"/>
                    </a:lnTo>
                    <a:lnTo>
                      <a:pt x="735" y="307"/>
                    </a:lnTo>
                    <a:lnTo>
                      <a:pt x="735" y="302"/>
                    </a:lnTo>
                    <a:lnTo>
                      <a:pt x="735" y="298"/>
                    </a:lnTo>
                    <a:lnTo>
                      <a:pt x="735" y="293"/>
                    </a:lnTo>
                    <a:lnTo>
                      <a:pt x="735" y="288"/>
                    </a:lnTo>
                    <a:lnTo>
                      <a:pt x="735" y="283"/>
                    </a:lnTo>
                    <a:lnTo>
                      <a:pt x="735" y="278"/>
                    </a:lnTo>
                    <a:lnTo>
                      <a:pt x="739" y="278"/>
                    </a:lnTo>
                    <a:lnTo>
                      <a:pt x="739" y="274"/>
                    </a:lnTo>
                    <a:lnTo>
                      <a:pt x="739" y="269"/>
                    </a:lnTo>
                    <a:lnTo>
                      <a:pt x="744" y="269"/>
                    </a:lnTo>
                    <a:lnTo>
                      <a:pt x="744" y="264"/>
                    </a:lnTo>
                    <a:lnTo>
                      <a:pt x="749" y="259"/>
                    </a:lnTo>
                    <a:lnTo>
                      <a:pt x="749" y="254"/>
                    </a:lnTo>
                    <a:lnTo>
                      <a:pt x="754" y="254"/>
                    </a:lnTo>
                    <a:lnTo>
                      <a:pt x="754" y="250"/>
                    </a:lnTo>
                    <a:lnTo>
                      <a:pt x="754" y="245"/>
                    </a:lnTo>
                    <a:lnTo>
                      <a:pt x="754" y="240"/>
                    </a:lnTo>
                    <a:lnTo>
                      <a:pt x="754" y="235"/>
                    </a:lnTo>
                    <a:lnTo>
                      <a:pt x="754" y="230"/>
                    </a:lnTo>
                    <a:lnTo>
                      <a:pt x="754" y="226"/>
                    </a:lnTo>
                    <a:lnTo>
                      <a:pt x="754" y="221"/>
                    </a:lnTo>
                    <a:lnTo>
                      <a:pt x="754" y="216"/>
                    </a:lnTo>
                    <a:lnTo>
                      <a:pt x="754" y="211"/>
                    </a:lnTo>
                    <a:lnTo>
                      <a:pt x="759" y="211"/>
                    </a:lnTo>
                    <a:lnTo>
                      <a:pt x="759" y="206"/>
                    </a:lnTo>
                    <a:lnTo>
                      <a:pt x="759" y="202"/>
                    </a:lnTo>
                    <a:lnTo>
                      <a:pt x="759" y="197"/>
                    </a:lnTo>
                    <a:lnTo>
                      <a:pt x="763" y="197"/>
                    </a:lnTo>
                    <a:lnTo>
                      <a:pt x="763" y="192"/>
                    </a:lnTo>
                    <a:lnTo>
                      <a:pt x="768" y="192"/>
                    </a:lnTo>
                    <a:lnTo>
                      <a:pt x="773" y="197"/>
                    </a:lnTo>
                    <a:lnTo>
                      <a:pt x="778" y="197"/>
                    </a:lnTo>
                    <a:lnTo>
                      <a:pt x="783" y="197"/>
                    </a:lnTo>
                    <a:lnTo>
                      <a:pt x="787" y="197"/>
                    </a:lnTo>
                    <a:lnTo>
                      <a:pt x="787" y="192"/>
                    </a:lnTo>
                    <a:lnTo>
                      <a:pt x="792" y="192"/>
                    </a:lnTo>
                    <a:lnTo>
                      <a:pt x="792" y="187"/>
                    </a:lnTo>
                    <a:lnTo>
                      <a:pt x="792" y="182"/>
                    </a:lnTo>
                    <a:lnTo>
                      <a:pt x="797" y="178"/>
                    </a:lnTo>
                    <a:lnTo>
                      <a:pt x="797" y="173"/>
                    </a:lnTo>
                    <a:lnTo>
                      <a:pt x="802" y="173"/>
                    </a:lnTo>
                    <a:lnTo>
                      <a:pt x="802" y="168"/>
                    </a:lnTo>
                    <a:lnTo>
                      <a:pt x="807" y="163"/>
                    </a:lnTo>
                    <a:lnTo>
                      <a:pt x="811" y="163"/>
                    </a:lnTo>
                    <a:lnTo>
                      <a:pt x="811" y="158"/>
                    </a:lnTo>
                    <a:lnTo>
                      <a:pt x="811" y="154"/>
                    </a:lnTo>
                    <a:lnTo>
                      <a:pt x="816" y="154"/>
                    </a:lnTo>
                    <a:lnTo>
                      <a:pt x="816" y="149"/>
                    </a:lnTo>
                    <a:lnTo>
                      <a:pt x="816" y="144"/>
                    </a:lnTo>
                    <a:lnTo>
                      <a:pt x="811" y="144"/>
                    </a:lnTo>
                    <a:lnTo>
                      <a:pt x="811" y="139"/>
                    </a:lnTo>
                    <a:lnTo>
                      <a:pt x="807" y="139"/>
                    </a:lnTo>
                    <a:lnTo>
                      <a:pt x="802" y="139"/>
                    </a:lnTo>
                    <a:lnTo>
                      <a:pt x="797" y="139"/>
                    </a:lnTo>
                    <a:lnTo>
                      <a:pt x="792" y="134"/>
                    </a:lnTo>
                    <a:lnTo>
                      <a:pt x="787" y="134"/>
                    </a:lnTo>
                    <a:lnTo>
                      <a:pt x="783" y="134"/>
                    </a:lnTo>
                    <a:lnTo>
                      <a:pt x="783" y="130"/>
                    </a:lnTo>
                    <a:lnTo>
                      <a:pt x="783" y="125"/>
                    </a:lnTo>
                    <a:lnTo>
                      <a:pt x="783" y="120"/>
                    </a:lnTo>
                    <a:lnTo>
                      <a:pt x="783" y="115"/>
                    </a:lnTo>
                    <a:lnTo>
                      <a:pt x="787" y="110"/>
                    </a:lnTo>
                    <a:lnTo>
                      <a:pt x="792" y="110"/>
                    </a:lnTo>
                    <a:lnTo>
                      <a:pt x="797" y="106"/>
                    </a:lnTo>
                    <a:lnTo>
                      <a:pt x="802" y="106"/>
                    </a:lnTo>
                    <a:lnTo>
                      <a:pt x="807" y="106"/>
                    </a:lnTo>
                    <a:lnTo>
                      <a:pt x="811" y="106"/>
                    </a:lnTo>
                    <a:lnTo>
                      <a:pt x="816" y="106"/>
                    </a:lnTo>
                    <a:lnTo>
                      <a:pt x="821" y="106"/>
                    </a:lnTo>
                    <a:lnTo>
                      <a:pt x="826" y="106"/>
                    </a:lnTo>
                    <a:lnTo>
                      <a:pt x="831" y="106"/>
                    </a:lnTo>
                    <a:lnTo>
                      <a:pt x="835" y="106"/>
                    </a:lnTo>
                    <a:lnTo>
                      <a:pt x="840" y="106"/>
                    </a:lnTo>
                    <a:lnTo>
                      <a:pt x="845" y="106"/>
                    </a:lnTo>
                    <a:lnTo>
                      <a:pt x="850" y="106"/>
                    </a:lnTo>
                    <a:lnTo>
                      <a:pt x="855" y="106"/>
                    </a:lnTo>
                    <a:lnTo>
                      <a:pt x="859" y="106"/>
                    </a:lnTo>
                    <a:lnTo>
                      <a:pt x="859" y="101"/>
                    </a:lnTo>
                    <a:lnTo>
                      <a:pt x="864" y="101"/>
                    </a:lnTo>
                    <a:lnTo>
                      <a:pt x="869" y="96"/>
                    </a:lnTo>
                    <a:lnTo>
                      <a:pt x="874" y="96"/>
                    </a:lnTo>
                    <a:lnTo>
                      <a:pt x="874" y="91"/>
                    </a:lnTo>
                    <a:lnTo>
                      <a:pt x="879" y="91"/>
                    </a:lnTo>
                    <a:lnTo>
                      <a:pt x="883" y="86"/>
                    </a:lnTo>
                    <a:lnTo>
                      <a:pt x="888" y="86"/>
                    </a:lnTo>
                    <a:lnTo>
                      <a:pt x="888" y="82"/>
                    </a:lnTo>
                    <a:lnTo>
                      <a:pt x="893" y="82"/>
                    </a:lnTo>
                    <a:lnTo>
                      <a:pt x="893" y="77"/>
                    </a:lnTo>
                    <a:lnTo>
                      <a:pt x="898" y="77"/>
                    </a:lnTo>
                    <a:lnTo>
                      <a:pt x="903" y="72"/>
                    </a:lnTo>
                    <a:lnTo>
                      <a:pt x="907" y="67"/>
                    </a:lnTo>
                    <a:lnTo>
                      <a:pt x="912" y="67"/>
                    </a:lnTo>
                    <a:lnTo>
                      <a:pt x="912" y="62"/>
                    </a:lnTo>
                    <a:lnTo>
                      <a:pt x="917" y="62"/>
                    </a:lnTo>
                    <a:lnTo>
                      <a:pt x="917" y="58"/>
                    </a:lnTo>
                    <a:lnTo>
                      <a:pt x="922" y="58"/>
                    </a:lnTo>
                    <a:lnTo>
                      <a:pt x="922" y="53"/>
                    </a:lnTo>
                    <a:lnTo>
                      <a:pt x="922" y="48"/>
                    </a:lnTo>
                    <a:lnTo>
                      <a:pt x="927" y="48"/>
                    </a:lnTo>
                    <a:lnTo>
                      <a:pt x="927" y="43"/>
                    </a:lnTo>
                    <a:lnTo>
                      <a:pt x="927" y="38"/>
                    </a:lnTo>
                    <a:lnTo>
                      <a:pt x="927" y="34"/>
                    </a:lnTo>
                    <a:lnTo>
                      <a:pt x="927" y="29"/>
                    </a:lnTo>
                    <a:lnTo>
                      <a:pt x="927" y="24"/>
                    </a:lnTo>
                    <a:lnTo>
                      <a:pt x="927" y="19"/>
                    </a:lnTo>
                    <a:lnTo>
                      <a:pt x="927" y="14"/>
                    </a:lnTo>
                    <a:lnTo>
                      <a:pt x="927" y="10"/>
                    </a:lnTo>
                    <a:lnTo>
                      <a:pt x="922" y="10"/>
                    </a:lnTo>
                    <a:lnTo>
                      <a:pt x="922" y="5"/>
                    </a:lnTo>
                    <a:lnTo>
                      <a:pt x="922" y="0"/>
                    </a:lnTo>
                    <a:lnTo>
                      <a:pt x="927" y="5"/>
                    </a:lnTo>
                    <a:lnTo>
                      <a:pt x="931" y="5"/>
                    </a:lnTo>
                    <a:lnTo>
                      <a:pt x="936" y="5"/>
                    </a:lnTo>
                    <a:lnTo>
                      <a:pt x="941" y="5"/>
                    </a:lnTo>
                    <a:lnTo>
                      <a:pt x="946" y="10"/>
                    </a:lnTo>
                    <a:lnTo>
                      <a:pt x="951" y="10"/>
                    </a:lnTo>
                    <a:lnTo>
                      <a:pt x="955" y="10"/>
                    </a:lnTo>
                    <a:lnTo>
                      <a:pt x="960" y="10"/>
                    </a:lnTo>
                    <a:lnTo>
                      <a:pt x="965" y="14"/>
                    </a:lnTo>
                    <a:lnTo>
                      <a:pt x="970" y="14"/>
                    </a:lnTo>
                    <a:lnTo>
                      <a:pt x="975" y="14"/>
                    </a:lnTo>
                    <a:lnTo>
                      <a:pt x="979" y="14"/>
                    </a:lnTo>
                    <a:lnTo>
                      <a:pt x="984" y="19"/>
                    </a:lnTo>
                    <a:lnTo>
                      <a:pt x="989" y="19"/>
                    </a:lnTo>
                    <a:lnTo>
                      <a:pt x="994" y="19"/>
                    </a:lnTo>
                    <a:lnTo>
                      <a:pt x="999" y="24"/>
                    </a:lnTo>
                    <a:lnTo>
                      <a:pt x="1003" y="29"/>
                    </a:lnTo>
                    <a:lnTo>
                      <a:pt x="1008" y="29"/>
                    </a:lnTo>
                    <a:lnTo>
                      <a:pt x="1013" y="34"/>
                    </a:lnTo>
                    <a:lnTo>
                      <a:pt x="1018" y="38"/>
                    </a:lnTo>
                    <a:lnTo>
                      <a:pt x="1023" y="43"/>
                    </a:lnTo>
                    <a:lnTo>
                      <a:pt x="1027" y="48"/>
                    </a:lnTo>
                    <a:lnTo>
                      <a:pt x="1032" y="48"/>
                    </a:lnTo>
                    <a:lnTo>
                      <a:pt x="1032" y="53"/>
                    </a:lnTo>
                    <a:lnTo>
                      <a:pt x="1037" y="58"/>
                    </a:lnTo>
                    <a:lnTo>
                      <a:pt x="1042" y="62"/>
                    </a:lnTo>
                    <a:lnTo>
                      <a:pt x="1047" y="62"/>
                    </a:lnTo>
                    <a:lnTo>
                      <a:pt x="1051" y="67"/>
                    </a:lnTo>
                    <a:lnTo>
                      <a:pt x="1056" y="72"/>
                    </a:lnTo>
                    <a:lnTo>
                      <a:pt x="1061" y="77"/>
                    </a:lnTo>
                    <a:lnTo>
                      <a:pt x="1066" y="77"/>
                    </a:lnTo>
                    <a:lnTo>
                      <a:pt x="1071" y="82"/>
                    </a:lnTo>
                    <a:lnTo>
                      <a:pt x="1075" y="86"/>
                    </a:lnTo>
                    <a:lnTo>
                      <a:pt x="1080" y="91"/>
                    </a:lnTo>
                    <a:lnTo>
                      <a:pt x="1085" y="91"/>
                    </a:lnTo>
                    <a:lnTo>
                      <a:pt x="1090" y="91"/>
                    </a:lnTo>
                    <a:lnTo>
                      <a:pt x="1095" y="91"/>
                    </a:lnTo>
                    <a:lnTo>
                      <a:pt x="1099" y="91"/>
                    </a:lnTo>
                    <a:lnTo>
                      <a:pt x="1104" y="91"/>
                    </a:lnTo>
                    <a:lnTo>
                      <a:pt x="1109" y="91"/>
                    </a:lnTo>
                    <a:lnTo>
                      <a:pt x="1114" y="91"/>
                    </a:lnTo>
                    <a:lnTo>
                      <a:pt x="1119" y="91"/>
                    </a:lnTo>
                    <a:lnTo>
                      <a:pt x="1123" y="91"/>
                    </a:lnTo>
                    <a:lnTo>
                      <a:pt x="1128" y="91"/>
                    </a:lnTo>
                    <a:lnTo>
                      <a:pt x="1133" y="91"/>
                    </a:lnTo>
                    <a:lnTo>
                      <a:pt x="1138" y="91"/>
                    </a:lnTo>
                    <a:lnTo>
                      <a:pt x="1143" y="91"/>
                    </a:lnTo>
                    <a:lnTo>
                      <a:pt x="1147" y="91"/>
                    </a:lnTo>
                    <a:lnTo>
                      <a:pt x="1152" y="91"/>
                    </a:lnTo>
                    <a:lnTo>
                      <a:pt x="1157" y="91"/>
                    </a:lnTo>
                    <a:lnTo>
                      <a:pt x="1162" y="91"/>
                    </a:lnTo>
                    <a:lnTo>
                      <a:pt x="1167" y="91"/>
                    </a:lnTo>
                    <a:lnTo>
                      <a:pt x="1171" y="91"/>
                    </a:lnTo>
                    <a:lnTo>
                      <a:pt x="1176" y="91"/>
                    </a:lnTo>
                    <a:lnTo>
                      <a:pt x="1181" y="91"/>
                    </a:lnTo>
                    <a:lnTo>
                      <a:pt x="1186" y="91"/>
                    </a:lnTo>
                    <a:lnTo>
                      <a:pt x="1191" y="91"/>
                    </a:lnTo>
                    <a:lnTo>
                      <a:pt x="1195" y="91"/>
                    </a:lnTo>
                    <a:lnTo>
                      <a:pt x="1200" y="91"/>
                    </a:lnTo>
                    <a:lnTo>
                      <a:pt x="1205" y="91"/>
                    </a:lnTo>
                    <a:lnTo>
                      <a:pt x="1210" y="91"/>
                    </a:lnTo>
                    <a:lnTo>
                      <a:pt x="1215" y="91"/>
                    </a:lnTo>
                    <a:lnTo>
                      <a:pt x="1219" y="91"/>
                    </a:lnTo>
                    <a:lnTo>
                      <a:pt x="1224" y="91"/>
                    </a:lnTo>
                    <a:lnTo>
                      <a:pt x="1229" y="91"/>
                    </a:lnTo>
                    <a:lnTo>
                      <a:pt x="1234" y="91"/>
                    </a:lnTo>
                    <a:lnTo>
                      <a:pt x="1239" y="91"/>
                    </a:lnTo>
                    <a:lnTo>
                      <a:pt x="1243" y="96"/>
                    </a:lnTo>
                    <a:lnTo>
                      <a:pt x="1248" y="96"/>
                    </a:lnTo>
                    <a:lnTo>
                      <a:pt x="1253" y="96"/>
                    </a:lnTo>
                    <a:lnTo>
                      <a:pt x="1258" y="96"/>
                    </a:lnTo>
                    <a:lnTo>
                      <a:pt x="1263" y="96"/>
                    </a:lnTo>
                    <a:lnTo>
                      <a:pt x="1267" y="96"/>
                    </a:lnTo>
                    <a:lnTo>
                      <a:pt x="1272" y="96"/>
                    </a:lnTo>
                    <a:lnTo>
                      <a:pt x="1277" y="96"/>
                    </a:lnTo>
                    <a:lnTo>
                      <a:pt x="1282" y="96"/>
                    </a:lnTo>
                    <a:lnTo>
                      <a:pt x="1287" y="96"/>
                    </a:lnTo>
                    <a:lnTo>
                      <a:pt x="1291" y="96"/>
                    </a:lnTo>
                    <a:lnTo>
                      <a:pt x="1296" y="96"/>
                    </a:lnTo>
                    <a:lnTo>
                      <a:pt x="1296" y="101"/>
                    </a:lnTo>
                    <a:lnTo>
                      <a:pt x="1296" y="106"/>
                    </a:lnTo>
                    <a:lnTo>
                      <a:pt x="1291" y="110"/>
                    </a:lnTo>
                    <a:lnTo>
                      <a:pt x="1291" y="115"/>
                    </a:lnTo>
                    <a:lnTo>
                      <a:pt x="1291" y="120"/>
                    </a:lnTo>
                    <a:lnTo>
                      <a:pt x="1291" y="125"/>
                    </a:lnTo>
                    <a:lnTo>
                      <a:pt x="1291" y="130"/>
                    </a:lnTo>
                    <a:lnTo>
                      <a:pt x="1291" y="134"/>
                    </a:lnTo>
                    <a:lnTo>
                      <a:pt x="1291" y="139"/>
                    </a:lnTo>
                    <a:lnTo>
                      <a:pt x="1287" y="144"/>
                    </a:lnTo>
                    <a:lnTo>
                      <a:pt x="1287" y="149"/>
                    </a:lnTo>
                    <a:lnTo>
                      <a:pt x="1287" y="154"/>
                    </a:lnTo>
                    <a:lnTo>
                      <a:pt x="1287" y="158"/>
                    </a:lnTo>
                    <a:lnTo>
                      <a:pt x="1287" y="163"/>
                    </a:lnTo>
                    <a:lnTo>
                      <a:pt x="1282" y="168"/>
                    </a:lnTo>
                    <a:lnTo>
                      <a:pt x="1282" y="173"/>
                    </a:lnTo>
                    <a:lnTo>
                      <a:pt x="1282" y="178"/>
                    </a:lnTo>
                    <a:lnTo>
                      <a:pt x="1282" y="182"/>
                    </a:lnTo>
                    <a:lnTo>
                      <a:pt x="1282" y="187"/>
                    </a:lnTo>
                    <a:lnTo>
                      <a:pt x="1282" y="192"/>
                    </a:lnTo>
                    <a:lnTo>
                      <a:pt x="1277" y="197"/>
                    </a:lnTo>
                    <a:lnTo>
                      <a:pt x="1277" y="202"/>
                    </a:lnTo>
                    <a:lnTo>
                      <a:pt x="1272" y="206"/>
                    </a:lnTo>
                    <a:lnTo>
                      <a:pt x="1267" y="211"/>
                    </a:lnTo>
                    <a:lnTo>
                      <a:pt x="1263" y="216"/>
                    </a:lnTo>
                    <a:lnTo>
                      <a:pt x="1263" y="221"/>
                    </a:lnTo>
                    <a:lnTo>
                      <a:pt x="1258" y="226"/>
                    </a:lnTo>
                    <a:lnTo>
                      <a:pt x="1253" y="230"/>
                    </a:lnTo>
                    <a:lnTo>
                      <a:pt x="1253" y="235"/>
                    </a:lnTo>
                    <a:lnTo>
                      <a:pt x="1253" y="240"/>
                    </a:lnTo>
                    <a:lnTo>
                      <a:pt x="1253" y="245"/>
                    </a:lnTo>
                    <a:lnTo>
                      <a:pt x="1253" y="250"/>
                    </a:lnTo>
                    <a:lnTo>
                      <a:pt x="1248" y="254"/>
                    </a:lnTo>
                    <a:lnTo>
                      <a:pt x="1243" y="254"/>
                    </a:lnTo>
                    <a:lnTo>
                      <a:pt x="1239" y="254"/>
                    </a:lnTo>
                    <a:lnTo>
                      <a:pt x="1239" y="250"/>
                    </a:lnTo>
                    <a:lnTo>
                      <a:pt x="1234" y="250"/>
                    </a:lnTo>
                    <a:lnTo>
                      <a:pt x="1234" y="245"/>
                    </a:lnTo>
                    <a:lnTo>
                      <a:pt x="1229" y="245"/>
                    </a:lnTo>
                    <a:lnTo>
                      <a:pt x="1229" y="240"/>
                    </a:lnTo>
                    <a:lnTo>
                      <a:pt x="1224" y="240"/>
                    </a:lnTo>
                    <a:lnTo>
                      <a:pt x="1224" y="235"/>
                    </a:lnTo>
                    <a:lnTo>
                      <a:pt x="1219" y="230"/>
                    </a:lnTo>
                    <a:lnTo>
                      <a:pt x="1215" y="226"/>
                    </a:lnTo>
                    <a:lnTo>
                      <a:pt x="1215" y="221"/>
                    </a:lnTo>
                    <a:lnTo>
                      <a:pt x="1210" y="221"/>
                    </a:lnTo>
                    <a:lnTo>
                      <a:pt x="1210" y="216"/>
                    </a:lnTo>
                    <a:lnTo>
                      <a:pt x="1205" y="216"/>
                    </a:lnTo>
                    <a:lnTo>
                      <a:pt x="1205" y="211"/>
                    </a:lnTo>
                    <a:lnTo>
                      <a:pt x="1200" y="206"/>
                    </a:lnTo>
                    <a:lnTo>
                      <a:pt x="1195" y="206"/>
                    </a:lnTo>
                    <a:lnTo>
                      <a:pt x="1195" y="211"/>
                    </a:lnTo>
                    <a:lnTo>
                      <a:pt x="1195" y="216"/>
                    </a:lnTo>
                    <a:lnTo>
                      <a:pt x="1195" y="221"/>
                    </a:lnTo>
                    <a:lnTo>
                      <a:pt x="1195" y="226"/>
                    </a:lnTo>
                    <a:lnTo>
                      <a:pt x="1195" y="230"/>
                    </a:lnTo>
                    <a:lnTo>
                      <a:pt x="1195" y="235"/>
                    </a:lnTo>
                    <a:lnTo>
                      <a:pt x="1195" y="240"/>
                    </a:lnTo>
                    <a:lnTo>
                      <a:pt x="1195" y="245"/>
                    </a:lnTo>
                    <a:lnTo>
                      <a:pt x="1195" y="250"/>
                    </a:lnTo>
                    <a:lnTo>
                      <a:pt x="1195" y="254"/>
                    </a:lnTo>
                    <a:lnTo>
                      <a:pt x="1195" y="259"/>
                    </a:lnTo>
                    <a:lnTo>
                      <a:pt x="1195" y="264"/>
                    </a:lnTo>
                    <a:lnTo>
                      <a:pt x="1195" y="269"/>
                    </a:lnTo>
                    <a:lnTo>
                      <a:pt x="1195" y="274"/>
                    </a:lnTo>
                    <a:lnTo>
                      <a:pt x="1195" y="278"/>
                    </a:lnTo>
                    <a:lnTo>
                      <a:pt x="1195" y="283"/>
                    </a:lnTo>
                    <a:lnTo>
                      <a:pt x="1195" y="288"/>
                    </a:lnTo>
                    <a:lnTo>
                      <a:pt x="1195" y="293"/>
                    </a:lnTo>
                    <a:lnTo>
                      <a:pt x="1195" y="298"/>
                    </a:lnTo>
                    <a:lnTo>
                      <a:pt x="1195" y="302"/>
                    </a:lnTo>
                    <a:lnTo>
                      <a:pt x="1195" y="307"/>
                    </a:lnTo>
                    <a:lnTo>
                      <a:pt x="1195" y="312"/>
                    </a:lnTo>
                    <a:lnTo>
                      <a:pt x="1195" y="317"/>
                    </a:lnTo>
                    <a:lnTo>
                      <a:pt x="1195" y="322"/>
                    </a:lnTo>
                    <a:lnTo>
                      <a:pt x="1195" y="326"/>
                    </a:lnTo>
                    <a:lnTo>
                      <a:pt x="1195" y="331"/>
                    </a:lnTo>
                    <a:lnTo>
                      <a:pt x="1195" y="336"/>
                    </a:lnTo>
                    <a:lnTo>
                      <a:pt x="1195" y="341"/>
                    </a:lnTo>
                    <a:lnTo>
                      <a:pt x="1195" y="346"/>
                    </a:lnTo>
                    <a:lnTo>
                      <a:pt x="1195" y="350"/>
                    </a:lnTo>
                    <a:lnTo>
                      <a:pt x="1195" y="355"/>
                    </a:lnTo>
                    <a:lnTo>
                      <a:pt x="1195" y="360"/>
                    </a:lnTo>
                    <a:lnTo>
                      <a:pt x="1195" y="365"/>
                    </a:lnTo>
                    <a:lnTo>
                      <a:pt x="1195" y="370"/>
                    </a:lnTo>
                    <a:lnTo>
                      <a:pt x="1195" y="374"/>
                    </a:lnTo>
                    <a:lnTo>
                      <a:pt x="1195" y="379"/>
                    </a:lnTo>
                    <a:lnTo>
                      <a:pt x="1195" y="384"/>
                    </a:lnTo>
                    <a:lnTo>
                      <a:pt x="1195" y="389"/>
                    </a:lnTo>
                    <a:lnTo>
                      <a:pt x="1195" y="394"/>
                    </a:lnTo>
                    <a:lnTo>
                      <a:pt x="1195" y="398"/>
                    </a:lnTo>
                    <a:lnTo>
                      <a:pt x="1195" y="403"/>
                    </a:lnTo>
                    <a:lnTo>
                      <a:pt x="1195" y="408"/>
                    </a:lnTo>
                    <a:lnTo>
                      <a:pt x="1195" y="413"/>
                    </a:lnTo>
                    <a:lnTo>
                      <a:pt x="1195" y="418"/>
                    </a:lnTo>
                    <a:lnTo>
                      <a:pt x="1195" y="422"/>
                    </a:lnTo>
                    <a:lnTo>
                      <a:pt x="1195" y="427"/>
                    </a:lnTo>
                    <a:lnTo>
                      <a:pt x="1195" y="432"/>
                    </a:lnTo>
                    <a:lnTo>
                      <a:pt x="1195" y="437"/>
                    </a:lnTo>
                    <a:lnTo>
                      <a:pt x="1195" y="442"/>
                    </a:lnTo>
                    <a:lnTo>
                      <a:pt x="1195" y="446"/>
                    </a:lnTo>
                    <a:lnTo>
                      <a:pt x="1195" y="451"/>
                    </a:lnTo>
                    <a:lnTo>
                      <a:pt x="1195" y="456"/>
                    </a:lnTo>
                    <a:lnTo>
                      <a:pt x="1191" y="456"/>
                    </a:lnTo>
                    <a:lnTo>
                      <a:pt x="1186" y="456"/>
                    </a:lnTo>
                    <a:lnTo>
                      <a:pt x="1176" y="456"/>
                    </a:lnTo>
                    <a:lnTo>
                      <a:pt x="1171" y="461"/>
                    </a:lnTo>
                    <a:lnTo>
                      <a:pt x="1171" y="466"/>
                    </a:lnTo>
                    <a:lnTo>
                      <a:pt x="1162" y="466"/>
                    </a:lnTo>
                    <a:lnTo>
                      <a:pt x="1157" y="470"/>
                    </a:lnTo>
                    <a:lnTo>
                      <a:pt x="1152" y="470"/>
                    </a:lnTo>
                    <a:lnTo>
                      <a:pt x="1147" y="475"/>
                    </a:lnTo>
                    <a:lnTo>
                      <a:pt x="1147" y="480"/>
                    </a:lnTo>
                    <a:lnTo>
                      <a:pt x="1147" y="485"/>
                    </a:lnTo>
                    <a:lnTo>
                      <a:pt x="1152" y="485"/>
                    </a:lnTo>
                    <a:lnTo>
                      <a:pt x="1157" y="485"/>
                    </a:lnTo>
                    <a:lnTo>
                      <a:pt x="1162" y="485"/>
                    </a:lnTo>
                    <a:lnTo>
                      <a:pt x="1167" y="480"/>
                    </a:lnTo>
                    <a:lnTo>
                      <a:pt x="1171" y="480"/>
                    </a:lnTo>
                    <a:lnTo>
                      <a:pt x="1176" y="485"/>
                    </a:lnTo>
                    <a:lnTo>
                      <a:pt x="1171" y="485"/>
                    </a:lnTo>
                    <a:lnTo>
                      <a:pt x="1167" y="490"/>
                    </a:lnTo>
                    <a:lnTo>
                      <a:pt x="1162" y="494"/>
                    </a:lnTo>
                    <a:lnTo>
                      <a:pt x="1157" y="504"/>
                    </a:lnTo>
                    <a:lnTo>
                      <a:pt x="1157" y="509"/>
                    </a:lnTo>
                    <a:lnTo>
                      <a:pt x="1162" y="514"/>
                    </a:lnTo>
                    <a:lnTo>
                      <a:pt x="1157" y="514"/>
                    </a:lnTo>
                    <a:lnTo>
                      <a:pt x="1152" y="514"/>
                    </a:lnTo>
                    <a:lnTo>
                      <a:pt x="1147" y="514"/>
                    </a:lnTo>
                    <a:lnTo>
                      <a:pt x="1143" y="514"/>
                    </a:lnTo>
                    <a:lnTo>
                      <a:pt x="1138" y="518"/>
                    </a:lnTo>
                    <a:lnTo>
                      <a:pt x="1138" y="523"/>
                    </a:lnTo>
                    <a:lnTo>
                      <a:pt x="1138" y="528"/>
                    </a:lnTo>
                    <a:lnTo>
                      <a:pt x="1133" y="528"/>
                    </a:lnTo>
                    <a:lnTo>
                      <a:pt x="1133" y="533"/>
                    </a:lnTo>
                    <a:lnTo>
                      <a:pt x="1128" y="533"/>
                    </a:lnTo>
                    <a:lnTo>
                      <a:pt x="1123" y="533"/>
                    </a:lnTo>
                    <a:lnTo>
                      <a:pt x="1119" y="533"/>
                    </a:lnTo>
                    <a:lnTo>
                      <a:pt x="1119" y="538"/>
                    </a:lnTo>
                    <a:lnTo>
                      <a:pt x="1114" y="538"/>
                    </a:lnTo>
                    <a:lnTo>
                      <a:pt x="1114" y="542"/>
                    </a:lnTo>
                    <a:lnTo>
                      <a:pt x="1109" y="542"/>
                    </a:lnTo>
                    <a:lnTo>
                      <a:pt x="1109" y="547"/>
                    </a:lnTo>
                    <a:lnTo>
                      <a:pt x="1104" y="547"/>
                    </a:lnTo>
                    <a:lnTo>
                      <a:pt x="1104" y="552"/>
                    </a:lnTo>
                    <a:lnTo>
                      <a:pt x="1099" y="552"/>
                    </a:lnTo>
                    <a:lnTo>
                      <a:pt x="1095" y="552"/>
                    </a:lnTo>
                    <a:lnTo>
                      <a:pt x="1090" y="552"/>
                    </a:lnTo>
                    <a:lnTo>
                      <a:pt x="1085" y="552"/>
                    </a:lnTo>
                    <a:lnTo>
                      <a:pt x="1080" y="552"/>
                    </a:lnTo>
                    <a:lnTo>
                      <a:pt x="1080" y="557"/>
                    </a:lnTo>
                    <a:lnTo>
                      <a:pt x="1075" y="557"/>
                    </a:lnTo>
                    <a:lnTo>
                      <a:pt x="1075" y="552"/>
                    </a:lnTo>
                    <a:lnTo>
                      <a:pt x="1071" y="552"/>
                    </a:lnTo>
                    <a:lnTo>
                      <a:pt x="1066" y="552"/>
                    </a:lnTo>
                    <a:lnTo>
                      <a:pt x="1061" y="557"/>
                    </a:lnTo>
                    <a:lnTo>
                      <a:pt x="1056" y="557"/>
                    </a:lnTo>
                    <a:lnTo>
                      <a:pt x="1051" y="557"/>
                    </a:lnTo>
                    <a:lnTo>
                      <a:pt x="1051" y="562"/>
                    </a:lnTo>
                    <a:lnTo>
                      <a:pt x="1047" y="562"/>
                    </a:lnTo>
                    <a:lnTo>
                      <a:pt x="1047" y="566"/>
                    </a:lnTo>
                    <a:lnTo>
                      <a:pt x="1042" y="566"/>
                    </a:lnTo>
                    <a:lnTo>
                      <a:pt x="1037" y="566"/>
                    </a:lnTo>
                    <a:lnTo>
                      <a:pt x="1037" y="571"/>
                    </a:lnTo>
                    <a:lnTo>
                      <a:pt x="1032" y="576"/>
                    </a:lnTo>
                    <a:lnTo>
                      <a:pt x="1032" y="581"/>
                    </a:lnTo>
                    <a:lnTo>
                      <a:pt x="1032" y="586"/>
                    </a:lnTo>
                    <a:lnTo>
                      <a:pt x="1032" y="581"/>
                    </a:lnTo>
                    <a:lnTo>
                      <a:pt x="1027" y="581"/>
                    </a:lnTo>
                    <a:lnTo>
                      <a:pt x="1023" y="581"/>
                    </a:lnTo>
                    <a:lnTo>
                      <a:pt x="1018" y="581"/>
                    </a:lnTo>
                    <a:lnTo>
                      <a:pt x="1013" y="581"/>
                    </a:lnTo>
                    <a:lnTo>
                      <a:pt x="1008" y="581"/>
                    </a:lnTo>
                    <a:lnTo>
                      <a:pt x="1008" y="586"/>
                    </a:lnTo>
                    <a:lnTo>
                      <a:pt x="1003" y="586"/>
                    </a:lnTo>
                    <a:lnTo>
                      <a:pt x="1003" y="590"/>
                    </a:lnTo>
                    <a:lnTo>
                      <a:pt x="1003" y="595"/>
                    </a:lnTo>
                    <a:lnTo>
                      <a:pt x="999" y="600"/>
                    </a:lnTo>
                    <a:lnTo>
                      <a:pt x="1003" y="600"/>
                    </a:lnTo>
                    <a:lnTo>
                      <a:pt x="1003" y="605"/>
                    </a:lnTo>
                    <a:lnTo>
                      <a:pt x="1003" y="610"/>
                    </a:lnTo>
                    <a:lnTo>
                      <a:pt x="999" y="614"/>
                    </a:lnTo>
                    <a:lnTo>
                      <a:pt x="999" y="619"/>
                    </a:lnTo>
                    <a:lnTo>
                      <a:pt x="999" y="624"/>
                    </a:lnTo>
                    <a:lnTo>
                      <a:pt x="994" y="624"/>
                    </a:lnTo>
                    <a:lnTo>
                      <a:pt x="994" y="629"/>
                    </a:lnTo>
                    <a:lnTo>
                      <a:pt x="994" y="624"/>
                    </a:lnTo>
                    <a:lnTo>
                      <a:pt x="989" y="624"/>
                    </a:lnTo>
                    <a:lnTo>
                      <a:pt x="984" y="624"/>
                    </a:lnTo>
                    <a:lnTo>
                      <a:pt x="979" y="624"/>
                    </a:lnTo>
                    <a:lnTo>
                      <a:pt x="975" y="624"/>
                    </a:lnTo>
                    <a:lnTo>
                      <a:pt x="970" y="624"/>
                    </a:lnTo>
                    <a:lnTo>
                      <a:pt x="970" y="629"/>
                    </a:lnTo>
                    <a:lnTo>
                      <a:pt x="965" y="629"/>
                    </a:lnTo>
                    <a:lnTo>
                      <a:pt x="965" y="624"/>
                    </a:lnTo>
                    <a:lnTo>
                      <a:pt x="960" y="624"/>
                    </a:lnTo>
                    <a:lnTo>
                      <a:pt x="960" y="619"/>
                    </a:lnTo>
                    <a:lnTo>
                      <a:pt x="955" y="619"/>
                    </a:lnTo>
                    <a:lnTo>
                      <a:pt x="955" y="614"/>
                    </a:lnTo>
                    <a:lnTo>
                      <a:pt x="951" y="614"/>
                    </a:lnTo>
                    <a:lnTo>
                      <a:pt x="951" y="610"/>
                    </a:lnTo>
                    <a:lnTo>
                      <a:pt x="946" y="605"/>
                    </a:lnTo>
                    <a:lnTo>
                      <a:pt x="946" y="600"/>
                    </a:lnTo>
                    <a:lnTo>
                      <a:pt x="941" y="600"/>
                    </a:lnTo>
                    <a:lnTo>
                      <a:pt x="941" y="595"/>
                    </a:lnTo>
                    <a:lnTo>
                      <a:pt x="936" y="595"/>
                    </a:lnTo>
                    <a:lnTo>
                      <a:pt x="936" y="590"/>
                    </a:lnTo>
                    <a:lnTo>
                      <a:pt x="931" y="590"/>
                    </a:lnTo>
                    <a:lnTo>
                      <a:pt x="927" y="586"/>
                    </a:lnTo>
                    <a:lnTo>
                      <a:pt x="922" y="586"/>
                    </a:lnTo>
                    <a:lnTo>
                      <a:pt x="917" y="586"/>
                    </a:lnTo>
                    <a:lnTo>
                      <a:pt x="912" y="586"/>
                    </a:lnTo>
                    <a:lnTo>
                      <a:pt x="907" y="586"/>
                    </a:lnTo>
                    <a:lnTo>
                      <a:pt x="903" y="581"/>
                    </a:lnTo>
                    <a:lnTo>
                      <a:pt x="898" y="581"/>
                    </a:lnTo>
                    <a:lnTo>
                      <a:pt x="898" y="576"/>
                    </a:lnTo>
                    <a:lnTo>
                      <a:pt x="893" y="576"/>
                    </a:lnTo>
                    <a:lnTo>
                      <a:pt x="888" y="571"/>
                    </a:lnTo>
                    <a:lnTo>
                      <a:pt x="883" y="571"/>
                    </a:lnTo>
                    <a:lnTo>
                      <a:pt x="879" y="571"/>
                    </a:lnTo>
                    <a:lnTo>
                      <a:pt x="874" y="571"/>
                    </a:lnTo>
                    <a:lnTo>
                      <a:pt x="869" y="571"/>
                    </a:lnTo>
                    <a:lnTo>
                      <a:pt x="864" y="571"/>
                    </a:lnTo>
                    <a:lnTo>
                      <a:pt x="859" y="571"/>
                    </a:lnTo>
                    <a:lnTo>
                      <a:pt x="859" y="566"/>
                    </a:lnTo>
                    <a:lnTo>
                      <a:pt x="855" y="566"/>
                    </a:lnTo>
                    <a:lnTo>
                      <a:pt x="850" y="566"/>
                    </a:lnTo>
                    <a:lnTo>
                      <a:pt x="845" y="566"/>
                    </a:lnTo>
                    <a:lnTo>
                      <a:pt x="840" y="566"/>
                    </a:lnTo>
                    <a:lnTo>
                      <a:pt x="840" y="562"/>
                    </a:lnTo>
                    <a:lnTo>
                      <a:pt x="835" y="562"/>
                    </a:lnTo>
                    <a:lnTo>
                      <a:pt x="831" y="562"/>
                    </a:lnTo>
                    <a:lnTo>
                      <a:pt x="826" y="562"/>
                    </a:lnTo>
                    <a:lnTo>
                      <a:pt x="821" y="562"/>
                    </a:lnTo>
                    <a:lnTo>
                      <a:pt x="821" y="557"/>
                    </a:lnTo>
                    <a:lnTo>
                      <a:pt x="816" y="557"/>
                    </a:lnTo>
                    <a:lnTo>
                      <a:pt x="811" y="552"/>
                    </a:lnTo>
                    <a:lnTo>
                      <a:pt x="807" y="552"/>
                    </a:lnTo>
                    <a:lnTo>
                      <a:pt x="807" y="547"/>
                    </a:lnTo>
                    <a:lnTo>
                      <a:pt x="802" y="547"/>
                    </a:lnTo>
                    <a:lnTo>
                      <a:pt x="802" y="542"/>
                    </a:lnTo>
                    <a:lnTo>
                      <a:pt x="797" y="542"/>
                    </a:lnTo>
                    <a:lnTo>
                      <a:pt x="792" y="542"/>
                    </a:lnTo>
                    <a:lnTo>
                      <a:pt x="792" y="538"/>
                    </a:lnTo>
                    <a:lnTo>
                      <a:pt x="787" y="538"/>
                    </a:lnTo>
                    <a:lnTo>
                      <a:pt x="783" y="538"/>
                    </a:lnTo>
                    <a:lnTo>
                      <a:pt x="778" y="538"/>
                    </a:lnTo>
                    <a:lnTo>
                      <a:pt x="773" y="538"/>
                    </a:lnTo>
                    <a:lnTo>
                      <a:pt x="773" y="542"/>
                    </a:lnTo>
                    <a:lnTo>
                      <a:pt x="768" y="542"/>
                    </a:lnTo>
                    <a:lnTo>
                      <a:pt x="763" y="547"/>
                    </a:lnTo>
                    <a:lnTo>
                      <a:pt x="759" y="547"/>
                    </a:lnTo>
                    <a:lnTo>
                      <a:pt x="754" y="547"/>
                    </a:lnTo>
                    <a:lnTo>
                      <a:pt x="749" y="547"/>
                    </a:lnTo>
                    <a:lnTo>
                      <a:pt x="744" y="547"/>
                    </a:lnTo>
                    <a:lnTo>
                      <a:pt x="739" y="547"/>
                    </a:lnTo>
                    <a:lnTo>
                      <a:pt x="735" y="552"/>
                    </a:lnTo>
                    <a:lnTo>
                      <a:pt x="730" y="547"/>
                    </a:lnTo>
                    <a:lnTo>
                      <a:pt x="725" y="547"/>
                    </a:lnTo>
                    <a:lnTo>
                      <a:pt x="720" y="547"/>
                    </a:lnTo>
                    <a:lnTo>
                      <a:pt x="720" y="542"/>
                    </a:lnTo>
                    <a:lnTo>
                      <a:pt x="715" y="542"/>
                    </a:lnTo>
                    <a:lnTo>
                      <a:pt x="711" y="542"/>
                    </a:lnTo>
                    <a:lnTo>
                      <a:pt x="706" y="542"/>
                    </a:lnTo>
                    <a:lnTo>
                      <a:pt x="701" y="542"/>
                    </a:lnTo>
                    <a:lnTo>
                      <a:pt x="696" y="542"/>
                    </a:lnTo>
                    <a:lnTo>
                      <a:pt x="691" y="542"/>
                    </a:lnTo>
                    <a:lnTo>
                      <a:pt x="687" y="542"/>
                    </a:lnTo>
                    <a:lnTo>
                      <a:pt x="682" y="542"/>
                    </a:lnTo>
                    <a:lnTo>
                      <a:pt x="682" y="547"/>
                    </a:lnTo>
                    <a:lnTo>
                      <a:pt x="677" y="547"/>
                    </a:lnTo>
                    <a:lnTo>
                      <a:pt x="672" y="547"/>
                    </a:lnTo>
                    <a:lnTo>
                      <a:pt x="672" y="552"/>
                    </a:lnTo>
                    <a:lnTo>
                      <a:pt x="667" y="552"/>
                    </a:lnTo>
                    <a:lnTo>
                      <a:pt x="663" y="552"/>
                    </a:lnTo>
                    <a:lnTo>
                      <a:pt x="658" y="557"/>
                    </a:lnTo>
                    <a:lnTo>
                      <a:pt x="653" y="557"/>
                    </a:lnTo>
                    <a:lnTo>
                      <a:pt x="653" y="562"/>
                    </a:lnTo>
                    <a:lnTo>
                      <a:pt x="648" y="562"/>
                    </a:lnTo>
                    <a:lnTo>
                      <a:pt x="643" y="562"/>
                    </a:lnTo>
                    <a:lnTo>
                      <a:pt x="639" y="562"/>
                    </a:lnTo>
                    <a:lnTo>
                      <a:pt x="634" y="562"/>
                    </a:lnTo>
                    <a:lnTo>
                      <a:pt x="629" y="562"/>
                    </a:lnTo>
                    <a:lnTo>
                      <a:pt x="629" y="557"/>
                    </a:lnTo>
                    <a:lnTo>
                      <a:pt x="624" y="557"/>
                    </a:lnTo>
                    <a:lnTo>
                      <a:pt x="619" y="557"/>
                    </a:lnTo>
                    <a:lnTo>
                      <a:pt x="615" y="557"/>
                    </a:lnTo>
                    <a:lnTo>
                      <a:pt x="610" y="557"/>
                    </a:lnTo>
                    <a:lnTo>
                      <a:pt x="605" y="557"/>
                    </a:lnTo>
                    <a:lnTo>
                      <a:pt x="600" y="557"/>
                    </a:lnTo>
                    <a:lnTo>
                      <a:pt x="600" y="552"/>
                    </a:lnTo>
                    <a:lnTo>
                      <a:pt x="595" y="552"/>
                    </a:lnTo>
                    <a:lnTo>
                      <a:pt x="591" y="552"/>
                    </a:lnTo>
                    <a:lnTo>
                      <a:pt x="586" y="552"/>
                    </a:lnTo>
                    <a:lnTo>
                      <a:pt x="581" y="552"/>
                    </a:lnTo>
                    <a:lnTo>
                      <a:pt x="576" y="552"/>
                    </a:lnTo>
                    <a:lnTo>
                      <a:pt x="571" y="552"/>
                    </a:lnTo>
                    <a:lnTo>
                      <a:pt x="567" y="552"/>
                    </a:lnTo>
                    <a:lnTo>
                      <a:pt x="562" y="552"/>
                    </a:lnTo>
                    <a:lnTo>
                      <a:pt x="562" y="557"/>
                    </a:lnTo>
                    <a:lnTo>
                      <a:pt x="557" y="557"/>
                    </a:lnTo>
                    <a:lnTo>
                      <a:pt x="552" y="557"/>
                    </a:lnTo>
                    <a:lnTo>
                      <a:pt x="547" y="557"/>
                    </a:lnTo>
                    <a:lnTo>
                      <a:pt x="543" y="557"/>
                    </a:lnTo>
                    <a:lnTo>
                      <a:pt x="538" y="557"/>
                    </a:lnTo>
                    <a:lnTo>
                      <a:pt x="533" y="557"/>
                    </a:lnTo>
                    <a:lnTo>
                      <a:pt x="528" y="557"/>
                    </a:lnTo>
                    <a:lnTo>
                      <a:pt x="523" y="557"/>
                    </a:lnTo>
                    <a:lnTo>
                      <a:pt x="519" y="557"/>
                    </a:lnTo>
                    <a:lnTo>
                      <a:pt x="514" y="557"/>
                    </a:lnTo>
                    <a:lnTo>
                      <a:pt x="509" y="557"/>
                    </a:lnTo>
                    <a:lnTo>
                      <a:pt x="509" y="562"/>
                    </a:lnTo>
                    <a:lnTo>
                      <a:pt x="509" y="566"/>
                    </a:lnTo>
                    <a:lnTo>
                      <a:pt x="504" y="571"/>
                    </a:lnTo>
                    <a:lnTo>
                      <a:pt x="504" y="576"/>
                    </a:lnTo>
                    <a:lnTo>
                      <a:pt x="499" y="581"/>
                    </a:lnTo>
                    <a:lnTo>
                      <a:pt x="499" y="586"/>
                    </a:lnTo>
                    <a:lnTo>
                      <a:pt x="495" y="590"/>
                    </a:lnTo>
                    <a:lnTo>
                      <a:pt x="495" y="595"/>
                    </a:lnTo>
                    <a:lnTo>
                      <a:pt x="490" y="600"/>
                    </a:lnTo>
                    <a:lnTo>
                      <a:pt x="490" y="605"/>
                    </a:lnTo>
                    <a:lnTo>
                      <a:pt x="490" y="610"/>
                    </a:lnTo>
                    <a:lnTo>
                      <a:pt x="485" y="614"/>
                    </a:lnTo>
                    <a:lnTo>
                      <a:pt x="485" y="619"/>
                    </a:lnTo>
                    <a:lnTo>
                      <a:pt x="480" y="624"/>
                    </a:lnTo>
                    <a:lnTo>
                      <a:pt x="480" y="629"/>
                    </a:lnTo>
                    <a:lnTo>
                      <a:pt x="475" y="634"/>
                    </a:lnTo>
                    <a:lnTo>
                      <a:pt x="475" y="638"/>
                    </a:lnTo>
                    <a:lnTo>
                      <a:pt x="471" y="643"/>
                    </a:lnTo>
                    <a:lnTo>
                      <a:pt x="471" y="648"/>
                    </a:lnTo>
                    <a:lnTo>
                      <a:pt x="466" y="653"/>
                    </a:lnTo>
                    <a:lnTo>
                      <a:pt x="466" y="658"/>
                    </a:lnTo>
                    <a:lnTo>
                      <a:pt x="461" y="658"/>
                    </a:lnTo>
                    <a:lnTo>
                      <a:pt x="456" y="658"/>
                    </a:lnTo>
                    <a:lnTo>
                      <a:pt x="451" y="658"/>
                    </a:lnTo>
                    <a:lnTo>
                      <a:pt x="447" y="658"/>
                    </a:lnTo>
                    <a:lnTo>
                      <a:pt x="447" y="662"/>
                    </a:lnTo>
                    <a:lnTo>
                      <a:pt x="442" y="662"/>
                    </a:lnTo>
                    <a:lnTo>
                      <a:pt x="437" y="662"/>
                    </a:lnTo>
                    <a:lnTo>
                      <a:pt x="432" y="662"/>
                    </a:lnTo>
                    <a:lnTo>
                      <a:pt x="427" y="667"/>
                    </a:lnTo>
                    <a:lnTo>
                      <a:pt x="423" y="672"/>
                    </a:lnTo>
                    <a:lnTo>
                      <a:pt x="423" y="677"/>
                    </a:lnTo>
                    <a:lnTo>
                      <a:pt x="418" y="682"/>
                    </a:lnTo>
                    <a:lnTo>
                      <a:pt x="413" y="686"/>
                    </a:lnTo>
                    <a:lnTo>
                      <a:pt x="408" y="691"/>
                    </a:lnTo>
                    <a:lnTo>
                      <a:pt x="403" y="691"/>
                    </a:lnTo>
                    <a:lnTo>
                      <a:pt x="399" y="686"/>
                    </a:lnTo>
                    <a:lnTo>
                      <a:pt x="394" y="686"/>
                    </a:lnTo>
                    <a:lnTo>
                      <a:pt x="389" y="686"/>
                    </a:lnTo>
                    <a:lnTo>
                      <a:pt x="384" y="686"/>
                    </a:lnTo>
                    <a:lnTo>
                      <a:pt x="379" y="686"/>
                    </a:lnTo>
                    <a:lnTo>
                      <a:pt x="375" y="682"/>
                    </a:lnTo>
                    <a:lnTo>
                      <a:pt x="370" y="682"/>
                    </a:lnTo>
                    <a:lnTo>
                      <a:pt x="365" y="682"/>
                    </a:lnTo>
                    <a:lnTo>
                      <a:pt x="360" y="682"/>
                    </a:lnTo>
                    <a:lnTo>
                      <a:pt x="355" y="677"/>
                    </a:lnTo>
                    <a:lnTo>
                      <a:pt x="351" y="677"/>
                    </a:lnTo>
                    <a:lnTo>
                      <a:pt x="346" y="677"/>
                    </a:lnTo>
                    <a:lnTo>
                      <a:pt x="341" y="677"/>
                    </a:lnTo>
                    <a:lnTo>
                      <a:pt x="341" y="672"/>
                    </a:lnTo>
                    <a:lnTo>
                      <a:pt x="336" y="677"/>
                    </a:lnTo>
                    <a:lnTo>
                      <a:pt x="331" y="677"/>
                    </a:lnTo>
                    <a:lnTo>
                      <a:pt x="327" y="682"/>
                    </a:lnTo>
                    <a:lnTo>
                      <a:pt x="322" y="682"/>
                    </a:lnTo>
                    <a:lnTo>
                      <a:pt x="317" y="682"/>
                    </a:lnTo>
                    <a:lnTo>
                      <a:pt x="312" y="686"/>
                    </a:lnTo>
                    <a:lnTo>
                      <a:pt x="307" y="686"/>
                    </a:lnTo>
                    <a:lnTo>
                      <a:pt x="307" y="691"/>
                    </a:lnTo>
                    <a:lnTo>
                      <a:pt x="303" y="691"/>
                    </a:lnTo>
                    <a:lnTo>
                      <a:pt x="298" y="691"/>
                    </a:lnTo>
                    <a:lnTo>
                      <a:pt x="293" y="696"/>
                    </a:lnTo>
                    <a:lnTo>
                      <a:pt x="288" y="696"/>
                    </a:lnTo>
                    <a:lnTo>
                      <a:pt x="283" y="701"/>
                    </a:lnTo>
                    <a:lnTo>
                      <a:pt x="279" y="701"/>
                    </a:lnTo>
                    <a:lnTo>
                      <a:pt x="269" y="701"/>
                    </a:lnTo>
                    <a:lnTo>
                      <a:pt x="269" y="706"/>
                    </a:lnTo>
                    <a:lnTo>
                      <a:pt x="264" y="710"/>
                    </a:lnTo>
                    <a:lnTo>
                      <a:pt x="259" y="710"/>
                    </a:lnTo>
                    <a:lnTo>
                      <a:pt x="259" y="715"/>
                    </a:lnTo>
                    <a:lnTo>
                      <a:pt x="255" y="715"/>
                    </a:lnTo>
                    <a:lnTo>
                      <a:pt x="250" y="720"/>
                    </a:lnTo>
                    <a:lnTo>
                      <a:pt x="250" y="725"/>
                    </a:lnTo>
                    <a:lnTo>
                      <a:pt x="245" y="725"/>
                    </a:lnTo>
                    <a:lnTo>
                      <a:pt x="245" y="720"/>
                    </a:lnTo>
                    <a:lnTo>
                      <a:pt x="245" y="715"/>
                    </a:lnTo>
                    <a:lnTo>
                      <a:pt x="245" y="710"/>
                    </a:lnTo>
                    <a:lnTo>
                      <a:pt x="245" y="706"/>
                    </a:lnTo>
                    <a:lnTo>
                      <a:pt x="245" y="701"/>
                    </a:lnTo>
                    <a:lnTo>
                      <a:pt x="245" y="696"/>
                    </a:lnTo>
                    <a:lnTo>
                      <a:pt x="245" y="691"/>
                    </a:lnTo>
                    <a:lnTo>
                      <a:pt x="245" y="686"/>
                    </a:lnTo>
                    <a:lnTo>
                      <a:pt x="245" y="682"/>
                    </a:lnTo>
                    <a:lnTo>
                      <a:pt x="245" y="677"/>
                    </a:lnTo>
                    <a:lnTo>
                      <a:pt x="250" y="677"/>
                    </a:lnTo>
                    <a:lnTo>
                      <a:pt x="250" y="672"/>
                    </a:lnTo>
                    <a:lnTo>
                      <a:pt x="250" y="667"/>
                    </a:lnTo>
                    <a:lnTo>
                      <a:pt x="250" y="662"/>
                    </a:lnTo>
                    <a:lnTo>
                      <a:pt x="255" y="662"/>
                    </a:lnTo>
                    <a:lnTo>
                      <a:pt x="255" y="658"/>
                    </a:lnTo>
                    <a:lnTo>
                      <a:pt x="255" y="653"/>
                    </a:lnTo>
                    <a:lnTo>
                      <a:pt x="250" y="653"/>
                    </a:lnTo>
                    <a:lnTo>
                      <a:pt x="250" y="648"/>
                    </a:lnTo>
                    <a:lnTo>
                      <a:pt x="250" y="643"/>
                    </a:lnTo>
                    <a:lnTo>
                      <a:pt x="250" y="638"/>
                    </a:lnTo>
                    <a:lnTo>
                      <a:pt x="245" y="638"/>
                    </a:lnTo>
                    <a:lnTo>
                      <a:pt x="245" y="634"/>
                    </a:lnTo>
                    <a:lnTo>
                      <a:pt x="245" y="629"/>
                    </a:lnTo>
                    <a:lnTo>
                      <a:pt x="250" y="629"/>
                    </a:lnTo>
                    <a:lnTo>
                      <a:pt x="250" y="624"/>
                    </a:lnTo>
                    <a:lnTo>
                      <a:pt x="250" y="619"/>
                    </a:lnTo>
                    <a:lnTo>
                      <a:pt x="245" y="619"/>
                    </a:lnTo>
                    <a:lnTo>
                      <a:pt x="240" y="619"/>
                    </a:lnTo>
                    <a:lnTo>
                      <a:pt x="235" y="624"/>
                    </a:lnTo>
                    <a:lnTo>
                      <a:pt x="231" y="624"/>
                    </a:lnTo>
                    <a:lnTo>
                      <a:pt x="226" y="624"/>
                    </a:lnTo>
                    <a:lnTo>
                      <a:pt x="221" y="624"/>
                    </a:lnTo>
                    <a:lnTo>
                      <a:pt x="216" y="624"/>
                    </a:lnTo>
                    <a:lnTo>
                      <a:pt x="211" y="624"/>
                    </a:lnTo>
                    <a:lnTo>
                      <a:pt x="207" y="624"/>
                    </a:lnTo>
                    <a:lnTo>
                      <a:pt x="202" y="624"/>
                    </a:lnTo>
                    <a:lnTo>
                      <a:pt x="197" y="624"/>
                    </a:lnTo>
                    <a:lnTo>
                      <a:pt x="192" y="624"/>
                    </a:lnTo>
                    <a:lnTo>
                      <a:pt x="187" y="624"/>
                    </a:lnTo>
                    <a:lnTo>
                      <a:pt x="183" y="629"/>
                    </a:lnTo>
                    <a:lnTo>
                      <a:pt x="178" y="629"/>
                    </a:lnTo>
                    <a:lnTo>
                      <a:pt x="173" y="629"/>
                    </a:lnTo>
                    <a:lnTo>
                      <a:pt x="168" y="629"/>
                    </a:lnTo>
                    <a:lnTo>
                      <a:pt x="163" y="629"/>
                    </a:lnTo>
                    <a:lnTo>
                      <a:pt x="163" y="634"/>
                    </a:lnTo>
                    <a:lnTo>
                      <a:pt x="163" y="638"/>
                    </a:lnTo>
                    <a:lnTo>
                      <a:pt x="163" y="643"/>
                    </a:lnTo>
                    <a:lnTo>
                      <a:pt x="159" y="643"/>
                    </a:lnTo>
                    <a:lnTo>
                      <a:pt x="159" y="648"/>
                    </a:lnTo>
                    <a:lnTo>
                      <a:pt x="154" y="648"/>
                    </a:lnTo>
                    <a:lnTo>
                      <a:pt x="149" y="648"/>
                    </a:lnTo>
                    <a:lnTo>
                      <a:pt x="144" y="648"/>
                    </a:lnTo>
                    <a:lnTo>
                      <a:pt x="139" y="648"/>
                    </a:lnTo>
                    <a:lnTo>
                      <a:pt x="135" y="648"/>
                    </a:lnTo>
                    <a:lnTo>
                      <a:pt x="130" y="653"/>
                    </a:lnTo>
                    <a:lnTo>
                      <a:pt x="125" y="653"/>
                    </a:lnTo>
                    <a:lnTo>
                      <a:pt x="120" y="653"/>
                    </a:lnTo>
                    <a:lnTo>
                      <a:pt x="115" y="653"/>
                    </a:lnTo>
                    <a:lnTo>
                      <a:pt x="111" y="653"/>
                    </a:lnTo>
                    <a:lnTo>
                      <a:pt x="106" y="653"/>
                    </a:lnTo>
                    <a:lnTo>
                      <a:pt x="101" y="653"/>
                    </a:lnTo>
                    <a:lnTo>
                      <a:pt x="101" y="658"/>
                    </a:lnTo>
                    <a:lnTo>
                      <a:pt x="96" y="658"/>
                    </a:lnTo>
                    <a:lnTo>
                      <a:pt x="96" y="662"/>
                    </a:lnTo>
                    <a:lnTo>
                      <a:pt x="96" y="667"/>
                    </a:lnTo>
                    <a:lnTo>
                      <a:pt x="96" y="672"/>
                    </a:lnTo>
                    <a:lnTo>
                      <a:pt x="91" y="672"/>
                    </a:lnTo>
                    <a:lnTo>
                      <a:pt x="91" y="677"/>
                    </a:lnTo>
                    <a:lnTo>
                      <a:pt x="91" y="682"/>
                    </a:lnTo>
                    <a:lnTo>
                      <a:pt x="91" y="686"/>
                    </a:lnTo>
                    <a:lnTo>
                      <a:pt x="91" y="691"/>
                    </a:lnTo>
                    <a:lnTo>
                      <a:pt x="87" y="691"/>
                    </a:lnTo>
                    <a:lnTo>
                      <a:pt x="87" y="686"/>
                    </a:lnTo>
                    <a:lnTo>
                      <a:pt x="82" y="686"/>
                    </a:lnTo>
                    <a:lnTo>
                      <a:pt x="82" y="682"/>
                    </a:lnTo>
                    <a:lnTo>
                      <a:pt x="77" y="682"/>
                    </a:lnTo>
                    <a:lnTo>
                      <a:pt x="77" y="677"/>
                    </a:lnTo>
                    <a:lnTo>
                      <a:pt x="72" y="672"/>
                    </a:lnTo>
                    <a:lnTo>
                      <a:pt x="72" y="667"/>
                    </a:lnTo>
                    <a:lnTo>
                      <a:pt x="72" y="662"/>
                    </a:lnTo>
                    <a:lnTo>
                      <a:pt x="67" y="662"/>
                    </a:lnTo>
                    <a:lnTo>
                      <a:pt x="67" y="658"/>
                    </a:lnTo>
                    <a:lnTo>
                      <a:pt x="67" y="653"/>
                    </a:lnTo>
                    <a:lnTo>
                      <a:pt x="67" y="648"/>
                    </a:lnTo>
                    <a:lnTo>
                      <a:pt x="67" y="643"/>
                    </a:lnTo>
                    <a:lnTo>
                      <a:pt x="67" y="638"/>
                    </a:lnTo>
                    <a:lnTo>
                      <a:pt x="67" y="634"/>
                    </a:lnTo>
                    <a:lnTo>
                      <a:pt x="67" y="629"/>
                    </a:lnTo>
                    <a:lnTo>
                      <a:pt x="67" y="624"/>
                    </a:lnTo>
                    <a:lnTo>
                      <a:pt x="67" y="619"/>
                    </a:lnTo>
                    <a:lnTo>
                      <a:pt x="67" y="614"/>
                    </a:lnTo>
                    <a:lnTo>
                      <a:pt x="67" y="610"/>
                    </a:lnTo>
                    <a:lnTo>
                      <a:pt x="67" y="605"/>
                    </a:lnTo>
                    <a:lnTo>
                      <a:pt x="67" y="600"/>
                    </a:lnTo>
                    <a:lnTo>
                      <a:pt x="63" y="600"/>
                    </a:lnTo>
                    <a:lnTo>
                      <a:pt x="63" y="595"/>
                    </a:lnTo>
                    <a:lnTo>
                      <a:pt x="63" y="590"/>
                    </a:lnTo>
                    <a:lnTo>
                      <a:pt x="63" y="586"/>
                    </a:lnTo>
                    <a:lnTo>
                      <a:pt x="63" y="581"/>
                    </a:lnTo>
                    <a:lnTo>
                      <a:pt x="63" y="576"/>
                    </a:lnTo>
                    <a:lnTo>
                      <a:pt x="63" y="571"/>
                    </a:lnTo>
                    <a:lnTo>
                      <a:pt x="63" y="566"/>
                    </a:lnTo>
                    <a:lnTo>
                      <a:pt x="63" y="562"/>
                    </a:lnTo>
                    <a:lnTo>
                      <a:pt x="58" y="562"/>
                    </a:lnTo>
                    <a:lnTo>
                      <a:pt x="58" y="557"/>
                    </a:lnTo>
                    <a:lnTo>
                      <a:pt x="58" y="552"/>
                    </a:lnTo>
                    <a:lnTo>
                      <a:pt x="53" y="552"/>
                    </a:lnTo>
                    <a:lnTo>
                      <a:pt x="53" y="547"/>
                    </a:lnTo>
                    <a:lnTo>
                      <a:pt x="53" y="542"/>
                    </a:lnTo>
                    <a:lnTo>
                      <a:pt x="53" y="538"/>
                    </a:lnTo>
                    <a:lnTo>
                      <a:pt x="48" y="538"/>
                    </a:lnTo>
                    <a:lnTo>
                      <a:pt x="48" y="533"/>
                    </a:lnTo>
                    <a:lnTo>
                      <a:pt x="48" y="528"/>
                    </a:lnTo>
                    <a:lnTo>
                      <a:pt x="48" y="523"/>
                    </a:lnTo>
                    <a:lnTo>
                      <a:pt x="48" y="518"/>
                    </a:lnTo>
                    <a:lnTo>
                      <a:pt x="43" y="518"/>
                    </a:lnTo>
                    <a:lnTo>
                      <a:pt x="43" y="514"/>
                    </a:lnTo>
                    <a:lnTo>
                      <a:pt x="43" y="509"/>
                    </a:lnTo>
                    <a:lnTo>
                      <a:pt x="43" y="504"/>
                    </a:lnTo>
                    <a:lnTo>
                      <a:pt x="43" y="499"/>
                    </a:lnTo>
                    <a:lnTo>
                      <a:pt x="39" y="499"/>
                    </a:lnTo>
                    <a:lnTo>
                      <a:pt x="39" y="494"/>
                    </a:lnTo>
                    <a:lnTo>
                      <a:pt x="34" y="494"/>
                    </a:lnTo>
                    <a:lnTo>
                      <a:pt x="34" y="490"/>
                    </a:lnTo>
                    <a:lnTo>
                      <a:pt x="29" y="490"/>
                    </a:lnTo>
                    <a:lnTo>
                      <a:pt x="29" y="485"/>
                    </a:lnTo>
                    <a:lnTo>
                      <a:pt x="24" y="485"/>
                    </a:lnTo>
                    <a:lnTo>
                      <a:pt x="24" y="480"/>
                    </a:lnTo>
                    <a:lnTo>
                      <a:pt x="24" y="475"/>
                    </a:lnTo>
                    <a:lnTo>
                      <a:pt x="24" y="470"/>
                    </a:lnTo>
                    <a:lnTo>
                      <a:pt x="19" y="470"/>
                    </a:lnTo>
                    <a:lnTo>
                      <a:pt x="19" y="466"/>
                    </a:lnTo>
                    <a:lnTo>
                      <a:pt x="19" y="461"/>
                    </a:lnTo>
                    <a:lnTo>
                      <a:pt x="15" y="461"/>
                    </a:lnTo>
                    <a:lnTo>
                      <a:pt x="15" y="456"/>
                    </a:lnTo>
                    <a:lnTo>
                      <a:pt x="15" y="451"/>
                    </a:lnTo>
                    <a:lnTo>
                      <a:pt x="15" y="446"/>
                    </a:lnTo>
                    <a:lnTo>
                      <a:pt x="10" y="446"/>
                    </a:lnTo>
                    <a:lnTo>
                      <a:pt x="10" y="442"/>
                    </a:lnTo>
                    <a:lnTo>
                      <a:pt x="10" y="437"/>
                    </a:lnTo>
                    <a:lnTo>
                      <a:pt x="10" y="432"/>
                    </a:lnTo>
                    <a:lnTo>
                      <a:pt x="15" y="432"/>
                    </a:lnTo>
                    <a:lnTo>
                      <a:pt x="15" y="427"/>
                    </a:lnTo>
                    <a:lnTo>
                      <a:pt x="15" y="422"/>
                    </a:lnTo>
                    <a:lnTo>
                      <a:pt x="15" y="418"/>
                    </a:lnTo>
                    <a:lnTo>
                      <a:pt x="10" y="418"/>
                    </a:lnTo>
                    <a:lnTo>
                      <a:pt x="10" y="413"/>
                    </a:lnTo>
                    <a:lnTo>
                      <a:pt x="10" y="408"/>
                    </a:lnTo>
                    <a:lnTo>
                      <a:pt x="5" y="408"/>
                    </a:lnTo>
                    <a:lnTo>
                      <a:pt x="5" y="403"/>
                    </a:lnTo>
                    <a:lnTo>
                      <a:pt x="5" y="398"/>
                    </a:lnTo>
                    <a:lnTo>
                      <a:pt x="0" y="398"/>
                    </a:lnTo>
                    <a:lnTo>
                      <a:pt x="0" y="394"/>
                    </a:lnTo>
                    <a:lnTo>
                      <a:pt x="0" y="389"/>
                    </a:lnTo>
                    <a:lnTo>
                      <a:pt x="0" y="384"/>
                    </a:lnTo>
                    <a:lnTo>
                      <a:pt x="5" y="384"/>
                    </a:lnTo>
                    <a:lnTo>
                      <a:pt x="5" y="379"/>
                    </a:lnTo>
                    <a:lnTo>
                      <a:pt x="0" y="379"/>
                    </a:lnTo>
                    <a:lnTo>
                      <a:pt x="0" y="374"/>
                    </a:lnTo>
                    <a:lnTo>
                      <a:pt x="0" y="370"/>
                    </a:lnTo>
                    <a:lnTo>
                      <a:pt x="5" y="370"/>
                    </a:lnTo>
                    <a:lnTo>
                      <a:pt x="5" y="365"/>
                    </a:lnTo>
                    <a:lnTo>
                      <a:pt x="5" y="360"/>
                    </a:lnTo>
                    <a:lnTo>
                      <a:pt x="5" y="355"/>
                    </a:lnTo>
                    <a:close/>
                  </a:path>
                </a:pathLst>
              </a:custGeom>
              <a:solidFill>
                <a:schemeClr val="accent6">
                  <a:lumMod val="40000"/>
                  <a:lumOff val="6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59" name="Freeform 26"/>
              <p:cNvSpPr>
                <a:spLocks/>
              </p:cNvSpPr>
              <p:nvPr/>
            </p:nvSpPr>
            <p:spPr bwMode="gray">
              <a:xfrm>
                <a:off x="2197101" y="622300"/>
                <a:ext cx="1196975" cy="1181100"/>
              </a:xfrm>
              <a:custGeom>
                <a:avLst/>
                <a:gdLst>
                  <a:gd name="T0" fmla="*/ 754 w 754"/>
                  <a:gd name="T1" fmla="*/ 48 h 744"/>
                  <a:gd name="T2" fmla="*/ 754 w 754"/>
                  <a:gd name="T3" fmla="*/ 96 h 744"/>
                  <a:gd name="T4" fmla="*/ 754 w 754"/>
                  <a:gd name="T5" fmla="*/ 144 h 744"/>
                  <a:gd name="T6" fmla="*/ 716 w 754"/>
                  <a:gd name="T7" fmla="*/ 178 h 744"/>
                  <a:gd name="T8" fmla="*/ 672 w 754"/>
                  <a:gd name="T9" fmla="*/ 207 h 744"/>
                  <a:gd name="T10" fmla="*/ 629 w 754"/>
                  <a:gd name="T11" fmla="*/ 240 h 744"/>
                  <a:gd name="T12" fmla="*/ 586 w 754"/>
                  <a:gd name="T13" fmla="*/ 269 h 744"/>
                  <a:gd name="T14" fmla="*/ 543 w 754"/>
                  <a:gd name="T15" fmla="*/ 303 h 744"/>
                  <a:gd name="T16" fmla="*/ 495 w 754"/>
                  <a:gd name="T17" fmla="*/ 336 h 744"/>
                  <a:gd name="T18" fmla="*/ 466 w 754"/>
                  <a:gd name="T19" fmla="*/ 375 h 744"/>
                  <a:gd name="T20" fmla="*/ 432 w 754"/>
                  <a:gd name="T21" fmla="*/ 394 h 744"/>
                  <a:gd name="T22" fmla="*/ 447 w 754"/>
                  <a:gd name="T23" fmla="*/ 437 h 744"/>
                  <a:gd name="T24" fmla="*/ 456 w 754"/>
                  <a:gd name="T25" fmla="*/ 480 h 744"/>
                  <a:gd name="T26" fmla="*/ 471 w 754"/>
                  <a:gd name="T27" fmla="*/ 519 h 744"/>
                  <a:gd name="T28" fmla="*/ 452 w 754"/>
                  <a:gd name="T29" fmla="*/ 552 h 744"/>
                  <a:gd name="T30" fmla="*/ 466 w 754"/>
                  <a:gd name="T31" fmla="*/ 591 h 744"/>
                  <a:gd name="T32" fmla="*/ 500 w 754"/>
                  <a:gd name="T33" fmla="*/ 615 h 744"/>
                  <a:gd name="T34" fmla="*/ 519 w 754"/>
                  <a:gd name="T35" fmla="*/ 648 h 744"/>
                  <a:gd name="T36" fmla="*/ 500 w 754"/>
                  <a:gd name="T37" fmla="*/ 696 h 744"/>
                  <a:gd name="T38" fmla="*/ 452 w 754"/>
                  <a:gd name="T39" fmla="*/ 691 h 744"/>
                  <a:gd name="T40" fmla="*/ 418 w 754"/>
                  <a:gd name="T41" fmla="*/ 711 h 744"/>
                  <a:gd name="T42" fmla="*/ 384 w 754"/>
                  <a:gd name="T43" fmla="*/ 725 h 744"/>
                  <a:gd name="T44" fmla="*/ 365 w 754"/>
                  <a:gd name="T45" fmla="*/ 711 h 744"/>
                  <a:gd name="T46" fmla="*/ 389 w 754"/>
                  <a:gd name="T47" fmla="*/ 677 h 744"/>
                  <a:gd name="T48" fmla="*/ 389 w 754"/>
                  <a:gd name="T49" fmla="*/ 658 h 744"/>
                  <a:gd name="T50" fmla="*/ 351 w 754"/>
                  <a:gd name="T51" fmla="*/ 667 h 744"/>
                  <a:gd name="T52" fmla="*/ 336 w 754"/>
                  <a:gd name="T53" fmla="*/ 706 h 744"/>
                  <a:gd name="T54" fmla="*/ 312 w 754"/>
                  <a:gd name="T55" fmla="*/ 735 h 744"/>
                  <a:gd name="T56" fmla="*/ 288 w 754"/>
                  <a:gd name="T57" fmla="*/ 725 h 744"/>
                  <a:gd name="T58" fmla="*/ 269 w 754"/>
                  <a:gd name="T59" fmla="*/ 735 h 744"/>
                  <a:gd name="T60" fmla="*/ 245 w 754"/>
                  <a:gd name="T61" fmla="*/ 711 h 744"/>
                  <a:gd name="T62" fmla="*/ 216 w 754"/>
                  <a:gd name="T63" fmla="*/ 687 h 744"/>
                  <a:gd name="T64" fmla="*/ 231 w 754"/>
                  <a:gd name="T65" fmla="*/ 653 h 744"/>
                  <a:gd name="T66" fmla="*/ 216 w 754"/>
                  <a:gd name="T67" fmla="*/ 624 h 744"/>
                  <a:gd name="T68" fmla="*/ 192 w 754"/>
                  <a:gd name="T69" fmla="*/ 591 h 744"/>
                  <a:gd name="T70" fmla="*/ 159 w 754"/>
                  <a:gd name="T71" fmla="*/ 619 h 744"/>
                  <a:gd name="T72" fmla="*/ 130 w 754"/>
                  <a:gd name="T73" fmla="*/ 639 h 744"/>
                  <a:gd name="T74" fmla="*/ 87 w 754"/>
                  <a:gd name="T75" fmla="*/ 643 h 744"/>
                  <a:gd name="T76" fmla="*/ 48 w 754"/>
                  <a:gd name="T77" fmla="*/ 619 h 744"/>
                  <a:gd name="T78" fmla="*/ 10 w 754"/>
                  <a:gd name="T79" fmla="*/ 610 h 744"/>
                  <a:gd name="T80" fmla="*/ 15 w 754"/>
                  <a:gd name="T81" fmla="*/ 576 h 744"/>
                  <a:gd name="T82" fmla="*/ 34 w 754"/>
                  <a:gd name="T83" fmla="*/ 547 h 744"/>
                  <a:gd name="T84" fmla="*/ 10 w 754"/>
                  <a:gd name="T85" fmla="*/ 543 h 744"/>
                  <a:gd name="T86" fmla="*/ 29 w 754"/>
                  <a:gd name="T87" fmla="*/ 499 h 744"/>
                  <a:gd name="T88" fmla="*/ 68 w 754"/>
                  <a:gd name="T89" fmla="*/ 451 h 744"/>
                  <a:gd name="T90" fmla="*/ 111 w 754"/>
                  <a:gd name="T91" fmla="*/ 447 h 744"/>
                  <a:gd name="T92" fmla="*/ 144 w 754"/>
                  <a:gd name="T93" fmla="*/ 423 h 744"/>
                  <a:gd name="T94" fmla="*/ 154 w 754"/>
                  <a:gd name="T95" fmla="*/ 370 h 744"/>
                  <a:gd name="T96" fmla="*/ 120 w 754"/>
                  <a:gd name="T97" fmla="*/ 303 h 744"/>
                  <a:gd name="T98" fmla="*/ 140 w 754"/>
                  <a:gd name="T99" fmla="*/ 274 h 744"/>
                  <a:gd name="T100" fmla="*/ 135 w 754"/>
                  <a:gd name="T101" fmla="*/ 226 h 744"/>
                  <a:gd name="T102" fmla="*/ 106 w 754"/>
                  <a:gd name="T103" fmla="*/ 144 h 744"/>
                  <a:gd name="T104" fmla="*/ 53 w 754"/>
                  <a:gd name="T105" fmla="*/ 106 h 744"/>
                  <a:gd name="T106" fmla="*/ 34 w 754"/>
                  <a:gd name="T107" fmla="*/ 63 h 744"/>
                  <a:gd name="T108" fmla="*/ 24 w 754"/>
                  <a:gd name="T109" fmla="*/ 24 h 744"/>
                  <a:gd name="T110" fmla="*/ 87 w 754"/>
                  <a:gd name="T111" fmla="*/ 19 h 744"/>
                  <a:gd name="T112" fmla="*/ 154 w 754"/>
                  <a:gd name="T113" fmla="*/ 0 h 744"/>
                  <a:gd name="T114" fmla="*/ 274 w 754"/>
                  <a:gd name="T115" fmla="*/ 0 h 744"/>
                  <a:gd name="T116" fmla="*/ 413 w 754"/>
                  <a:gd name="T117" fmla="*/ 0 h 744"/>
                  <a:gd name="T118" fmla="*/ 519 w 754"/>
                  <a:gd name="T119" fmla="*/ 0 h 744"/>
                  <a:gd name="T120" fmla="*/ 658 w 754"/>
                  <a:gd name="T121" fmla="*/ 0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4" h="744">
                    <a:moveTo>
                      <a:pt x="754" y="0"/>
                    </a:moveTo>
                    <a:lnTo>
                      <a:pt x="754" y="10"/>
                    </a:lnTo>
                    <a:lnTo>
                      <a:pt x="754" y="15"/>
                    </a:lnTo>
                    <a:lnTo>
                      <a:pt x="754" y="19"/>
                    </a:lnTo>
                    <a:lnTo>
                      <a:pt x="754" y="24"/>
                    </a:lnTo>
                    <a:lnTo>
                      <a:pt x="754" y="29"/>
                    </a:lnTo>
                    <a:lnTo>
                      <a:pt x="754" y="34"/>
                    </a:lnTo>
                    <a:lnTo>
                      <a:pt x="754" y="39"/>
                    </a:lnTo>
                    <a:lnTo>
                      <a:pt x="754" y="43"/>
                    </a:lnTo>
                    <a:lnTo>
                      <a:pt x="754" y="48"/>
                    </a:lnTo>
                    <a:lnTo>
                      <a:pt x="754" y="53"/>
                    </a:lnTo>
                    <a:lnTo>
                      <a:pt x="754" y="58"/>
                    </a:lnTo>
                    <a:lnTo>
                      <a:pt x="754" y="63"/>
                    </a:lnTo>
                    <a:lnTo>
                      <a:pt x="754" y="67"/>
                    </a:lnTo>
                    <a:lnTo>
                      <a:pt x="754" y="72"/>
                    </a:lnTo>
                    <a:lnTo>
                      <a:pt x="754" y="77"/>
                    </a:lnTo>
                    <a:lnTo>
                      <a:pt x="754" y="82"/>
                    </a:lnTo>
                    <a:lnTo>
                      <a:pt x="754" y="87"/>
                    </a:lnTo>
                    <a:lnTo>
                      <a:pt x="754" y="91"/>
                    </a:lnTo>
                    <a:lnTo>
                      <a:pt x="754" y="96"/>
                    </a:lnTo>
                    <a:lnTo>
                      <a:pt x="754" y="101"/>
                    </a:lnTo>
                    <a:lnTo>
                      <a:pt x="754" y="106"/>
                    </a:lnTo>
                    <a:lnTo>
                      <a:pt x="754" y="111"/>
                    </a:lnTo>
                    <a:lnTo>
                      <a:pt x="754" y="115"/>
                    </a:lnTo>
                    <a:lnTo>
                      <a:pt x="754" y="120"/>
                    </a:lnTo>
                    <a:lnTo>
                      <a:pt x="754" y="125"/>
                    </a:lnTo>
                    <a:lnTo>
                      <a:pt x="754" y="130"/>
                    </a:lnTo>
                    <a:lnTo>
                      <a:pt x="754" y="135"/>
                    </a:lnTo>
                    <a:lnTo>
                      <a:pt x="754" y="139"/>
                    </a:lnTo>
                    <a:lnTo>
                      <a:pt x="754" y="144"/>
                    </a:lnTo>
                    <a:lnTo>
                      <a:pt x="754" y="149"/>
                    </a:lnTo>
                    <a:lnTo>
                      <a:pt x="749" y="149"/>
                    </a:lnTo>
                    <a:lnTo>
                      <a:pt x="744" y="154"/>
                    </a:lnTo>
                    <a:lnTo>
                      <a:pt x="740" y="159"/>
                    </a:lnTo>
                    <a:lnTo>
                      <a:pt x="735" y="159"/>
                    </a:lnTo>
                    <a:lnTo>
                      <a:pt x="730" y="163"/>
                    </a:lnTo>
                    <a:lnTo>
                      <a:pt x="725" y="168"/>
                    </a:lnTo>
                    <a:lnTo>
                      <a:pt x="720" y="168"/>
                    </a:lnTo>
                    <a:lnTo>
                      <a:pt x="720" y="173"/>
                    </a:lnTo>
                    <a:lnTo>
                      <a:pt x="716" y="178"/>
                    </a:lnTo>
                    <a:lnTo>
                      <a:pt x="711" y="178"/>
                    </a:lnTo>
                    <a:lnTo>
                      <a:pt x="706" y="183"/>
                    </a:lnTo>
                    <a:lnTo>
                      <a:pt x="701" y="187"/>
                    </a:lnTo>
                    <a:lnTo>
                      <a:pt x="696" y="187"/>
                    </a:lnTo>
                    <a:lnTo>
                      <a:pt x="692" y="192"/>
                    </a:lnTo>
                    <a:lnTo>
                      <a:pt x="687" y="197"/>
                    </a:lnTo>
                    <a:lnTo>
                      <a:pt x="682" y="197"/>
                    </a:lnTo>
                    <a:lnTo>
                      <a:pt x="682" y="202"/>
                    </a:lnTo>
                    <a:lnTo>
                      <a:pt x="677" y="207"/>
                    </a:lnTo>
                    <a:lnTo>
                      <a:pt x="672" y="207"/>
                    </a:lnTo>
                    <a:lnTo>
                      <a:pt x="668" y="211"/>
                    </a:lnTo>
                    <a:lnTo>
                      <a:pt x="663" y="216"/>
                    </a:lnTo>
                    <a:lnTo>
                      <a:pt x="658" y="216"/>
                    </a:lnTo>
                    <a:lnTo>
                      <a:pt x="653" y="221"/>
                    </a:lnTo>
                    <a:lnTo>
                      <a:pt x="648" y="226"/>
                    </a:lnTo>
                    <a:lnTo>
                      <a:pt x="644" y="226"/>
                    </a:lnTo>
                    <a:lnTo>
                      <a:pt x="644" y="231"/>
                    </a:lnTo>
                    <a:lnTo>
                      <a:pt x="639" y="235"/>
                    </a:lnTo>
                    <a:lnTo>
                      <a:pt x="634" y="235"/>
                    </a:lnTo>
                    <a:lnTo>
                      <a:pt x="629" y="240"/>
                    </a:lnTo>
                    <a:lnTo>
                      <a:pt x="624" y="240"/>
                    </a:lnTo>
                    <a:lnTo>
                      <a:pt x="620" y="245"/>
                    </a:lnTo>
                    <a:lnTo>
                      <a:pt x="615" y="250"/>
                    </a:lnTo>
                    <a:lnTo>
                      <a:pt x="610" y="250"/>
                    </a:lnTo>
                    <a:lnTo>
                      <a:pt x="605" y="255"/>
                    </a:lnTo>
                    <a:lnTo>
                      <a:pt x="605" y="259"/>
                    </a:lnTo>
                    <a:lnTo>
                      <a:pt x="600" y="259"/>
                    </a:lnTo>
                    <a:lnTo>
                      <a:pt x="596" y="264"/>
                    </a:lnTo>
                    <a:lnTo>
                      <a:pt x="591" y="269"/>
                    </a:lnTo>
                    <a:lnTo>
                      <a:pt x="586" y="269"/>
                    </a:lnTo>
                    <a:lnTo>
                      <a:pt x="581" y="274"/>
                    </a:lnTo>
                    <a:lnTo>
                      <a:pt x="576" y="279"/>
                    </a:lnTo>
                    <a:lnTo>
                      <a:pt x="572" y="279"/>
                    </a:lnTo>
                    <a:lnTo>
                      <a:pt x="567" y="283"/>
                    </a:lnTo>
                    <a:lnTo>
                      <a:pt x="567" y="288"/>
                    </a:lnTo>
                    <a:lnTo>
                      <a:pt x="562" y="288"/>
                    </a:lnTo>
                    <a:lnTo>
                      <a:pt x="557" y="293"/>
                    </a:lnTo>
                    <a:lnTo>
                      <a:pt x="552" y="298"/>
                    </a:lnTo>
                    <a:lnTo>
                      <a:pt x="548" y="298"/>
                    </a:lnTo>
                    <a:lnTo>
                      <a:pt x="543" y="303"/>
                    </a:lnTo>
                    <a:lnTo>
                      <a:pt x="538" y="307"/>
                    </a:lnTo>
                    <a:lnTo>
                      <a:pt x="533" y="307"/>
                    </a:lnTo>
                    <a:lnTo>
                      <a:pt x="528" y="312"/>
                    </a:lnTo>
                    <a:lnTo>
                      <a:pt x="524" y="317"/>
                    </a:lnTo>
                    <a:lnTo>
                      <a:pt x="519" y="322"/>
                    </a:lnTo>
                    <a:lnTo>
                      <a:pt x="514" y="327"/>
                    </a:lnTo>
                    <a:lnTo>
                      <a:pt x="509" y="327"/>
                    </a:lnTo>
                    <a:lnTo>
                      <a:pt x="504" y="331"/>
                    </a:lnTo>
                    <a:lnTo>
                      <a:pt x="500" y="331"/>
                    </a:lnTo>
                    <a:lnTo>
                      <a:pt x="495" y="336"/>
                    </a:lnTo>
                    <a:lnTo>
                      <a:pt x="490" y="341"/>
                    </a:lnTo>
                    <a:lnTo>
                      <a:pt x="490" y="346"/>
                    </a:lnTo>
                    <a:lnTo>
                      <a:pt x="485" y="346"/>
                    </a:lnTo>
                    <a:lnTo>
                      <a:pt x="480" y="351"/>
                    </a:lnTo>
                    <a:lnTo>
                      <a:pt x="476" y="351"/>
                    </a:lnTo>
                    <a:lnTo>
                      <a:pt x="471" y="355"/>
                    </a:lnTo>
                    <a:lnTo>
                      <a:pt x="466" y="360"/>
                    </a:lnTo>
                    <a:lnTo>
                      <a:pt x="466" y="365"/>
                    </a:lnTo>
                    <a:lnTo>
                      <a:pt x="466" y="370"/>
                    </a:lnTo>
                    <a:lnTo>
                      <a:pt x="466" y="375"/>
                    </a:lnTo>
                    <a:lnTo>
                      <a:pt x="461" y="379"/>
                    </a:lnTo>
                    <a:lnTo>
                      <a:pt x="456" y="379"/>
                    </a:lnTo>
                    <a:lnTo>
                      <a:pt x="452" y="379"/>
                    </a:lnTo>
                    <a:lnTo>
                      <a:pt x="447" y="379"/>
                    </a:lnTo>
                    <a:lnTo>
                      <a:pt x="447" y="384"/>
                    </a:lnTo>
                    <a:lnTo>
                      <a:pt x="442" y="384"/>
                    </a:lnTo>
                    <a:lnTo>
                      <a:pt x="437" y="384"/>
                    </a:lnTo>
                    <a:lnTo>
                      <a:pt x="437" y="389"/>
                    </a:lnTo>
                    <a:lnTo>
                      <a:pt x="437" y="394"/>
                    </a:lnTo>
                    <a:lnTo>
                      <a:pt x="432" y="394"/>
                    </a:lnTo>
                    <a:lnTo>
                      <a:pt x="432" y="399"/>
                    </a:lnTo>
                    <a:lnTo>
                      <a:pt x="432" y="403"/>
                    </a:lnTo>
                    <a:lnTo>
                      <a:pt x="432" y="408"/>
                    </a:lnTo>
                    <a:lnTo>
                      <a:pt x="432" y="413"/>
                    </a:lnTo>
                    <a:lnTo>
                      <a:pt x="437" y="418"/>
                    </a:lnTo>
                    <a:lnTo>
                      <a:pt x="437" y="423"/>
                    </a:lnTo>
                    <a:lnTo>
                      <a:pt x="437" y="427"/>
                    </a:lnTo>
                    <a:lnTo>
                      <a:pt x="442" y="427"/>
                    </a:lnTo>
                    <a:lnTo>
                      <a:pt x="442" y="432"/>
                    </a:lnTo>
                    <a:lnTo>
                      <a:pt x="447" y="437"/>
                    </a:lnTo>
                    <a:lnTo>
                      <a:pt x="452" y="442"/>
                    </a:lnTo>
                    <a:lnTo>
                      <a:pt x="452" y="447"/>
                    </a:lnTo>
                    <a:lnTo>
                      <a:pt x="456" y="451"/>
                    </a:lnTo>
                    <a:lnTo>
                      <a:pt x="456" y="456"/>
                    </a:lnTo>
                    <a:lnTo>
                      <a:pt x="456" y="461"/>
                    </a:lnTo>
                    <a:lnTo>
                      <a:pt x="456" y="466"/>
                    </a:lnTo>
                    <a:lnTo>
                      <a:pt x="452" y="466"/>
                    </a:lnTo>
                    <a:lnTo>
                      <a:pt x="456" y="471"/>
                    </a:lnTo>
                    <a:lnTo>
                      <a:pt x="456" y="475"/>
                    </a:lnTo>
                    <a:lnTo>
                      <a:pt x="456" y="480"/>
                    </a:lnTo>
                    <a:lnTo>
                      <a:pt x="456" y="485"/>
                    </a:lnTo>
                    <a:lnTo>
                      <a:pt x="461" y="485"/>
                    </a:lnTo>
                    <a:lnTo>
                      <a:pt x="461" y="490"/>
                    </a:lnTo>
                    <a:lnTo>
                      <a:pt x="466" y="490"/>
                    </a:lnTo>
                    <a:lnTo>
                      <a:pt x="466" y="495"/>
                    </a:lnTo>
                    <a:lnTo>
                      <a:pt x="471" y="499"/>
                    </a:lnTo>
                    <a:lnTo>
                      <a:pt x="471" y="504"/>
                    </a:lnTo>
                    <a:lnTo>
                      <a:pt x="471" y="509"/>
                    </a:lnTo>
                    <a:lnTo>
                      <a:pt x="471" y="514"/>
                    </a:lnTo>
                    <a:lnTo>
                      <a:pt x="471" y="519"/>
                    </a:lnTo>
                    <a:lnTo>
                      <a:pt x="471" y="523"/>
                    </a:lnTo>
                    <a:lnTo>
                      <a:pt x="471" y="528"/>
                    </a:lnTo>
                    <a:lnTo>
                      <a:pt x="466" y="528"/>
                    </a:lnTo>
                    <a:lnTo>
                      <a:pt x="466" y="533"/>
                    </a:lnTo>
                    <a:lnTo>
                      <a:pt x="461" y="533"/>
                    </a:lnTo>
                    <a:lnTo>
                      <a:pt x="456" y="538"/>
                    </a:lnTo>
                    <a:lnTo>
                      <a:pt x="452" y="538"/>
                    </a:lnTo>
                    <a:lnTo>
                      <a:pt x="452" y="543"/>
                    </a:lnTo>
                    <a:lnTo>
                      <a:pt x="452" y="547"/>
                    </a:lnTo>
                    <a:lnTo>
                      <a:pt x="452" y="552"/>
                    </a:lnTo>
                    <a:lnTo>
                      <a:pt x="452" y="557"/>
                    </a:lnTo>
                    <a:lnTo>
                      <a:pt x="452" y="562"/>
                    </a:lnTo>
                    <a:lnTo>
                      <a:pt x="452" y="567"/>
                    </a:lnTo>
                    <a:lnTo>
                      <a:pt x="456" y="567"/>
                    </a:lnTo>
                    <a:lnTo>
                      <a:pt x="456" y="571"/>
                    </a:lnTo>
                    <a:lnTo>
                      <a:pt x="456" y="576"/>
                    </a:lnTo>
                    <a:lnTo>
                      <a:pt x="456" y="581"/>
                    </a:lnTo>
                    <a:lnTo>
                      <a:pt x="456" y="586"/>
                    </a:lnTo>
                    <a:lnTo>
                      <a:pt x="461" y="586"/>
                    </a:lnTo>
                    <a:lnTo>
                      <a:pt x="466" y="591"/>
                    </a:lnTo>
                    <a:lnTo>
                      <a:pt x="466" y="595"/>
                    </a:lnTo>
                    <a:lnTo>
                      <a:pt x="471" y="595"/>
                    </a:lnTo>
                    <a:lnTo>
                      <a:pt x="476" y="600"/>
                    </a:lnTo>
                    <a:lnTo>
                      <a:pt x="480" y="600"/>
                    </a:lnTo>
                    <a:lnTo>
                      <a:pt x="480" y="605"/>
                    </a:lnTo>
                    <a:lnTo>
                      <a:pt x="485" y="605"/>
                    </a:lnTo>
                    <a:lnTo>
                      <a:pt x="490" y="605"/>
                    </a:lnTo>
                    <a:lnTo>
                      <a:pt x="495" y="610"/>
                    </a:lnTo>
                    <a:lnTo>
                      <a:pt x="500" y="610"/>
                    </a:lnTo>
                    <a:lnTo>
                      <a:pt x="500" y="615"/>
                    </a:lnTo>
                    <a:lnTo>
                      <a:pt x="504" y="615"/>
                    </a:lnTo>
                    <a:lnTo>
                      <a:pt x="504" y="619"/>
                    </a:lnTo>
                    <a:lnTo>
                      <a:pt x="509" y="624"/>
                    </a:lnTo>
                    <a:lnTo>
                      <a:pt x="509" y="629"/>
                    </a:lnTo>
                    <a:lnTo>
                      <a:pt x="514" y="629"/>
                    </a:lnTo>
                    <a:lnTo>
                      <a:pt x="514" y="634"/>
                    </a:lnTo>
                    <a:lnTo>
                      <a:pt x="519" y="634"/>
                    </a:lnTo>
                    <a:lnTo>
                      <a:pt x="519" y="639"/>
                    </a:lnTo>
                    <a:lnTo>
                      <a:pt x="519" y="643"/>
                    </a:lnTo>
                    <a:lnTo>
                      <a:pt x="519" y="648"/>
                    </a:lnTo>
                    <a:lnTo>
                      <a:pt x="519" y="653"/>
                    </a:lnTo>
                    <a:lnTo>
                      <a:pt x="519" y="658"/>
                    </a:lnTo>
                    <a:lnTo>
                      <a:pt x="514" y="658"/>
                    </a:lnTo>
                    <a:lnTo>
                      <a:pt x="514" y="663"/>
                    </a:lnTo>
                    <a:lnTo>
                      <a:pt x="509" y="663"/>
                    </a:lnTo>
                    <a:lnTo>
                      <a:pt x="509" y="667"/>
                    </a:lnTo>
                    <a:lnTo>
                      <a:pt x="509" y="672"/>
                    </a:lnTo>
                    <a:lnTo>
                      <a:pt x="509" y="696"/>
                    </a:lnTo>
                    <a:lnTo>
                      <a:pt x="504" y="696"/>
                    </a:lnTo>
                    <a:lnTo>
                      <a:pt x="500" y="696"/>
                    </a:lnTo>
                    <a:lnTo>
                      <a:pt x="495" y="691"/>
                    </a:lnTo>
                    <a:lnTo>
                      <a:pt x="490" y="691"/>
                    </a:lnTo>
                    <a:lnTo>
                      <a:pt x="485" y="687"/>
                    </a:lnTo>
                    <a:lnTo>
                      <a:pt x="480" y="687"/>
                    </a:lnTo>
                    <a:lnTo>
                      <a:pt x="476" y="687"/>
                    </a:lnTo>
                    <a:lnTo>
                      <a:pt x="471" y="682"/>
                    </a:lnTo>
                    <a:lnTo>
                      <a:pt x="466" y="687"/>
                    </a:lnTo>
                    <a:lnTo>
                      <a:pt x="461" y="687"/>
                    </a:lnTo>
                    <a:lnTo>
                      <a:pt x="456" y="691"/>
                    </a:lnTo>
                    <a:lnTo>
                      <a:pt x="452" y="691"/>
                    </a:lnTo>
                    <a:lnTo>
                      <a:pt x="452" y="696"/>
                    </a:lnTo>
                    <a:lnTo>
                      <a:pt x="447" y="696"/>
                    </a:lnTo>
                    <a:lnTo>
                      <a:pt x="442" y="701"/>
                    </a:lnTo>
                    <a:lnTo>
                      <a:pt x="437" y="706"/>
                    </a:lnTo>
                    <a:lnTo>
                      <a:pt x="432" y="706"/>
                    </a:lnTo>
                    <a:lnTo>
                      <a:pt x="428" y="711"/>
                    </a:lnTo>
                    <a:lnTo>
                      <a:pt x="423" y="711"/>
                    </a:lnTo>
                    <a:lnTo>
                      <a:pt x="423" y="715"/>
                    </a:lnTo>
                    <a:lnTo>
                      <a:pt x="418" y="715"/>
                    </a:lnTo>
                    <a:lnTo>
                      <a:pt x="418" y="711"/>
                    </a:lnTo>
                    <a:lnTo>
                      <a:pt x="413" y="711"/>
                    </a:lnTo>
                    <a:lnTo>
                      <a:pt x="408" y="711"/>
                    </a:lnTo>
                    <a:lnTo>
                      <a:pt x="404" y="711"/>
                    </a:lnTo>
                    <a:lnTo>
                      <a:pt x="399" y="711"/>
                    </a:lnTo>
                    <a:lnTo>
                      <a:pt x="394" y="711"/>
                    </a:lnTo>
                    <a:lnTo>
                      <a:pt x="394" y="715"/>
                    </a:lnTo>
                    <a:lnTo>
                      <a:pt x="389" y="715"/>
                    </a:lnTo>
                    <a:lnTo>
                      <a:pt x="389" y="720"/>
                    </a:lnTo>
                    <a:lnTo>
                      <a:pt x="384" y="720"/>
                    </a:lnTo>
                    <a:lnTo>
                      <a:pt x="384" y="725"/>
                    </a:lnTo>
                    <a:lnTo>
                      <a:pt x="380" y="725"/>
                    </a:lnTo>
                    <a:lnTo>
                      <a:pt x="375" y="725"/>
                    </a:lnTo>
                    <a:lnTo>
                      <a:pt x="375" y="730"/>
                    </a:lnTo>
                    <a:lnTo>
                      <a:pt x="370" y="730"/>
                    </a:lnTo>
                    <a:lnTo>
                      <a:pt x="370" y="725"/>
                    </a:lnTo>
                    <a:lnTo>
                      <a:pt x="365" y="725"/>
                    </a:lnTo>
                    <a:lnTo>
                      <a:pt x="365" y="720"/>
                    </a:lnTo>
                    <a:lnTo>
                      <a:pt x="365" y="715"/>
                    </a:lnTo>
                    <a:lnTo>
                      <a:pt x="360" y="711"/>
                    </a:lnTo>
                    <a:lnTo>
                      <a:pt x="365" y="711"/>
                    </a:lnTo>
                    <a:lnTo>
                      <a:pt x="365" y="706"/>
                    </a:lnTo>
                    <a:lnTo>
                      <a:pt x="365" y="701"/>
                    </a:lnTo>
                    <a:lnTo>
                      <a:pt x="370" y="701"/>
                    </a:lnTo>
                    <a:lnTo>
                      <a:pt x="370" y="696"/>
                    </a:lnTo>
                    <a:lnTo>
                      <a:pt x="375" y="696"/>
                    </a:lnTo>
                    <a:lnTo>
                      <a:pt x="375" y="691"/>
                    </a:lnTo>
                    <a:lnTo>
                      <a:pt x="380" y="691"/>
                    </a:lnTo>
                    <a:lnTo>
                      <a:pt x="384" y="687"/>
                    </a:lnTo>
                    <a:lnTo>
                      <a:pt x="384" y="682"/>
                    </a:lnTo>
                    <a:lnTo>
                      <a:pt x="389" y="677"/>
                    </a:lnTo>
                    <a:lnTo>
                      <a:pt x="394" y="672"/>
                    </a:lnTo>
                    <a:lnTo>
                      <a:pt x="399" y="672"/>
                    </a:lnTo>
                    <a:lnTo>
                      <a:pt x="404" y="667"/>
                    </a:lnTo>
                    <a:lnTo>
                      <a:pt x="408" y="663"/>
                    </a:lnTo>
                    <a:lnTo>
                      <a:pt x="413" y="658"/>
                    </a:lnTo>
                    <a:lnTo>
                      <a:pt x="408" y="658"/>
                    </a:lnTo>
                    <a:lnTo>
                      <a:pt x="404" y="658"/>
                    </a:lnTo>
                    <a:lnTo>
                      <a:pt x="399" y="658"/>
                    </a:lnTo>
                    <a:lnTo>
                      <a:pt x="394" y="658"/>
                    </a:lnTo>
                    <a:lnTo>
                      <a:pt x="389" y="658"/>
                    </a:lnTo>
                    <a:lnTo>
                      <a:pt x="384" y="658"/>
                    </a:lnTo>
                    <a:lnTo>
                      <a:pt x="380" y="658"/>
                    </a:lnTo>
                    <a:lnTo>
                      <a:pt x="375" y="658"/>
                    </a:lnTo>
                    <a:lnTo>
                      <a:pt x="370" y="658"/>
                    </a:lnTo>
                    <a:lnTo>
                      <a:pt x="365" y="658"/>
                    </a:lnTo>
                    <a:lnTo>
                      <a:pt x="360" y="658"/>
                    </a:lnTo>
                    <a:lnTo>
                      <a:pt x="356" y="658"/>
                    </a:lnTo>
                    <a:lnTo>
                      <a:pt x="356" y="663"/>
                    </a:lnTo>
                    <a:lnTo>
                      <a:pt x="351" y="663"/>
                    </a:lnTo>
                    <a:lnTo>
                      <a:pt x="351" y="667"/>
                    </a:lnTo>
                    <a:lnTo>
                      <a:pt x="351" y="672"/>
                    </a:lnTo>
                    <a:lnTo>
                      <a:pt x="351" y="677"/>
                    </a:lnTo>
                    <a:lnTo>
                      <a:pt x="351" y="682"/>
                    </a:lnTo>
                    <a:lnTo>
                      <a:pt x="351" y="687"/>
                    </a:lnTo>
                    <a:lnTo>
                      <a:pt x="351" y="691"/>
                    </a:lnTo>
                    <a:lnTo>
                      <a:pt x="351" y="696"/>
                    </a:lnTo>
                    <a:lnTo>
                      <a:pt x="346" y="696"/>
                    </a:lnTo>
                    <a:lnTo>
                      <a:pt x="346" y="701"/>
                    </a:lnTo>
                    <a:lnTo>
                      <a:pt x="341" y="701"/>
                    </a:lnTo>
                    <a:lnTo>
                      <a:pt x="336" y="706"/>
                    </a:lnTo>
                    <a:lnTo>
                      <a:pt x="332" y="706"/>
                    </a:lnTo>
                    <a:lnTo>
                      <a:pt x="332" y="711"/>
                    </a:lnTo>
                    <a:lnTo>
                      <a:pt x="327" y="711"/>
                    </a:lnTo>
                    <a:lnTo>
                      <a:pt x="322" y="715"/>
                    </a:lnTo>
                    <a:lnTo>
                      <a:pt x="317" y="715"/>
                    </a:lnTo>
                    <a:lnTo>
                      <a:pt x="317" y="720"/>
                    </a:lnTo>
                    <a:lnTo>
                      <a:pt x="317" y="725"/>
                    </a:lnTo>
                    <a:lnTo>
                      <a:pt x="312" y="725"/>
                    </a:lnTo>
                    <a:lnTo>
                      <a:pt x="312" y="730"/>
                    </a:lnTo>
                    <a:lnTo>
                      <a:pt x="312" y="735"/>
                    </a:lnTo>
                    <a:lnTo>
                      <a:pt x="308" y="735"/>
                    </a:lnTo>
                    <a:lnTo>
                      <a:pt x="308" y="739"/>
                    </a:lnTo>
                    <a:lnTo>
                      <a:pt x="303" y="739"/>
                    </a:lnTo>
                    <a:lnTo>
                      <a:pt x="298" y="744"/>
                    </a:lnTo>
                    <a:lnTo>
                      <a:pt x="293" y="744"/>
                    </a:lnTo>
                    <a:lnTo>
                      <a:pt x="288" y="744"/>
                    </a:lnTo>
                    <a:lnTo>
                      <a:pt x="288" y="739"/>
                    </a:lnTo>
                    <a:lnTo>
                      <a:pt x="288" y="735"/>
                    </a:lnTo>
                    <a:lnTo>
                      <a:pt x="288" y="730"/>
                    </a:lnTo>
                    <a:lnTo>
                      <a:pt x="288" y="725"/>
                    </a:lnTo>
                    <a:lnTo>
                      <a:pt x="288" y="720"/>
                    </a:lnTo>
                    <a:lnTo>
                      <a:pt x="288" y="715"/>
                    </a:lnTo>
                    <a:lnTo>
                      <a:pt x="284" y="715"/>
                    </a:lnTo>
                    <a:lnTo>
                      <a:pt x="279" y="715"/>
                    </a:lnTo>
                    <a:lnTo>
                      <a:pt x="279" y="720"/>
                    </a:lnTo>
                    <a:lnTo>
                      <a:pt x="274" y="720"/>
                    </a:lnTo>
                    <a:lnTo>
                      <a:pt x="274" y="725"/>
                    </a:lnTo>
                    <a:lnTo>
                      <a:pt x="269" y="725"/>
                    </a:lnTo>
                    <a:lnTo>
                      <a:pt x="269" y="730"/>
                    </a:lnTo>
                    <a:lnTo>
                      <a:pt x="269" y="735"/>
                    </a:lnTo>
                    <a:lnTo>
                      <a:pt x="264" y="735"/>
                    </a:lnTo>
                    <a:lnTo>
                      <a:pt x="260" y="744"/>
                    </a:lnTo>
                    <a:lnTo>
                      <a:pt x="250" y="744"/>
                    </a:lnTo>
                    <a:lnTo>
                      <a:pt x="250" y="739"/>
                    </a:lnTo>
                    <a:lnTo>
                      <a:pt x="250" y="735"/>
                    </a:lnTo>
                    <a:lnTo>
                      <a:pt x="250" y="730"/>
                    </a:lnTo>
                    <a:lnTo>
                      <a:pt x="250" y="725"/>
                    </a:lnTo>
                    <a:lnTo>
                      <a:pt x="250" y="720"/>
                    </a:lnTo>
                    <a:lnTo>
                      <a:pt x="245" y="715"/>
                    </a:lnTo>
                    <a:lnTo>
                      <a:pt x="245" y="711"/>
                    </a:lnTo>
                    <a:lnTo>
                      <a:pt x="245" y="706"/>
                    </a:lnTo>
                    <a:lnTo>
                      <a:pt x="245" y="701"/>
                    </a:lnTo>
                    <a:lnTo>
                      <a:pt x="245" y="696"/>
                    </a:lnTo>
                    <a:lnTo>
                      <a:pt x="245" y="691"/>
                    </a:lnTo>
                    <a:lnTo>
                      <a:pt x="240" y="687"/>
                    </a:lnTo>
                    <a:lnTo>
                      <a:pt x="236" y="687"/>
                    </a:lnTo>
                    <a:lnTo>
                      <a:pt x="231" y="687"/>
                    </a:lnTo>
                    <a:lnTo>
                      <a:pt x="226" y="687"/>
                    </a:lnTo>
                    <a:lnTo>
                      <a:pt x="221" y="687"/>
                    </a:lnTo>
                    <a:lnTo>
                      <a:pt x="216" y="687"/>
                    </a:lnTo>
                    <a:lnTo>
                      <a:pt x="216" y="682"/>
                    </a:lnTo>
                    <a:lnTo>
                      <a:pt x="216" y="677"/>
                    </a:lnTo>
                    <a:lnTo>
                      <a:pt x="216" y="672"/>
                    </a:lnTo>
                    <a:lnTo>
                      <a:pt x="221" y="672"/>
                    </a:lnTo>
                    <a:lnTo>
                      <a:pt x="221" y="667"/>
                    </a:lnTo>
                    <a:lnTo>
                      <a:pt x="226" y="667"/>
                    </a:lnTo>
                    <a:lnTo>
                      <a:pt x="226" y="663"/>
                    </a:lnTo>
                    <a:lnTo>
                      <a:pt x="231" y="663"/>
                    </a:lnTo>
                    <a:lnTo>
                      <a:pt x="231" y="658"/>
                    </a:lnTo>
                    <a:lnTo>
                      <a:pt x="231" y="653"/>
                    </a:lnTo>
                    <a:lnTo>
                      <a:pt x="236" y="653"/>
                    </a:lnTo>
                    <a:lnTo>
                      <a:pt x="236" y="648"/>
                    </a:lnTo>
                    <a:lnTo>
                      <a:pt x="236" y="643"/>
                    </a:lnTo>
                    <a:lnTo>
                      <a:pt x="231" y="643"/>
                    </a:lnTo>
                    <a:lnTo>
                      <a:pt x="226" y="639"/>
                    </a:lnTo>
                    <a:lnTo>
                      <a:pt x="221" y="639"/>
                    </a:lnTo>
                    <a:lnTo>
                      <a:pt x="221" y="634"/>
                    </a:lnTo>
                    <a:lnTo>
                      <a:pt x="216" y="634"/>
                    </a:lnTo>
                    <a:lnTo>
                      <a:pt x="216" y="629"/>
                    </a:lnTo>
                    <a:lnTo>
                      <a:pt x="216" y="624"/>
                    </a:lnTo>
                    <a:lnTo>
                      <a:pt x="212" y="624"/>
                    </a:lnTo>
                    <a:lnTo>
                      <a:pt x="207" y="619"/>
                    </a:lnTo>
                    <a:lnTo>
                      <a:pt x="207" y="615"/>
                    </a:lnTo>
                    <a:lnTo>
                      <a:pt x="207" y="610"/>
                    </a:lnTo>
                    <a:lnTo>
                      <a:pt x="202" y="605"/>
                    </a:lnTo>
                    <a:lnTo>
                      <a:pt x="202" y="600"/>
                    </a:lnTo>
                    <a:lnTo>
                      <a:pt x="202" y="595"/>
                    </a:lnTo>
                    <a:lnTo>
                      <a:pt x="197" y="595"/>
                    </a:lnTo>
                    <a:lnTo>
                      <a:pt x="197" y="591"/>
                    </a:lnTo>
                    <a:lnTo>
                      <a:pt x="192" y="591"/>
                    </a:lnTo>
                    <a:lnTo>
                      <a:pt x="188" y="591"/>
                    </a:lnTo>
                    <a:lnTo>
                      <a:pt x="183" y="595"/>
                    </a:lnTo>
                    <a:lnTo>
                      <a:pt x="178" y="595"/>
                    </a:lnTo>
                    <a:lnTo>
                      <a:pt x="178" y="600"/>
                    </a:lnTo>
                    <a:lnTo>
                      <a:pt x="173" y="600"/>
                    </a:lnTo>
                    <a:lnTo>
                      <a:pt x="173" y="605"/>
                    </a:lnTo>
                    <a:lnTo>
                      <a:pt x="168" y="605"/>
                    </a:lnTo>
                    <a:lnTo>
                      <a:pt x="164" y="610"/>
                    </a:lnTo>
                    <a:lnTo>
                      <a:pt x="159" y="615"/>
                    </a:lnTo>
                    <a:lnTo>
                      <a:pt x="159" y="619"/>
                    </a:lnTo>
                    <a:lnTo>
                      <a:pt x="154" y="619"/>
                    </a:lnTo>
                    <a:lnTo>
                      <a:pt x="154" y="624"/>
                    </a:lnTo>
                    <a:lnTo>
                      <a:pt x="149" y="624"/>
                    </a:lnTo>
                    <a:lnTo>
                      <a:pt x="149" y="629"/>
                    </a:lnTo>
                    <a:lnTo>
                      <a:pt x="144" y="629"/>
                    </a:lnTo>
                    <a:lnTo>
                      <a:pt x="144" y="634"/>
                    </a:lnTo>
                    <a:lnTo>
                      <a:pt x="144" y="639"/>
                    </a:lnTo>
                    <a:lnTo>
                      <a:pt x="140" y="634"/>
                    </a:lnTo>
                    <a:lnTo>
                      <a:pt x="135" y="639"/>
                    </a:lnTo>
                    <a:lnTo>
                      <a:pt x="130" y="639"/>
                    </a:lnTo>
                    <a:lnTo>
                      <a:pt x="125" y="639"/>
                    </a:lnTo>
                    <a:lnTo>
                      <a:pt x="120" y="639"/>
                    </a:lnTo>
                    <a:lnTo>
                      <a:pt x="120" y="643"/>
                    </a:lnTo>
                    <a:lnTo>
                      <a:pt x="116" y="643"/>
                    </a:lnTo>
                    <a:lnTo>
                      <a:pt x="111" y="643"/>
                    </a:lnTo>
                    <a:lnTo>
                      <a:pt x="106" y="643"/>
                    </a:lnTo>
                    <a:lnTo>
                      <a:pt x="101" y="639"/>
                    </a:lnTo>
                    <a:lnTo>
                      <a:pt x="96" y="634"/>
                    </a:lnTo>
                    <a:lnTo>
                      <a:pt x="92" y="639"/>
                    </a:lnTo>
                    <a:lnTo>
                      <a:pt x="87" y="643"/>
                    </a:lnTo>
                    <a:lnTo>
                      <a:pt x="82" y="639"/>
                    </a:lnTo>
                    <a:lnTo>
                      <a:pt x="77" y="639"/>
                    </a:lnTo>
                    <a:lnTo>
                      <a:pt x="77" y="634"/>
                    </a:lnTo>
                    <a:lnTo>
                      <a:pt x="77" y="629"/>
                    </a:lnTo>
                    <a:lnTo>
                      <a:pt x="68" y="619"/>
                    </a:lnTo>
                    <a:lnTo>
                      <a:pt x="63" y="619"/>
                    </a:lnTo>
                    <a:lnTo>
                      <a:pt x="58" y="610"/>
                    </a:lnTo>
                    <a:lnTo>
                      <a:pt x="53" y="610"/>
                    </a:lnTo>
                    <a:lnTo>
                      <a:pt x="53" y="615"/>
                    </a:lnTo>
                    <a:lnTo>
                      <a:pt x="48" y="619"/>
                    </a:lnTo>
                    <a:lnTo>
                      <a:pt x="39" y="624"/>
                    </a:lnTo>
                    <a:lnTo>
                      <a:pt x="34" y="629"/>
                    </a:lnTo>
                    <a:lnTo>
                      <a:pt x="29" y="629"/>
                    </a:lnTo>
                    <a:lnTo>
                      <a:pt x="24" y="629"/>
                    </a:lnTo>
                    <a:lnTo>
                      <a:pt x="24" y="619"/>
                    </a:lnTo>
                    <a:lnTo>
                      <a:pt x="20" y="619"/>
                    </a:lnTo>
                    <a:lnTo>
                      <a:pt x="20" y="615"/>
                    </a:lnTo>
                    <a:lnTo>
                      <a:pt x="15" y="615"/>
                    </a:lnTo>
                    <a:lnTo>
                      <a:pt x="15" y="610"/>
                    </a:lnTo>
                    <a:lnTo>
                      <a:pt x="10" y="610"/>
                    </a:lnTo>
                    <a:lnTo>
                      <a:pt x="10" y="605"/>
                    </a:lnTo>
                    <a:lnTo>
                      <a:pt x="5" y="605"/>
                    </a:lnTo>
                    <a:lnTo>
                      <a:pt x="5" y="600"/>
                    </a:lnTo>
                    <a:lnTo>
                      <a:pt x="0" y="600"/>
                    </a:lnTo>
                    <a:lnTo>
                      <a:pt x="5" y="600"/>
                    </a:lnTo>
                    <a:lnTo>
                      <a:pt x="10" y="591"/>
                    </a:lnTo>
                    <a:lnTo>
                      <a:pt x="10" y="586"/>
                    </a:lnTo>
                    <a:lnTo>
                      <a:pt x="10" y="581"/>
                    </a:lnTo>
                    <a:lnTo>
                      <a:pt x="15" y="581"/>
                    </a:lnTo>
                    <a:lnTo>
                      <a:pt x="15" y="576"/>
                    </a:lnTo>
                    <a:lnTo>
                      <a:pt x="15" y="571"/>
                    </a:lnTo>
                    <a:lnTo>
                      <a:pt x="15" y="567"/>
                    </a:lnTo>
                    <a:lnTo>
                      <a:pt x="10" y="567"/>
                    </a:lnTo>
                    <a:lnTo>
                      <a:pt x="15" y="562"/>
                    </a:lnTo>
                    <a:lnTo>
                      <a:pt x="20" y="562"/>
                    </a:lnTo>
                    <a:lnTo>
                      <a:pt x="20" y="557"/>
                    </a:lnTo>
                    <a:lnTo>
                      <a:pt x="20" y="552"/>
                    </a:lnTo>
                    <a:lnTo>
                      <a:pt x="24" y="552"/>
                    </a:lnTo>
                    <a:lnTo>
                      <a:pt x="29" y="552"/>
                    </a:lnTo>
                    <a:lnTo>
                      <a:pt x="34" y="547"/>
                    </a:lnTo>
                    <a:lnTo>
                      <a:pt x="39" y="543"/>
                    </a:lnTo>
                    <a:lnTo>
                      <a:pt x="44" y="538"/>
                    </a:lnTo>
                    <a:lnTo>
                      <a:pt x="39" y="533"/>
                    </a:lnTo>
                    <a:lnTo>
                      <a:pt x="34" y="533"/>
                    </a:lnTo>
                    <a:lnTo>
                      <a:pt x="34" y="538"/>
                    </a:lnTo>
                    <a:lnTo>
                      <a:pt x="29" y="538"/>
                    </a:lnTo>
                    <a:lnTo>
                      <a:pt x="24" y="543"/>
                    </a:lnTo>
                    <a:lnTo>
                      <a:pt x="20" y="547"/>
                    </a:lnTo>
                    <a:lnTo>
                      <a:pt x="15" y="543"/>
                    </a:lnTo>
                    <a:lnTo>
                      <a:pt x="10" y="543"/>
                    </a:lnTo>
                    <a:lnTo>
                      <a:pt x="10" y="538"/>
                    </a:lnTo>
                    <a:lnTo>
                      <a:pt x="5" y="538"/>
                    </a:lnTo>
                    <a:lnTo>
                      <a:pt x="5" y="533"/>
                    </a:lnTo>
                    <a:lnTo>
                      <a:pt x="10" y="533"/>
                    </a:lnTo>
                    <a:lnTo>
                      <a:pt x="10" y="528"/>
                    </a:lnTo>
                    <a:lnTo>
                      <a:pt x="15" y="528"/>
                    </a:lnTo>
                    <a:lnTo>
                      <a:pt x="15" y="523"/>
                    </a:lnTo>
                    <a:lnTo>
                      <a:pt x="20" y="509"/>
                    </a:lnTo>
                    <a:lnTo>
                      <a:pt x="24" y="504"/>
                    </a:lnTo>
                    <a:lnTo>
                      <a:pt x="29" y="499"/>
                    </a:lnTo>
                    <a:lnTo>
                      <a:pt x="29" y="490"/>
                    </a:lnTo>
                    <a:lnTo>
                      <a:pt x="34" y="490"/>
                    </a:lnTo>
                    <a:lnTo>
                      <a:pt x="34" y="485"/>
                    </a:lnTo>
                    <a:lnTo>
                      <a:pt x="39" y="475"/>
                    </a:lnTo>
                    <a:lnTo>
                      <a:pt x="44" y="471"/>
                    </a:lnTo>
                    <a:lnTo>
                      <a:pt x="44" y="461"/>
                    </a:lnTo>
                    <a:lnTo>
                      <a:pt x="53" y="456"/>
                    </a:lnTo>
                    <a:lnTo>
                      <a:pt x="58" y="456"/>
                    </a:lnTo>
                    <a:lnTo>
                      <a:pt x="63" y="451"/>
                    </a:lnTo>
                    <a:lnTo>
                      <a:pt x="68" y="451"/>
                    </a:lnTo>
                    <a:lnTo>
                      <a:pt x="72" y="451"/>
                    </a:lnTo>
                    <a:lnTo>
                      <a:pt x="77" y="451"/>
                    </a:lnTo>
                    <a:lnTo>
                      <a:pt x="77" y="456"/>
                    </a:lnTo>
                    <a:lnTo>
                      <a:pt x="82" y="456"/>
                    </a:lnTo>
                    <a:lnTo>
                      <a:pt x="87" y="451"/>
                    </a:lnTo>
                    <a:lnTo>
                      <a:pt x="92" y="442"/>
                    </a:lnTo>
                    <a:lnTo>
                      <a:pt x="96" y="442"/>
                    </a:lnTo>
                    <a:lnTo>
                      <a:pt x="101" y="437"/>
                    </a:lnTo>
                    <a:lnTo>
                      <a:pt x="106" y="442"/>
                    </a:lnTo>
                    <a:lnTo>
                      <a:pt x="111" y="447"/>
                    </a:lnTo>
                    <a:lnTo>
                      <a:pt x="116" y="447"/>
                    </a:lnTo>
                    <a:lnTo>
                      <a:pt x="120" y="447"/>
                    </a:lnTo>
                    <a:lnTo>
                      <a:pt x="125" y="447"/>
                    </a:lnTo>
                    <a:lnTo>
                      <a:pt x="130" y="442"/>
                    </a:lnTo>
                    <a:lnTo>
                      <a:pt x="135" y="442"/>
                    </a:lnTo>
                    <a:lnTo>
                      <a:pt x="140" y="437"/>
                    </a:lnTo>
                    <a:lnTo>
                      <a:pt x="140" y="432"/>
                    </a:lnTo>
                    <a:lnTo>
                      <a:pt x="140" y="427"/>
                    </a:lnTo>
                    <a:lnTo>
                      <a:pt x="144" y="427"/>
                    </a:lnTo>
                    <a:lnTo>
                      <a:pt x="144" y="423"/>
                    </a:lnTo>
                    <a:lnTo>
                      <a:pt x="144" y="418"/>
                    </a:lnTo>
                    <a:lnTo>
                      <a:pt x="144" y="413"/>
                    </a:lnTo>
                    <a:lnTo>
                      <a:pt x="144" y="408"/>
                    </a:lnTo>
                    <a:lnTo>
                      <a:pt x="144" y="399"/>
                    </a:lnTo>
                    <a:lnTo>
                      <a:pt x="144" y="394"/>
                    </a:lnTo>
                    <a:lnTo>
                      <a:pt x="144" y="389"/>
                    </a:lnTo>
                    <a:lnTo>
                      <a:pt x="144" y="384"/>
                    </a:lnTo>
                    <a:lnTo>
                      <a:pt x="149" y="379"/>
                    </a:lnTo>
                    <a:lnTo>
                      <a:pt x="149" y="370"/>
                    </a:lnTo>
                    <a:lnTo>
                      <a:pt x="154" y="370"/>
                    </a:lnTo>
                    <a:lnTo>
                      <a:pt x="154" y="365"/>
                    </a:lnTo>
                    <a:lnTo>
                      <a:pt x="154" y="360"/>
                    </a:lnTo>
                    <a:lnTo>
                      <a:pt x="159" y="351"/>
                    </a:lnTo>
                    <a:lnTo>
                      <a:pt x="154" y="336"/>
                    </a:lnTo>
                    <a:lnTo>
                      <a:pt x="149" y="331"/>
                    </a:lnTo>
                    <a:lnTo>
                      <a:pt x="140" y="322"/>
                    </a:lnTo>
                    <a:lnTo>
                      <a:pt x="135" y="312"/>
                    </a:lnTo>
                    <a:lnTo>
                      <a:pt x="130" y="303"/>
                    </a:lnTo>
                    <a:lnTo>
                      <a:pt x="125" y="303"/>
                    </a:lnTo>
                    <a:lnTo>
                      <a:pt x="120" y="303"/>
                    </a:lnTo>
                    <a:lnTo>
                      <a:pt x="125" y="303"/>
                    </a:lnTo>
                    <a:lnTo>
                      <a:pt x="125" y="298"/>
                    </a:lnTo>
                    <a:lnTo>
                      <a:pt x="130" y="298"/>
                    </a:lnTo>
                    <a:lnTo>
                      <a:pt x="130" y="293"/>
                    </a:lnTo>
                    <a:lnTo>
                      <a:pt x="135" y="293"/>
                    </a:lnTo>
                    <a:lnTo>
                      <a:pt x="135" y="288"/>
                    </a:lnTo>
                    <a:lnTo>
                      <a:pt x="135" y="283"/>
                    </a:lnTo>
                    <a:lnTo>
                      <a:pt x="135" y="279"/>
                    </a:lnTo>
                    <a:lnTo>
                      <a:pt x="140" y="279"/>
                    </a:lnTo>
                    <a:lnTo>
                      <a:pt x="140" y="274"/>
                    </a:lnTo>
                    <a:lnTo>
                      <a:pt x="135" y="274"/>
                    </a:lnTo>
                    <a:lnTo>
                      <a:pt x="135" y="269"/>
                    </a:lnTo>
                    <a:lnTo>
                      <a:pt x="135" y="264"/>
                    </a:lnTo>
                    <a:lnTo>
                      <a:pt x="135" y="255"/>
                    </a:lnTo>
                    <a:lnTo>
                      <a:pt x="140" y="250"/>
                    </a:lnTo>
                    <a:lnTo>
                      <a:pt x="140" y="245"/>
                    </a:lnTo>
                    <a:lnTo>
                      <a:pt x="135" y="240"/>
                    </a:lnTo>
                    <a:lnTo>
                      <a:pt x="135" y="235"/>
                    </a:lnTo>
                    <a:lnTo>
                      <a:pt x="135" y="231"/>
                    </a:lnTo>
                    <a:lnTo>
                      <a:pt x="135" y="226"/>
                    </a:lnTo>
                    <a:lnTo>
                      <a:pt x="135" y="221"/>
                    </a:lnTo>
                    <a:lnTo>
                      <a:pt x="135" y="216"/>
                    </a:lnTo>
                    <a:lnTo>
                      <a:pt x="140" y="216"/>
                    </a:lnTo>
                    <a:lnTo>
                      <a:pt x="140" y="211"/>
                    </a:lnTo>
                    <a:lnTo>
                      <a:pt x="135" y="207"/>
                    </a:lnTo>
                    <a:lnTo>
                      <a:pt x="125" y="192"/>
                    </a:lnTo>
                    <a:lnTo>
                      <a:pt x="111" y="173"/>
                    </a:lnTo>
                    <a:lnTo>
                      <a:pt x="111" y="154"/>
                    </a:lnTo>
                    <a:lnTo>
                      <a:pt x="106" y="149"/>
                    </a:lnTo>
                    <a:lnTo>
                      <a:pt x="106" y="144"/>
                    </a:lnTo>
                    <a:lnTo>
                      <a:pt x="101" y="139"/>
                    </a:lnTo>
                    <a:lnTo>
                      <a:pt x="96" y="139"/>
                    </a:lnTo>
                    <a:lnTo>
                      <a:pt x="92" y="130"/>
                    </a:lnTo>
                    <a:lnTo>
                      <a:pt x="87" y="130"/>
                    </a:lnTo>
                    <a:lnTo>
                      <a:pt x="68" y="120"/>
                    </a:lnTo>
                    <a:lnTo>
                      <a:pt x="68" y="115"/>
                    </a:lnTo>
                    <a:lnTo>
                      <a:pt x="63" y="115"/>
                    </a:lnTo>
                    <a:lnTo>
                      <a:pt x="58" y="111"/>
                    </a:lnTo>
                    <a:lnTo>
                      <a:pt x="53" y="111"/>
                    </a:lnTo>
                    <a:lnTo>
                      <a:pt x="53" y="106"/>
                    </a:lnTo>
                    <a:lnTo>
                      <a:pt x="48" y="101"/>
                    </a:lnTo>
                    <a:lnTo>
                      <a:pt x="48" y="96"/>
                    </a:lnTo>
                    <a:lnTo>
                      <a:pt x="48" y="91"/>
                    </a:lnTo>
                    <a:lnTo>
                      <a:pt x="44" y="91"/>
                    </a:lnTo>
                    <a:lnTo>
                      <a:pt x="44" y="87"/>
                    </a:lnTo>
                    <a:lnTo>
                      <a:pt x="44" y="82"/>
                    </a:lnTo>
                    <a:lnTo>
                      <a:pt x="39" y="72"/>
                    </a:lnTo>
                    <a:lnTo>
                      <a:pt x="39" y="67"/>
                    </a:lnTo>
                    <a:lnTo>
                      <a:pt x="34" y="67"/>
                    </a:lnTo>
                    <a:lnTo>
                      <a:pt x="34" y="63"/>
                    </a:lnTo>
                    <a:lnTo>
                      <a:pt x="34" y="58"/>
                    </a:lnTo>
                    <a:lnTo>
                      <a:pt x="29" y="58"/>
                    </a:lnTo>
                    <a:lnTo>
                      <a:pt x="24" y="58"/>
                    </a:lnTo>
                    <a:lnTo>
                      <a:pt x="20" y="53"/>
                    </a:lnTo>
                    <a:lnTo>
                      <a:pt x="24" y="43"/>
                    </a:lnTo>
                    <a:lnTo>
                      <a:pt x="20" y="43"/>
                    </a:lnTo>
                    <a:lnTo>
                      <a:pt x="20" y="39"/>
                    </a:lnTo>
                    <a:lnTo>
                      <a:pt x="20" y="34"/>
                    </a:lnTo>
                    <a:lnTo>
                      <a:pt x="20" y="29"/>
                    </a:lnTo>
                    <a:lnTo>
                      <a:pt x="24" y="24"/>
                    </a:lnTo>
                    <a:lnTo>
                      <a:pt x="34" y="24"/>
                    </a:lnTo>
                    <a:lnTo>
                      <a:pt x="39" y="29"/>
                    </a:lnTo>
                    <a:lnTo>
                      <a:pt x="44" y="29"/>
                    </a:lnTo>
                    <a:lnTo>
                      <a:pt x="53" y="24"/>
                    </a:lnTo>
                    <a:lnTo>
                      <a:pt x="63" y="24"/>
                    </a:lnTo>
                    <a:lnTo>
                      <a:pt x="68" y="24"/>
                    </a:lnTo>
                    <a:lnTo>
                      <a:pt x="72" y="24"/>
                    </a:lnTo>
                    <a:lnTo>
                      <a:pt x="77" y="24"/>
                    </a:lnTo>
                    <a:lnTo>
                      <a:pt x="82" y="24"/>
                    </a:lnTo>
                    <a:lnTo>
                      <a:pt x="87" y="19"/>
                    </a:lnTo>
                    <a:lnTo>
                      <a:pt x="87" y="15"/>
                    </a:lnTo>
                    <a:lnTo>
                      <a:pt x="92" y="10"/>
                    </a:lnTo>
                    <a:lnTo>
                      <a:pt x="96" y="10"/>
                    </a:lnTo>
                    <a:lnTo>
                      <a:pt x="101" y="10"/>
                    </a:lnTo>
                    <a:lnTo>
                      <a:pt x="106" y="5"/>
                    </a:lnTo>
                    <a:lnTo>
                      <a:pt x="111" y="5"/>
                    </a:lnTo>
                    <a:lnTo>
                      <a:pt x="116" y="0"/>
                    </a:lnTo>
                    <a:lnTo>
                      <a:pt x="120" y="0"/>
                    </a:lnTo>
                    <a:lnTo>
                      <a:pt x="130" y="5"/>
                    </a:lnTo>
                    <a:lnTo>
                      <a:pt x="154" y="0"/>
                    </a:lnTo>
                    <a:lnTo>
                      <a:pt x="164" y="5"/>
                    </a:lnTo>
                    <a:lnTo>
                      <a:pt x="168" y="0"/>
                    </a:lnTo>
                    <a:lnTo>
                      <a:pt x="192" y="0"/>
                    </a:lnTo>
                    <a:lnTo>
                      <a:pt x="202" y="0"/>
                    </a:lnTo>
                    <a:lnTo>
                      <a:pt x="207" y="0"/>
                    </a:lnTo>
                    <a:lnTo>
                      <a:pt x="231" y="0"/>
                    </a:lnTo>
                    <a:lnTo>
                      <a:pt x="255" y="0"/>
                    </a:lnTo>
                    <a:lnTo>
                      <a:pt x="260" y="0"/>
                    </a:lnTo>
                    <a:lnTo>
                      <a:pt x="264" y="0"/>
                    </a:lnTo>
                    <a:lnTo>
                      <a:pt x="274" y="0"/>
                    </a:lnTo>
                    <a:lnTo>
                      <a:pt x="279" y="0"/>
                    </a:lnTo>
                    <a:lnTo>
                      <a:pt x="288" y="0"/>
                    </a:lnTo>
                    <a:lnTo>
                      <a:pt x="312" y="0"/>
                    </a:lnTo>
                    <a:lnTo>
                      <a:pt x="332" y="0"/>
                    </a:lnTo>
                    <a:lnTo>
                      <a:pt x="351" y="0"/>
                    </a:lnTo>
                    <a:lnTo>
                      <a:pt x="365" y="0"/>
                    </a:lnTo>
                    <a:lnTo>
                      <a:pt x="380" y="0"/>
                    </a:lnTo>
                    <a:lnTo>
                      <a:pt x="394" y="0"/>
                    </a:lnTo>
                    <a:lnTo>
                      <a:pt x="408" y="0"/>
                    </a:lnTo>
                    <a:lnTo>
                      <a:pt x="413" y="0"/>
                    </a:lnTo>
                    <a:lnTo>
                      <a:pt x="418" y="0"/>
                    </a:lnTo>
                    <a:lnTo>
                      <a:pt x="432" y="0"/>
                    </a:lnTo>
                    <a:lnTo>
                      <a:pt x="452" y="0"/>
                    </a:lnTo>
                    <a:lnTo>
                      <a:pt x="461" y="0"/>
                    </a:lnTo>
                    <a:lnTo>
                      <a:pt x="471" y="0"/>
                    </a:lnTo>
                    <a:lnTo>
                      <a:pt x="476" y="0"/>
                    </a:lnTo>
                    <a:lnTo>
                      <a:pt x="495" y="0"/>
                    </a:lnTo>
                    <a:lnTo>
                      <a:pt x="500" y="0"/>
                    </a:lnTo>
                    <a:lnTo>
                      <a:pt x="514" y="0"/>
                    </a:lnTo>
                    <a:lnTo>
                      <a:pt x="519" y="0"/>
                    </a:lnTo>
                    <a:lnTo>
                      <a:pt x="524" y="0"/>
                    </a:lnTo>
                    <a:lnTo>
                      <a:pt x="548" y="0"/>
                    </a:lnTo>
                    <a:lnTo>
                      <a:pt x="552" y="0"/>
                    </a:lnTo>
                    <a:lnTo>
                      <a:pt x="557" y="0"/>
                    </a:lnTo>
                    <a:lnTo>
                      <a:pt x="596" y="0"/>
                    </a:lnTo>
                    <a:lnTo>
                      <a:pt x="605" y="0"/>
                    </a:lnTo>
                    <a:lnTo>
                      <a:pt x="615" y="0"/>
                    </a:lnTo>
                    <a:lnTo>
                      <a:pt x="620" y="0"/>
                    </a:lnTo>
                    <a:lnTo>
                      <a:pt x="634" y="0"/>
                    </a:lnTo>
                    <a:lnTo>
                      <a:pt x="658" y="0"/>
                    </a:lnTo>
                    <a:lnTo>
                      <a:pt x="668" y="0"/>
                    </a:lnTo>
                    <a:lnTo>
                      <a:pt x="672" y="0"/>
                    </a:lnTo>
                    <a:lnTo>
                      <a:pt x="696" y="0"/>
                    </a:lnTo>
                    <a:lnTo>
                      <a:pt x="701" y="0"/>
                    </a:lnTo>
                    <a:lnTo>
                      <a:pt x="716" y="0"/>
                    </a:lnTo>
                    <a:lnTo>
                      <a:pt x="744" y="0"/>
                    </a:lnTo>
                    <a:lnTo>
                      <a:pt x="749" y="0"/>
                    </a:lnTo>
                    <a:lnTo>
                      <a:pt x="754" y="0"/>
                    </a:lnTo>
                    <a:close/>
                  </a:path>
                </a:pathLst>
              </a:custGeom>
              <a:solidFill>
                <a:schemeClr val="accent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sp>
            <p:nvSpPr>
              <p:cNvPr id="62" name="Freeform 27"/>
              <p:cNvSpPr>
                <a:spLocks/>
              </p:cNvSpPr>
              <p:nvPr/>
            </p:nvSpPr>
            <p:spPr bwMode="gray">
              <a:xfrm>
                <a:off x="2882901" y="858838"/>
                <a:ext cx="1174750" cy="998537"/>
              </a:xfrm>
              <a:custGeom>
                <a:avLst/>
                <a:gdLst>
                  <a:gd name="T0" fmla="*/ 370 w 740"/>
                  <a:gd name="T1" fmla="*/ 0 h 629"/>
                  <a:gd name="T2" fmla="*/ 423 w 740"/>
                  <a:gd name="T3" fmla="*/ 0 h 629"/>
                  <a:gd name="T4" fmla="*/ 476 w 740"/>
                  <a:gd name="T5" fmla="*/ 0 h 629"/>
                  <a:gd name="T6" fmla="*/ 528 w 740"/>
                  <a:gd name="T7" fmla="*/ 0 h 629"/>
                  <a:gd name="T8" fmla="*/ 548 w 740"/>
                  <a:gd name="T9" fmla="*/ 34 h 629"/>
                  <a:gd name="T10" fmla="*/ 548 w 740"/>
                  <a:gd name="T11" fmla="*/ 86 h 629"/>
                  <a:gd name="T12" fmla="*/ 519 w 740"/>
                  <a:gd name="T13" fmla="*/ 115 h 629"/>
                  <a:gd name="T14" fmla="*/ 500 w 740"/>
                  <a:gd name="T15" fmla="*/ 154 h 629"/>
                  <a:gd name="T16" fmla="*/ 543 w 740"/>
                  <a:gd name="T17" fmla="*/ 134 h 629"/>
                  <a:gd name="T18" fmla="*/ 557 w 740"/>
                  <a:gd name="T19" fmla="*/ 158 h 629"/>
                  <a:gd name="T20" fmla="*/ 581 w 740"/>
                  <a:gd name="T21" fmla="*/ 163 h 629"/>
                  <a:gd name="T22" fmla="*/ 557 w 740"/>
                  <a:gd name="T23" fmla="*/ 178 h 629"/>
                  <a:gd name="T24" fmla="*/ 528 w 740"/>
                  <a:gd name="T25" fmla="*/ 178 h 629"/>
                  <a:gd name="T26" fmla="*/ 509 w 740"/>
                  <a:gd name="T27" fmla="*/ 182 h 629"/>
                  <a:gd name="T28" fmla="*/ 504 w 740"/>
                  <a:gd name="T29" fmla="*/ 192 h 629"/>
                  <a:gd name="T30" fmla="*/ 476 w 740"/>
                  <a:gd name="T31" fmla="*/ 192 h 629"/>
                  <a:gd name="T32" fmla="*/ 485 w 740"/>
                  <a:gd name="T33" fmla="*/ 206 h 629"/>
                  <a:gd name="T34" fmla="*/ 543 w 740"/>
                  <a:gd name="T35" fmla="*/ 221 h 629"/>
                  <a:gd name="T36" fmla="*/ 605 w 740"/>
                  <a:gd name="T37" fmla="*/ 230 h 629"/>
                  <a:gd name="T38" fmla="*/ 648 w 740"/>
                  <a:gd name="T39" fmla="*/ 197 h 629"/>
                  <a:gd name="T40" fmla="*/ 687 w 740"/>
                  <a:gd name="T41" fmla="*/ 221 h 629"/>
                  <a:gd name="T42" fmla="*/ 735 w 740"/>
                  <a:gd name="T43" fmla="*/ 240 h 629"/>
                  <a:gd name="T44" fmla="*/ 740 w 740"/>
                  <a:gd name="T45" fmla="*/ 288 h 629"/>
                  <a:gd name="T46" fmla="*/ 706 w 740"/>
                  <a:gd name="T47" fmla="*/ 317 h 629"/>
                  <a:gd name="T48" fmla="*/ 672 w 740"/>
                  <a:gd name="T49" fmla="*/ 346 h 629"/>
                  <a:gd name="T50" fmla="*/ 620 w 740"/>
                  <a:gd name="T51" fmla="*/ 346 h 629"/>
                  <a:gd name="T52" fmla="*/ 605 w 740"/>
                  <a:gd name="T53" fmla="*/ 374 h 629"/>
                  <a:gd name="T54" fmla="*/ 624 w 740"/>
                  <a:gd name="T55" fmla="*/ 403 h 629"/>
                  <a:gd name="T56" fmla="*/ 596 w 740"/>
                  <a:gd name="T57" fmla="*/ 437 h 629"/>
                  <a:gd name="T58" fmla="*/ 567 w 740"/>
                  <a:gd name="T59" fmla="*/ 456 h 629"/>
                  <a:gd name="T60" fmla="*/ 557 w 740"/>
                  <a:gd name="T61" fmla="*/ 504 h 629"/>
                  <a:gd name="T62" fmla="*/ 548 w 740"/>
                  <a:gd name="T63" fmla="*/ 547 h 629"/>
                  <a:gd name="T64" fmla="*/ 528 w 740"/>
                  <a:gd name="T65" fmla="*/ 586 h 629"/>
                  <a:gd name="T66" fmla="*/ 495 w 740"/>
                  <a:gd name="T67" fmla="*/ 614 h 629"/>
                  <a:gd name="T68" fmla="*/ 447 w 740"/>
                  <a:gd name="T69" fmla="*/ 629 h 629"/>
                  <a:gd name="T70" fmla="*/ 413 w 740"/>
                  <a:gd name="T71" fmla="*/ 605 h 629"/>
                  <a:gd name="T72" fmla="*/ 375 w 740"/>
                  <a:gd name="T73" fmla="*/ 586 h 629"/>
                  <a:gd name="T74" fmla="*/ 332 w 740"/>
                  <a:gd name="T75" fmla="*/ 571 h 629"/>
                  <a:gd name="T76" fmla="*/ 312 w 740"/>
                  <a:gd name="T77" fmla="*/ 600 h 629"/>
                  <a:gd name="T78" fmla="*/ 298 w 740"/>
                  <a:gd name="T79" fmla="*/ 624 h 629"/>
                  <a:gd name="T80" fmla="*/ 255 w 740"/>
                  <a:gd name="T81" fmla="*/ 610 h 629"/>
                  <a:gd name="T82" fmla="*/ 240 w 740"/>
                  <a:gd name="T83" fmla="*/ 571 h 629"/>
                  <a:gd name="T84" fmla="*/ 207 w 740"/>
                  <a:gd name="T85" fmla="*/ 581 h 629"/>
                  <a:gd name="T86" fmla="*/ 173 w 740"/>
                  <a:gd name="T87" fmla="*/ 571 h 629"/>
                  <a:gd name="T88" fmla="*/ 144 w 740"/>
                  <a:gd name="T89" fmla="*/ 542 h 629"/>
                  <a:gd name="T90" fmla="*/ 101 w 740"/>
                  <a:gd name="T91" fmla="*/ 557 h 629"/>
                  <a:gd name="T92" fmla="*/ 82 w 740"/>
                  <a:gd name="T93" fmla="*/ 514 h 629"/>
                  <a:gd name="T94" fmla="*/ 77 w 740"/>
                  <a:gd name="T95" fmla="*/ 475 h 629"/>
                  <a:gd name="T96" fmla="*/ 39 w 740"/>
                  <a:gd name="T97" fmla="*/ 446 h 629"/>
                  <a:gd name="T98" fmla="*/ 20 w 740"/>
                  <a:gd name="T99" fmla="*/ 408 h 629"/>
                  <a:gd name="T100" fmla="*/ 39 w 740"/>
                  <a:gd name="T101" fmla="*/ 370 h 629"/>
                  <a:gd name="T102" fmla="*/ 24 w 740"/>
                  <a:gd name="T103" fmla="*/ 326 h 629"/>
                  <a:gd name="T104" fmla="*/ 10 w 740"/>
                  <a:gd name="T105" fmla="*/ 278 h 629"/>
                  <a:gd name="T106" fmla="*/ 5 w 740"/>
                  <a:gd name="T107" fmla="*/ 235 h 629"/>
                  <a:gd name="T108" fmla="*/ 39 w 740"/>
                  <a:gd name="T109" fmla="*/ 206 h 629"/>
                  <a:gd name="T110" fmla="*/ 87 w 740"/>
                  <a:gd name="T111" fmla="*/ 173 h 629"/>
                  <a:gd name="T112" fmla="*/ 135 w 740"/>
                  <a:gd name="T113" fmla="*/ 134 h 629"/>
                  <a:gd name="T114" fmla="*/ 183 w 740"/>
                  <a:gd name="T115" fmla="*/ 101 h 629"/>
                  <a:gd name="T116" fmla="*/ 231 w 740"/>
                  <a:gd name="T117" fmla="*/ 67 h 629"/>
                  <a:gd name="T118" fmla="*/ 279 w 740"/>
                  <a:gd name="T119" fmla="*/ 29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0" h="629">
                    <a:moveTo>
                      <a:pt x="322" y="0"/>
                    </a:moveTo>
                    <a:lnTo>
                      <a:pt x="327" y="0"/>
                    </a:lnTo>
                    <a:lnTo>
                      <a:pt x="332" y="0"/>
                    </a:lnTo>
                    <a:lnTo>
                      <a:pt x="336" y="0"/>
                    </a:lnTo>
                    <a:lnTo>
                      <a:pt x="341" y="0"/>
                    </a:lnTo>
                    <a:lnTo>
                      <a:pt x="346" y="0"/>
                    </a:lnTo>
                    <a:lnTo>
                      <a:pt x="351" y="0"/>
                    </a:lnTo>
                    <a:lnTo>
                      <a:pt x="356" y="0"/>
                    </a:lnTo>
                    <a:lnTo>
                      <a:pt x="360" y="0"/>
                    </a:lnTo>
                    <a:lnTo>
                      <a:pt x="365" y="0"/>
                    </a:lnTo>
                    <a:lnTo>
                      <a:pt x="370" y="0"/>
                    </a:lnTo>
                    <a:lnTo>
                      <a:pt x="375" y="0"/>
                    </a:lnTo>
                    <a:lnTo>
                      <a:pt x="380" y="0"/>
                    </a:lnTo>
                    <a:lnTo>
                      <a:pt x="384" y="0"/>
                    </a:lnTo>
                    <a:lnTo>
                      <a:pt x="389" y="0"/>
                    </a:lnTo>
                    <a:lnTo>
                      <a:pt x="394" y="0"/>
                    </a:lnTo>
                    <a:lnTo>
                      <a:pt x="399" y="0"/>
                    </a:lnTo>
                    <a:lnTo>
                      <a:pt x="404" y="0"/>
                    </a:lnTo>
                    <a:lnTo>
                      <a:pt x="408" y="0"/>
                    </a:lnTo>
                    <a:lnTo>
                      <a:pt x="413" y="0"/>
                    </a:lnTo>
                    <a:lnTo>
                      <a:pt x="418" y="0"/>
                    </a:lnTo>
                    <a:lnTo>
                      <a:pt x="423" y="0"/>
                    </a:lnTo>
                    <a:lnTo>
                      <a:pt x="428" y="0"/>
                    </a:lnTo>
                    <a:lnTo>
                      <a:pt x="432" y="0"/>
                    </a:lnTo>
                    <a:lnTo>
                      <a:pt x="437" y="0"/>
                    </a:lnTo>
                    <a:lnTo>
                      <a:pt x="442" y="0"/>
                    </a:lnTo>
                    <a:lnTo>
                      <a:pt x="447" y="0"/>
                    </a:lnTo>
                    <a:lnTo>
                      <a:pt x="452" y="0"/>
                    </a:lnTo>
                    <a:lnTo>
                      <a:pt x="456" y="0"/>
                    </a:lnTo>
                    <a:lnTo>
                      <a:pt x="461" y="0"/>
                    </a:lnTo>
                    <a:lnTo>
                      <a:pt x="466" y="0"/>
                    </a:lnTo>
                    <a:lnTo>
                      <a:pt x="471" y="0"/>
                    </a:lnTo>
                    <a:lnTo>
                      <a:pt x="476" y="0"/>
                    </a:lnTo>
                    <a:lnTo>
                      <a:pt x="480" y="0"/>
                    </a:lnTo>
                    <a:lnTo>
                      <a:pt x="485" y="0"/>
                    </a:lnTo>
                    <a:lnTo>
                      <a:pt x="490" y="0"/>
                    </a:lnTo>
                    <a:lnTo>
                      <a:pt x="495" y="0"/>
                    </a:lnTo>
                    <a:lnTo>
                      <a:pt x="500" y="0"/>
                    </a:lnTo>
                    <a:lnTo>
                      <a:pt x="504" y="0"/>
                    </a:lnTo>
                    <a:lnTo>
                      <a:pt x="509" y="0"/>
                    </a:lnTo>
                    <a:lnTo>
                      <a:pt x="514" y="0"/>
                    </a:lnTo>
                    <a:lnTo>
                      <a:pt x="519" y="0"/>
                    </a:lnTo>
                    <a:lnTo>
                      <a:pt x="524" y="0"/>
                    </a:lnTo>
                    <a:lnTo>
                      <a:pt x="528" y="0"/>
                    </a:lnTo>
                    <a:lnTo>
                      <a:pt x="533" y="0"/>
                    </a:lnTo>
                    <a:lnTo>
                      <a:pt x="538" y="0"/>
                    </a:lnTo>
                    <a:lnTo>
                      <a:pt x="543" y="0"/>
                    </a:lnTo>
                    <a:lnTo>
                      <a:pt x="548" y="0"/>
                    </a:lnTo>
                    <a:lnTo>
                      <a:pt x="548" y="5"/>
                    </a:lnTo>
                    <a:lnTo>
                      <a:pt x="548" y="10"/>
                    </a:lnTo>
                    <a:lnTo>
                      <a:pt x="548" y="14"/>
                    </a:lnTo>
                    <a:lnTo>
                      <a:pt x="548" y="19"/>
                    </a:lnTo>
                    <a:lnTo>
                      <a:pt x="548" y="24"/>
                    </a:lnTo>
                    <a:lnTo>
                      <a:pt x="548" y="29"/>
                    </a:lnTo>
                    <a:lnTo>
                      <a:pt x="548" y="34"/>
                    </a:lnTo>
                    <a:lnTo>
                      <a:pt x="548" y="38"/>
                    </a:lnTo>
                    <a:lnTo>
                      <a:pt x="548" y="43"/>
                    </a:lnTo>
                    <a:lnTo>
                      <a:pt x="548" y="48"/>
                    </a:lnTo>
                    <a:lnTo>
                      <a:pt x="548" y="53"/>
                    </a:lnTo>
                    <a:lnTo>
                      <a:pt x="548" y="58"/>
                    </a:lnTo>
                    <a:lnTo>
                      <a:pt x="548" y="62"/>
                    </a:lnTo>
                    <a:lnTo>
                      <a:pt x="548" y="67"/>
                    </a:lnTo>
                    <a:lnTo>
                      <a:pt x="548" y="72"/>
                    </a:lnTo>
                    <a:lnTo>
                      <a:pt x="548" y="77"/>
                    </a:lnTo>
                    <a:lnTo>
                      <a:pt x="548" y="82"/>
                    </a:lnTo>
                    <a:lnTo>
                      <a:pt x="548" y="86"/>
                    </a:lnTo>
                    <a:lnTo>
                      <a:pt x="548" y="91"/>
                    </a:lnTo>
                    <a:lnTo>
                      <a:pt x="548" y="106"/>
                    </a:lnTo>
                    <a:lnTo>
                      <a:pt x="543" y="106"/>
                    </a:lnTo>
                    <a:lnTo>
                      <a:pt x="543" y="110"/>
                    </a:lnTo>
                    <a:lnTo>
                      <a:pt x="538" y="110"/>
                    </a:lnTo>
                    <a:lnTo>
                      <a:pt x="533" y="110"/>
                    </a:lnTo>
                    <a:lnTo>
                      <a:pt x="528" y="110"/>
                    </a:lnTo>
                    <a:lnTo>
                      <a:pt x="528" y="106"/>
                    </a:lnTo>
                    <a:lnTo>
                      <a:pt x="524" y="106"/>
                    </a:lnTo>
                    <a:lnTo>
                      <a:pt x="524" y="110"/>
                    </a:lnTo>
                    <a:lnTo>
                      <a:pt x="519" y="115"/>
                    </a:lnTo>
                    <a:lnTo>
                      <a:pt x="514" y="115"/>
                    </a:lnTo>
                    <a:lnTo>
                      <a:pt x="509" y="120"/>
                    </a:lnTo>
                    <a:lnTo>
                      <a:pt x="504" y="125"/>
                    </a:lnTo>
                    <a:lnTo>
                      <a:pt x="509" y="130"/>
                    </a:lnTo>
                    <a:lnTo>
                      <a:pt x="504" y="134"/>
                    </a:lnTo>
                    <a:lnTo>
                      <a:pt x="504" y="139"/>
                    </a:lnTo>
                    <a:lnTo>
                      <a:pt x="504" y="144"/>
                    </a:lnTo>
                    <a:lnTo>
                      <a:pt x="500" y="144"/>
                    </a:lnTo>
                    <a:lnTo>
                      <a:pt x="500" y="149"/>
                    </a:lnTo>
                    <a:lnTo>
                      <a:pt x="495" y="154"/>
                    </a:lnTo>
                    <a:lnTo>
                      <a:pt x="500" y="154"/>
                    </a:lnTo>
                    <a:lnTo>
                      <a:pt x="504" y="158"/>
                    </a:lnTo>
                    <a:lnTo>
                      <a:pt x="509" y="154"/>
                    </a:lnTo>
                    <a:lnTo>
                      <a:pt x="514" y="154"/>
                    </a:lnTo>
                    <a:lnTo>
                      <a:pt x="514" y="149"/>
                    </a:lnTo>
                    <a:lnTo>
                      <a:pt x="519" y="149"/>
                    </a:lnTo>
                    <a:lnTo>
                      <a:pt x="524" y="149"/>
                    </a:lnTo>
                    <a:lnTo>
                      <a:pt x="524" y="144"/>
                    </a:lnTo>
                    <a:lnTo>
                      <a:pt x="528" y="144"/>
                    </a:lnTo>
                    <a:lnTo>
                      <a:pt x="533" y="139"/>
                    </a:lnTo>
                    <a:lnTo>
                      <a:pt x="543" y="139"/>
                    </a:lnTo>
                    <a:lnTo>
                      <a:pt x="543" y="134"/>
                    </a:lnTo>
                    <a:lnTo>
                      <a:pt x="548" y="134"/>
                    </a:lnTo>
                    <a:lnTo>
                      <a:pt x="552" y="139"/>
                    </a:lnTo>
                    <a:lnTo>
                      <a:pt x="552" y="144"/>
                    </a:lnTo>
                    <a:lnTo>
                      <a:pt x="557" y="144"/>
                    </a:lnTo>
                    <a:lnTo>
                      <a:pt x="562" y="144"/>
                    </a:lnTo>
                    <a:lnTo>
                      <a:pt x="562" y="149"/>
                    </a:lnTo>
                    <a:lnTo>
                      <a:pt x="562" y="154"/>
                    </a:lnTo>
                    <a:lnTo>
                      <a:pt x="557" y="154"/>
                    </a:lnTo>
                    <a:lnTo>
                      <a:pt x="552" y="154"/>
                    </a:lnTo>
                    <a:lnTo>
                      <a:pt x="552" y="158"/>
                    </a:lnTo>
                    <a:lnTo>
                      <a:pt x="557" y="158"/>
                    </a:lnTo>
                    <a:lnTo>
                      <a:pt x="562" y="158"/>
                    </a:lnTo>
                    <a:lnTo>
                      <a:pt x="567" y="158"/>
                    </a:lnTo>
                    <a:lnTo>
                      <a:pt x="567" y="163"/>
                    </a:lnTo>
                    <a:lnTo>
                      <a:pt x="567" y="158"/>
                    </a:lnTo>
                    <a:lnTo>
                      <a:pt x="572" y="158"/>
                    </a:lnTo>
                    <a:lnTo>
                      <a:pt x="576" y="163"/>
                    </a:lnTo>
                    <a:lnTo>
                      <a:pt x="576" y="158"/>
                    </a:lnTo>
                    <a:lnTo>
                      <a:pt x="576" y="163"/>
                    </a:lnTo>
                    <a:lnTo>
                      <a:pt x="576" y="168"/>
                    </a:lnTo>
                    <a:lnTo>
                      <a:pt x="581" y="168"/>
                    </a:lnTo>
                    <a:lnTo>
                      <a:pt x="581" y="163"/>
                    </a:lnTo>
                    <a:lnTo>
                      <a:pt x="586" y="168"/>
                    </a:lnTo>
                    <a:lnTo>
                      <a:pt x="586" y="173"/>
                    </a:lnTo>
                    <a:lnTo>
                      <a:pt x="586" y="178"/>
                    </a:lnTo>
                    <a:lnTo>
                      <a:pt x="581" y="178"/>
                    </a:lnTo>
                    <a:lnTo>
                      <a:pt x="581" y="182"/>
                    </a:lnTo>
                    <a:lnTo>
                      <a:pt x="576" y="182"/>
                    </a:lnTo>
                    <a:lnTo>
                      <a:pt x="572" y="178"/>
                    </a:lnTo>
                    <a:lnTo>
                      <a:pt x="567" y="178"/>
                    </a:lnTo>
                    <a:lnTo>
                      <a:pt x="562" y="178"/>
                    </a:lnTo>
                    <a:lnTo>
                      <a:pt x="562" y="182"/>
                    </a:lnTo>
                    <a:lnTo>
                      <a:pt x="557" y="178"/>
                    </a:lnTo>
                    <a:lnTo>
                      <a:pt x="552" y="178"/>
                    </a:lnTo>
                    <a:lnTo>
                      <a:pt x="552" y="173"/>
                    </a:lnTo>
                    <a:lnTo>
                      <a:pt x="548" y="173"/>
                    </a:lnTo>
                    <a:lnTo>
                      <a:pt x="548" y="168"/>
                    </a:lnTo>
                    <a:lnTo>
                      <a:pt x="543" y="168"/>
                    </a:lnTo>
                    <a:lnTo>
                      <a:pt x="538" y="163"/>
                    </a:lnTo>
                    <a:lnTo>
                      <a:pt x="533" y="163"/>
                    </a:lnTo>
                    <a:lnTo>
                      <a:pt x="528" y="163"/>
                    </a:lnTo>
                    <a:lnTo>
                      <a:pt x="528" y="168"/>
                    </a:lnTo>
                    <a:lnTo>
                      <a:pt x="524" y="168"/>
                    </a:lnTo>
                    <a:lnTo>
                      <a:pt x="528" y="178"/>
                    </a:lnTo>
                    <a:lnTo>
                      <a:pt x="528" y="182"/>
                    </a:lnTo>
                    <a:lnTo>
                      <a:pt x="533" y="187"/>
                    </a:lnTo>
                    <a:lnTo>
                      <a:pt x="528" y="187"/>
                    </a:lnTo>
                    <a:lnTo>
                      <a:pt x="524" y="187"/>
                    </a:lnTo>
                    <a:lnTo>
                      <a:pt x="519" y="182"/>
                    </a:lnTo>
                    <a:lnTo>
                      <a:pt x="519" y="178"/>
                    </a:lnTo>
                    <a:lnTo>
                      <a:pt x="514" y="178"/>
                    </a:lnTo>
                    <a:lnTo>
                      <a:pt x="509" y="178"/>
                    </a:lnTo>
                    <a:lnTo>
                      <a:pt x="514" y="178"/>
                    </a:lnTo>
                    <a:lnTo>
                      <a:pt x="509" y="178"/>
                    </a:lnTo>
                    <a:lnTo>
                      <a:pt x="509" y="182"/>
                    </a:lnTo>
                    <a:lnTo>
                      <a:pt x="509" y="187"/>
                    </a:lnTo>
                    <a:lnTo>
                      <a:pt x="504" y="187"/>
                    </a:lnTo>
                    <a:lnTo>
                      <a:pt x="504" y="182"/>
                    </a:lnTo>
                    <a:lnTo>
                      <a:pt x="500" y="178"/>
                    </a:lnTo>
                    <a:lnTo>
                      <a:pt x="500" y="173"/>
                    </a:lnTo>
                    <a:lnTo>
                      <a:pt x="495" y="173"/>
                    </a:lnTo>
                    <a:lnTo>
                      <a:pt x="490" y="173"/>
                    </a:lnTo>
                    <a:lnTo>
                      <a:pt x="495" y="178"/>
                    </a:lnTo>
                    <a:lnTo>
                      <a:pt x="500" y="178"/>
                    </a:lnTo>
                    <a:lnTo>
                      <a:pt x="500" y="187"/>
                    </a:lnTo>
                    <a:lnTo>
                      <a:pt x="504" y="192"/>
                    </a:lnTo>
                    <a:lnTo>
                      <a:pt x="500" y="192"/>
                    </a:lnTo>
                    <a:lnTo>
                      <a:pt x="495" y="187"/>
                    </a:lnTo>
                    <a:lnTo>
                      <a:pt x="490" y="187"/>
                    </a:lnTo>
                    <a:lnTo>
                      <a:pt x="485" y="187"/>
                    </a:lnTo>
                    <a:lnTo>
                      <a:pt x="485" y="192"/>
                    </a:lnTo>
                    <a:lnTo>
                      <a:pt x="480" y="187"/>
                    </a:lnTo>
                    <a:lnTo>
                      <a:pt x="480" y="192"/>
                    </a:lnTo>
                    <a:lnTo>
                      <a:pt x="476" y="182"/>
                    </a:lnTo>
                    <a:lnTo>
                      <a:pt x="471" y="182"/>
                    </a:lnTo>
                    <a:lnTo>
                      <a:pt x="471" y="187"/>
                    </a:lnTo>
                    <a:lnTo>
                      <a:pt x="476" y="192"/>
                    </a:lnTo>
                    <a:lnTo>
                      <a:pt x="476" y="197"/>
                    </a:lnTo>
                    <a:lnTo>
                      <a:pt x="471" y="202"/>
                    </a:lnTo>
                    <a:lnTo>
                      <a:pt x="471" y="206"/>
                    </a:lnTo>
                    <a:lnTo>
                      <a:pt x="471" y="211"/>
                    </a:lnTo>
                    <a:lnTo>
                      <a:pt x="471" y="216"/>
                    </a:lnTo>
                    <a:lnTo>
                      <a:pt x="471" y="221"/>
                    </a:lnTo>
                    <a:lnTo>
                      <a:pt x="476" y="221"/>
                    </a:lnTo>
                    <a:lnTo>
                      <a:pt x="476" y="216"/>
                    </a:lnTo>
                    <a:lnTo>
                      <a:pt x="476" y="211"/>
                    </a:lnTo>
                    <a:lnTo>
                      <a:pt x="480" y="206"/>
                    </a:lnTo>
                    <a:lnTo>
                      <a:pt x="485" y="206"/>
                    </a:lnTo>
                    <a:lnTo>
                      <a:pt x="490" y="206"/>
                    </a:lnTo>
                    <a:lnTo>
                      <a:pt x="495" y="206"/>
                    </a:lnTo>
                    <a:lnTo>
                      <a:pt x="504" y="211"/>
                    </a:lnTo>
                    <a:lnTo>
                      <a:pt x="514" y="221"/>
                    </a:lnTo>
                    <a:lnTo>
                      <a:pt x="519" y="226"/>
                    </a:lnTo>
                    <a:lnTo>
                      <a:pt x="519" y="230"/>
                    </a:lnTo>
                    <a:lnTo>
                      <a:pt x="524" y="226"/>
                    </a:lnTo>
                    <a:lnTo>
                      <a:pt x="528" y="226"/>
                    </a:lnTo>
                    <a:lnTo>
                      <a:pt x="533" y="226"/>
                    </a:lnTo>
                    <a:lnTo>
                      <a:pt x="538" y="221"/>
                    </a:lnTo>
                    <a:lnTo>
                      <a:pt x="543" y="221"/>
                    </a:lnTo>
                    <a:lnTo>
                      <a:pt x="548" y="221"/>
                    </a:lnTo>
                    <a:lnTo>
                      <a:pt x="552" y="221"/>
                    </a:lnTo>
                    <a:lnTo>
                      <a:pt x="557" y="221"/>
                    </a:lnTo>
                    <a:lnTo>
                      <a:pt x="562" y="226"/>
                    </a:lnTo>
                    <a:lnTo>
                      <a:pt x="576" y="226"/>
                    </a:lnTo>
                    <a:lnTo>
                      <a:pt x="581" y="226"/>
                    </a:lnTo>
                    <a:lnTo>
                      <a:pt x="586" y="226"/>
                    </a:lnTo>
                    <a:lnTo>
                      <a:pt x="596" y="235"/>
                    </a:lnTo>
                    <a:lnTo>
                      <a:pt x="600" y="235"/>
                    </a:lnTo>
                    <a:lnTo>
                      <a:pt x="600" y="230"/>
                    </a:lnTo>
                    <a:lnTo>
                      <a:pt x="605" y="230"/>
                    </a:lnTo>
                    <a:lnTo>
                      <a:pt x="605" y="226"/>
                    </a:lnTo>
                    <a:lnTo>
                      <a:pt x="610" y="221"/>
                    </a:lnTo>
                    <a:lnTo>
                      <a:pt x="615" y="221"/>
                    </a:lnTo>
                    <a:lnTo>
                      <a:pt x="620" y="216"/>
                    </a:lnTo>
                    <a:lnTo>
                      <a:pt x="624" y="216"/>
                    </a:lnTo>
                    <a:lnTo>
                      <a:pt x="624" y="211"/>
                    </a:lnTo>
                    <a:lnTo>
                      <a:pt x="624" y="206"/>
                    </a:lnTo>
                    <a:lnTo>
                      <a:pt x="629" y="206"/>
                    </a:lnTo>
                    <a:lnTo>
                      <a:pt x="634" y="202"/>
                    </a:lnTo>
                    <a:lnTo>
                      <a:pt x="644" y="197"/>
                    </a:lnTo>
                    <a:lnTo>
                      <a:pt x="648" y="197"/>
                    </a:lnTo>
                    <a:lnTo>
                      <a:pt x="653" y="197"/>
                    </a:lnTo>
                    <a:lnTo>
                      <a:pt x="658" y="202"/>
                    </a:lnTo>
                    <a:lnTo>
                      <a:pt x="658" y="206"/>
                    </a:lnTo>
                    <a:lnTo>
                      <a:pt x="663" y="206"/>
                    </a:lnTo>
                    <a:lnTo>
                      <a:pt x="663" y="211"/>
                    </a:lnTo>
                    <a:lnTo>
                      <a:pt x="668" y="211"/>
                    </a:lnTo>
                    <a:lnTo>
                      <a:pt x="668" y="221"/>
                    </a:lnTo>
                    <a:lnTo>
                      <a:pt x="672" y="221"/>
                    </a:lnTo>
                    <a:lnTo>
                      <a:pt x="677" y="221"/>
                    </a:lnTo>
                    <a:lnTo>
                      <a:pt x="682" y="221"/>
                    </a:lnTo>
                    <a:lnTo>
                      <a:pt x="687" y="221"/>
                    </a:lnTo>
                    <a:lnTo>
                      <a:pt x="692" y="221"/>
                    </a:lnTo>
                    <a:lnTo>
                      <a:pt x="696" y="221"/>
                    </a:lnTo>
                    <a:lnTo>
                      <a:pt x="696" y="226"/>
                    </a:lnTo>
                    <a:lnTo>
                      <a:pt x="701" y="226"/>
                    </a:lnTo>
                    <a:lnTo>
                      <a:pt x="706" y="226"/>
                    </a:lnTo>
                    <a:lnTo>
                      <a:pt x="711" y="230"/>
                    </a:lnTo>
                    <a:lnTo>
                      <a:pt x="716" y="230"/>
                    </a:lnTo>
                    <a:lnTo>
                      <a:pt x="720" y="235"/>
                    </a:lnTo>
                    <a:lnTo>
                      <a:pt x="725" y="235"/>
                    </a:lnTo>
                    <a:lnTo>
                      <a:pt x="730" y="240"/>
                    </a:lnTo>
                    <a:lnTo>
                      <a:pt x="735" y="240"/>
                    </a:lnTo>
                    <a:lnTo>
                      <a:pt x="735" y="245"/>
                    </a:lnTo>
                    <a:lnTo>
                      <a:pt x="735" y="250"/>
                    </a:lnTo>
                    <a:lnTo>
                      <a:pt x="740" y="250"/>
                    </a:lnTo>
                    <a:lnTo>
                      <a:pt x="740" y="254"/>
                    </a:lnTo>
                    <a:lnTo>
                      <a:pt x="740" y="259"/>
                    </a:lnTo>
                    <a:lnTo>
                      <a:pt x="740" y="264"/>
                    </a:lnTo>
                    <a:lnTo>
                      <a:pt x="740" y="269"/>
                    </a:lnTo>
                    <a:lnTo>
                      <a:pt x="740" y="274"/>
                    </a:lnTo>
                    <a:lnTo>
                      <a:pt x="740" y="278"/>
                    </a:lnTo>
                    <a:lnTo>
                      <a:pt x="740" y="283"/>
                    </a:lnTo>
                    <a:lnTo>
                      <a:pt x="740" y="288"/>
                    </a:lnTo>
                    <a:lnTo>
                      <a:pt x="735" y="288"/>
                    </a:lnTo>
                    <a:lnTo>
                      <a:pt x="735" y="293"/>
                    </a:lnTo>
                    <a:lnTo>
                      <a:pt x="735" y="298"/>
                    </a:lnTo>
                    <a:lnTo>
                      <a:pt x="730" y="298"/>
                    </a:lnTo>
                    <a:lnTo>
                      <a:pt x="730" y="302"/>
                    </a:lnTo>
                    <a:lnTo>
                      <a:pt x="725" y="302"/>
                    </a:lnTo>
                    <a:lnTo>
                      <a:pt x="725" y="307"/>
                    </a:lnTo>
                    <a:lnTo>
                      <a:pt x="720" y="307"/>
                    </a:lnTo>
                    <a:lnTo>
                      <a:pt x="716" y="312"/>
                    </a:lnTo>
                    <a:lnTo>
                      <a:pt x="711" y="317"/>
                    </a:lnTo>
                    <a:lnTo>
                      <a:pt x="706" y="317"/>
                    </a:lnTo>
                    <a:lnTo>
                      <a:pt x="706" y="322"/>
                    </a:lnTo>
                    <a:lnTo>
                      <a:pt x="701" y="322"/>
                    </a:lnTo>
                    <a:lnTo>
                      <a:pt x="701" y="326"/>
                    </a:lnTo>
                    <a:lnTo>
                      <a:pt x="696" y="326"/>
                    </a:lnTo>
                    <a:lnTo>
                      <a:pt x="692" y="331"/>
                    </a:lnTo>
                    <a:lnTo>
                      <a:pt x="687" y="331"/>
                    </a:lnTo>
                    <a:lnTo>
                      <a:pt x="687" y="336"/>
                    </a:lnTo>
                    <a:lnTo>
                      <a:pt x="682" y="336"/>
                    </a:lnTo>
                    <a:lnTo>
                      <a:pt x="677" y="341"/>
                    </a:lnTo>
                    <a:lnTo>
                      <a:pt x="672" y="341"/>
                    </a:lnTo>
                    <a:lnTo>
                      <a:pt x="672" y="346"/>
                    </a:lnTo>
                    <a:lnTo>
                      <a:pt x="668" y="346"/>
                    </a:lnTo>
                    <a:lnTo>
                      <a:pt x="663" y="346"/>
                    </a:lnTo>
                    <a:lnTo>
                      <a:pt x="658" y="346"/>
                    </a:lnTo>
                    <a:lnTo>
                      <a:pt x="653" y="346"/>
                    </a:lnTo>
                    <a:lnTo>
                      <a:pt x="648" y="346"/>
                    </a:lnTo>
                    <a:lnTo>
                      <a:pt x="644" y="346"/>
                    </a:lnTo>
                    <a:lnTo>
                      <a:pt x="639" y="346"/>
                    </a:lnTo>
                    <a:lnTo>
                      <a:pt x="634" y="346"/>
                    </a:lnTo>
                    <a:lnTo>
                      <a:pt x="629" y="346"/>
                    </a:lnTo>
                    <a:lnTo>
                      <a:pt x="624" y="346"/>
                    </a:lnTo>
                    <a:lnTo>
                      <a:pt x="620" y="346"/>
                    </a:lnTo>
                    <a:lnTo>
                      <a:pt x="615" y="346"/>
                    </a:lnTo>
                    <a:lnTo>
                      <a:pt x="610" y="346"/>
                    </a:lnTo>
                    <a:lnTo>
                      <a:pt x="605" y="350"/>
                    </a:lnTo>
                    <a:lnTo>
                      <a:pt x="600" y="350"/>
                    </a:lnTo>
                    <a:lnTo>
                      <a:pt x="596" y="355"/>
                    </a:lnTo>
                    <a:lnTo>
                      <a:pt x="596" y="360"/>
                    </a:lnTo>
                    <a:lnTo>
                      <a:pt x="596" y="365"/>
                    </a:lnTo>
                    <a:lnTo>
                      <a:pt x="596" y="370"/>
                    </a:lnTo>
                    <a:lnTo>
                      <a:pt x="596" y="374"/>
                    </a:lnTo>
                    <a:lnTo>
                      <a:pt x="600" y="374"/>
                    </a:lnTo>
                    <a:lnTo>
                      <a:pt x="605" y="374"/>
                    </a:lnTo>
                    <a:lnTo>
                      <a:pt x="610" y="379"/>
                    </a:lnTo>
                    <a:lnTo>
                      <a:pt x="615" y="379"/>
                    </a:lnTo>
                    <a:lnTo>
                      <a:pt x="620" y="379"/>
                    </a:lnTo>
                    <a:lnTo>
                      <a:pt x="624" y="379"/>
                    </a:lnTo>
                    <a:lnTo>
                      <a:pt x="624" y="384"/>
                    </a:lnTo>
                    <a:lnTo>
                      <a:pt x="629" y="384"/>
                    </a:lnTo>
                    <a:lnTo>
                      <a:pt x="629" y="389"/>
                    </a:lnTo>
                    <a:lnTo>
                      <a:pt x="629" y="394"/>
                    </a:lnTo>
                    <a:lnTo>
                      <a:pt x="624" y="394"/>
                    </a:lnTo>
                    <a:lnTo>
                      <a:pt x="624" y="398"/>
                    </a:lnTo>
                    <a:lnTo>
                      <a:pt x="624" y="403"/>
                    </a:lnTo>
                    <a:lnTo>
                      <a:pt x="620" y="403"/>
                    </a:lnTo>
                    <a:lnTo>
                      <a:pt x="615" y="408"/>
                    </a:lnTo>
                    <a:lnTo>
                      <a:pt x="615" y="413"/>
                    </a:lnTo>
                    <a:lnTo>
                      <a:pt x="610" y="413"/>
                    </a:lnTo>
                    <a:lnTo>
                      <a:pt x="610" y="418"/>
                    </a:lnTo>
                    <a:lnTo>
                      <a:pt x="605" y="422"/>
                    </a:lnTo>
                    <a:lnTo>
                      <a:pt x="605" y="427"/>
                    </a:lnTo>
                    <a:lnTo>
                      <a:pt x="605" y="432"/>
                    </a:lnTo>
                    <a:lnTo>
                      <a:pt x="600" y="432"/>
                    </a:lnTo>
                    <a:lnTo>
                      <a:pt x="600" y="437"/>
                    </a:lnTo>
                    <a:lnTo>
                      <a:pt x="596" y="437"/>
                    </a:lnTo>
                    <a:lnTo>
                      <a:pt x="591" y="437"/>
                    </a:lnTo>
                    <a:lnTo>
                      <a:pt x="586" y="437"/>
                    </a:lnTo>
                    <a:lnTo>
                      <a:pt x="581" y="432"/>
                    </a:lnTo>
                    <a:lnTo>
                      <a:pt x="576" y="432"/>
                    </a:lnTo>
                    <a:lnTo>
                      <a:pt x="576" y="437"/>
                    </a:lnTo>
                    <a:lnTo>
                      <a:pt x="572" y="437"/>
                    </a:lnTo>
                    <a:lnTo>
                      <a:pt x="572" y="442"/>
                    </a:lnTo>
                    <a:lnTo>
                      <a:pt x="572" y="446"/>
                    </a:lnTo>
                    <a:lnTo>
                      <a:pt x="572" y="451"/>
                    </a:lnTo>
                    <a:lnTo>
                      <a:pt x="567" y="451"/>
                    </a:lnTo>
                    <a:lnTo>
                      <a:pt x="567" y="456"/>
                    </a:lnTo>
                    <a:lnTo>
                      <a:pt x="567" y="461"/>
                    </a:lnTo>
                    <a:lnTo>
                      <a:pt x="567" y="466"/>
                    </a:lnTo>
                    <a:lnTo>
                      <a:pt x="567" y="470"/>
                    </a:lnTo>
                    <a:lnTo>
                      <a:pt x="567" y="475"/>
                    </a:lnTo>
                    <a:lnTo>
                      <a:pt x="567" y="480"/>
                    </a:lnTo>
                    <a:lnTo>
                      <a:pt x="567" y="485"/>
                    </a:lnTo>
                    <a:lnTo>
                      <a:pt x="567" y="490"/>
                    </a:lnTo>
                    <a:lnTo>
                      <a:pt x="567" y="494"/>
                    </a:lnTo>
                    <a:lnTo>
                      <a:pt x="562" y="494"/>
                    </a:lnTo>
                    <a:lnTo>
                      <a:pt x="562" y="499"/>
                    </a:lnTo>
                    <a:lnTo>
                      <a:pt x="557" y="504"/>
                    </a:lnTo>
                    <a:lnTo>
                      <a:pt x="557" y="509"/>
                    </a:lnTo>
                    <a:lnTo>
                      <a:pt x="552" y="509"/>
                    </a:lnTo>
                    <a:lnTo>
                      <a:pt x="552" y="514"/>
                    </a:lnTo>
                    <a:lnTo>
                      <a:pt x="552" y="518"/>
                    </a:lnTo>
                    <a:lnTo>
                      <a:pt x="548" y="518"/>
                    </a:lnTo>
                    <a:lnTo>
                      <a:pt x="548" y="523"/>
                    </a:lnTo>
                    <a:lnTo>
                      <a:pt x="548" y="528"/>
                    </a:lnTo>
                    <a:lnTo>
                      <a:pt x="548" y="533"/>
                    </a:lnTo>
                    <a:lnTo>
                      <a:pt x="548" y="538"/>
                    </a:lnTo>
                    <a:lnTo>
                      <a:pt x="548" y="542"/>
                    </a:lnTo>
                    <a:lnTo>
                      <a:pt x="548" y="547"/>
                    </a:lnTo>
                    <a:lnTo>
                      <a:pt x="543" y="552"/>
                    </a:lnTo>
                    <a:lnTo>
                      <a:pt x="543" y="557"/>
                    </a:lnTo>
                    <a:lnTo>
                      <a:pt x="543" y="562"/>
                    </a:lnTo>
                    <a:lnTo>
                      <a:pt x="543" y="566"/>
                    </a:lnTo>
                    <a:lnTo>
                      <a:pt x="543" y="571"/>
                    </a:lnTo>
                    <a:lnTo>
                      <a:pt x="543" y="576"/>
                    </a:lnTo>
                    <a:lnTo>
                      <a:pt x="543" y="581"/>
                    </a:lnTo>
                    <a:lnTo>
                      <a:pt x="538" y="581"/>
                    </a:lnTo>
                    <a:lnTo>
                      <a:pt x="533" y="581"/>
                    </a:lnTo>
                    <a:lnTo>
                      <a:pt x="533" y="586"/>
                    </a:lnTo>
                    <a:lnTo>
                      <a:pt x="528" y="586"/>
                    </a:lnTo>
                    <a:lnTo>
                      <a:pt x="524" y="590"/>
                    </a:lnTo>
                    <a:lnTo>
                      <a:pt x="519" y="595"/>
                    </a:lnTo>
                    <a:lnTo>
                      <a:pt x="519" y="600"/>
                    </a:lnTo>
                    <a:lnTo>
                      <a:pt x="514" y="600"/>
                    </a:lnTo>
                    <a:lnTo>
                      <a:pt x="514" y="605"/>
                    </a:lnTo>
                    <a:lnTo>
                      <a:pt x="509" y="605"/>
                    </a:lnTo>
                    <a:lnTo>
                      <a:pt x="509" y="610"/>
                    </a:lnTo>
                    <a:lnTo>
                      <a:pt x="504" y="610"/>
                    </a:lnTo>
                    <a:lnTo>
                      <a:pt x="504" y="614"/>
                    </a:lnTo>
                    <a:lnTo>
                      <a:pt x="500" y="614"/>
                    </a:lnTo>
                    <a:lnTo>
                      <a:pt x="495" y="614"/>
                    </a:lnTo>
                    <a:lnTo>
                      <a:pt x="495" y="619"/>
                    </a:lnTo>
                    <a:lnTo>
                      <a:pt x="490" y="619"/>
                    </a:lnTo>
                    <a:lnTo>
                      <a:pt x="485" y="619"/>
                    </a:lnTo>
                    <a:lnTo>
                      <a:pt x="480" y="619"/>
                    </a:lnTo>
                    <a:lnTo>
                      <a:pt x="476" y="619"/>
                    </a:lnTo>
                    <a:lnTo>
                      <a:pt x="471" y="624"/>
                    </a:lnTo>
                    <a:lnTo>
                      <a:pt x="466" y="624"/>
                    </a:lnTo>
                    <a:lnTo>
                      <a:pt x="461" y="629"/>
                    </a:lnTo>
                    <a:lnTo>
                      <a:pt x="456" y="629"/>
                    </a:lnTo>
                    <a:lnTo>
                      <a:pt x="452" y="629"/>
                    </a:lnTo>
                    <a:lnTo>
                      <a:pt x="447" y="629"/>
                    </a:lnTo>
                    <a:lnTo>
                      <a:pt x="442" y="629"/>
                    </a:lnTo>
                    <a:lnTo>
                      <a:pt x="442" y="624"/>
                    </a:lnTo>
                    <a:lnTo>
                      <a:pt x="437" y="624"/>
                    </a:lnTo>
                    <a:lnTo>
                      <a:pt x="432" y="624"/>
                    </a:lnTo>
                    <a:lnTo>
                      <a:pt x="432" y="619"/>
                    </a:lnTo>
                    <a:lnTo>
                      <a:pt x="428" y="619"/>
                    </a:lnTo>
                    <a:lnTo>
                      <a:pt x="428" y="614"/>
                    </a:lnTo>
                    <a:lnTo>
                      <a:pt x="423" y="614"/>
                    </a:lnTo>
                    <a:lnTo>
                      <a:pt x="423" y="610"/>
                    </a:lnTo>
                    <a:lnTo>
                      <a:pt x="418" y="610"/>
                    </a:lnTo>
                    <a:lnTo>
                      <a:pt x="413" y="605"/>
                    </a:lnTo>
                    <a:lnTo>
                      <a:pt x="408" y="605"/>
                    </a:lnTo>
                    <a:lnTo>
                      <a:pt x="404" y="605"/>
                    </a:lnTo>
                    <a:lnTo>
                      <a:pt x="404" y="600"/>
                    </a:lnTo>
                    <a:lnTo>
                      <a:pt x="399" y="600"/>
                    </a:lnTo>
                    <a:lnTo>
                      <a:pt x="394" y="600"/>
                    </a:lnTo>
                    <a:lnTo>
                      <a:pt x="389" y="595"/>
                    </a:lnTo>
                    <a:lnTo>
                      <a:pt x="384" y="595"/>
                    </a:lnTo>
                    <a:lnTo>
                      <a:pt x="380" y="595"/>
                    </a:lnTo>
                    <a:lnTo>
                      <a:pt x="380" y="590"/>
                    </a:lnTo>
                    <a:lnTo>
                      <a:pt x="375" y="590"/>
                    </a:lnTo>
                    <a:lnTo>
                      <a:pt x="375" y="586"/>
                    </a:lnTo>
                    <a:lnTo>
                      <a:pt x="370" y="586"/>
                    </a:lnTo>
                    <a:lnTo>
                      <a:pt x="365" y="586"/>
                    </a:lnTo>
                    <a:lnTo>
                      <a:pt x="365" y="581"/>
                    </a:lnTo>
                    <a:lnTo>
                      <a:pt x="360" y="581"/>
                    </a:lnTo>
                    <a:lnTo>
                      <a:pt x="356" y="581"/>
                    </a:lnTo>
                    <a:lnTo>
                      <a:pt x="351" y="576"/>
                    </a:lnTo>
                    <a:lnTo>
                      <a:pt x="346" y="576"/>
                    </a:lnTo>
                    <a:lnTo>
                      <a:pt x="341" y="576"/>
                    </a:lnTo>
                    <a:lnTo>
                      <a:pt x="336" y="576"/>
                    </a:lnTo>
                    <a:lnTo>
                      <a:pt x="336" y="571"/>
                    </a:lnTo>
                    <a:lnTo>
                      <a:pt x="332" y="571"/>
                    </a:lnTo>
                    <a:lnTo>
                      <a:pt x="327" y="571"/>
                    </a:lnTo>
                    <a:lnTo>
                      <a:pt x="327" y="576"/>
                    </a:lnTo>
                    <a:lnTo>
                      <a:pt x="322" y="576"/>
                    </a:lnTo>
                    <a:lnTo>
                      <a:pt x="317" y="581"/>
                    </a:lnTo>
                    <a:lnTo>
                      <a:pt x="317" y="586"/>
                    </a:lnTo>
                    <a:lnTo>
                      <a:pt x="322" y="586"/>
                    </a:lnTo>
                    <a:lnTo>
                      <a:pt x="322" y="590"/>
                    </a:lnTo>
                    <a:lnTo>
                      <a:pt x="322" y="595"/>
                    </a:lnTo>
                    <a:lnTo>
                      <a:pt x="317" y="595"/>
                    </a:lnTo>
                    <a:lnTo>
                      <a:pt x="312" y="595"/>
                    </a:lnTo>
                    <a:lnTo>
                      <a:pt x="312" y="600"/>
                    </a:lnTo>
                    <a:lnTo>
                      <a:pt x="308" y="600"/>
                    </a:lnTo>
                    <a:lnTo>
                      <a:pt x="308" y="605"/>
                    </a:lnTo>
                    <a:lnTo>
                      <a:pt x="312" y="605"/>
                    </a:lnTo>
                    <a:lnTo>
                      <a:pt x="312" y="610"/>
                    </a:lnTo>
                    <a:lnTo>
                      <a:pt x="317" y="614"/>
                    </a:lnTo>
                    <a:lnTo>
                      <a:pt x="317" y="619"/>
                    </a:lnTo>
                    <a:lnTo>
                      <a:pt x="312" y="619"/>
                    </a:lnTo>
                    <a:lnTo>
                      <a:pt x="312" y="624"/>
                    </a:lnTo>
                    <a:lnTo>
                      <a:pt x="308" y="624"/>
                    </a:lnTo>
                    <a:lnTo>
                      <a:pt x="303" y="624"/>
                    </a:lnTo>
                    <a:lnTo>
                      <a:pt x="298" y="624"/>
                    </a:lnTo>
                    <a:lnTo>
                      <a:pt x="293" y="624"/>
                    </a:lnTo>
                    <a:lnTo>
                      <a:pt x="288" y="624"/>
                    </a:lnTo>
                    <a:lnTo>
                      <a:pt x="284" y="624"/>
                    </a:lnTo>
                    <a:lnTo>
                      <a:pt x="284" y="619"/>
                    </a:lnTo>
                    <a:lnTo>
                      <a:pt x="279" y="619"/>
                    </a:lnTo>
                    <a:lnTo>
                      <a:pt x="274" y="619"/>
                    </a:lnTo>
                    <a:lnTo>
                      <a:pt x="269" y="619"/>
                    </a:lnTo>
                    <a:lnTo>
                      <a:pt x="269" y="614"/>
                    </a:lnTo>
                    <a:lnTo>
                      <a:pt x="264" y="614"/>
                    </a:lnTo>
                    <a:lnTo>
                      <a:pt x="260" y="610"/>
                    </a:lnTo>
                    <a:lnTo>
                      <a:pt x="255" y="610"/>
                    </a:lnTo>
                    <a:lnTo>
                      <a:pt x="255" y="605"/>
                    </a:lnTo>
                    <a:lnTo>
                      <a:pt x="255" y="600"/>
                    </a:lnTo>
                    <a:lnTo>
                      <a:pt x="250" y="600"/>
                    </a:lnTo>
                    <a:lnTo>
                      <a:pt x="250" y="595"/>
                    </a:lnTo>
                    <a:lnTo>
                      <a:pt x="250" y="590"/>
                    </a:lnTo>
                    <a:lnTo>
                      <a:pt x="250" y="586"/>
                    </a:lnTo>
                    <a:lnTo>
                      <a:pt x="245" y="586"/>
                    </a:lnTo>
                    <a:lnTo>
                      <a:pt x="245" y="581"/>
                    </a:lnTo>
                    <a:lnTo>
                      <a:pt x="245" y="576"/>
                    </a:lnTo>
                    <a:lnTo>
                      <a:pt x="245" y="571"/>
                    </a:lnTo>
                    <a:lnTo>
                      <a:pt x="240" y="571"/>
                    </a:lnTo>
                    <a:lnTo>
                      <a:pt x="240" y="566"/>
                    </a:lnTo>
                    <a:lnTo>
                      <a:pt x="236" y="562"/>
                    </a:lnTo>
                    <a:lnTo>
                      <a:pt x="231" y="562"/>
                    </a:lnTo>
                    <a:lnTo>
                      <a:pt x="226" y="566"/>
                    </a:lnTo>
                    <a:lnTo>
                      <a:pt x="221" y="566"/>
                    </a:lnTo>
                    <a:lnTo>
                      <a:pt x="221" y="571"/>
                    </a:lnTo>
                    <a:lnTo>
                      <a:pt x="216" y="571"/>
                    </a:lnTo>
                    <a:lnTo>
                      <a:pt x="216" y="576"/>
                    </a:lnTo>
                    <a:lnTo>
                      <a:pt x="212" y="576"/>
                    </a:lnTo>
                    <a:lnTo>
                      <a:pt x="212" y="581"/>
                    </a:lnTo>
                    <a:lnTo>
                      <a:pt x="207" y="581"/>
                    </a:lnTo>
                    <a:lnTo>
                      <a:pt x="207" y="586"/>
                    </a:lnTo>
                    <a:lnTo>
                      <a:pt x="202" y="586"/>
                    </a:lnTo>
                    <a:lnTo>
                      <a:pt x="197" y="586"/>
                    </a:lnTo>
                    <a:lnTo>
                      <a:pt x="192" y="586"/>
                    </a:lnTo>
                    <a:lnTo>
                      <a:pt x="188" y="586"/>
                    </a:lnTo>
                    <a:lnTo>
                      <a:pt x="183" y="586"/>
                    </a:lnTo>
                    <a:lnTo>
                      <a:pt x="183" y="581"/>
                    </a:lnTo>
                    <a:lnTo>
                      <a:pt x="178" y="581"/>
                    </a:lnTo>
                    <a:lnTo>
                      <a:pt x="178" y="576"/>
                    </a:lnTo>
                    <a:lnTo>
                      <a:pt x="173" y="576"/>
                    </a:lnTo>
                    <a:lnTo>
                      <a:pt x="173" y="571"/>
                    </a:lnTo>
                    <a:lnTo>
                      <a:pt x="168" y="571"/>
                    </a:lnTo>
                    <a:lnTo>
                      <a:pt x="164" y="571"/>
                    </a:lnTo>
                    <a:lnTo>
                      <a:pt x="159" y="571"/>
                    </a:lnTo>
                    <a:lnTo>
                      <a:pt x="154" y="571"/>
                    </a:lnTo>
                    <a:lnTo>
                      <a:pt x="154" y="566"/>
                    </a:lnTo>
                    <a:lnTo>
                      <a:pt x="149" y="566"/>
                    </a:lnTo>
                    <a:lnTo>
                      <a:pt x="149" y="562"/>
                    </a:lnTo>
                    <a:lnTo>
                      <a:pt x="149" y="557"/>
                    </a:lnTo>
                    <a:lnTo>
                      <a:pt x="149" y="552"/>
                    </a:lnTo>
                    <a:lnTo>
                      <a:pt x="144" y="547"/>
                    </a:lnTo>
                    <a:lnTo>
                      <a:pt x="144" y="542"/>
                    </a:lnTo>
                    <a:lnTo>
                      <a:pt x="140" y="542"/>
                    </a:lnTo>
                    <a:lnTo>
                      <a:pt x="135" y="542"/>
                    </a:lnTo>
                    <a:lnTo>
                      <a:pt x="130" y="542"/>
                    </a:lnTo>
                    <a:lnTo>
                      <a:pt x="125" y="547"/>
                    </a:lnTo>
                    <a:lnTo>
                      <a:pt x="120" y="547"/>
                    </a:lnTo>
                    <a:lnTo>
                      <a:pt x="120" y="552"/>
                    </a:lnTo>
                    <a:lnTo>
                      <a:pt x="116" y="552"/>
                    </a:lnTo>
                    <a:lnTo>
                      <a:pt x="111" y="552"/>
                    </a:lnTo>
                    <a:lnTo>
                      <a:pt x="111" y="557"/>
                    </a:lnTo>
                    <a:lnTo>
                      <a:pt x="106" y="557"/>
                    </a:lnTo>
                    <a:lnTo>
                      <a:pt x="101" y="557"/>
                    </a:lnTo>
                    <a:lnTo>
                      <a:pt x="96" y="557"/>
                    </a:lnTo>
                    <a:lnTo>
                      <a:pt x="92" y="557"/>
                    </a:lnTo>
                    <a:lnTo>
                      <a:pt x="87" y="557"/>
                    </a:lnTo>
                    <a:lnTo>
                      <a:pt x="87" y="552"/>
                    </a:lnTo>
                    <a:lnTo>
                      <a:pt x="82" y="552"/>
                    </a:lnTo>
                    <a:lnTo>
                      <a:pt x="77" y="552"/>
                    </a:lnTo>
                    <a:lnTo>
                      <a:pt x="77" y="547"/>
                    </a:lnTo>
                    <a:lnTo>
                      <a:pt x="77" y="523"/>
                    </a:lnTo>
                    <a:lnTo>
                      <a:pt x="77" y="518"/>
                    </a:lnTo>
                    <a:lnTo>
                      <a:pt x="77" y="514"/>
                    </a:lnTo>
                    <a:lnTo>
                      <a:pt x="82" y="514"/>
                    </a:lnTo>
                    <a:lnTo>
                      <a:pt x="82" y="509"/>
                    </a:lnTo>
                    <a:lnTo>
                      <a:pt x="87" y="509"/>
                    </a:lnTo>
                    <a:lnTo>
                      <a:pt x="87" y="504"/>
                    </a:lnTo>
                    <a:lnTo>
                      <a:pt x="87" y="499"/>
                    </a:lnTo>
                    <a:lnTo>
                      <a:pt x="87" y="494"/>
                    </a:lnTo>
                    <a:lnTo>
                      <a:pt x="87" y="490"/>
                    </a:lnTo>
                    <a:lnTo>
                      <a:pt x="87" y="485"/>
                    </a:lnTo>
                    <a:lnTo>
                      <a:pt x="82" y="485"/>
                    </a:lnTo>
                    <a:lnTo>
                      <a:pt x="82" y="480"/>
                    </a:lnTo>
                    <a:lnTo>
                      <a:pt x="77" y="480"/>
                    </a:lnTo>
                    <a:lnTo>
                      <a:pt x="77" y="475"/>
                    </a:lnTo>
                    <a:lnTo>
                      <a:pt x="72" y="470"/>
                    </a:lnTo>
                    <a:lnTo>
                      <a:pt x="72" y="466"/>
                    </a:lnTo>
                    <a:lnTo>
                      <a:pt x="68" y="466"/>
                    </a:lnTo>
                    <a:lnTo>
                      <a:pt x="68" y="461"/>
                    </a:lnTo>
                    <a:lnTo>
                      <a:pt x="63" y="461"/>
                    </a:lnTo>
                    <a:lnTo>
                      <a:pt x="58" y="456"/>
                    </a:lnTo>
                    <a:lnTo>
                      <a:pt x="53" y="456"/>
                    </a:lnTo>
                    <a:lnTo>
                      <a:pt x="48" y="456"/>
                    </a:lnTo>
                    <a:lnTo>
                      <a:pt x="48" y="451"/>
                    </a:lnTo>
                    <a:lnTo>
                      <a:pt x="44" y="451"/>
                    </a:lnTo>
                    <a:lnTo>
                      <a:pt x="39" y="446"/>
                    </a:lnTo>
                    <a:lnTo>
                      <a:pt x="34" y="446"/>
                    </a:lnTo>
                    <a:lnTo>
                      <a:pt x="34" y="442"/>
                    </a:lnTo>
                    <a:lnTo>
                      <a:pt x="29" y="437"/>
                    </a:lnTo>
                    <a:lnTo>
                      <a:pt x="24" y="437"/>
                    </a:lnTo>
                    <a:lnTo>
                      <a:pt x="24" y="432"/>
                    </a:lnTo>
                    <a:lnTo>
                      <a:pt x="24" y="427"/>
                    </a:lnTo>
                    <a:lnTo>
                      <a:pt x="24" y="422"/>
                    </a:lnTo>
                    <a:lnTo>
                      <a:pt x="24" y="418"/>
                    </a:lnTo>
                    <a:lnTo>
                      <a:pt x="20" y="418"/>
                    </a:lnTo>
                    <a:lnTo>
                      <a:pt x="20" y="413"/>
                    </a:lnTo>
                    <a:lnTo>
                      <a:pt x="20" y="408"/>
                    </a:lnTo>
                    <a:lnTo>
                      <a:pt x="20" y="403"/>
                    </a:lnTo>
                    <a:lnTo>
                      <a:pt x="20" y="398"/>
                    </a:lnTo>
                    <a:lnTo>
                      <a:pt x="20" y="394"/>
                    </a:lnTo>
                    <a:lnTo>
                      <a:pt x="20" y="389"/>
                    </a:lnTo>
                    <a:lnTo>
                      <a:pt x="24" y="389"/>
                    </a:lnTo>
                    <a:lnTo>
                      <a:pt x="29" y="384"/>
                    </a:lnTo>
                    <a:lnTo>
                      <a:pt x="34" y="384"/>
                    </a:lnTo>
                    <a:lnTo>
                      <a:pt x="34" y="379"/>
                    </a:lnTo>
                    <a:lnTo>
                      <a:pt x="39" y="379"/>
                    </a:lnTo>
                    <a:lnTo>
                      <a:pt x="39" y="374"/>
                    </a:lnTo>
                    <a:lnTo>
                      <a:pt x="39" y="370"/>
                    </a:lnTo>
                    <a:lnTo>
                      <a:pt x="39" y="365"/>
                    </a:lnTo>
                    <a:lnTo>
                      <a:pt x="39" y="360"/>
                    </a:lnTo>
                    <a:lnTo>
                      <a:pt x="39" y="355"/>
                    </a:lnTo>
                    <a:lnTo>
                      <a:pt x="39" y="350"/>
                    </a:lnTo>
                    <a:lnTo>
                      <a:pt x="34" y="346"/>
                    </a:lnTo>
                    <a:lnTo>
                      <a:pt x="34" y="341"/>
                    </a:lnTo>
                    <a:lnTo>
                      <a:pt x="29" y="341"/>
                    </a:lnTo>
                    <a:lnTo>
                      <a:pt x="29" y="336"/>
                    </a:lnTo>
                    <a:lnTo>
                      <a:pt x="24" y="336"/>
                    </a:lnTo>
                    <a:lnTo>
                      <a:pt x="24" y="331"/>
                    </a:lnTo>
                    <a:lnTo>
                      <a:pt x="24" y="326"/>
                    </a:lnTo>
                    <a:lnTo>
                      <a:pt x="24" y="322"/>
                    </a:lnTo>
                    <a:lnTo>
                      <a:pt x="20" y="317"/>
                    </a:lnTo>
                    <a:lnTo>
                      <a:pt x="24" y="317"/>
                    </a:lnTo>
                    <a:lnTo>
                      <a:pt x="24" y="312"/>
                    </a:lnTo>
                    <a:lnTo>
                      <a:pt x="24" y="307"/>
                    </a:lnTo>
                    <a:lnTo>
                      <a:pt x="24" y="302"/>
                    </a:lnTo>
                    <a:lnTo>
                      <a:pt x="20" y="298"/>
                    </a:lnTo>
                    <a:lnTo>
                      <a:pt x="20" y="293"/>
                    </a:lnTo>
                    <a:lnTo>
                      <a:pt x="15" y="288"/>
                    </a:lnTo>
                    <a:lnTo>
                      <a:pt x="10" y="283"/>
                    </a:lnTo>
                    <a:lnTo>
                      <a:pt x="10" y="278"/>
                    </a:lnTo>
                    <a:lnTo>
                      <a:pt x="5" y="278"/>
                    </a:lnTo>
                    <a:lnTo>
                      <a:pt x="5" y="274"/>
                    </a:lnTo>
                    <a:lnTo>
                      <a:pt x="5" y="269"/>
                    </a:lnTo>
                    <a:lnTo>
                      <a:pt x="0" y="264"/>
                    </a:lnTo>
                    <a:lnTo>
                      <a:pt x="0" y="259"/>
                    </a:lnTo>
                    <a:lnTo>
                      <a:pt x="0" y="254"/>
                    </a:lnTo>
                    <a:lnTo>
                      <a:pt x="0" y="250"/>
                    </a:lnTo>
                    <a:lnTo>
                      <a:pt x="0" y="245"/>
                    </a:lnTo>
                    <a:lnTo>
                      <a:pt x="5" y="245"/>
                    </a:lnTo>
                    <a:lnTo>
                      <a:pt x="5" y="240"/>
                    </a:lnTo>
                    <a:lnTo>
                      <a:pt x="5" y="235"/>
                    </a:lnTo>
                    <a:lnTo>
                      <a:pt x="10" y="235"/>
                    </a:lnTo>
                    <a:lnTo>
                      <a:pt x="15" y="235"/>
                    </a:lnTo>
                    <a:lnTo>
                      <a:pt x="15" y="230"/>
                    </a:lnTo>
                    <a:lnTo>
                      <a:pt x="20" y="230"/>
                    </a:lnTo>
                    <a:lnTo>
                      <a:pt x="24" y="230"/>
                    </a:lnTo>
                    <a:lnTo>
                      <a:pt x="29" y="230"/>
                    </a:lnTo>
                    <a:lnTo>
                      <a:pt x="34" y="226"/>
                    </a:lnTo>
                    <a:lnTo>
                      <a:pt x="34" y="221"/>
                    </a:lnTo>
                    <a:lnTo>
                      <a:pt x="34" y="216"/>
                    </a:lnTo>
                    <a:lnTo>
                      <a:pt x="34" y="211"/>
                    </a:lnTo>
                    <a:lnTo>
                      <a:pt x="39" y="206"/>
                    </a:lnTo>
                    <a:lnTo>
                      <a:pt x="44" y="202"/>
                    </a:lnTo>
                    <a:lnTo>
                      <a:pt x="48" y="202"/>
                    </a:lnTo>
                    <a:lnTo>
                      <a:pt x="53" y="197"/>
                    </a:lnTo>
                    <a:lnTo>
                      <a:pt x="58" y="197"/>
                    </a:lnTo>
                    <a:lnTo>
                      <a:pt x="58" y="192"/>
                    </a:lnTo>
                    <a:lnTo>
                      <a:pt x="63" y="187"/>
                    </a:lnTo>
                    <a:lnTo>
                      <a:pt x="68" y="182"/>
                    </a:lnTo>
                    <a:lnTo>
                      <a:pt x="72" y="182"/>
                    </a:lnTo>
                    <a:lnTo>
                      <a:pt x="77" y="178"/>
                    </a:lnTo>
                    <a:lnTo>
                      <a:pt x="82" y="178"/>
                    </a:lnTo>
                    <a:lnTo>
                      <a:pt x="87" y="173"/>
                    </a:lnTo>
                    <a:lnTo>
                      <a:pt x="92" y="168"/>
                    </a:lnTo>
                    <a:lnTo>
                      <a:pt x="96" y="163"/>
                    </a:lnTo>
                    <a:lnTo>
                      <a:pt x="101" y="158"/>
                    </a:lnTo>
                    <a:lnTo>
                      <a:pt x="106" y="158"/>
                    </a:lnTo>
                    <a:lnTo>
                      <a:pt x="111" y="154"/>
                    </a:lnTo>
                    <a:lnTo>
                      <a:pt x="116" y="149"/>
                    </a:lnTo>
                    <a:lnTo>
                      <a:pt x="120" y="149"/>
                    </a:lnTo>
                    <a:lnTo>
                      <a:pt x="125" y="144"/>
                    </a:lnTo>
                    <a:lnTo>
                      <a:pt x="130" y="139"/>
                    </a:lnTo>
                    <a:lnTo>
                      <a:pt x="135" y="139"/>
                    </a:lnTo>
                    <a:lnTo>
                      <a:pt x="135" y="134"/>
                    </a:lnTo>
                    <a:lnTo>
                      <a:pt x="140" y="130"/>
                    </a:lnTo>
                    <a:lnTo>
                      <a:pt x="144" y="130"/>
                    </a:lnTo>
                    <a:lnTo>
                      <a:pt x="149" y="125"/>
                    </a:lnTo>
                    <a:lnTo>
                      <a:pt x="154" y="120"/>
                    </a:lnTo>
                    <a:lnTo>
                      <a:pt x="159" y="120"/>
                    </a:lnTo>
                    <a:lnTo>
                      <a:pt x="164" y="115"/>
                    </a:lnTo>
                    <a:lnTo>
                      <a:pt x="168" y="110"/>
                    </a:lnTo>
                    <a:lnTo>
                      <a:pt x="173" y="110"/>
                    </a:lnTo>
                    <a:lnTo>
                      <a:pt x="173" y="106"/>
                    </a:lnTo>
                    <a:lnTo>
                      <a:pt x="178" y="101"/>
                    </a:lnTo>
                    <a:lnTo>
                      <a:pt x="183" y="101"/>
                    </a:lnTo>
                    <a:lnTo>
                      <a:pt x="188" y="96"/>
                    </a:lnTo>
                    <a:lnTo>
                      <a:pt x="192" y="91"/>
                    </a:lnTo>
                    <a:lnTo>
                      <a:pt x="197" y="91"/>
                    </a:lnTo>
                    <a:lnTo>
                      <a:pt x="202" y="86"/>
                    </a:lnTo>
                    <a:lnTo>
                      <a:pt x="207" y="86"/>
                    </a:lnTo>
                    <a:lnTo>
                      <a:pt x="212" y="82"/>
                    </a:lnTo>
                    <a:lnTo>
                      <a:pt x="212" y="77"/>
                    </a:lnTo>
                    <a:lnTo>
                      <a:pt x="216" y="77"/>
                    </a:lnTo>
                    <a:lnTo>
                      <a:pt x="221" y="72"/>
                    </a:lnTo>
                    <a:lnTo>
                      <a:pt x="226" y="67"/>
                    </a:lnTo>
                    <a:lnTo>
                      <a:pt x="231" y="67"/>
                    </a:lnTo>
                    <a:lnTo>
                      <a:pt x="236" y="62"/>
                    </a:lnTo>
                    <a:lnTo>
                      <a:pt x="240" y="58"/>
                    </a:lnTo>
                    <a:lnTo>
                      <a:pt x="245" y="58"/>
                    </a:lnTo>
                    <a:lnTo>
                      <a:pt x="250" y="53"/>
                    </a:lnTo>
                    <a:lnTo>
                      <a:pt x="250" y="48"/>
                    </a:lnTo>
                    <a:lnTo>
                      <a:pt x="255" y="48"/>
                    </a:lnTo>
                    <a:lnTo>
                      <a:pt x="260" y="43"/>
                    </a:lnTo>
                    <a:lnTo>
                      <a:pt x="264" y="38"/>
                    </a:lnTo>
                    <a:lnTo>
                      <a:pt x="269" y="38"/>
                    </a:lnTo>
                    <a:lnTo>
                      <a:pt x="274" y="34"/>
                    </a:lnTo>
                    <a:lnTo>
                      <a:pt x="279" y="29"/>
                    </a:lnTo>
                    <a:lnTo>
                      <a:pt x="284" y="29"/>
                    </a:lnTo>
                    <a:lnTo>
                      <a:pt x="288" y="24"/>
                    </a:lnTo>
                    <a:lnTo>
                      <a:pt x="288" y="19"/>
                    </a:lnTo>
                    <a:lnTo>
                      <a:pt x="293" y="19"/>
                    </a:lnTo>
                    <a:lnTo>
                      <a:pt x="298" y="14"/>
                    </a:lnTo>
                    <a:lnTo>
                      <a:pt x="303" y="10"/>
                    </a:lnTo>
                    <a:lnTo>
                      <a:pt x="308" y="10"/>
                    </a:lnTo>
                    <a:lnTo>
                      <a:pt x="312" y="5"/>
                    </a:lnTo>
                    <a:lnTo>
                      <a:pt x="317" y="0"/>
                    </a:lnTo>
                    <a:lnTo>
                      <a:pt x="322" y="0"/>
                    </a:lnTo>
                    <a:close/>
                  </a:path>
                </a:pathLst>
              </a:custGeom>
              <a:solidFill>
                <a:schemeClr val="accent6">
                  <a:lumMod val="40000"/>
                  <a:lumOff val="6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buClrTx/>
                </a:pPr>
                <a:endParaRPr lang="en-US" sz="1000" kern="1200" dirty="0">
                  <a:latin typeface="Arial" charset="0"/>
                  <a:ea typeface="+mn-ea"/>
                  <a:cs typeface="+mn-cs"/>
                </a:endParaRPr>
              </a:p>
            </p:txBody>
          </p:sp>
        </p:grpSp>
        <p:sp>
          <p:nvSpPr>
            <p:cNvPr id="30" name="Rectangle 29"/>
            <p:cNvSpPr>
              <a:spLocks noChangeArrowheads="1"/>
            </p:cNvSpPr>
            <p:nvPr/>
          </p:nvSpPr>
          <p:spPr bwMode="gray">
            <a:xfrm>
              <a:off x="5759622" y="2264924"/>
              <a:ext cx="69570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buClrTx/>
              </a:pPr>
              <a:r>
                <a:rPr lang="en-US" sz="1000" b="1" kern="1200" dirty="0">
                  <a:solidFill>
                    <a:srgbClr val="01632F"/>
                  </a:solidFill>
                  <a:latin typeface="Arial"/>
                  <a:ea typeface="+mn-ea"/>
                </a:rPr>
                <a:t>Kilimanjaro</a:t>
              </a:r>
            </a:p>
          </p:txBody>
        </p:sp>
        <p:sp>
          <p:nvSpPr>
            <p:cNvPr id="31" name="Rectangle 30"/>
            <p:cNvSpPr>
              <a:spLocks noChangeArrowheads="1"/>
            </p:cNvSpPr>
            <p:nvPr/>
          </p:nvSpPr>
          <p:spPr bwMode="gray">
            <a:xfrm>
              <a:off x="4653071" y="2187921"/>
              <a:ext cx="67926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buClrTx/>
              </a:pPr>
              <a:r>
                <a:rPr lang="en-US" sz="1000" b="1" kern="1200" dirty="0">
                  <a:solidFill>
                    <a:srgbClr val="FFFFFF"/>
                  </a:solidFill>
                  <a:latin typeface="Arial"/>
                  <a:ea typeface="+mn-ea"/>
                </a:rPr>
                <a:t>Arusha &amp; Manyara</a:t>
              </a:r>
            </a:p>
          </p:txBody>
        </p:sp>
        <p:sp>
          <p:nvSpPr>
            <p:cNvPr id="32" name="Rectangle 35"/>
            <p:cNvSpPr>
              <a:spLocks noChangeArrowheads="1"/>
            </p:cNvSpPr>
            <p:nvPr/>
          </p:nvSpPr>
          <p:spPr bwMode="gray">
            <a:xfrm>
              <a:off x="4836246" y="5401878"/>
              <a:ext cx="5049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buClrTx/>
              </a:pPr>
              <a:r>
                <a:rPr lang="en-US" sz="1000" b="1" kern="1200" dirty="0">
                  <a:solidFill>
                    <a:srgbClr val="01632F"/>
                  </a:solidFill>
                  <a:latin typeface="Arial"/>
                  <a:ea typeface="+mn-ea"/>
                </a:rPr>
                <a:t>Ruvuma</a:t>
              </a:r>
            </a:p>
          </p:txBody>
        </p:sp>
        <p:sp>
          <p:nvSpPr>
            <p:cNvPr id="33" name="Rectangle 36"/>
            <p:cNvSpPr>
              <a:spLocks noChangeArrowheads="1"/>
            </p:cNvSpPr>
            <p:nvPr/>
          </p:nvSpPr>
          <p:spPr bwMode="gray">
            <a:xfrm>
              <a:off x="4526862" y="3976341"/>
              <a:ext cx="5386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buClrTx/>
              </a:pPr>
              <a:r>
                <a:rPr lang="en-US" sz="1000" b="1" kern="1200" dirty="0">
                  <a:solidFill>
                    <a:srgbClr val="01632F"/>
                  </a:solidFill>
                  <a:latin typeface="Arial"/>
                  <a:ea typeface="+mn-ea"/>
                </a:rPr>
                <a:t>Iringa &amp; Njombe</a:t>
              </a:r>
            </a:p>
          </p:txBody>
        </p:sp>
        <p:sp>
          <p:nvSpPr>
            <p:cNvPr id="34" name="Rectangle 37"/>
            <p:cNvSpPr>
              <a:spLocks noChangeArrowheads="1"/>
            </p:cNvSpPr>
            <p:nvPr/>
          </p:nvSpPr>
          <p:spPr bwMode="gray">
            <a:xfrm>
              <a:off x="5271179" y="3857302"/>
              <a:ext cx="5995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buClrTx/>
              </a:pPr>
              <a:r>
                <a:rPr lang="en-US" sz="1000" b="1" kern="1200" dirty="0">
                  <a:solidFill>
                    <a:srgbClr val="01632F"/>
                  </a:solidFill>
                  <a:latin typeface="Arial"/>
                  <a:ea typeface="+mn-ea"/>
                </a:rPr>
                <a:t>Morogoro</a:t>
              </a:r>
            </a:p>
          </p:txBody>
        </p:sp>
        <p:sp>
          <p:nvSpPr>
            <p:cNvPr id="35" name="Rectangle 42"/>
            <p:cNvSpPr>
              <a:spLocks noChangeArrowheads="1"/>
            </p:cNvSpPr>
            <p:nvPr/>
          </p:nvSpPr>
          <p:spPr bwMode="gray">
            <a:xfrm>
              <a:off x="2645724" y="3709002"/>
              <a:ext cx="6547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buClrTx/>
              </a:pPr>
              <a:r>
                <a:rPr lang="en-US" sz="1000" b="1" kern="1200" dirty="0">
                  <a:solidFill>
                    <a:srgbClr val="01632F"/>
                  </a:solidFill>
                  <a:latin typeface="Arial"/>
                  <a:ea typeface="+mn-ea"/>
                </a:rPr>
                <a:t>Rukwa &amp; Katavi</a:t>
              </a:r>
            </a:p>
          </p:txBody>
        </p:sp>
        <p:sp>
          <p:nvSpPr>
            <p:cNvPr id="36" name="Rectangle 43"/>
            <p:cNvSpPr>
              <a:spLocks noChangeArrowheads="1"/>
            </p:cNvSpPr>
            <p:nvPr/>
          </p:nvSpPr>
          <p:spPr bwMode="gray">
            <a:xfrm>
              <a:off x="3642249" y="4319491"/>
              <a:ext cx="397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buClrTx/>
              </a:pPr>
              <a:r>
                <a:rPr lang="en-US" sz="1000" b="1" kern="1200" dirty="0">
                  <a:solidFill>
                    <a:srgbClr val="01632F"/>
                  </a:solidFill>
                  <a:latin typeface="Arial"/>
                  <a:ea typeface="+mn-ea"/>
                </a:rPr>
                <a:t>Mbeya</a:t>
              </a:r>
            </a:p>
          </p:txBody>
        </p:sp>
        <p:sp>
          <p:nvSpPr>
            <p:cNvPr id="37" name="Rectangle 44"/>
            <p:cNvSpPr>
              <a:spLocks noChangeArrowheads="1"/>
            </p:cNvSpPr>
            <p:nvPr/>
          </p:nvSpPr>
          <p:spPr bwMode="gray">
            <a:xfrm>
              <a:off x="2376340" y="2813890"/>
              <a:ext cx="46968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buClrTx/>
              </a:pPr>
              <a:r>
                <a:rPr lang="en-US" sz="1000" b="1" kern="1200" dirty="0">
                  <a:solidFill>
                    <a:srgbClr val="FFFFFF"/>
                  </a:solidFill>
                  <a:latin typeface="Arial"/>
                  <a:ea typeface="+mn-ea"/>
                </a:rPr>
                <a:t>Kigoma</a:t>
              </a:r>
            </a:p>
          </p:txBody>
        </p:sp>
        <p:sp>
          <p:nvSpPr>
            <p:cNvPr id="38" name="Rectangle 47"/>
            <p:cNvSpPr>
              <a:spLocks noChangeArrowheads="1"/>
            </p:cNvSpPr>
            <p:nvPr/>
          </p:nvSpPr>
          <p:spPr bwMode="gray">
            <a:xfrm>
              <a:off x="2846020" y="1420990"/>
              <a:ext cx="43281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buClrTx/>
              </a:pPr>
              <a:r>
                <a:rPr lang="en-US" sz="1000" b="1" kern="1200" dirty="0">
                  <a:solidFill>
                    <a:srgbClr val="FFFFFF"/>
                  </a:solidFill>
                  <a:latin typeface="Arial"/>
                  <a:ea typeface="+mn-ea"/>
                </a:rPr>
                <a:t>Kagera</a:t>
              </a:r>
            </a:p>
          </p:txBody>
        </p:sp>
      </p:grpSp>
      <p:cxnSp>
        <p:nvCxnSpPr>
          <p:cNvPr id="63" name="Straight Arrow Connector 62"/>
          <p:cNvCxnSpPr>
            <a:stCxn id="9" idx="3"/>
          </p:cNvCxnSpPr>
          <p:nvPr/>
        </p:nvCxnSpPr>
        <p:spPr>
          <a:xfrm flipV="1">
            <a:off x="4257509" y="4080240"/>
            <a:ext cx="317861" cy="1397576"/>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2956041" y="1771410"/>
            <a:ext cx="586421" cy="405968"/>
          </a:xfrm>
          <a:prstGeom prst="straightConnector1">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flipV="1">
            <a:off x="6214939" y="2224447"/>
            <a:ext cx="1227414" cy="135524"/>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68264" y="6659363"/>
            <a:ext cx="5255814" cy="230832"/>
          </a:xfrm>
          <a:prstGeom prst="rect">
            <a:avLst/>
          </a:prstGeom>
          <a:noFill/>
        </p:spPr>
        <p:txBody>
          <a:bodyPr wrap="square" rtlCol="0">
            <a:spAutoFit/>
          </a:bodyPr>
          <a:lstStyle/>
          <a:p>
            <a:pPr fontAlgn="base">
              <a:spcBef>
                <a:spcPct val="0"/>
              </a:spcBef>
              <a:spcAft>
                <a:spcPct val="0"/>
              </a:spcAft>
              <a:buClrTx/>
            </a:pPr>
            <a:r>
              <a:rPr lang="en-GB" sz="900" i="1" u="sng" kern="1200" dirty="0">
                <a:solidFill>
                  <a:srgbClr val="000000">
                    <a:lumMod val="95000"/>
                    <a:lumOff val="5000"/>
                  </a:srgbClr>
                </a:solidFill>
                <a:latin typeface="Arial" charset="0"/>
                <a:ea typeface="+mn-ea"/>
                <a:cs typeface="+mn-cs"/>
              </a:rPr>
              <a:t>ASDP II classifies Kagera and Kigoma regions differently as Lake and Central Zones respectively </a:t>
            </a:r>
          </a:p>
        </p:txBody>
      </p:sp>
      <p:sp>
        <p:nvSpPr>
          <p:cNvPr id="4" name="Title 3"/>
          <p:cNvSpPr>
            <a:spLocks noGrp="1"/>
          </p:cNvSpPr>
          <p:nvPr>
            <p:ph type="title"/>
          </p:nvPr>
        </p:nvSpPr>
        <p:spPr>
          <a:xfrm>
            <a:off x="609600" y="71614"/>
            <a:ext cx="8069580" cy="609398"/>
          </a:xfrm>
        </p:spPr>
        <p:txBody>
          <a:bodyPr lIns="0" tIns="0" rIns="0" bIns="0" anchor="b"/>
          <a:lstStyle/>
          <a:p>
            <a:pPr defTabSz="914395" fontAlgn="auto">
              <a:lnSpc>
                <a:spcPct val="90000"/>
              </a:lnSpc>
              <a:spcAft>
                <a:spcPts val="0"/>
              </a:spcAft>
              <a:tabLst/>
            </a:pPr>
            <a:r>
              <a:rPr lang="en-US" sz="2200" dirty="0">
                <a:latin typeface="Arial" panose="020B0604020202020204" pitchFamily="34" charset="0"/>
                <a:ea typeface="Arial"/>
                <a:cs typeface="Arial" panose="020B0604020202020204" pitchFamily="34" charset="0"/>
                <a:sym typeface="Arial"/>
              </a:rPr>
              <a:t>To deliver system and farmer level interventions, AGRA </a:t>
            </a:r>
            <a:r>
              <a:rPr lang="en-US" sz="2200" dirty="0" smtClean="0">
                <a:latin typeface="Arial" panose="020B0604020202020204" pitchFamily="34" charset="0"/>
                <a:ea typeface="Arial"/>
                <a:cs typeface="Arial" panose="020B0604020202020204" pitchFamily="34" charset="0"/>
                <a:sym typeface="Arial"/>
              </a:rPr>
              <a:t>prioritized </a:t>
            </a:r>
            <a:r>
              <a:rPr lang="en-US" sz="2200" dirty="0">
                <a:latin typeface="Arial" panose="020B0604020202020204" pitchFamily="34" charset="0"/>
                <a:ea typeface="Arial"/>
                <a:cs typeface="Arial" panose="020B0604020202020204" pitchFamily="34" charset="0"/>
                <a:sym typeface="Arial"/>
              </a:rPr>
              <a:t>regions with high potential for impact</a:t>
            </a:r>
          </a:p>
        </p:txBody>
      </p:sp>
      <p:sp>
        <p:nvSpPr>
          <p:cNvPr id="60" name="Rectangle 59"/>
          <p:cNvSpPr/>
          <p:nvPr/>
        </p:nvSpPr>
        <p:spPr>
          <a:xfrm>
            <a:off x="7663543" y="4882348"/>
            <a:ext cx="1753392" cy="707886"/>
          </a:xfrm>
          <a:prstGeom prst="rect">
            <a:avLst/>
          </a:prstGeom>
          <a:solidFill>
            <a:schemeClr val="accent1">
              <a:lumMod val="20000"/>
              <a:lumOff val="80000"/>
            </a:schemeClr>
          </a:solidFill>
          <a:ln w="19050">
            <a:solidFill>
              <a:schemeClr val="accent3"/>
            </a:solidFill>
          </a:ln>
        </p:spPr>
        <p:txBody>
          <a:bodyPr wrap="square">
            <a:spAutoFit/>
          </a:bodyPr>
          <a:lstStyle/>
          <a:p>
            <a:pPr lvl="1" fontAlgn="base">
              <a:spcBef>
                <a:spcPct val="50000"/>
              </a:spcBef>
              <a:spcAft>
                <a:spcPct val="0"/>
              </a:spcAft>
            </a:pPr>
            <a:r>
              <a:rPr lang="en-US" sz="1000" kern="1200" dirty="0">
                <a:latin typeface="Arial" charset="0"/>
                <a:ea typeface="+mn-ea"/>
                <a:cs typeface="Arial" panose="020B0604020202020204" pitchFamily="34" charset="0"/>
              </a:rPr>
              <a:t>Total number of farmers targeted for reach by AGRA interventions in 3 regions – </a:t>
            </a:r>
            <a:r>
              <a:rPr lang="en-US" sz="1000" b="1" kern="1200" dirty="0">
                <a:latin typeface="Arial" charset="0"/>
                <a:ea typeface="+mn-ea"/>
                <a:cs typeface="Arial" panose="020B0604020202020204" pitchFamily="34" charset="0"/>
              </a:rPr>
              <a:t>1,993,249.</a:t>
            </a:r>
            <a:r>
              <a:rPr lang="en-US" sz="1000" kern="1200" dirty="0">
                <a:latin typeface="Arial" charset="0"/>
                <a:ea typeface="+mn-ea"/>
                <a:cs typeface="Arial" panose="020B0604020202020204" pitchFamily="34" charset="0"/>
              </a:rPr>
              <a:t> </a:t>
            </a:r>
          </a:p>
        </p:txBody>
      </p:sp>
      <p:sp>
        <p:nvSpPr>
          <p:cNvPr id="61" name="Rectangle 60"/>
          <p:cNvSpPr/>
          <p:nvPr/>
        </p:nvSpPr>
        <p:spPr>
          <a:xfrm>
            <a:off x="5712098" y="5746854"/>
            <a:ext cx="3265574" cy="553998"/>
          </a:xfrm>
          <a:prstGeom prst="rect">
            <a:avLst/>
          </a:prstGeom>
          <a:solidFill>
            <a:schemeClr val="accent1">
              <a:lumMod val="20000"/>
              <a:lumOff val="80000"/>
            </a:schemeClr>
          </a:solidFill>
          <a:ln w="19050">
            <a:solidFill>
              <a:schemeClr val="accent3"/>
            </a:solidFill>
          </a:ln>
        </p:spPr>
        <p:txBody>
          <a:bodyPr wrap="square">
            <a:spAutoFit/>
          </a:bodyPr>
          <a:lstStyle/>
          <a:p>
            <a:pPr lvl="1" fontAlgn="base">
              <a:spcBef>
                <a:spcPct val="50000"/>
              </a:spcBef>
              <a:spcAft>
                <a:spcPct val="0"/>
              </a:spcAft>
            </a:pPr>
            <a:r>
              <a:rPr lang="en-US" sz="1000" kern="1200" dirty="0">
                <a:latin typeface="Arial" charset="0"/>
                <a:ea typeface="+mn-ea"/>
                <a:cs typeface="Arial" panose="020B0604020202020204" pitchFamily="34" charset="0"/>
              </a:rPr>
              <a:t>Tanzania will also reach an additional estimate of 2,500,000 farmers through government engagement and </a:t>
            </a:r>
            <a:r>
              <a:rPr lang="en-US" sz="1000" kern="1200" dirty="0" smtClean="0">
                <a:latin typeface="Arial" charset="0"/>
                <a:ea typeface="+mn-ea"/>
                <a:cs typeface="Arial" panose="020B0604020202020204" pitchFamily="34" charset="0"/>
              </a:rPr>
              <a:t>other </a:t>
            </a:r>
            <a:r>
              <a:rPr lang="en-US" sz="1000" kern="1200" dirty="0">
                <a:latin typeface="Arial" charset="0"/>
                <a:ea typeface="+mn-ea"/>
                <a:cs typeface="Arial" panose="020B0604020202020204" pitchFamily="34" charset="0"/>
              </a:rPr>
              <a:t>national level interventions</a:t>
            </a:r>
          </a:p>
        </p:txBody>
      </p:sp>
    </p:spTree>
    <p:extLst>
      <p:ext uri="{BB962C8B-B14F-4D97-AF65-F5344CB8AC3E}">
        <p14:creationId xmlns:p14="http://schemas.microsoft.com/office/powerpoint/2010/main" val="102740605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678108797"/>
              </p:ext>
            </p:extLst>
          </p:nvPr>
        </p:nvGraphicFramePr>
        <p:xfrm>
          <a:off x="382467" y="265237"/>
          <a:ext cx="1465" cy="1465"/>
        </p:xfrm>
        <a:graphic>
          <a:graphicData uri="http://schemas.openxmlformats.org/presentationml/2006/ole">
            <mc:AlternateContent xmlns:mc="http://schemas.openxmlformats.org/markup-compatibility/2006">
              <mc:Choice xmlns:v="urn:schemas-microsoft-com:vml" Requires="v">
                <p:oleObj spid="_x0000_s247935" name="think-cell Slide" r:id="rId19" imgW="416" imgH="416" progId="TCLayout.ActiveDocument.1">
                  <p:embed/>
                </p:oleObj>
              </mc:Choice>
              <mc:Fallback>
                <p:oleObj name="think-cell Slide" r:id="rId19" imgW="416" imgH="416" progId="TCLayout.ActiveDocument.1">
                  <p:embed/>
                  <p:pic>
                    <p:nvPicPr>
                      <p:cNvPr id="19" name="Object 18" hidden="1"/>
                      <p:cNvPicPr/>
                      <p:nvPr/>
                    </p:nvPicPr>
                    <p:blipFill>
                      <a:blip r:embed="rId20"/>
                      <a:stretch>
                        <a:fillRect/>
                      </a:stretch>
                    </p:blipFill>
                    <p:spPr>
                      <a:xfrm>
                        <a:off x="382467" y="265237"/>
                        <a:ext cx="1465" cy="1465"/>
                      </a:xfrm>
                      <a:prstGeom prst="rect">
                        <a:avLst/>
                      </a:prstGeom>
                    </p:spPr>
                  </p:pic>
                </p:oleObj>
              </mc:Fallback>
            </mc:AlternateContent>
          </a:graphicData>
        </a:graphic>
      </p:graphicFrame>
      <p:sp>
        <p:nvSpPr>
          <p:cNvPr id="2" name="Rectangle 1" hidden="1"/>
          <p:cNvSpPr/>
          <p:nvPr>
            <p:custDataLst>
              <p:tags r:id="rId3"/>
            </p:custDataLst>
          </p:nvPr>
        </p:nvSpPr>
        <p:spPr bwMode="auto">
          <a:xfrm>
            <a:off x="381000" y="263769"/>
            <a:ext cx="146538" cy="146538"/>
          </a:xfrm>
          <a:prstGeom prst="rect">
            <a:avLst/>
          </a:prstGeom>
          <a:solidFill>
            <a:srgbClr val="BBBBB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buClrTx/>
            </a:pPr>
            <a:endParaRPr lang="en-US" sz="2200" b="1" kern="1200" dirty="0">
              <a:solidFill>
                <a:srgbClr val="FFFFFF"/>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aphicFrame>
        <p:nvGraphicFramePr>
          <p:cNvPr id="29" name="Chart 28"/>
          <p:cNvGraphicFramePr/>
          <p:nvPr>
            <p:custDataLst>
              <p:tags r:id="rId4"/>
            </p:custDataLst>
            <p:extLst>
              <p:ext uri="{D42A27DB-BD31-4B8C-83A1-F6EECF244321}">
                <p14:modId xmlns:p14="http://schemas.microsoft.com/office/powerpoint/2010/main" val="3638339381"/>
              </p:ext>
            </p:extLst>
          </p:nvPr>
        </p:nvGraphicFramePr>
        <p:xfrm>
          <a:off x="527050" y="1250950"/>
          <a:ext cx="3951288" cy="3505200"/>
        </p:xfrm>
        <a:graphic>
          <a:graphicData uri="http://schemas.openxmlformats.org/drawingml/2006/chart">
            <c:chart xmlns:c="http://schemas.openxmlformats.org/drawingml/2006/chart" xmlns:r="http://schemas.openxmlformats.org/officeDocument/2006/relationships" r:id="rId21"/>
          </a:graphicData>
        </a:graphic>
      </p:graphicFrame>
      <p:cxnSp>
        <p:nvCxnSpPr>
          <p:cNvPr id="7" name="Straight Connector 6"/>
          <p:cNvCxnSpPr/>
          <p:nvPr>
            <p:custDataLst>
              <p:tags r:id="rId5"/>
            </p:custDataLst>
          </p:nvPr>
        </p:nvCxnSpPr>
        <p:spPr bwMode="auto">
          <a:xfrm>
            <a:off x="609599" y="3003550"/>
            <a:ext cx="378618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6"/>
            </p:custDataLst>
          </p:nvPr>
        </p:nvCxnSpPr>
        <p:spPr bwMode="auto">
          <a:xfrm>
            <a:off x="2503488" y="1366838"/>
            <a:ext cx="0" cy="3306763"/>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7"/>
            </p:custDataLst>
          </p:nvPr>
        </p:nvCxnSpPr>
        <p:spPr bwMode="auto">
          <a:xfrm flipH="1">
            <a:off x="1876425" y="2814637"/>
            <a:ext cx="14288" cy="1730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 Placeholder 9"/>
          <p:cNvSpPr>
            <a:spLocks noGrp="1"/>
          </p:cNvSpPr>
          <p:nvPr>
            <p:custDataLst>
              <p:tags r:id="rId8"/>
            </p:custDataLst>
          </p:nvPr>
        </p:nvSpPr>
        <p:spPr bwMode="gray">
          <a:xfrm>
            <a:off x="2778125" y="2817813"/>
            <a:ext cx="555625" cy="196850"/>
          </a:xfrm>
          <a:prstGeom prst="rect">
            <a:avLst/>
          </a:prstGeom>
          <a:noFill/>
          <a:extLst>
            <a:ext uri="{909E8E84-426E-40DD-AFC4-6F175D3DCCD1}">
              <a14:hiddenFill xmlns:a14="http://schemas.microsoft.com/office/drawing/2010/main">
                <a:solidFill>
                  <a:schemeClr val="accent1"/>
                </a:solidFill>
              </a14:hiddenFill>
            </a:ext>
          </a:extLst>
        </p:spPr>
        <p:txBody>
          <a:bodyPr wrap="none" lIns="23813" tIns="0" rIns="23813"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fontAlgn="base">
              <a:spcBef>
                <a:spcPct val="0"/>
              </a:spcBef>
              <a:spcAft>
                <a:spcPct val="0"/>
              </a:spcAft>
              <a:buClrTx/>
              <a:buNone/>
            </a:pPr>
            <a:r>
              <a:rPr lang="en-US" altLang="ja-JP" sz="1292" b="1" dirty="0">
                <a:solidFill>
                  <a:srgbClr val="FFC000"/>
                </a:solidFill>
                <a:latin typeface="Arial"/>
                <a:ea typeface="ＭＳ Ｐゴシック" panose="020B0600070205080204" pitchFamily="34" charset="-128"/>
                <a:sym typeface="+mn-lt"/>
              </a:rPr>
              <a:t>Potato</a:t>
            </a:r>
            <a:endParaRPr lang="ja-JP" altLang="en-US" sz="1292" b="1" dirty="0">
              <a:solidFill>
                <a:srgbClr val="FFC000"/>
              </a:solidFill>
              <a:latin typeface="Arial"/>
              <a:ea typeface="ＭＳ Ｐゴシック" panose="020B0600070205080204" pitchFamily="34" charset="-128"/>
              <a:sym typeface="+mn-lt"/>
            </a:endParaRPr>
          </a:p>
        </p:txBody>
      </p:sp>
      <p:sp>
        <p:nvSpPr>
          <p:cNvPr id="13" name="Text Placeholder 16"/>
          <p:cNvSpPr>
            <a:spLocks noGrp="1"/>
          </p:cNvSpPr>
          <p:nvPr>
            <p:custDataLst>
              <p:tags r:id="rId9"/>
            </p:custDataLst>
          </p:nvPr>
        </p:nvSpPr>
        <p:spPr bwMode="auto">
          <a:xfrm>
            <a:off x="265113" y="2376488"/>
            <a:ext cx="196850" cy="1254125"/>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anchor="b" anchorCtr="0">
            <a:noAutofit/>
          </a:bodyPr>
          <a:lstStyle>
            <a:lvl1pPr marL="0" indent="0" algn="l" defTabSz="914400" rtl="0" eaLnBrk="1" latinLnBrk="0" hangingPunct="1">
              <a:spcBef>
                <a:spcPts val="400"/>
              </a:spcBef>
              <a:buSzPct val="25000"/>
              <a:buFont typeface="Arial" pitchFamily="34" charset="0"/>
              <a:buChar char="‏"/>
              <a:defRPr sz="1800" kern="1200">
                <a:solidFill>
                  <a:schemeClr val="tx1"/>
                </a:solidFill>
                <a:latin typeface="+mn-lt"/>
                <a:ea typeface="+mn-ea"/>
                <a:cs typeface="Calibri"/>
              </a:defRPr>
            </a:lvl1pPr>
            <a:lvl2pPr marL="342900" indent="-228600" algn="l" defTabSz="914400" rtl="0" eaLnBrk="1" latinLnBrk="0" hangingPunct="1">
              <a:spcBef>
                <a:spcPts val="400"/>
              </a:spcBef>
              <a:buSzPct val="65000"/>
              <a:buFont typeface="Wingdings" pitchFamily="2" charset="2"/>
              <a:buChar char="l"/>
              <a:defRPr sz="1800" kern="1200">
                <a:solidFill>
                  <a:schemeClr val="tx1"/>
                </a:solidFill>
                <a:latin typeface="+mn-lt"/>
                <a:ea typeface="+mn-ea"/>
                <a:cs typeface="Calibri"/>
              </a:defRPr>
            </a:lvl2pPr>
            <a:lvl3pPr marL="685800" indent="-228600" algn="l" defTabSz="914400" rtl="0" eaLnBrk="1" latinLnBrk="0" hangingPunct="1">
              <a:spcBef>
                <a:spcPts val="400"/>
              </a:spcBef>
              <a:buFont typeface="Arial" pitchFamily="34" charset="0"/>
              <a:buChar char="–"/>
              <a:defRPr sz="1800" kern="1200">
                <a:solidFill>
                  <a:schemeClr val="tx1"/>
                </a:solidFill>
                <a:latin typeface="+mn-lt"/>
                <a:ea typeface="+mn-ea"/>
                <a:cs typeface="Calibri"/>
              </a:defRPr>
            </a:lvl3pPr>
            <a:lvl4pPr marL="1028700" indent="-228600" algn="l" defTabSz="914400" rtl="0" eaLnBrk="1" latinLnBrk="0" hangingPunct="1">
              <a:spcBef>
                <a:spcPts val="400"/>
              </a:spcBef>
              <a:buSzPct val="55000"/>
              <a:buFont typeface="Wingdings" pitchFamily="2" charset="2"/>
              <a:buChar char="¡"/>
              <a:defRPr sz="1600" kern="1200">
                <a:solidFill>
                  <a:schemeClr val="tx1"/>
                </a:solidFill>
                <a:latin typeface="+mn-lt"/>
                <a:ea typeface="+mn-ea"/>
                <a:cs typeface="Calibri"/>
              </a:defRPr>
            </a:lvl4pPr>
            <a:lvl5pPr marL="1371600" indent="-228600" algn="l" defTabSz="914400" rtl="0" eaLnBrk="1" latinLnBrk="0" hangingPunct="1">
              <a:spcBef>
                <a:spcPts val="400"/>
              </a:spcBef>
              <a:buFont typeface="Arial" pitchFamily="34" charset="0"/>
              <a:buChar char="–"/>
              <a:defRPr sz="1600" kern="1200">
                <a:solidFill>
                  <a:schemeClr val="tx1"/>
                </a:solidFill>
                <a:latin typeface="+mn-lt"/>
                <a:ea typeface="+mn-ea"/>
                <a:cs typeface="Calibr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base">
              <a:spcBef>
                <a:spcPct val="0"/>
              </a:spcBef>
              <a:spcAft>
                <a:spcPct val="0"/>
              </a:spcAft>
              <a:buClrTx/>
              <a:buNone/>
            </a:pPr>
            <a:r>
              <a:rPr lang="en-US" sz="1292" b="1" dirty="0">
                <a:solidFill>
                  <a:srgbClr val="000000"/>
                </a:solidFill>
                <a:latin typeface="Arial"/>
              </a:rPr>
              <a:t>Impact potential</a:t>
            </a:r>
          </a:p>
        </p:txBody>
      </p:sp>
      <p:sp>
        <p:nvSpPr>
          <p:cNvPr id="10" name="Text Placeholder 2"/>
          <p:cNvSpPr>
            <a:spLocks noGrp="1"/>
          </p:cNvSpPr>
          <p:nvPr>
            <p:custDataLst>
              <p:tags r:id="rId10"/>
            </p:custDataLst>
          </p:nvPr>
        </p:nvSpPr>
        <p:spPr bwMode="gray">
          <a:xfrm>
            <a:off x="1685925" y="2617788"/>
            <a:ext cx="430213" cy="196362"/>
          </a:xfrm>
          <a:prstGeom prst="rect">
            <a:avLst/>
          </a:prstGeom>
          <a:noFill/>
          <a:extLst>
            <a:ext uri="{909E8E84-426E-40DD-AFC4-6F175D3DCCD1}">
              <a14:hiddenFill xmlns:a14="http://schemas.microsoft.com/office/drawing/2010/main">
                <a:solidFill>
                  <a:schemeClr val="accent1"/>
                </a:solidFill>
              </a14:hiddenFill>
            </a:ext>
          </a:extLst>
        </p:spPr>
        <p:txBody>
          <a:bodyPr wrap="none" lIns="23813" tIns="0" rIns="23813" bIns="0" numCol="1" spcCol="0" anchor="t" anchorCtr="0">
            <a:noAutofit/>
          </a:bodyPr>
          <a:lstStyle>
            <a:lvl1pPr marL="0" indent="0" algn="l" defTabSz="914400" rtl="0" eaLnBrk="1" latinLnBrk="0" hangingPunct="1">
              <a:spcBef>
                <a:spcPts val="400"/>
              </a:spcBef>
              <a:buSzPct val="25000"/>
              <a:buFont typeface="Arial" pitchFamily="34" charset="0"/>
              <a:buChar char="‏"/>
              <a:defRPr sz="1800" kern="1200">
                <a:solidFill>
                  <a:schemeClr val="tx1"/>
                </a:solidFill>
                <a:latin typeface="+mn-lt"/>
                <a:ea typeface="+mn-ea"/>
                <a:cs typeface="Calibri"/>
              </a:defRPr>
            </a:lvl1pPr>
            <a:lvl2pPr marL="342900" indent="-228600" algn="l" defTabSz="914400" rtl="0" eaLnBrk="1" latinLnBrk="0" hangingPunct="1">
              <a:spcBef>
                <a:spcPts val="400"/>
              </a:spcBef>
              <a:buSzPct val="65000"/>
              <a:buFont typeface="Wingdings" pitchFamily="2" charset="2"/>
              <a:buChar char="l"/>
              <a:defRPr sz="1800" kern="1200">
                <a:solidFill>
                  <a:schemeClr val="tx1"/>
                </a:solidFill>
                <a:latin typeface="+mn-lt"/>
                <a:ea typeface="+mn-ea"/>
                <a:cs typeface="Calibri"/>
              </a:defRPr>
            </a:lvl2pPr>
            <a:lvl3pPr marL="685800" indent="-228600" algn="l" defTabSz="914400" rtl="0" eaLnBrk="1" latinLnBrk="0" hangingPunct="1">
              <a:spcBef>
                <a:spcPts val="400"/>
              </a:spcBef>
              <a:buFont typeface="Arial" pitchFamily="34" charset="0"/>
              <a:buChar char="–"/>
              <a:defRPr sz="1800" kern="1200">
                <a:solidFill>
                  <a:schemeClr val="tx1"/>
                </a:solidFill>
                <a:latin typeface="+mn-lt"/>
                <a:ea typeface="+mn-ea"/>
                <a:cs typeface="Calibri"/>
              </a:defRPr>
            </a:lvl3pPr>
            <a:lvl4pPr marL="1028700" indent="-228600" algn="l" defTabSz="914400" rtl="0" eaLnBrk="1" latinLnBrk="0" hangingPunct="1">
              <a:spcBef>
                <a:spcPts val="400"/>
              </a:spcBef>
              <a:buSzPct val="55000"/>
              <a:buFont typeface="Wingdings" pitchFamily="2" charset="2"/>
              <a:buChar char="¡"/>
              <a:defRPr sz="1600" kern="1200">
                <a:solidFill>
                  <a:schemeClr val="tx1"/>
                </a:solidFill>
                <a:latin typeface="+mn-lt"/>
                <a:ea typeface="+mn-ea"/>
                <a:cs typeface="Calibri"/>
              </a:defRPr>
            </a:lvl4pPr>
            <a:lvl5pPr marL="1371600" indent="-228600" algn="l" defTabSz="914400" rtl="0" eaLnBrk="1" latinLnBrk="0" hangingPunct="1">
              <a:spcBef>
                <a:spcPts val="400"/>
              </a:spcBef>
              <a:buFont typeface="Arial" pitchFamily="34" charset="0"/>
              <a:buChar char="–"/>
              <a:defRPr sz="1600" kern="1200">
                <a:solidFill>
                  <a:schemeClr val="tx1"/>
                </a:solidFill>
                <a:latin typeface="+mn-lt"/>
                <a:ea typeface="+mn-ea"/>
                <a:cs typeface="Calibr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base">
              <a:spcBef>
                <a:spcPct val="0"/>
              </a:spcBef>
              <a:spcAft>
                <a:spcPct val="0"/>
              </a:spcAft>
              <a:buClrTx/>
              <a:buNone/>
            </a:pPr>
            <a:fld id="{C94136AE-E09B-4827-90E7-E9BCA1ED3A31}" type="datetime'''''''''''Mi''''''ll''''''e''''''''''''''''''t'''''''''''''''">
              <a:rPr lang="en-US" sz="1292">
                <a:solidFill>
                  <a:srgbClr val="FFFFFF">
                    <a:lumMod val="50000"/>
                  </a:srgbClr>
                </a:solidFill>
                <a:latin typeface="Arial"/>
                <a:ea typeface="ＭＳ Ｐゴシック" panose="020B0600070205080204" pitchFamily="34" charset="-128"/>
              </a:rPr>
              <a:pPr fontAlgn="base">
                <a:spcBef>
                  <a:spcPct val="0"/>
                </a:spcBef>
                <a:spcAft>
                  <a:spcPct val="0"/>
                </a:spcAft>
                <a:buClrTx/>
                <a:buNone/>
              </a:pPr>
              <a:t>Millet</a:t>
            </a:fld>
            <a:endParaRPr lang="ja-JP" altLang="en-US" sz="1292" dirty="0">
              <a:solidFill>
                <a:srgbClr val="FFFFFF">
                  <a:lumMod val="50000"/>
                </a:srgbClr>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14" name="Text Placeholder 15"/>
          <p:cNvSpPr>
            <a:spLocks noGrp="1"/>
          </p:cNvSpPr>
          <p:nvPr>
            <p:custDataLst>
              <p:tags r:id="rId11"/>
            </p:custDataLst>
          </p:nvPr>
        </p:nvSpPr>
        <p:spPr bwMode="auto">
          <a:xfrm>
            <a:off x="1879600" y="4821238"/>
            <a:ext cx="1244600" cy="3937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914400" rtl="0" eaLnBrk="1" latinLnBrk="0" hangingPunct="1">
              <a:spcBef>
                <a:spcPts val="400"/>
              </a:spcBef>
              <a:buSzPct val="25000"/>
              <a:buFont typeface="Arial" pitchFamily="34" charset="0"/>
              <a:buChar char="‏"/>
              <a:defRPr sz="1800" kern="1200">
                <a:solidFill>
                  <a:schemeClr val="tx1"/>
                </a:solidFill>
                <a:latin typeface="+mn-lt"/>
                <a:ea typeface="+mn-ea"/>
                <a:cs typeface="Calibri"/>
              </a:defRPr>
            </a:lvl1pPr>
            <a:lvl2pPr marL="342900" indent="-228600" algn="l" defTabSz="914400" rtl="0" eaLnBrk="1" latinLnBrk="0" hangingPunct="1">
              <a:spcBef>
                <a:spcPts val="400"/>
              </a:spcBef>
              <a:buSzPct val="65000"/>
              <a:buFont typeface="Wingdings" pitchFamily="2" charset="2"/>
              <a:buChar char="l"/>
              <a:defRPr sz="1800" kern="1200">
                <a:solidFill>
                  <a:schemeClr val="tx1"/>
                </a:solidFill>
                <a:latin typeface="+mn-lt"/>
                <a:ea typeface="+mn-ea"/>
                <a:cs typeface="Calibri"/>
              </a:defRPr>
            </a:lvl2pPr>
            <a:lvl3pPr marL="685800" indent="-228600" algn="l" defTabSz="914400" rtl="0" eaLnBrk="1" latinLnBrk="0" hangingPunct="1">
              <a:spcBef>
                <a:spcPts val="400"/>
              </a:spcBef>
              <a:buFont typeface="Arial" pitchFamily="34" charset="0"/>
              <a:buChar char="–"/>
              <a:defRPr sz="1800" kern="1200">
                <a:solidFill>
                  <a:schemeClr val="tx1"/>
                </a:solidFill>
                <a:latin typeface="+mn-lt"/>
                <a:ea typeface="+mn-ea"/>
                <a:cs typeface="Calibri"/>
              </a:defRPr>
            </a:lvl3pPr>
            <a:lvl4pPr marL="1028700" indent="-228600" algn="l" defTabSz="914400" rtl="0" eaLnBrk="1" latinLnBrk="0" hangingPunct="1">
              <a:spcBef>
                <a:spcPts val="400"/>
              </a:spcBef>
              <a:buSzPct val="55000"/>
              <a:buFont typeface="Wingdings" pitchFamily="2" charset="2"/>
              <a:buChar char="¡"/>
              <a:defRPr sz="1600" kern="1200">
                <a:solidFill>
                  <a:schemeClr val="tx1"/>
                </a:solidFill>
                <a:latin typeface="+mn-lt"/>
                <a:ea typeface="+mn-ea"/>
                <a:cs typeface="Calibri"/>
              </a:defRPr>
            </a:lvl4pPr>
            <a:lvl5pPr marL="1371600" indent="-228600" algn="l" defTabSz="914400" rtl="0" eaLnBrk="1" latinLnBrk="0" hangingPunct="1">
              <a:spcBef>
                <a:spcPts val="400"/>
              </a:spcBef>
              <a:buFont typeface="Arial" pitchFamily="34" charset="0"/>
              <a:buChar char="–"/>
              <a:defRPr sz="1600" kern="1200">
                <a:solidFill>
                  <a:schemeClr val="tx1"/>
                </a:solidFill>
                <a:latin typeface="+mn-lt"/>
                <a:ea typeface="+mn-ea"/>
                <a:cs typeface="Calibr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base">
              <a:spcBef>
                <a:spcPct val="0"/>
              </a:spcBef>
              <a:spcAft>
                <a:spcPct val="0"/>
              </a:spcAft>
              <a:buClrTx/>
              <a:buNone/>
            </a:pPr>
            <a:r>
              <a:rPr lang="en-US" sz="1292" b="1" dirty="0">
                <a:solidFill>
                  <a:srgbClr val="000000"/>
                </a:solidFill>
                <a:latin typeface="Arial"/>
              </a:rPr>
              <a:t>Ease of delivery</a:t>
            </a:r>
          </a:p>
          <a:p>
            <a:pPr algn="ctr" fontAlgn="base">
              <a:spcBef>
                <a:spcPct val="0"/>
              </a:spcBef>
              <a:spcAft>
                <a:spcPct val="0"/>
              </a:spcAft>
              <a:buClrTx/>
              <a:buNone/>
            </a:pPr>
            <a:endParaRPr lang="en-GB" sz="1292" dirty="0">
              <a:solidFill>
                <a:srgbClr val="000000"/>
              </a:solidFill>
              <a:latin typeface="Arial"/>
              <a:sym typeface="+mn-lt"/>
            </a:endParaRPr>
          </a:p>
        </p:txBody>
      </p:sp>
      <p:sp>
        <p:nvSpPr>
          <p:cNvPr id="18" name="Text Placeholder 1"/>
          <p:cNvSpPr>
            <a:spLocks noGrp="1"/>
          </p:cNvSpPr>
          <p:nvPr>
            <p:custDataLst>
              <p:tags r:id="rId12"/>
            </p:custDataLst>
          </p:nvPr>
        </p:nvSpPr>
        <p:spPr bwMode="gray">
          <a:xfrm>
            <a:off x="3836988" y="2163763"/>
            <a:ext cx="493713" cy="196850"/>
          </a:xfrm>
          <a:prstGeom prst="rect">
            <a:avLst/>
          </a:prstGeom>
          <a:noFill/>
          <a:extLst>
            <a:ext uri="{909E8E84-426E-40DD-AFC4-6F175D3DCCD1}">
              <a14:hiddenFill xmlns:a14="http://schemas.microsoft.com/office/drawing/2010/main">
                <a:solidFill>
                  <a:schemeClr val="accent1"/>
                </a:solidFill>
              </a14:hiddenFill>
            </a:ext>
          </a:extLst>
        </p:spPr>
        <p:txBody>
          <a:bodyPr wrap="none" lIns="23813" tIns="0" rIns="23813"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fontAlgn="base">
              <a:spcBef>
                <a:spcPct val="0"/>
              </a:spcBef>
              <a:spcAft>
                <a:spcPct val="0"/>
              </a:spcAft>
              <a:buClrTx/>
              <a:buNone/>
            </a:pPr>
            <a:fld id="{3CF438B9-9503-43A2-B3F9-39539F784F15}" type="datetime'Ma''''''''''''''i''''z''''''''''''''''e'''''''''''''''''''''">
              <a:rPr lang="en-US" sz="1292" b="1">
                <a:solidFill>
                  <a:srgbClr val="990000"/>
                </a:solidFill>
                <a:latin typeface="Arial"/>
                <a:ea typeface="ＭＳ Ｐゴシック" panose="020B0600070205080204" pitchFamily="34" charset="-128"/>
              </a:rPr>
              <a:pPr marL="0" indent="0" fontAlgn="base">
                <a:spcBef>
                  <a:spcPct val="0"/>
                </a:spcBef>
                <a:spcAft>
                  <a:spcPct val="0"/>
                </a:spcAft>
                <a:buClrTx/>
                <a:buNone/>
              </a:pPr>
              <a:t>Maize</a:t>
            </a:fld>
            <a:endParaRPr lang="ja-JP" altLang="en-US" sz="1292" b="1" dirty="0">
              <a:solidFill>
                <a:srgbClr val="990000"/>
              </a:solidFill>
              <a:latin typeface="Arial"/>
              <a:ea typeface="ＭＳ Ｐゴシック" panose="020B0600070205080204" pitchFamily="34" charset="-128"/>
              <a:sym typeface="+mn-lt"/>
            </a:endParaRPr>
          </a:p>
        </p:txBody>
      </p:sp>
      <p:sp useBgFill="1">
        <p:nvSpPr>
          <p:cNvPr id="9" name="Text Placeholder 10"/>
          <p:cNvSpPr>
            <a:spLocks noGrp="1"/>
          </p:cNvSpPr>
          <p:nvPr>
            <p:custDataLst>
              <p:tags r:id="rId13"/>
            </p:custDataLst>
          </p:nvPr>
        </p:nvSpPr>
        <p:spPr bwMode="gray">
          <a:xfrm>
            <a:off x="1860550" y="2952750"/>
            <a:ext cx="709613" cy="196362"/>
          </a:xfrm>
          <a:prstGeom prst="rect">
            <a:avLst/>
          </a:prstGeom>
          <a:extLst/>
        </p:spPr>
        <p:txBody>
          <a:bodyPr wrap="none" lIns="23813" tIns="0" rIns="23813" bIns="0" numCol="1" spc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fontAlgn="base">
              <a:spcBef>
                <a:spcPct val="0"/>
              </a:spcBef>
              <a:spcAft>
                <a:spcPct val="0"/>
              </a:spcAft>
              <a:buClrTx/>
              <a:buNone/>
            </a:pPr>
            <a:fld id="{88F229A2-AC7C-46E3-85E5-CD55A8842D8D}" type="datetime'''''''''S''o''''''''''''''''''''''''rghu''''''''''''''m'">
              <a:rPr lang="en-US" sz="1292">
                <a:solidFill>
                  <a:srgbClr val="FFFFFF">
                    <a:lumMod val="50000"/>
                  </a:srgbClr>
                </a:solidFill>
                <a:latin typeface="Arial"/>
                <a:ea typeface="ＭＳ Ｐゴシック" panose="020B0600070205080204" pitchFamily="34" charset="-128"/>
              </a:rPr>
              <a:pPr marL="0" indent="0" fontAlgn="base">
                <a:spcBef>
                  <a:spcPct val="0"/>
                </a:spcBef>
                <a:spcAft>
                  <a:spcPct val="0"/>
                </a:spcAft>
                <a:buClrTx/>
                <a:buNone/>
              </a:pPr>
              <a:t>Sorghum</a:t>
            </a:fld>
            <a:endParaRPr lang="ja-JP" altLang="en-US" sz="1292" dirty="0">
              <a:solidFill>
                <a:srgbClr val="FFFFFF">
                  <a:lumMod val="50000"/>
                </a:srgbClr>
              </a:solidFill>
              <a:latin typeface="Arial"/>
              <a:ea typeface="ＭＳ Ｐゴシック" panose="020B0600070205080204" pitchFamily="34" charset="-128"/>
              <a:sym typeface="+mn-lt"/>
            </a:endParaRPr>
          </a:p>
        </p:txBody>
      </p:sp>
      <p:sp useBgFill="1">
        <p:nvSpPr>
          <p:cNvPr id="17" name="Text Placeholder 2"/>
          <p:cNvSpPr>
            <a:spLocks noGrp="1"/>
          </p:cNvSpPr>
          <p:nvPr>
            <p:custDataLst>
              <p:tags r:id="rId14"/>
            </p:custDataLst>
          </p:nvPr>
        </p:nvSpPr>
        <p:spPr bwMode="gray">
          <a:xfrm>
            <a:off x="3619500" y="2854325"/>
            <a:ext cx="538163" cy="196362"/>
          </a:xfrm>
          <a:prstGeom prst="rect">
            <a:avLst/>
          </a:prstGeom>
          <a:extLst/>
        </p:spPr>
        <p:txBody>
          <a:bodyPr wrap="none" lIns="23813" tIns="0" rIns="23813"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fontAlgn="base">
              <a:spcBef>
                <a:spcPct val="0"/>
              </a:spcBef>
              <a:spcAft>
                <a:spcPct val="0"/>
              </a:spcAft>
              <a:buClrTx/>
              <a:buNone/>
            </a:pPr>
            <a:fld id="{5DB4EA72-FF9D-4ADF-8643-83CE75513AA1}" type="datetime'''''''B''''''''''e''''''''''''a''''''''''n''''''''''''s'">
              <a:rPr lang="en-US" sz="1292" b="1">
                <a:solidFill>
                  <a:srgbClr val="990000"/>
                </a:solidFill>
                <a:latin typeface="Arial"/>
                <a:ea typeface="ＭＳ Ｐゴシック" panose="020B0600070205080204" pitchFamily="34" charset="-128"/>
              </a:rPr>
              <a:pPr marL="0" indent="0" fontAlgn="base">
                <a:spcBef>
                  <a:spcPct val="0"/>
                </a:spcBef>
                <a:spcAft>
                  <a:spcPct val="0"/>
                </a:spcAft>
                <a:buClrTx/>
                <a:buNone/>
              </a:pPr>
              <a:t>Beans</a:t>
            </a:fld>
            <a:endParaRPr lang="ja-JP" altLang="en-US" sz="1292" b="1" dirty="0">
              <a:solidFill>
                <a:srgbClr val="990000"/>
              </a:solidFill>
              <a:latin typeface="Arial"/>
              <a:ea typeface="ＭＳ Ｐゴシック" panose="020B0600070205080204" pitchFamily="34" charset="-128"/>
              <a:sym typeface="+mn-lt"/>
            </a:endParaRPr>
          </a:p>
        </p:txBody>
      </p:sp>
      <p:sp>
        <p:nvSpPr>
          <p:cNvPr id="16" name="Text Placeholder 3"/>
          <p:cNvSpPr>
            <a:spLocks noGrp="1"/>
          </p:cNvSpPr>
          <p:nvPr>
            <p:custDataLst>
              <p:tags r:id="rId15"/>
            </p:custDataLst>
          </p:nvPr>
        </p:nvSpPr>
        <p:spPr bwMode="gray">
          <a:xfrm>
            <a:off x="3948113" y="3071813"/>
            <a:ext cx="393700" cy="196850"/>
          </a:xfrm>
          <a:prstGeom prst="rect">
            <a:avLst/>
          </a:prstGeom>
          <a:noFill/>
          <a:extLst>
            <a:ext uri="{909E8E84-426E-40DD-AFC4-6F175D3DCCD1}">
              <a14:hiddenFill xmlns:a14="http://schemas.microsoft.com/office/drawing/2010/main">
                <a:solidFill>
                  <a:schemeClr val="accent1"/>
                </a:solidFill>
              </a14:hiddenFill>
            </a:ext>
          </a:extLst>
        </p:spPr>
        <p:txBody>
          <a:bodyPr wrap="none" lIns="23813" tIns="0" rIns="23813"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fontAlgn="base">
              <a:spcBef>
                <a:spcPct val="0"/>
              </a:spcBef>
              <a:spcAft>
                <a:spcPct val="0"/>
              </a:spcAft>
              <a:buClrTx/>
              <a:buNone/>
            </a:pPr>
            <a:fld id="{1B1767DE-9DDE-45A2-A544-CD8DC06D5DC1}" type="datetime'''''R''''''''''i''''''''''''''''c''''''''''''e'''''''">
              <a:rPr lang="en-US" sz="1292" b="1">
                <a:solidFill>
                  <a:srgbClr val="990000"/>
                </a:solidFill>
                <a:latin typeface="Arial"/>
                <a:ea typeface="ＭＳ Ｐゴシック" panose="020B0600070205080204" pitchFamily="34" charset="-128"/>
              </a:rPr>
              <a:pPr marL="0" indent="0" fontAlgn="base">
                <a:spcBef>
                  <a:spcPct val="0"/>
                </a:spcBef>
                <a:spcAft>
                  <a:spcPct val="0"/>
                </a:spcAft>
                <a:buClrTx/>
                <a:buNone/>
              </a:pPr>
              <a:t>Rice</a:t>
            </a:fld>
            <a:endParaRPr lang="ja-JP" altLang="en-US" sz="1292" b="1" dirty="0">
              <a:solidFill>
                <a:srgbClr val="990000"/>
              </a:solidFill>
              <a:latin typeface="Arial"/>
              <a:ea typeface="ＭＳ Ｐゴシック" panose="020B0600070205080204" pitchFamily="34" charset="-128"/>
              <a:sym typeface="+mn-lt"/>
            </a:endParaRPr>
          </a:p>
        </p:txBody>
      </p:sp>
      <p:sp useBgFill="1">
        <p:nvSpPr>
          <p:cNvPr id="11" name="Text Placeholder 4"/>
          <p:cNvSpPr>
            <a:spLocks noGrp="1"/>
          </p:cNvSpPr>
          <p:nvPr>
            <p:custDataLst>
              <p:tags r:id="rId16"/>
            </p:custDataLst>
          </p:nvPr>
        </p:nvSpPr>
        <p:spPr bwMode="gray">
          <a:xfrm>
            <a:off x="2359025" y="2579688"/>
            <a:ext cx="709613" cy="196850"/>
          </a:xfrm>
          <a:prstGeom prst="rect">
            <a:avLst/>
          </a:prstGeom>
          <a:extLst/>
        </p:spPr>
        <p:txBody>
          <a:bodyPr wrap="none" lIns="23813" tIns="0" rIns="23813"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fontAlgn="base">
              <a:spcBef>
                <a:spcPct val="0"/>
              </a:spcBef>
              <a:spcAft>
                <a:spcPct val="0"/>
              </a:spcAft>
              <a:buClrTx/>
              <a:buNone/>
            </a:pPr>
            <a:fld id="{6F61B022-DA7F-4934-B943-6D89BCA8A58D}" type="datetime'''''''''C''''''''as''''''''''''''s''a''''''''v''''a'''''''''">
              <a:rPr lang="en-US" sz="1292" b="1">
                <a:solidFill>
                  <a:srgbClr val="FFC000"/>
                </a:solidFill>
                <a:latin typeface="Arial"/>
                <a:ea typeface="ＭＳ Ｐゴシック" panose="020B0600070205080204" pitchFamily="34" charset="-128"/>
              </a:rPr>
              <a:pPr marL="0" indent="0" fontAlgn="base">
                <a:spcBef>
                  <a:spcPct val="0"/>
                </a:spcBef>
                <a:spcAft>
                  <a:spcPct val="0"/>
                </a:spcAft>
                <a:buClrTx/>
                <a:buNone/>
              </a:pPr>
              <a:t>Cassava</a:t>
            </a:fld>
            <a:endParaRPr lang="ja-JP" altLang="en-US" sz="1292" b="1" dirty="0">
              <a:solidFill>
                <a:srgbClr val="FFC000"/>
              </a:solidFill>
              <a:latin typeface="Arial"/>
              <a:ea typeface="ＭＳ Ｐゴシック" panose="020B0600070205080204" pitchFamily="34" charset="-128"/>
              <a:sym typeface="+mn-lt"/>
            </a:endParaRPr>
          </a:p>
        </p:txBody>
      </p:sp>
      <p:sp>
        <p:nvSpPr>
          <p:cNvPr id="15" name="Text Placeholder 3"/>
          <p:cNvSpPr>
            <a:spLocks noGrp="1"/>
          </p:cNvSpPr>
          <p:nvPr>
            <p:custDataLst>
              <p:tags r:id="rId17"/>
            </p:custDataLst>
          </p:nvPr>
        </p:nvSpPr>
        <p:spPr bwMode="gray">
          <a:xfrm>
            <a:off x="2778125" y="3087688"/>
            <a:ext cx="955675" cy="196850"/>
          </a:xfrm>
          <a:prstGeom prst="rect">
            <a:avLst/>
          </a:prstGeom>
          <a:noFill/>
          <a:extLst>
            <a:ext uri="{909E8E84-426E-40DD-AFC4-6F175D3DCCD1}">
              <a14:hiddenFill xmlns:a14="http://schemas.microsoft.com/office/drawing/2010/main">
                <a:solidFill>
                  <a:schemeClr val="accent1"/>
                </a:solidFill>
              </a14:hiddenFill>
            </a:ext>
          </a:extLst>
        </p:spPr>
        <p:txBody>
          <a:bodyPr wrap="none" lIns="23813" tIns="0" rIns="23813" bIns="0" numCol="1" spcCol="0" anchor="ctr" anchorCtr="0">
            <a:noAutofit/>
          </a:bodyPr>
          <a:lstStyle>
            <a:lvl1pPr marL="0" indent="0" algn="l" defTabSz="914400" rtl="0" eaLnBrk="1" latinLnBrk="0" hangingPunct="1">
              <a:spcBef>
                <a:spcPts val="400"/>
              </a:spcBef>
              <a:buSzPct val="25000"/>
              <a:buFont typeface="Arial" pitchFamily="34" charset="0"/>
              <a:buChar char="‏"/>
              <a:defRPr sz="1800" kern="1200">
                <a:solidFill>
                  <a:schemeClr val="tx1"/>
                </a:solidFill>
                <a:latin typeface="+mn-lt"/>
                <a:ea typeface="+mn-ea"/>
                <a:cs typeface="Calibri"/>
              </a:defRPr>
            </a:lvl1pPr>
            <a:lvl2pPr marL="342900" indent="-228600" algn="l" defTabSz="914400" rtl="0" eaLnBrk="1" latinLnBrk="0" hangingPunct="1">
              <a:spcBef>
                <a:spcPts val="400"/>
              </a:spcBef>
              <a:buSzPct val="65000"/>
              <a:buFont typeface="Wingdings" pitchFamily="2" charset="2"/>
              <a:buChar char="l"/>
              <a:defRPr sz="1800" kern="1200">
                <a:solidFill>
                  <a:schemeClr val="tx1"/>
                </a:solidFill>
                <a:latin typeface="+mn-lt"/>
                <a:ea typeface="+mn-ea"/>
                <a:cs typeface="Calibri"/>
              </a:defRPr>
            </a:lvl2pPr>
            <a:lvl3pPr marL="685800" indent="-228600" algn="l" defTabSz="914400" rtl="0" eaLnBrk="1" latinLnBrk="0" hangingPunct="1">
              <a:spcBef>
                <a:spcPts val="400"/>
              </a:spcBef>
              <a:buFont typeface="Arial" pitchFamily="34" charset="0"/>
              <a:buChar char="–"/>
              <a:defRPr sz="1800" kern="1200">
                <a:solidFill>
                  <a:schemeClr val="tx1"/>
                </a:solidFill>
                <a:latin typeface="+mn-lt"/>
                <a:ea typeface="+mn-ea"/>
                <a:cs typeface="Calibri"/>
              </a:defRPr>
            </a:lvl3pPr>
            <a:lvl4pPr marL="1028700" indent="-228600" algn="l" defTabSz="914400" rtl="0" eaLnBrk="1" latinLnBrk="0" hangingPunct="1">
              <a:spcBef>
                <a:spcPts val="400"/>
              </a:spcBef>
              <a:buSzPct val="55000"/>
              <a:buFont typeface="Wingdings" pitchFamily="2" charset="2"/>
              <a:buChar char="¡"/>
              <a:defRPr sz="1600" kern="1200">
                <a:solidFill>
                  <a:schemeClr val="tx1"/>
                </a:solidFill>
                <a:latin typeface="+mn-lt"/>
                <a:ea typeface="+mn-ea"/>
                <a:cs typeface="Calibri"/>
              </a:defRPr>
            </a:lvl4pPr>
            <a:lvl5pPr marL="1371600" indent="-228600" algn="l" defTabSz="914400" rtl="0" eaLnBrk="1" latinLnBrk="0" hangingPunct="1">
              <a:spcBef>
                <a:spcPts val="400"/>
              </a:spcBef>
              <a:buFont typeface="Arial" pitchFamily="34" charset="0"/>
              <a:buChar char="–"/>
              <a:defRPr sz="1600" kern="1200">
                <a:solidFill>
                  <a:schemeClr val="tx1"/>
                </a:solidFill>
                <a:latin typeface="+mn-lt"/>
                <a:ea typeface="+mn-ea"/>
                <a:cs typeface="Calibr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base">
              <a:spcBef>
                <a:spcPct val="0"/>
              </a:spcBef>
              <a:spcAft>
                <a:spcPct val="0"/>
              </a:spcAft>
              <a:buClrTx/>
              <a:buNone/>
            </a:pPr>
            <a:fld id="{607FCDFB-0E11-4980-BA83-D2058964E760}" type="datetime'''P''''''i''''''''''geon'''''' p''''''''e''''''''''as'''">
              <a:rPr lang="en-US" sz="1292">
                <a:solidFill>
                  <a:srgbClr val="FFFFFF">
                    <a:lumMod val="50000"/>
                  </a:srgbClr>
                </a:solidFill>
                <a:latin typeface="Arial"/>
                <a:ea typeface="ＭＳ Ｐゴシック" panose="020B0600070205080204" pitchFamily="34" charset="-128"/>
              </a:rPr>
              <a:pPr fontAlgn="base">
                <a:spcBef>
                  <a:spcPct val="0"/>
                </a:spcBef>
                <a:spcAft>
                  <a:spcPct val="0"/>
                </a:spcAft>
                <a:buClrTx/>
                <a:buNone/>
              </a:pPr>
              <a:t>Pigeon peas</a:t>
            </a:fld>
            <a:endParaRPr lang="ja-JP" altLang="en-US" sz="1292" dirty="0">
              <a:solidFill>
                <a:srgbClr val="FFFFFF">
                  <a:lumMod val="50000"/>
                </a:srgbClr>
              </a:solidFill>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20" name="TextBox 19"/>
          <p:cNvSpPr txBox="1"/>
          <p:nvPr/>
        </p:nvSpPr>
        <p:spPr>
          <a:xfrm>
            <a:off x="933450" y="4732516"/>
            <a:ext cx="1347110" cy="656590"/>
          </a:xfrm>
          <a:prstGeom prst="rect">
            <a:avLst/>
          </a:prstGeom>
          <a:noFill/>
        </p:spPr>
        <p:txBody>
          <a:bodyPr wrap="square" lIns="42203" rIns="42203" rtlCol="0">
            <a:spAutoFit/>
          </a:bodyPr>
          <a:lstStyle/>
          <a:p>
            <a:pPr fontAlgn="base">
              <a:spcBef>
                <a:spcPts val="369"/>
              </a:spcBef>
              <a:spcAft>
                <a:spcPct val="0"/>
              </a:spcAft>
              <a:buClrTx/>
            </a:pPr>
            <a:r>
              <a:rPr lang="en-GB" sz="1000" b="1" u="sng" kern="1200" dirty="0">
                <a:latin typeface="Arial" charset="0"/>
                <a:ea typeface="+mn-ea"/>
                <a:cs typeface="+mn-cs"/>
              </a:rPr>
              <a:t>Key</a:t>
            </a:r>
            <a:endParaRPr lang="en-GB" sz="1000" b="1" kern="1200" dirty="0">
              <a:latin typeface="Arial" charset="0"/>
              <a:ea typeface="+mn-ea"/>
              <a:cs typeface="+mn-cs"/>
            </a:endParaRPr>
          </a:p>
          <a:p>
            <a:pPr fontAlgn="base">
              <a:spcBef>
                <a:spcPts val="369"/>
              </a:spcBef>
              <a:spcAft>
                <a:spcPct val="0"/>
              </a:spcAft>
              <a:buClrTx/>
            </a:pPr>
            <a:r>
              <a:rPr lang="en-GB" sz="1000" b="1" kern="1200" dirty="0">
                <a:solidFill>
                  <a:srgbClr val="990000"/>
                </a:solidFill>
                <a:latin typeface="Arial" charset="0"/>
                <a:ea typeface="+mn-ea"/>
                <a:cs typeface="+mn-cs"/>
              </a:rPr>
              <a:t>Primary crops</a:t>
            </a:r>
          </a:p>
          <a:p>
            <a:pPr fontAlgn="base">
              <a:spcBef>
                <a:spcPts val="369"/>
              </a:spcBef>
              <a:spcAft>
                <a:spcPct val="0"/>
              </a:spcAft>
              <a:buClrTx/>
            </a:pPr>
            <a:r>
              <a:rPr lang="en-GB" sz="1000" b="1" kern="1200" dirty="0">
                <a:solidFill>
                  <a:srgbClr val="FFC000"/>
                </a:solidFill>
                <a:latin typeface="Arial" charset="0"/>
                <a:ea typeface="+mn-ea"/>
                <a:cs typeface="+mn-cs"/>
              </a:rPr>
              <a:t>Secondary crops</a:t>
            </a:r>
          </a:p>
        </p:txBody>
      </p:sp>
      <p:sp>
        <p:nvSpPr>
          <p:cNvPr id="22" name="TextBox 21"/>
          <p:cNvSpPr txBox="1"/>
          <p:nvPr/>
        </p:nvSpPr>
        <p:spPr>
          <a:xfrm>
            <a:off x="5284789" y="809625"/>
            <a:ext cx="3977383" cy="5247842"/>
          </a:xfrm>
          <a:prstGeom prst="rect">
            <a:avLst/>
          </a:prstGeom>
          <a:noFill/>
        </p:spPr>
        <p:txBody>
          <a:bodyPr wrap="square" lIns="42203" rIns="42203" rtlCol="0" anchor="t">
            <a:noAutofit/>
          </a:bodyPr>
          <a:lstStyle/>
          <a:p>
            <a:pPr marL="83529" fontAlgn="base">
              <a:spcBef>
                <a:spcPct val="0"/>
              </a:spcBef>
              <a:spcAft>
                <a:spcPct val="0"/>
              </a:spcAft>
              <a:buClrTx/>
            </a:pPr>
            <a:r>
              <a:rPr lang="en-US" altLang="ja-JP" sz="1300" b="1" kern="1200" dirty="0">
                <a:latin typeface="Arial" charset="0"/>
                <a:ea typeface="+mn-ea"/>
                <a:cs typeface="+mn-cs"/>
              </a:rPr>
              <a:t>Maize</a:t>
            </a:r>
          </a:p>
          <a:p>
            <a:pPr marL="347304" indent="-263776" fontAlgn="base">
              <a:spcBef>
                <a:spcPct val="0"/>
              </a:spcBef>
              <a:spcAft>
                <a:spcPct val="0"/>
              </a:spcAft>
              <a:buClrTx/>
              <a:buFont typeface="Arial" panose="020B0604020202020204" pitchFamily="34" charset="0"/>
              <a:buChar char="•"/>
            </a:pPr>
            <a:r>
              <a:rPr lang="en-US" altLang="ja-JP" sz="1300" kern="1200" dirty="0">
                <a:latin typeface="Arial" charset="0"/>
                <a:ea typeface="+mn-ea"/>
                <a:cs typeface="+mn-cs"/>
              </a:rPr>
              <a:t>Impact potential: Accounts for 20% of total agricultural GDP; Produced by 60% of farming households; SHFs produce 95% of maize</a:t>
            </a:r>
          </a:p>
          <a:p>
            <a:pPr marL="347304" indent="-263776" fontAlgn="base">
              <a:spcBef>
                <a:spcPct val="0"/>
              </a:spcBef>
              <a:spcAft>
                <a:spcPct val="0"/>
              </a:spcAft>
              <a:buClrTx/>
              <a:buFont typeface="Arial" panose="020B0604020202020204" pitchFamily="34" charset="0"/>
              <a:buChar char="•"/>
            </a:pPr>
            <a:r>
              <a:rPr lang="en-US" altLang="ja-JP" sz="1300" kern="1200" dirty="0">
                <a:latin typeface="Arial" charset="0"/>
                <a:ea typeface="+mn-ea"/>
                <a:cs typeface="+mn-cs"/>
              </a:rPr>
              <a:t>Ease of delivery: AGRA has investments in maize, Rice and Bean seed varieties releases</a:t>
            </a:r>
            <a:endParaRPr lang="en-US" altLang="ja-JP" sz="1300" b="1" kern="1200" dirty="0">
              <a:latin typeface="Arial" charset="0"/>
              <a:ea typeface="+mn-ea"/>
              <a:cs typeface="+mn-cs"/>
            </a:endParaRPr>
          </a:p>
          <a:p>
            <a:pPr marL="347304" indent="-263776" fontAlgn="base">
              <a:spcBef>
                <a:spcPct val="0"/>
              </a:spcBef>
              <a:spcAft>
                <a:spcPct val="0"/>
              </a:spcAft>
              <a:buClrTx/>
              <a:buFont typeface="Arial" panose="020B0604020202020204" pitchFamily="34" charset="0"/>
              <a:buChar char="•"/>
            </a:pPr>
            <a:r>
              <a:rPr lang="en-US" altLang="ja-JP" sz="1300" kern="1200" dirty="0">
                <a:latin typeface="Arial" charset="0"/>
                <a:ea typeface="+mn-ea"/>
                <a:cs typeface="+mn-cs"/>
              </a:rPr>
              <a:t>Impact potential: Second most common cereal in terms of area under cultivation and tonnage. Local and export demand expected to rise</a:t>
            </a:r>
          </a:p>
          <a:p>
            <a:pPr marL="347304" indent="-263776" fontAlgn="base">
              <a:spcBef>
                <a:spcPct val="0"/>
              </a:spcBef>
              <a:spcAft>
                <a:spcPct val="0"/>
              </a:spcAft>
              <a:buClrTx/>
              <a:buFont typeface="Arial" panose="020B0604020202020204" pitchFamily="34" charset="0"/>
              <a:buChar char="•"/>
            </a:pPr>
            <a:r>
              <a:rPr lang="en-US" altLang="ja-JP" sz="1300" kern="1200" dirty="0">
                <a:latin typeface="Arial" charset="0"/>
                <a:ea typeface="+mn-ea"/>
                <a:cs typeface="+mn-cs"/>
              </a:rPr>
              <a:t>Ease of delivery: Similar to maize, rice is a focus crop for the government through SAGCOT, and NRDS</a:t>
            </a:r>
            <a:r>
              <a:rPr lang="en-US" altLang="ja-JP" sz="1300" kern="1200" baseline="30000" dirty="0">
                <a:latin typeface="Arial" charset="0"/>
                <a:ea typeface="+mn-ea"/>
                <a:cs typeface="+mn-cs"/>
              </a:rPr>
              <a:t>1</a:t>
            </a:r>
          </a:p>
          <a:p>
            <a:pPr marL="347304" indent="-263776" fontAlgn="base">
              <a:spcBef>
                <a:spcPct val="0"/>
              </a:spcBef>
              <a:spcAft>
                <a:spcPct val="0"/>
              </a:spcAft>
              <a:buClrTx/>
              <a:buFont typeface="Arial" panose="020B0604020202020204" pitchFamily="34" charset="0"/>
              <a:buChar char="•"/>
            </a:pPr>
            <a:r>
              <a:rPr lang="en-US" altLang="ja-JP" sz="1300" kern="1200" dirty="0">
                <a:latin typeface="Arial" charset="0"/>
                <a:ea typeface="+mn-ea"/>
                <a:cs typeface="+mn-cs"/>
              </a:rPr>
              <a:t>The use of maize-soybean blends as animal feed should open up new markets in the animal feeds industry </a:t>
            </a:r>
            <a:endParaRPr lang="en-GB" altLang="ja-JP" sz="1300" kern="1200" dirty="0">
              <a:latin typeface="Arial" charset="0"/>
              <a:ea typeface="+mn-ea"/>
              <a:cs typeface="+mn-cs"/>
            </a:endParaRPr>
          </a:p>
          <a:p>
            <a:pPr marL="347304" indent="-263776" fontAlgn="base">
              <a:spcBef>
                <a:spcPct val="0"/>
              </a:spcBef>
              <a:spcAft>
                <a:spcPct val="0"/>
              </a:spcAft>
              <a:buClrTx/>
              <a:buFont typeface="Arial" panose="020B0604020202020204" pitchFamily="34" charset="0"/>
              <a:buChar char="•"/>
            </a:pPr>
            <a:endParaRPr lang="en-US" altLang="ja-JP" sz="1300" kern="1200" baseline="30000" dirty="0">
              <a:latin typeface="Arial" charset="0"/>
              <a:ea typeface="+mn-ea"/>
              <a:cs typeface="+mn-cs"/>
            </a:endParaRPr>
          </a:p>
          <a:p>
            <a:pPr marL="83528" fontAlgn="base">
              <a:spcBef>
                <a:spcPct val="0"/>
              </a:spcBef>
              <a:spcAft>
                <a:spcPct val="0"/>
              </a:spcAft>
              <a:buClrTx/>
            </a:pPr>
            <a:endParaRPr lang="en-US" altLang="ja-JP" sz="1300" kern="1200" baseline="30000" dirty="0">
              <a:latin typeface="Arial" charset="0"/>
              <a:ea typeface="+mn-ea"/>
              <a:cs typeface="+mn-cs"/>
            </a:endParaRPr>
          </a:p>
          <a:p>
            <a:pPr marL="83529" fontAlgn="base">
              <a:spcBef>
                <a:spcPct val="0"/>
              </a:spcBef>
              <a:spcAft>
                <a:spcPct val="0"/>
              </a:spcAft>
              <a:buClrTx/>
            </a:pPr>
            <a:r>
              <a:rPr lang="en-US" altLang="ja-JP" sz="1300" b="1" kern="1200" dirty="0">
                <a:latin typeface="Arial" charset="0"/>
                <a:ea typeface="+mn-ea"/>
                <a:cs typeface="+mn-cs"/>
              </a:rPr>
              <a:t>Beans</a:t>
            </a:r>
          </a:p>
          <a:p>
            <a:pPr marL="347304" indent="-263776" fontAlgn="base">
              <a:spcBef>
                <a:spcPct val="0"/>
              </a:spcBef>
              <a:spcAft>
                <a:spcPct val="0"/>
              </a:spcAft>
              <a:buClrTx/>
              <a:buFont typeface="Arial" panose="020B0604020202020204" pitchFamily="34" charset="0"/>
              <a:buChar char="•"/>
            </a:pPr>
            <a:r>
              <a:rPr lang="en-US" altLang="ja-JP" sz="1300" kern="1200" dirty="0">
                <a:latin typeface="Arial" charset="0"/>
                <a:ea typeface="+mn-ea"/>
                <a:cs typeface="+mn-cs"/>
              </a:rPr>
              <a:t>Impact potential: Commonly intercropped with maize for nitrogen </a:t>
            </a:r>
            <a:r>
              <a:rPr lang="en-US" altLang="ja-JP" sz="1300" kern="1200" dirty="0" smtClean="0">
                <a:latin typeface="Arial" charset="0"/>
                <a:ea typeface="+mn-ea"/>
                <a:cs typeface="+mn-cs"/>
              </a:rPr>
              <a:t>fixation; </a:t>
            </a:r>
            <a:r>
              <a:rPr lang="en-US" altLang="ja-JP" sz="1300" kern="1200" dirty="0">
                <a:latin typeface="Arial" charset="0"/>
                <a:ea typeface="+mn-ea"/>
                <a:cs typeface="+mn-cs"/>
              </a:rPr>
              <a:t>Important for nutrition; High potential to reduce yield gap and high market demand for beans, thus potential to increase farmer income</a:t>
            </a:r>
          </a:p>
          <a:p>
            <a:pPr marL="347304" indent="-263776" fontAlgn="base">
              <a:spcBef>
                <a:spcPct val="0"/>
              </a:spcBef>
              <a:spcAft>
                <a:spcPct val="0"/>
              </a:spcAft>
              <a:buClrTx/>
              <a:buFont typeface="Arial" panose="020B0604020202020204" pitchFamily="34" charset="0"/>
              <a:buChar char="•"/>
            </a:pPr>
            <a:r>
              <a:rPr lang="en-US" altLang="ja-JP" sz="1300" kern="1200" dirty="0">
                <a:latin typeface="Arial" charset="0"/>
                <a:ea typeface="+mn-ea"/>
                <a:cs typeface="+mn-cs"/>
              </a:rPr>
              <a:t>Ease of delivery: Potential to package interventions in maize and beans. Strong AGRA assets - released several new varieties</a:t>
            </a:r>
          </a:p>
        </p:txBody>
      </p:sp>
      <p:sp>
        <p:nvSpPr>
          <p:cNvPr id="24" name="Rectangle 23"/>
          <p:cNvSpPr/>
          <p:nvPr/>
        </p:nvSpPr>
        <p:spPr>
          <a:xfrm>
            <a:off x="412738" y="876301"/>
            <a:ext cx="3931921" cy="319639"/>
          </a:xfrm>
          <a:prstGeom prst="rect">
            <a:avLst/>
          </a:prstGeom>
        </p:spPr>
        <p:txBody>
          <a:bodyPr wrap="square">
            <a:spAutoFit/>
          </a:bodyPr>
          <a:lstStyle/>
          <a:p>
            <a:pPr fontAlgn="base">
              <a:spcBef>
                <a:spcPct val="0"/>
              </a:spcBef>
              <a:spcAft>
                <a:spcPts val="554"/>
              </a:spcAft>
              <a:buClrTx/>
            </a:pPr>
            <a:r>
              <a:rPr lang="en-GB" sz="1477" b="1" kern="1200" dirty="0">
                <a:latin typeface="Calibri" panose="020F0502020204030204" pitchFamily="34" charset="0"/>
                <a:ea typeface="MS Mincho" panose="02020609040205080304" pitchFamily="49" charset="-128"/>
                <a:cs typeface="Arial" panose="020B0604020202020204" pitchFamily="34" charset="0"/>
              </a:rPr>
              <a:t>Prioritization of crops</a:t>
            </a:r>
            <a:endParaRPr lang="en-US" sz="1477" b="1" kern="1200" dirty="0">
              <a:latin typeface="Calibri" panose="020F0502020204030204" pitchFamily="34" charset="0"/>
              <a:ea typeface="MS Mincho" panose="02020609040205080304" pitchFamily="49" charset="-128"/>
              <a:cs typeface="Arial" panose="020B0604020202020204" pitchFamily="34" charset="0"/>
            </a:endParaRPr>
          </a:p>
        </p:txBody>
      </p:sp>
      <p:cxnSp>
        <p:nvCxnSpPr>
          <p:cNvPr id="25" name="Straight Connector 24"/>
          <p:cNvCxnSpPr/>
          <p:nvPr/>
        </p:nvCxnSpPr>
        <p:spPr>
          <a:xfrm>
            <a:off x="483076" y="1157288"/>
            <a:ext cx="46223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609600" y="3902"/>
            <a:ext cx="7972338" cy="677108"/>
          </a:xfrm>
        </p:spPr>
        <p:txBody>
          <a:bodyPr/>
          <a:lstStyle/>
          <a:p>
            <a:r>
              <a:rPr lang="en-US" sz="2200" dirty="0">
                <a:latin typeface="Arial" panose="020B0604020202020204" pitchFamily="34" charset="0"/>
                <a:ea typeface="Arial"/>
                <a:cs typeface="Arial" panose="020B0604020202020204" pitchFamily="34" charset="0"/>
              </a:rPr>
              <a:t>Within these regions, AGRA is focused on three primary crops and two secondary crops</a:t>
            </a:r>
          </a:p>
        </p:txBody>
      </p:sp>
      <p:sp>
        <p:nvSpPr>
          <p:cNvPr id="26" name="Text Placeholder 4"/>
          <p:cNvSpPr>
            <a:spLocks noGrp="1"/>
          </p:cNvSpPr>
          <p:nvPr>
            <p:ph type="body" sz="quarter" idx="4294967295"/>
          </p:nvPr>
        </p:nvSpPr>
        <p:spPr>
          <a:xfrm>
            <a:off x="468312" y="6513017"/>
            <a:ext cx="7532688" cy="307777"/>
          </a:xfrm>
        </p:spPr>
        <p:txBody>
          <a:bodyPr>
            <a:spAutoFit/>
          </a:bodyPr>
          <a:lstStyle/>
          <a:p>
            <a:r>
              <a:rPr lang="en-US" sz="1000" dirty="0"/>
              <a:t>1: National Rice Development Strategy</a:t>
            </a:r>
            <a:endParaRPr kumimoji="1" lang="en-US" altLang="ja-JP" sz="1000" dirty="0"/>
          </a:p>
          <a:p>
            <a:r>
              <a:rPr kumimoji="1" lang="en-US" altLang="ja-JP" sz="1000" dirty="0"/>
              <a:t>Source: AGRA; FAOStat</a:t>
            </a:r>
            <a:endParaRPr kumimoji="1" lang="ja-JP" altLang="en-US" sz="1000" dirty="0"/>
          </a:p>
        </p:txBody>
      </p:sp>
      <p:sp>
        <p:nvSpPr>
          <p:cNvPr id="27" name="TextBox 26"/>
          <p:cNvSpPr txBox="1"/>
          <p:nvPr/>
        </p:nvSpPr>
        <p:spPr>
          <a:xfrm>
            <a:off x="501334" y="5362959"/>
            <a:ext cx="4783455" cy="1107996"/>
          </a:xfrm>
          <a:prstGeom prst="rect">
            <a:avLst/>
          </a:prstGeom>
          <a:noFill/>
          <a:ln>
            <a:solidFill>
              <a:schemeClr val="bg2">
                <a:lumMod val="85000"/>
              </a:schemeClr>
            </a:solidFill>
          </a:ln>
        </p:spPr>
        <p:txBody>
          <a:bodyPr wrap="square" rtlCol="0">
            <a:spAutoFit/>
          </a:bodyPr>
          <a:lstStyle/>
          <a:p>
            <a:pPr fontAlgn="base">
              <a:spcBef>
                <a:spcPct val="0"/>
              </a:spcBef>
              <a:spcAft>
                <a:spcPct val="0"/>
              </a:spcAft>
              <a:buClrTx/>
            </a:pPr>
            <a:r>
              <a:rPr lang="en-US" sz="1100" u="sng" kern="1200" dirty="0">
                <a:latin typeface="Arial" charset="0"/>
                <a:ea typeface="+mn-ea"/>
                <a:cs typeface="+mn-cs"/>
              </a:rPr>
              <a:t>Scoring criteria</a:t>
            </a:r>
            <a:r>
              <a:rPr lang="en-US" sz="1100" i="1" kern="1200" dirty="0">
                <a:latin typeface="Arial" charset="0"/>
                <a:ea typeface="+mn-ea"/>
                <a:cs typeface="+mn-cs"/>
              </a:rPr>
              <a:t> (equally weighted)</a:t>
            </a:r>
          </a:p>
          <a:p>
            <a:pPr marL="171450" indent="-171450" fontAlgn="base">
              <a:spcBef>
                <a:spcPct val="0"/>
              </a:spcBef>
              <a:spcAft>
                <a:spcPct val="0"/>
              </a:spcAft>
              <a:buClrTx/>
              <a:buFont typeface="Arial" panose="020B0604020202020204" pitchFamily="34" charset="0"/>
              <a:buChar char="•"/>
            </a:pPr>
            <a:r>
              <a:rPr lang="en-US" sz="1100" kern="1200" dirty="0">
                <a:latin typeface="Arial" charset="0"/>
                <a:ea typeface="+mn-ea"/>
                <a:cs typeface="+mn-cs"/>
              </a:rPr>
              <a:t>Impact potential - Number of farmers; Yield gap (%); Expected future demand (High/ Medium/ Low)</a:t>
            </a:r>
          </a:p>
          <a:p>
            <a:pPr marL="171450" indent="-171450" fontAlgn="base">
              <a:spcBef>
                <a:spcPct val="0"/>
              </a:spcBef>
              <a:spcAft>
                <a:spcPct val="0"/>
              </a:spcAft>
              <a:buClrTx/>
              <a:buFont typeface="Arial" panose="020B0604020202020204" pitchFamily="34" charset="0"/>
              <a:buChar char="•"/>
            </a:pPr>
            <a:r>
              <a:rPr lang="en-US" sz="1100" kern="1200" dirty="0">
                <a:latin typeface="Arial" charset="0"/>
                <a:ea typeface="+mn-ea"/>
                <a:cs typeface="+mn-cs"/>
              </a:rPr>
              <a:t>Ease of delivery - Focus from the government, donors and private sector (High/ Medium/ Low); AGRA capabilities and past investments (High/ Medium/ Low)</a:t>
            </a:r>
          </a:p>
        </p:txBody>
      </p:sp>
    </p:spTree>
    <p:extLst>
      <p:ext uri="{BB962C8B-B14F-4D97-AF65-F5344CB8AC3E}">
        <p14:creationId xmlns:p14="http://schemas.microsoft.com/office/powerpoint/2010/main" val="38191895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052622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603"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lIns="0" tIns="0" rIns="0" bIns="0" anchor="b"/>
          <a:lstStyle/>
          <a:p>
            <a:pPr defTabSz="914395">
              <a:spcBef>
                <a:spcPct val="0"/>
              </a:spcBef>
              <a:buClrTx/>
              <a:buSzTx/>
              <a:buFontTx/>
            </a:pPr>
            <a:r>
              <a:rPr lang="en-US" dirty="0" err="1">
                <a:solidFill>
                  <a:schemeClr val="tx1"/>
                </a:solidFill>
                <a:latin typeface="Arial" panose="020B0604020202020204" pitchFamily="34" charset="0"/>
                <a:cs typeface="Arial" panose="020B0604020202020204" pitchFamily="34" charset="0"/>
              </a:rPr>
              <a:t>AGRA’s</a:t>
            </a:r>
            <a:r>
              <a:rPr lang="en-US" dirty="0">
                <a:solidFill>
                  <a:schemeClr val="tx1"/>
                </a:solidFill>
                <a:latin typeface="Arial" panose="020B0604020202020204" pitchFamily="34" charset="0"/>
                <a:cs typeface="Arial" panose="020B0604020202020204" pitchFamily="34" charset="0"/>
              </a:rPr>
              <a:t> 2019 Priorities for </a:t>
            </a:r>
            <a:r>
              <a:rPr lang="en-US" dirty="0" smtClean="0">
                <a:solidFill>
                  <a:schemeClr val="tx1"/>
                </a:solidFill>
                <a:latin typeface="Arial" panose="020B0604020202020204" pitchFamily="34" charset="0"/>
                <a:cs typeface="Arial" panose="020B0604020202020204" pitchFamily="34" charset="0"/>
              </a:rPr>
              <a:t>Tanzania </a:t>
            </a:r>
            <a:endParaRPr lang="en-US" dirty="0">
              <a:solidFill>
                <a:schemeClr val="tx1"/>
              </a:solidFill>
              <a:latin typeface="Arial" panose="020B0604020202020204" pitchFamily="34" charset="0"/>
              <a:cs typeface="Arial" panose="020B0604020202020204" pitchFamily="34" charset="0"/>
            </a:endParaRPr>
          </a:p>
        </p:txBody>
      </p:sp>
      <p:sp>
        <p:nvSpPr>
          <p:cNvPr id="5" name="Rectangle 4"/>
          <p:cNvSpPr>
            <a:spLocks/>
          </p:cNvSpPr>
          <p:nvPr/>
        </p:nvSpPr>
        <p:spPr>
          <a:xfrm>
            <a:off x="450588" y="907579"/>
            <a:ext cx="9069931" cy="1068754"/>
          </a:xfrm>
          <a:prstGeom prst="rect">
            <a:avLst/>
          </a:prstGeom>
          <a:ln>
            <a:headEnd/>
            <a:tailEnd/>
          </a:ln>
          <a:extLst/>
        </p:spPr>
        <p:style>
          <a:lnRef idx="2">
            <a:schemeClr val="accent1"/>
          </a:lnRef>
          <a:fillRef idx="1">
            <a:schemeClr val="lt1"/>
          </a:fillRef>
          <a:effectRef idx="0">
            <a:schemeClr val="accent1"/>
          </a:effectRef>
          <a:fontRef idx="minor">
            <a:schemeClr val="dk1"/>
          </a:fontRef>
        </p:style>
        <p:txBody>
          <a:bodyPr vert="horz" wrap="square" lIns="72009" tIns="72009" rIns="72009" bIns="72009" numCol="1" anchor="ctr" anchorCtr="0" compatLnSpc="1">
            <a:prstTxWarp prst="textNoShape">
              <a:avLst/>
            </a:prstTxWarp>
            <a:spAutoFit/>
          </a:bodyPr>
          <a:lstStyle/>
          <a:p>
            <a:pPr>
              <a:lnSpc>
                <a:spcPts val="1200"/>
              </a:lnSpc>
              <a:spcBef>
                <a:spcPts val="600"/>
              </a:spcBef>
            </a:pPr>
            <a:r>
              <a:rPr lang="en-US" sz="1200" dirty="0">
                <a:latin typeface="Arial" panose="020B0604020202020204" pitchFamily="34" charset="0"/>
                <a:cs typeface="Arial" panose="020B0604020202020204" pitchFamily="34" charset="0"/>
              </a:rPr>
              <a:t>AGRA’s overall goal in Tanzania is to catalyze and sustain an inclusive agricultural transformation to increase incomes and improve food security by directly reaching </a:t>
            </a:r>
            <a:r>
              <a:rPr lang="en-US" sz="1200" dirty="0" smtClean="0">
                <a:latin typeface="Arial" panose="020B0604020202020204" pitchFamily="34" charset="0"/>
                <a:cs typeface="Arial" panose="020B0604020202020204" pitchFamily="34" charset="0"/>
              </a:rPr>
              <a:t>1.99 million </a:t>
            </a:r>
            <a:r>
              <a:rPr lang="en-US" sz="1200" dirty="0">
                <a:latin typeface="Arial" panose="020B0604020202020204" pitchFamily="34" charset="0"/>
                <a:cs typeface="Arial" panose="020B0604020202020204" pitchFamily="34" charset="0"/>
              </a:rPr>
              <a:t>smallholder farming households and indirectly impacting a further </a:t>
            </a:r>
            <a:r>
              <a:rPr lang="en-US" sz="1200" dirty="0" smtClean="0">
                <a:latin typeface="Arial" panose="020B0604020202020204" pitchFamily="34" charset="0"/>
                <a:cs typeface="Arial" panose="020B0604020202020204" pitchFamily="34" charset="0"/>
              </a:rPr>
              <a:t>2.5 </a:t>
            </a:r>
            <a:r>
              <a:rPr lang="en-US" sz="1200" dirty="0" err="1" smtClean="0">
                <a:latin typeface="Arial" panose="020B0604020202020204" pitchFamily="34" charset="0"/>
                <a:cs typeface="Arial" panose="020B0604020202020204" pitchFamily="34" charset="0"/>
              </a:rPr>
              <a:t>milllion</a:t>
            </a:r>
            <a:r>
              <a:rPr lang="en-US" sz="1200" dirty="0" smtClean="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farm households, through strategic country support and government engagement coupled with a set of targeted catalytic downstream and systemic investments. To achieve this, AGRA has prioritized three regions with the highest potential for impact: Western, Southern and Northern Highlands targeting three primary crops (maize, rice and beans) and two secondary crops (cassava and potatoes).This will be delivered through AGRA’s three areas of work:</a:t>
            </a:r>
          </a:p>
        </p:txBody>
      </p:sp>
      <p:grpSp>
        <p:nvGrpSpPr>
          <p:cNvPr id="8" name="Group 7"/>
          <p:cNvGrpSpPr/>
          <p:nvPr/>
        </p:nvGrpSpPr>
        <p:grpSpPr>
          <a:xfrm>
            <a:off x="404024" y="2109089"/>
            <a:ext cx="2812142" cy="3892792"/>
            <a:chOff x="404024" y="2287759"/>
            <a:chExt cx="2812142" cy="3892792"/>
          </a:xfrm>
        </p:grpSpPr>
        <p:sp>
          <p:nvSpPr>
            <p:cNvPr id="21" name="TextBox 20"/>
            <p:cNvSpPr txBox="1"/>
            <p:nvPr/>
          </p:nvSpPr>
          <p:spPr>
            <a:xfrm>
              <a:off x="404024" y="3502895"/>
              <a:ext cx="2812142" cy="2677656"/>
            </a:xfrm>
            <a:prstGeom prst="rect">
              <a:avLst/>
            </a:prstGeom>
            <a:noFill/>
            <a:ln>
              <a:noFill/>
            </a:ln>
          </p:spPr>
          <p:txBody>
            <a:bodyPr wrap="square" rtlCol="0">
              <a:spAutoFit/>
            </a:bodyPr>
            <a:lstStyle/>
            <a:p>
              <a:pPr marL="171450" indent="-171450">
                <a:buFont typeface="Arial" panose="020B0604020202020204" pitchFamily="34" charset="0"/>
                <a:buChar char="•"/>
              </a:pPr>
              <a:r>
                <a:rPr lang="en-US" sz="1200" dirty="0"/>
                <a:t>Coordination of the implementation of </a:t>
              </a:r>
              <a:r>
                <a:rPr lang="en-US" sz="1200" dirty="0" smtClean="0"/>
                <a:t>ASDPII </a:t>
              </a:r>
              <a:r>
                <a:rPr lang="en-US" sz="1200" dirty="0" smtClean="0">
                  <a:solidFill>
                    <a:srgbClr val="FF0000"/>
                  </a:solidFill>
                </a:rPr>
                <a:t>at LGA level</a:t>
              </a:r>
              <a:r>
                <a:rPr lang="en-US" sz="1200" dirty="0" smtClean="0"/>
                <a:t>, </a:t>
              </a:r>
            </a:p>
            <a:p>
              <a:pPr marL="171450" indent="-171450">
                <a:buFont typeface="Arial" panose="020B0604020202020204" pitchFamily="34" charset="0"/>
                <a:buChar char="•"/>
              </a:pPr>
              <a:r>
                <a:rPr lang="en-US" sz="1200" dirty="0" smtClean="0"/>
                <a:t>Support </a:t>
              </a:r>
              <a:r>
                <a:rPr lang="en-US" sz="1200" dirty="0"/>
                <a:t>strengthening food security and export trade for Tanzania (EFSETT), </a:t>
              </a:r>
              <a:endParaRPr lang="en-US" sz="1200" dirty="0" smtClean="0"/>
            </a:p>
            <a:p>
              <a:pPr marL="171450" indent="-171450">
                <a:buFont typeface="Arial" panose="020B0604020202020204" pitchFamily="34" charset="0"/>
                <a:buChar char="•"/>
              </a:pPr>
              <a:r>
                <a:rPr lang="en-US" sz="1200" dirty="0" smtClean="0">
                  <a:solidFill>
                    <a:srgbClr val="FF0000"/>
                  </a:solidFill>
                </a:rPr>
                <a:t>Support </a:t>
              </a:r>
              <a:r>
                <a:rPr lang="en-US" sz="1200" dirty="0">
                  <a:solidFill>
                    <a:srgbClr val="FF0000"/>
                  </a:solidFill>
                </a:rPr>
                <a:t>review of relevance of agric policy of 2013 and subsequent enactment of agric act </a:t>
              </a:r>
              <a:endParaRPr lang="en-US" sz="1200" dirty="0" smtClean="0">
                <a:solidFill>
                  <a:srgbClr val="FF0000"/>
                </a:solidFill>
              </a:endParaRPr>
            </a:p>
            <a:p>
              <a:pPr marL="171450" indent="-171450">
                <a:buFont typeface="Arial" panose="020B0604020202020204" pitchFamily="34" charset="0"/>
                <a:buChar char="•"/>
              </a:pPr>
              <a:r>
                <a:rPr lang="en-US" sz="1200" dirty="0" smtClean="0"/>
                <a:t>Study to assess cost of seed production in Tanzania to inform debate on seed price capping</a:t>
              </a:r>
            </a:p>
            <a:p>
              <a:pPr marL="171450" indent="-171450">
                <a:buFont typeface="Arial" panose="020B0604020202020204" pitchFamily="34" charset="0"/>
                <a:buChar char="•"/>
              </a:pPr>
              <a:r>
                <a:rPr lang="en-US" sz="1200" dirty="0">
                  <a:solidFill>
                    <a:srgbClr val="FF0000"/>
                  </a:solidFill>
                </a:rPr>
                <a:t>D</a:t>
              </a:r>
              <a:r>
                <a:rPr lang="en-US" sz="1200" dirty="0" smtClean="0">
                  <a:solidFill>
                    <a:srgbClr val="FF0000"/>
                  </a:solidFill>
                </a:rPr>
                <a:t>evelopment </a:t>
              </a:r>
              <a:r>
                <a:rPr lang="en-US" sz="1200" dirty="0">
                  <a:solidFill>
                    <a:srgbClr val="FF0000"/>
                  </a:solidFill>
                </a:rPr>
                <a:t>of comprehensive agro-industrialization flagship program out of ASDP II framework</a:t>
              </a:r>
            </a:p>
          </p:txBody>
        </p:sp>
        <p:pic>
          <p:nvPicPr>
            <p:cNvPr id="4" name="Picture 3"/>
            <p:cNvPicPr>
              <a:picLocks noChangeAspect="1"/>
            </p:cNvPicPr>
            <p:nvPr/>
          </p:nvPicPr>
          <p:blipFill rotWithShape="1">
            <a:blip r:embed="rId8"/>
            <a:srcRect l="9102" t="9100" r="8017" b="9000"/>
            <a:stretch/>
          </p:blipFill>
          <p:spPr>
            <a:xfrm>
              <a:off x="1377639" y="2287759"/>
              <a:ext cx="893375" cy="882802"/>
            </a:xfrm>
            <a:prstGeom prst="rect">
              <a:avLst/>
            </a:prstGeom>
          </p:spPr>
        </p:pic>
        <p:sp>
          <p:nvSpPr>
            <p:cNvPr id="11" name="TextBox 10"/>
            <p:cNvSpPr txBox="1"/>
            <p:nvPr/>
          </p:nvSpPr>
          <p:spPr>
            <a:xfrm>
              <a:off x="703513" y="3154183"/>
              <a:ext cx="2312277" cy="276999"/>
            </a:xfrm>
            <a:prstGeom prst="rect">
              <a:avLst/>
            </a:prstGeom>
            <a:noFill/>
            <a:ln>
              <a:noFill/>
            </a:ln>
          </p:spPr>
          <p:txBody>
            <a:bodyPr wrap="square" rtlCol="0">
              <a:spAutoFit/>
            </a:bodyPr>
            <a:lstStyle/>
            <a:p>
              <a:pPr algn="ctr"/>
              <a:r>
                <a:rPr lang="en-US" sz="1200" b="1" dirty="0" smtClean="0">
                  <a:solidFill>
                    <a:srgbClr val="0070C0"/>
                  </a:solidFill>
                </a:rPr>
                <a:t>Policy and State Capability</a:t>
              </a:r>
              <a:endParaRPr lang="en-US" sz="1200" b="1" dirty="0">
                <a:solidFill>
                  <a:srgbClr val="0070C0"/>
                </a:solidFill>
              </a:endParaRPr>
            </a:p>
          </p:txBody>
        </p:sp>
      </p:grpSp>
      <p:grpSp>
        <p:nvGrpSpPr>
          <p:cNvPr id="10" name="Group 9"/>
          <p:cNvGrpSpPr/>
          <p:nvPr/>
        </p:nvGrpSpPr>
        <p:grpSpPr>
          <a:xfrm>
            <a:off x="3216167" y="2065927"/>
            <a:ext cx="6442248" cy="4253488"/>
            <a:chOff x="3216167" y="2265617"/>
            <a:chExt cx="6442248" cy="4253488"/>
          </a:xfrm>
        </p:grpSpPr>
        <p:sp>
          <p:nvSpPr>
            <p:cNvPr id="23" name="TextBox 22"/>
            <p:cNvSpPr txBox="1"/>
            <p:nvPr/>
          </p:nvSpPr>
          <p:spPr>
            <a:xfrm>
              <a:off x="5851918" y="3416193"/>
              <a:ext cx="3806497" cy="2939266"/>
            </a:xfrm>
            <a:prstGeom prst="rect">
              <a:avLst/>
            </a:prstGeom>
            <a:noFill/>
            <a:ln>
              <a:noFill/>
            </a:ln>
          </p:spPr>
          <p:txBody>
            <a:bodyPr wrap="square" rtlCol="0">
              <a:spAutoFit/>
            </a:bodyPr>
            <a:lstStyle>
              <a:defPPr marR="0" lvl="0" algn="l" rtl="0">
                <a:lnSpc>
                  <a:spcPct val="100000"/>
                </a:lnSpc>
                <a:spcBef>
                  <a:spcPts val="0"/>
                </a:spcBef>
                <a:spcAft>
                  <a:spcPts val="0"/>
                </a:spcAft>
              </a:defPPr>
              <a:lvl1pPr marL="171450" indent="-171450">
                <a:lnSpc>
                  <a:spcPts val="1200"/>
                </a:lnSpc>
                <a:spcBef>
                  <a:spcPts val="600"/>
                </a:spcBef>
                <a:buSzPct val="100000"/>
                <a:buFont typeface="Arial" panose="020B0604020202020204" pitchFamily="34" charset="0"/>
                <a:buChar char="•"/>
                <a:defRPr sz="1200"/>
              </a:lvl1pPr>
            </a:lstStyle>
            <a:p>
              <a:r>
                <a:rPr lang="en-US" dirty="0">
                  <a:solidFill>
                    <a:srgbClr val="FF0000"/>
                  </a:solidFill>
                </a:rPr>
                <a:t>Roll out </a:t>
              </a:r>
              <a:r>
                <a:rPr lang="en-US" dirty="0" smtClean="0">
                  <a:solidFill>
                    <a:srgbClr val="FF0000"/>
                  </a:solidFill>
                </a:rPr>
                <a:t>Northern Tanzania </a:t>
              </a:r>
              <a:r>
                <a:rPr lang="en-US" dirty="0">
                  <a:solidFill>
                    <a:srgbClr val="FF0000"/>
                  </a:solidFill>
                </a:rPr>
                <a:t>Potato Seed Systems Improvement </a:t>
              </a:r>
              <a:r>
                <a:rPr lang="en-US" dirty="0" smtClean="0">
                  <a:solidFill>
                    <a:srgbClr val="FF0000"/>
                  </a:solidFill>
                </a:rPr>
                <a:t>(NTPSI), Expanding  Markets through Agro-processing  and CARI-EA</a:t>
              </a:r>
            </a:p>
            <a:p>
              <a:r>
                <a:rPr lang="en-US" dirty="0" smtClean="0"/>
                <a:t>Conduct </a:t>
              </a:r>
              <a:r>
                <a:rPr lang="en-US" dirty="0"/>
                <a:t>Meetings of SC and </a:t>
              </a:r>
              <a:r>
                <a:rPr lang="en-US" dirty="0" err="1"/>
                <a:t>JRRC</a:t>
              </a:r>
              <a:r>
                <a:rPr lang="en-US" dirty="0"/>
                <a:t> for annual results of 2018 – to further enhance integration within consortia and among the consortia </a:t>
              </a:r>
              <a:endParaRPr lang="en-US" dirty="0" smtClean="0"/>
            </a:p>
            <a:p>
              <a:r>
                <a:rPr lang="en-US" dirty="0"/>
                <a:t>F</a:t>
              </a:r>
              <a:r>
                <a:rPr lang="en-US" dirty="0" smtClean="0"/>
                <a:t>inalize </a:t>
              </a:r>
              <a:r>
                <a:rPr lang="en-US" dirty="0"/>
                <a:t>mapping the partnership portfolio within the public and private sector agribusiness </a:t>
              </a:r>
              <a:r>
                <a:rPr lang="en-US" dirty="0" smtClean="0"/>
                <a:t>ecosystem</a:t>
              </a:r>
            </a:p>
            <a:p>
              <a:r>
                <a:rPr lang="en-US" dirty="0" smtClean="0"/>
                <a:t>Finalize </a:t>
              </a:r>
              <a:r>
                <a:rPr lang="en-US" dirty="0"/>
                <a:t>the agribusiness investment programs alongside rolling out potato and mechanization partnership </a:t>
              </a:r>
              <a:endParaRPr lang="en-US" dirty="0" smtClean="0"/>
            </a:p>
            <a:p>
              <a:r>
                <a:rPr lang="en-US" dirty="0" smtClean="0"/>
                <a:t>Move </a:t>
              </a:r>
              <a:r>
                <a:rPr lang="en-US" dirty="0"/>
                <a:t>our partnership with ENABEL to a next level by signing teaming up agreement  </a:t>
              </a:r>
              <a:endParaRPr lang="en-US" dirty="0" smtClean="0"/>
            </a:p>
            <a:p>
              <a:r>
                <a:rPr lang="en-US" dirty="0" smtClean="0">
                  <a:solidFill>
                    <a:srgbClr val="FF0000"/>
                  </a:solidFill>
                </a:rPr>
                <a:t>Scale </a:t>
              </a:r>
              <a:r>
                <a:rPr lang="en-US" dirty="0">
                  <a:solidFill>
                    <a:srgbClr val="FF0000"/>
                  </a:solidFill>
                </a:rPr>
                <a:t>out YWS </a:t>
              </a:r>
              <a:r>
                <a:rPr lang="en-US" dirty="0" smtClean="0">
                  <a:solidFill>
                    <a:srgbClr val="FF0000"/>
                  </a:solidFill>
                </a:rPr>
                <a:t>beyond maize and beyond Tanzania</a:t>
              </a:r>
              <a:endParaRPr lang="en-US" dirty="0">
                <a:solidFill>
                  <a:srgbClr val="FF0000"/>
                </a:solidFill>
              </a:endParaRPr>
            </a:p>
          </p:txBody>
        </p:sp>
        <p:pic>
          <p:nvPicPr>
            <p:cNvPr id="6" name="Picture 5"/>
            <p:cNvPicPr>
              <a:picLocks noChangeAspect="1"/>
            </p:cNvPicPr>
            <p:nvPr/>
          </p:nvPicPr>
          <p:blipFill>
            <a:blip r:embed="rId9"/>
            <a:stretch>
              <a:fillRect/>
            </a:stretch>
          </p:blipFill>
          <p:spPr>
            <a:xfrm>
              <a:off x="7129696" y="2286994"/>
              <a:ext cx="1211715" cy="727029"/>
            </a:xfrm>
            <a:prstGeom prst="rect">
              <a:avLst/>
            </a:prstGeom>
          </p:spPr>
        </p:pic>
        <p:grpSp>
          <p:nvGrpSpPr>
            <p:cNvPr id="9" name="Group 8"/>
            <p:cNvGrpSpPr/>
            <p:nvPr/>
          </p:nvGrpSpPr>
          <p:grpSpPr>
            <a:xfrm>
              <a:off x="3216167" y="2265617"/>
              <a:ext cx="2834038" cy="4253488"/>
              <a:chOff x="3216167" y="2265617"/>
              <a:chExt cx="2834038" cy="4253488"/>
            </a:xfrm>
          </p:grpSpPr>
          <p:sp>
            <p:nvSpPr>
              <p:cNvPr id="22" name="TextBox 21"/>
              <p:cNvSpPr txBox="1"/>
              <p:nvPr/>
            </p:nvSpPr>
            <p:spPr>
              <a:xfrm>
                <a:off x="3216167" y="3502895"/>
                <a:ext cx="2714733" cy="3016210"/>
              </a:xfrm>
              <a:prstGeom prst="rect">
                <a:avLst/>
              </a:prstGeom>
              <a:noFill/>
              <a:ln>
                <a:noFill/>
              </a:ln>
            </p:spPr>
            <p:txBody>
              <a:bodyPr wrap="square" rtlCol="0">
                <a:spAutoFit/>
              </a:bodyPr>
              <a:lstStyle/>
              <a:p>
                <a:pPr marL="171450" indent="-171450">
                  <a:lnSpc>
                    <a:spcPts val="1200"/>
                  </a:lnSpc>
                  <a:spcBef>
                    <a:spcPts val="600"/>
                  </a:spcBef>
                  <a:buSzPct val="100000"/>
                  <a:buFont typeface="Arial" panose="020B0604020202020204" pitchFamily="34" charset="0"/>
                  <a:buChar char="•"/>
                </a:pPr>
                <a:r>
                  <a:rPr lang="en-US" sz="1200" dirty="0"/>
                  <a:t>Roll out VBA operations, mechanization, </a:t>
                </a:r>
                <a:r>
                  <a:rPr lang="en-US" sz="1200" dirty="0" smtClean="0"/>
                  <a:t>SME financing, equipment  </a:t>
                </a:r>
                <a:r>
                  <a:rPr lang="en-US" sz="1200" dirty="0" smtClean="0">
                    <a:solidFill>
                      <a:srgbClr val="FF0000"/>
                    </a:solidFill>
                  </a:rPr>
                  <a:t>and input</a:t>
                </a:r>
                <a:r>
                  <a:rPr lang="en-US" sz="1200" dirty="0" smtClean="0"/>
                  <a:t> finance </a:t>
                </a:r>
                <a:r>
                  <a:rPr lang="en-US" sz="1200" dirty="0"/>
                  <a:t>model</a:t>
                </a:r>
                <a:r>
                  <a:rPr lang="en-US" sz="1200" dirty="0" smtClean="0"/>
                  <a:t>,</a:t>
                </a:r>
              </a:p>
              <a:p>
                <a:pPr marL="171450" indent="-171450">
                  <a:lnSpc>
                    <a:spcPts val="1200"/>
                  </a:lnSpc>
                  <a:spcBef>
                    <a:spcPts val="600"/>
                  </a:spcBef>
                  <a:buSzPct val="100000"/>
                  <a:buFont typeface="Arial" panose="020B0604020202020204" pitchFamily="34" charset="0"/>
                  <a:buChar char="•"/>
                </a:pPr>
                <a:r>
                  <a:rPr lang="en-US" sz="1200" dirty="0" err="1" smtClean="0"/>
                  <a:t>CARI</a:t>
                </a:r>
                <a:r>
                  <a:rPr lang="en-US" sz="1200" dirty="0" smtClean="0"/>
                  <a:t>-</a:t>
                </a:r>
                <a:r>
                  <a:rPr lang="en-US" sz="1200" dirty="0" err="1" smtClean="0"/>
                  <a:t>EA</a:t>
                </a:r>
                <a:r>
                  <a:rPr lang="en-US" sz="1200" dirty="0" smtClean="0"/>
                  <a:t>-AGRA/</a:t>
                </a:r>
                <a:r>
                  <a:rPr lang="en-US" sz="1200" dirty="0" err="1" smtClean="0"/>
                  <a:t>GiZ</a:t>
                </a:r>
                <a:r>
                  <a:rPr lang="en-US" sz="1200" dirty="0" smtClean="0"/>
                  <a:t> </a:t>
                </a:r>
                <a:r>
                  <a:rPr lang="en-US" sz="1200" dirty="0"/>
                  <a:t>joint Competitive African Rice Initiative for </a:t>
                </a:r>
                <a:r>
                  <a:rPr lang="en-US" sz="1200" dirty="0" err="1"/>
                  <a:t>EAC</a:t>
                </a:r>
                <a:r>
                  <a:rPr lang="en-US" sz="1200" dirty="0"/>
                  <a:t> countries</a:t>
                </a:r>
                <a:r>
                  <a:rPr lang="en-US" sz="1200" dirty="0" smtClean="0"/>
                  <a:t>,</a:t>
                </a:r>
              </a:p>
              <a:p>
                <a:pPr marL="171450" indent="-171450">
                  <a:lnSpc>
                    <a:spcPts val="1200"/>
                  </a:lnSpc>
                  <a:spcBef>
                    <a:spcPts val="600"/>
                  </a:spcBef>
                  <a:buSzPct val="100000"/>
                  <a:buFont typeface="Arial" panose="020B0604020202020204" pitchFamily="34" charset="0"/>
                  <a:buChar char="•"/>
                </a:pPr>
                <a:r>
                  <a:rPr lang="en-US" sz="1200" dirty="0" smtClean="0"/>
                  <a:t>Input Authentication Operationalization, </a:t>
                </a:r>
              </a:p>
              <a:p>
                <a:pPr marL="171450" indent="-171450">
                  <a:lnSpc>
                    <a:spcPts val="1200"/>
                  </a:lnSpc>
                  <a:spcBef>
                    <a:spcPts val="600"/>
                  </a:spcBef>
                  <a:buSzPct val="100000"/>
                  <a:buFont typeface="Arial" panose="020B0604020202020204" pitchFamily="34" charset="0"/>
                  <a:buChar char="•"/>
                </a:pPr>
                <a:r>
                  <a:rPr lang="en-US" sz="1200" dirty="0" smtClean="0"/>
                  <a:t>Input-output Systems Development, </a:t>
                </a:r>
              </a:p>
              <a:p>
                <a:pPr marL="171450" indent="-171450">
                  <a:lnSpc>
                    <a:spcPts val="1200"/>
                  </a:lnSpc>
                  <a:spcBef>
                    <a:spcPts val="600"/>
                  </a:spcBef>
                  <a:buSzPct val="100000"/>
                  <a:buFont typeface="Arial" panose="020B0604020202020204" pitchFamily="34" charset="0"/>
                  <a:buChar char="•"/>
                </a:pPr>
                <a:r>
                  <a:rPr lang="en-US" sz="1200" dirty="0" smtClean="0"/>
                  <a:t>Market Development </a:t>
                </a:r>
              </a:p>
              <a:p>
                <a:pPr marL="171450" indent="-171450">
                  <a:lnSpc>
                    <a:spcPts val="1200"/>
                  </a:lnSpc>
                  <a:spcBef>
                    <a:spcPts val="600"/>
                  </a:spcBef>
                  <a:buSzPct val="100000"/>
                  <a:buFont typeface="Arial" panose="020B0604020202020204" pitchFamily="34" charset="0"/>
                  <a:buChar char="•"/>
                </a:pPr>
                <a:r>
                  <a:rPr lang="en-US" sz="1200" dirty="0" smtClean="0">
                    <a:solidFill>
                      <a:srgbClr val="FF0000"/>
                    </a:solidFill>
                  </a:rPr>
                  <a:t>Agro Dealer Development initiatives</a:t>
                </a:r>
              </a:p>
              <a:p>
                <a:pPr marL="171450" indent="-171450">
                  <a:lnSpc>
                    <a:spcPts val="1200"/>
                  </a:lnSpc>
                  <a:spcBef>
                    <a:spcPts val="600"/>
                  </a:spcBef>
                  <a:buSzPct val="100000"/>
                  <a:buFont typeface="Arial" panose="020B0604020202020204" pitchFamily="34" charset="0"/>
                  <a:buChar char="•"/>
                </a:pPr>
                <a:r>
                  <a:rPr lang="en-US" sz="1200" dirty="0" smtClean="0">
                    <a:solidFill>
                      <a:srgbClr val="FF0000"/>
                    </a:solidFill>
                  </a:rPr>
                  <a:t>Regional food  trade and resilience program</a:t>
                </a:r>
                <a:endParaRPr lang="en-US" sz="1200" dirty="0">
                  <a:solidFill>
                    <a:srgbClr val="FF0000"/>
                  </a:solidFill>
                </a:endParaRPr>
              </a:p>
            </p:txBody>
          </p:sp>
          <p:pic>
            <p:nvPicPr>
              <p:cNvPr id="24" name="Picture 23"/>
              <p:cNvPicPr>
                <a:picLocks noChangeAspect="1"/>
              </p:cNvPicPr>
              <p:nvPr/>
            </p:nvPicPr>
            <p:blipFill rotWithShape="1">
              <a:blip r:embed="rId10"/>
              <a:srcRect t="4925"/>
              <a:stretch/>
            </p:blipFill>
            <p:spPr>
              <a:xfrm>
                <a:off x="4402872" y="2265617"/>
                <a:ext cx="946684" cy="1001971"/>
              </a:xfrm>
              <a:prstGeom prst="rect">
                <a:avLst/>
              </a:prstGeom>
            </p:spPr>
          </p:pic>
          <p:sp>
            <p:nvSpPr>
              <p:cNvPr id="12" name="TextBox 11"/>
              <p:cNvSpPr txBox="1"/>
              <p:nvPr/>
            </p:nvSpPr>
            <p:spPr>
              <a:xfrm>
                <a:off x="4095281" y="3148387"/>
                <a:ext cx="1954924" cy="276999"/>
              </a:xfrm>
              <a:prstGeom prst="rect">
                <a:avLst/>
              </a:prstGeom>
              <a:noFill/>
              <a:ln>
                <a:noFill/>
              </a:ln>
            </p:spPr>
            <p:txBody>
              <a:bodyPr wrap="square" rtlCol="0">
                <a:spAutoFit/>
              </a:bodyPr>
              <a:lstStyle/>
              <a:p>
                <a:pPr algn="ctr"/>
                <a:r>
                  <a:rPr lang="en-US" sz="1200" b="1">
                    <a:solidFill>
                      <a:srgbClr val="0070C0"/>
                    </a:solidFill>
                  </a:rPr>
                  <a:t>Systems Development</a:t>
                </a:r>
              </a:p>
            </p:txBody>
          </p:sp>
        </p:grpSp>
        <p:sp>
          <p:nvSpPr>
            <p:cNvPr id="13" name="TextBox 12"/>
            <p:cNvSpPr txBox="1"/>
            <p:nvPr/>
          </p:nvSpPr>
          <p:spPr>
            <a:xfrm>
              <a:off x="6949337" y="3145602"/>
              <a:ext cx="1572434" cy="276999"/>
            </a:xfrm>
            <a:prstGeom prst="rect">
              <a:avLst/>
            </a:prstGeom>
            <a:noFill/>
            <a:ln>
              <a:noFill/>
            </a:ln>
          </p:spPr>
          <p:txBody>
            <a:bodyPr wrap="square" rtlCol="0">
              <a:spAutoFit/>
            </a:bodyPr>
            <a:lstStyle/>
            <a:p>
              <a:pPr algn="ctr"/>
              <a:r>
                <a:rPr lang="en-US" sz="1200" b="1">
                  <a:solidFill>
                    <a:srgbClr val="0070C0"/>
                  </a:solidFill>
                </a:rPr>
                <a:t>Partnerships</a:t>
              </a:r>
              <a:endParaRPr lang="en-US" sz="1200">
                <a:solidFill>
                  <a:srgbClr val="0070C0"/>
                </a:solidFill>
              </a:endParaRPr>
            </a:p>
          </p:txBody>
        </p:sp>
      </p:grpSp>
      <p:sp>
        <p:nvSpPr>
          <p:cNvPr id="15" name="Rectangle 14"/>
          <p:cNvSpPr/>
          <p:nvPr/>
        </p:nvSpPr>
        <p:spPr>
          <a:xfrm>
            <a:off x="341248" y="6541506"/>
            <a:ext cx="9069931" cy="316494"/>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defRPr/>
            </a:pPr>
            <a:r>
              <a:rPr lang="en-US" sz="1200" kern="1200" dirty="0" smtClean="0">
                <a:solidFill>
                  <a:schemeClr val="bg1"/>
                </a:solidFill>
                <a:latin typeface="Arial"/>
              </a:rPr>
              <a:t>Enhanced Large Scale Production, </a:t>
            </a:r>
            <a:r>
              <a:rPr lang="en-US" sz="1200" dirty="0" smtClean="0">
                <a:solidFill>
                  <a:schemeClr val="bg1"/>
                </a:solidFill>
              </a:rPr>
              <a:t>Smallholder Productivity,</a:t>
            </a:r>
            <a:r>
              <a:rPr lang="en-US" sz="1200" kern="1200" dirty="0" smtClean="0">
                <a:solidFill>
                  <a:schemeClr val="bg1"/>
                </a:solidFill>
                <a:latin typeface="Arial"/>
              </a:rPr>
              <a:t> </a:t>
            </a:r>
            <a:r>
              <a:rPr lang="en-US" sz="1200" kern="1200" dirty="0" smtClean="0">
                <a:solidFill>
                  <a:schemeClr val="bg1"/>
                </a:solidFill>
              </a:rPr>
              <a:t>Reduced Cost Of Food </a:t>
            </a:r>
            <a:endParaRPr lang="en-US" sz="1200" kern="1200" dirty="0">
              <a:solidFill>
                <a:schemeClr val="bg1"/>
              </a:solidFill>
            </a:endParaRPr>
          </a:p>
        </p:txBody>
      </p:sp>
      <p:sp>
        <p:nvSpPr>
          <p:cNvPr id="19" name="Isosceles Triangle 18"/>
          <p:cNvSpPr/>
          <p:nvPr/>
        </p:nvSpPr>
        <p:spPr>
          <a:xfrm flipH="1" flipV="1">
            <a:off x="404024" y="6114466"/>
            <a:ext cx="9069931" cy="320873"/>
          </a:xfrm>
          <a:prstGeom prst="triangle">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defRPr/>
            </a:pPr>
            <a:endParaRPr lang="en-US" sz="1600" kern="1200">
              <a:solidFill>
                <a:srgbClr val="000000"/>
              </a:solidFill>
              <a:latin typeface="Arial"/>
            </a:endParaRPr>
          </a:p>
        </p:txBody>
      </p:sp>
    </p:spTree>
    <p:extLst>
      <p:ext uri="{BB962C8B-B14F-4D97-AF65-F5344CB8AC3E}">
        <p14:creationId xmlns:p14="http://schemas.microsoft.com/office/powerpoint/2010/main" val="251586390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00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Mapping the Strategy to outcomes in the theory of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025026551"/>
              </p:ext>
            </p:extLst>
          </p:nvPr>
        </p:nvGraphicFramePr>
        <p:xfrm>
          <a:off x="438050" y="1281020"/>
          <a:ext cx="9108759" cy="3676035"/>
        </p:xfrm>
        <a:graphic>
          <a:graphicData uri="http://schemas.openxmlformats.org/drawingml/2006/table">
            <a:tbl>
              <a:tblPr firstRow="1" bandRow="1">
                <a:tableStyleId>{E8B1032C-EA38-4F05-BA0D-38AFFFC7BED3}</a:tableStyleId>
              </a:tblPr>
              <a:tblGrid>
                <a:gridCol w="1161243">
                  <a:extLst>
                    <a:ext uri="{9D8B030D-6E8A-4147-A177-3AD203B41FA5}">
                      <a16:colId xmlns:a16="http://schemas.microsoft.com/office/drawing/2014/main" xmlns="" val="20000"/>
                    </a:ext>
                  </a:extLst>
                </a:gridCol>
                <a:gridCol w="2403835">
                  <a:extLst>
                    <a:ext uri="{9D8B030D-6E8A-4147-A177-3AD203B41FA5}">
                      <a16:colId xmlns:a16="http://schemas.microsoft.com/office/drawing/2014/main" xmlns="" val="20001"/>
                    </a:ext>
                  </a:extLst>
                </a:gridCol>
                <a:gridCol w="1561649">
                  <a:extLst>
                    <a:ext uri="{9D8B030D-6E8A-4147-A177-3AD203B41FA5}">
                      <a16:colId xmlns:a16="http://schemas.microsoft.com/office/drawing/2014/main" xmlns="" val="20002"/>
                    </a:ext>
                  </a:extLst>
                </a:gridCol>
                <a:gridCol w="2586144">
                  <a:extLst>
                    <a:ext uri="{9D8B030D-6E8A-4147-A177-3AD203B41FA5}">
                      <a16:colId xmlns:a16="http://schemas.microsoft.com/office/drawing/2014/main" xmlns="" val="20003"/>
                    </a:ext>
                  </a:extLst>
                </a:gridCol>
                <a:gridCol w="1395888">
                  <a:extLst>
                    <a:ext uri="{9D8B030D-6E8A-4147-A177-3AD203B41FA5}">
                      <a16:colId xmlns:a16="http://schemas.microsoft.com/office/drawing/2014/main" xmlns="" val="20004"/>
                    </a:ext>
                  </a:extLst>
                </a:gridCol>
              </a:tblGrid>
              <a:tr h="370840">
                <a:tc>
                  <a:txBody>
                    <a:bodyPr/>
                    <a:lstStyle/>
                    <a:p>
                      <a:r>
                        <a:rPr lang="en-US" sz="1100" dirty="0" smtClean="0">
                          <a:latin typeface="+mj-lt"/>
                        </a:rPr>
                        <a:t>Change area (outcomes)</a:t>
                      </a:r>
                      <a:endParaRPr lang="en-US" sz="1100" dirty="0">
                        <a:latin typeface="+mj-lt"/>
                      </a:endParaRPr>
                    </a:p>
                  </a:txBody>
                  <a:tcPr/>
                </a:tc>
                <a:tc>
                  <a:txBody>
                    <a:bodyPr/>
                    <a:lstStyle/>
                    <a:p>
                      <a:r>
                        <a:rPr lang="en-US" sz="1100" dirty="0" smtClean="0">
                          <a:latin typeface="+mj-lt"/>
                        </a:rPr>
                        <a:t>Activities</a:t>
                      </a:r>
                      <a:endParaRPr lang="en-US" sz="1100" dirty="0">
                        <a:latin typeface="+mj-lt"/>
                      </a:endParaRPr>
                    </a:p>
                  </a:txBody>
                  <a:tcPr/>
                </a:tc>
                <a:tc>
                  <a:txBody>
                    <a:bodyPr/>
                    <a:lstStyle/>
                    <a:p>
                      <a:r>
                        <a:rPr lang="en-US" sz="1100" dirty="0" smtClean="0">
                          <a:latin typeface="+mj-lt"/>
                        </a:rPr>
                        <a:t>Current investments</a:t>
                      </a:r>
                      <a:endParaRPr lang="en-US" sz="1100" dirty="0">
                        <a:latin typeface="+mj-lt"/>
                      </a:endParaRPr>
                    </a:p>
                  </a:txBody>
                  <a:tcPr/>
                </a:tc>
                <a:tc>
                  <a:txBody>
                    <a:bodyPr/>
                    <a:lstStyle/>
                    <a:p>
                      <a:r>
                        <a:rPr lang="en-US" sz="1100" dirty="0" smtClean="0">
                          <a:latin typeface="+mj-lt"/>
                        </a:rPr>
                        <a:t>Gaps for future</a:t>
                      </a:r>
                      <a:r>
                        <a:rPr lang="en-US" sz="1100" baseline="0" dirty="0" smtClean="0">
                          <a:latin typeface="+mj-lt"/>
                        </a:rPr>
                        <a:t> investments</a:t>
                      </a:r>
                      <a:endParaRPr lang="en-US" sz="1100" dirty="0">
                        <a:latin typeface="+mj-lt"/>
                      </a:endParaRPr>
                    </a:p>
                  </a:txBody>
                  <a:tcPr/>
                </a:tc>
                <a:tc>
                  <a:txBody>
                    <a:bodyPr/>
                    <a:lstStyle/>
                    <a:p>
                      <a:r>
                        <a:rPr lang="en-US" sz="1100" dirty="0" smtClean="0">
                          <a:solidFill>
                            <a:srgbClr val="FF0000"/>
                          </a:solidFill>
                          <a:latin typeface="+mj-lt"/>
                        </a:rPr>
                        <a:t>Potential</a:t>
                      </a:r>
                      <a:r>
                        <a:rPr lang="en-US" sz="1100" baseline="0" dirty="0" smtClean="0">
                          <a:solidFill>
                            <a:srgbClr val="FF0000"/>
                          </a:solidFill>
                          <a:latin typeface="+mj-lt"/>
                        </a:rPr>
                        <a:t> partners</a:t>
                      </a:r>
                      <a:endParaRPr lang="en-US" sz="1100" dirty="0">
                        <a:solidFill>
                          <a:srgbClr val="FF0000"/>
                        </a:solidFill>
                        <a:latin typeface="+mj-lt"/>
                      </a:endParaRPr>
                    </a:p>
                  </a:txBody>
                  <a:tcPr/>
                </a:tc>
                <a:extLst>
                  <a:ext uri="{0D108BD9-81ED-4DB2-BD59-A6C34878D82A}">
                    <a16:rowId xmlns:a16="http://schemas.microsoft.com/office/drawing/2014/main" xmlns="" val="10000"/>
                  </a:ext>
                </a:extLst>
              </a:tr>
              <a:tr h="370840">
                <a:tc rowSpan="3">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1" dirty="0" smtClean="0">
                          <a:latin typeface="+mj-lt"/>
                        </a:rPr>
                        <a:t>Market System Development</a:t>
                      </a:r>
                    </a:p>
                    <a:p>
                      <a:pPr marL="0" marR="0">
                        <a:spcBef>
                          <a:spcPts val="0"/>
                        </a:spcBef>
                        <a:spcAft>
                          <a:spcPts val="0"/>
                        </a:spcAft>
                      </a:pPr>
                      <a:endParaRPr lang="en-US" sz="11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Facilitate delivery labs that bring together pertinent stakeholders in each of the Northern Highland regions to develop plan and to put in place mechanisms to enhance agricultural value chain coordination and transparency </a:t>
                      </a:r>
                    </a:p>
                    <a:p>
                      <a:pPr marL="169863" marR="0" lvl="0" indent="-169863">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NONE</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Lack of a mechanism for agricultural value chain</a:t>
                      </a:r>
                      <a:r>
                        <a:rPr lang="en-US" sz="1100" baseline="0" dirty="0" smtClean="0">
                          <a:solidFill>
                            <a:srgbClr val="000000"/>
                          </a:solidFill>
                          <a:effectLst/>
                          <a:latin typeface="+mj-lt"/>
                          <a:ea typeface="Calibri" panose="020F0502020204030204" pitchFamily="34" charset="0"/>
                        </a:rPr>
                        <a:t> coordination and transparency</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j-lt"/>
                        </a:rPr>
                        <a:t>Local </a:t>
                      </a:r>
                      <a:r>
                        <a:rPr lang="en-US" sz="1100" dirty="0" err="1" smtClean="0">
                          <a:latin typeface="+mj-lt"/>
                        </a:rPr>
                        <a:t>Gvt</a:t>
                      </a:r>
                      <a:r>
                        <a:rPr lang="en-US" sz="1100" dirty="0" smtClean="0">
                          <a:latin typeface="+mj-lt"/>
                        </a:rPr>
                        <a:t>, </a:t>
                      </a:r>
                      <a:r>
                        <a:rPr lang="en-US" sz="1100" dirty="0" err="1" smtClean="0">
                          <a:latin typeface="+mj-lt"/>
                        </a:rPr>
                        <a:t>TCCIA</a:t>
                      </a:r>
                      <a:r>
                        <a:rPr lang="en-US" sz="1100" dirty="0" smtClean="0">
                          <a:latin typeface="+mj-lt"/>
                        </a:rPr>
                        <a:t>, </a:t>
                      </a:r>
                      <a:r>
                        <a:rPr lang="en-US" sz="1100" dirty="0" err="1" smtClean="0">
                          <a:latin typeface="+mj-lt"/>
                        </a:rPr>
                        <a:t>EAGC</a:t>
                      </a:r>
                      <a:r>
                        <a:rPr lang="en-US" sz="1100" dirty="0" smtClean="0">
                          <a:latin typeface="+mj-lt"/>
                        </a:rPr>
                        <a:t>, Food Trade, Trademark </a:t>
                      </a:r>
                      <a:r>
                        <a:rPr lang="en-US" sz="1100" dirty="0" err="1" smtClean="0">
                          <a:latin typeface="+mj-lt"/>
                        </a:rPr>
                        <a:t>EA</a:t>
                      </a:r>
                      <a:endParaRPr lang="en-US" sz="1100" dirty="0" smtClean="0">
                        <a:latin typeface="+mj-lt"/>
                      </a:endParaRPr>
                    </a:p>
                    <a:p>
                      <a:pPr marL="0" marR="0">
                        <a:spcBef>
                          <a:spcPts val="0"/>
                        </a:spcBef>
                        <a:spcAft>
                          <a:spcPts val="0"/>
                        </a:spcAft>
                      </a:pPr>
                      <a:endParaRPr lang="en-US" sz="11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01"/>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Enhance market transparency by supporting the development of  a deal making platform</a:t>
                      </a: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NONE</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pre-harvest networking session to connect value chain actors</a:t>
                      </a:r>
                    </a:p>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j-lt"/>
                        </a:rPr>
                        <a:t>Food Trade, </a:t>
                      </a:r>
                      <a:r>
                        <a:rPr lang="en-US" sz="1100" dirty="0" err="1" smtClean="0">
                          <a:latin typeface="+mj-lt"/>
                        </a:rPr>
                        <a:t>EAGC</a:t>
                      </a:r>
                      <a:r>
                        <a:rPr lang="en-US" sz="1100" dirty="0" smtClean="0">
                          <a:latin typeface="+mj-lt"/>
                        </a:rPr>
                        <a:t>, </a:t>
                      </a:r>
                      <a:r>
                        <a:rPr lang="en-US" sz="1100" dirty="0" err="1" smtClean="0">
                          <a:latin typeface="+mj-lt"/>
                        </a:rPr>
                        <a:t>TCCIA</a:t>
                      </a:r>
                      <a:r>
                        <a:rPr lang="en-US" sz="1100" dirty="0" smtClean="0">
                          <a:latin typeface="+mj-lt"/>
                        </a:rPr>
                        <a:t>, Trademark </a:t>
                      </a:r>
                      <a:r>
                        <a:rPr lang="en-US" sz="1100" dirty="0" err="1" smtClean="0">
                          <a:latin typeface="+mj-lt"/>
                        </a:rPr>
                        <a:t>EA</a:t>
                      </a:r>
                      <a:endParaRPr lang="en-US" sz="1100" dirty="0" smtClean="0">
                        <a:latin typeface="+mj-lt"/>
                      </a:endParaRPr>
                    </a:p>
                  </a:txBody>
                  <a:tcPr marL="68580" marR="68580" marT="0" marB="0"/>
                </a:tc>
                <a:extLst>
                  <a:ext uri="{0D108BD9-81ED-4DB2-BD59-A6C34878D82A}">
                    <a16:rowId xmlns:a16="http://schemas.microsoft.com/office/drawing/2014/main" xmlns="" val="1155157194"/>
                  </a:ext>
                </a:extLst>
              </a:tr>
              <a:tr h="370840">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Create sustainable platforms by supporting the digitization of  value chain transparency and coordination system; includes forward contracting, pricing, quantity projections, transportation costs, digital extension (linked to stakeholder)</a:t>
                      </a: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NONE</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t>Digitized value chain transparency system</a:t>
                      </a:r>
                      <a:r>
                        <a:rPr lang="en-US" sz="1100" baseline="0" dirty="0" smtClean="0"/>
                        <a:t> </a:t>
                      </a:r>
                      <a:r>
                        <a:rPr lang="en-US" sz="1100" dirty="0" smtClean="0"/>
                        <a:t>linked to stakeholder</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j-lt"/>
                        </a:rPr>
                        <a:t>G-</a:t>
                      </a:r>
                      <a:r>
                        <a:rPr lang="en-US" sz="1100" dirty="0" err="1" smtClean="0">
                          <a:latin typeface="+mj-lt"/>
                        </a:rPr>
                        <a:t>Soko</a:t>
                      </a:r>
                      <a:r>
                        <a:rPr lang="en-US" sz="1100" dirty="0" smtClean="0">
                          <a:latin typeface="+mj-lt"/>
                        </a:rPr>
                        <a:t>/ Food trade/EAGC and ICT Partners</a:t>
                      </a:r>
                    </a:p>
                    <a:p>
                      <a:pPr marL="0" marR="0">
                        <a:spcBef>
                          <a:spcPts val="0"/>
                        </a:spcBef>
                        <a:spcAft>
                          <a:spcPts val="0"/>
                        </a:spcAft>
                      </a:pPr>
                      <a:endParaRPr lang="en-US" sz="11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04695550"/>
                  </a:ext>
                </a:extLst>
              </a:tr>
            </a:tbl>
          </a:graphicData>
        </a:graphic>
      </p:graphicFrame>
      <p:sp>
        <p:nvSpPr>
          <p:cNvPr id="3" name="Rectangle 2"/>
          <p:cNvSpPr/>
          <p:nvPr/>
        </p:nvSpPr>
        <p:spPr>
          <a:xfrm>
            <a:off x="347008" y="973243"/>
            <a:ext cx="1854995" cy="307777"/>
          </a:xfrm>
          <a:prstGeom prst="rect">
            <a:avLst/>
          </a:prstGeom>
        </p:spPr>
        <p:txBody>
          <a:bodyPr wrap="none">
            <a:spAutoFit/>
          </a:bodyPr>
          <a:lstStyle/>
          <a:p>
            <a:r>
              <a:rPr lang="en-US" b="1" dirty="0">
                <a:solidFill>
                  <a:srgbClr val="00B0F0"/>
                </a:solidFill>
              </a:rPr>
              <a:t>Northern </a:t>
            </a:r>
            <a:r>
              <a:rPr lang="en-US" b="1" dirty="0" smtClean="0">
                <a:solidFill>
                  <a:srgbClr val="00B0F0"/>
                </a:solidFill>
              </a:rPr>
              <a:t>Highlands</a:t>
            </a:r>
            <a:endParaRPr lang="en-US" b="1" dirty="0">
              <a:solidFill>
                <a:srgbClr val="00B0F0"/>
              </a:solidFill>
            </a:endParaRPr>
          </a:p>
        </p:txBody>
      </p:sp>
    </p:spTree>
    <p:extLst>
      <p:ext uri="{BB962C8B-B14F-4D97-AF65-F5344CB8AC3E}">
        <p14:creationId xmlns:p14="http://schemas.microsoft.com/office/powerpoint/2010/main" val="205975818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02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Mapping the Strategy to outcomes in the theory of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065258161"/>
              </p:ext>
            </p:extLst>
          </p:nvPr>
        </p:nvGraphicFramePr>
        <p:xfrm>
          <a:off x="438050" y="1281020"/>
          <a:ext cx="9108759" cy="3779520"/>
        </p:xfrm>
        <a:graphic>
          <a:graphicData uri="http://schemas.openxmlformats.org/drawingml/2006/table">
            <a:tbl>
              <a:tblPr firstRow="1" bandRow="1">
                <a:tableStyleId>{E8B1032C-EA38-4F05-BA0D-38AFFFC7BED3}</a:tableStyleId>
              </a:tblPr>
              <a:tblGrid>
                <a:gridCol w="1161243">
                  <a:extLst>
                    <a:ext uri="{9D8B030D-6E8A-4147-A177-3AD203B41FA5}">
                      <a16:colId xmlns:a16="http://schemas.microsoft.com/office/drawing/2014/main" xmlns="" val="20000"/>
                    </a:ext>
                  </a:extLst>
                </a:gridCol>
                <a:gridCol w="2403835">
                  <a:extLst>
                    <a:ext uri="{9D8B030D-6E8A-4147-A177-3AD203B41FA5}">
                      <a16:colId xmlns:a16="http://schemas.microsoft.com/office/drawing/2014/main" xmlns="" val="20001"/>
                    </a:ext>
                  </a:extLst>
                </a:gridCol>
                <a:gridCol w="1596483">
                  <a:extLst>
                    <a:ext uri="{9D8B030D-6E8A-4147-A177-3AD203B41FA5}">
                      <a16:colId xmlns:a16="http://schemas.microsoft.com/office/drawing/2014/main" xmlns="" val="20002"/>
                    </a:ext>
                  </a:extLst>
                </a:gridCol>
                <a:gridCol w="2551310">
                  <a:extLst>
                    <a:ext uri="{9D8B030D-6E8A-4147-A177-3AD203B41FA5}">
                      <a16:colId xmlns:a16="http://schemas.microsoft.com/office/drawing/2014/main" xmlns="" val="20003"/>
                    </a:ext>
                  </a:extLst>
                </a:gridCol>
                <a:gridCol w="1395888">
                  <a:extLst>
                    <a:ext uri="{9D8B030D-6E8A-4147-A177-3AD203B41FA5}">
                      <a16:colId xmlns:a16="http://schemas.microsoft.com/office/drawing/2014/main" xmlns="" val="20004"/>
                    </a:ext>
                  </a:extLst>
                </a:gridCol>
              </a:tblGrid>
              <a:tr h="370840">
                <a:tc>
                  <a:txBody>
                    <a:bodyPr/>
                    <a:lstStyle/>
                    <a:p>
                      <a:r>
                        <a:rPr lang="en-US" sz="1100" dirty="0" smtClean="0">
                          <a:latin typeface="+mj-lt"/>
                        </a:rPr>
                        <a:t>Change area (outcomes)</a:t>
                      </a:r>
                      <a:endParaRPr lang="en-US" sz="1100" dirty="0">
                        <a:latin typeface="+mj-lt"/>
                      </a:endParaRPr>
                    </a:p>
                  </a:txBody>
                  <a:tcPr/>
                </a:tc>
                <a:tc>
                  <a:txBody>
                    <a:bodyPr/>
                    <a:lstStyle/>
                    <a:p>
                      <a:r>
                        <a:rPr lang="en-US" sz="1100" dirty="0" smtClean="0">
                          <a:latin typeface="+mj-lt"/>
                        </a:rPr>
                        <a:t>Activities</a:t>
                      </a:r>
                      <a:endParaRPr lang="en-US" sz="1100" dirty="0">
                        <a:latin typeface="+mj-lt"/>
                      </a:endParaRPr>
                    </a:p>
                  </a:txBody>
                  <a:tcPr/>
                </a:tc>
                <a:tc>
                  <a:txBody>
                    <a:bodyPr/>
                    <a:lstStyle/>
                    <a:p>
                      <a:r>
                        <a:rPr lang="en-US" sz="1100" dirty="0" smtClean="0">
                          <a:latin typeface="+mj-lt"/>
                        </a:rPr>
                        <a:t>Current investments</a:t>
                      </a:r>
                      <a:endParaRPr lang="en-US" sz="1100" dirty="0">
                        <a:latin typeface="+mj-lt"/>
                      </a:endParaRPr>
                    </a:p>
                  </a:txBody>
                  <a:tcPr/>
                </a:tc>
                <a:tc>
                  <a:txBody>
                    <a:bodyPr/>
                    <a:lstStyle/>
                    <a:p>
                      <a:r>
                        <a:rPr lang="en-US" sz="1100" dirty="0" smtClean="0">
                          <a:latin typeface="+mj-lt"/>
                        </a:rPr>
                        <a:t>Gaps for future</a:t>
                      </a:r>
                      <a:r>
                        <a:rPr lang="en-US" sz="1100" baseline="0" dirty="0" smtClean="0">
                          <a:latin typeface="+mj-lt"/>
                        </a:rPr>
                        <a:t> investments</a:t>
                      </a:r>
                      <a:endParaRPr lang="en-US" sz="1100" dirty="0">
                        <a:latin typeface="+mj-lt"/>
                      </a:endParaRPr>
                    </a:p>
                  </a:txBody>
                  <a:tcPr/>
                </a:tc>
                <a:tc>
                  <a:txBody>
                    <a:bodyPr/>
                    <a:lstStyle/>
                    <a:p>
                      <a:r>
                        <a:rPr lang="en-US" sz="1100" dirty="0" smtClean="0">
                          <a:solidFill>
                            <a:srgbClr val="FF0000"/>
                          </a:solidFill>
                          <a:latin typeface="+mj-lt"/>
                        </a:rPr>
                        <a:t>Potential</a:t>
                      </a:r>
                      <a:r>
                        <a:rPr lang="en-US" sz="1100" baseline="0" dirty="0" smtClean="0">
                          <a:solidFill>
                            <a:srgbClr val="FF0000"/>
                          </a:solidFill>
                          <a:latin typeface="+mj-lt"/>
                        </a:rPr>
                        <a:t> partners</a:t>
                      </a:r>
                      <a:endParaRPr lang="en-US" sz="1100" dirty="0">
                        <a:solidFill>
                          <a:srgbClr val="FF0000"/>
                        </a:solidFill>
                        <a:latin typeface="+mj-lt"/>
                      </a:endParaRPr>
                    </a:p>
                  </a:txBody>
                  <a:tcPr/>
                </a:tc>
                <a:extLst>
                  <a:ext uri="{0D108BD9-81ED-4DB2-BD59-A6C34878D82A}">
                    <a16:rowId xmlns:a16="http://schemas.microsoft.com/office/drawing/2014/main" xmlns="" val="10000"/>
                  </a:ext>
                </a:extLst>
              </a:tr>
              <a:tr h="370840">
                <a:tc rowSpan="3">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1" i="0" u="none" strike="noStrike" cap="none" dirty="0" smtClean="0">
                          <a:solidFill>
                            <a:schemeClr val="tx1"/>
                          </a:solidFill>
                          <a:latin typeface="+mj-lt"/>
                          <a:ea typeface="+mn-ea"/>
                          <a:cs typeface="+mn-cs"/>
                          <a:sym typeface="Arial"/>
                        </a:rPr>
                        <a:t>Input </a:t>
                      </a:r>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1" i="0" u="none" strike="noStrike" cap="none" dirty="0" smtClean="0">
                          <a:solidFill>
                            <a:schemeClr val="tx1"/>
                          </a:solidFill>
                          <a:latin typeface="+mj-lt"/>
                          <a:ea typeface="+mn-ea"/>
                          <a:cs typeface="+mn-cs"/>
                          <a:sym typeface="Arial"/>
                        </a:rPr>
                        <a:t>System Development</a:t>
                      </a:r>
                      <a:endParaRPr lang="en-US" sz="1100" b="1" i="0" u="none" strike="noStrike" cap="none" dirty="0">
                        <a:solidFill>
                          <a:schemeClr val="tx1"/>
                        </a:solidFill>
                        <a:latin typeface="+mj-lt"/>
                        <a:ea typeface="+mn-ea"/>
                        <a:cs typeface="+mn-cs"/>
                        <a:sym typeface="Arial"/>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Leverage the deal-making platform to support the introduction of new agricultural technologies through field days and demo plots; scale up ICT, video and radio based extension messaging, support ward resource centers and BDS to FOs</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NONE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t>Platforms that link farmers to sources of inputs, credit, extension service providers, and off-takers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r>
                        <a:rPr lang="en-US" sz="1100" dirty="0" smtClean="0">
                          <a:latin typeface="+mj-lt"/>
                        </a:rPr>
                        <a:t>Digital Green, farm radio international, regional and district authorities, agribusinesses</a:t>
                      </a:r>
                    </a:p>
                    <a:p>
                      <a:pPr marL="0" marR="0">
                        <a:spcBef>
                          <a:spcPts val="0"/>
                        </a:spcBef>
                        <a:spcAft>
                          <a:spcPts val="0"/>
                        </a:spcAft>
                      </a:pPr>
                      <a:endParaRPr lang="en-US" sz="11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01"/>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Support seed companies to transition from start-up stage to growth state e.g., by facilitating the adoption of improved seed business practices</a:t>
                      </a:r>
                    </a:p>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endParaRPr lang="en-US" sz="1100" dirty="0" smtClean="0">
                        <a:latin typeface="+mj-lt"/>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NONE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lgn="l" rtl="0">
                        <a:lnSpc>
                          <a:spcPct val="100000"/>
                        </a:lnSpc>
                        <a:spcBef>
                          <a:spcPts val="0"/>
                        </a:spcBef>
                        <a:spcAft>
                          <a:spcPts val="0"/>
                        </a:spcAft>
                        <a:buClr>
                          <a:srgbClr val="000000"/>
                        </a:buClr>
                        <a:buFont typeface="Symbol" panose="05050102010706020507" pitchFamily="18" charset="2"/>
                        <a:buChar char=""/>
                      </a:pPr>
                      <a:r>
                        <a:rPr lang="en-US" sz="1100" b="0" i="0" u="none" strike="noStrike" cap="none" dirty="0" smtClean="0">
                          <a:solidFill>
                            <a:schemeClr val="tx1"/>
                          </a:solidFill>
                          <a:latin typeface="+mn-lt"/>
                          <a:ea typeface="+mn-ea"/>
                          <a:cs typeface="+mn-cs"/>
                          <a:sym typeface="Arial"/>
                        </a:rPr>
                        <a:t>Capital investments in seed companies up to the point of ‘bankability’ then facilitate access to appropriate financial products as needed</a:t>
                      </a: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j-lt"/>
                        </a:rPr>
                        <a:t>Research institutions, high performing seed companies (local and </a:t>
                      </a:r>
                      <a:r>
                        <a:rPr lang="en-US" sz="1100" dirty="0" err="1" smtClean="0">
                          <a:latin typeface="+mj-lt"/>
                        </a:rPr>
                        <a:t>MNC</a:t>
                      </a:r>
                      <a:r>
                        <a:rPr lang="en-US" sz="1100" dirty="0" smtClean="0">
                          <a:latin typeface="+mj-lt"/>
                        </a:rPr>
                        <a:t>)</a:t>
                      </a:r>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dirty="0" smtClean="0">
                        <a:latin typeface="+mj-lt"/>
                      </a:endParaRPr>
                    </a:p>
                  </a:txBody>
                  <a:tcPr marL="68580" marR="68580" marT="0" marB="0"/>
                </a:tc>
                <a:extLst>
                  <a:ext uri="{0D108BD9-81ED-4DB2-BD59-A6C34878D82A}">
                    <a16:rowId xmlns:a16="http://schemas.microsoft.com/office/drawing/2014/main" xmlns="" val="1155157194"/>
                  </a:ext>
                </a:extLst>
              </a:tr>
              <a:tr h="370840">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Support the  production of  breeder and foundation seed  by partnering with  5 existing specialized seed companies in Northern Highlands</a:t>
                      </a:r>
                    </a:p>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endParaRPr lang="en-US" sz="1100" dirty="0" smtClean="0">
                        <a:latin typeface="+mj-lt"/>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NONE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No production of breeder</a:t>
                      </a:r>
                      <a:r>
                        <a:rPr lang="en-US" sz="1100" baseline="0" dirty="0" smtClean="0"/>
                        <a:t> nor foundation seed for the Northern Region </a:t>
                      </a:r>
                      <a:endParaRPr lang="en-US" sz="1100" dirty="0" smtClean="0"/>
                    </a:p>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j-lt"/>
                        </a:rPr>
                        <a:t>Research institutions, breeders, and seed companies</a:t>
                      </a:r>
                    </a:p>
                    <a:p>
                      <a:pPr marL="0" marR="0">
                        <a:spcBef>
                          <a:spcPts val="0"/>
                        </a:spcBef>
                        <a:spcAft>
                          <a:spcPts val="0"/>
                        </a:spcAft>
                      </a:pPr>
                      <a:endParaRPr lang="en-US" sz="11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04695550"/>
                  </a:ext>
                </a:extLst>
              </a:tr>
            </a:tbl>
          </a:graphicData>
        </a:graphic>
      </p:graphicFrame>
      <p:sp>
        <p:nvSpPr>
          <p:cNvPr id="3" name="Rectangle 2"/>
          <p:cNvSpPr/>
          <p:nvPr/>
        </p:nvSpPr>
        <p:spPr>
          <a:xfrm>
            <a:off x="347008" y="973243"/>
            <a:ext cx="1854995" cy="307777"/>
          </a:xfrm>
          <a:prstGeom prst="rect">
            <a:avLst/>
          </a:prstGeom>
        </p:spPr>
        <p:txBody>
          <a:bodyPr wrap="none">
            <a:spAutoFit/>
          </a:bodyPr>
          <a:lstStyle/>
          <a:p>
            <a:r>
              <a:rPr lang="en-US" b="1" dirty="0">
                <a:solidFill>
                  <a:srgbClr val="00B0F0"/>
                </a:solidFill>
              </a:rPr>
              <a:t>Northern</a:t>
            </a:r>
            <a:r>
              <a:rPr lang="en-US" b="1" dirty="0"/>
              <a:t> </a:t>
            </a:r>
            <a:r>
              <a:rPr lang="en-US" b="1" dirty="0">
                <a:solidFill>
                  <a:srgbClr val="00B0F0"/>
                </a:solidFill>
              </a:rPr>
              <a:t>Highlands</a:t>
            </a:r>
          </a:p>
        </p:txBody>
      </p:sp>
    </p:spTree>
    <p:extLst>
      <p:ext uri="{BB962C8B-B14F-4D97-AF65-F5344CB8AC3E}">
        <p14:creationId xmlns:p14="http://schemas.microsoft.com/office/powerpoint/2010/main" val="219735701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05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Mapping the Strategy to outcomes in the theory of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34252884"/>
              </p:ext>
            </p:extLst>
          </p:nvPr>
        </p:nvGraphicFramePr>
        <p:xfrm>
          <a:off x="243840" y="1281020"/>
          <a:ext cx="9302969" cy="3947160"/>
        </p:xfrm>
        <a:graphic>
          <a:graphicData uri="http://schemas.openxmlformats.org/drawingml/2006/table">
            <a:tbl>
              <a:tblPr firstRow="1" bandRow="1">
                <a:tableStyleId>{E8B1032C-EA38-4F05-BA0D-38AFFFC7BED3}</a:tableStyleId>
              </a:tblPr>
              <a:tblGrid>
                <a:gridCol w="1036320">
                  <a:extLst>
                    <a:ext uri="{9D8B030D-6E8A-4147-A177-3AD203B41FA5}">
                      <a16:colId xmlns:a16="http://schemas.microsoft.com/office/drawing/2014/main" xmlns="" val="20000"/>
                    </a:ext>
                  </a:extLst>
                </a:gridCol>
                <a:gridCol w="2604770">
                  <a:extLst>
                    <a:ext uri="{9D8B030D-6E8A-4147-A177-3AD203B41FA5}">
                      <a16:colId xmlns:a16="http://schemas.microsoft.com/office/drawing/2014/main" xmlns="" val="20001"/>
                    </a:ext>
                  </a:extLst>
                </a:gridCol>
                <a:gridCol w="1871436">
                  <a:extLst>
                    <a:ext uri="{9D8B030D-6E8A-4147-A177-3AD203B41FA5}">
                      <a16:colId xmlns:a16="http://schemas.microsoft.com/office/drawing/2014/main" xmlns="" val="20002"/>
                    </a:ext>
                  </a:extLst>
                </a:gridCol>
                <a:gridCol w="2364793">
                  <a:extLst>
                    <a:ext uri="{9D8B030D-6E8A-4147-A177-3AD203B41FA5}">
                      <a16:colId xmlns:a16="http://schemas.microsoft.com/office/drawing/2014/main" xmlns="" val="20003"/>
                    </a:ext>
                  </a:extLst>
                </a:gridCol>
                <a:gridCol w="1425650">
                  <a:extLst>
                    <a:ext uri="{9D8B030D-6E8A-4147-A177-3AD203B41FA5}">
                      <a16:colId xmlns:a16="http://schemas.microsoft.com/office/drawing/2014/main" xmlns="" val="20004"/>
                    </a:ext>
                  </a:extLst>
                </a:gridCol>
              </a:tblGrid>
              <a:tr h="370840">
                <a:tc>
                  <a:txBody>
                    <a:bodyPr/>
                    <a:lstStyle/>
                    <a:p>
                      <a:r>
                        <a:rPr lang="en-US" sz="1100" dirty="0" smtClean="0">
                          <a:latin typeface="+mj-lt"/>
                        </a:rPr>
                        <a:t>Change area (outcomes)</a:t>
                      </a:r>
                      <a:endParaRPr lang="en-US" sz="1100" dirty="0">
                        <a:latin typeface="+mj-lt"/>
                      </a:endParaRPr>
                    </a:p>
                  </a:txBody>
                  <a:tcPr/>
                </a:tc>
                <a:tc>
                  <a:txBody>
                    <a:bodyPr/>
                    <a:lstStyle/>
                    <a:p>
                      <a:r>
                        <a:rPr lang="en-US" sz="1100" dirty="0" smtClean="0">
                          <a:latin typeface="+mj-lt"/>
                        </a:rPr>
                        <a:t>Activities</a:t>
                      </a:r>
                      <a:endParaRPr lang="en-US" sz="1100" dirty="0">
                        <a:latin typeface="+mj-lt"/>
                      </a:endParaRPr>
                    </a:p>
                  </a:txBody>
                  <a:tcPr/>
                </a:tc>
                <a:tc>
                  <a:txBody>
                    <a:bodyPr/>
                    <a:lstStyle/>
                    <a:p>
                      <a:r>
                        <a:rPr lang="en-US" sz="1100" dirty="0" smtClean="0">
                          <a:latin typeface="+mj-lt"/>
                        </a:rPr>
                        <a:t>Current investments</a:t>
                      </a:r>
                      <a:endParaRPr lang="en-US" sz="1100" dirty="0">
                        <a:latin typeface="+mj-lt"/>
                      </a:endParaRPr>
                    </a:p>
                  </a:txBody>
                  <a:tcPr/>
                </a:tc>
                <a:tc>
                  <a:txBody>
                    <a:bodyPr/>
                    <a:lstStyle/>
                    <a:p>
                      <a:r>
                        <a:rPr lang="en-US" sz="1100" dirty="0" smtClean="0">
                          <a:latin typeface="+mj-lt"/>
                        </a:rPr>
                        <a:t>Gaps for future</a:t>
                      </a:r>
                      <a:r>
                        <a:rPr lang="en-US" sz="1100" baseline="0" dirty="0" smtClean="0">
                          <a:latin typeface="+mj-lt"/>
                        </a:rPr>
                        <a:t> investments</a:t>
                      </a:r>
                      <a:endParaRPr lang="en-US" sz="1100" dirty="0">
                        <a:latin typeface="+mj-lt"/>
                      </a:endParaRPr>
                    </a:p>
                  </a:txBody>
                  <a:tcPr/>
                </a:tc>
                <a:tc>
                  <a:txBody>
                    <a:bodyPr/>
                    <a:lstStyle/>
                    <a:p>
                      <a:r>
                        <a:rPr lang="en-US" sz="1100" dirty="0" smtClean="0">
                          <a:solidFill>
                            <a:srgbClr val="FF0000"/>
                          </a:solidFill>
                          <a:latin typeface="+mj-lt"/>
                        </a:rPr>
                        <a:t>Potential</a:t>
                      </a:r>
                      <a:r>
                        <a:rPr lang="en-US" sz="1100" baseline="0" dirty="0" smtClean="0">
                          <a:solidFill>
                            <a:srgbClr val="FF0000"/>
                          </a:solidFill>
                          <a:latin typeface="+mj-lt"/>
                        </a:rPr>
                        <a:t> partners</a:t>
                      </a:r>
                      <a:endParaRPr lang="en-US" sz="1100" dirty="0">
                        <a:solidFill>
                          <a:srgbClr val="FF0000"/>
                        </a:solidFill>
                        <a:latin typeface="+mj-lt"/>
                      </a:endParaRPr>
                    </a:p>
                  </a:txBody>
                  <a:tcPr/>
                </a:tc>
                <a:extLst>
                  <a:ext uri="{0D108BD9-81ED-4DB2-BD59-A6C34878D82A}">
                    <a16:rowId xmlns:a16="http://schemas.microsoft.com/office/drawing/2014/main" xmlns="" val="10000"/>
                  </a:ext>
                </a:extLst>
              </a:tr>
              <a:tr h="370840">
                <a:tc rowSpan="3">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1" i="0" u="none" strike="noStrike" cap="none" dirty="0" smtClean="0">
                          <a:solidFill>
                            <a:schemeClr val="tx1"/>
                          </a:solidFill>
                          <a:latin typeface="+mn-lt"/>
                          <a:ea typeface="+mn-ea"/>
                          <a:cs typeface="+mn-cs"/>
                          <a:sym typeface="Arial"/>
                        </a:rPr>
                        <a:t>Market System Development</a:t>
                      </a:r>
                    </a:p>
                    <a:p>
                      <a:pPr algn="ctr"/>
                      <a:endParaRPr lang="en-US" sz="1100" dirty="0">
                        <a:latin typeface="+mj-lt"/>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Support  traders &amp; processors in the Southern Highlands to increase trading and processing capacity through the provision of business development services (BDS</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Partnerships established with  </a:t>
                      </a:r>
                      <a:r>
                        <a:rPr lang="en-US" sz="1100" dirty="0" err="1" smtClean="0">
                          <a:solidFill>
                            <a:srgbClr val="000000"/>
                          </a:solidFill>
                          <a:effectLst/>
                          <a:latin typeface="+mj-lt"/>
                          <a:ea typeface="Calibri" panose="020F0502020204030204" pitchFamily="34" charset="0"/>
                        </a:rPr>
                        <a:t>with</a:t>
                      </a:r>
                      <a:r>
                        <a:rPr lang="en-US" sz="1100" dirty="0" smtClean="0">
                          <a:solidFill>
                            <a:srgbClr val="000000"/>
                          </a:solidFill>
                          <a:effectLst/>
                          <a:latin typeface="+mj-lt"/>
                          <a:ea typeface="Calibri" panose="020F0502020204030204" pitchFamily="34" charset="0"/>
                        </a:rPr>
                        <a:t> YWS, EAGC, BRITEN , ACT &amp; MIICO</a:t>
                      </a:r>
                      <a:r>
                        <a:rPr lang="en-US" sz="1100" baseline="0" dirty="0" smtClean="0">
                          <a:solidFill>
                            <a:srgbClr val="000000"/>
                          </a:solidFill>
                          <a:effectLst/>
                          <a:latin typeface="+mj-lt"/>
                          <a:ea typeface="Calibri" panose="020F0502020204030204" pitchFamily="34" charset="0"/>
                        </a:rPr>
                        <a:t> for increased access to structured markets by SHF.</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Access to major grain markets (e.g., Dar, Nairobi)</a:t>
                      </a:r>
                    </a:p>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j-lt"/>
                        </a:rPr>
                        <a:t>PASS TRUST, SAGCOT, TCCIA, </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01"/>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Value chain financing: grain handlers/processors; grant matching for early stage companies (covers 1st year working capital + initial capex, including grain handling equipment and seasonal storage)</a:t>
                      </a:r>
                    </a:p>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endParaRPr lang="en-US" sz="1100" dirty="0" smtClean="0">
                        <a:latin typeface="+mj-lt"/>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NONE</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Support grain handlers to build assets that can be used as collateral to access credit from commercial banks (CAPEX and WC for business expansion)</a:t>
                      </a:r>
                    </a:p>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err="1" smtClean="0">
                          <a:latin typeface="+mj-lt"/>
                        </a:rPr>
                        <a:t>EACF</a:t>
                      </a:r>
                      <a:r>
                        <a:rPr lang="en-US" sz="1100" dirty="0" smtClean="0">
                          <a:latin typeface="+mj-lt"/>
                        </a:rPr>
                        <a:t>, other business plan competition agencies, banks and non-banking financial institutions, </a:t>
                      </a:r>
                      <a:r>
                        <a:rPr lang="en-US" sz="1100" dirty="0" err="1" smtClean="0">
                          <a:latin typeface="+mj-lt"/>
                        </a:rPr>
                        <a:t>CARI</a:t>
                      </a:r>
                      <a:r>
                        <a:rPr lang="en-US" sz="1100" dirty="0" smtClean="0">
                          <a:latin typeface="+mj-lt"/>
                        </a:rPr>
                        <a:t> project</a:t>
                      </a:r>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dirty="0" smtClean="0">
                        <a:latin typeface="+mj-lt"/>
                      </a:endParaRPr>
                    </a:p>
                  </a:txBody>
                  <a:tcPr marL="68580" marR="68580" marT="0" marB="0"/>
                </a:tc>
                <a:extLst>
                  <a:ext uri="{0D108BD9-81ED-4DB2-BD59-A6C34878D82A}">
                    <a16:rowId xmlns:a16="http://schemas.microsoft.com/office/drawing/2014/main" xmlns="" val="1155157194"/>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b="0" i="0" u="none" strike="noStrike" cap="none" dirty="0" smtClean="0">
                          <a:solidFill>
                            <a:schemeClr val="tx1"/>
                          </a:solidFill>
                          <a:latin typeface="+mj-lt"/>
                          <a:ea typeface="+mn-ea"/>
                          <a:cs typeface="+mn-cs"/>
                          <a:sym typeface="Arial"/>
                        </a:rPr>
                        <a:t>Support newly designed agro-processing clusters by generating proof-of-concept  for the transition towards lucrative markets such as animal feed</a:t>
                      </a:r>
                    </a:p>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endParaRPr lang="en-US" sz="1100" dirty="0" smtClean="0">
                        <a:latin typeface="+mj-lt"/>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Ongoing</a:t>
                      </a:r>
                      <a:r>
                        <a:rPr lang="en-US" sz="1100" baseline="0" dirty="0" smtClean="0">
                          <a:solidFill>
                            <a:srgbClr val="000000"/>
                          </a:solidFill>
                          <a:effectLst/>
                          <a:latin typeface="+mj-lt"/>
                          <a:ea typeface="Calibri" panose="020F0502020204030204" pitchFamily="34" charset="0"/>
                        </a:rPr>
                        <a:t> with EMMA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Provision</a:t>
                      </a:r>
                      <a:r>
                        <a:rPr lang="en-US" sz="1100" baseline="0" dirty="0" smtClean="0"/>
                        <a:t> of </a:t>
                      </a:r>
                      <a:r>
                        <a:rPr lang="en-US" sz="1100" dirty="0" smtClean="0"/>
                        <a:t>  funding for equipment acquisition (maize milling) &amp;  crowding in funding and</a:t>
                      </a:r>
                      <a:r>
                        <a:rPr lang="en-US" sz="1100" baseline="0" dirty="0" smtClean="0"/>
                        <a:t> </a:t>
                      </a:r>
                      <a:r>
                        <a:rPr lang="en-US" sz="1100" dirty="0" smtClean="0"/>
                        <a:t>specific financial products to scale</a:t>
                      </a:r>
                    </a:p>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u="none" strike="noStrike" cap="none" dirty="0" smtClean="0">
                          <a:solidFill>
                            <a:schemeClr val="tx1"/>
                          </a:solidFill>
                          <a:latin typeface="+mj-lt"/>
                          <a:ea typeface="+mn-ea"/>
                          <a:cs typeface="+mn-cs"/>
                          <a:sym typeface="Arial"/>
                        </a:rPr>
                        <a:t>Traders and milling/processing enterprises  organizations, </a:t>
                      </a:r>
                      <a:r>
                        <a:rPr lang="en-US" sz="1100" b="0" i="0" u="none" strike="noStrike" cap="none" dirty="0" err="1" smtClean="0">
                          <a:solidFill>
                            <a:schemeClr val="tx1"/>
                          </a:solidFill>
                          <a:latin typeface="+mj-lt"/>
                          <a:ea typeface="+mn-ea"/>
                          <a:cs typeface="+mn-cs"/>
                          <a:sym typeface="Arial"/>
                        </a:rPr>
                        <a:t>Silverlands</a:t>
                      </a:r>
                      <a:r>
                        <a:rPr lang="en-US" sz="1100" b="0" i="0" u="none" strike="noStrike" cap="none" dirty="0" smtClean="0">
                          <a:solidFill>
                            <a:schemeClr val="tx1"/>
                          </a:solidFill>
                          <a:latin typeface="+mj-lt"/>
                          <a:ea typeface="+mn-ea"/>
                          <a:cs typeface="+mn-cs"/>
                          <a:sym typeface="Arial"/>
                        </a:rPr>
                        <a:t> </a:t>
                      </a:r>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dirty="0" smtClean="0">
                        <a:latin typeface="+mj-lt"/>
                      </a:endParaRPr>
                    </a:p>
                  </a:txBody>
                  <a:tcPr marL="68580" marR="68580" marT="0" marB="0"/>
                </a:tc>
                <a:extLst>
                  <a:ext uri="{0D108BD9-81ED-4DB2-BD59-A6C34878D82A}">
                    <a16:rowId xmlns:a16="http://schemas.microsoft.com/office/drawing/2014/main" xmlns="" val="2211010328"/>
                  </a:ext>
                </a:extLst>
              </a:tr>
            </a:tbl>
          </a:graphicData>
        </a:graphic>
      </p:graphicFrame>
      <p:sp>
        <p:nvSpPr>
          <p:cNvPr id="3" name="Rectangle 2"/>
          <p:cNvSpPr/>
          <p:nvPr/>
        </p:nvSpPr>
        <p:spPr>
          <a:xfrm>
            <a:off x="347008" y="973243"/>
            <a:ext cx="1883849" cy="307777"/>
          </a:xfrm>
          <a:prstGeom prst="rect">
            <a:avLst/>
          </a:prstGeom>
        </p:spPr>
        <p:txBody>
          <a:bodyPr wrap="none">
            <a:spAutoFit/>
          </a:bodyPr>
          <a:lstStyle/>
          <a:p>
            <a:r>
              <a:rPr lang="en-US" b="1" dirty="0">
                <a:solidFill>
                  <a:srgbClr val="00B0F0"/>
                </a:solidFill>
              </a:rPr>
              <a:t>Southern Highlands</a:t>
            </a:r>
          </a:p>
        </p:txBody>
      </p:sp>
    </p:spTree>
    <p:extLst>
      <p:ext uri="{BB962C8B-B14F-4D97-AF65-F5344CB8AC3E}">
        <p14:creationId xmlns:p14="http://schemas.microsoft.com/office/powerpoint/2010/main" val="338744818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07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Mapping the Strategy to outcomes in the theory of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264770616"/>
              </p:ext>
            </p:extLst>
          </p:nvPr>
        </p:nvGraphicFramePr>
        <p:xfrm>
          <a:off x="139338" y="1152621"/>
          <a:ext cx="9527176" cy="5120640"/>
        </p:xfrm>
        <a:graphic>
          <a:graphicData uri="http://schemas.openxmlformats.org/drawingml/2006/table">
            <a:tbl>
              <a:tblPr firstRow="1" bandRow="1">
                <a:tableStyleId>{E8B1032C-EA38-4F05-BA0D-38AFFFC7BED3}</a:tableStyleId>
              </a:tblPr>
              <a:tblGrid>
                <a:gridCol w="1214586">
                  <a:extLst>
                    <a:ext uri="{9D8B030D-6E8A-4147-A177-3AD203B41FA5}">
                      <a16:colId xmlns:a16="http://schemas.microsoft.com/office/drawing/2014/main" xmlns="" val="20000"/>
                    </a:ext>
                  </a:extLst>
                </a:gridCol>
                <a:gridCol w="2451722">
                  <a:extLst>
                    <a:ext uri="{9D8B030D-6E8A-4147-A177-3AD203B41FA5}">
                      <a16:colId xmlns:a16="http://schemas.microsoft.com/office/drawing/2014/main" xmlns="" val="20001"/>
                    </a:ext>
                  </a:extLst>
                </a:gridCol>
                <a:gridCol w="2046514">
                  <a:extLst>
                    <a:ext uri="{9D8B030D-6E8A-4147-A177-3AD203B41FA5}">
                      <a16:colId xmlns:a16="http://schemas.microsoft.com/office/drawing/2014/main" xmlns="" val="20002"/>
                    </a:ext>
                  </a:extLst>
                </a:gridCol>
                <a:gridCol w="2354345">
                  <a:extLst>
                    <a:ext uri="{9D8B030D-6E8A-4147-A177-3AD203B41FA5}">
                      <a16:colId xmlns:a16="http://schemas.microsoft.com/office/drawing/2014/main" xmlns="" val="20003"/>
                    </a:ext>
                  </a:extLst>
                </a:gridCol>
                <a:gridCol w="1460009">
                  <a:extLst>
                    <a:ext uri="{9D8B030D-6E8A-4147-A177-3AD203B41FA5}">
                      <a16:colId xmlns:a16="http://schemas.microsoft.com/office/drawing/2014/main" xmlns="" val="20004"/>
                    </a:ext>
                  </a:extLst>
                </a:gridCol>
              </a:tblGrid>
              <a:tr h="370840">
                <a:tc>
                  <a:txBody>
                    <a:bodyPr/>
                    <a:lstStyle/>
                    <a:p>
                      <a:r>
                        <a:rPr lang="en-US" sz="1100" dirty="0" smtClean="0">
                          <a:latin typeface="+mj-lt"/>
                        </a:rPr>
                        <a:t>Change area (outcomes)</a:t>
                      </a:r>
                      <a:endParaRPr lang="en-US" sz="1100" dirty="0">
                        <a:latin typeface="+mj-lt"/>
                      </a:endParaRPr>
                    </a:p>
                  </a:txBody>
                  <a:tcPr/>
                </a:tc>
                <a:tc>
                  <a:txBody>
                    <a:bodyPr/>
                    <a:lstStyle/>
                    <a:p>
                      <a:r>
                        <a:rPr lang="en-US" sz="1100" dirty="0" smtClean="0">
                          <a:latin typeface="+mj-lt"/>
                        </a:rPr>
                        <a:t>Activities</a:t>
                      </a:r>
                      <a:endParaRPr lang="en-US" sz="1100" dirty="0">
                        <a:latin typeface="+mj-lt"/>
                      </a:endParaRPr>
                    </a:p>
                  </a:txBody>
                  <a:tcPr/>
                </a:tc>
                <a:tc>
                  <a:txBody>
                    <a:bodyPr/>
                    <a:lstStyle/>
                    <a:p>
                      <a:r>
                        <a:rPr lang="en-US" sz="1100" dirty="0" smtClean="0">
                          <a:latin typeface="+mj-lt"/>
                        </a:rPr>
                        <a:t>Current investments</a:t>
                      </a:r>
                      <a:endParaRPr lang="en-US" sz="1100" dirty="0">
                        <a:latin typeface="+mj-lt"/>
                      </a:endParaRPr>
                    </a:p>
                  </a:txBody>
                  <a:tcPr/>
                </a:tc>
                <a:tc>
                  <a:txBody>
                    <a:bodyPr/>
                    <a:lstStyle/>
                    <a:p>
                      <a:r>
                        <a:rPr lang="en-US" sz="1100" dirty="0" smtClean="0">
                          <a:latin typeface="+mj-lt"/>
                        </a:rPr>
                        <a:t>Gaps for future</a:t>
                      </a:r>
                      <a:r>
                        <a:rPr lang="en-US" sz="1100" baseline="0" dirty="0" smtClean="0">
                          <a:latin typeface="+mj-lt"/>
                        </a:rPr>
                        <a:t> investments</a:t>
                      </a:r>
                      <a:endParaRPr lang="en-US" sz="1100" dirty="0">
                        <a:latin typeface="+mj-lt"/>
                      </a:endParaRPr>
                    </a:p>
                  </a:txBody>
                  <a:tcPr/>
                </a:tc>
                <a:tc>
                  <a:txBody>
                    <a:bodyPr/>
                    <a:lstStyle/>
                    <a:p>
                      <a:r>
                        <a:rPr lang="en-US" sz="1100" dirty="0" smtClean="0">
                          <a:solidFill>
                            <a:srgbClr val="FF0000"/>
                          </a:solidFill>
                          <a:latin typeface="+mj-lt"/>
                        </a:rPr>
                        <a:t>Potential</a:t>
                      </a:r>
                      <a:r>
                        <a:rPr lang="en-US" sz="1100" baseline="0" dirty="0" smtClean="0">
                          <a:solidFill>
                            <a:srgbClr val="FF0000"/>
                          </a:solidFill>
                          <a:latin typeface="+mj-lt"/>
                        </a:rPr>
                        <a:t> partners</a:t>
                      </a:r>
                      <a:endParaRPr lang="en-US" sz="1100" dirty="0">
                        <a:solidFill>
                          <a:srgbClr val="FF0000"/>
                        </a:solidFill>
                        <a:latin typeface="+mj-lt"/>
                      </a:endParaRPr>
                    </a:p>
                  </a:txBody>
                  <a:tcPr/>
                </a:tc>
                <a:extLst>
                  <a:ext uri="{0D108BD9-81ED-4DB2-BD59-A6C34878D82A}">
                    <a16:rowId xmlns:a16="http://schemas.microsoft.com/office/drawing/2014/main" xmlns="" val="10000"/>
                  </a:ext>
                </a:extLst>
              </a:tr>
              <a:tr h="370840">
                <a:tc rowSpan="3">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1" i="0" u="none" strike="noStrike" cap="none" dirty="0" smtClean="0">
                          <a:solidFill>
                            <a:schemeClr val="tx1"/>
                          </a:solidFill>
                          <a:latin typeface="+mj-lt"/>
                          <a:ea typeface="+mn-ea"/>
                          <a:cs typeface="+mn-cs"/>
                          <a:sym typeface="Arial"/>
                        </a:rPr>
                        <a:t>Market System Development</a:t>
                      </a:r>
                    </a:p>
                    <a:p>
                      <a:pPr algn="ctr"/>
                      <a:endParaRPr lang="en-US" sz="1100" dirty="0">
                        <a:latin typeface="+mj-lt"/>
                      </a:endParaRPr>
                    </a:p>
                  </a:txBody>
                  <a:tcPr marL="68580" marR="68580" marT="0" marB="0"/>
                </a:tc>
                <a:tc>
                  <a:txBody>
                    <a:bodyPr/>
                    <a:lstStyle/>
                    <a:p>
                      <a:pPr marL="171450" indent="-171450">
                        <a:buFont typeface="Arial" panose="020B0604020202020204" pitchFamily="34" charset="0"/>
                        <a:buChar char="•"/>
                      </a:pPr>
                      <a:r>
                        <a:rPr lang="en-US" sz="1100" dirty="0" smtClean="0">
                          <a:latin typeface="+mj-lt"/>
                        </a:rPr>
                        <a:t>Support the adoption of post-harvest management technologies and other mechanization equipment  by partnering with providers of  lease finance products and by facilitating joint agro-dealer orders for storage and post-harvest management solutions to reduce wholesale/transportation costs as well as local manufacturing</a:t>
                      </a:r>
                      <a:endParaRPr lang="en-US" sz="1100" dirty="0">
                        <a:latin typeface="+mj-lt"/>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b="0" i="0" u="none" strike="noStrike" cap="none" dirty="0" smtClean="0">
                          <a:solidFill>
                            <a:srgbClr val="000000"/>
                          </a:solidFill>
                          <a:effectLst/>
                          <a:latin typeface="+mn-lt"/>
                          <a:ea typeface="Calibri" panose="020F0502020204030204" pitchFamily="34" charset="0"/>
                          <a:cs typeface="+mn-cs"/>
                          <a:sym typeface="Arial"/>
                        </a:rPr>
                        <a:t>Partnerships established with  YWS, EAGC, BRITEN , ACT &amp; MIICO</a:t>
                      </a:r>
                      <a:r>
                        <a:rPr lang="en-US" sz="1100" b="0" i="0" u="none" strike="noStrike" cap="none" baseline="0" dirty="0" smtClean="0">
                          <a:solidFill>
                            <a:srgbClr val="000000"/>
                          </a:solidFill>
                          <a:effectLst/>
                          <a:latin typeface="+mn-lt"/>
                          <a:ea typeface="Calibri" panose="020F0502020204030204" pitchFamily="34" charset="0"/>
                          <a:cs typeface="+mn-cs"/>
                          <a:sym typeface="Arial"/>
                        </a:rPr>
                        <a:t> for increased Adoption of </a:t>
                      </a:r>
                      <a:r>
                        <a:rPr lang="en-US" sz="1100" b="0" i="0" u="none" strike="noStrike" cap="none" dirty="0" smtClean="0">
                          <a:solidFill>
                            <a:schemeClr val="tx1"/>
                          </a:solidFill>
                          <a:latin typeface="+mn-lt"/>
                          <a:ea typeface="+mn-ea"/>
                          <a:cs typeface="+mn-cs"/>
                          <a:sym typeface="Arial"/>
                        </a:rPr>
                        <a:t>post-harvest management technologies and other mechanization equipment</a:t>
                      </a:r>
                      <a:r>
                        <a:rPr lang="en-US" sz="1100" b="0" i="0" u="none" strike="noStrike" cap="none" baseline="0" dirty="0" smtClean="0">
                          <a:solidFill>
                            <a:srgbClr val="000000"/>
                          </a:solidFill>
                          <a:effectLst/>
                          <a:latin typeface="+mn-lt"/>
                          <a:ea typeface="Calibri" panose="020F0502020204030204" pitchFamily="34" charset="0"/>
                          <a:cs typeface="+mn-cs"/>
                          <a:sym typeface="Arial"/>
                        </a:rPr>
                        <a:t>.</a:t>
                      </a:r>
                      <a:endParaRPr lang="en-US" sz="1100" b="0" i="0" u="none" strike="noStrike" cap="none" dirty="0" smtClean="0">
                        <a:solidFill>
                          <a:srgbClr val="000000"/>
                        </a:solidFill>
                        <a:effectLst/>
                        <a:latin typeface="+mn-lt"/>
                        <a:ea typeface="Calibri" panose="020F0502020204030204" pitchFamily="34" charset="0"/>
                        <a:cs typeface="+mn-cs"/>
                        <a:sym typeface="Arial"/>
                      </a:endParaRPr>
                    </a:p>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Lease</a:t>
                      </a:r>
                      <a:r>
                        <a:rPr lang="en-US" sz="1100" baseline="0" dirty="0" smtClean="0">
                          <a:solidFill>
                            <a:srgbClr val="000000"/>
                          </a:solidFill>
                          <a:effectLst/>
                          <a:latin typeface="+mj-lt"/>
                          <a:ea typeface="Calibri" panose="020F0502020204030204" pitchFamily="34" charset="0"/>
                        </a:rPr>
                        <a:t> financing products for large mechanization equipment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r>
                        <a:rPr lang="en-US" sz="1100" dirty="0" smtClean="0">
                          <a:latin typeface="+mj-lt"/>
                        </a:rPr>
                        <a:t>PICS bag project, Intermech Engineering</a:t>
                      </a:r>
                      <a:r>
                        <a:rPr lang="en-US" sz="1100" baseline="0" dirty="0" smtClean="0">
                          <a:latin typeface="+mj-lt"/>
                        </a:rPr>
                        <a:t> Ltd</a:t>
                      </a:r>
                      <a:endParaRPr lang="en-US" sz="1100" dirty="0" smtClean="0">
                        <a:latin typeface="+mj-lt"/>
                      </a:endParaRPr>
                    </a:p>
                  </a:txBody>
                  <a:tcPr marL="68580" marR="68580" marT="0" marB="0"/>
                </a:tc>
                <a:extLst>
                  <a:ext uri="{0D108BD9-81ED-4DB2-BD59-A6C34878D82A}">
                    <a16:rowId xmlns:a16="http://schemas.microsoft.com/office/drawing/2014/main" xmlns="" val="10001"/>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Support initiatives to upgrade near farm aggregation centers  by facilitating access to PHH training, basic commodity handling equipment, enhanced management and linkages to output off-takers and input dealers</a:t>
                      </a: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b="0" i="0" u="none" strike="noStrike" cap="none" dirty="0" smtClean="0">
                          <a:solidFill>
                            <a:srgbClr val="000000"/>
                          </a:solidFill>
                          <a:effectLst/>
                          <a:latin typeface="+mn-lt"/>
                          <a:ea typeface="Calibri" panose="020F0502020204030204" pitchFamily="34" charset="0"/>
                          <a:cs typeface="+mn-cs"/>
                          <a:sym typeface="Arial"/>
                        </a:rPr>
                        <a:t>Partnerships established with  YWS, EAGC, BRITEN , ACT &amp; MIICO</a:t>
                      </a:r>
                      <a:r>
                        <a:rPr lang="en-US" sz="1100" b="0" i="0" u="none" strike="noStrike" cap="none" baseline="0" dirty="0" smtClean="0">
                          <a:solidFill>
                            <a:srgbClr val="000000"/>
                          </a:solidFill>
                          <a:effectLst/>
                          <a:latin typeface="+mn-lt"/>
                          <a:ea typeface="Calibri" panose="020F0502020204030204" pitchFamily="34" charset="0"/>
                          <a:cs typeface="+mn-cs"/>
                          <a:sym typeface="Arial"/>
                        </a:rPr>
                        <a:t> for increased Adoption of </a:t>
                      </a:r>
                      <a:r>
                        <a:rPr lang="en-US" sz="1100" b="0" i="0" u="none" strike="noStrike" cap="none" dirty="0" smtClean="0">
                          <a:solidFill>
                            <a:schemeClr val="tx1"/>
                          </a:solidFill>
                          <a:latin typeface="+mn-lt"/>
                          <a:ea typeface="+mn-ea"/>
                          <a:cs typeface="+mn-cs"/>
                          <a:sym typeface="Arial"/>
                        </a:rPr>
                        <a:t>post-harvest management technologies and other mechanization equipment</a:t>
                      </a:r>
                      <a:r>
                        <a:rPr lang="en-US" sz="1100" b="0" i="0" u="none" strike="noStrike" cap="none" baseline="0" dirty="0" smtClean="0">
                          <a:solidFill>
                            <a:srgbClr val="000000"/>
                          </a:solidFill>
                          <a:effectLst/>
                          <a:latin typeface="+mn-lt"/>
                          <a:ea typeface="Calibri" panose="020F0502020204030204" pitchFamily="34" charset="0"/>
                          <a:cs typeface="+mn-cs"/>
                          <a:sym typeface="Arial"/>
                        </a:rPr>
                        <a:t>.</a:t>
                      </a:r>
                      <a:endParaRPr lang="en-US" sz="1100" b="0" i="0" u="none" strike="noStrike" cap="none" dirty="0" smtClean="0">
                        <a:solidFill>
                          <a:srgbClr val="000000"/>
                        </a:solidFill>
                        <a:effectLst/>
                        <a:latin typeface="+mn-lt"/>
                        <a:ea typeface="Calibri" panose="020F0502020204030204" pitchFamily="34" charset="0"/>
                        <a:cs typeface="+mn-cs"/>
                        <a:sym typeface="Arial"/>
                      </a:endParaRPr>
                    </a:p>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r>
                        <a:rPr lang="en-US" sz="1100" dirty="0" smtClean="0">
                          <a:latin typeface="+mj-lt"/>
                        </a:rPr>
                        <a:t>EMA private sector alliance</a:t>
                      </a:r>
                      <a:r>
                        <a:rPr lang="en-US" sz="1100" baseline="0" dirty="0" smtClean="0">
                          <a:latin typeface="+mj-lt"/>
                        </a:rPr>
                        <a:t> partners</a:t>
                      </a:r>
                      <a:endParaRPr lang="en-US" sz="1100" dirty="0" smtClean="0">
                        <a:latin typeface="+mj-lt"/>
                      </a:endParaRPr>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dirty="0" smtClean="0">
                        <a:latin typeface="+mj-lt"/>
                      </a:endParaRPr>
                    </a:p>
                  </a:txBody>
                  <a:tcPr marL="68580" marR="68580" marT="0" marB="0"/>
                </a:tc>
                <a:extLst>
                  <a:ext uri="{0D108BD9-81ED-4DB2-BD59-A6C34878D82A}">
                    <a16:rowId xmlns:a16="http://schemas.microsoft.com/office/drawing/2014/main" xmlns="" val="1155157194"/>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Facilitate the development and operationalization of business models for government-owned, refurbished aggregation centers operationalize = link partners and provide marketing support</a:t>
                      </a:r>
                    </a:p>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endParaRPr lang="en-US" sz="1100" dirty="0" smtClean="0">
                        <a:latin typeface="+mj-lt"/>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NONE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Private sector incentivized</a:t>
                      </a:r>
                      <a:r>
                        <a:rPr lang="en-US" sz="1100" baseline="0" dirty="0" smtClean="0"/>
                        <a:t> to </a:t>
                      </a:r>
                      <a:r>
                        <a:rPr lang="en-US" sz="1100" dirty="0" smtClean="0"/>
                        <a:t>use these aggregation centers for temporary storage and service centers (drying, shelling/threshing, input</a:t>
                      </a:r>
                    </a:p>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j-lt"/>
                        </a:rPr>
                        <a:t>Local governments, and agribusinesses </a:t>
                      </a:r>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dirty="0" smtClean="0">
                        <a:latin typeface="+mj-lt"/>
                      </a:endParaRPr>
                    </a:p>
                  </a:txBody>
                  <a:tcPr marL="68580" marR="68580" marT="0" marB="0"/>
                </a:tc>
                <a:extLst>
                  <a:ext uri="{0D108BD9-81ED-4DB2-BD59-A6C34878D82A}">
                    <a16:rowId xmlns:a16="http://schemas.microsoft.com/office/drawing/2014/main" xmlns="" val="2211010328"/>
                  </a:ext>
                </a:extLst>
              </a:tr>
            </a:tbl>
          </a:graphicData>
        </a:graphic>
      </p:graphicFrame>
      <p:sp>
        <p:nvSpPr>
          <p:cNvPr id="3" name="Rectangle 2"/>
          <p:cNvSpPr/>
          <p:nvPr/>
        </p:nvSpPr>
        <p:spPr>
          <a:xfrm>
            <a:off x="309685" y="844844"/>
            <a:ext cx="1883849" cy="307777"/>
          </a:xfrm>
          <a:prstGeom prst="rect">
            <a:avLst/>
          </a:prstGeom>
        </p:spPr>
        <p:txBody>
          <a:bodyPr wrap="none">
            <a:spAutoFit/>
          </a:bodyPr>
          <a:lstStyle/>
          <a:p>
            <a:r>
              <a:rPr lang="en-US" b="1" dirty="0">
                <a:solidFill>
                  <a:srgbClr val="00B0F0"/>
                </a:solidFill>
              </a:rPr>
              <a:t>Southern Highlands</a:t>
            </a:r>
          </a:p>
        </p:txBody>
      </p:sp>
    </p:spTree>
    <p:extLst>
      <p:ext uri="{BB962C8B-B14F-4D97-AF65-F5344CB8AC3E}">
        <p14:creationId xmlns:p14="http://schemas.microsoft.com/office/powerpoint/2010/main" val="80207734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510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Mapping the Strategy to outcomes in the theory of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4182411052"/>
              </p:ext>
            </p:extLst>
          </p:nvPr>
        </p:nvGraphicFramePr>
        <p:xfrm>
          <a:off x="156756" y="1162190"/>
          <a:ext cx="9355220" cy="5288280"/>
        </p:xfrm>
        <a:graphic>
          <a:graphicData uri="http://schemas.openxmlformats.org/drawingml/2006/table">
            <a:tbl>
              <a:tblPr firstRow="1" bandRow="1">
                <a:tableStyleId>{E8B1032C-EA38-4F05-BA0D-38AFFFC7BED3}</a:tableStyleId>
              </a:tblPr>
              <a:tblGrid>
                <a:gridCol w="1192663">
                  <a:extLst>
                    <a:ext uri="{9D8B030D-6E8A-4147-A177-3AD203B41FA5}">
                      <a16:colId xmlns:a16="http://schemas.microsoft.com/office/drawing/2014/main" xmlns="" val="20000"/>
                    </a:ext>
                  </a:extLst>
                </a:gridCol>
                <a:gridCol w="2906670">
                  <a:extLst>
                    <a:ext uri="{9D8B030D-6E8A-4147-A177-3AD203B41FA5}">
                      <a16:colId xmlns:a16="http://schemas.microsoft.com/office/drawing/2014/main" xmlns="" val="20001"/>
                    </a:ext>
                  </a:extLst>
                </a:gridCol>
                <a:gridCol w="2022791">
                  <a:extLst>
                    <a:ext uri="{9D8B030D-6E8A-4147-A177-3AD203B41FA5}">
                      <a16:colId xmlns:a16="http://schemas.microsoft.com/office/drawing/2014/main" xmlns="" val="20002"/>
                    </a:ext>
                  </a:extLst>
                </a:gridCol>
                <a:gridCol w="1799439">
                  <a:extLst>
                    <a:ext uri="{9D8B030D-6E8A-4147-A177-3AD203B41FA5}">
                      <a16:colId xmlns:a16="http://schemas.microsoft.com/office/drawing/2014/main" xmlns="" val="20003"/>
                    </a:ext>
                  </a:extLst>
                </a:gridCol>
                <a:gridCol w="1433657">
                  <a:extLst>
                    <a:ext uri="{9D8B030D-6E8A-4147-A177-3AD203B41FA5}">
                      <a16:colId xmlns:a16="http://schemas.microsoft.com/office/drawing/2014/main" xmlns="" val="20004"/>
                    </a:ext>
                  </a:extLst>
                </a:gridCol>
              </a:tblGrid>
              <a:tr h="370840">
                <a:tc>
                  <a:txBody>
                    <a:bodyPr/>
                    <a:lstStyle/>
                    <a:p>
                      <a:r>
                        <a:rPr lang="en-US" sz="1100" dirty="0" smtClean="0">
                          <a:latin typeface="+mj-lt"/>
                        </a:rPr>
                        <a:t>Change area (outcomes)</a:t>
                      </a:r>
                      <a:endParaRPr lang="en-US" sz="1100" dirty="0">
                        <a:latin typeface="+mj-lt"/>
                      </a:endParaRPr>
                    </a:p>
                  </a:txBody>
                  <a:tcPr/>
                </a:tc>
                <a:tc>
                  <a:txBody>
                    <a:bodyPr/>
                    <a:lstStyle/>
                    <a:p>
                      <a:r>
                        <a:rPr lang="en-US" sz="1100" dirty="0" smtClean="0">
                          <a:latin typeface="+mj-lt"/>
                        </a:rPr>
                        <a:t>Activities</a:t>
                      </a:r>
                      <a:endParaRPr lang="en-US" sz="1100" dirty="0">
                        <a:latin typeface="+mj-lt"/>
                      </a:endParaRPr>
                    </a:p>
                  </a:txBody>
                  <a:tcPr/>
                </a:tc>
                <a:tc>
                  <a:txBody>
                    <a:bodyPr/>
                    <a:lstStyle/>
                    <a:p>
                      <a:r>
                        <a:rPr lang="en-US" sz="1100" dirty="0" smtClean="0">
                          <a:latin typeface="+mj-lt"/>
                        </a:rPr>
                        <a:t>Current investments</a:t>
                      </a:r>
                      <a:endParaRPr lang="en-US" sz="1100" dirty="0">
                        <a:latin typeface="+mj-lt"/>
                      </a:endParaRPr>
                    </a:p>
                  </a:txBody>
                  <a:tcPr/>
                </a:tc>
                <a:tc>
                  <a:txBody>
                    <a:bodyPr/>
                    <a:lstStyle/>
                    <a:p>
                      <a:r>
                        <a:rPr lang="en-US" sz="1100" dirty="0" smtClean="0">
                          <a:latin typeface="+mj-lt"/>
                        </a:rPr>
                        <a:t>Gaps for future</a:t>
                      </a:r>
                      <a:r>
                        <a:rPr lang="en-US" sz="1100" baseline="0" dirty="0" smtClean="0">
                          <a:latin typeface="+mj-lt"/>
                        </a:rPr>
                        <a:t> investments</a:t>
                      </a:r>
                      <a:endParaRPr lang="en-US" sz="1100" dirty="0">
                        <a:latin typeface="+mj-lt"/>
                      </a:endParaRPr>
                    </a:p>
                  </a:txBody>
                  <a:tcPr/>
                </a:tc>
                <a:tc>
                  <a:txBody>
                    <a:bodyPr/>
                    <a:lstStyle/>
                    <a:p>
                      <a:r>
                        <a:rPr lang="en-US" sz="1100" dirty="0" smtClean="0">
                          <a:latin typeface="+mj-lt"/>
                        </a:rPr>
                        <a:t>Potential</a:t>
                      </a:r>
                      <a:r>
                        <a:rPr lang="en-US" sz="1100" baseline="0" dirty="0" smtClean="0">
                          <a:latin typeface="+mj-lt"/>
                        </a:rPr>
                        <a:t> partners</a:t>
                      </a:r>
                      <a:endParaRPr lang="en-US" sz="1100" dirty="0">
                        <a:latin typeface="+mj-lt"/>
                      </a:endParaRPr>
                    </a:p>
                  </a:txBody>
                  <a:tcPr/>
                </a:tc>
                <a:extLst>
                  <a:ext uri="{0D108BD9-81ED-4DB2-BD59-A6C34878D82A}">
                    <a16:rowId xmlns:a16="http://schemas.microsoft.com/office/drawing/2014/main" xmlns="" val="10000"/>
                  </a:ext>
                </a:extLst>
              </a:tr>
              <a:tr h="370840">
                <a:tc rowSpan="3">
                  <a:txBody>
                    <a:bodyPr/>
                    <a:lstStyle/>
                    <a:p>
                      <a:pPr algn="l"/>
                      <a:r>
                        <a:rPr lang="en-US" sz="1100" b="1" dirty="0" smtClean="0"/>
                        <a:t>Input </a:t>
                      </a:r>
                    </a:p>
                    <a:p>
                      <a:pPr algn="l"/>
                      <a:r>
                        <a:rPr lang="en-US" sz="1100" b="1" dirty="0" smtClean="0"/>
                        <a:t>System Development</a:t>
                      </a:r>
                    </a:p>
                  </a:txBody>
                  <a:tcPr marL="68580" marR="68580" marT="0" marB="0"/>
                </a:tc>
                <a:tc>
                  <a:txBody>
                    <a:bodyPr/>
                    <a:lstStyle/>
                    <a:p>
                      <a:pPr marL="171450" indent="-171450">
                        <a:buFont typeface="Arial" panose="020B0604020202020204" pitchFamily="34" charset="0"/>
                        <a:buChar char="•"/>
                      </a:pPr>
                      <a:r>
                        <a:rPr lang="en-US" sz="1100" dirty="0" smtClean="0"/>
                        <a:t>Support seed companies to transition from start-up stage to growth state by facilitating the adoption of improved seed business practices[</a:t>
                      </a:r>
                      <a:endParaRPr lang="en-US" sz="1100" dirty="0"/>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Partnership with</a:t>
                      </a:r>
                      <a:r>
                        <a:rPr lang="en-US" sz="1100" baseline="0" dirty="0" smtClean="0">
                          <a:solidFill>
                            <a:srgbClr val="000000"/>
                          </a:solidFill>
                          <a:effectLst/>
                          <a:latin typeface="+mj-lt"/>
                          <a:ea typeface="Calibri" panose="020F0502020204030204" pitchFamily="34" charset="0"/>
                        </a:rPr>
                        <a:t> TARI UYOLE, .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More support for </a:t>
                      </a:r>
                      <a:r>
                        <a:rPr lang="en-US" sz="1100" dirty="0" smtClean="0"/>
                        <a:t>start-up stage to growth state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r>
                        <a:rPr lang="en-US" sz="1100" dirty="0" smtClean="0">
                          <a:latin typeface="+mn-lt"/>
                        </a:rPr>
                        <a:t>Research institutions, high performing seed companies (local and MNC), TAPBDS</a:t>
                      </a:r>
                      <a:endParaRPr lang="en-US" sz="1100" dirty="0">
                        <a:latin typeface="+mn-lt"/>
                      </a:endParaRPr>
                    </a:p>
                  </a:txBody>
                  <a:tcPr marL="68580" marR="68580" marT="0" marB="0"/>
                </a:tc>
                <a:extLst>
                  <a:ext uri="{0D108BD9-81ED-4DB2-BD59-A6C34878D82A}">
                    <a16:rowId xmlns:a16="http://schemas.microsoft.com/office/drawing/2014/main" xmlns="" val="10001"/>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Support the increased production of </a:t>
                      </a:r>
                      <a:r>
                        <a:rPr lang="en-US" sz="1100" dirty="0" smtClean="0">
                          <a:latin typeface="+mn-lt"/>
                        </a:rPr>
                        <a:t> breeder and foundation seed by partnering with </a:t>
                      </a:r>
                      <a:r>
                        <a:rPr lang="en-US" sz="1100" dirty="0" smtClean="0"/>
                        <a:t> 5 existing specialized seed companies in Southern Highlands</a:t>
                      </a:r>
                      <a:endParaRPr lang="en-US" sz="1100" dirty="0" smtClean="0">
                        <a:latin typeface="+mn-lt"/>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Partnership established with one seed company for </a:t>
                      </a:r>
                      <a:r>
                        <a:rPr lang="en-US" sz="1100" dirty="0" smtClean="0">
                          <a:solidFill>
                            <a:schemeClr val="tx1"/>
                          </a:solidFill>
                          <a:effectLst/>
                          <a:latin typeface="+mn-lt"/>
                          <a:ea typeface="+mn-ea"/>
                        </a:rPr>
                        <a:t>i</a:t>
                      </a:r>
                      <a:r>
                        <a:rPr lang="en-US" sz="1100" dirty="0" smtClean="0">
                          <a:latin typeface="+mn-lt"/>
                        </a:rPr>
                        <a:t>ncreased production of breeder and foundation seed through grants</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More partnerships</a:t>
                      </a:r>
                      <a:r>
                        <a:rPr lang="en-US" sz="1100" baseline="0" dirty="0" smtClean="0">
                          <a:solidFill>
                            <a:srgbClr val="000000"/>
                          </a:solidFill>
                          <a:effectLst/>
                          <a:latin typeface="+mj-lt"/>
                          <a:ea typeface="Calibri" panose="020F0502020204030204" pitchFamily="34" charset="0"/>
                        </a:rPr>
                        <a:t> needed with seed companies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n-lt"/>
                        </a:rPr>
                        <a:t>Research institutions, breeders</a:t>
                      </a:r>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dirty="0" smtClean="0">
                        <a:latin typeface="+mj-lt"/>
                      </a:endParaRPr>
                    </a:p>
                  </a:txBody>
                  <a:tcPr marL="68580" marR="68580" marT="0" marB="0"/>
                </a:tc>
                <a:extLst>
                  <a:ext uri="{0D108BD9-81ED-4DB2-BD59-A6C34878D82A}">
                    <a16:rowId xmlns:a16="http://schemas.microsoft.com/office/drawing/2014/main" xmlns="" val="1155157194"/>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n-lt"/>
                        </a:rPr>
                        <a:t>Leverage the deal-making platform to support the introduction of new agricultural technologies through field days and demo plots; scale up ICT, video and radio based extension messaging, support ward resource centers and BDS to FOs</a:t>
                      </a: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BRITEN,</a:t>
                      </a:r>
                      <a:r>
                        <a:rPr lang="en-US" sz="1100" baseline="0" dirty="0" smtClean="0">
                          <a:solidFill>
                            <a:srgbClr val="000000"/>
                          </a:solidFill>
                          <a:effectLst/>
                          <a:latin typeface="+mj-lt"/>
                          <a:ea typeface="Calibri" panose="020F0502020204030204" pitchFamily="34" charset="0"/>
                        </a:rPr>
                        <a:t> ADP </a:t>
                      </a:r>
                      <a:r>
                        <a:rPr lang="en-US" sz="1100" baseline="0" dirty="0" err="1" smtClean="0">
                          <a:solidFill>
                            <a:srgbClr val="000000"/>
                          </a:solidFill>
                          <a:effectLst/>
                          <a:latin typeface="+mj-lt"/>
                          <a:ea typeface="Calibri" panose="020F0502020204030204" pitchFamily="34" charset="0"/>
                        </a:rPr>
                        <a:t>Mbozi</a:t>
                      </a:r>
                      <a:r>
                        <a:rPr lang="en-US" sz="1100" baseline="0" dirty="0" smtClean="0">
                          <a:solidFill>
                            <a:srgbClr val="000000"/>
                          </a:solidFill>
                          <a:effectLst/>
                          <a:latin typeface="+mj-lt"/>
                          <a:ea typeface="Calibri" panose="020F0502020204030204" pitchFamily="34" charset="0"/>
                        </a:rPr>
                        <a:t> supported to accelerate adoption of GAP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Platforms that link farmers to sources of inputs, credit, extension service providers, and off-takers </a:t>
                      </a:r>
                      <a:endParaRPr lang="en-US" sz="1100" b="0" i="0" u="none" strike="noStrike" cap="none" dirty="0" smtClean="0">
                        <a:solidFill>
                          <a:srgbClr val="000000"/>
                        </a:solidFill>
                        <a:effectLst/>
                        <a:latin typeface="+mn-lt"/>
                        <a:ea typeface="Calibri" panose="020F0502020204030204" pitchFamily="34" charset="0"/>
                        <a:cs typeface="+mn-cs"/>
                        <a:sym typeface="Arial"/>
                      </a:endParaRPr>
                    </a:p>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n-lt"/>
                        </a:rPr>
                        <a:t>Digital Green, farm radio international, regional and district authorities, </a:t>
                      </a:r>
                      <a:r>
                        <a:rPr lang="en-US" sz="1100" dirty="0" err="1" smtClean="0">
                          <a:latin typeface="+mn-lt"/>
                        </a:rPr>
                        <a:t>MVIWATA</a:t>
                      </a:r>
                      <a:r>
                        <a:rPr lang="en-US" sz="1100" dirty="0" smtClean="0">
                          <a:latin typeface="+mn-lt"/>
                        </a:rPr>
                        <a:t>, ACT</a:t>
                      </a:r>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dirty="0" smtClean="0">
                        <a:latin typeface="+mj-lt"/>
                      </a:endParaRPr>
                    </a:p>
                  </a:txBody>
                  <a:tcPr marL="68580" marR="68580" marT="0" marB="0"/>
                </a:tc>
                <a:extLst>
                  <a:ext uri="{0D108BD9-81ED-4DB2-BD59-A6C34878D82A}">
                    <a16:rowId xmlns:a16="http://schemas.microsoft.com/office/drawing/2014/main" xmlns="" val="2211010328"/>
                  </a:ext>
                </a:extLst>
              </a:tr>
              <a:tr h="567075">
                <a:tc>
                  <a:txBody>
                    <a:bodyPr/>
                    <a:lstStyle/>
                    <a:p>
                      <a:pPr algn="ctr"/>
                      <a:endParaRPr lang="en-US" sz="1100" dirty="0" smtClean="0"/>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n-lt"/>
                        </a:rPr>
                        <a:t>Support the growth of  hub agro-dealers (including youth and women)</a:t>
                      </a:r>
                      <a:r>
                        <a:rPr lang="en-US" sz="1100" dirty="0" smtClean="0">
                          <a:solidFill>
                            <a:srgbClr val="FF0000"/>
                          </a:solidFill>
                          <a:latin typeface="+mn-lt"/>
                        </a:rPr>
                        <a:t> </a:t>
                      </a:r>
                      <a:r>
                        <a:rPr lang="en-US" sz="1100" dirty="0" smtClean="0">
                          <a:latin typeface="+mn-lt"/>
                        </a:rPr>
                        <a:t>in the Southern Highlands through the provision of BDS and improved linkages to input manufacturers or distribution centers</a:t>
                      </a: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Partnership with TAPBDS, ACT &amp;</a:t>
                      </a:r>
                      <a:r>
                        <a:rPr lang="en-US" sz="1100" baseline="0" dirty="0" smtClean="0">
                          <a:solidFill>
                            <a:srgbClr val="000000"/>
                          </a:solidFill>
                          <a:effectLst/>
                          <a:latin typeface="+mj-lt"/>
                          <a:ea typeface="Calibri" panose="020F0502020204030204" pitchFamily="34" charset="0"/>
                        </a:rPr>
                        <a:t> BRITEN for provision of BDS and linkages with input markets</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t> Strengthened</a:t>
                      </a:r>
                      <a:r>
                        <a:rPr lang="en-US" sz="1100" baseline="0" dirty="0" smtClean="0"/>
                        <a:t> relationship with Financial Service Providers</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err="1" smtClean="0">
                          <a:latin typeface="+mn-lt"/>
                        </a:rPr>
                        <a:t>AFAP</a:t>
                      </a:r>
                      <a:r>
                        <a:rPr lang="en-US" sz="1100" dirty="0" smtClean="0">
                          <a:latin typeface="+mn-lt"/>
                        </a:rPr>
                        <a:t>, </a:t>
                      </a:r>
                      <a:r>
                        <a:rPr lang="en-US" sz="1100" dirty="0" err="1" smtClean="0">
                          <a:latin typeface="+mn-lt"/>
                        </a:rPr>
                        <a:t>LMA</a:t>
                      </a:r>
                      <a:r>
                        <a:rPr lang="en-US" sz="1100" dirty="0" smtClean="0">
                          <a:latin typeface="+mn-lt"/>
                        </a:rPr>
                        <a:t>, Positive International</a:t>
                      </a:r>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dirty="0" smtClean="0">
                        <a:latin typeface="+mj-lt"/>
                      </a:endParaRPr>
                    </a:p>
                  </a:txBody>
                  <a:tcPr marL="68580" marR="68580" marT="0" marB="0"/>
                </a:tc>
                <a:extLst>
                  <a:ext uri="{0D108BD9-81ED-4DB2-BD59-A6C34878D82A}">
                    <a16:rowId xmlns:a16="http://schemas.microsoft.com/office/drawing/2014/main" xmlns="" val="4031705442"/>
                  </a:ext>
                </a:extLst>
              </a:tr>
              <a:tr h="567075">
                <a:tc>
                  <a:txBody>
                    <a:bodyPr/>
                    <a:lstStyle/>
                    <a:p>
                      <a:pPr algn="ctr"/>
                      <a:endParaRPr lang="en-US" sz="1100" dirty="0" smtClean="0"/>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n-lt"/>
                        </a:rPr>
                        <a:t>Support the institutionalization of business relationship between agro-dealers and input companies by strengthening the institutional capacity of the Tanzania National Agro-dealers Development Associations (</a:t>
                      </a:r>
                      <a:r>
                        <a:rPr lang="en-US" sz="1100" dirty="0" err="1" smtClean="0">
                          <a:latin typeface="+mn-lt"/>
                        </a:rPr>
                        <a:t>TANADA</a:t>
                      </a:r>
                      <a:r>
                        <a:rPr lang="en-US" sz="1100" dirty="0" smtClean="0">
                          <a:latin typeface="+mn-lt"/>
                        </a:rPr>
                        <a:t>)</a:t>
                      </a: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NONE</a:t>
                      </a:r>
                      <a:r>
                        <a:rPr lang="en-US" sz="1100" baseline="0" dirty="0" smtClean="0">
                          <a:solidFill>
                            <a:srgbClr val="000000"/>
                          </a:solidFill>
                          <a:effectLst/>
                          <a:latin typeface="+mj-lt"/>
                          <a:ea typeface="Calibri" panose="020F0502020204030204" pitchFamily="34" charset="0"/>
                        </a:rPr>
                        <a:t>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Structured institutional capacity building for agro-dealers</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n-lt"/>
                        </a:rPr>
                        <a:t>USAID NAFAKA project project</a:t>
                      </a:r>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dirty="0" smtClean="0">
                        <a:latin typeface="+mj-lt"/>
                      </a:endParaRPr>
                    </a:p>
                  </a:txBody>
                  <a:tcPr marL="68580" marR="68580" marT="0" marB="0"/>
                </a:tc>
                <a:extLst>
                  <a:ext uri="{0D108BD9-81ED-4DB2-BD59-A6C34878D82A}">
                    <a16:rowId xmlns:a16="http://schemas.microsoft.com/office/drawing/2014/main" xmlns="" val="1781420754"/>
                  </a:ext>
                </a:extLst>
              </a:tr>
            </a:tbl>
          </a:graphicData>
        </a:graphic>
      </p:graphicFrame>
      <p:sp>
        <p:nvSpPr>
          <p:cNvPr id="3" name="Rectangle 2"/>
          <p:cNvSpPr/>
          <p:nvPr/>
        </p:nvSpPr>
        <p:spPr>
          <a:xfrm>
            <a:off x="405093" y="844844"/>
            <a:ext cx="1883849" cy="307777"/>
          </a:xfrm>
          <a:prstGeom prst="rect">
            <a:avLst/>
          </a:prstGeom>
        </p:spPr>
        <p:txBody>
          <a:bodyPr wrap="none">
            <a:spAutoFit/>
          </a:bodyPr>
          <a:lstStyle/>
          <a:p>
            <a:r>
              <a:rPr lang="en-US" b="1" dirty="0">
                <a:solidFill>
                  <a:srgbClr val="00B0F0"/>
                </a:solidFill>
              </a:rPr>
              <a:t>Southern Highlands</a:t>
            </a:r>
          </a:p>
        </p:txBody>
      </p:sp>
    </p:spTree>
    <p:extLst>
      <p:ext uri="{BB962C8B-B14F-4D97-AF65-F5344CB8AC3E}">
        <p14:creationId xmlns:p14="http://schemas.microsoft.com/office/powerpoint/2010/main" val="427241830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4"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Mapping the Strategy to outcomes in the theory of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11555749"/>
              </p:ext>
            </p:extLst>
          </p:nvPr>
        </p:nvGraphicFramePr>
        <p:xfrm>
          <a:off x="438050" y="1281020"/>
          <a:ext cx="9108759" cy="4785360"/>
        </p:xfrm>
        <a:graphic>
          <a:graphicData uri="http://schemas.openxmlformats.org/drawingml/2006/table">
            <a:tbl>
              <a:tblPr firstRow="1" bandRow="1">
                <a:tableStyleId>{E8B1032C-EA38-4F05-BA0D-38AFFFC7BED3}</a:tableStyleId>
              </a:tblPr>
              <a:tblGrid>
                <a:gridCol w="1161243">
                  <a:extLst>
                    <a:ext uri="{9D8B030D-6E8A-4147-A177-3AD203B41FA5}">
                      <a16:colId xmlns:a16="http://schemas.microsoft.com/office/drawing/2014/main" xmlns="" val="20000"/>
                    </a:ext>
                  </a:extLst>
                </a:gridCol>
                <a:gridCol w="2830094">
                  <a:extLst>
                    <a:ext uri="{9D8B030D-6E8A-4147-A177-3AD203B41FA5}">
                      <a16:colId xmlns:a16="http://schemas.microsoft.com/office/drawing/2014/main" xmlns="" val="20001"/>
                    </a:ext>
                  </a:extLst>
                </a:gridCol>
                <a:gridCol w="2273417">
                  <a:extLst>
                    <a:ext uri="{9D8B030D-6E8A-4147-A177-3AD203B41FA5}">
                      <a16:colId xmlns:a16="http://schemas.microsoft.com/office/drawing/2014/main" xmlns="" val="20002"/>
                    </a:ext>
                  </a:extLst>
                </a:gridCol>
                <a:gridCol w="1448117">
                  <a:extLst>
                    <a:ext uri="{9D8B030D-6E8A-4147-A177-3AD203B41FA5}">
                      <a16:colId xmlns:a16="http://schemas.microsoft.com/office/drawing/2014/main" xmlns="" val="20003"/>
                    </a:ext>
                  </a:extLst>
                </a:gridCol>
                <a:gridCol w="1395888">
                  <a:extLst>
                    <a:ext uri="{9D8B030D-6E8A-4147-A177-3AD203B41FA5}">
                      <a16:colId xmlns:a16="http://schemas.microsoft.com/office/drawing/2014/main" xmlns="" val="20004"/>
                    </a:ext>
                  </a:extLst>
                </a:gridCol>
              </a:tblGrid>
              <a:tr h="370840">
                <a:tc>
                  <a:txBody>
                    <a:bodyPr/>
                    <a:lstStyle/>
                    <a:p>
                      <a:r>
                        <a:rPr lang="en-US" sz="1100" dirty="0" smtClean="0">
                          <a:latin typeface="+mj-lt"/>
                        </a:rPr>
                        <a:t>Change area (outcomes)</a:t>
                      </a:r>
                      <a:endParaRPr lang="en-US" sz="1100" dirty="0">
                        <a:latin typeface="+mj-lt"/>
                      </a:endParaRPr>
                    </a:p>
                  </a:txBody>
                  <a:tcPr/>
                </a:tc>
                <a:tc>
                  <a:txBody>
                    <a:bodyPr/>
                    <a:lstStyle/>
                    <a:p>
                      <a:r>
                        <a:rPr lang="en-US" sz="1100" dirty="0" smtClean="0">
                          <a:latin typeface="+mj-lt"/>
                        </a:rPr>
                        <a:t>Activities</a:t>
                      </a:r>
                      <a:endParaRPr lang="en-US" sz="1100" dirty="0">
                        <a:latin typeface="+mj-lt"/>
                      </a:endParaRPr>
                    </a:p>
                  </a:txBody>
                  <a:tcPr/>
                </a:tc>
                <a:tc>
                  <a:txBody>
                    <a:bodyPr/>
                    <a:lstStyle/>
                    <a:p>
                      <a:r>
                        <a:rPr lang="en-US" sz="1100" dirty="0" smtClean="0">
                          <a:latin typeface="+mj-lt"/>
                        </a:rPr>
                        <a:t>Current investments</a:t>
                      </a:r>
                      <a:endParaRPr lang="en-US" sz="1100" dirty="0">
                        <a:latin typeface="+mj-lt"/>
                      </a:endParaRPr>
                    </a:p>
                  </a:txBody>
                  <a:tcPr/>
                </a:tc>
                <a:tc>
                  <a:txBody>
                    <a:bodyPr/>
                    <a:lstStyle/>
                    <a:p>
                      <a:r>
                        <a:rPr lang="en-US" sz="1100" dirty="0" smtClean="0">
                          <a:latin typeface="+mj-lt"/>
                        </a:rPr>
                        <a:t>Gaps for future</a:t>
                      </a:r>
                      <a:r>
                        <a:rPr lang="en-US" sz="1100" baseline="0" dirty="0" smtClean="0">
                          <a:latin typeface="+mj-lt"/>
                        </a:rPr>
                        <a:t> investments</a:t>
                      </a:r>
                      <a:endParaRPr lang="en-US" sz="1100" dirty="0">
                        <a:latin typeface="+mj-lt"/>
                      </a:endParaRPr>
                    </a:p>
                  </a:txBody>
                  <a:tcPr/>
                </a:tc>
                <a:tc>
                  <a:txBody>
                    <a:bodyPr/>
                    <a:lstStyle/>
                    <a:p>
                      <a:r>
                        <a:rPr lang="en-US" sz="1100" dirty="0" smtClean="0">
                          <a:solidFill>
                            <a:srgbClr val="FF0000"/>
                          </a:solidFill>
                          <a:latin typeface="+mj-lt"/>
                        </a:rPr>
                        <a:t>Potential</a:t>
                      </a:r>
                      <a:r>
                        <a:rPr lang="en-US" sz="1100" baseline="0" dirty="0" smtClean="0">
                          <a:solidFill>
                            <a:srgbClr val="FF0000"/>
                          </a:solidFill>
                          <a:latin typeface="+mj-lt"/>
                        </a:rPr>
                        <a:t> partners</a:t>
                      </a:r>
                      <a:endParaRPr lang="en-US" sz="1100" dirty="0">
                        <a:solidFill>
                          <a:srgbClr val="FF0000"/>
                        </a:solidFill>
                        <a:latin typeface="+mj-lt"/>
                      </a:endParaRPr>
                    </a:p>
                  </a:txBody>
                  <a:tcPr/>
                </a:tc>
                <a:extLst>
                  <a:ext uri="{0D108BD9-81ED-4DB2-BD59-A6C34878D82A}">
                    <a16:rowId xmlns:a16="http://schemas.microsoft.com/office/drawing/2014/main" xmlns="" val="10000"/>
                  </a:ext>
                </a:extLst>
              </a:tr>
              <a:tr h="370840">
                <a:tc rowSpan="3">
                  <a:txBody>
                    <a:bodyPr/>
                    <a:lstStyle/>
                    <a:p>
                      <a:pPr algn="l"/>
                      <a:r>
                        <a:rPr lang="en-US" sz="1100" b="1" dirty="0" smtClean="0"/>
                        <a:t>Input </a:t>
                      </a:r>
                    </a:p>
                    <a:p>
                      <a:pPr algn="l"/>
                      <a:r>
                        <a:rPr lang="en-US" sz="1100" b="1" dirty="0" smtClean="0"/>
                        <a:t>System Development</a:t>
                      </a:r>
                    </a:p>
                  </a:txBody>
                  <a:tcPr marL="68580" marR="68580" marT="0" marB="0"/>
                </a:tc>
                <a:tc>
                  <a:txBody>
                    <a:bodyPr/>
                    <a:lstStyle/>
                    <a:p>
                      <a:pPr marL="171450" indent="-171450">
                        <a:buFont typeface="Arial" panose="020B0604020202020204" pitchFamily="34" charset="0"/>
                        <a:buChar char="•"/>
                      </a:pPr>
                      <a:r>
                        <a:rPr lang="en-US" sz="1100" dirty="0" smtClean="0"/>
                        <a:t>Facilitate increased availability of improved seed in </a:t>
                      </a:r>
                      <a:r>
                        <a:rPr lang="en-US" sz="1100" dirty="0" err="1" smtClean="0"/>
                        <a:t>Kigoma</a:t>
                      </a:r>
                      <a:r>
                        <a:rPr lang="en-US" sz="1100" dirty="0" smtClean="0"/>
                        <a:t> and </a:t>
                      </a:r>
                      <a:r>
                        <a:rPr lang="en-US" sz="1100" dirty="0" err="1" smtClean="0"/>
                        <a:t>Kagera</a:t>
                      </a:r>
                      <a:r>
                        <a:rPr lang="en-US" sz="1100" dirty="0" smtClean="0"/>
                        <a:t> regions e.g., by supporting at least 4  existing seed companies to expand their operations in the two regions</a:t>
                      </a:r>
                      <a:endParaRPr lang="en-US" sz="1100" dirty="0"/>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2 seed companies (Meru and Suba Agro) supported to expand their operations to</a:t>
                      </a:r>
                      <a:r>
                        <a:rPr lang="en-US" sz="1100" baseline="0" dirty="0" smtClean="0"/>
                        <a:t> </a:t>
                      </a:r>
                      <a:r>
                        <a:rPr lang="en-US" sz="1100" baseline="0" dirty="0" err="1" smtClean="0"/>
                        <a:t>Kagera</a:t>
                      </a:r>
                      <a:r>
                        <a:rPr lang="en-US" sz="1100" baseline="0" dirty="0" smtClean="0"/>
                        <a:t> and </a:t>
                      </a:r>
                      <a:r>
                        <a:rPr lang="en-US" sz="1100" baseline="0" dirty="0" err="1" smtClean="0"/>
                        <a:t>Kigoma.regions</a:t>
                      </a:r>
                      <a:r>
                        <a:rPr lang="en-US" sz="1100" baseline="0" dirty="0" smtClean="0"/>
                        <a:t>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More</a:t>
                      </a:r>
                      <a:r>
                        <a:rPr lang="en-US" sz="1100" baseline="0" dirty="0" smtClean="0">
                          <a:solidFill>
                            <a:srgbClr val="000000"/>
                          </a:solidFill>
                          <a:effectLst/>
                          <a:latin typeface="+mj-lt"/>
                          <a:ea typeface="Calibri" panose="020F0502020204030204" pitchFamily="34" charset="0"/>
                        </a:rPr>
                        <a:t> seed companies need to be supported to meet the demand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r>
                        <a:rPr lang="en-US" sz="1100" dirty="0" smtClean="0"/>
                        <a:t>Local seed </a:t>
                      </a:r>
                    </a:p>
                    <a:p>
                      <a:r>
                        <a:rPr lang="en-US" sz="1100" dirty="0" smtClean="0"/>
                        <a:t>companies</a:t>
                      </a:r>
                    </a:p>
                    <a:p>
                      <a:endParaRPr lang="en-US" sz="1100" dirty="0">
                        <a:latin typeface="+mn-lt"/>
                      </a:endParaRPr>
                    </a:p>
                  </a:txBody>
                  <a:tcPr marL="68580" marR="68580" marT="0" marB="0"/>
                </a:tc>
                <a:extLst>
                  <a:ext uri="{0D108BD9-81ED-4DB2-BD59-A6C34878D82A}">
                    <a16:rowId xmlns:a16="http://schemas.microsoft.com/office/drawing/2014/main" xmlns="" val="10001"/>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n-lt"/>
                        </a:rPr>
                        <a:t>Facilitate increased availability of  breeder and foundation seed by supporting  1 existing specialized seed company</a:t>
                      </a: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TARI</a:t>
                      </a:r>
                      <a:r>
                        <a:rPr lang="en-US" sz="1100" baseline="0" dirty="0" smtClean="0">
                          <a:solidFill>
                            <a:srgbClr val="000000"/>
                          </a:solidFill>
                          <a:effectLst/>
                          <a:latin typeface="+mj-lt"/>
                          <a:ea typeface="Calibri" panose="020F0502020204030204" pitchFamily="34" charset="0"/>
                        </a:rPr>
                        <a:t> </a:t>
                      </a:r>
                      <a:r>
                        <a:rPr lang="en-US" sz="1100" baseline="0" dirty="0" err="1" smtClean="0">
                          <a:solidFill>
                            <a:srgbClr val="000000"/>
                          </a:solidFill>
                          <a:effectLst/>
                          <a:latin typeface="+mj-lt"/>
                          <a:ea typeface="Calibri" panose="020F0502020204030204" pitchFamily="34" charset="0"/>
                        </a:rPr>
                        <a:t>Maruku</a:t>
                      </a:r>
                      <a:r>
                        <a:rPr lang="en-US" sz="1100" baseline="0" dirty="0" smtClean="0">
                          <a:solidFill>
                            <a:srgbClr val="000000"/>
                          </a:solidFill>
                          <a:effectLst/>
                          <a:latin typeface="+mj-lt"/>
                          <a:ea typeface="Calibri" panose="020F0502020204030204" pitchFamily="34" charset="0"/>
                        </a:rPr>
                        <a:t> supported to produce bean </a:t>
                      </a:r>
                      <a:r>
                        <a:rPr lang="en-US" sz="1100" dirty="0" smtClean="0">
                          <a:latin typeface="+mn-lt"/>
                        </a:rPr>
                        <a:t>breeder and foundation seed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n-lt"/>
                        </a:rPr>
                        <a:t>Research institutions, breeders</a:t>
                      </a:r>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dirty="0" smtClean="0">
                        <a:latin typeface="+mj-lt"/>
                      </a:endParaRPr>
                    </a:p>
                  </a:txBody>
                  <a:tcPr marL="68580" marR="68580" marT="0" marB="0"/>
                </a:tc>
                <a:extLst>
                  <a:ext uri="{0D108BD9-81ED-4DB2-BD59-A6C34878D82A}">
                    <a16:rowId xmlns:a16="http://schemas.microsoft.com/office/drawing/2014/main" xmlns="" val="1155157194"/>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Support the development of  new agro-dealers and hub agro-dealers (including youth and women) in the Western Highlands in partnership with Last Mile Alliance, </a:t>
                      </a:r>
                      <a:r>
                        <a:rPr lang="en-US" sz="1100" dirty="0" err="1" smtClean="0"/>
                        <a:t>AFAP</a:t>
                      </a:r>
                      <a:r>
                        <a:rPr lang="en-US" sz="1100" dirty="0" smtClean="0"/>
                        <a:t>, Positive International Limited (</a:t>
                      </a:r>
                      <a:r>
                        <a:rPr lang="en-US" sz="1100" dirty="0" err="1" smtClean="0"/>
                        <a:t>PIL</a:t>
                      </a:r>
                      <a:r>
                        <a:rPr lang="en-US" sz="1100" dirty="0" smtClean="0"/>
                        <a:t>)</a:t>
                      </a: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Partnerships with RUCODIA for</a:t>
                      </a:r>
                      <a:r>
                        <a:rPr lang="en-US" sz="1100" baseline="0" dirty="0" smtClean="0">
                          <a:solidFill>
                            <a:srgbClr val="000000"/>
                          </a:solidFill>
                          <a:effectLst/>
                          <a:latin typeface="+mj-lt"/>
                          <a:ea typeface="Calibri" panose="020F0502020204030204" pitchFamily="34" charset="0"/>
                        </a:rPr>
                        <a:t> </a:t>
                      </a:r>
                      <a:r>
                        <a:rPr lang="en-US" sz="1100" baseline="0" dirty="0" err="1" smtClean="0">
                          <a:solidFill>
                            <a:srgbClr val="000000"/>
                          </a:solidFill>
                          <a:effectLst/>
                          <a:latin typeface="+mj-lt"/>
                          <a:ea typeface="Calibri" panose="020F0502020204030204" pitchFamily="34" charset="0"/>
                        </a:rPr>
                        <a:t>agrodealer</a:t>
                      </a:r>
                      <a:r>
                        <a:rPr lang="en-US" sz="1100" baseline="0" dirty="0" smtClean="0">
                          <a:solidFill>
                            <a:srgbClr val="000000"/>
                          </a:solidFill>
                          <a:effectLst/>
                          <a:latin typeface="+mj-lt"/>
                          <a:ea typeface="Calibri" panose="020F0502020204030204" pitchFamily="34" charset="0"/>
                        </a:rPr>
                        <a:t> development done.</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err="1" smtClean="0"/>
                        <a:t>AFAP</a:t>
                      </a:r>
                      <a:r>
                        <a:rPr lang="en-US" sz="1100" dirty="0" smtClean="0"/>
                        <a:t>, </a:t>
                      </a:r>
                      <a:r>
                        <a:rPr lang="en-US" sz="1100" dirty="0" err="1" smtClean="0"/>
                        <a:t>LMA</a:t>
                      </a:r>
                      <a:r>
                        <a:rPr lang="en-US" sz="1100" dirty="0" smtClean="0"/>
                        <a:t>, </a:t>
                      </a:r>
                      <a:r>
                        <a:rPr lang="en-US" sz="1100" dirty="0" err="1" smtClean="0"/>
                        <a:t>RUCODIA</a:t>
                      </a:r>
                      <a:endParaRPr lang="en-US" sz="1100" dirty="0" smtClean="0"/>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dirty="0" smtClean="0">
                        <a:latin typeface="+mj-lt"/>
                      </a:endParaRPr>
                    </a:p>
                  </a:txBody>
                  <a:tcPr marL="68580" marR="68580" marT="0" marB="0"/>
                </a:tc>
                <a:extLst>
                  <a:ext uri="{0D108BD9-81ED-4DB2-BD59-A6C34878D82A}">
                    <a16:rowId xmlns:a16="http://schemas.microsoft.com/office/drawing/2014/main" xmlns="" val="2211010328"/>
                  </a:ext>
                </a:extLst>
              </a:tr>
              <a:tr h="567075">
                <a:tc>
                  <a:txBody>
                    <a:bodyPr/>
                    <a:lstStyle/>
                    <a:p>
                      <a:pPr algn="ctr"/>
                      <a:endParaRPr lang="en-US" sz="1100" dirty="0" smtClean="0"/>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n-lt"/>
                        </a:rPr>
                        <a:t>Support the introduction of new agricultural technologies through field days and demo plots; scale up ICT, video and radio based extension messaging, support ward resource centers and BDS to FOs</a:t>
                      </a: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FRI, NYDT, KADERES</a:t>
                      </a:r>
                      <a:r>
                        <a:rPr lang="en-US" sz="1100" baseline="0" dirty="0" smtClean="0">
                          <a:solidFill>
                            <a:srgbClr val="000000"/>
                          </a:solidFill>
                          <a:effectLst/>
                          <a:latin typeface="+mj-lt"/>
                          <a:ea typeface="Calibri" panose="020F0502020204030204" pitchFamily="34" charset="0"/>
                        </a:rPr>
                        <a:t> all promote the adoption of modern agricultural technologies.</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Strengthened platforms that link farmers to source of inputs, credit, extension service providers, and off-takers).</a:t>
                      </a:r>
                    </a:p>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r>
                        <a:rPr lang="en-US" sz="1100" dirty="0" smtClean="0">
                          <a:latin typeface="+mn-lt"/>
                        </a:rPr>
                        <a:t>Input companies, </a:t>
                      </a:r>
                      <a:r>
                        <a:rPr lang="en-US" sz="1100" dirty="0" err="1" smtClean="0">
                          <a:latin typeface="+mn-lt"/>
                        </a:rPr>
                        <a:t>BTC</a:t>
                      </a:r>
                      <a:endParaRPr lang="en-US" sz="1100" dirty="0" smtClean="0">
                        <a:latin typeface="+mn-lt"/>
                      </a:endParaRPr>
                    </a:p>
                    <a:p>
                      <a:r>
                        <a:rPr lang="en-US" sz="1100" dirty="0" smtClean="0"/>
                        <a:t>Digital Green, Farm Radio International, regional and </a:t>
                      </a:r>
                      <a:br>
                        <a:rPr lang="en-US" sz="1100" dirty="0" smtClean="0"/>
                      </a:br>
                      <a:r>
                        <a:rPr lang="en-US" sz="1100" dirty="0" smtClean="0"/>
                        <a:t>district authorities</a:t>
                      </a:r>
                      <a:endParaRPr lang="en-US" sz="1100" dirty="0" smtClean="0">
                        <a:latin typeface="+mn-lt"/>
                      </a:endParaRPr>
                    </a:p>
                  </a:txBody>
                  <a:tcPr marL="68580" marR="68580" marT="0" marB="0"/>
                </a:tc>
                <a:extLst>
                  <a:ext uri="{0D108BD9-81ED-4DB2-BD59-A6C34878D82A}">
                    <a16:rowId xmlns:a16="http://schemas.microsoft.com/office/drawing/2014/main" xmlns="" val="4031705442"/>
                  </a:ext>
                </a:extLst>
              </a:tr>
            </a:tbl>
          </a:graphicData>
        </a:graphic>
      </p:graphicFrame>
      <p:sp>
        <p:nvSpPr>
          <p:cNvPr id="3" name="Rectangle 2"/>
          <p:cNvSpPr/>
          <p:nvPr/>
        </p:nvSpPr>
        <p:spPr>
          <a:xfrm>
            <a:off x="347008" y="973243"/>
            <a:ext cx="1805302" cy="307777"/>
          </a:xfrm>
          <a:prstGeom prst="rect">
            <a:avLst/>
          </a:prstGeom>
        </p:spPr>
        <p:txBody>
          <a:bodyPr wrap="none">
            <a:spAutoFit/>
          </a:bodyPr>
          <a:lstStyle/>
          <a:p>
            <a:r>
              <a:rPr lang="en-US" b="1" dirty="0" smtClean="0">
                <a:solidFill>
                  <a:srgbClr val="00B0F0"/>
                </a:solidFill>
              </a:rPr>
              <a:t>Western </a:t>
            </a:r>
            <a:r>
              <a:rPr lang="en-US" b="1" dirty="0">
                <a:solidFill>
                  <a:srgbClr val="00B0F0"/>
                </a:solidFill>
              </a:rPr>
              <a:t>Highlands</a:t>
            </a:r>
          </a:p>
        </p:txBody>
      </p:sp>
    </p:spTree>
    <p:extLst>
      <p:ext uri="{BB962C8B-B14F-4D97-AF65-F5344CB8AC3E}">
        <p14:creationId xmlns:p14="http://schemas.microsoft.com/office/powerpoint/2010/main" val="112410929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39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Mapping the Strategy to outcomes in the theory of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48975803"/>
              </p:ext>
            </p:extLst>
          </p:nvPr>
        </p:nvGraphicFramePr>
        <p:xfrm>
          <a:off x="243840" y="1281020"/>
          <a:ext cx="9302969" cy="3947160"/>
        </p:xfrm>
        <a:graphic>
          <a:graphicData uri="http://schemas.openxmlformats.org/drawingml/2006/table">
            <a:tbl>
              <a:tblPr firstRow="1" bandRow="1">
                <a:tableStyleId>{E8B1032C-EA38-4F05-BA0D-38AFFFC7BED3}</a:tableStyleId>
              </a:tblPr>
              <a:tblGrid>
                <a:gridCol w="1036320">
                  <a:extLst>
                    <a:ext uri="{9D8B030D-6E8A-4147-A177-3AD203B41FA5}">
                      <a16:colId xmlns:a16="http://schemas.microsoft.com/office/drawing/2014/main" xmlns="" val="20000"/>
                    </a:ext>
                  </a:extLst>
                </a:gridCol>
                <a:gridCol w="2604770">
                  <a:extLst>
                    <a:ext uri="{9D8B030D-6E8A-4147-A177-3AD203B41FA5}">
                      <a16:colId xmlns:a16="http://schemas.microsoft.com/office/drawing/2014/main" xmlns="" val="20001"/>
                    </a:ext>
                  </a:extLst>
                </a:gridCol>
                <a:gridCol w="1871436">
                  <a:extLst>
                    <a:ext uri="{9D8B030D-6E8A-4147-A177-3AD203B41FA5}">
                      <a16:colId xmlns:a16="http://schemas.microsoft.com/office/drawing/2014/main" xmlns="" val="20002"/>
                    </a:ext>
                  </a:extLst>
                </a:gridCol>
                <a:gridCol w="2364793">
                  <a:extLst>
                    <a:ext uri="{9D8B030D-6E8A-4147-A177-3AD203B41FA5}">
                      <a16:colId xmlns:a16="http://schemas.microsoft.com/office/drawing/2014/main" xmlns="" val="20003"/>
                    </a:ext>
                  </a:extLst>
                </a:gridCol>
                <a:gridCol w="1425650">
                  <a:extLst>
                    <a:ext uri="{9D8B030D-6E8A-4147-A177-3AD203B41FA5}">
                      <a16:colId xmlns:a16="http://schemas.microsoft.com/office/drawing/2014/main" xmlns="" val="20004"/>
                    </a:ext>
                  </a:extLst>
                </a:gridCol>
              </a:tblGrid>
              <a:tr h="370840">
                <a:tc>
                  <a:txBody>
                    <a:bodyPr/>
                    <a:lstStyle/>
                    <a:p>
                      <a:r>
                        <a:rPr lang="en-US" sz="1100" dirty="0" smtClean="0">
                          <a:latin typeface="+mj-lt"/>
                        </a:rPr>
                        <a:t>Change area (outcomes)</a:t>
                      </a:r>
                      <a:endParaRPr lang="en-US" sz="1100" dirty="0">
                        <a:latin typeface="+mj-lt"/>
                      </a:endParaRPr>
                    </a:p>
                  </a:txBody>
                  <a:tcPr/>
                </a:tc>
                <a:tc>
                  <a:txBody>
                    <a:bodyPr/>
                    <a:lstStyle/>
                    <a:p>
                      <a:r>
                        <a:rPr lang="en-US" sz="1100" dirty="0" smtClean="0">
                          <a:latin typeface="+mj-lt"/>
                        </a:rPr>
                        <a:t>Activities</a:t>
                      </a:r>
                      <a:endParaRPr lang="en-US" sz="1100" dirty="0">
                        <a:latin typeface="+mj-lt"/>
                      </a:endParaRPr>
                    </a:p>
                  </a:txBody>
                  <a:tcPr/>
                </a:tc>
                <a:tc>
                  <a:txBody>
                    <a:bodyPr/>
                    <a:lstStyle/>
                    <a:p>
                      <a:r>
                        <a:rPr lang="en-US" sz="1100" dirty="0" smtClean="0">
                          <a:latin typeface="+mj-lt"/>
                        </a:rPr>
                        <a:t>Current investments</a:t>
                      </a:r>
                      <a:endParaRPr lang="en-US" sz="1100" dirty="0">
                        <a:latin typeface="+mj-lt"/>
                      </a:endParaRPr>
                    </a:p>
                  </a:txBody>
                  <a:tcPr/>
                </a:tc>
                <a:tc>
                  <a:txBody>
                    <a:bodyPr/>
                    <a:lstStyle/>
                    <a:p>
                      <a:r>
                        <a:rPr lang="en-US" sz="1100" dirty="0" smtClean="0">
                          <a:latin typeface="+mj-lt"/>
                        </a:rPr>
                        <a:t>Gaps for future</a:t>
                      </a:r>
                      <a:r>
                        <a:rPr lang="en-US" sz="1100" baseline="0" dirty="0" smtClean="0">
                          <a:latin typeface="+mj-lt"/>
                        </a:rPr>
                        <a:t> investments</a:t>
                      </a:r>
                      <a:endParaRPr lang="en-US" sz="1100" dirty="0">
                        <a:latin typeface="+mj-lt"/>
                      </a:endParaRPr>
                    </a:p>
                  </a:txBody>
                  <a:tcPr/>
                </a:tc>
                <a:tc>
                  <a:txBody>
                    <a:bodyPr/>
                    <a:lstStyle/>
                    <a:p>
                      <a:r>
                        <a:rPr lang="en-US" sz="1100" dirty="0" smtClean="0">
                          <a:solidFill>
                            <a:srgbClr val="FF0000"/>
                          </a:solidFill>
                          <a:latin typeface="+mj-lt"/>
                        </a:rPr>
                        <a:t>Potential</a:t>
                      </a:r>
                      <a:r>
                        <a:rPr lang="en-US" sz="1100" baseline="0" dirty="0" smtClean="0">
                          <a:solidFill>
                            <a:srgbClr val="FF0000"/>
                          </a:solidFill>
                          <a:latin typeface="+mj-lt"/>
                        </a:rPr>
                        <a:t> partners</a:t>
                      </a:r>
                      <a:endParaRPr lang="en-US" sz="1100" dirty="0">
                        <a:solidFill>
                          <a:srgbClr val="FF0000"/>
                        </a:solidFill>
                        <a:latin typeface="+mj-lt"/>
                      </a:endParaRPr>
                    </a:p>
                  </a:txBody>
                  <a:tcPr/>
                </a:tc>
                <a:extLst>
                  <a:ext uri="{0D108BD9-81ED-4DB2-BD59-A6C34878D82A}">
                    <a16:rowId xmlns:a16="http://schemas.microsoft.com/office/drawing/2014/main" xmlns="" val="10000"/>
                  </a:ext>
                </a:extLst>
              </a:tr>
              <a:tr h="370840">
                <a:tc rowSpan="3">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1" i="0" u="none" strike="noStrike" cap="none" dirty="0" smtClean="0">
                          <a:solidFill>
                            <a:schemeClr val="tx1"/>
                          </a:solidFill>
                          <a:latin typeface="+mn-lt"/>
                          <a:ea typeface="+mn-ea"/>
                          <a:cs typeface="+mn-cs"/>
                          <a:sym typeface="Arial"/>
                        </a:rPr>
                        <a:t>Market System Development</a:t>
                      </a:r>
                    </a:p>
                    <a:p>
                      <a:pPr algn="ctr"/>
                      <a:endParaRPr lang="en-US" sz="1100" dirty="0">
                        <a:latin typeface="+mj-lt"/>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Support  traders &amp; processors in the Western Highlands to increase trading and processing capacity through the provision of business development services (BDS</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Partnerships established with  </a:t>
                      </a:r>
                      <a:r>
                        <a:rPr lang="en-US" sz="1100" dirty="0" err="1" smtClean="0">
                          <a:solidFill>
                            <a:srgbClr val="000000"/>
                          </a:solidFill>
                          <a:effectLst/>
                          <a:latin typeface="+mj-lt"/>
                          <a:ea typeface="Calibri" panose="020F0502020204030204" pitchFamily="34" charset="0"/>
                        </a:rPr>
                        <a:t>Faida</a:t>
                      </a:r>
                      <a:r>
                        <a:rPr lang="en-US" sz="1100" dirty="0" smtClean="0">
                          <a:solidFill>
                            <a:srgbClr val="000000"/>
                          </a:solidFill>
                          <a:effectLst/>
                          <a:latin typeface="+mj-lt"/>
                          <a:ea typeface="Calibri" panose="020F0502020204030204" pitchFamily="34" charset="0"/>
                        </a:rPr>
                        <a:t> Mali, </a:t>
                      </a:r>
                      <a:r>
                        <a:rPr lang="en-US" sz="1100" dirty="0" smtClean="0">
                          <a:solidFill>
                            <a:srgbClr val="FF0000"/>
                          </a:solidFill>
                          <a:effectLst/>
                          <a:latin typeface="+mj-lt"/>
                          <a:ea typeface="Calibri" panose="020F0502020204030204" pitchFamily="34" charset="0"/>
                        </a:rPr>
                        <a:t>KADERES</a:t>
                      </a:r>
                      <a:r>
                        <a:rPr lang="en-US" sz="1100" dirty="0" smtClean="0">
                          <a:solidFill>
                            <a:srgbClr val="000000"/>
                          </a:solidFill>
                          <a:effectLst/>
                          <a:latin typeface="+mj-lt"/>
                          <a:ea typeface="Calibri" panose="020F0502020204030204" pitchFamily="34" charset="0"/>
                        </a:rPr>
                        <a:t> and RUCODIA</a:t>
                      </a:r>
                      <a:r>
                        <a:rPr lang="en-US" sz="1100" baseline="0" dirty="0" smtClean="0">
                          <a:solidFill>
                            <a:srgbClr val="000000"/>
                          </a:solidFill>
                          <a:effectLst/>
                          <a:latin typeface="+mj-lt"/>
                          <a:ea typeface="Calibri" panose="020F0502020204030204" pitchFamily="34" charset="0"/>
                        </a:rPr>
                        <a:t> for increased access to structured markets by SHF.</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Access to major grain markets (e.g., Dar, Nairobi)</a:t>
                      </a:r>
                    </a:p>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solidFill>
                            <a:srgbClr val="FF0000"/>
                          </a:solidFill>
                        </a:rPr>
                        <a:t>Improve</a:t>
                      </a:r>
                      <a:r>
                        <a:rPr lang="en-US" sz="1100" baseline="0" dirty="0" smtClean="0">
                          <a:solidFill>
                            <a:srgbClr val="FF0000"/>
                          </a:solidFill>
                        </a:rPr>
                        <a:t> capacity of SMEs for sustainable offtake and processing  of produces</a:t>
                      </a:r>
                      <a:endParaRPr lang="en-US" sz="1100" dirty="0" smtClean="0">
                        <a:solidFill>
                          <a:srgbClr val="FF0000"/>
                        </a:solidFill>
                      </a:endParaRPr>
                    </a:p>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j-lt"/>
                        </a:rPr>
                        <a:t>TCCIA, </a:t>
                      </a:r>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dirty="0" smtClean="0">
                        <a:effectLst/>
                        <a:latin typeface="+mj-lt"/>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solidFill>
                            <a:srgbClr val="FF0000"/>
                          </a:solidFill>
                          <a:effectLst/>
                          <a:latin typeface="+mj-lt"/>
                          <a:ea typeface="Calibri" panose="020F0502020204030204" pitchFamily="34" charset="0"/>
                          <a:cs typeface="Times New Roman" panose="02020603050405020304" pitchFamily="18" charset="0"/>
                        </a:rPr>
                        <a:t>KADERES</a:t>
                      </a:r>
                      <a:endParaRPr lang="en-US" sz="1100" dirty="0">
                        <a:solidFill>
                          <a:srgbClr val="FF0000"/>
                        </a:solidFill>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01"/>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Value chain financing: grain handlers/processors; grant matching for early stage companies (covers 1st year working capital + initial capex, including grain handling equipment and seasonal storage)</a:t>
                      </a:r>
                    </a:p>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endParaRPr lang="en-US" sz="1100" dirty="0" smtClean="0">
                        <a:latin typeface="+mj-lt"/>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NONE</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Support grain handlers to build assets that can be used as collateral to access credit from commercial banks (CAPEX and WC for business expansion)</a:t>
                      </a:r>
                    </a:p>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j-lt"/>
                        </a:rPr>
                        <a:t>EACF, other business plan competition agencies, banks and non-banking financial institutions, </a:t>
                      </a:r>
                    </a:p>
                  </a:txBody>
                  <a:tcPr marL="68580" marR="68580" marT="0" marB="0"/>
                </a:tc>
                <a:extLst>
                  <a:ext uri="{0D108BD9-81ED-4DB2-BD59-A6C34878D82A}">
                    <a16:rowId xmlns:a16="http://schemas.microsoft.com/office/drawing/2014/main" xmlns="" val="1155157194"/>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b="0" i="0" u="none" strike="noStrike" cap="none" dirty="0" smtClean="0">
                          <a:solidFill>
                            <a:schemeClr val="tx1"/>
                          </a:solidFill>
                          <a:latin typeface="+mj-lt"/>
                          <a:ea typeface="+mn-ea"/>
                          <a:cs typeface="+mn-cs"/>
                          <a:sym typeface="Arial"/>
                        </a:rPr>
                        <a:t>Support newly designed agro-processing clusters by generating proof-of-concept  for the transition towards lucrative markets such as animal feed</a:t>
                      </a:r>
                    </a:p>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endParaRPr lang="en-US" sz="1100" dirty="0" smtClean="0">
                        <a:latin typeface="+mj-lt"/>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Ongoing</a:t>
                      </a:r>
                      <a:r>
                        <a:rPr lang="en-US" sz="1100" baseline="0" dirty="0" smtClean="0">
                          <a:solidFill>
                            <a:srgbClr val="000000"/>
                          </a:solidFill>
                          <a:effectLst/>
                          <a:latin typeface="+mj-lt"/>
                          <a:ea typeface="Calibri" panose="020F0502020204030204" pitchFamily="34" charset="0"/>
                        </a:rPr>
                        <a:t> with EMMA </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Provision</a:t>
                      </a:r>
                      <a:r>
                        <a:rPr lang="en-US" sz="1100" baseline="0" dirty="0" smtClean="0"/>
                        <a:t> of </a:t>
                      </a:r>
                      <a:r>
                        <a:rPr lang="en-US" sz="1100" dirty="0" smtClean="0"/>
                        <a:t>  funding for equipment acquisition (maize milling) &amp;  crowding in funding and</a:t>
                      </a:r>
                      <a:r>
                        <a:rPr lang="en-US" sz="1100" baseline="0" dirty="0" smtClean="0"/>
                        <a:t> </a:t>
                      </a:r>
                      <a:r>
                        <a:rPr lang="en-US" sz="1100" dirty="0" smtClean="0"/>
                        <a:t>specific financial products to scale</a:t>
                      </a:r>
                    </a:p>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0" i="0" u="none" strike="noStrike" cap="none" dirty="0" smtClean="0">
                          <a:solidFill>
                            <a:schemeClr val="tx1"/>
                          </a:solidFill>
                          <a:latin typeface="+mj-lt"/>
                          <a:ea typeface="+mn-ea"/>
                          <a:cs typeface="+mn-cs"/>
                          <a:sym typeface="Arial"/>
                        </a:rPr>
                        <a:t>Traders and milling/processing enterprises  organizations, </a:t>
                      </a:r>
                      <a:endParaRPr lang="en-US" sz="1100" dirty="0" smtClean="0">
                        <a:latin typeface="+mj-lt"/>
                      </a:endParaRPr>
                    </a:p>
                  </a:txBody>
                  <a:tcPr marL="68580" marR="68580" marT="0" marB="0"/>
                </a:tc>
                <a:extLst>
                  <a:ext uri="{0D108BD9-81ED-4DB2-BD59-A6C34878D82A}">
                    <a16:rowId xmlns:a16="http://schemas.microsoft.com/office/drawing/2014/main" xmlns="" val="2211010328"/>
                  </a:ext>
                </a:extLst>
              </a:tr>
            </a:tbl>
          </a:graphicData>
        </a:graphic>
      </p:graphicFrame>
      <p:sp>
        <p:nvSpPr>
          <p:cNvPr id="3" name="Rectangle 2"/>
          <p:cNvSpPr/>
          <p:nvPr/>
        </p:nvSpPr>
        <p:spPr>
          <a:xfrm>
            <a:off x="347008" y="973243"/>
            <a:ext cx="1805302" cy="307777"/>
          </a:xfrm>
          <a:prstGeom prst="rect">
            <a:avLst/>
          </a:prstGeom>
        </p:spPr>
        <p:txBody>
          <a:bodyPr wrap="none">
            <a:spAutoFit/>
          </a:bodyPr>
          <a:lstStyle/>
          <a:p>
            <a:r>
              <a:rPr lang="en-US" b="1" dirty="0" smtClean="0">
                <a:solidFill>
                  <a:srgbClr val="00B0F0"/>
                </a:solidFill>
              </a:rPr>
              <a:t>Western Highlands</a:t>
            </a:r>
            <a:endParaRPr lang="en-US" b="1" dirty="0">
              <a:solidFill>
                <a:srgbClr val="00B0F0"/>
              </a:solidFill>
            </a:endParaRPr>
          </a:p>
        </p:txBody>
      </p:sp>
    </p:spTree>
    <p:extLst>
      <p:ext uri="{BB962C8B-B14F-4D97-AF65-F5344CB8AC3E}">
        <p14:creationId xmlns:p14="http://schemas.microsoft.com/office/powerpoint/2010/main" val="8870237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xecutive Summary</a:t>
            </a:r>
            <a:endParaRPr lang="en-US" dirty="0"/>
          </a:p>
        </p:txBody>
      </p:sp>
    </p:spTree>
    <p:extLst>
      <p:ext uri="{BB962C8B-B14F-4D97-AF65-F5344CB8AC3E}">
        <p14:creationId xmlns:p14="http://schemas.microsoft.com/office/powerpoint/2010/main" val="93718690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1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Mapping the Strategy to outcomes in the theory of chang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05742728"/>
              </p:ext>
            </p:extLst>
          </p:nvPr>
        </p:nvGraphicFramePr>
        <p:xfrm>
          <a:off x="243840" y="1281020"/>
          <a:ext cx="9302969" cy="3173115"/>
        </p:xfrm>
        <a:graphic>
          <a:graphicData uri="http://schemas.openxmlformats.org/drawingml/2006/table">
            <a:tbl>
              <a:tblPr firstRow="1" bandRow="1">
                <a:tableStyleId>{E8B1032C-EA38-4F05-BA0D-38AFFFC7BED3}</a:tableStyleId>
              </a:tblPr>
              <a:tblGrid>
                <a:gridCol w="1036320">
                  <a:extLst>
                    <a:ext uri="{9D8B030D-6E8A-4147-A177-3AD203B41FA5}">
                      <a16:colId xmlns:a16="http://schemas.microsoft.com/office/drawing/2014/main" xmlns="" val="20000"/>
                    </a:ext>
                  </a:extLst>
                </a:gridCol>
                <a:gridCol w="2604770">
                  <a:extLst>
                    <a:ext uri="{9D8B030D-6E8A-4147-A177-3AD203B41FA5}">
                      <a16:colId xmlns:a16="http://schemas.microsoft.com/office/drawing/2014/main" xmlns="" val="20001"/>
                    </a:ext>
                  </a:extLst>
                </a:gridCol>
                <a:gridCol w="1871436">
                  <a:extLst>
                    <a:ext uri="{9D8B030D-6E8A-4147-A177-3AD203B41FA5}">
                      <a16:colId xmlns:a16="http://schemas.microsoft.com/office/drawing/2014/main" xmlns="" val="20002"/>
                    </a:ext>
                  </a:extLst>
                </a:gridCol>
                <a:gridCol w="2364793">
                  <a:extLst>
                    <a:ext uri="{9D8B030D-6E8A-4147-A177-3AD203B41FA5}">
                      <a16:colId xmlns:a16="http://schemas.microsoft.com/office/drawing/2014/main" xmlns="" val="20003"/>
                    </a:ext>
                  </a:extLst>
                </a:gridCol>
                <a:gridCol w="1425650">
                  <a:extLst>
                    <a:ext uri="{9D8B030D-6E8A-4147-A177-3AD203B41FA5}">
                      <a16:colId xmlns:a16="http://schemas.microsoft.com/office/drawing/2014/main" xmlns="" val="20004"/>
                    </a:ext>
                  </a:extLst>
                </a:gridCol>
              </a:tblGrid>
              <a:tr h="370840">
                <a:tc>
                  <a:txBody>
                    <a:bodyPr/>
                    <a:lstStyle/>
                    <a:p>
                      <a:r>
                        <a:rPr lang="en-US" sz="1100" dirty="0" smtClean="0">
                          <a:latin typeface="+mj-lt"/>
                        </a:rPr>
                        <a:t>Change area (outcomes)</a:t>
                      </a:r>
                      <a:endParaRPr lang="en-US" sz="1100" dirty="0">
                        <a:latin typeface="+mj-lt"/>
                      </a:endParaRPr>
                    </a:p>
                  </a:txBody>
                  <a:tcPr/>
                </a:tc>
                <a:tc>
                  <a:txBody>
                    <a:bodyPr/>
                    <a:lstStyle/>
                    <a:p>
                      <a:r>
                        <a:rPr lang="en-US" sz="1100" dirty="0" smtClean="0">
                          <a:latin typeface="+mj-lt"/>
                        </a:rPr>
                        <a:t>Activities</a:t>
                      </a:r>
                      <a:endParaRPr lang="en-US" sz="1100" dirty="0">
                        <a:latin typeface="+mj-lt"/>
                      </a:endParaRPr>
                    </a:p>
                  </a:txBody>
                  <a:tcPr/>
                </a:tc>
                <a:tc>
                  <a:txBody>
                    <a:bodyPr/>
                    <a:lstStyle/>
                    <a:p>
                      <a:r>
                        <a:rPr lang="en-US" sz="1100" dirty="0" smtClean="0">
                          <a:latin typeface="+mj-lt"/>
                        </a:rPr>
                        <a:t>Current investments</a:t>
                      </a:r>
                      <a:endParaRPr lang="en-US" sz="1100" dirty="0">
                        <a:latin typeface="+mj-lt"/>
                      </a:endParaRPr>
                    </a:p>
                  </a:txBody>
                  <a:tcPr/>
                </a:tc>
                <a:tc>
                  <a:txBody>
                    <a:bodyPr/>
                    <a:lstStyle/>
                    <a:p>
                      <a:r>
                        <a:rPr lang="en-US" sz="1100" dirty="0" smtClean="0">
                          <a:latin typeface="+mj-lt"/>
                        </a:rPr>
                        <a:t>Gaps for future</a:t>
                      </a:r>
                      <a:r>
                        <a:rPr lang="en-US" sz="1100" baseline="0" dirty="0" smtClean="0">
                          <a:latin typeface="+mj-lt"/>
                        </a:rPr>
                        <a:t> investments</a:t>
                      </a:r>
                      <a:endParaRPr lang="en-US" sz="1100" dirty="0">
                        <a:latin typeface="+mj-lt"/>
                      </a:endParaRPr>
                    </a:p>
                  </a:txBody>
                  <a:tcPr/>
                </a:tc>
                <a:tc>
                  <a:txBody>
                    <a:bodyPr/>
                    <a:lstStyle/>
                    <a:p>
                      <a:r>
                        <a:rPr lang="en-US" sz="1100" dirty="0" smtClean="0">
                          <a:solidFill>
                            <a:srgbClr val="FF0000"/>
                          </a:solidFill>
                          <a:latin typeface="+mj-lt"/>
                        </a:rPr>
                        <a:t>Potential</a:t>
                      </a:r>
                      <a:r>
                        <a:rPr lang="en-US" sz="1100" baseline="0" dirty="0" smtClean="0">
                          <a:solidFill>
                            <a:srgbClr val="FF0000"/>
                          </a:solidFill>
                          <a:latin typeface="+mj-lt"/>
                        </a:rPr>
                        <a:t> partners</a:t>
                      </a:r>
                      <a:endParaRPr lang="en-US" sz="1100" dirty="0">
                        <a:solidFill>
                          <a:srgbClr val="FF0000"/>
                        </a:solidFill>
                        <a:latin typeface="+mj-lt"/>
                      </a:endParaRPr>
                    </a:p>
                  </a:txBody>
                  <a:tcPr/>
                </a:tc>
                <a:extLst>
                  <a:ext uri="{0D108BD9-81ED-4DB2-BD59-A6C34878D82A}">
                    <a16:rowId xmlns:a16="http://schemas.microsoft.com/office/drawing/2014/main" xmlns="" val="10000"/>
                  </a:ext>
                </a:extLst>
              </a:tr>
              <a:tr h="370840">
                <a:tc rowSpan="3">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1" i="0" u="none" strike="noStrike" cap="none" dirty="0" smtClean="0">
                          <a:solidFill>
                            <a:schemeClr val="tx1"/>
                          </a:solidFill>
                          <a:latin typeface="+mn-lt"/>
                          <a:ea typeface="+mn-ea"/>
                          <a:cs typeface="+mn-cs"/>
                          <a:sym typeface="Arial"/>
                        </a:rPr>
                        <a:t>Market System Development</a:t>
                      </a:r>
                    </a:p>
                    <a:p>
                      <a:pPr algn="ctr"/>
                      <a:endParaRPr lang="en-US" sz="1100" dirty="0">
                        <a:latin typeface="+mj-lt"/>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Enhance market transparency by supporting the development of  a deal making platform</a:t>
                      </a: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NONE</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t>pre-harvest networking session to connect value chain actors</a:t>
                      </a:r>
                    </a:p>
                    <a:p>
                      <a:pPr marL="342900" marR="0" lvl="0" indent="-34290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solidFill>
                            <a:srgbClr val="FF0000"/>
                          </a:solidFill>
                        </a:rPr>
                        <a:t>Strengthening</a:t>
                      </a:r>
                      <a:r>
                        <a:rPr lang="en-US" sz="1100" baseline="0" dirty="0" smtClean="0">
                          <a:solidFill>
                            <a:srgbClr val="FF0000"/>
                          </a:solidFill>
                        </a:rPr>
                        <a:t> relationship between buyers/</a:t>
                      </a:r>
                      <a:r>
                        <a:rPr lang="en-US" sz="1100" baseline="0" dirty="0" err="1" smtClean="0">
                          <a:solidFill>
                            <a:srgbClr val="FF0000"/>
                          </a:solidFill>
                        </a:rPr>
                        <a:t>offtakers</a:t>
                      </a:r>
                      <a:r>
                        <a:rPr lang="en-US" sz="1100" baseline="0" dirty="0" smtClean="0">
                          <a:solidFill>
                            <a:srgbClr val="FF0000"/>
                          </a:solidFill>
                        </a:rPr>
                        <a:t> and farmers</a:t>
                      </a:r>
                      <a:endParaRPr lang="en-US" sz="1100" dirty="0" smtClean="0">
                        <a:solidFill>
                          <a:srgbClr val="FF0000"/>
                        </a:solidFill>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j-lt"/>
                        </a:rPr>
                        <a:t>Food Trade, EAGC, TCCIA, Trademark EA, </a:t>
                      </a:r>
                      <a:r>
                        <a:rPr lang="en-US" sz="1100" dirty="0" smtClean="0">
                          <a:solidFill>
                            <a:srgbClr val="FF0000"/>
                          </a:solidFill>
                          <a:latin typeface="+mj-lt"/>
                        </a:rPr>
                        <a:t>KADERES</a:t>
                      </a:r>
                    </a:p>
                  </a:txBody>
                  <a:tcPr marL="68580" marR="68580" marT="0" marB="0"/>
                </a:tc>
                <a:extLst>
                  <a:ext uri="{0D108BD9-81ED-4DB2-BD59-A6C34878D82A}">
                    <a16:rowId xmlns:a16="http://schemas.microsoft.com/office/drawing/2014/main" xmlns="" val="10001"/>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US" sz="1100" dirty="0" smtClean="0">
                          <a:latin typeface="+mj-lt"/>
                        </a:rPr>
                        <a:t>Create sustainable platforms by supporting the digitization of  value chain transparency and coordination system; includes forward contracting, pricing, quantity projections, transportation costs, digital extension (linked to stakeholder)</a:t>
                      </a: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solidFill>
                            <a:srgbClr val="000000"/>
                          </a:solidFill>
                          <a:effectLst/>
                          <a:latin typeface="+mj-lt"/>
                          <a:ea typeface="Calibri" panose="020F0502020204030204" pitchFamily="34" charset="0"/>
                        </a:rPr>
                        <a:t>NONE</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100" dirty="0" smtClean="0"/>
                        <a:t>Digitized value chain transparency system</a:t>
                      </a:r>
                      <a:r>
                        <a:rPr lang="en-US" sz="1100" baseline="0" dirty="0" smtClean="0"/>
                        <a:t> </a:t>
                      </a:r>
                      <a:r>
                        <a:rPr lang="en-US" sz="1100" dirty="0" smtClean="0"/>
                        <a:t>linked to stakeholder</a:t>
                      </a: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j-lt"/>
                        </a:rPr>
                        <a:t>RUCODIA</a:t>
                      </a:r>
                    </a:p>
                  </a:txBody>
                  <a:tcPr marL="68580" marR="68580" marT="0" marB="0"/>
                </a:tc>
                <a:extLst>
                  <a:ext uri="{0D108BD9-81ED-4DB2-BD59-A6C34878D82A}">
                    <a16:rowId xmlns:a16="http://schemas.microsoft.com/office/drawing/2014/main" xmlns="" val="1155157194"/>
                  </a:ext>
                </a:extLst>
              </a:tr>
              <a:tr h="567075">
                <a:tc vMerge="1">
                  <a:txBody>
                    <a:bodyPr/>
                    <a:lstStyle/>
                    <a:p>
                      <a:pPr marL="0" marR="0">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endParaRPr lang="en-US" sz="1100" dirty="0" smtClean="0">
                        <a:latin typeface="+mj-lt"/>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endParaRPr lang="en-US" sz="1100" dirty="0">
                        <a:solidFill>
                          <a:srgbClr val="000000"/>
                        </a:solidFill>
                        <a:effectLst/>
                        <a:latin typeface="+mj-lt"/>
                        <a:ea typeface="Calibri" panose="020F0502020204030204" pitchFamily="34" charset="0"/>
                      </a:endParaRP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dirty="0" smtClean="0">
                        <a:latin typeface="+mj-lt"/>
                      </a:endParaRPr>
                    </a:p>
                  </a:txBody>
                  <a:tcPr marL="68580" marR="68580" marT="0" marB="0"/>
                </a:tc>
                <a:extLst>
                  <a:ext uri="{0D108BD9-81ED-4DB2-BD59-A6C34878D82A}">
                    <a16:rowId xmlns:a16="http://schemas.microsoft.com/office/drawing/2014/main" xmlns="" val="2211010328"/>
                  </a:ext>
                </a:extLst>
              </a:tr>
            </a:tbl>
          </a:graphicData>
        </a:graphic>
      </p:graphicFrame>
      <p:sp>
        <p:nvSpPr>
          <p:cNvPr id="3" name="Rectangle 2"/>
          <p:cNvSpPr/>
          <p:nvPr/>
        </p:nvSpPr>
        <p:spPr>
          <a:xfrm>
            <a:off x="347008" y="973243"/>
            <a:ext cx="1805302" cy="307777"/>
          </a:xfrm>
          <a:prstGeom prst="rect">
            <a:avLst/>
          </a:prstGeom>
        </p:spPr>
        <p:txBody>
          <a:bodyPr wrap="none">
            <a:spAutoFit/>
          </a:bodyPr>
          <a:lstStyle/>
          <a:p>
            <a:r>
              <a:rPr lang="en-US" b="1" dirty="0" smtClean="0">
                <a:solidFill>
                  <a:srgbClr val="00B0F0"/>
                </a:solidFill>
              </a:rPr>
              <a:t>Western Highlands</a:t>
            </a:r>
            <a:endParaRPr lang="en-US" b="1" dirty="0">
              <a:solidFill>
                <a:srgbClr val="00B0F0"/>
              </a:solidFill>
            </a:endParaRPr>
          </a:p>
        </p:txBody>
      </p:sp>
    </p:spTree>
    <p:extLst>
      <p:ext uri="{BB962C8B-B14F-4D97-AF65-F5344CB8AC3E}">
        <p14:creationId xmlns:p14="http://schemas.microsoft.com/office/powerpoint/2010/main" val="411180737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741" y="134054"/>
            <a:ext cx="7852431" cy="582389"/>
          </a:xfrm>
        </p:spPr>
        <p:txBody>
          <a:bodyPr lIns="0" tIns="0" rIns="0" bIns="0" anchor="b"/>
          <a:lstStyle/>
          <a:p>
            <a:r>
              <a:rPr lang="en-US" dirty="0"/>
              <a:t>AGRA’s Approach in </a:t>
            </a:r>
            <a:r>
              <a:rPr lang="en-US" dirty="0" smtClean="0"/>
              <a:t>Tanzania </a:t>
            </a:r>
            <a:r>
              <a:rPr lang="en-US" dirty="0"/>
              <a:t>is Aligned to the National Agriculture </a:t>
            </a:r>
            <a:r>
              <a:rPr lang="en-US" dirty="0" smtClean="0"/>
              <a:t>Strategy</a:t>
            </a:r>
            <a:endParaRPr lang="en-US" dirty="0"/>
          </a:p>
        </p:txBody>
      </p:sp>
      <p:sp>
        <p:nvSpPr>
          <p:cNvPr id="13" name="TextBox 12"/>
          <p:cNvSpPr txBox="1">
            <a:spLocks/>
          </p:cNvSpPr>
          <p:nvPr/>
        </p:nvSpPr>
        <p:spPr>
          <a:xfrm>
            <a:off x="450274" y="900990"/>
            <a:ext cx="8669287" cy="980624"/>
          </a:xfrm>
          <a:prstGeom prst="rect">
            <a:avLst/>
          </a:prstGeom>
          <a:solidFill>
            <a:schemeClr val="bg1"/>
          </a:solidFill>
          <a:ln w="9525">
            <a:noFill/>
            <a:miter lim="800000"/>
            <a:headEnd/>
            <a:tailEnd/>
          </a:ln>
          <a:effectLst/>
        </p:spPr>
        <p:txBody>
          <a:bodyPr vert="horz" wrap="square" lIns="66470" tIns="66470" rIns="66470" bIns="6647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just"/>
            <a:r>
              <a:rPr lang="en-GB" sz="1100" dirty="0"/>
              <a:t>Having worked in Tanzania over the last 10 years, AGRA and partners have built an assets base in </a:t>
            </a:r>
            <a:r>
              <a:rPr lang="en-GB" sz="1100" b="1" dirty="0"/>
              <a:t>technologies</a:t>
            </a:r>
            <a:r>
              <a:rPr lang="en-GB" sz="1100" dirty="0"/>
              <a:t>, </a:t>
            </a:r>
            <a:r>
              <a:rPr lang="en-GB" sz="1100" b="1" dirty="0"/>
              <a:t>partnerships</a:t>
            </a:r>
            <a:r>
              <a:rPr lang="en-GB" sz="1100" dirty="0"/>
              <a:t> and </a:t>
            </a:r>
            <a:r>
              <a:rPr lang="en-GB" sz="1100" b="1" dirty="0"/>
              <a:t>models</a:t>
            </a:r>
            <a:r>
              <a:rPr lang="en-GB" sz="1100" dirty="0"/>
              <a:t> that if scaled can lead to a competitive and inclusive agriculture in Tanzania. </a:t>
            </a:r>
            <a:r>
              <a:rPr lang="en-GB" sz="1100" dirty="0" err="1"/>
              <a:t>AGRA’s</a:t>
            </a:r>
            <a:r>
              <a:rPr lang="en-GB" sz="1100" dirty="0"/>
              <a:t> new strategy seeks to bring all of these elements together to support the Tanzania’s agricultural transformation </a:t>
            </a:r>
            <a:r>
              <a:rPr lang="en-GB" sz="1100" dirty="0" smtClean="0"/>
              <a:t>agenda. </a:t>
            </a:r>
            <a:r>
              <a:rPr lang="en-US" sz="1100" dirty="0" smtClean="0"/>
              <a:t> </a:t>
            </a:r>
            <a:r>
              <a:rPr lang="en-US" sz="1100" dirty="0"/>
              <a:t>In its 2017-2021 strategy, AGRA has prioritized three regions with the highest potential for impact: Western, Southern and Northern Highlands targeting three primary crops (maize, rice and beans) and two secondary crops (cassava and potatoes).</a:t>
            </a:r>
            <a:endParaRPr lang="en-ZA" sz="1100" dirty="0"/>
          </a:p>
        </p:txBody>
      </p:sp>
      <p:grpSp>
        <p:nvGrpSpPr>
          <p:cNvPr id="12" name="Group 11"/>
          <p:cNvGrpSpPr/>
          <p:nvPr/>
        </p:nvGrpSpPr>
        <p:grpSpPr>
          <a:xfrm>
            <a:off x="450274" y="2114951"/>
            <a:ext cx="8810391" cy="3056139"/>
            <a:chOff x="450274" y="1827754"/>
            <a:chExt cx="8810391" cy="3280274"/>
          </a:xfrm>
        </p:grpSpPr>
        <p:sp>
          <p:nvSpPr>
            <p:cNvPr id="3" name="Rounded Rectangle 2"/>
            <p:cNvSpPr/>
            <p:nvPr/>
          </p:nvSpPr>
          <p:spPr>
            <a:xfrm>
              <a:off x="450274" y="1827755"/>
              <a:ext cx="3570910" cy="328027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defTabSz="779082">
                <a:lnSpc>
                  <a:spcPct val="107000"/>
                </a:lnSpc>
                <a:defRPr/>
              </a:pPr>
              <a:r>
                <a:rPr lang="en-US" altLang="en-US" sz="1100" b="1" dirty="0" smtClean="0">
                  <a:solidFill>
                    <a:schemeClr val="tx1"/>
                  </a:solidFill>
                  <a:ea typeface="Calibri" panose="020F0502020204030204" pitchFamily="34" charset="0"/>
                  <a:cs typeface="Arial" panose="020B0604020202020204" pitchFamily="34" charset="0"/>
                </a:rPr>
                <a:t>Tanzania’s Vision for Agriculture Development</a:t>
              </a:r>
            </a:p>
            <a:p>
              <a:pPr defTabSz="844083" fontAlgn="base">
                <a:spcBef>
                  <a:spcPct val="0"/>
                </a:spcBef>
                <a:spcAft>
                  <a:spcPct val="0"/>
                </a:spcAft>
                <a:defRPr/>
              </a:pPr>
              <a:r>
                <a:rPr lang="en-US" sz="1100" dirty="0"/>
                <a:t>Through the  Agricultural Development Plan Second Sector Phase Two (</a:t>
              </a:r>
              <a:r>
                <a:rPr lang="en-US" sz="1100" dirty="0" err="1"/>
                <a:t>ASDP</a:t>
              </a:r>
              <a:r>
                <a:rPr lang="en-US" sz="1100" dirty="0"/>
                <a:t> II) the government of Tanzania is looking to transform the agricultural sector (crops, livestock &amp; fisheries) towards higher productivity, commercialization level and smallholder farmer income for improved livelihood, food security and nutrition. The </a:t>
              </a:r>
              <a:r>
                <a:rPr lang="en-US" sz="1100" dirty="0" err="1"/>
                <a:t>ASDP</a:t>
              </a:r>
              <a:r>
                <a:rPr lang="en-US" sz="1100" dirty="0"/>
                <a:t> II has four </a:t>
              </a:r>
              <a:r>
                <a:rPr lang="en-US" sz="1100" dirty="0" smtClean="0"/>
                <a:t>pillars: </a:t>
              </a:r>
            </a:p>
            <a:p>
              <a:pPr marL="228600" indent="-228600" defTabSz="844083" fontAlgn="base">
                <a:spcBef>
                  <a:spcPct val="0"/>
                </a:spcBef>
                <a:spcAft>
                  <a:spcPct val="0"/>
                </a:spcAft>
                <a:buFont typeface="+mj-lt"/>
                <a:buAutoNum type="arabicPeriod"/>
                <a:defRPr/>
              </a:pPr>
              <a:r>
                <a:rPr lang="en-US" sz="1100" dirty="0" smtClean="0"/>
                <a:t>Sustainable </a:t>
              </a:r>
              <a:r>
                <a:rPr lang="en-US" sz="1100" dirty="0"/>
                <a:t>Water </a:t>
              </a:r>
              <a:r>
                <a:rPr lang="en-US" sz="1100" dirty="0" smtClean="0"/>
                <a:t>and Land </a:t>
              </a:r>
              <a:r>
                <a:rPr lang="en-US" sz="1100" dirty="0"/>
                <a:t>Use Management-</a:t>
              </a:r>
            </a:p>
            <a:p>
              <a:pPr marL="228600" indent="-228600" defTabSz="844083" fontAlgn="base">
                <a:spcBef>
                  <a:spcPct val="0"/>
                </a:spcBef>
                <a:spcAft>
                  <a:spcPct val="0"/>
                </a:spcAft>
                <a:buFont typeface="+mj-lt"/>
                <a:buAutoNum type="arabicPeriod"/>
                <a:defRPr/>
              </a:pPr>
              <a:r>
                <a:rPr lang="en-US" sz="1100" dirty="0"/>
                <a:t>Enhanced </a:t>
              </a:r>
              <a:r>
                <a:rPr lang="en-US" sz="1100" dirty="0" smtClean="0"/>
                <a:t>agriculture productivity and Profitability</a:t>
              </a:r>
              <a:endParaRPr lang="en-US" sz="1100" dirty="0"/>
            </a:p>
            <a:p>
              <a:pPr marL="228600" indent="-228600" defTabSz="844083" fontAlgn="base">
                <a:spcBef>
                  <a:spcPct val="0"/>
                </a:spcBef>
                <a:spcAft>
                  <a:spcPct val="0"/>
                </a:spcAft>
                <a:buFont typeface="+mj-lt"/>
                <a:buAutoNum type="arabicPeriod"/>
                <a:defRPr/>
              </a:pPr>
              <a:r>
                <a:rPr lang="en-US" sz="1100" dirty="0" smtClean="0"/>
                <a:t>Commercialization and </a:t>
              </a:r>
              <a:r>
                <a:rPr lang="en-US" sz="1100" dirty="0"/>
                <a:t>Value addition</a:t>
              </a:r>
            </a:p>
            <a:p>
              <a:pPr marL="228600" indent="-228600" defTabSz="844083" fontAlgn="base">
                <a:spcBef>
                  <a:spcPct val="0"/>
                </a:spcBef>
                <a:spcAft>
                  <a:spcPct val="0"/>
                </a:spcAft>
                <a:buFont typeface="+mj-lt"/>
                <a:buAutoNum type="arabicPeriod"/>
                <a:defRPr/>
              </a:pPr>
              <a:r>
                <a:rPr lang="en-US" sz="1100" dirty="0"/>
                <a:t>Sector </a:t>
              </a:r>
              <a:r>
                <a:rPr lang="en-US" sz="1100" dirty="0" smtClean="0"/>
                <a:t>Enablers</a:t>
              </a:r>
              <a:endParaRPr lang="en-US" sz="1100" dirty="0"/>
            </a:p>
          </p:txBody>
        </p:sp>
        <p:sp>
          <p:nvSpPr>
            <p:cNvPr id="8" name="Rounded Rectangle 7"/>
            <p:cNvSpPr/>
            <p:nvPr/>
          </p:nvSpPr>
          <p:spPr>
            <a:xfrm>
              <a:off x="5328745" y="1827754"/>
              <a:ext cx="3931920" cy="328027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defTabSz="844083" fontAlgn="base">
                <a:defRPr/>
              </a:pPr>
              <a:r>
                <a:rPr lang="en-US" altLang="en-US" sz="1100" b="1" dirty="0" err="1">
                  <a:solidFill>
                    <a:schemeClr val="tx1"/>
                  </a:solidFill>
                  <a:ea typeface="Calibri" panose="020F0502020204030204" pitchFamily="34" charset="0"/>
                  <a:cs typeface="Arial" panose="020B0604020202020204" pitchFamily="34" charset="0"/>
                </a:rPr>
                <a:t>AGRA’s</a:t>
              </a:r>
              <a:r>
                <a:rPr lang="en-US" altLang="en-US" sz="1100" b="1" dirty="0">
                  <a:solidFill>
                    <a:schemeClr val="tx1"/>
                  </a:solidFill>
                  <a:ea typeface="Calibri" panose="020F0502020204030204" pitchFamily="34" charset="0"/>
                  <a:cs typeface="Arial" panose="020B0604020202020204" pitchFamily="34" charset="0"/>
                </a:rPr>
                <a:t> </a:t>
              </a:r>
              <a:r>
                <a:rPr lang="en-US" altLang="en-US" sz="1100" b="1" dirty="0" smtClean="0">
                  <a:solidFill>
                    <a:schemeClr val="tx1"/>
                  </a:solidFill>
                  <a:ea typeface="Calibri" panose="020F0502020204030204" pitchFamily="34" charset="0"/>
                  <a:cs typeface="Arial" panose="020B0604020202020204" pitchFamily="34" charset="0"/>
                </a:rPr>
                <a:t>Goals </a:t>
              </a:r>
              <a:r>
                <a:rPr lang="en-US" altLang="en-US" sz="1100" b="1" dirty="0">
                  <a:solidFill>
                    <a:schemeClr val="tx1"/>
                  </a:solidFill>
                  <a:ea typeface="Calibri" panose="020F0502020204030204" pitchFamily="34" charset="0"/>
                  <a:cs typeface="Arial" panose="020B0604020202020204" pitchFamily="34" charset="0"/>
                </a:rPr>
                <a:t>in </a:t>
              </a:r>
              <a:r>
                <a:rPr lang="en-US" altLang="en-US" sz="1100" b="1" dirty="0" smtClean="0">
                  <a:solidFill>
                    <a:schemeClr val="tx1"/>
                  </a:solidFill>
                  <a:ea typeface="Calibri" panose="020F0502020204030204" pitchFamily="34" charset="0"/>
                  <a:cs typeface="Arial" panose="020B0604020202020204" pitchFamily="34" charset="0"/>
                </a:rPr>
                <a:t>Tanzania</a:t>
              </a:r>
              <a:endParaRPr lang="en-US" altLang="en-US" sz="1100" b="1" dirty="0">
                <a:solidFill>
                  <a:schemeClr val="tx1"/>
                </a:solidFill>
                <a:ea typeface="Calibri" panose="020F0502020204030204" pitchFamily="34" charset="0"/>
                <a:cs typeface="Arial" panose="020B0604020202020204" pitchFamily="34" charset="0"/>
              </a:endParaRPr>
            </a:p>
            <a:p>
              <a:pPr lvl="0" defTabSz="844083" fontAlgn="base">
                <a:defRPr/>
              </a:pPr>
              <a:r>
                <a:rPr lang="en-US" sz="1100" dirty="0" smtClean="0">
                  <a:cs typeface="Arial"/>
                </a:rPr>
                <a:t>We seek to catalyze and sustain an inclusive agricultural transformation to </a:t>
              </a:r>
              <a:r>
                <a:rPr lang="en-US" sz="1100" dirty="0">
                  <a:cs typeface="Arial"/>
                </a:rPr>
                <a:t>increase </a:t>
              </a:r>
              <a:r>
                <a:rPr lang="en-US" sz="1100" dirty="0" smtClean="0">
                  <a:cs typeface="Arial"/>
                </a:rPr>
                <a:t>incomes and improve food security by directly reaching 1.99 million </a:t>
              </a:r>
              <a:r>
                <a:rPr lang="en-US" sz="1100" dirty="0">
                  <a:cs typeface="Arial"/>
                </a:rPr>
                <a:t>smallholder farming households and indirectly impacting a further </a:t>
              </a:r>
              <a:r>
                <a:rPr lang="en-US" sz="1100" dirty="0" smtClean="0">
                  <a:cs typeface="Arial"/>
                </a:rPr>
                <a:t>2.5 million </a:t>
              </a:r>
              <a:r>
                <a:rPr lang="en-US" sz="1100" dirty="0">
                  <a:cs typeface="Arial"/>
                </a:rPr>
                <a:t>farm households, through strategic country support and government engagement coupled with a set of targeted catalytic downstream and systemic investments made through its alliance of </a:t>
              </a:r>
              <a:r>
                <a:rPr lang="en-US" sz="1100" dirty="0" smtClean="0">
                  <a:cs typeface="Arial"/>
                </a:rPr>
                <a:t>partners</a:t>
              </a:r>
              <a:r>
                <a:rPr lang="en-US" sz="1100" dirty="0" smtClean="0">
                  <a:cs typeface="Arial" panose="020B0604020202020204" pitchFamily="34" charset="0"/>
                </a:rPr>
                <a:t>. F</a:t>
              </a:r>
              <a:r>
                <a:rPr lang="en-US" sz="1100" dirty="0" smtClean="0">
                  <a:solidFill>
                    <a:schemeClr val="tx1"/>
                  </a:solidFill>
                  <a:cs typeface="Arial" panose="020B0604020202020204" pitchFamily="34" charset="0"/>
                </a:rPr>
                <a:t>ocus areas:</a:t>
              </a:r>
            </a:p>
            <a:p>
              <a:pPr marL="171450" indent="-171450" defTabSz="844083" fontAlgn="base">
                <a:buFont typeface="Arial" panose="020B0604020202020204" pitchFamily="34" charset="0"/>
                <a:buChar char="•"/>
                <a:defRPr/>
              </a:pPr>
              <a:r>
                <a:rPr lang="en-US" sz="1100" dirty="0"/>
                <a:t>Input systems </a:t>
              </a:r>
              <a:r>
                <a:rPr lang="en-US" sz="1100" dirty="0" smtClean="0"/>
                <a:t>(seeds and fertilizers)</a:t>
              </a:r>
            </a:p>
            <a:p>
              <a:pPr marL="171450" indent="-171450" defTabSz="844083" fontAlgn="base">
                <a:buFont typeface="Arial" panose="020B0604020202020204" pitchFamily="34" charset="0"/>
                <a:buChar char="•"/>
                <a:defRPr/>
              </a:pPr>
              <a:r>
                <a:rPr lang="en-US" sz="1100" dirty="0" smtClean="0"/>
                <a:t>Markets and agro dealer development</a:t>
              </a:r>
              <a:endParaRPr lang="en-US" sz="1100" dirty="0"/>
            </a:p>
            <a:p>
              <a:pPr marL="171450" indent="-171450" defTabSz="844083" fontAlgn="base">
                <a:buFont typeface="Arial" panose="020B0604020202020204" pitchFamily="34" charset="0"/>
                <a:buChar char="•"/>
                <a:defRPr/>
              </a:pPr>
              <a:r>
                <a:rPr lang="en-US" sz="1100" dirty="0" smtClean="0">
                  <a:solidFill>
                    <a:srgbClr val="FF0000"/>
                  </a:solidFill>
                </a:rPr>
                <a:t>Agro-industrialization </a:t>
              </a:r>
              <a:r>
                <a:rPr lang="en-US" sz="1100" dirty="0" smtClean="0"/>
                <a:t>Flagship</a:t>
              </a:r>
              <a:endParaRPr lang="en-US" sz="1100" dirty="0"/>
            </a:p>
            <a:p>
              <a:pPr marL="171450" indent="-171450" defTabSz="844083" fontAlgn="base">
                <a:buFont typeface="Arial" panose="020B0604020202020204" pitchFamily="34" charset="0"/>
                <a:buChar char="•"/>
                <a:defRPr/>
              </a:pPr>
              <a:r>
                <a:rPr lang="en-US" sz="1100" dirty="0" smtClean="0"/>
                <a:t>Mechanization </a:t>
              </a:r>
            </a:p>
            <a:p>
              <a:pPr marL="171450" indent="-171450" defTabSz="844083" fontAlgn="base">
                <a:buFont typeface="Arial" panose="020B0604020202020204" pitchFamily="34" charset="0"/>
                <a:buChar char="•"/>
                <a:defRPr/>
              </a:pPr>
              <a:r>
                <a:rPr lang="en-US" sz="1100" dirty="0" smtClean="0">
                  <a:solidFill>
                    <a:srgbClr val="FF0000"/>
                  </a:solidFill>
                </a:rPr>
                <a:t>Access to finance</a:t>
              </a:r>
              <a:endParaRPr lang="en-US" sz="1100" dirty="0">
                <a:solidFill>
                  <a:srgbClr val="FF0000"/>
                </a:solidFill>
              </a:endParaRPr>
            </a:p>
            <a:p>
              <a:pPr marL="171450" indent="-171450" defTabSz="844083" fontAlgn="base">
                <a:buFont typeface="Arial" panose="020B0604020202020204" pitchFamily="34" charset="0"/>
                <a:buChar char="•"/>
                <a:defRPr/>
              </a:pPr>
              <a:r>
                <a:rPr lang="en-US" sz="1100" dirty="0" smtClean="0"/>
                <a:t>Extension services</a:t>
              </a:r>
            </a:p>
            <a:p>
              <a:pPr marL="171450" indent="-171450" defTabSz="844083" fontAlgn="base">
                <a:buFont typeface="Arial" panose="020B0604020202020204" pitchFamily="34" charset="0"/>
                <a:buChar char="•"/>
                <a:defRPr/>
              </a:pPr>
              <a:r>
                <a:rPr lang="en-US" sz="1100" dirty="0" smtClean="0"/>
                <a:t>Enabling environment</a:t>
              </a:r>
            </a:p>
            <a:p>
              <a:pPr marL="171450" indent="-171450" defTabSz="844083" fontAlgn="base">
                <a:buFont typeface="Arial" panose="020B0604020202020204" pitchFamily="34" charset="0"/>
                <a:buChar char="•"/>
                <a:defRPr/>
              </a:pPr>
              <a:r>
                <a:rPr lang="en-US" sz="1100" dirty="0" smtClean="0"/>
                <a:t>Maize</a:t>
              </a:r>
              <a:r>
                <a:rPr lang="en-US" sz="1100" dirty="0"/>
                <a:t>, </a:t>
              </a:r>
              <a:r>
                <a:rPr lang="en-US" sz="1100" dirty="0" smtClean="0"/>
                <a:t>rice, beans, cassava </a:t>
              </a:r>
              <a:r>
                <a:rPr lang="en-US" sz="1100" dirty="0"/>
                <a:t>and potatoes).</a:t>
              </a:r>
              <a:endParaRPr lang="en-ZA" sz="1100" dirty="0"/>
            </a:p>
          </p:txBody>
        </p:sp>
        <p:grpSp>
          <p:nvGrpSpPr>
            <p:cNvPr id="6" name="Group 5"/>
            <p:cNvGrpSpPr/>
            <p:nvPr/>
          </p:nvGrpSpPr>
          <p:grpSpPr>
            <a:xfrm>
              <a:off x="4298730" y="1827754"/>
              <a:ext cx="451947" cy="3122792"/>
              <a:chOff x="4650824" y="1827753"/>
              <a:chExt cx="451947" cy="3042746"/>
            </a:xfrm>
          </p:grpSpPr>
          <p:sp>
            <p:nvSpPr>
              <p:cNvPr id="5" name="Isosceles Triangle 4"/>
              <p:cNvSpPr/>
              <p:nvPr/>
            </p:nvSpPr>
            <p:spPr>
              <a:xfrm rot="16200000">
                <a:off x="4461531" y="2017048"/>
                <a:ext cx="830536" cy="451945"/>
              </a:xfrm>
              <a:prstGeom prst="triangle">
                <a:avLst>
                  <a:gd name="adj" fmla="val 47534"/>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100"/>
              </a:p>
            </p:txBody>
          </p:sp>
          <p:sp>
            <p:nvSpPr>
              <p:cNvPr id="11" name="Isosceles Triangle 10"/>
              <p:cNvSpPr/>
              <p:nvPr/>
            </p:nvSpPr>
            <p:spPr>
              <a:xfrm rot="5400000" flipH="1">
                <a:off x="4405629" y="4173359"/>
                <a:ext cx="942335" cy="45194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grpSp>
      </p:grpSp>
      <p:sp>
        <p:nvSpPr>
          <p:cNvPr id="14" name="Isosceles Triangle 13"/>
          <p:cNvSpPr/>
          <p:nvPr/>
        </p:nvSpPr>
        <p:spPr>
          <a:xfrm rot="10800000" flipH="1">
            <a:off x="2359571" y="5297409"/>
            <a:ext cx="4330262" cy="394687"/>
          </a:xfrm>
          <a:prstGeom prst="triangle">
            <a:avLst/>
          </a:prstGeom>
          <a:solidFill>
            <a:srgbClr val="00B050"/>
          </a:solidFill>
          <a:ln w="3175">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9" name="Rounded Rectangle 8"/>
          <p:cNvSpPr/>
          <p:nvPr/>
        </p:nvSpPr>
        <p:spPr>
          <a:xfrm>
            <a:off x="367863" y="5710264"/>
            <a:ext cx="8892802" cy="654339"/>
          </a:xfrm>
          <a:prstGeom prst="roundRect">
            <a:avLst/>
          </a:prstGeom>
          <a:solidFill>
            <a:srgbClr val="00B050"/>
          </a:solidFill>
        </p:spPr>
        <p:style>
          <a:lnRef idx="3">
            <a:schemeClr val="lt1"/>
          </a:lnRef>
          <a:fillRef idx="1">
            <a:schemeClr val="accent6"/>
          </a:fillRef>
          <a:effectRef idx="1">
            <a:schemeClr val="accent6"/>
          </a:effectRef>
          <a:fontRef idx="minor">
            <a:schemeClr val="lt1"/>
          </a:fontRef>
        </p:style>
        <p:txBody>
          <a:bodyPr rtlCol="0" anchor="ctr"/>
          <a:lstStyle/>
          <a:p>
            <a:pPr algn="ctr"/>
            <a:r>
              <a:rPr lang="en-US" sz="1100" dirty="0" smtClean="0"/>
              <a:t>Tanzania/AGRA Collaboration </a:t>
            </a:r>
          </a:p>
          <a:p>
            <a:pPr algn="ctr"/>
            <a:r>
              <a:rPr lang="en-US" sz="1100" dirty="0" smtClean="0"/>
              <a:t>Tanzania Agriculture Transformation</a:t>
            </a:r>
          </a:p>
          <a:p>
            <a:pPr algn="ctr"/>
            <a:r>
              <a:rPr lang="en-US" sz="1100" dirty="0" smtClean="0"/>
              <a:t>Improved Livelihoods for </a:t>
            </a:r>
            <a:r>
              <a:rPr lang="en-US" sz="1100" dirty="0" err="1" smtClean="0"/>
              <a:t>SHF’s</a:t>
            </a:r>
            <a:endParaRPr lang="en-US" sz="1100" dirty="0"/>
          </a:p>
        </p:txBody>
      </p:sp>
      <p:sp>
        <p:nvSpPr>
          <p:cNvPr id="10" name="TextBox 9"/>
          <p:cNvSpPr txBox="1"/>
          <p:nvPr/>
        </p:nvSpPr>
        <p:spPr>
          <a:xfrm>
            <a:off x="4199860" y="2941511"/>
            <a:ext cx="950209" cy="900246"/>
          </a:xfrm>
          <a:prstGeom prst="rect">
            <a:avLst/>
          </a:prstGeom>
          <a:noFill/>
        </p:spPr>
        <p:txBody>
          <a:bodyPr wrap="square" rtlCol="0">
            <a:spAutoFit/>
          </a:bodyPr>
          <a:lstStyle/>
          <a:p>
            <a:pPr algn="ctr"/>
            <a:r>
              <a:rPr lang="en-US" sz="1050" dirty="0" smtClean="0"/>
              <a:t>Tanzania Government Vison and AGRA Goal Alignment </a:t>
            </a:r>
            <a:endParaRPr lang="en-US" sz="1050" dirty="0"/>
          </a:p>
        </p:txBody>
      </p:sp>
    </p:spTree>
    <p:extLst>
      <p:ext uri="{BB962C8B-B14F-4D97-AF65-F5344CB8AC3E}">
        <p14:creationId xmlns:p14="http://schemas.microsoft.com/office/powerpoint/2010/main" val="261443715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4195195528"/>
              </p:ext>
            </p:extLst>
          </p:nvPr>
        </p:nvGraphicFramePr>
        <p:xfrm>
          <a:off x="382467" y="265237"/>
          <a:ext cx="1465" cy="1465"/>
        </p:xfrm>
        <a:graphic>
          <a:graphicData uri="http://schemas.openxmlformats.org/presentationml/2006/ole">
            <mc:AlternateContent xmlns:mc="http://schemas.openxmlformats.org/markup-compatibility/2006">
              <mc:Choice xmlns:v="urn:schemas-microsoft-com:vml" Requires="v">
                <p:oleObj spid="_x0000_s197773" name="think-cell Slide" r:id="rId6" imgW="416" imgH="416" progId="TCLayout.ActiveDocument.1">
                  <p:embed/>
                </p:oleObj>
              </mc:Choice>
              <mc:Fallback>
                <p:oleObj name="think-cell Slide" r:id="rId6" imgW="416" imgH="416" progId="TCLayout.ActiveDocument.1">
                  <p:embed/>
                  <p:pic>
                    <p:nvPicPr>
                      <p:cNvPr id="32" name="Object 31" hidden="1"/>
                      <p:cNvPicPr/>
                      <p:nvPr/>
                    </p:nvPicPr>
                    <p:blipFill>
                      <a:blip r:embed="rId7"/>
                      <a:stretch>
                        <a:fillRect/>
                      </a:stretch>
                    </p:blipFill>
                    <p:spPr>
                      <a:xfrm>
                        <a:off x="382467" y="265237"/>
                        <a:ext cx="1465" cy="1465"/>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6" name="Title 5"/>
          <p:cNvSpPr>
            <a:spLocks noGrp="1"/>
          </p:cNvSpPr>
          <p:nvPr>
            <p:ph type="title"/>
          </p:nvPr>
        </p:nvSpPr>
        <p:spPr>
          <a:xfrm>
            <a:off x="609600" y="96235"/>
            <a:ext cx="7391400" cy="584775"/>
          </a:xfrm>
        </p:spPr>
        <p:txBody>
          <a:bodyPr lIns="0" tIns="0" rIns="0" bIns="0" anchor="b"/>
          <a:lstStyle/>
          <a:p>
            <a:pPr defTabSz="914395">
              <a:lnSpc>
                <a:spcPct val="90000"/>
              </a:lnSpc>
              <a:spcBef>
                <a:spcPct val="0"/>
              </a:spcBef>
              <a:buClrTx/>
              <a:buFontTx/>
              <a:buNone/>
            </a:pPr>
            <a:r>
              <a:rPr lang="en-US" sz="2200" b="1" dirty="0" err="1" smtClean="0">
                <a:solidFill>
                  <a:schemeClr val="tx1"/>
                </a:solidFill>
                <a:latin typeface="Arial" panose="020B0604020202020204" pitchFamily="34" charset="0"/>
                <a:cs typeface="Arial" panose="020B0604020202020204" pitchFamily="34" charset="0"/>
              </a:rPr>
              <a:t>AGRA’s</a:t>
            </a:r>
            <a:r>
              <a:rPr lang="en-US" sz="2200" b="1" dirty="0" smtClean="0">
                <a:solidFill>
                  <a:schemeClr val="tx1"/>
                </a:solidFill>
                <a:latin typeface="Arial" panose="020B0604020202020204" pitchFamily="34" charset="0"/>
                <a:cs typeface="Arial" panose="020B0604020202020204" pitchFamily="34" charset="0"/>
              </a:rPr>
              <a:t> </a:t>
            </a:r>
            <a:r>
              <a:rPr lang="en-US" sz="2200" b="1" dirty="0">
                <a:solidFill>
                  <a:schemeClr val="tx1"/>
                </a:solidFill>
                <a:latin typeface="Arial" panose="020B0604020202020204" pitchFamily="34" charset="0"/>
                <a:cs typeface="Arial" panose="020B0604020202020204" pitchFamily="34" charset="0"/>
              </a:rPr>
              <a:t>funds </a:t>
            </a:r>
            <a:r>
              <a:rPr lang="en-US" sz="2200" b="1" dirty="0" smtClean="0">
                <a:solidFill>
                  <a:schemeClr val="tx1"/>
                </a:solidFill>
                <a:latin typeface="Arial" panose="020B0604020202020204" pitchFamily="34" charset="0"/>
                <a:cs typeface="Arial" panose="020B0604020202020204" pitchFamily="34" charset="0"/>
              </a:rPr>
              <a:t>alone are </a:t>
            </a:r>
            <a:r>
              <a:rPr lang="en-US" sz="2200" b="1" dirty="0">
                <a:solidFill>
                  <a:schemeClr val="tx1"/>
                </a:solidFill>
                <a:latin typeface="Arial" panose="020B0604020202020204" pitchFamily="34" charset="0"/>
                <a:cs typeface="Arial" panose="020B0604020202020204" pitchFamily="34" charset="0"/>
              </a:rPr>
              <a:t>insufficient to drive transformation in Tanzania</a:t>
            </a:r>
          </a:p>
        </p:txBody>
      </p:sp>
      <p:sp>
        <p:nvSpPr>
          <p:cNvPr id="8" name="Text Placeholder 7"/>
          <p:cNvSpPr>
            <a:spLocks noGrp="1"/>
          </p:cNvSpPr>
          <p:nvPr>
            <p:ph type="body" sz="quarter" idx="4294967295"/>
          </p:nvPr>
        </p:nvSpPr>
        <p:spPr>
          <a:xfrm>
            <a:off x="183793" y="5296713"/>
            <a:ext cx="8580438" cy="1184940"/>
          </a:xfrm>
        </p:spPr>
        <p:txBody>
          <a:bodyPr/>
          <a:lstStyle/>
          <a:p>
            <a:r>
              <a:rPr lang="en-US" sz="1100" dirty="0"/>
              <a:t>1: Figure not drawn to scale</a:t>
            </a:r>
          </a:p>
          <a:p>
            <a:r>
              <a:rPr lang="en-US" sz="1100" dirty="0"/>
              <a:t>2: Official Development Assistance (ODA) flows, Other Official Flows (OOFs) and Private Grant/Flows reported by donor countries, multinational organizations and private entities to OECD DAC Directorate for all purposes related to agriculture except forestry and general environment protection</a:t>
            </a:r>
          </a:p>
          <a:p>
            <a:r>
              <a:rPr lang="en-US" sz="1100" dirty="0"/>
              <a:t>3: FAOSTAT 2014 data flat-lined for 5 years</a:t>
            </a:r>
          </a:p>
          <a:p>
            <a:r>
              <a:rPr lang="en-US" sz="1100" dirty="0"/>
              <a:t>4: Exact estimates for private sector investment are unknown and therefore conceptual</a:t>
            </a:r>
          </a:p>
          <a:p>
            <a:r>
              <a:rPr lang="en-US" sz="1100" dirty="0"/>
              <a:t>SOURCE: FAOSTAT; </a:t>
            </a:r>
            <a:r>
              <a:rPr lang="en-US" sz="1100" dirty="0" err="1"/>
              <a:t>ReSAKKS</a:t>
            </a:r>
            <a:r>
              <a:rPr lang="en-US" sz="1100" dirty="0"/>
              <a:t>; AGRA analysis</a:t>
            </a:r>
          </a:p>
        </p:txBody>
      </p:sp>
      <p:sp>
        <p:nvSpPr>
          <p:cNvPr id="30" name="Rectangle 29"/>
          <p:cNvSpPr/>
          <p:nvPr/>
        </p:nvSpPr>
        <p:spPr>
          <a:xfrm>
            <a:off x="5636576" y="951295"/>
            <a:ext cx="3818087" cy="3831818"/>
          </a:xfrm>
          <a:prstGeom prst="rect">
            <a:avLst/>
          </a:prstGeom>
        </p:spPr>
        <p:txBody>
          <a:bodyPr wrap="square">
            <a:spAutoFit/>
          </a:bodyPr>
          <a:lstStyle/>
          <a:p>
            <a:pPr marL="263776" indent="-263776">
              <a:spcAft>
                <a:spcPts val="554"/>
              </a:spcAft>
              <a:buFont typeface="Arial" panose="020B0604020202020204" pitchFamily="34" charset="0"/>
              <a:buChar char="•"/>
            </a:pPr>
            <a:r>
              <a:rPr lang="en-US" sz="1200" dirty="0">
                <a:solidFill>
                  <a:schemeClr val="tx1"/>
                </a:solidFill>
                <a:ea typeface="MS Mincho" panose="02020609040205080304" pitchFamily="49" charset="-128"/>
                <a:cs typeface="Arial" panose="020B0604020202020204" pitchFamily="34" charset="0"/>
              </a:rPr>
              <a:t>AGRA estimates it will spend &lt;1% of total public funds to agriculture</a:t>
            </a:r>
          </a:p>
          <a:p>
            <a:pPr marL="263776" indent="-263776">
              <a:spcAft>
                <a:spcPts val="554"/>
              </a:spcAft>
              <a:buFont typeface="Arial" panose="020B0604020202020204" pitchFamily="34" charset="0"/>
              <a:buChar char="•"/>
            </a:pPr>
            <a:r>
              <a:rPr lang="en-US" sz="1200" dirty="0">
                <a:solidFill>
                  <a:schemeClr val="tx1"/>
                </a:solidFill>
                <a:ea typeface="MS Mincho" panose="02020609040205080304" pitchFamily="49" charset="-128"/>
                <a:cs typeface="Arial" panose="020B0604020202020204" pitchFamily="34" charset="0"/>
              </a:rPr>
              <a:t>AGRA’s strategic vision in Tanzania can only be achieved through strong partnerships with other players in Tanzania</a:t>
            </a:r>
          </a:p>
          <a:p>
            <a:pPr marL="263776" indent="-263776">
              <a:spcAft>
                <a:spcPts val="554"/>
              </a:spcAft>
              <a:buFont typeface="Arial" panose="020B0604020202020204" pitchFamily="34" charset="0"/>
              <a:buChar char="•"/>
            </a:pPr>
            <a:r>
              <a:rPr lang="en-US" sz="1200" dirty="0">
                <a:solidFill>
                  <a:schemeClr val="tx1"/>
                </a:solidFill>
                <a:ea typeface="MS Mincho" panose="02020609040205080304" pitchFamily="49" charset="-128"/>
                <a:cs typeface="Arial" panose="020B0604020202020204" pitchFamily="34" charset="0"/>
              </a:rPr>
              <a:t>AGRA will prioritize interventions that catalyze and complement funding committed by the Government and donors</a:t>
            </a:r>
          </a:p>
          <a:p>
            <a:pPr marL="263776" indent="-263776">
              <a:spcAft>
                <a:spcPts val="554"/>
              </a:spcAft>
              <a:buFont typeface="Arial" panose="020B0604020202020204" pitchFamily="34" charset="0"/>
              <a:buChar char="•"/>
            </a:pPr>
            <a:r>
              <a:rPr lang="en-US" sz="1200" dirty="0">
                <a:solidFill>
                  <a:schemeClr val="tx1"/>
                </a:solidFill>
                <a:ea typeface="MS Mincho" panose="02020609040205080304" pitchFamily="49" charset="-128"/>
                <a:cs typeface="Arial" panose="020B0604020202020204" pitchFamily="34" charset="0"/>
              </a:rPr>
              <a:t>AGRA is committed to:</a:t>
            </a:r>
          </a:p>
          <a:p>
            <a:pPr marL="685817" lvl="1" indent="-263776">
              <a:spcAft>
                <a:spcPts val="554"/>
              </a:spcAft>
              <a:buFont typeface="Calibri" panose="020F0502020204030204" pitchFamily="34" charset="0"/>
              <a:buChar char="‒"/>
            </a:pPr>
            <a:r>
              <a:rPr lang="en-US" sz="1200" dirty="0">
                <a:solidFill>
                  <a:schemeClr val="tx1"/>
                </a:solidFill>
                <a:ea typeface="MS Mincho" panose="02020609040205080304" pitchFamily="49" charset="-128"/>
                <a:cs typeface="Arial" panose="020B0604020202020204" pitchFamily="34" charset="0"/>
              </a:rPr>
              <a:t>Alignment with Government priorities and programs</a:t>
            </a:r>
          </a:p>
          <a:p>
            <a:pPr marL="685817" lvl="1" indent="-263776">
              <a:spcAft>
                <a:spcPts val="554"/>
              </a:spcAft>
              <a:buFont typeface="Calibri" panose="020F0502020204030204" pitchFamily="34" charset="0"/>
              <a:buChar char="‒"/>
            </a:pPr>
            <a:r>
              <a:rPr lang="en-US" sz="1200" dirty="0">
                <a:solidFill>
                  <a:schemeClr val="tx1"/>
                </a:solidFill>
                <a:ea typeface="MS Mincho" panose="02020609040205080304" pitchFamily="49" charset="-128"/>
                <a:cs typeface="Arial" panose="020B0604020202020204" pitchFamily="34" charset="0"/>
              </a:rPr>
              <a:t>Boosting government capacity for strategic planning and implementation</a:t>
            </a:r>
          </a:p>
          <a:p>
            <a:pPr marL="685817" lvl="1" indent="-263776">
              <a:spcAft>
                <a:spcPts val="554"/>
              </a:spcAft>
              <a:buFont typeface="Calibri" panose="020F0502020204030204" pitchFamily="34" charset="0"/>
              <a:buChar char="‒"/>
            </a:pPr>
            <a:r>
              <a:rPr lang="en-US" sz="1200" dirty="0">
                <a:solidFill>
                  <a:schemeClr val="tx1"/>
                </a:solidFill>
                <a:ea typeface="MS Mincho" panose="02020609040205080304" pitchFamily="49" charset="-128"/>
                <a:cs typeface="Arial" panose="020B0604020202020204" pitchFamily="34" charset="0"/>
              </a:rPr>
              <a:t>Participating in and supporting government coordinating mechanisms</a:t>
            </a:r>
          </a:p>
          <a:p>
            <a:pPr marL="685817" lvl="1" indent="-263776">
              <a:spcAft>
                <a:spcPts val="554"/>
              </a:spcAft>
              <a:buFont typeface="Calibri" panose="020F0502020204030204" pitchFamily="34" charset="0"/>
              <a:buChar char="‒"/>
            </a:pPr>
            <a:r>
              <a:rPr lang="en-US" sz="1200" dirty="0">
                <a:solidFill>
                  <a:schemeClr val="tx1"/>
                </a:solidFill>
                <a:ea typeface="MS Mincho" panose="02020609040205080304" pitchFamily="49" charset="-128"/>
                <a:cs typeface="Arial" panose="020B0604020202020204" pitchFamily="34" charset="0"/>
              </a:rPr>
              <a:t>Catalytic system investments to scale known models and technologies </a:t>
            </a:r>
          </a:p>
        </p:txBody>
      </p:sp>
      <p:sp>
        <p:nvSpPr>
          <p:cNvPr id="34" name="Rectangle 33"/>
          <p:cNvSpPr/>
          <p:nvPr/>
        </p:nvSpPr>
        <p:spPr>
          <a:xfrm>
            <a:off x="731228" y="949969"/>
            <a:ext cx="5065834" cy="307777"/>
          </a:xfrm>
          <a:prstGeom prst="rect">
            <a:avLst/>
          </a:prstGeom>
        </p:spPr>
        <p:txBody>
          <a:bodyPr wrap="square">
            <a:spAutoFit/>
          </a:bodyPr>
          <a:lstStyle/>
          <a:p>
            <a:pPr>
              <a:spcAft>
                <a:spcPts val="554"/>
              </a:spcAft>
            </a:pPr>
            <a:r>
              <a:rPr lang="en-GB" b="1" dirty="0">
                <a:latin typeface="+mn-lt"/>
                <a:ea typeface="MS Mincho" panose="02020609040205080304" pitchFamily="49" charset="-128"/>
                <a:cs typeface="Arial" panose="020B0604020202020204" pitchFamily="34" charset="0"/>
              </a:rPr>
              <a:t>Proposed expenditure and investments</a:t>
            </a:r>
            <a:r>
              <a:rPr lang="en-GB" b="1" baseline="30000" dirty="0">
                <a:latin typeface="+mn-lt"/>
                <a:ea typeface="MS Mincho" panose="02020609040205080304" pitchFamily="49" charset="-128"/>
                <a:cs typeface="Arial" panose="020B0604020202020204" pitchFamily="34" charset="0"/>
              </a:rPr>
              <a:t>1</a:t>
            </a:r>
            <a:endParaRPr lang="en-US" b="1" baseline="30000" dirty="0">
              <a:latin typeface="+mn-lt"/>
              <a:ea typeface="MS Mincho" panose="02020609040205080304" pitchFamily="49" charset="-128"/>
              <a:cs typeface="Arial" panose="020B0604020202020204" pitchFamily="34" charset="0"/>
            </a:endParaRPr>
          </a:p>
        </p:txBody>
      </p:sp>
      <p:cxnSp>
        <p:nvCxnSpPr>
          <p:cNvPr id="35" name="Straight Connector 34"/>
          <p:cNvCxnSpPr/>
          <p:nvPr/>
        </p:nvCxnSpPr>
        <p:spPr>
          <a:xfrm flipV="1">
            <a:off x="803031" y="1317587"/>
            <a:ext cx="44805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flipV="1">
            <a:off x="544239" y="1458265"/>
            <a:ext cx="4994031" cy="3647551"/>
            <a:chOff x="304800" y="1524000"/>
            <a:chExt cx="5714999" cy="4256314"/>
          </a:xfrm>
        </p:grpSpPr>
        <p:sp>
          <p:nvSpPr>
            <p:cNvPr id="19" name="Freeform 10"/>
            <p:cNvSpPr>
              <a:spLocks/>
            </p:cNvSpPr>
            <p:nvPr/>
          </p:nvSpPr>
          <p:spPr bwMode="blackWhite">
            <a:xfrm rot="10800000">
              <a:off x="2185598" y="4293006"/>
              <a:ext cx="1967301" cy="1487308"/>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39" h="839">
                  <a:moveTo>
                    <a:pt x="0" y="838"/>
                  </a:moveTo>
                  <a:lnTo>
                    <a:pt x="938" y="838"/>
                  </a:lnTo>
                  <a:lnTo>
                    <a:pt x="469" y="0"/>
                  </a:lnTo>
                  <a:lnTo>
                    <a:pt x="0" y="838"/>
                  </a:lnTo>
                </a:path>
              </a:pathLst>
            </a:custGeom>
            <a:solidFill>
              <a:schemeClr val="accent6">
                <a:lumMod val="60000"/>
                <a:lumOff val="40000"/>
              </a:schemeClr>
            </a:solidFill>
            <a:ln w="9525" cap="rnd" cmpd="sng">
              <a:solidFill>
                <a:schemeClr val="bg1"/>
              </a:solidFill>
              <a:prstDash val="solid"/>
              <a:round/>
              <a:headEnd type="none" w="sm" len="sm"/>
              <a:tailEnd type="none" w="sm" len="sm"/>
            </a:ln>
            <a:effectLst/>
          </p:spPr>
          <p:txBody>
            <a:bodyPr/>
            <a:lstStyle/>
            <a:p>
              <a:endParaRPr lang="en-US" sz="1292" dirty="0">
                <a:solidFill>
                  <a:schemeClr val="tx1"/>
                </a:solidFill>
                <a:latin typeface="Calibri" charset="0"/>
                <a:ea typeface="Calibri" charset="0"/>
                <a:cs typeface="Calibri" charset="0"/>
              </a:endParaRPr>
            </a:p>
          </p:txBody>
        </p:sp>
        <p:sp>
          <p:nvSpPr>
            <p:cNvPr id="20" name="Freeform 9"/>
            <p:cNvSpPr>
              <a:spLocks/>
            </p:cNvSpPr>
            <p:nvPr/>
          </p:nvSpPr>
          <p:spPr bwMode="blackWhite">
            <a:xfrm rot="10800000">
              <a:off x="304800" y="1524000"/>
              <a:ext cx="5714999" cy="862393"/>
            </a:xfrm>
            <a:custGeom>
              <a:avLst/>
              <a:gdLst>
                <a:gd name="T0" fmla="*/ 291953 w 2676"/>
                <a:gd name="T1" fmla="*/ 0 h 484"/>
                <a:gd name="T2" fmla="*/ 0 w 2676"/>
                <a:gd name="T3" fmla="*/ 472098 h 484"/>
                <a:gd name="T4" fmla="*/ 2881823 w 2676"/>
                <a:gd name="T5" fmla="*/ 472098 h 484"/>
                <a:gd name="T6" fmla="*/ 2589870 w 2676"/>
                <a:gd name="T7" fmla="*/ 0 h 484"/>
                <a:gd name="T8" fmla="*/ 291953 w 2676"/>
                <a:gd name="T9" fmla="*/ 0 h 48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76" h="484">
                  <a:moveTo>
                    <a:pt x="271" y="0"/>
                  </a:moveTo>
                  <a:lnTo>
                    <a:pt x="0" y="483"/>
                  </a:lnTo>
                  <a:lnTo>
                    <a:pt x="2675" y="483"/>
                  </a:lnTo>
                  <a:lnTo>
                    <a:pt x="2404" y="0"/>
                  </a:lnTo>
                  <a:lnTo>
                    <a:pt x="271" y="0"/>
                  </a:lnTo>
                </a:path>
              </a:pathLst>
            </a:custGeom>
            <a:solidFill>
              <a:schemeClr val="accent6">
                <a:lumMod val="60000"/>
                <a:lumOff val="40000"/>
              </a:schemeClr>
            </a:solidFill>
            <a:ln w="9525" cap="rnd" cmpd="sng">
              <a:solidFill>
                <a:schemeClr val="bg1"/>
              </a:solidFill>
              <a:prstDash val="solid"/>
              <a:round/>
              <a:headEnd type="none" w="sm" len="sm"/>
              <a:tailEnd type="none" w="sm" len="sm"/>
            </a:ln>
            <a:effectLst/>
            <a:extLst/>
          </p:spPr>
          <p:txBody>
            <a:bodyPr/>
            <a:lstStyle/>
            <a:p>
              <a:endParaRPr lang="en-US" sz="1292" b="1" dirty="0">
                <a:solidFill>
                  <a:schemeClr val="tx1"/>
                </a:solidFill>
                <a:latin typeface="Calibri" charset="0"/>
                <a:ea typeface="Calibri" charset="0"/>
                <a:cs typeface="Calibri" charset="0"/>
              </a:endParaRPr>
            </a:p>
          </p:txBody>
        </p:sp>
        <p:sp>
          <p:nvSpPr>
            <p:cNvPr id="21" name="Freeform 11"/>
            <p:cNvSpPr>
              <a:spLocks/>
            </p:cNvSpPr>
            <p:nvPr/>
          </p:nvSpPr>
          <p:spPr bwMode="blackWhite">
            <a:xfrm rot="10800000">
              <a:off x="1522697" y="3335606"/>
              <a:ext cx="3279201" cy="949212"/>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36" h="533">
                  <a:moveTo>
                    <a:pt x="0" y="532"/>
                  </a:moveTo>
                  <a:lnTo>
                    <a:pt x="1535" y="532"/>
                  </a:lnTo>
                  <a:lnTo>
                    <a:pt x="1237" y="0"/>
                  </a:lnTo>
                  <a:lnTo>
                    <a:pt x="299" y="0"/>
                  </a:lnTo>
                  <a:lnTo>
                    <a:pt x="0" y="532"/>
                  </a:lnTo>
                </a:path>
              </a:pathLst>
            </a:custGeom>
            <a:solidFill>
              <a:schemeClr val="accent6">
                <a:lumMod val="60000"/>
                <a:lumOff val="40000"/>
              </a:schemeClr>
            </a:solidFill>
            <a:ln w="9525" cap="rnd" cmpd="sng">
              <a:solidFill>
                <a:schemeClr val="bg1"/>
              </a:solidFill>
              <a:prstDash val="solid"/>
              <a:round/>
              <a:headEnd type="none" w="sm" len="sm"/>
              <a:tailEnd type="none" w="sm" len="sm"/>
            </a:ln>
            <a:effectLst/>
          </p:spPr>
          <p:txBody>
            <a:bodyPr/>
            <a:lstStyle/>
            <a:p>
              <a:endParaRPr lang="en-US" sz="1292" b="1" dirty="0">
                <a:solidFill>
                  <a:schemeClr val="tx1"/>
                </a:solidFill>
                <a:latin typeface="Calibri" charset="0"/>
                <a:ea typeface="Calibri" charset="0"/>
                <a:cs typeface="Calibri" charset="0"/>
              </a:endParaRPr>
            </a:p>
          </p:txBody>
        </p:sp>
        <p:sp>
          <p:nvSpPr>
            <p:cNvPr id="23" name="Freeform 12"/>
            <p:cNvSpPr>
              <a:spLocks/>
            </p:cNvSpPr>
            <p:nvPr/>
          </p:nvSpPr>
          <p:spPr bwMode="blackWhite">
            <a:xfrm rot="10800000">
              <a:off x="883853" y="2383500"/>
              <a:ext cx="4556894" cy="955000"/>
            </a:xfrm>
            <a:custGeom>
              <a:avLst/>
              <a:gdLst>
                <a:gd name="T0" fmla="*/ 322077 w 2134"/>
                <a:gd name="T1" fmla="*/ 0 h 535"/>
                <a:gd name="T2" fmla="*/ 0 w 2134"/>
                <a:gd name="T3" fmla="*/ 522896 h 535"/>
                <a:gd name="T4" fmla="*/ 2297623 w 2134"/>
                <a:gd name="T5" fmla="*/ 522896 h 535"/>
                <a:gd name="T6" fmla="*/ 1975546 w 2134"/>
                <a:gd name="T7" fmla="*/ 0 h 535"/>
                <a:gd name="T8" fmla="*/ 322077 w 2134"/>
                <a:gd name="T9" fmla="*/ 0 h 5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34" h="535">
                  <a:moveTo>
                    <a:pt x="299" y="0"/>
                  </a:moveTo>
                  <a:lnTo>
                    <a:pt x="0" y="534"/>
                  </a:lnTo>
                  <a:lnTo>
                    <a:pt x="2133" y="534"/>
                  </a:lnTo>
                  <a:lnTo>
                    <a:pt x="1834" y="0"/>
                  </a:lnTo>
                  <a:lnTo>
                    <a:pt x="299" y="0"/>
                  </a:lnTo>
                </a:path>
              </a:pathLst>
            </a:custGeom>
            <a:solidFill>
              <a:schemeClr val="accent6">
                <a:lumMod val="60000"/>
                <a:lumOff val="40000"/>
              </a:schemeClr>
            </a:solidFill>
            <a:ln w="9525" cap="rnd" cmpd="sng">
              <a:solidFill>
                <a:schemeClr val="bg1"/>
              </a:solidFill>
              <a:prstDash val="solid"/>
              <a:round/>
              <a:headEnd type="none" w="sm" len="sm"/>
              <a:tailEnd type="none" w="sm" len="sm"/>
            </a:ln>
            <a:effectLst/>
            <a:extLst/>
          </p:spPr>
          <p:txBody>
            <a:bodyPr/>
            <a:lstStyle/>
            <a:p>
              <a:endParaRPr lang="en-US" sz="1292" b="1" dirty="0">
                <a:solidFill>
                  <a:schemeClr val="tx1"/>
                </a:solidFill>
                <a:latin typeface="Calibri" charset="0"/>
                <a:ea typeface="Calibri" charset="0"/>
                <a:cs typeface="Calibri" charset="0"/>
              </a:endParaRPr>
            </a:p>
          </p:txBody>
        </p:sp>
        <p:sp>
          <p:nvSpPr>
            <p:cNvPr id="36" name="Rectangle 13"/>
            <p:cNvSpPr>
              <a:spLocks noChangeArrowheads="1"/>
            </p:cNvSpPr>
            <p:nvPr/>
          </p:nvSpPr>
          <p:spPr bwMode="auto">
            <a:xfrm rot="10800000">
              <a:off x="2589540" y="4390083"/>
              <a:ext cx="1145518" cy="716491"/>
            </a:xfrm>
            <a:prstGeom prst="rect">
              <a:avLst/>
            </a:prstGeom>
            <a:noFill/>
            <a:ln>
              <a:noFill/>
            </a:ln>
            <a:effectLst/>
            <a:extLst>
              <a:ext uri="{91240B29-F687-4F45-9708-019B960494DF}">
                <a14:hiddenLine xmlns:a14="http://schemas.microsoft.com/office/drawing/2010/main" w="9525">
                  <a:solidFill>
                    <a:srgbClr val="0033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nchorCtr="1">
              <a:spAutoFit/>
            </a:bodyPr>
            <a:lstStyle>
              <a:lvl1pPr defTabSz="787400">
                <a:lnSpc>
                  <a:spcPct val="106000"/>
                </a:lnSpc>
                <a:spcBef>
                  <a:spcPct val="80000"/>
                </a:spcBef>
                <a:buClr>
                  <a:schemeClr val="tx1"/>
                </a:buClr>
                <a:buFont typeface="Wingdings 2" charset="2"/>
                <a:buChar char="¡"/>
                <a:defRPr sz="1200">
                  <a:solidFill>
                    <a:schemeClr val="tx1"/>
                  </a:solidFill>
                  <a:latin typeface="Arial" charset="0"/>
                </a:defRPr>
              </a:lvl1pPr>
              <a:lvl2pPr marL="133350" indent="-131763" defTabSz="787400">
                <a:lnSpc>
                  <a:spcPct val="106000"/>
                </a:lnSpc>
                <a:spcBef>
                  <a:spcPct val="80000"/>
                </a:spcBef>
                <a:buClr>
                  <a:schemeClr val="tx1"/>
                </a:buClr>
                <a:buFont typeface="Arial" charset="0"/>
                <a:buChar char="–"/>
                <a:defRPr sz="1200">
                  <a:solidFill>
                    <a:schemeClr val="tx1"/>
                  </a:solidFill>
                  <a:latin typeface="Arial" charset="0"/>
                </a:defRPr>
              </a:lvl2pPr>
              <a:lvl3pPr marL="301625" indent="-150813" defTabSz="787400">
                <a:lnSpc>
                  <a:spcPct val="106000"/>
                </a:lnSpc>
                <a:spcBef>
                  <a:spcPct val="40000"/>
                </a:spcBef>
                <a:buClr>
                  <a:schemeClr val="tx1"/>
                </a:buClr>
                <a:buFont typeface="Wingdings" charset="2"/>
                <a:buChar char="§"/>
                <a:defRPr sz="1200">
                  <a:solidFill>
                    <a:schemeClr val="tx1"/>
                  </a:solidFill>
                  <a:latin typeface="Arial" charset="0"/>
                </a:defRPr>
              </a:lvl3pPr>
              <a:lvl4pPr marL="439738" indent="-136525" defTabSz="787400">
                <a:lnSpc>
                  <a:spcPct val="110000"/>
                </a:lnSpc>
                <a:spcBef>
                  <a:spcPct val="20000"/>
                </a:spcBef>
                <a:buClr>
                  <a:schemeClr val="tx1"/>
                </a:buClr>
                <a:buFont typeface="Arial" charset="0"/>
                <a:buChar char="–"/>
                <a:defRPr sz="1200">
                  <a:solidFill>
                    <a:schemeClr val="tx1"/>
                  </a:solidFill>
                  <a:latin typeface="Arial" charset="0"/>
                </a:defRPr>
              </a:lvl4pPr>
              <a:lvl5pPr marL="603250" indent="-142875" defTabSz="787400">
                <a:spcBef>
                  <a:spcPct val="20000"/>
                </a:spcBef>
                <a:buClr>
                  <a:schemeClr val="tx1"/>
                </a:buClr>
                <a:buFont typeface="Wingdings" charset="2"/>
                <a:buChar char="§"/>
                <a:defRPr sz="1200">
                  <a:solidFill>
                    <a:schemeClr val="tx1"/>
                  </a:solidFill>
                  <a:latin typeface="Arial" charset="0"/>
                </a:defRPr>
              </a:lvl5pPr>
              <a:lvl6pPr marL="10604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6pPr>
              <a:lvl7pPr marL="15176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7pPr>
              <a:lvl8pPr marL="19748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8pPr>
              <a:lvl9pPr marL="24320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9pPr>
            </a:lstStyle>
            <a:p>
              <a:pPr algn="ctr">
                <a:lnSpc>
                  <a:spcPct val="95000"/>
                </a:lnSpc>
                <a:spcBef>
                  <a:spcPts val="0"/>
                </a:spcBef>
                <a:buNone/>
              </a:pPr>
              <a:r>
                <a:rPr lang="en-AU" altLang="en-US" sz="1400" b="1" dirty="0">
                  <a:latin typeface="Calibri" charset="0"/>
                  <a:ea typeface="Calibri" charset="0"/>
                  <a:cs typeface="Calibri" charset="0"/>
                </a:rPr>
                <a:t>AGRA</a:t>
              </a:r>
            </a:p>
            <a:p>
              <a:pPr algn="ctr">
                <a:lnSpc>
                  <a:spcPct val="95000"/>
                </a:lnSpc>
                <a:spcBef>
                  <a:spcPts val="0"/>
                </a:spcBef>
                <a:buNone/>
              </a:pPr>
              <a:r>
                <a:rPr lang="en-AU" altLang="en-US" sz="1400" b="1" dirty="0">
                  <a:latin typeface="Calibri" charset="0"/>
                  <a:ea typeface="Calibri" charset="0"/>
                  <a:cs typeface="Calibri" charset="0"/>
                </a:rPr>
                <a:t>$28 million (annual avg.)</a:t>
              </a:r>
            </a:p>
          </p:txBody>
        </p:sp>
        <p:sp>
          <p:nvSpPr>
            <p:cNvPr id="37" name="Rectangle 14"/>
            <p:cNvSpPr>
              <a:spLocks noChangeArrowheads="1"/>
            </p:cNvSpPr>
            <p:nvPr/>
          </p:nvSpPr>
          <p:spPr bwMode="auto">
            <a:xfrm rot="10800000">
              <a:off x="1933388" y="3530058"/>
              <a:ext cx="2457827" cy="477661"/>
            </a:xfrm>
            <a:prstGeom prst="rect">
              <a:avLst/>
            </a:prstGeom>
            <a:noFill/>
            <a:ln>
              <a:noFill/>
            </a:ln>
            <a:effectLst/>
            <a:extLst>
              <a:ext uri="{91240B29-F687-4F45-9708-019B960494DF}">
                <a14:hiddenLine xmlns:a14="http://schemas.microsoft.com/office/drawing/2010/main" w="9525">
                  <a:solidFill>
                    <a:srgbClr val="0033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nchorCtr="1">
              <a:spAutoFit/>
            </a:bodyPr>
            <a:lstStyle>
              <a:lvl1pPr defTabSz="787400">
                <a:lnSpc>
                  <a:spcPct val="106000"/>
                </a:lnSpc>
                <a:spcBef>
                  <a:spcPct val="80000"/>
                </a:spcBef>
                <a:buClr>
                  <a:schemeClr val="tx1"/>
                </a:buClr>
                <a:buFont typeface="Wingdings 2" charset="2"/>
                <a:buChar char="¡"/>
                <a:defRPr sz="1200">
                  <a:solidFill>
                    <a:schemeClr val="tx1"/>
                  </a:solidFill>
                  <a:latin typeface="Arial" charset="0"/>
                </a:defRPr>
              </a:lvl1pPr>
              <a:lvl2pPr marL="133350" indent="-131763" defTabSz="787400">
                <a:lnSpc>
                  <a:spcPct val="106000"/>
                </a:lnSpc>
                <a:spcBef>
                  <a:spcPct val="80000"/>
                </a:spcBef>
                <a:buClr>
                  <a:schemeClr val="tx1"/>
                </a:buClr>
                <a:buFont typeface="Arial" charset="0"/>
                <a:buChar char="–"/>
                <a:defRPr sz="1200">
                  <a:solidFill>
                    <a:schemeClr val="tx1"/>
                  </a:solidFill>
                  <a:latin typeface="Arial" charset="0"/>
                </a:defRPr>
              </a:lvl2pPr>
              <a:lvl3pPr marL="301625" indent="-150813" defTabSz="787400">
                <a:lnSpc>
                  <a:spcPct val="106000"/>
                </a:lnSpc>
                <a:spcBef>
                  <a:spcPct val="40000"/>
                </a:spcBef>
                <a:buClr>
                  <a:schemeClr val="tx1"/>
                </a:buClr>
                <a:buFont typeface="Wingdings" charset="2"/>
                <a:buChar char="§"/>
                <a:defRPr sz="1200">
                  <a:solidFill>
                    <a:schemeClr val="tx1"/>
                  </a:solidFill>
                  <a:latin typeface="Arial" charset="0"/>
                </a:defRPr>
              </a:lvl3pPr>
              <a:lvl4pPr marL="439738" indent="-136525" defTabSz="787400">
                <a:lnSpc>
                  <a:spcPct val="110000"/>
                </a:lnSpc>
                <a:spcBef>
                  <a:spcPct val="20000"/>
                </a:spcBef>
                <a:buClr>
                  <a:schemeClr val="tx1"/>
                </a:buClr>
                <a:buFont typeface="Arial" charset="0"/>
                <a:buChar char="–"/>
                <a:defRPr sz="1200">
                  <a:solidFill>
                    <a:schemeClr val="tx1"/>
                  </a:solidFill>
                  <a:latin typeface="Arial" charset="0"/>
                </a:defRPr>
              </a:lvl4pPr>
              <a:lvl5pPr marL="603250" indent="-142875" defTabSz="787400">
                <a:spcBef>
                  <a:spcPct val="20000"/>
                </a:spcBef>
                <a:buClr>
                  <a:schemeClr val="tx1"/>
                </a:buClr>
                <a:buFont typeface="Wingdings" charset="2"/>
                <a:buChar char="§"/>
                <a:defRPr sz="1200">
                  <a:solidFill>
                    <a:schemeClr val="tx1"/>
                  </a:solidFill>
                  <a:latin typeface="Arial" charset="0"/>
                </a:defRPr>
              </a:lvl5pPr>
              <a:lvl6pPr marL="10604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6pPr>
              <a:lvl7pPr marL="15176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7pPr>
              <a:lvl8pPr marL="19748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8pPr>
              <a:lvl9pPr marL="24320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9pPr>
            </a:lstStyle>
            <a:p>
              <a:pPr algn="ctr">
                <a:lnSpc>
                  <a:spcPct val="95000"/>
                </a:lnSpc>
                <a:spcBef>
                  <a:spcPts val="0"/>
                </a:spcBef>
                <a:buNone/>
              </a:pPr>
              <a:r>
                <a:rPr lang="en-AU" altLang="en-US" sz="1400" b="1" dirty="0">
                  <a:latin typeface="Calibri" charset="0"/>
                  <a:ea typeface="Calibri" charset="0"/>
                  <a:cs typeface="Calibri" charset="0"/>
                </a:rPr>
                <a:t>Private sector investment</a:t>
              </a:r>
              <a:endParaRPr lang="en-AU" altLang="en-US" sz="1400" b="1" baseline="30000" dirty="0">
                <a:latin typeface="Calibri" charset="0"/>
                <a:ea typeface="Calibri" charset="0"/>
                <a:cs typeface="Calibri" charset="0"/>
              </a:endParaRPr>
            </a:p>
            <a:p>
              <a:pPr algn="ctr">
                <a:lnSpc>
                  <a:spcPct val="95000"/>
                </a:lnSpc>
                <a:spcBef>
                  <a:spcPts val="0"/>
                </a:spcBef>
                <a:buNone/>
              </a:pPr>
              <a:r>
                <a:rPr lang="en-AU" altLang="en-US" sz="1400" b="1" dirty="0">
                  <a:latin typeface="Calibri" charset="0"/>
                  <a:ea typeface="Calibri" charset="0"/>
                  <a:cs typeface="Calibri" charset="0"/>
                </a:rPr>
                <a:t>(To be determined)</a:t>
              </a:r>
              <a:r>
                <a:rPr lang="en-AU" altLang="en-US" sz="1400" b="1" baseline="30000" dirty="0">
                  <a:latin typeface="Calibri" charset="0"/>
                  <a:ea typeface="Calibri" charset="0"/>
                  <a:cs typeface="Calibri" charset="0"/>
                </a:rPr>
                <a:t>4</a:t>
              </a:r>
            </a:p>
          </p:txBody>
        </p:sp>
        <p:sp>
          <p:nvSpPr>
            <p:cNvPr id="38" name="Rectangle 15"/>
            <p:cNvSpPr>
              <a:spLocks noChangeArrowheads="1"/>
            </p:cNvSpPr>
            <p:nvPr/>
          </p:nvSpPr>
          <p:spPr bwMode="auto">
            <a:xfrm rot="10800000">
              <a:off x="1313424" y="2583100"/>
              <a:ext cx="3697754" cy="477661"/>
            </a:xfrm>
            <a:prstGeom prst="rect">
              <a:avLst/>
            </a:prstGeom>
            <a:solidFill>
              <a:schemeClr val="accent6">
                <a:lumMod val="60000"/>
                <a:lumOff val="40000"/>
              </a:schemeClr>
            </a:solidFill>
            <a:ln>
              <a:noFill/>
            </a:ln>
            <a:effectLst/>
            <a:extLst>
              <a:ext uri="{91240B29-F687-4F45-9708-019B960494DF}">
                <a14:hiddenLine xmlns:a14="http://schemas.microsoft.com/office/drawing/2010/main" w="9525">
                  <a:solidFill>
                    <a:srgbClr val="0033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nchorCtr="1">
              <a:spAutoFit/>
            </a:bodyPr>
            <a:lstStyle>
              <a:lvl1pPr defTabSz="787400">
                <a:lnSpc>
                  <a:spcPct val="106000"/>
                </a:lnSpc>
                <a:spcBef>
                  <a:spcPct val="80000"/>
                </a:spcBef>
                <a:buClr>
                  <a:schemeClr val="tx1"/>
                </a:buClr>
                <a:buFont typeface="Wingdings 2" charset="2"/>
                <a:buChar char="¡"/>
                <a:defRPr sz="1200">
                  <a:solidFill>
                    <a:schemeClr val="tx1"/>
                  </a:solidFill>
                  <a:latin typeface="Arial" charset="0"/>
                </a:defRPr>
              </a:lvl1pPr>
              <a:lvl2pPr marL="133350" indent="-131763" defTabSz="787400">
                <a:lnSpc>
                  <a:spcPct val="106000"/>
                </a:lnSpc>
                <a:spcBef>
                  <a:spcPct val="80000"/>
                </a:spcBef>
                <a:buClr>
                  <a:schemeClr val="tx1"/>
                </a:buClr>
                <a:buFont typeface="Arial" charset="0"/>
                <a:buChar char="–"/>
                <a:defRPr sz="1200">
                  <a:solidFill>
                    <a:schemeClr val="tx1"/>
                  </a:solidFill>
                  <a:latin typeface="Arial" charset="0"/>
                </a:defRPr>
              </a:lvl2pPr>
              <a:lvl3pPr marL="301625" indent="-150813" defTabSz="787400">
                <a:lnSpc>
                  <a:spcPct val="106000"/>
                </a:lnSpc>
                <a:spcBef>
                  <a:spcPct val="40000"/>
                </a:spcBef>
                <a:buClr>
                  <a:schemeClr val="tx1"/>
                </a:buClr>
                <a:buFont typeface="Wingdings" charset="2"/>
                <a:buChar char="§"/>
                <a:defRPr sz="1200">
                  <a:solidFill>
                    <a:schemeClr val="tx1"/>
                  </a:solidFill>
                  <a:latin typeface="Arial" charset="0"/>
                </a:defRPr>
              </a:lvl3pPr>
              <a:lvl4pPr marL="439738" indent="-136525" defTabSz="787400">
                <a:lnSpc>
                  <a:spcPct val="110000"/>
                </a:lnSpc>
                <a:spcBef>
                  <a:spcPct val="20000"/>
                </a:spcBef>
                <a:buClr>
                  <a:schemeClr val="tx1"/>
                </a:buClr>
                <a:buFont typeface="Arial" charset="0"/>
                <a:buChar char="–"/>
                <a:defRPr sz="1200">
                  <a:solidFill>
                    <a:schemeClr val="tx1"/>
                  </a:solidFill>
                  <a:latin typeface="Arial" charset="0"/>
                </a:defRPr>
              </a:lvl4pPr>
              <a:lvl5pPr marL="603250" indent="-142875" defTabSz="787400">
                <a:spcBef>
                  <a:spcPct val="20000"/>
                </a:spcBef>
                <a:buClr>
                  <a:schemeClr val="tx1"/>
                </a:buClr>
                <a:buFont typeface="Wingdings" charset="2"/>
                <a:buChar char="§"/>
                <a:defRPr sz="1200">
                  <a:solidFill>
                    <a:schemeClr val="tx1"/>
                  </a:solidFill>
                  <a:latin typeface="Arial" charset="0"/>
                </a:defRPr>
              </a:lvl5pPr>
              <a:lvl6pPr marL="10604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6pPr>
              <a:lvl7pPr marL="15176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7pPr>
              <a:lvl8pPr marL="19748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8pPr>
              <a:lvl9pPr marL="24320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9pPr>
            </a:lstStyle>
            <a:p>
              <a:pPr algn="ctr">
                <a:lnSpc>
                  <a:spcPct val="95000"/>
                </a:lnSpc>
                <a:spcBef>
                  <a:spcPts val="0"/>
                </a:spcBef>
                <a:buNone/>
              </a:pPr>
              <a:r>
                <a:rPr lang="en-AU" altLang="en-US" sz="1400" b="1" dirty="0">
                  <a:latin typeface="Calibri" charset="0"/>
                  <a:ea typeface="Calibri" charset="0"/>
                  <a:cs typeface="Calibri" charset="0"/>
                </a:rPr>
                <a:t>Government of Tanzania</a:t>
              </a:r>
              <a:r>
                <a:rPr lang="en-AU" altLang="en-US" sz="1400" b="1" baseline="30000" dirty="0">
                  <a:latin typeface="Calibri" charset="0"/>
                  <a:ea typeface="Calibri" charset="0"/>
                  <a:cs typeface="Calibri" charset="0"/>
                </a:rPr>
                <a:t>3</a:t>
              </a:r>
            </a:p>
            <a:p>
              <a:pPr algn="ctr">
                <a:lnSpc>
                  <a:spcPct val="95000"/>
                </a:lnSpc>
                <a:spcBef>
                  <a:spcPts val="0"/>
                </a:spcBef>
                <a:buNone/>
              </a:pPr>
              <a:r>
                <a:rPr lang="en-AU" altLang="en-US" sz="1400" b="1" dirty="0">
                  <a:latin typeface="Calibri" charset="0"/>
                  <a:ea typeface="Calibri" charset="0"/>
                  <a:cs typeface="Calibri" charset="0"/>
                </a:rPr>
                <a:t>~$1,400 million</a:t>
              </a:r>
            </a:p>
          </p:txBody>
        </p:sp>
        <p:sp>
          <p:nvSpPr>
            <p:cNvPr id="39" name="Rectangle 16"/>
            <p:cNvSpPr>
              <a:spLocks noChangeArrowheads="1"/>
            </p:cNvSpPr>
            <p:nvPr/>
          </p:nvSpPr>
          <p:spPr bwMode="auto">
            <a:xfrm flipV="1">
              <a:off x="753251" y="1683084"/>
              <a:ext cx="4818098" cy="477661"/>
            </a:xfrm>
            <a:prstGeom prst="rect">
              <a:avLst/>
            </a:prstGeom>
            <a:solidFill>
              <a:schemeClr val="accent6">
                <a:lumMod val="60000"/>
                <a:lumOff val="40000"/>
              </a:schemeClr>
            </a:solidFill>
            <a:ln>
              <a:noFill/>
            </a:ln>
            <a:effectLst/>
            <a:extLst>
              <a:ext uri="{91240B29-F687-4F45-9708-019B960494DF}">
                <a14:hiddenLine xmlns:a14="http://schemas.microsoft.com/office/drawing/2010/main" w="9525">
                  <a:solidFill>
                    <a:srgbClr val="0033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nchorCtr="1">
              <a:spAutoFit/>
            </a:bodyPr>
            <a:lstStyle>
              <a:lvl1pPr defTabSz="787400">
                <a:lnSpc>
                  <a:spcPct val="106000"/>
                </a:lnSpc>
                <a:spcBef>
                  <a:spcPct val="80000"/>
                </a:spcBef>
                <a:buClr>
                  <a:schemeClr val="tx1"/>
                </a:buClr>
                <a:buFont typeface="Wingdings 2" charset="2"/>
                <a:buChar char="¡"/>
                <a:defRPr sz="1200">
                  <a:solidFill>
                    <a:schemeClr val="tx1"/>
                  </a:solidFill>
                  <a:latin typeface="Arial" charset="0"/>
                </a:defRPr>
              </a:lvl1pPr>
              <a:lvl2pPr marL="133350" indent="-131763" defTabSz="787400">
                <a:lnSpc>
                  <a:spcPct val="106000"/>
                </a:lnSpc>
                <a:spcBef>
                  <a:spcPct val="80000"/>
                </a:spcBef>
                <a:buClr>
                  <a:schemeClr val="tx1"/>
                </a:buClr>
                <a:buFont typeface="Arial" charset="0"/>
                <a:buChar char="–"/>
                <a:defRPr sz="1200">
                  <a:solidFill>
                    <a:schemeClr val="tx1"/>
                  </a:solidFill>
                  <a:latin typeface="Arial" charset="0"/>
                </a:defRPr>
              </a:lvl2pPr>
              <a:lvl3pPr marL="301625" indent="-150813" defTabSz="787400">
                <a:lnSpc>
                  <a:spcPct val="106000"/>
                </a:lnSpc>
                <a:spcBef>
                  <a:spcPct val="40000"/>
                </a:spcBef>
                <a:buClr>
                  <a:schemeClr val="tx1"/>
                </a:buClr>
                <a:buFont typeface="Wingdings" charset="2"/>
                <a:buChar char="§"/>
                <a:defRPr sz="1200">
                  <a:solidFill>
                    <a:schemeClr val="tx1"/>
                  </a:solidFill>
                  <a:latin typeface="Arial" charset="0"/>
                </a:defRPr>
              </a:lvl3pPr>
              <a:lvl4pPr marL="439738" indent="-136525" defTabSz="787400">
                <a:lnSpc>
                  <a:spcPct val="110000"/>
                </a:lnSpc>
                <a:spcBef>
                  <a:spcPct val="20000"/>
                </a:spcBef>
                <a:buClr>
                  <a:schemeClr val="tx1"/>
                </a:buClr>
                <a:buFont typeface="Arial" charset="0"/>
                <a:buChar char="–"/>
                <a:defRPr sz="1200">
                  <a:solidFill>
                    <a:schemeClr val="tx1"/>
                  </a:solidFill>
                  <a:latin typeface="Arial" charset="0"/>
                </a:defRPr>
              </a:lvl4pPr>
              <a:lvl5pPr marL="603250" indent="-142875" defTabSz="787400">
                <a:spcBef>
                  <a:spcPct val="20000"/>
                </a:spcBef>
                <a:buClr>
                  <a:schemeClr val="tx1"/>
                </a:buClr>
                <a:buFont typeface="Wingdings" charset="2"/>
                <a:buChar char="§"/>
                <a:defRPr sz="1200">
                  <a:solidFill>
                    <a:schemeClr val="tx1"/>
                  </a:solidFill>
                  <a:latin typeface="Arial" charset="0"/>
                </a:defRPr>
              </a:lvl5pPr>
              <a:lvl6pPr marL="10604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6pPr>
              <a:lvl7pPr marL="15176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7pPr>
              <a:lvl8pPr marL="19748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8pPr>
              <a:lvl9pPr marL="24320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9pPr>
            </a:lstStyle>
            <a:p>
              <a:pPr algn="ctr">
                <a:lnSpc>
                  <a:spcPct val="95000"/>
                </a:lnSpc>
                <a:spcBef>
                  <a:spcPts val="0"/>
                </a:spcBef>
                <a:buNone/>
              </a:pPr>
              <a:r>
                <a:rPr lang="en-AU" altLang="en-US" sz="1400" b="1" dirty="0">
                  <a:latin typeface="Calibri" charset="0"/>
                  <a:ea typeface="Calibri" charset="0"/>
                  <a:cs typeface="Calibri" charset="0"/>
                </a:rPr>
                <a:t>Donors</a:t>
              </a:r>
              <a:r>
                <a:rPr lang="en-AU" altLang="en-US" sz="1400" b="1" baseline="30000" dirty="0">
                  <a:latin typeface="Calibri" charset="0"/>
                  <a:ea typeface="Calibri" charset="0"/>
                  <a:cs typeface="Calibri" charset="0"/>
                </a:rPr>
                <a:t>2</a:t>
              </a:r>
            </a:p>
            <a:p>
              <a:pPr algn="ctr">
                <a:lnSpc>
                  <a:spcPct val="95000"/>
                </a:lnSpc>
                <a:spcBef>
                  <a:spcPts val="0"/>
                </a:spcBef>
                <a:buNone/>
              </a:pPr>
              <a:r>
                <a:rPr lang="en-AU" altLang="en-US" sz="1400" b="1" dirty="0">
                  <a:latin typeface="Calibri" charset="0"/>
                  <a:ea typeface="Calibri" charset="0"/>
                  <a:cs typeface="Calibri" charset="0"/>
                </a:rPr>
                <a:t>~$3,714 million</a:t>
              </a:r>
            </a:p>
          </p:txBody>
        </p:sp>
      </p:grpSp>
    </p:spTree>
    <p:extLst>
      <p:ext uri="{BB962C8B-B14F-4D97-AF65-F5344CB8AC3E}">
        <p14:creationId xmlns:p14="http://schemas.microsoft.com/office/powerpoint/2010/main" val="162786059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741" y="134056"/>
            <a:ext cx="9302859" cy="582389"/>
          </a:xfrm>
          <a:noFill/>
          <a:ln>
            <a:noFill/>
          </a:ln>
        </p:spPr>
        <p:txBody>
          <a:bodyPr spcFirstLastPara="1" wrap="square" lIns="0" tIns="0" rIns="0" bIns="0" anchor="b" anchorCtr="0"/>
          <a:lstStyle/>
          <a:p>
            <a:pPr defTabSz="914395">
              <a:spcBef>
                <a:spcPts val="0"/>
              </a:spcBef>
              <a:buClr>
                <a:schemeClr val="dk1"/>
              </a:buClr>
              <a:buSzPts val="2200"/>
              <a:buFont typeface="Arial"/>
            </a:pPr>
            <a:r>
              <a:rPr lang="en-US" sz="2200" dirty="0">
                <a:solidFill>
                  <a:schemeClr val="dk1"/>
                </a:solidFill>
                <a:latin typeface="Arial"/>
                <a:cs typeface="Arial"/>
              </a:rPr>
              <a:t/>
            </a:r>
            <a:br>
              <a:rPr lang="en-US" sz="2200" dirty="0">
                <a:solidFill>
                  <a:schemeClr val="dk1"/>
                </a:solidFill>
                <a:latin typeface="Arial"/>
                <a:cs typeface="Arial"/>
              </a:rPr>
            </a:br>
            <a:r>
              <a:rPr lang="en-US" sz="2200" dirty="0">
                <a:solidFill>
                  <a:schemeClr val="dk1"/>
                </a:solidFill>
                <a:latin typeface="Arial"/>
                <a:cs typeface="Arial"/>
              </a:rPr>
              <a:t/>
            </a:r>
            <a:br>
              <a:rPr lang="en-US" sz="2200" dirty="0">
                <a:solidFill>
                  <a:schemeClr val="dk1"/>
                </a:solidFill>
                <a:latin typeface="Arial"/>
                <a:cs typeface="Arial"/>
              </a:rPr>
            </a:br>
            <a:r>
              <a:rPr lang="en-US" sz="2200" dirty="0">
                <a:solidFill>
                  <a:schemeClr val="dk1"/>
                </a:solidFill>
                <a:latin typeface="Arial"/>
                <a:cs typeface="Arial"/>
              </a:rPr>
              <a:t/>
            </a:r>
            <a:br>
              <a:rPr lang="en-US" sz="2200" dirty="0">
                <a:solidFill>
                  <a:schemeClr val="dk1"/>
                </a:solidFill>
                <a:latin typeface="Arial"/>
                <a:cs typeface="Arial"/>
              </a:rPr>
            </a:br>
            <a:r>
              <a:rPr lang="en-US" sz="2200" dirty="0">
                <a:solidFill>
                  <a:schemeClr val="dk1"/>
                </a:solidFill>
                <a:latin typeface="Arial"/>
                <a:cs typeface="Arial"/>
              </a:rPr>
              <a:t/>
            </a:r>
            <a:br>
              <a:rPr lang="en-US" sz="2200" dirty="0">
                <a:solidFill>
                  <a:schemeClr val="dk1"/>
                </a:solidFill>
                <a:latin typeface="Arial"/>
                <a:cs typeface="Arial"/>
              </a:rPr>
            </a:br>
            <a:r>
              <a:rPr lang="en-US" sz="2200" dirty="0">
                <a:solidFill>
                  <a:schemeClr val="dk1"/>
                </a:solidFill>
                <a:latin typeface="Arial"/>
                <a:cs typeface="Arial"/>
              </a:rPr>
              <a:t/>
            </a:r>
            <a:br>
              <a:rPr lang="en-US" sz="2200" dirty="0">
                <a:solidFill>
                  <a:schemeClr val="dk1"/>
                </a:solidFill>
                <a:latin typeface="Arial"/>
                <a:cs typeface="Arial"/>
              </a:rPr>
            </a:br>
            <a:r>
              <a:rPr lang="en-US" sz="2200" dirty="0">
                <a:solidFill>
                  <a:schemeClr val="dk1"/>
                </a:solidFill>
                <a:latin typeface="Arial"/>
                <a:cs typeface="Arial"/>
              </a:rPr>
              <a:t/>
            </a:r>
            <a:br>
              <a:rPr lang="en-US" sz="2200" dirty="0">
                <a:solidFill>
                  <a:schemeClr val="dk1"/>
                </a:solidFill>
                <a:latin typeface="Arial"/>
                <a:cs typeface="Arial"/>
              </a:rPr>
            </a:br>
            <a:r>
              <a:rPr lang="en-US" sz="2200" dirty="0">
                <a:solidFill>
                  <a:schemeClr val="dk1"/>
                </a:solidFill>
                <a:latin typeface="Arial"/>
                <a:cs typeface="Arial"/>
              </a:rPr>
              <a:t/>
            </a:r>
            <a:br>
              <a:rPr lang="en-US" sz="2200" dirty="0">
                <a:solidFill>
                  <a:schemeClr val="dk1"/>
                </a:solidFill>
                <a:latin typeface="Arial"/>
                <a:cs typeface="Arial"/>
              </a:rPr>
            </a:br>
            <a:r>
              <a:rPr lang="en-US" sz="2200" dirty="0" err="1">
                <a:solidFill>
                  <a:schemeClr val="dk1"/>
                </a:solidFill>
                <a:latin typeface="Arial"/>
                <a:cs typeface="Arial"/>
              </a:rPr>
              <a:t>AGRA’s</a:t>
            </a:r>
            <a:r>
              <a:rPr lang="en-US" sz="2200" dirty="0">
                <a:solidFill>
                  <a:schemeClr val="dk1"/>
                </a:solidFill>
                <a:latin typeface="Arial"/>
                <a:cs typeface="Arial"/>
              </a:rPr>
              <a:t> Main Partners in </a:t>
            </a:r>
            <a:r>
              <a:rPr lang="en-US" sz="2200" dirty="0" smtClean="0">
                <a:solidFill>
                  <a:schemeClr val="dk1"/>
                </a:solidFill>
                <a:latin typeface="Arial"/>
                <a:cs typeface="Arial"/>
              </a:rPr>
              <a:t>Tanzania</a:t>
            </a:r>
            <a:endParaRPr lang="en-US" sz="2200" dirty="0">
              <a:solidFill>
                <a:schemeClr val="dk1"/>
              </a:solidFill>
              <a:latin typeface="Arial"/>
              <a:cs typeface="Arial"/>
            </a:endParaRPr>
          </a:p>
        </p:txBody>
      </p:sp>
      <p:cxnSp>
        <p:nvCxnSpPr>
          <p:cNvPr id="22" name="Straight Connector 21"/>
          <p:cNvCxnSpPr/>
          <p:nvPr/>
        </p:nvCxnSpPr>
        <p:spPr>
          <a:xfrm flipH="1">
            <a:off x="3133165" y="1447679"/>
            <a:ext cx="7235" cy="4563156"/>
          </a:xfrm>
          <a:prstGeom prst="line">
            <a:avLst/>
          </a:prstGeom>
          <a:ln>
            <a:solidFill>
              <a:srgbClr val="92D050"/>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6434976" y="1447679"/>
            <a:ext cx="17500" cy="5410321"/>
          </a:xfrm>
          <a:prstGeom prst="line">
            <a:avLst/>
          </a:prstGeom>
          <a:ln>
            <a:solidFill>
              <a:srgbClr val="92D050"/>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3" name="Table 2"/>
          <p:cNvGraphicFramePr>
            <a:graphicFrameLocks noGrp="1"/>
          </p:cNvGraphicFramePr>
          <p:nvPr>
            <p:extLst>
              <p:ext uri="{D42A27DB-BD31-4B8C-83A1-F6EECF244321}">
                <p14:modId xmlns:p14="http://schemas.microsoft.com/office/powerpoint/2010/main" val="1455536214"/>
              </p:ext>
            </p:extLst>
          </p:nvPr>
        </p:nvGraphicFramePr>
        <p:xfrm>
          <a:off x="450741" y="956148"/>
          <a:ext cx="9019080" cy="370840"/>
        </p:xfrm>
        <a:graphic>
          <a:graphicData uri="http://schemas.openxmlformats.org/drawingml/2006/table">
            <a:tbl>
              <a:tblPr firstRow="1" bandRow="1">
                <a:tableStyleId>{318E6629-4EBB-4D30-9DD3-6ACEAB857B28}</a:tableStyleId>
              </a:tblPr>
              <a:tblGrid>
                <a:gridCol w="3006360">
                  <a:extLst>
                    <a:ext uri="{9D8B030D-6E8A-4147-A177-3AD203B41FA5}">
                      <a16:colId xmlns:a16="http://schemas.microsoft.com/office/drawing/2014/main" xmlns="" val="2218503882"/>
                    </a:ext>
                  </a:extLst>
                </a:gridCol>
                <a:gridCol w="3006360">
                  <a:extLst>
                    <a:ext uri="{9D8B030D-6E8A-4147-A177-3AD203B41FA5}">
                      <a16:colId xmlns:a16="http://schemas.microsoft.com/office/drawing/2014/main" xmlns="" val="2805077936"/>
                    </a:ext>
                  </a:extLst>
                </a:gridCol>
                <a:gridCol w="3006360">
                  <a:extLst>
                    <a:ext uri="{9D8B030D-6E8A-4147-A177-3AD203B41FA5}">
                      <a16:colId xmlns:a16="http://schemas.microsoft.com/office/drawing/2014/main" xmlns="" val="1232502373"/>
                    </a:ext>
                  </a:extLst>
                </a:gridCol>
              </a:tblGrid>
              <a:tr h="370840">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mtClean="0"/>
                        <a:t>System Development</a:t>
                      </a:r>
                    </a:p>
                  </a:txBody>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mtClean="0"/>
                        <a:t>Partnerships 	</a:t>
                      </a:r>
                    </a:p>
                  </a:txBody>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mtClean="0"/>
                        <a:t>Policy &amp; State Capability </a:t>
                      </a:r>
                    </a:p>
                  </a:txBody>
                  <a:tcPr/>
                </a:tc>
                <a:extLst>
                  <a:ext uri="{0D108BD9-81ED-4DB2-BD59-A6C34878D82A}">
                    <a16:rowId xmlns:a16="http://schemas.microsoft.com/office/drawing/2014/main" xmlns="" val="4152357150"/>
                  </a:ext>
                </a:extLst>
              </a:tr>
            </a:tbl>
          </a:graphicData>
        </a:graphic>
      </p:graphicFrame>
      <p:grpSp>
        <p:nvGrpSpPr>
          <p:cNvPr id="30" name="Group 29"/>
          <p:cNvGrpSpPr/>
          <p:nvPr/>
        </p:nvGrpSpPr>
        <p:grpSpPr>
          <a:xfrm>
            <a:off x="234488" y="1410279"/>
            <a:ext cx="2794374" cy="1372644"/>
            <a:chOff x="448516" y="1410280"/>
            <a:chExt cx="2580346" cy="851129"/>
          </a:xfrm>
        </p:grpSpPr>
        <p:pic>
          <p:nvPicPr>
            <p:cNvPr id="4" name="Picture 3"/>
            <p:cNvPicPr>
              <a:picLocks noChangeAspect="1"/>
            </p:cNvPicPr>
            <p:nvPr/>
          </p:nvPicPr>
          <p:blipFill rotWithShape="1">
            <a:blip r:embed="rId2"/>
            <a:srcRect l="14367" r="15646"/>
            <a:stretch/>
          </p:blipFill>
          <p:spPr>
            <a:xfrm>
              <a:off x="448516" y="1410280"/>
              <a:ext cx="856535" cy="851129"/>
            </a:xfrm>
            <a:prstGeom prst="rect">
              <a:avLst/>
            </a:prstGeom>
          </p:spPr>
        </p:pic>
        <p:sp>
          <p:nvSpPr>
            <p:cNvPr id="23" name="Rectangle 22"/>
            <p:cNvSpPr/>
            <p:nvPr/>
          </p:nvSpPr>
          <p:spPr>
            <a:xfrm>
              <a:off x="1300964" y="1649503"/>
              <a:ext cx="1727898" cy="248468"/>
            </a:xfrm>
            <a:prstGeom prst="rect">
              <a:avLst/>
            </a:prstGeom>
          </p:spPr>
          <p:txBody>
            <a:bodyPr wrap="square">
              <a:spAutoFit/>
            </a:bodyPr>
            <a:lstStyle/>
            <a:p>
              <a:r>
                <a:rPr lang="en-US" sz="1200" dirty="0" smtClean="0"/>
                <a:t>Agricultural Sector Led Ministries (ASLMs)</a:t>
              </a:r>
              <a:endParaRPr lang="en-US" sz="1200" dirty="0"/>
            </a:p>
          </p:txBody>
        </p:sp>
      </p:grpSp>
      <p:grpSp>
        <p:nvGrpSpPr>
          <p:cNvPr id="33" name="Group 32"/>
          <p:cNvGrpSpPr/>
          <p:nvPr/>
        </p:nvGrpSpPr>
        <p:grpSpPr>
          <a:xfrm>
            <a:off x="112035" y="2726268"/>
            <a:ext cx="3049908" cy="884915"/>
            <a:chOff x="776536" y="2564904"/>
            <a:chExt cx="3049908" cy="884915"/>
          </a:xfrm>
        </p:grpSpPr>
        <p:pic>
          <p:nvPicPr>
            <p:cNvPr id="35" name="Picture 2" descr="H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6536" y="2564904"/>
              <a:ext cx="1666875" cy="600076"/>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p:nvSpPr>
          <p:spPr>
            <a:xfrm>
              <a:off x="2476499" y="2618822"/>
              <a:ext cx="1349945" cy="830997"/>
            </a:xfrm>
            <a:prstGeom prst="rect">
              <a:avLst/>
            </a:prstGeom>
          </p:spPr>
          <p:txBody>
            <a:bodyPr wrap="square">
              <a:spAutoFit/>
            </a:bodyPr>
            <a:lstStyle/>
            <a:p>
              <a:r>
                <a:rPr lang="en-US" sz="1200" dirty="0" smtClean="0">
                  <a:latin typeface="Arial" panose="020B0604020202020204" pitchFamily="34" charset="0"/>
                  <a:ea typeface="Calibri"/>
                  <a:cs typeface="Arial" panose="020B0604020202020204" pitchFamily="34" charset="0"/>
                  <a:sym typeface="Calibri"/>
                </a:rPr>
                <a:t>Manuals on entrepreneurship/farming as a business</a:t>
              </a:r>
              <a:endParaRPr lang="en-US" sz="1200" dirty="0"/>
            </a:p>
          </p:txBody>
        </p:sp>
      </p:grpSp>
      <p:pic>
        <p:nvPicPr>
          <p:cNvPr id="31" name="Picture 30"/>
          <p:cNvPicPr>
            <a:picLocks noChangeAspect="1"/>
          </p:cNvPicPr>
          <p:nvPr/>
        </p:nvPicPr>
        <p:blipFill>
          <a:blip r:embed="rId4"/>
          <a:stretch>
            <a:fillRect/>
          </a:stretch>
        </p:blipFill>
        <p:spPr>
          <a:xfrm>
            <a:off x="6694511" y="4784816"/>
            <a:ext cx="1769295" cy="703031"/>
          </a:xfrm>
          <a:prstGeom prst="rect">
            <a:avLst/>
          </a:prstGeom>
        </p:spPr>
      </p:pic>
      <p:pic>
        <p:nvPicPr>
          <p:cNvPr id="32" name="Picture 31"/>
          <p:cNvPicPr>
            <a:picLocks noChangeAspect="1"/>
          </p:cNvPicPr>
          <p:nvPr/>
        </p:nvPicPr>
        <p:blipFill>
          <a:blip r:embed="rId5"/>
          <a:stretch>
            <a:fillRect/>
          </a:stretch>
        </p:blipFill>
        <p:spPr>
          <a:xfrm>
            <a:off x="6694511" y="1400972"/>
            <a:ext cx="982477" cy="982477"/>
          </a:xfrm>
          <a:prstGeom prst="rect">
            <a:avLst/>
          </a:prstGeom>
        </p:spPr>
      </p:pic>
      <p:pic>
        <p:nvPicPr>
          <p:cNvPr id="47" name="Picture 46"/>
          <p:cNvPicPr>
            <a:picLocks noChangeAspect="1"/>
          </p:cNvPicPr>
          <p:nvPr/>
        </p:nvPicPr>
        <p:blipFill>
          <a:blip r:embed="rId6"/>
          <a:stretch>
            <a:fillRect/>
          </a:stretch>
        </p:blipFill>
        <p:spPr>
          <a:xfrm>
            <a:off x="6546514" y="2549499"/>
            <a:ext cx="1438275" cy="1323975"/>
          </a:xfrm>
          <a:prstGeom prst="rect">
            <a:avLst/>
          </a:prstGeom>
        </p:spPr>
      </p:pic>
      <p:pic>
        <p:nvPicPr>
          <p:cNvPr id="48" name="Picture 47"/>
          <p:cNvPicPr>
            <a:picLocks noChangeAspect="1"/>
          </p:cNvPicPr>
          <p:nvPr/>
        </p:nvPicPr>
        <p:blipFill>
          <a:blip r:embed="rId7"/>
          <a:stretch>
            <a:fillRect/>
          </a:stretch>
        </p:blipFill>
        <p:spPr>
          <a:xfrm>
            <a:off x="6759652" y="5517658"/>
            <a:ext cx="1439501" cy="957923"/>
          </a:xfrm>
          <a:prstGeom prst="rect">
            <a:avLst/>
          </a:prstGeom>
        </p:spPr>
      </p:pic>
      <p:pic>
        <p:nvPicPr>
          <p:cNvPr id="49" name="Picture 48"/>
          <p:cNvPicPr>
            <a:picLocks noChangeAspect="1"/>
          </p:cNvPicPr>
          <p:nvPr/>
        </p:nvPicPr>
        <p:blipFill>
          <a:blip r:embed="rId8"/>
          <a:stretch>
            <a:fillRect/>
          </a:stretch>
        </p:blipFill>
        <p:spPr>
          <a:xfrm>
            <a:off x="6694511" y="3929095"/>
            <a:ext cx="1438275" cy="800100"/>
          </a:xfrm>
          <a:prstGeom prst="rect">
            <a:avLst/>
          </a:prstGeom>
        </p:spPr>
      </p:pic>
      <p:pic>
        <p:nvPicPr>
          <p:cNvPr id="5" name="Picture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32785" y="1345205"/>
            <a:ext cx="1387781" cy="1038244"/>
          </a:xfrm>
          <a:prstGeom prst="rect">
            <a:avLst/>
          </a:prstGeom>
        </p:spPr>
      </p:pic>
      <p:sp>
        <p:nvSpPr>
          <p:cNvPr id="7" name="TextBox 6"/>
          <p:cNvSpPr txBox="1"/>
          <p:nvPr/>
        </p:nvSpPr>
        <p:spPr>
          <a:xfrm>
            <a:off x="8561304" y="5651863"/>
            <a:ext cx="1261965" cy="307777"/>
          </a:xfrm>
          <a:prstGeom prst="rect">
            <a:avLst/>
          </a:prstGeom>
          <a:noFill/>
        </p:spPr>
        <p:txBody>
          <a:bodyPr wrap="square" rtlCol="0">
            <a:spAutoFit/>
          </a:bodyPr>
          <a:lstStyle/>
          <a:p>
            <a:endParaRPr lang="en-US" dirty="0"/>
          </a:p>
        </p:txBody>
      </p:sp>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434504" y="2639327"/>
            <a:ext cx="1035317" cy="944805"/>
          </a:xfrm>
          <a:prstGeom prst="rect">
            <a:avLst/>
          </a:prstGeom>
        </p:spPr>
      </p:pic>
      <p:pic>
        <p:nvPicPr>
          <p:cNvPr id="14" name="Picture 1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32480" y="3639753"/>
            <a:ext cx="1752896" cy="842891"/>
          </a:xfrm>
          <a:prstGeom prst="rect">
            <a:avLst/>
          </a:prstGeom>
        </p:spPr>
      </p:pic>
      <p:pic>
        <p:nvPicPr>
          <p:cNvPr id="52" name="Picture 51"/>
          <p:cNvPicPr>
            <a:picLocks noChangeAspect="1"/>
          </p:cNvPicPr>
          <p:nvPr/>
        </p:nvPicPr>
        <p:blipFill>
          <a:blip r:embed="rId12"/>
          <a:stretch>
            <a:fillRect/>
          </a:stretch>
        </p:blipFill>
        <p:spPr>
          <a:xfrm>
            <a:off x="3201317" y="1387396"/>
            <a:ext cx="1194410" cy="809399"/>
          </a:xfrm>
          <a:prstGeom prst="rect">
            <a:avLst/>
          </a:prstGeom>
        </p:spPr>
      </p:pic>
      <p:pic>
        <p:nvPicPr>
          <p:cNvPr id="15" name="Picture 1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417069" y="1421944"/>
            <a:ext cx="1022115" cy="774851"/>
          </a:xfrm>
          <a:prstGeom prst="rect">
            <a:avLst/>
          </a:prstGeom>
        </p:spPr>
      </p:pic>
      <p:pic>
        <p:nvPicPr>
          <p:cNvPr id="17" name="Picture 16"/>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394764" y="1352086"/>
            <a:ext cx="1040212" cy="844709"/>
          </a:xfrm>
          <a:prstGeom prst="rect">
            <a:avLst/>
          </a:prstGeom>
        </p:spPr>
      </p:pic>
      <p:pic>
        <p:nvPicPr>
          <p:cNvPr id="19" name="Picture 1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200029" y="2196795"/>
            <a:ext cx="1157410" cy="713831"/>
          </a:xfrm>
          <a:prstGeom prst="rect">
            <a:avLst/>
          </a:prstGeom>
        </p:spPr>
      </p:pic>
      <p:pic>
        <p:nvPicPr>
          <p:cNvPr id="54" name="Picture 53" descr="Image result for John deere tanzania"/>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539568" y="2281901"/>
            <a:ext cx="1125204" cy="550535"/>
          </a:xfrm>
          <a:prstGeom prst="rect">
            <a:avLst/>
          </a:prstGeom>
          <a:noFill/>
          <a:ln>
            <a:noFill/>
          </a:ln>
        </p:spPr>
      </p:pic>
      <p:pic>
        <p:nvPicPr>
          <p:cNvPr id="55" name="Picture 2" descr="http://www.pass.ac.tz/templates/jsn_dome_free/images/colors/cyan/logo.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287181" y="4720721"/>
            <a:ext cx="579174" cy="46659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descr="Image result for yara tanzania"/>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174293" y="4208493"/>
            <a:ext cx="825683" cy="466596"/>
          </a:xfrm>
          <a:prstGeom prst="rect">
            <a:avLst/>
          </a:prstGeom>
          <a:noFill/>
          <a:ln>
            <a:noFill/>
          </a:ln>
        </p:spPr>
      </p:pic>
      <p:pic>
        <p:nvPicPr>
          <p:cNvPr id="57" name="Picture 56" descr="Image result for ETG tanzania"/>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111497" y="4568243"/>
            <a:ext cx="794108" cy="505740"/>
          </a:xfrm>
          <a:prstGeom prst="rect">
            <a:avLst/>
          </a:prstGeom>
          <a:noFill/>
          <a:ln>
            <a:noFill/>
          </a:ln>
        </p:spPr>
      </p:pic>
      <p:pic>
        <p:nvPicPr>
          <p:cNvPr id="59" name="Picture 58"/>
          <p:cNvPicPr>
            <a:picLocks/>
          </p:cNvPicPr>
          <p:nvPr/>
        </p:nvPicPr>
        <p:blipFill>
          <a:blip r:embed="rId20" cstate="print">
            <a:extLst>
              <a:ext uri="{28A0092B-C50C-407E-A947-70E740481C1C}">
                <a14:useLocalDpi xmlns:a14="http://schemas.microsoft.com/office/drawing/2010/main" val="0"/>
              </a:ext>
            </a:extLst>
          </a:blip>
          <a:stretch>
            <a:fillRect/>
          </a:stretch>
        </p:blipFill>
        <p:spPr>
          <a:xfrm>
            <a:off x="3284277" y="3492137"/>
            <a:ext cx="977001" cy="627017"/>
          </a:xfrm>
          <a:prstGeom prst="rect">
            <a:avLst/>
          </a:prstGeom>
        </p:spPr>
      </p:pic>
      <p:pic>
        <p:nvPicPr>
          <p:cNvPr id="20" name="Picture 19"/>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5120994" y="3694675"/>
            <a:ext cx="675910" cy="634470"/>
          </a:xfrm>
          <a:prstGeom prst="rect">
            <a:avLst/>
          </a:prstGeom>
        </p:spPr>
      </p:pic>
      <p:pic>
        <p:nvPicPr>
          <p:cNvPr id="25" name="Picture 24"/>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982253" y="2938587"/>
            <a:ext cx="1052820" cy="662800"/>
          </a:xfrm>
          <a:prstGeom prst="rect">
            <a:avLst/>
          </a:prstGeom>
        </p:spPr>
      </p:pic>
      <p:pic>
        <p:nvPicPr>
          <p:cNvPr id="38" name="Picture 37"/>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553753" y="2936202"/>
            <a:ext cx="1076613" cy="558104"/>
          </a:xfrm>
          <a:prstGeom prst="rect">
            <a:avLst/>
          </a:prstGeom>
        </p:spPr>
      </p:pic>
      <p:pic>
        <p:nvPicPr>
          <p:cNvPr id="10" name="Picture 9"/>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3206496" y="5276656"/>
            <a:ext cx="1054782" cy="375207"/>
          </a:xfrm>
          <a:prstGeom prst="rect">
            <a:avLst/>
          </a:prstGeom>
        </p:spPr>
      </p:pic>
      <p:pic>
        <p:nvPicPr>
          <p:cNvPr id="16" name="Picture 15"/>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4575400" y="5296000"/>
            <a:ext cx="1220470" cy="443315"/>
          </a:xfrm>
          <a:prstGeom prst="rect">
            <a:avLst/>
          </a:prstGeom>
        </p:spPr>
      </p:pic>
    </p:spTree>
    <p:extLst>
      <p:ext uri="{BB962C8B-B14F-4D97-AF65-F5344CB8AC3E}">
        <p14:creationId xmlns:p14="http://schemas.microsoft.com/office/powerpoint/2010/main" val="217516305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293"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
                <a:srgbClr val="000000"/>
              </a:buClr>
              <a:buSzTx/>
              <a:buFont typeface="Arial"/>
              <a:buNone/>
              <a:tabLst/>
              <a:defRPr/>
            </a:pPr>
            <a:endParaRPr kumimoji="0" lang="en-US" sz="4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Results Framework and Targets</a:t>
            </a:r>
            <a:endParaRPr lang="en-US" dirty="0"/>
          </a:p>
        </p:txBody>
      </p:sp>
    </p:spTree>
    <p:extLst>
      <p:ext uri="{BB962C8B-B14F-4D97-AF65-F5344CB8AC3E}">
        <p14:creationId xmlns:p14="http://schemas.microsoft.com/office/powerpoint/2010/main" val="422990621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53772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322" name="think-cell Slide" r:id="rId5" imgW="327" imgH="327" progId="TCLayout.ActiveDocument.1">
                  <p:embed/>
                </p:oleObj>
              </mc:Choice>
              <mc:Fallback>
                <p:oleObj name="think-cell Slide" r:id="rId5" imgW="327" imgH="327"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kumimoji="0" lang="en-US" sz="2200" b="1" u="none" strike="noStrike" kern="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Tanzania </a:t>
            </a:r>
            <a:r>
              <a:rPr lang="en-US" dirty="0"/>
              <a:t>Country Results </a:t>
            </a:r>
            <a:r>
              <a:rPr lang="en-US" dirty="0" smtClean="0"/>
              <a:t>Framework </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1016283409"/>
              </p:ext>
            </p:extLst>
          </p:nvPr>
        </p:nvGraphicFramePr>
        <p:xfrm>
          <a:off x="173384" y="894068"/>
          <a:ext cx="9527820" cy="5435598"/>
        </p:xfrm>
        <a:graphic>
          <a:graphicData uri="http://schemas.openxmlformats.org/drawingml/2006/table">
            <a:tbl>
              <a:tblPr firstRow="1" firstCol="1" bandRow="1">
                <a:tableStyleId>{318E6629-4EBB-4D30-9DD3-6ACEAB857B28}</a:tableStyleId>
              </a:tblPr>
              <a:tblGrid>
                <a:gridCol w="3175940">
                  <a:extLst>
                    <a:ext uri="{9D8B030D-6E8A-4147-A177-3AD203B41FA5}">
                      <a16:colId xmlns:a16="http://schemas.microsoft.com/office/drawing/2014/main" xmlns="" val="3266015150"/>
                    </a:ext>
                  </a:extLst>
                </a:gridCol>
                <a:gridCol w="2355440">
                  <a:extLst>
                    <a:ext uri="{9D8B030D-6E8A-4147-A177-3AD203B41FA5}">
                      <a16:colId xmlns:a16="http://schemas.microsoft.com/office/drawing/2014/main" xmlns="" val="1566497416"/>
                    </a:ext>
                  </a:extLst>
                </a:gridCol>
                <a:gridCol w="3996440">
                  <a:extLst>
                    <a:ext uri="{9D8B030D-6E8A-4147-A177-3AD203B41FA5}">
                      <a16:colId xmlns:a16="http://schemas.microsoft.com/office/drawing/2014/main" xmlns="" val="1292623479"/>
                    </a:ext>
                  </a:extLst>
                </a:gridCol>
              </a:tblGrid>
              <a:tr h="252344">
                <a:tc>
                  <a:txBody>
                    <a:bodyPr/>
                    <a:lstStyle/>
                    <a:p>
                      <a:pPr marL="0" marR="0">
                        <a:lnSpc>
                          <a:spcPct val="107000"/>
                        </a:lnSpc>
                        <a:spcBef>
                          <a:spcPts val="0"/>
                        </a:spcBef>
                        <a:spcAft>
                          <a:spcPts val="0"/>
                        </a:spcAft>
                      </a:pPr>
                      <a:r>
                        <a:rPr lang="en-US" sz="1200" dirty="0">
                          <a:effectLst/>
                        </a:rPr>
                        <a:t>Expected </a:t>
                      </a:r>
                      <a:r>
                        <a:rPr lang="en-US" sz="1200" dirty="0" smtClean="0">
                          <a:effectLst/>
                        </a:rPr>
                        <a:t>outcome</a:t>
                      </a: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alpha val="0"/>
                      </a:schemeClr>
                    </a:solidFill>
                  </a:tcPr>
                </a:tc>
                <a:tc>
                  <a:txBody>
                    <a:bodyPr/>
                    <a:lstStyle/>
                    <a:p>
                      <a:pPr marL="0" marR="0">
                        <a:lnSpc>
                          <a:spcPct val="107000"/>
                        </a:lnSpc>
                        <a:spcBef>
                          <a:spcPts val="0"/>
                        </a:spcBef>
                        <a:spcAft>
                          <a:spcPts val="0"/>
                        </a:spcAft>
                      </a:pPr>
                      <a:r>
                        <a:rPr lang="en-US" sz="1200" dirty="0">
                          <a:effectLst/>
                        </a:rPr>
                        <a:t>Country Result area</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alpha val="0"/>
                      </a:schemeClr>
                    </a:solidFill>
                  </a:tcPr>
                </a:tc>
                <a:tc>
                  <a:txBody>
                    <a:bodyPr/>
                    <a:lstStyle/>
                    <a:p>
                      <a:pPr marL="0" marR="0">
                        <a:lnSpc>
                          <a:spcPct val="107000"/>
                        </a:lnSpc>
                        <a:spcBef>
                          <a:spcPts val="0"/>
                        </a:spcBef>
                        <a:spcAft>
                          <a:spcPts val="0"/>
                        </a:spcAft>
                      </a:pPr>
                      <a:r>
                        <a:rPr lang="en-US" sz="1200" dirty="0">
                          <a:effectLst/>
                        </a:rPr>
                        <a:t>Key interventions</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alpha val="0"/>
                      </a:schemeClr>
                    </a:solidFill>
                  </a:tcPr>
                </a:tc>
                <a:extLst>
                  <a:ext uri="{0D108BD9-81ED-4DB2-BD59-A6C34878D82A}">
                    <a16:rowId xmlns:a16="http://schemas.microsoft.com/office/drawing/2014/main" xmlns="" val="2971078577"/>
                  </a:ext>
                </a:extLst>
              </a:tr>
              <a:tr h="262741">
                <a:tc rowSpan="3">
                  <a:txBody>
                    <a:bodyPr/>
                    <a:lstStyle/>
                    <a:p>
                      <a:pPr marL="0" marR="0">
                        <a:lnSpc>
                          <a:spcPct val="107000"/>
                        </a:lnSpc>
                        <a:spcBef>
                          <a:spcPts val="0"/>
                        </a:spcBef>
                        <a:spcAft>
                          <a:spcPts val="800"/>
                        </a:spcAft>
                      </a:pPr>
                      <a:r>
                        <a:rPr lang="en-US" sz="1200" dirty="0">
                          <a:effectLst/>
                        </a:rPr>
                        <a:t>Improved  planning, coordination, execution and performance  of government agriculture programs</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marR="0">
                        <a:lnSpc>
                          <a:spcPct val="107000"/>
                        </a:lnSpc>
                        <a:spcBef>
                          <a:spcPts val="0"/>
                        </a:spcBef>
                        <a:spcAft>
                          <a:spcPts val="800"/>
                        </a:spcAft>
                      </a:pPr>
                      <a:r>
                        <a:rPr lang="en-US" sz="1200" dirty="0">
                          <a:effectLst/>
                        </a:rPr>
                        <a:t>Existence of a well-coordinated ag. sector </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200" dirty="0">
                          <a:effectLst/>
                        </a:rPr>
                        <a:t>36 LGAs  supported to effectively manage and coordinate ASDP II programmes </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308347781"/>
                  </a:ext>
                </a:extLst>
              </a:tr>
              <a:tr h="39411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800"/>
                        </a:spcAft>
                      </a:pPr>
                      <a:r>
                        <a:rPr lang="en-US" sz="1200">
                          <a:effectLst/>
                        </a:rPr>
                        <a:t>Resource mobilization strategies devised for greater public and private sector investment in   DADPs implementation in selected LGAs</a:t>
                      </a:r>
                      <a:endParaRPr lang="en-US" sz="2000" b="1">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296566504"/>
                  </a:ext>
                </a:extLst>
              </a:tr>
              <a:tr h="262741">
                <a:tc vMerge="1">
                  <a:txBody>
                    <a:bodyPr/>
                    <a:lstStyle/>
                    <a:p>
                      <a:endParaRPr lang="en-US"/>
                    </a:p>
                  </a:txBody>
                  <a:tcPr/>
                </a:tc>
                <a:tc vMerge="1">
                  <a:txBody>
                    <a:bodyPr/>
                    <a:lstStyle/>
                    <a:p>
                      <a:endParaRPr lang="en-US"/>
                    </a:p>
                  </a:txBody>
                  <a:tcPr/>
                </a:tc>
                <a:tc>
                  <a:txBody>
                    <a:bodyPr/>
                    <a:lstStyle/>
                    <a:p>
                      <a:pPr marL="0" marR="0" algn="just">
                        <a:lnSpc>
                          <a:spcPct val="107000"/>
                        </a:lnSpc>
                        <a:spcBef>
                          <a:spcPts val="0"/>
                        </a:spcBef>
                        <a:spcAft>
                          <a:spcPts val="800"/>
                        </a:spcAft>
                      </a:pPr>
                      <a:r>
                        <a:rPr lang="en-US" sz="1200" dirty="0">
                          <a:effectLst/>
                        </a:rPr>
                        <a:t>All targeted 36 LGAs qualify for increased DADP funds through performance assessment by year 3</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9407124"/>
                  </a:ext>
                </a:extLst>
              </a:tr>
              <a:tr h="262741">
                <a:tc rowSpan="2">
                  <a:txBody>
                    <a:bodyPr/>
                    <a:lstStyle/>
                    <a:p>
                      <a:pPr marL="0" marR="0">
                        <a:lnSpc>
                          <a:spcPct val="107000"/>
                        </a:lnSpc>
                        <a:spcBef>
                          <a:spcPts val="0"/>
                        </a:spcBef>
                        <a:spcAft>
                          <a:spcPts val="800"/>
                        </a:spcAft>
                      </a:pPr>
                      <a:r>
                        <a:rPr lang="en-US" sz="1200">
                          <a:effectLst/>
                        </a:rPr>
                        <a:t>Strengthened regional and national agricultural enabling policy environment</a:t>
                      </a:r>
                      <a:endParaRPr lang="en-US" sz="2000" b="1">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a:lnSpc>
                          <a:spcPct val="107000"/>
                        </a:lnSpc>
                        <a:spcBef>
                          <a:spcPts val="0"/>
                        </a:spcBef>
                        <a:spcAft>
                          <a:spcPts val="800"/>
                        </a:spcAft>
                      </a:pPr>
                      <a:r>
                        <a:rPr lang="en-US" sz="1200" dirty="0">
                          <a:effectLst/>
                        </a:rPr>
                        <a:t>Regional and national level agricultural regulatory environment improved </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07000"/>
                        </a:lnSpc>
                        <a:spcBef>
                          <a:spcPts val="0"/>
                        </a:spcBef>
                        <a:spcAft>
                          <a:spcPts val="800"/>
                        </a:spcAft>
                      </a:pPr>
                      <a:r>
                        <a:rPr lang="en-US" sz="1200" dirty="0">
                          <a:effectLst/>
                        </a:rPr>
                        <a:t>Ensure removal  of export ban and export permits are codified into law</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858113567"/>
                  </a:ext>
                </a:extLst>
              </a:tr>
              <a:tr h="525483">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800"/>
                        </a:spcAft>
                      </a:pPr>
                      <a:r>
                        <a:rPr lang="en-US" sz="1200" dirty="0">
                          <a:effectLst/>
                        </a:rPr>
                        <a:t>Design reliable food security monitoring system and implement (to provide accurate and reliable data and information to guide decision makers on food security and cross border trade)</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593430672"/>
                  </a:ext>
                </a:extLst>
              </a:tr>
              <a:tr h="262741">
                <a:tc rowSpan="2">
                  <a:txBody>
                    <a:bodyPr/>
                    <a:lstStyle/>
                    <a:p>
                      <a:pPr marL="0" marR="0">
                        <a:lnSpc>
                          <a:spcPct val="107000"/>
                        </a:lnSpc>
                        <a:spcBef>
                          <a:spcPts val="0"/>
                        </a:spcBef>
                        <a:spcAft>
                          <a:spcPts val="800"/>
                        </a:spcAft>
                      </a:pPr>
                      <a:r>
                        <a:rPr lang="en-US" sz="1200">
                          <a:effectLst/>
                        </a:rPr>
                        <a:t>Increased commercialization and availability of improved seed</a:t>
                      </a:r>
                      <a:endParaRPr lang="en-US" sz="2000" b="1">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a:lnSpc>
                          <a:spcPct val="107000"/>
                        </a:lnSpc>
                        <a:spcBef>
                          <a:spcPts val="0"/>
                        </a:spcBef>
                        <a:spcAft>
                          <a:spcPts val="800"/>
                        </a:spcAft>
                      </a:pPr>
                      <a:r>
                        <a:rPr lang="en-US" sz="1200">
                          <a:effectLst/>
                        </a:rPr>
                        <a:t>Production of improved seeds supported</a:t>
                      </a:r>
                      <a:endParaRPr lang="en-US" sz="2000" b="1">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200" dirty="0">
                          <a:effectLst/>
                        </a:rPr>
                        <a:t>Support production of improved varieties of  seeds of focus crops </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64622827"/>
                  </a:ext>
                </a:extLst>
              </a:tr>
              <a:tr h="131371">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800"/>
                        </a:spcAft>
                      </a:pPr>
                      <a:r>
                        <a:rPr lang="en-US" sz="1200" dirty="0">
                          <a:effectLst/>
                        </a:rPr>
                        <a:t>Support sale of improved varieties of  seeds of focus crops</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124055316"/>
                  </a:ext>
                </a:extLst>
              </a:tr>
              <a:tr h="394112">
                <a:tc>
                  <a:txBody>
                    <a:bodyPr/>
                    <a:lstStyle/>
                    <a:p>
                      <a:pPr marL="0" marR="0">
                        <a:lnSpc>
                          <a:spcPct val="107000"/>
                        </a:lnSpc>
                        <a:spcBef>
                          <a:spcPts val="0"/>
                        </a:spcBef>
                        <a:spcAft>
                          <a:spcPts val="800"/>
                        </a:spcAft>
                      </a:pPr>
                      <a:r>
                        <a:rPr lang="en-US" sz="1200">
                          <a:effectLst/>
                        </a:rPr>
                        <a:t>Increased production of appropriate fertilizer blends and other soil management technologies/ practices</a:t>
                      </a:r>
                      <a:endParaRPr lang="en-US" sz="2000" b="1">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200">
                          <a:effectLst/>
                        </a:rPr>
                        <a:t>Production and accessibility to appropriate fertilizer blends and other soil management technologies/ practices scaled up</a:t>
                      </a:r>
                      <a:endParaRPr lang="en-US" sz="2000" b="1">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200" dirty="0">
                          <a:effectLst/>
                        </a:rPr>
                        <a:t>Develop balanced fertilizer blends through nutrient deficiency trials, soil mapping and development of crop &amp; soil specific fertilizer blends</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921609406"/>
                  </a:ext>
                </a:extLst>
              </a:tr>
              <a:tr h="219425">
                <a:tc rowSpan="5">
                  <a:txBody>
                    <a:bodyPr/>
                    <a:lstStyle/>
                    <a:p>
                      <a:pPr marL="0" marR="0">
                        <a:lnSpc>
                          <a:spcPct val="107000"/>
                        </a:lnSpc>
                        <a:spcBef>
                          <a:spcPts val="0"/>
                        </a:spcBef>
                        <a:spcAft>
                          <a:spcPts val="800"/>
                        </a:spcAft>
                      </a:pPr>
                      <a:r>
                        <a:rPr lang="en-US" sz="1200">
                          <a:effectLst/>
                        </a:rPr>
                        <a:t>Increased access to focus agricultural  value chain knowledge/information</a:t>
                      </a:r>
                      <a:endParaRPr lang="en-US" sz="2000" b="1">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marL="0" marR="0">
                        <a:lnSpc>
                          <a:spcPct val="107000"/>
                        </a:lnSpc>
                        <a:spcBef>
                          <a:spcPts val="0"/>
                        </a:spcBef>
                        <a:spcAft>
                          <a:spcPts val="800"/>
                        </a:spcAft>
                      </a:pPr>
                      <a:r>
                        <a:rPr lang="en-US" sz="1200" dirty="0">
                          <a:effectLst/>
                        </a:rPr>
                        <a:t>Extension service events completed</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200" dirty="0" smtClean="0">
                          <a:effectLst/>
                        </a:rPr>
                        <a:t>Establish Mother and</a:t>
                      </a:r>
                      <a:r>
                        <a:rPr lang="en-US" sz="1200" baseline="0" dirty="0" smtClean="0">
                          <a:effectLst/>
                        </a:rPr>
                        <a:t> Baby</a:t>
                      </a:r>
                      <a:r>
                        <a:rPr lang="en-US" sz="1200" dirty="0" smtClean="0">
                          <a:effectLst/>
                        </a:rPr>
                        <a:t> </a:t>
                      </a:r>
                      <a:r>
                        <a:rPr lang="en-US" sz="1200" dirty="0">
                          <a:effectLst/>
                        </a:rPr>
                        <a:t>demo plots</a:t>
                      </a:r>
                      <a:endParaRPr lang="en-US" sz="2000" b="1" dirty="0">
                        <a:effectLst/>
                        <a:latin typeface="Arial" panose="020B0604020202020204" pitchFamily="34" charset="0"/>
                        <a:ea typeface="Calibri" panose="020F0502020204030204" pitchFamily="34" charset="0"/>
                      </a:endParaRPr>
                    </a:p>
                  </a:txBody>
                  <a:tcPr marL="61393" marR="6139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560134725"/>
                  </a:ext>
                </a:extLst>
              </a:tr>
              <a:tr h="21942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800"/>
                        </a:spcAft>
                      </a:pPr>
                      <a:r>
                        <a:rPr lang="en-US" sz="1200" dirty="0">
                          <a:effectLst/>
                        </a:rPr>
                        <a:t>Conduct seed fairs</a:t>
                      </a:r>
                      <a:endParaRPr lang="en-US" sz="2000" b="1" dirty="0">
                        <a:effectLst/>
                        <a:latin typeface="Arial" panose="020B0604020202020204" pitchFamily="34" charset="0"/>
                        <a:ea typeface="Calibri" panose="020F0502020204030204" pitchFamily="34" charset="0"/>
                      </a:endParaRPr>
                    </a:p>
                  </a:txBody>
                  <a:tcPr marL="61393" marR="6139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61682368"/>
                  </a:ext>
                </a:extLst>
              </a:tr>
              <a:tr h="21942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800"/>
                        </a:spcAft>
                      </a:pPr>
                      <a:r>
                        <a:rPr lang="en-US" sz="1200" dirty="0">
                          <a:effectLst/>
                        </a:rPr>
                        <a:t>Conduct field days</a:t>
                      </a:r>
                      <a:endParaRPr lang="en-US" sz="2000" b="1" dirty="0">
                        <a:effectLst/>
                        <a:latin typeface="Arial" panose="020B0604020202020204" pitchFamily="34" charset="0"/>
                        <a:ea typeface="Calibri" panose="020F0502020204030204" pitchFamily="34" charset="0"/>
                      </a:endParaRPr>
                    </a:p>
                  </a:txBody>
                  <a:tcPr marL="61393" marR="6139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929535207"/>
                  </a:ext>
                </a:extLst>
              </a:tr>
              <a:tr h="21942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800"/>
                        </a:spcAft>
                      </a:pPr>
                      <a:r>
                        <a:rPr lang="en-US" sz="1200" dirty="0">
                          <a:effectLst/>
                        </a:rPr>
                        <a:t>Support airing of radio programs </a:t>
                      </a:r>
                      <a:endParaRPr lang="en-US" sz="2000" b="1" dirty="0">
                        <a:effectLst/>
                        <a:latin typeface="Arial" panose="020B0604020202020204" pitchFamily="34" charset="0"/>
                        <a:ea typeface="Calibri" panose="020F0502020204030204" pitchFamily="34" charset="0"/>
                      </a:endParaRPr>
                    </a:p>
                  </a:txBody>
                  <a:tcPr marL="61393" marR="6139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39092238"/>
                  </a:ext>
                </a:extLst>
              </a:tr>
              <a:tr h="262741">
                <a:tc vMerge="1">
                  <a:txBody>
                    <a:bodyPr/>
                    <a:lstStyle/>
                    <a:p>
                      <a:endParaRPr lang="en-US"/>
                    </a:p>
                  </a:txBody>
                  <a:tcPr/>
                </a:tc>
                <a:tc>
                  <a:txBody>
                    <a:bodyPr/>
                    <a:lstStyle/>
                    <a:p>
                      <a:pPr marL="0" marR="0">
                        <a:lnSpc>
                          <a:spcPct val="107000"/>
                        </a:lnSpc>
                        <a:spcBef>
                          <a:spcPts val="0"/>
                        </a:spcBef>
                        <a:spcAft>
                          <a:spcPts val="800"/>
                        </a:spcAft>
                      </a:pPr>
                      <a:r>
                        <a:rPr lang="en-US" sz="1200">
                          <a:effectLst/>
                        </a:rPr>
                        <a:t>Increased use of inputs and other improved technology innovations</a:t>
                      </a:r>
                      <a:endParaRPr lang="en-US" sz="2000" b="1">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200" dirty="0">
                          <a:effectLst/>
                        </a:rPr>
                        <a:t>Train SHF, VBAs and Agro dealers on GAP.</a:t>
                      </a:r>
                      <a:endParaRPr lang="en-US" sz="2000" b="1" dirty="0">
                        <a:effectLst/>
                        <a:latin typeface="Arial" panose="020B0604020202020204" pitchFamily="34" charset="0"/>
                        <a:ea typeface="Calibri" panose="020F0502020204030204" pitchFamily="34" charset="0"/>
                      </a:endParaRPr>
                    </a:p>
                  </a:txBody>
                  <a:tcPr marL="61393" marR="6139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341365489"/>
                  </a:ext>
                </a:extLst>
              </a:tr>
            </a:tbl>
          </a:graphicData>
        </a:graphic>
      </p:graphicFrame>
    </p:spTree>
    <p:extLst>
      <p:ext uri="{BB962C8B-B14F-4D97-AF65-F5344CB8AC3E}">
        <p14:creationId xmlns:p14="http://schemas.microsoft.com/office/powerpoint/2010/main" val="11238326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53772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220" name="think-cell Slide" r:id="rId5" imgW="327" imgH="327" progId="TCLayout.ActiveDocument.1">
                  <p:embed/>
                </p:oleObj>
              </mc:Choice>
              <mc:Fallback>
                <p:oleObj name="think-cell Slide" r:id="rId5" imgW="327" imgH="327"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kumimoji="0" lang="en-US" sz="2200" b="1" u="none" strike="noStrike" kern="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Tanzania </a:t>
            </a:r>
            <a:r>
              <a:rPr lang="en-US" dirty="0"/>
              <a:t>Country Results </a:t>
            </a:r>
            <a:r>
              <a:rPr lang="en-US" dirty="0" smtClean="0"/>
              <a:t>Framework </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214895187"/>
              </p:ext>
            </p:extLst>
          </p:nvPr>
        </p:nvGraphicFramePr>
        <p:xfrm>
          <a:off x="304801" y="1053373"/>
          <a:ext cx="9279465" cy="5301393"/>
        </p:xfrm>
        <a:graphic>
          <a:graphicData uri="http://schemas.openxmlformats.org/drawingml/2006/table">
            <a:tbl>
              <a:tblPr firstRow="1" firstCol="1" bandRow="1">
                <a:tableStyleId>{318E6629-4EBB-4D30-9DD3-6ACEAB857B28}</a:tableStyleId>
              </a:tblPr>
              <a:tblGrid>
                <a:gridCol w="3093155">
                  <a:extLst>
                    <a:ext uri="{9D8B030D-6E8A-4147-A177-3AD203B41FA5}">
                      <a16:colId xmlns:a16="http://schemas.microsoft.com/office/drawing/2014/main" xmlns="" val="69051880"/>
                    </a:ext>
                  </a:extLst>
                </a:gridCol>
                <a:gridCol w="2880014">
                  <a:extLst>
                    <a:ext uri="{9D8B030D-6E8A-4147-A177-3AD203B41FA5}">
                      <a16:colId xmlns:a16="http://schemas.microsoft.com/office/drawing/2014/main" xmlns="" val="1754031709"/>
                    </a:ext>
                  </a:extLst>
                </a:gridCol>
                <a:gridCol w="3306296">
                  <a:extLst>
                    <a:ext uri="{9D8B030D-6E8A-4147-A177-3AD203B41FA5}">
                      <a16:colId xmlns:a16="http://schemas.microsoft.com/office/drawing/2014/main" xmlns="" val="2201238642"/>
                    </a:ext>
                  </a:extLst>
                </a:gridCol>
              </a:tblGrid>
              <a:tr h="448339">
                <a:tc>
                  <a:txBody>
                    <a:bodyPr/>
                    <a:lstStyle/>
                    <a:p>
                      <a:pPr marL="0" marR="0">
                        <a:lnSpc>
                          <a:spcPct val="107000"/>
                        </a:lnSpc>
                        <a:spcBef>
                          <a:spcPts val="0"/>
                        </a:spcBef>
                        <a:spcAft>
                          <a:spcPts val="0"/>
                        </a:spcAft>
                      </a:pPr>
                      <a:r>
                        <a:rPr lang="en-US" sz="1600">
                          <a:effectLst/>
                        </a:rPr>
                        <a:t>Expected outcome</a:t>
                      </a:r>
                      <a:endParaRPr lang="en-US" sz="2800" b="1">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a:effectLst/>
                        </a:rPr>
                        <a:t>Country Result area</a:t>
                      </a:r>
                      <a:endParaRPr lang="en-US" sz="2800" b="1">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dirty="0">
                          <a:effectLst/>
                        </a:rPr>
                        <a:t>Key interventions</a:t>
                      </a:r>
                      <a:endParaRPr lang="en-US" sz="28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363915643"/>
                  </a:ext>
                </a:extLst>
              </a:tr>
              <a:tr h="456922">
                <a:tc rowSpan="2">
                  <a:txBody>
                    <a:bodyPr/>
                    <a:lstStyle/>
                    <a:p>
                      <a:pPr marL="0" marR="0">
                        <a:lnSpc>
                          <a:spcPct val="107000"/>
                        </a:lnSpc>
                        <a:spcBef>
                          <a:spcPts val="0"/>
                        </a:spcBef>
                        <a:spcAft>
                          <a:spcPts val="800"/>
                        </a:spcAft>
                      </a:pPr>
                      <a:r>
                        <a:rPr lang="en-US" sz="1200" dirty="0">
                          <a:effectLst/>
                        </a:rPr>
                        <a:t>Reduced post-harvest losses</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200">
                          <a:effectLst/>
                        </a:rPr>
                        <a:t>Access to improved crop storage infrastructure improved </a:t>
                      </a:r>
                      <a:endParaRPr lang="en-US" sz="2000" b="1">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200" dirty="0">
                          <a:effectLst/>
                        </a:rPr>
                        <a:t>Develop /refurbish </a:t>
                      </a:r>
                      <a:r>
                        <a:rPr lang="en-US" sz="1200" dirty="0" smtClean="0">
                          <a:effectLst/>
                        </a:rPr>
                        <a:t>storage </a:t>
                      </a:r>
                      <a:r>
                        <a:rPr lang="en-US" sz="1200" dirty="0">
                          <a:effectLst/>
                        </a:rPr>
                        <a:t>space </a:t>
                      </a:r>
                      <a:endParaRPr lang="en-US" sz="2000" b="1" dirty="0">
                        <a:effectLst/>
                        <a:latin typeface="Arial" panose="020B0604020202020204" pitchFamily="34" charset="0"/>
                        <a:ea typeface="Calibri" panose="020F0502020204030204" pitchFamily="34" charset="0"/>
                      </a:endParaRPr>
                    </a:p>
                  </a:txBody>
                  <a:tcPr marL="61393" marR="6139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98620955"/>
                  </a:ext>
                </a:extLst>
              </a:tr>
              <a:tr h="685382">
                <a:tc vMerge="1">
                  <a:txBody>
                    <a:bodyPr/>
                    <a:lstStyle/>
                    <a:p>
                      <a:endParaRPr lang="en-US"/>
                    </a:p>
                  </a:txBody>
                  <a:tcPr/>
                </a:tc>
                <a:tc>
                  <a:txBody>
                    <a:bodyPr/>
                    <a:lstStyle/>
                    <a:p>
                      <a:pPr marL="0" marR="0">
                        <a:lnSpc>
                          <a:spcPct val="107000"/>
                        </a:lnSpc>
                        <a:spcBef>
                          <a:spcPts val="0"/>
                        </a:spcBef>
                        <a:spcAft>
                          <a:spcPts val="800"/>
                        </a:spcAft>
                      </a:pPr>
                      <a:r>
                        <a:rPr lang="en-US" sz="1200" dirty="0">
                          <a:effectLst/>
                        </a:rPr>
                        <a:t>Use of improved post-harvest technologies and practices by small holder farmers increased </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200" dirty="0">
                          <a:effectLst/>
                        </a:rPr>
                        <a:t>Train farmers  on good post-harvest handling practices, techniques, technologies and warehouse management</a:t>
                      </a:r>
                      <a:endParaRPr lang="en-US" sz="2000" b="1" dirty="0">
                        <a:effectLst/>
                        <a:latin typeface="Arial" panose="020B0604020202020204" pitchFamily="34" charset="0"/>
                        <a:ea typeface="Calibri" panose="020F0502020204030204" pitchFamily="34" charset="0"/>
                      </a:endParaRPr>
                    </a:p>
                  </a:txBody>
                  <a:tcPr marL="61393" marR="6139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593868869"/>
                  </a:ext>
                </a:extLst>
              </a:tr>
              <a:tr h="456922">
                <a:tc rowSpan="4">
                  <a:txBody>
                    <a:bodyPr/>
                    <a:lstStyle/>
                    <a:p>
                      <a:pPr marL="0" marR="0">
                        <a:lnSpc>
                          <a:spcPct val="107000"/>
                        </a:lnSpc>
                        <a:spcBef>
                          <a:spcPts val="0"/>
                        </a:spcBef>
                        <a:spcAft>
                          <a:spcPts val="800"/>
                        </a:spcAft>
                      </a:pPr>
                      <a:r>
                        <a:rPr lang="en-US" sz="1200" dirty="0">
                          <a:effectLst/>
                        </a:rPr>
                        <a:t>Increased use of structured markets</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marL="0" marR="0">
                        <a:lnSpc>
                          <a:spcPct val="107000"/>
                        </a:lnSpc>
                        <a:spcBef>
                          <a:spcPts val="0"/>
                        </a:spcBef>
                        <a:spcAft>
                          <a:spcPts val="800"/>
                        </a:spcAft>
                      </a:pPr>
                      <a:r>
                        <a:rPr lang="en-US" sz="1200" dirty="0">
                          <a:effectLst/>
                        </a:rPr>
                        <a:t>Linkage to  structured markets for small holder farmers increased </a:t>
                      </a:r>
                      <a:endParaRPr lang="en-US" sz="24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200" dirty="0">
                          <a:effectLst/>
                        </a:rPr>
                        <a:t>Mobilize SHF to sell their produce through structured trading facilities/arrangements </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4224320957"/>
                  </a:ext>
                </a:extLst>
              </a:tr>
              <a:tr h="45692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800"/>
                        </a:spcAft>
                      </a:pPr>
                      <a:r>
                        <a:rPr lang="en-US" sz="1200" dirty="0">
                          <a:effectLst/>
                        </a:rPr>
                        <a:t>Support local buyers and processors  to access regional markets </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736506905"/>
                  </a:ext>
                </a:extLst>
              </a:tr>
              <a:tr h="256148">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800"/>
                        </a:spcAft>
                      </a:pPr>
                      <a:r>
                        <a:rPr lang="en-US" sz="1200" dirty="0">
                          <a:effectLst/>
                        </a:rPr>
                        <a:t>Support aggregator SME’s  with equipment </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583488542"/>
                  </a:ext>
                </a:extLst>
              </a:tr>
              <a:tr h="45692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dirty="0">
                          <a:effectLst/>
                        </a:rPr>
                        <a:t>Train SHF on output marketing, PHH, grading &amp; standards, and crop aggregation models</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47533930"/>
                  </a:ext>
                </a:extLst>
              </a:tr>
              <a:tr h="256148">
                <a:tc rowSpan="2">
                  <a:txBody>
                    <a:bodyPr/>
                    <a:lstStyle/>
                    <a:p>
                      <a:pPr marL="0" marR="0">
                        <a:lnSpc>
                          <a:spcPct val="107000"/>
                        </a:lnSpc>
                        <a:spcBef>
                          <a:spcPts val="0"/>
                        </a:spcBef>
                        <a:spcAft>
                          <a:spcPts val="0"/>
                        </a:spcAft>
                      </a:pPr>
                      <a:r>
                        <a:rPr lang="en-US" sz="1200">
                          <a:effectLst/>
                        </a:rPr>
                        <a:t>Strengthened Business development, financial and risk management services in agriculture value chain </a:t>
                      </a:r>
                      <a:endParaRPr lang="en-US" sz="2000" b="1">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a:lnSpc>
                          <a:spcPct val="107000"/>
                        </a:lnSpc>
                        <a:spcBef>
                          <a:spcPts val="0"/>
                        </a:spcBef>
                        <a:spcAft>
                          <a:spcPts val="0"/>
                        </a:spcAft>
                      </a:pPr>
                      <a:r>
                        <a:rPr lang="en-US" sz="1200" dirty="0">
                          <a:effectLst/>
                        </a:rPr>
                        <a:t>Access to financial services increased </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rPr>
                        <a:t>Value chain actors </a:t>
                      </a:r>
                      <a:r>
                        <a:rPr lang="en-US" sz="1200" dirty="0" smtClean="0">
                          <a:effectLst/>
                        </a:rPr>
                        <a:t>receiving </a:t>
                      </a:r>
                      <a:r>
                        <a:rPr lang="en-US" sz="1200" dirty="0">
                          <a:effectLst/>
                        </a:rPr>
                        <a:t>financial services</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418354737"/>
                  </a:ext>
                </a:extLst>
              </a:tr>
              <a:tr h="45692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dirty="0">
                          <a:effectLst/>
                        </a:rPr>
                        <a:t>Promote demand for financial services for FOs and other market actors in focus value chain</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953832019"/>
                  </a:ext>
                </a:extLst>
              </a:tr>
              <a:tr h="456922">
                <a:tc rowSpan="3">
                  <a:txBody>
                    <a:bodyPr/>
                    <a:lstStyle/>
                    <a:p>
                      <a:pPr marL="0" marR="0">
                        <a:lnSpc>
                          <a:spcPct val="107000"/>
                        </a:lnSpc>
                        <a:spcBef>
                          <a:spcPts val="0"/>
                        </a:spcBef>
                        <a:spcAft>
                          <a:spcPts val="0"/>
                        </a:spcAft>
                      </a:pPr>
                      <a:r>
                        <a:rPr lang="en-US" sz="1200">
                          <a:effectLst/>
                        </a:rPr>
                        <a:t>Reduced impact of agricultural volatility</a:t>
                      </a:r>
                      <a:endParaRPr lang="en-US" sz="2000" b="1">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marR="0">
                        <a:lnSpc>
                          <a:spcPct val="107000"/>
                        </a:lnSpc>
                        <a:spcBef>
                          <a:spcPts val="0"/>
                        </a:spcBef>
                        <a:spcAft>
                          <a:spcPts val="0"/>
                        </a:spcAft>
                      </a:pPr>
                      <a:r>
                        <a:rPr lang="en-US" sz="1200" dirty="0">
                          <a:effectLst/>
                        </a:rPr>
                        <a:t>Use at scale of climate smart agricultural  technologies and practices promoted </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800"/>
                        </a:spcAft>
                      </a:pPr>
                      <a:r>
                        <a:rPr lang="en-US" sz="1200" dirty="0">
                          <a:effectLst/>
                        </a:rPr>
                        <a:t>Produce </a:t>
                      </a:r>
                      <a:r>
                        <a:rPr lang="en-US" sz="1200" dirty="0" smtClean="0">
                          <a:effectLst/>
                        </a:rPr>
                        <a:t>crop </a:t>
                      </a:r>
                      <a:r>
                        <a:rPr lang="en-US" sz="1200" dirty="0">
                          <a:effectLst/>
                        </a:rPr>
                        <a:t>varieties with distinct resilience traits</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704018389"/>
                  </a:ext>
                </a:extLst>
              </a:tr>
              <a:tr h="45692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800"/>
                        </a:spcAft>
                      </a:pPr>
                      <a:r>
                        <a:rPr lang="en-US" sz="1200" dirty="0">
                          <a:effectLst/>
                        </a:rPr>
                        <a:t>Train farmers on stress/shock tolerant varieties </a:t>
                      </a:r>
                      <a:r>
                        <a:rPr lang="en-US" sz="1200" dirty="0" smtClean="0">
                          <a:effectLst/>
                        </a:rPr>
                        <a:t>and good agronomic practices in </a:t>
                      </a:r>
                      <a:r>
                        <a:rPr lang="en-US" sz="1200" dirty="0">
                          <a:effectLst/>
                        </a:rPr>
                        <a:t>target areas</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093722787"/>
                  </a:ext>
                </a:extLst>
              </a:tr>
              <a:tr h="45692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200" dirty="0">
                          <a:effectLst/>
                        </a:rPr>
                        <a:t>Widely share and disseminate information on EWS </a:t>
                      </a:r>
                      <a:endParaRPr lang="en-US" sz="2000" b="1" dirty="0">
                        <a:effectLst/>
                        <a:latin typeface="Arial" panose="020B0604020202020204" pitchFamily="34" charset="0"/>
                        <a:ea typeface="Calibri" panose="020F0502020204030204" pitchFamily="34" charset="0"/>
                      </a:endParaRPr>
                    </a:p>
                  </a:txBody>
                  <a:tcPr marL="61393" marR="61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875212284"/>
                  </a:ext>
                </a:extLst>
              </a:tr>
            </a:tbl>
          </a:graphicData>
        </a:graphic>
      </p:graphicFrame>
    </p:spTree>
    <p:extLst>
      <p:ext uri="{BB962C8B-B14F-4D97-AF65-F5344CB8AC3E}">
        <p14:creationId xmlns:p14="http://schemas.microsoft.com/office/powerpoint/2010/main" val="373590855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 name="Object 9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351" name="think-cell Slide" r:id="rId5" imgW="327" imgH="327" progId="TCLayout.ActiveDocument.1">
                  <p:embed/>
                </p:oleObj>
              </mc:Choice>
              <mc:Fallback>
                <p:oleObj name="think-cell Slide" r:id="rId5" imgW="327" imgH="327" progId="TCLayout.ActiveDocument.1">
                  <p:embed/>
                  <p:pic>
                    <p:nvPicPr>
                      <p:cNvPr id="96" name="Object 9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5" name="Rectangle 94" hidden="1"/>
          <p:cNvSpPr/>
          <p:nvPr>
            <p:custDataLst>
              <p:tags r:id="rId3"/>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endParaRPr kumimoji="0" lang="en-US" sz="2200" b="1" i="0" u="none" strike="noStrike" kern="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247650" y="342455"/>
            <a:ext cx="8007350" cy="338554"/>
          </a:xfrm>
        </p:spPr>
        <p:txBody>
          <a:bodyPr/>
          <a:lstStyle/>
          <a:p>
            <a:r>
              <a:rPr lang="en-US" sz="2200" dirty="0">
                <a:latin typeface="Arial" panose="020B0604020202020204" pitchFamily="34" charset="0"/>
                <a:ea typeface="Arial"/>
                <a:cs typeface="Arial" panose="020B0604020202020204" pitchFamily="34" charset="0"/>
                <a:sym typeface="Arial"/>
              </a:rPr>
              <a:t>Key Country Indicators and Targets</a:t>
            </a:r>
          </a:p>
        </p:txBody>
      </p:sp>
      <p:graphicFrame>
        <p:nvGraphicFramePr>
          <p:cNvPr id="103" name="Table 102"/>
          <p:cNvGraphicFramePr>
            <a:graphicFrameLocks noGrp="1"/>
          </p:cNvGraphicFramePr>
          <p:nvPr>
            <p:extLst>
              <p:ext uri="{D42A27DB-BD31-4B8C-83A1-F6EECF244321}">
                <p14:modId xmlns:p14="http://schemas.microsoft.com/office/powerpoint/2010/main" val="52723458"/>
              </p:ext>
            </p:extLst>
          </p:nvPr>
        </p:nvGraphicFramePr>
        <p:xfrm>
          <a:off x="135467" y="1106314"/>
          <a:ext cx="9572979" cy="5655730"/>
        </p:xfrm>
        <a:graphic>
          <a:graphicData uri="http://schemas.openxmlformats.org/drawingml/2006/table">
            <a:tbl>
              <a:tblPr firstRow="1" firstCol="1" bandRow="1"/>
              <a:tblGrid>
                <a:gridCol w="2293183">
                  <a:extLst>
                    <a:ext uri="{9D8B030D-6E8A-4147-A177-3AD203B41FA5}">
                      <a16:colId xmlns:a16="http://schemas.microsoft.com/office/drawing/2014/main" xmlns="" val="502458597"/>
                    </a:ext>
                  </a:extLst>
                </a:gridCol>
                <a:gridCol w="1097350">
                  <a:extLst>
                    <a:ext uri="{9D8B030D-6E8A-4147-A177-3AD203B41FA5}">
                      <a16:colId xmlns:a16="http://schemas.microsoft.com/office/drawing/2014/main" xmlns="" val="3187903326"/>
                    </a:ext>
                  </a:extLst>
                </a:gridCol>
                <a:gridCol w="1096648">
                  <a:extLst>
                    <a:ext uri="{9D8B030D-6E8A-4147-A177-3AD203B41FA5}">
                      <a16:colId xmlns:a16="http://schemas.microsoft.com/office/drawing/2014/main" xmlns="" val="1562678885"/>
                    </a:ext>
                  </a:extLst>
                </a:gridCol>
                <a:gridCol w="1096648">
                  <a:extLst>
                    <a:ext uri="{9D8B030D-6E8A-4147-A177-3AD203B41FA5}">
                      <a16:colId xmlns:a16="http://schemas.microsoft.com/office/drawing/2014/main" xmlns="" val="1709222861"/>
                    </a:ext>
                  </a:extLst>
                </a:gridCol>
                <a:gridCol w="997463">
                  <a:extLst>
                    <a:ext uri="{9D8B030D-6E8A-4147-A177-3AD203B41FA5}">
                      <a16:colId xmlns:a16="http://schemas.microsoft.com/office/drawing/2014/main" xmlns="" val="2622941703"/>
                    </a:ext>
                  </a:extLst>
                </a:gridCol>
                <a:gridCol w="997463">
                  <a:extLst>
                    <a:ext uri="{9D8B030D-6E8A-4147-A177-3AD203B41FA5}">
                      <a16:colId xmlns:a16="http://schemas.microsoft.com/office/drawing/2014/main" xmlns="" val="2756409258"/>
                    </a:ext>
                  </a:extLst>
                </a:gridCol>
                <a:gridCol w="997463">
                  <a:extLst>
                    <a:ext uri="{9D8B030D-6E8A-4147-A177-3AD203B41FA5}">
                      <a16:colId xmlns:a16="http://schemas.microsoft.com/office/drawing/2014/main" xmlns="" val="1813010506"/>
                    </a:ext>
                  </a:extLst>
                </a:gridCol>
                <a:gridCol w="996761">
                  <a:extLst>
                    <a:ext uri="{9D8B030D-6E8A-4147-A177-3AD203B41FA5}">
                      <a16:colId xmlns:a16="http://schemas.microsoft.com/office/drawing/2014/main" xmlns="" val="1948661404"/>
                    </a:ext>
                  </a:extLst>
                </a:gridCol>
              </a:tblGrid>
              <a:tr h="565775">
                <a:tc gridSpan="2">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INDICATORS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5B9BD5"/>
                      </a:solidFill>
                      <a:prstDash val="solid"/>
                      <a:round/>
                      <a:headEnd type="none" w="med" len="med"/>
                      <a:tailEnd type="none" w="med" len="med"/>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hMerge="1">
                  <a:txBody>
                    <a:bodyPr/>
                    <a:lstStyle/>
                    <a:p>
                      <a:endParaRPr lang="en-US"/>
                    </a:p>
                  </a:txBody>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Baselin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1: 201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2: 20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3: 201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4: 20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5: 20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a:noFill/>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extLst>
                  <a:ext uri="{0D108BD9-81ED-4DB2-BD59-A6C34878D82A}">
                    <a16:rowId xmlns:a16="http://schemas.microsoft.com/office/drawing/2014/main" xmlns="" val="412358678"/>
                  </a:ext>
                </a:extLst>
              </a:tr>
              <a:tr h="276490">
                <a:tc gridSpan="2">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Goal Level Impact Indicator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hMerge="1">
                  <a:txBody>
                    <a:bodyPr/>
                    <a:lstStyle/>
                    <a:p>
                      <a:endParaRPr lang="en-US"/>
                    </a:p>
                  </a:txBody>
                  <a:tcPr/>
                </a:tc>
                <a:tc>
                  <a:txBody>
                    <a:bodyPr/>
                    <a:lstStyle/>
                    <a:p>
                      <a:pPr marL="0" marR="0" algn="just">
                        <a:lnSpc>
                          <a:spcPct val="107000"/>
                        </a:lnSpc>
                        <a:spcBef>
                          <a:spcPts val="0"/>
                        </a:spcBef>
                        <a:spcAft>
                          <a:spcPts val="0"/>
                        </a:spcAft>
                      </a:pPr>
                      <a:r>
                        <a:rPr lang="en-GB" sz="1400">
                          <a:effectLst/>
                          <a:latin typeface="Calibri" panose="020F050202020403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a:effectLst/>
                          <a:latin typeface="Calibri" panose="020F050202020403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a:effectLst/>
                          <a:latin typeface="Calibri" panose="020F050202020403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a:effectLst/>
                          <a:latin typeface="Calibri" panose="020F050202020403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a:effectLst/>
                          <a:latin typeface="Calibri" panose="020F050202020403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nSpc>
                          <a:spcPct val="107000"/>
                        </a:lnSpc>
                        <a:spcBef>
                          <a:spcPts val="0"/>
                        </a:spcBef>
                        <a:spcAft>
                          <a:spcPts val="0"/>
                        </a:spcAft>
                      </a:pPr>
                      <a:r>
                        <a:rPr lang="en-GB" sz="1400">
                          <a:effectLst/>
                          <a:latin typeface="Calibri" panose="020F050202020403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extLst>
                  <a:ext uri="{0D108BD9-81ED-4DB2-BD59-A6C34878D82A}">
                    <a16:rowId xmlns:a16="http://schemas.microsoft.com/office/drawing/2014/main" xmlns="" val="3742338815"/>
                  </a:ext>
                </a:extLst>
              </a:tr>
              <a:tr h="237060">
                <a:tc gridSpan="2">
                  <a:txBody>
                    <a:bodyPr/>
                    <a:lstStyle/>
                    <a:p>
                      <a:pPr marL="0" marR="0">
                        <a:lnSpc>
                          <a:spcPct val="107000"/>
                        </a:lnSpc>
                        <a:spcBef>
                          <a:spcPts val="0"/>
                        </a:spcBef>
                        <a:spcAft>
                          <a:spcPts val="0"/>
                        </a:spcAft>
                      </a:pPr>
                      <a:r>
                        <a:rPr lang="en-GB" sz="1200" b="1">
                          <a:effectLst/>
                          <a:latin typeface="Calibri" panose="020F0502020204030204" pitchFamily="34" charset="0"/>
                          <a:ea typeface="Times New Roman" panose="02020603050405020304" pitchFamily="18" charset="0"/>
                          <a:cs typeface="Calibri" panose="020F0502020204030204" pitchFamily="34" charset="0"/>
                        </a:rPr>
                        <a:t>Agriculture GDP growth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hMerge="1">
                  <a:txBody>
                    <a:bodyPr/>
                    <a:lstStyle/>
                    <a:p>
                      <a:endParaRPr lang="en-US"/>
                    </a:p>
                  </a:txBody>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4.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_</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_</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2170357240"/>
                  </a:ext>
                </a:extLst>
              </a:tr>
              <a:tr h="485065">
                <a:tc gridSpan="2">
                  <a:txBody>
                    <a:bodyPr/>
                    <a:lstStyle/>
                    <a:p>
                      <a:pPr marL="0" marR="0">
                        <a:lnSpc>
                          <a:spcPct val="107000"/>
                        </a:lnSpc>
                        <a:spcBef>
                          <a:spcPts val="0"/>
                        </a:spcBef>
                        <a:spcAft>
                          <a:spcPts val="0"/>
                        </a:spcAft>
                      </a:pPr>
                      <a:r>
                        <a:rPr lang="en-GB" sz="1200" b="1">
                          <a:effectLst/>
                          <a:latin typeface="Calibri" panose="020F0502020204030204" pitchFamily="34" charset="0"/>
                          <a:ea typeface="Times New Roman" panose="02020603050405020304" pitchFamily="18" charset="0"/>
                          <a:cs typeface="Calibri" panose="020F0502020204030204" pitchFamily="34" charset="0"/>
                        </a:rPr>
                        <a:t>Average number of months of adequate household food provisio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hMerge="1">
                  <a:txBody>
                    <a:bodyPr/>
                    <a:lstStyle/>
                    <a:p>
                      <a:endParaRPr lang="en-US"/>
                    </a:p>
                  </a:txBody>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8.5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9.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_</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0.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1456816105"/>
                  </a:ext>
                </a:extLst>
              </a:tr>
              <a:tr h="237060">
                <a:tc gridSpan="2">
                  <a:txBody>
                    <a:bodyPr/>
                    <a:lstStyle/>
                    <a:p>
                      <a:pPr marL="0" marR="0">
                        <a:lnSpc>
                          <a:spcPct val="107000"/>
                        </a:lnSpc>
                        <a:spcBef>
                          <a:spcPts val="0"/>
                        </a:spcBef>
                        <a:spcAft>
                          <a:spcPts val="0"/>
                        </a:spcAft>
                      </a:pPr>
                      <a:r>
                        <a:rPr lang="en-GB" sz="1200" b="1">
                          <a:effectLst/>
                          <a:latin typeface="Calibri" panose="020F0502020204030204" pitchFamily="34" charset="0"/>
                          <a:ea typeface="Times New Roman" panose="02020603050405020304" pitchFamily="18" charset="0"/>
                          <a:cs typeface="Calibri" panose="020F0502020204030204" pitchFamily="34" charset="0"/>
                        </a:rPr>
                        <a:t>Household dietary diversity index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hMerge="1">
                  <a:txBody>
                    <a:bodyPr/>
                    <a:lstStyle/>
                    <a:p>
                      <a:endParaRPr lang="en-US"/>
                    </a:p>
                  </a:txBody>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5.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_</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8.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2695469314"/>
                  </a:ext>
                </a:extLst>
              </a:tr>
              <a:tr h="485065">
                <a:tc gridSpan="2">
                  <a:txBody>
                    <a:bodyPr/>
                    <a:lstStyle/>
                    <a:p>
                      <a:pPr marL="0" marR="0">
                        <a:lnSpc>
                          <a:spcPct val="107000"/>
                        </a:lnSpc>
                        <a:spcBef>
                          <a:spcPts val="0"/>
                        </a:spcBef>
                        <a:spcAft>
                          <a:spcPts val="0"/>
                        </a:spcAft>
                      </a:pPr>
                      <a:r>
                        <a:rPr lang="en-GB" sz="1200" b="1">
                          <a:effectLst/>
                          <a:latin typeface="Calibri" panose="020F0502020204030204" pitchFamily="34" charset="0"/>
                          <a:ea typeface="Times New Roman" panose="02020603050405020304" pitchFamily="18" charset="0"/>
                          <a:cs typeface="Calibri" panose="020F0502020204030204" pitchFamily="34" charset="0"/>
                        </a:rPr>
                        <a:t>Percent of population living on less than $1.90/da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hMerge="1">
                  <a:txBody>
                    <a:bodyPr/>
                    <a:lstStyle/>
                    <a:p>
                      <a:endParaRPr lang="en-US"/>
                    </a:p>
                  </a:txBody>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44.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_</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_</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671348832"/>
                  </a:ext>
                </a:extLst>
              </a:tr>
              <a:tr h="485065">
                <a:tc gridSpan="2">
                  <a:txBody>
                    <a:bodyPr/>
                    <a:lstStyle/>
                    <a:p>
                      <a:pPr marL="0" marR="0">
                        <a:lnSpc>
                          <a:spcPct val="107000"/>
                        </a:lnSpc>
                        <a:spcBef>
                          <a:spcPts val="0"/>
                        </a:spcBef>
                        <a:spcAft>
                          <a:spcPts val="0"/>
                        </a:spcAft>
                      </a:pPr>
                      <a:r>
                        <a:rPr lang="en-GB" sz="1200" b="1">
                          <a:effectLst/>
                          <a:latin typeface="Calibri" panose="020F0502020204030204" pitchFamily="34" charset="0"/>
                          <a:ea typeface="Times New Roman" panose="02020603050405020304" pitchFamily="18" charset="0"/>
                          <a:cs typeface="Calibri" panose="020F0502020204030204" pitchFamily="34" charset="0"/>
                        </a:rPr>
                        <a:t>Percent of population living below the national poverty lin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hMerge="1">
                  <a:txBody>
                    <a:bodyPr/>
                    <a:lstStyle/>
                    <a:p>
                      <a:endParaRPr lang="en-US"/>
                    </a:p>
                  </a:txBody>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8.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_</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_</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1376692088"/>
                  </a:ext>
                </a:extLst>
              </a:tr>
              <a:tr h="237060">
                <a:tc gridSpan="2">
                  <a:txBody>
                    <a:bodyPr/>
                    <a:lstStyle/>
                    <a:p>
                      <a:pPr marL="0" marR="0">
                        <a:lnSpc>
                          <a:spcPct val="107000"/>
                        </a:lnSpc>
                        <a:spcBef>
                          <a:spcPts val="0"/>
                        </a:spcBef>
                        <a:spcAft>
                          <a:spcPts val="0"/>
                        </a:spcAft>
                      </a:pPr>
                      <a:r>
                        <a:rPr lang="en-GB" sz="1200" b="1">
                          <a:effectLst/>
                          <a:latin typeface="Calibri" panose="020F0502020204030204" pitchFamily="34" charset="0"/>
                          <a:ea typeface="Times New Roman" panose="02020603050405020304" pitchFamily="18" charset="0"/>
                          <a:cs typeface="Calibri" panose="020F0502020204030204" pitchFamily="34" charset="0"/>
                        </a:rPr>
                        <a:t>Wealth assets index scor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hMerge="1">
                  <a:txBody>
                    <a:bodyPr/>
                    <a:lstStyle/>
                    <a:p>
                      <a:endParaRPr lang="en-US"/>
                    </a:p>
                  </a:txBody>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_</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1019697684"/>
                  </a:ext>
                </a:extLst>
              </a:tr>
              <a:tr h="276490">
                <a:tc gridSpan="2">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Objective Level Outcome Indicators</a:t>
                      </a:r>
                      <a:r>
                        <a:rPr lang="en-GB" sz="1200" b="1">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hMerge="1">
                  <a:txBody>
                    <a:bodyPr/>
                    <a:lstStyle/>
                    <a:p>
                      <a:endParaRPr lang="en-US"/>
                    </a:p>
                  </a:txBody>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extLst>
                  <a:ext uri="{0D108BD9-81ED-4DB2-BD59-A6C34878D82A}">
                    <a16:rowId xmlns:a16="http://schemas.microsoft.com/office/drawing/2014/main" xmlns="" val="3213469216"/>
                  </a:ext>
                </a:extLst>
              </a:tr>
              <a:tr h="237060">
                <a:tc rowSpan="5">
                  <a:txBody>
                    <a:bodyPr/>
                    <a:lstStyle/>
                    <a:p>
                      <a:pPr marL="0" marR="0">
                        <a:lnSpc>
                          <a:spcPct val="107000"/>
                        </a:lnSpc>
                        <a:spcBef>
                          <a:spcPts val="0"/>
                        </a:spcBef>
                        <a:spcAft>
                          <a:spcPts val="0"/>
                        </a:spcAft>
                      </a:pPr>
                      <a:r>
                        <a:rPr lang="en-GB" sz="1200" b="1">
                          <a:effectLst/>
                          <a:latin typeface="Calibri" panose="020F0502020204030204" pitchFamily="34" charset="0"/>
                          <a:ea typeface="Times New Roman" panose="02020603050405020304" pitchFamily="18" charset="0"/>
                          <a:cs typeface="Calibri" panose="020F0502020204030204" pitchFamily="34" charset="0"/>
                        </a:rPr>
                        <a:t>Average yield (MT/ha) of focus crops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Maiz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2963431436"/>
                  </a:ext>
                </a:extLst>
              </a:tr>
              <a:tr h="237060">
                <a:tc vMerge="1">
                  <a:txBody>
                    <a:bodyPr/>
                    <a:lstStyle/>
                    <a:p>
                      <a:endParaRPr lang="en-US"/>
                    </a:p>
                  </a:txBody>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Ric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3.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4.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875052573"/>
                  </a:ext>
                </a:extLst>
              </a:tr>
              <a:tr h="237060">
                <a:tc vMerge="1">
                  <a:txBody>
                    <a:bodyPr/>
                    <a:lstStyle/>
                    <a:p>
                      <a:endParaRPr lang="en-US"/>
                    </a:p>
                  </a:txBody>
                  <a:tcPr/>
                </a:tc>
                <a:tc>
                  <a:txBody>
                    <a:bodyPr/>
                    <a:lstStyle/>
                    <a:p>
                      <a:pPr marL="0" marR="0">
                        <a:lnSpc>
                          <a:spcPct val="107000"/>
                        </a:lnSpc>
                        <a:spcBef>
                          <a:spcPts val="0"/>
                        </a:spcBef>
                        <a:spcAft>
                          <a:spcPts val="0"/>
                        </a:spcAft>
                      </a:pPr>
                      <a:r>
                        <a:rPr lang="en-GB" sz="1200" dirty="0" smtClean="0">
                          <a:effectLst/>
                          <a:latin typeface="Calibri" panose="020F0502020204030204" pitchFamily="34" charset="0"/>
                          <a:ea typeface="Times New Roman" panose="02020603050405020304" pitchFamily="18" charset="0"/>
                          <a:cs typeface="Calibri" panose="020F0502020204030204" pitchFamily="34" charset="0"/>
                        </a:rPr>
                        <a:t>Soybeans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6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0.6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3032005070"/>
                  </a:ext>
                </a:extLst>
              </a:tr>
              <a:tr h="237060">
                <a:tc vMerge="1">
                  <a:txBody>
                    <a:bodyPr/>
                    <a:lstStyle/>
                    <a:p>
                      <a:endParaRPr lang="en-US"/>
                    </a:p>
                  </a:txBody>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Cassava</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962705211"/>
                  </a:ext>
                </a:extLst>
              </a:tr>
              <a:tr h="237060">
                <a:tc vMerge="1">
                  <a:txBody>
                    <a:bodyPr/>
                    <a:lstStyle/>
                    <a:p>
                      <a:endParaRPr lang="en-US"/>
                    </a:p>
                  </a:txBody>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ean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4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4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4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5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2239033244"/>
                  </a:ext>
                </a:extLst>
              </a:tr>
              <a:tr h="237060">
                <a:tc rowSpan="5">
                  <a:txBody>
                    <a:bodyPr/>
                    <a:lstStyle/>
                    <a:p>
                      <a:pPr marL="0" marR="0">
                        <a:lnSpc>
                          <a:spcPct val="107000"/>
                        </a:lnSpc>
                        <a:spcBef>
                          <a:spcPts val="0"/>
                        </a:spcBef>
                        <a:spcAft>
                          <a:spcPts val="0"/>
                        </a:spcAft>
                      </a:pPr>
                      <a:r>
                        <a:rPr lang="en-GB" sz="1200" b="1" dirty="0" smtClean="0">
                          <a:effectLst/>
                          <a:latin typeface="Calibri" panose="020F0502020204030204" pitchFamily="34" charset="0"/>
                          <a:ea typeface="Times New Roman" panose="02020603050405020304" pitchFamily="18" charset="0"/>
                          <a:cs typeface="Calibri" panose="020F0502020204030204" pitchFamily="34" charset="0"/>
                        </a:rPr>
                        <a:t>% </a:t>
                      </a:r>
                      <a:r>
                        <a:rPr lang="en-GB" sz="1200" b="1" dirty="0">
                          <a:effectLst/>
                          <a:latin typeface="Calibri" panose="020F0502020204030204" pitchFamily="34" charset="0"/>
                          <a:ea typeface="Times New Roman" panose="02020603050405020304" pitchFamily="18" charset="0"/>
                          <a:cs typeface="Calibri" panose="020F0502020204030204" pitchFamily="34" charset="0"/>
                        </a:rPr>
                        <a:t>change in yield gap of focus crop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Maiz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b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1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2487861942"/>
                  </a:ext>
                </a:extLst>
              </a:tr>
              <a:tr h="237060">
                <a:tc vMerge="1">
                  <a:txBody>
                    <a:bodyPr/>
                    <a:lstStyle/>
                    <a:p>
                      <a:endParaRPr lang="en-US"/>
                    </a:p>
                  </a:txBody>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Ric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b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3215858466"/>
                  </a:ext>
                </a:extLst>
              </a:tr>
              <a:tr h="237060">
                <a:tc vMerge="1">
                  <a:txBody>
                    <a:bodyPr/>
                    <a:lstStyle/>
                    <a:p>
                      <a:endParaRPr lang="en-US"/>
                    </a:p>
                  </a:txBody>
                  <a:tcPr/>
                </a:tc>
                <a:tc>
                  <a:txBody>
                    <a:bodyPr/>
                    <a:lstStyle/>
                    <a:p>
                      <a:pPr marL="0" marR="0">
                        <a:lnSpc>
                          <a:spcPct val="107000"/>
                        </a:lnSpc>
                        <a:spcBef>
                          <a:spcPts val="0"/>
                        </a:spcBef>
                        <a:spcAft>
                          <a:spcPts val="0"/>
                        </a:spcAft>
                      </a:pPr>
                      <a:r>
                        <a:rPr lang="en-GB" sz="1200" dirty="0" smtClean="0">
                          <a:effectLst/>
                          <a:latin typeface="Calibri" panose="020F0502020204030204" pitchFamily="34" charset="0"/>
                          <a:ea typeface="Times New Roman" panose="02020603050405020304" pitchFamily="18" charset="0"/>
                          <a:cs typeface="Calibri" panose="020F0502020204030204" pitchFamily="34" charset="0"/>
                        </a:rPr>
                        <a:t>Soybeans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b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1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3938724272"/>
                  </a:ext>
                </a:extLst>
              </a:tr>
              <a:tr h="237060">
                <a:tc vMerge="1">
                  <a:txBody>
                    <a:bodyPr/>
                    <a:lstStyle/>
                    <a:p>
                      <a:endParaRPr lang="en-US"/>
                    </a:p>
                  </a:txBody>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Cassava</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b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1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1964287178"/>
                  </a:ext>
                </a:extLst>
              </a:tr>
              <a:tr h="237060">
                <a:tc vMerge="1">
                  <a:txBody>
                    <a:bodyPr/>
                    <a:lstStyle/>
                    <a:p>
                      <a:endParaRPr lang="en-US"/>
                    </a:p>
                  </a:txBody>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ean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b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dirty="0">
                          <a:effectLst/>
                          <a:latin typeface="Calibri" panose="020F0502020204030204" pitchFamily="34" charset="0"/>
                          <a:ea typeface="Times New Roman" panose="02020603050405020304" pitchFamily="18" charset="0"/>
                          <a:cs typeface="Calibri" panose="020F0502020204030204" pitchFamily="34" charset="0"/>
                        </a:rPr>
                        <a:t>↓by 1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7113" marR="27113"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3332491785"/>
                  </a:ext>
                </a:extLst>
              </a:tr>
            </a:tbl>
          </a:graphicData>
        </a:graphic>
      </p:graphicFrame>
    </p:spTree>
    <p:extLst>
      <p:ext uri="{BB962C8B-B14F-4D97-AF65-F5344CB8AC3E}">
        <p14:creationId xmlns:p14="http://schemas.microsoft.com/office/powerpoint/2010/main" val="343943850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650" y="181321"/>
            <a:ext cx="8007350" cy="307777"/>
          </a:xfrm>
        </p:spPr>
        <p:txBody>
          <a:bodyPr/>
          <a:lstStyle/>
          <a:p>
            <a:r>
              <a:rPr lang="en-US" sz="2000" dirty="0">
                <a:latin typeface="Arial" panose="020B0604020202020204" pitchFamily="34" charset="0"/>
                <a:ea typeface="Arial"/>
                <a:cs typeface="Arial" panose="020B0604020202020204" pitchFamily="34" charset="0"/>
                <a:sym typeface="Arial"/>
              </a:rPr>
              <a:t>Key Country Indicators and Target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956466202"/>
              </p:ext>
            </p:extLst>
          </p:nvPr>
        </p:nvGraphicFramePr>
        <p:xfrm>
          <a:off x="114441" y="528280"/>
          <a:ext cx="9652708" cy="6193356"/>
        </p:xfrm>
        <a:graphic>
          <a:graphicData uri="http://schemas.openxmlformats.org/drawingml/2006/table">
            <a:tbl>
              <a:tblPr firstRow="1" firstCol="1" bandRow="1"/>
              <a:tblGrid>
                <a:gridCol w="2312281">
                  <a:extLst>
                    <a:ext uri="{9D8B030D-6E8A-4147-A177-3AD203B41FA5}">
                      <a16:colId xmlns:a16="http://schemas.microsoft.com/office/drawing/2014/main" xmlns="" val="3883208410"/>
                    </a:ext>
                  </a:extLst>
                </a:gridCol>
                <a:gridCol w="1106490">
                  <a:extLst>
                    <a:ext uri="{9D8B030D-6E8A-4147-A177-3AD203B41FA5}">
                      <a16:colId xmlns:a16="http://schemas.microsoft.com/office/drawing/2014/main" xmlns="" val="1600615260"/>
                    </a:ext>
                  </a:extLst>
                </a:gridCol>
                <a:gridCol w="967457">
                  <a:extLst>
                    <a:ext uri="{9D8B030D-6E8A-4147-A177-3AD203B41FA5}">
                      <a16:colId xmlns:a16="http://schemas.microsoft.com/office/drawing/2014/main" xmlns="" val="2933412629"/>
                    </a:ext>
                  </a:extLst>
                </a:gridCol>
                <a:gridCol w="1244106">
                  <a:extLst>
                    <a:ext uri="{9D8B030D-6E8A-4147-A177-3AD203B41FA5}">
                      <a16:colId xmlns:a16="http://schemas.microsoft.com/office/drawing/2014/main" xmlns="" val="2248468575"/>
                    </a:ext>
                  </a:extLst>
                </a:gridCol>
                <a:gridCol w="1005770">
                  <a:extLst>
                    <a:ext uri="{9D8B030D-6E8A-4147-A177-3AD203B41FA5}">
                      <a16:colId xmlns:a16="http://schemas.microsoft.com/office/drawing/2014/main" xmlns="" val="2883589429"/>
                    </a:ext>
                  </a:extLst>
                </a:gridCol>
                <a:gridCol w="1005770">
                  <a:extLst>
                    <a:ext uri="{9D8B030D-6E8A-4147-A177-3AD203B41FA5}">
                      <a16:colId xmlns:a16="http://schemas.microsoft.com/office/drawing/2014/main" xmlns="" val="1656705997"/>
                    </a:ext>
                  </a:extLst>
                </a:gridCol>
                <a:gridCol w="1005770">
                  <a:extLst>
                    <a:ext uri="{9D8B030D-6E8A-4147-A177-3AD203B41FA5}">
                      <a16:colId xmlns:a16="http://schemas.microsoft.com/office/drawing/2014/main" xmlns="" val="766162140"/>
                    </a:ext>
                  </a:extLst>
                </a:gridCol>
                <a:gridCol w="1005064">
                  <a:extLst>
                    <a:ext uri="{9D8B030D-6E8A-4147-A177-3AD203B41FA5}">
                      <a16:colId xmlns:a16="http://schemas.microsoft.com/office/drawing/2014/main" xmlns="" val="1225462194"/>
                    </a:ext>
                  </a:extLst>
                </a:gridCol>
              </a:tblGrid>
              <a:tr h="236866">
                <a:tc gridSpan="2">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INDICATORS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5B9BD5"/>
                      </a:solidFill>
                      <a:prstDash val="solid"/>
                      <a:round/>
                      <a:headEnd type="none" w="med" len="med"/>
                      <a:tailEnd type="none" w="med" len="med"/>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hMerge="1">
                  <a:txBody>
                    <a:bodyPr/>
                    <a:lstStyle/>
                    <a:p>
                      <a:endParaRPr lang="en-US"/>
                    </a:p>
                  </a:txBody>
                  <a:tcPr/>
                </a:tc>
                <a:tc>
                  <a:txBody>
                    <a:bodyPr/>
                    <a:lstStyle/>
                    <a:p>
                      <a:pPr marL="0" marR="0" algn="just">
                        <a:lnSpc>
                          <a:spcPct val="107000"/>
                        </a:lnSpc>
                        <a:spcBef>
                          <a:spcPts val="0"/>
                        </a:spcBef>
                        <a:spcAft>
                          <a:spcPts val="0"/>
                        </a:spcAft>
                      </a:pPr>
                      <a:r>
                        <a:rPr lang="en-GB" sz="1400" b="1" dirty="0" smtClean="0">
                          <a:effectLst/>
                          <a:latin typeface="Calibri" panose="020F0502020204030204" pitchFamily="34" charset="0"/>
                          <a:ea typeface="Calibri" panose="020F0502020204030204" pitchFamily="34" charset="0"/>
                          <a:cs typeface="Times New Roman" panose="02020603050405020304" pitchFamily="18" charset="0"/>
                        </a:rPr>
                        <a:t>Baselin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1: 201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2: 20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3: 201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4: 20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5: 20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a:noFill/>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extLst>
                  <a:ext uri="{0D108BD9-81ED-4DB2-BD59-A6C34878D82A}">
                    <a16:rowId xmlns:a16="http://schemas.microsoft.com/office/drawing/2014/main" xmlns="" val="842562077"/>
                  </a:ext>
                </a:extLst>
              </a:tr>
              <a:tr h="473732">
                <a:tc gridSpan="2">
                  <a:txBody>
                    <a:bodyPr/>
                    <a:lstStyle/>
                    <a:p>
                      <a:pPr marL="0" marR="0" algn="just">
                        <a:lnSpc>
                          <a:spcPct val="107000"/>
                        </a:lnSpc>
                        <a:spcBef>
                          <a:spcPts val="0"/>
                        </a:spcBef>
                        <a:spcAft>
                          <a:spcPts val="0"/>
                        </a:spcAft>
                      </a:pPr>
                      <a:r>
                        <a:rPr lang="en-GB" sz="1400" b="1" dirty="0">
                          <a:effectLst/>
                          <a:latin typeface="Calibri" panose="020F0502020204030204" pitchFamily="34" charset="0"/>
                          <a:ea typeface="Calibri" panose="020F0502020204030204" pitchFamily="34" charset="0"/>
                          <a:cs typeface="Times New Roman" panose="02020603050405020304" pitchFamily="18" charset="0"/>
                        </a:rPr>
                        <a:t>Outcomes (PO: Primary Outcome, IO: Intermediate Outcom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hMerge="1">
                  <a:txBody>
                    <a:bodyPr/>
                    <a:lstStyle/>
                    <a:p>
                      <a:endParaRPr lang="en-US"/>
                    </a:p>
                  </a:txBody>
                  <a:tcPr/>
                </a:tc>
                <a:tc>
                  <a:txBody>
                    <a:bodyPr/>
                    <a:lstStyle/>
                    <a:p>
                      <a:pPr marL="0" marR="0" algn="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extLst>
                  <a:ext uri="{0D108BD9-81ED-4DB2-BD59-A6C34878D82A}">
                    <a16:rowId xmlns:a16="http://schemas.microsoft.com/office/drawing/2014/main" xmlns="" val="3073076935"/>
                  </a:ext>
                </a:extLst>
              </a:tr>
              <a:tr h="406130">
                <a:tc gridSpan="2">
                  <a:txBody>
                    <a:bodyPr/>
                    <a:lstStyle/>
                    <a:p>
                      <a:pPr marL="0" marR="0">
                        <a:lnSpc>
                          <a:spcPct val="107000"/>
                        </a:lnSpc>
                        <a:spcBef>
                          <a:spcPts val="0"/>
                        </a:spcBef>
                        <a:spcAft>
                          <a:spcPts val="0"/>
                        </a:spcAft>
                      </a:pPr>
                      <a:r>
                        <a:rPr lang="en-GB" sz="1200" b="0">
                          <a:effectLst/>
                          <a:latin typeface="Calibri" panose="020F0502020204030204" pitchFamily="34" charset="0"/>
                          <a:ea typeface="Times New Roman" panose="02020603050405020304" pitchFamily="18" charset="0"/>
                          <a:cs typeface="Calibri" panose="020F0502020204030204" pitchFamily="34" charset="0"/>
                        </a:rPr>
                        <a:t>Average time (months) from seed variety release to variety commercialization</a:t>
                      </a:r>
                      <a:endParaRPr lang="en-US" sz="1400" b="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hMerge="1">
                  <a:txBody>
                    <a:bodyPr/>
                    <a:lstStyle/>
                    <a:p>
                      <a:endParaRPr lang="en-US"/>
                    </a:p>
                  </a:txBody>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_</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3747743656"/>
                  </a:ext>
                </a:extLst>
              </a:tr>
              <a:tr h="609196">
                <a:tc gridSpan="2">
                  <a:txBody>
                    <a:bodyPr/>
                    <a:lstStyle/>
                    <a:p>
                      <a:pPr marL="0" marR="0">
                        <a:lnSpc>
                          <a:spcPct val="107000"/>
                        </a:lnSpc>
                        <a:spcBef>
                          <a:spcPts val="0"/>
                        </a:spcBef>
                        <a:spcAft>
                          <a:spcPts val="0"/>
                        </a:spcAft>
                      </a:pPr>
                      <a:r>
                        <a:rPr lang="en-GB" sz="1200" b="0" dirty="0">
                          <a:effectLst/>
                          <a:latin typeface="Calibri" panose="020F0502020204030204" pitchFamily="34" charset="0"/>
                          <a:ea typeface="Times New Roman" panose="02020603050405020304" pitchFamily="18" charset="0"/>
                          <a:cs typeface="Calibri" panose="020F0502020204030204" pitchFamily="34" charset="0"/>
                        </a:rPr>
                        <a:t>Rate of adoption of target improved productivity technologies or management practices at farmer level </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hMerge="1">
                  <a:txBody>
                    <a:bodyPr/>
                    <a:lstStyle/>
                    <a:p>
                      <a:endParaRPr lang="en-US"/>
                    </a:p>
                  </a:txBody>
                  <a:tcPr/>
                </a:tc>
                <a:tc>
                  <a:txBody>
                    <a:bodyPr/>
                    <a:lstStyle/>
                    <a:p>
                      <a:pPr marL="0" marR="0" algn="ctr">
                        <a:lnSpc>
                          <a:spcPct val="107000"/>
                        </a:lnSpc>
                        <a:spcBef>
                          <a:spcPts val="0"/>
                        </a:spcBef>
                        <a:spcAft>
                          <a:spcPts val="0"/>
                        </a:spcAft>
                      </a:pPr>
                      <a:r>
                        <a:rPr lang="en-GB" sz="1200" dirty="0" err="1">
                          <a:effectLst/>
                          <a:latin typeface="Calibri" panose="020F0502020204030204" pitchFamily="34" charset="0"/>
                          <a:ea typeface="Times New Roman" panose="02020603050405020304" pitchFamily="18" charset="0"/>
                          <a:cs typeface="Calibri" panose="020F0502020204030204" pitchFamily="34" charset="0"/>
                        </a:rPr>
                        <a:t>tbd</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to at least 40% of reach</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to at least 67% of reach</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4279458283"/>
                  </a:ext>
                </a:extLst>
              </a:tr>
              <a:tr h="203065">
                <a:tc rowSpan="5">
                  <a:txBody>
                    <a:bodyPr/>
                    <a:lstStyle/>
                    <a:p>
                      <a:pPr marL="0" marR="0">
                        <a:lnSpc>
                          <a:spcPct val="107000"/>
                        </a:lnSpc>
                        <a:spcBef>
                          <a:spcPts val="0"/>
                        </a:spcBef>
                        <a:spcAft>
                          <a:spcPts val="0"/>
                        </a:spcAft>
                      </a:pPr>
                      <a:r>
                        <a:rPr lang="en-GB" sz="1200" b="0" dirty="0" smtClean="0">
                          <a:effectLst/>
                          <a:latin typeface="Calibri" panose="020F0502020204030204" pitchFamily="34" charset="0"/>
                          <a:ea typeface="Times New Roman" panose="02020603050405020304" pitchFamily="18" charset="0"/>
                          <a:cs typeface="Calibri" panose="020F0502020204030204" pitchFamily="34" charset="0"/>
                        </a:rPr>
                        <a:t>% </a:t>
                      </a:r>
                      <a:r>
                        <a:rPr lang="en-GB" sz="1200" b="0" dirty="0">
                          <a:effectLst/>
                          <a:latin typeface="Calibri" panose="020F0502020204030204" pitchFamily="34" charset="0"/>
                          <a:ea typeface="Times New Roman" panose="02020603050405020304" pitchFamily="18" charset="0"/>
                          <a:cs typeface="Calibri" panose="020F0502020204030204" pitchFamily="34" charset="0"/>
                        </a:rPr>
                        <a:t>of post-harvest losses</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Maiz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dirty="0" smtClean="0">
                          <a:effectLst/>
                          <a:latin typeface="Calibri" panose="020F0502020204030204" pitchFamily="34" charset="0"/>
                          <a:ea typeface="Times New Roman" panose="02020603050405020304" pitchFamily="18" charset="0"/>
                          <a:cs typeface="Calibri" panose="020F0502020204030204" pitchFamily="34" charset="0"/>
                        </a:rPr>
                        <a:t>25%</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2322075133"/>
                  </a:ext>
                </a:extLst>
              </a:tr>
              <a:tr h="203065">
                <a:tc vMerge="1">
                  <a:txBody>
                    <a:bodyPr/>
                    <a:lstStyle/>
                    <a:p>
                      <a:endParaRPr lang="en-US"/>
                    </a:p>
                  </a:txBody>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Ric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dirty="0" smtClean="0">
                          <a:effectLst/>
                          <a:latin typeface="Calibri" panose="020F0502020204030204" pitchFamily="34" charset="0"/>
                          <a:ea typeface="Times New Roman" panose="02020603050405020304" pitchFamily="18" charset="0"/>
                          <a:cs typeface="Calibri" panose="020F0502020204030204" pitchFamily="34" charset="0"/>
                        </a:rPr>
                        <a:t>3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2771067103"/>
                  </a:ext>
                </a:extLst>
              </a:tr>
              <a:tr h="203065">
                <a:tc vMerge="1">
                  <a:txBody>
                    <a:bodyPr/>
                    <a:lstStyle/>
                    <a:p>
                      <a:endParaRPr lang="en-US"/>
                    </a:p>
                  </a:txBody>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Soy beans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2243394843"/>
                  </a:ext>
                </a:extLst>
              </a:tr>
              <a:tr h="203065">
                <a:tc vMerge="1">
                  <a:txBody>
                    <a:bodyPr/>
                    <a:lstStyle/>
                    <a:p>
                      <a:endParaRPr lang="en-US"/>
                    </a:p>
                  </a:txBody>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Cassava</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4151337045"/>
                  </a:ext>
                </a:extLst>
              </a:tr>
              <a:tr h="203065">
                <a:tc vMerge="1">
                  <a:txBody>
                    <a:bodyPr/>
                    <a:lstStyle/>
                    <a:p>
                      <a:endParaRPr lang="en-US"/>
                    </a:p>
                  </a:txBody>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ean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dirty="0" smtClean="0">
                          <a:effectLst/>
                          <a:latin typeface="Calibri" panose="020F0502020204030204" pitchFamily="34" charset="0"/>
                          <a:ea typeface="Times New Roman" panose="02020603050405020304" pitchFamily="18" charset="0"/>
                          <a:cs typeface="Calibri" panose="020F0502020204030204" pitchFamily="34" charset="0"/>
                        </a:rPr>
                        <a:t>26%</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2090464555"/>
                  </a:ext>
                </a:extLst>
              </a:tr>
              <a:tr h="406130">
                <a:tc rowSpan="3">
                  <a:txBody>
                    <a:bodyPr/>
                    <a:lstStyle/>
                    <a:p>
                      <a:pPr marL="0" marR="0">
                        <a:lnSpc>
                          <a:spcPct val="107000"/>
                        </a:lnSpc>
                        <a:spcBef>
                          <a:spcPts val="0"/>
                        </a:spcBef>
                        <a:spcAft>
                          <a:spcPts val="0"/>
                        </a:spcAft>
                      </a:pPr>
                      <a:r>
                        <a:rPr lang="en-GB" sz="1200" b="0">
                          <a:effectLst/>
                          <a:latin typeface="Calibri" panose="020F0502020204030204" pitchFamily="34" charset="0"/>
                          <a:ea typeface="Times New Roman" panose="02020603050405020304" pitchFamily="18" charset="0"/>
                          <a:cs typeface="Calibri" panose="020F0502020204030204" pitchFamily="34" charset="0"/>
                        </a:rPr>
                        <a:t>Number of new people employed by SMEs receiving AGRA support along the focus value chains</a:t>
                      </a:r>
                      <a:endParaRPr lang="en-US" sz="1400" b="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otal people employe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b="1">
                          <a:effectLst/>
                          <a:latin typeface="Calibri" panose="020F0502020204030204" pitchFamily="34" charset="0"/>
                          <a:ea typeface="Times New Roman" panose="02020603050405020304" pitchFamily="18" charset="0"/>
                          <a:cs typeface="Calibri" panose="020F0502020204030204" pitchFamily="34" charset="0"/>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b="1">
                          <a:effectLst/>
                          <a:latin typeface="Calibri" panose="020F0502020204030204" pitchFamily="34" charset="0"/>
                          <a:ea typeface="Times New Roman" panose="02020603050405020304" pitchFamily="18" charset="0"/>
                          <a:cs typeface="Calibri" panose="020F0502020204030204" pitchFamily="34" charset="0"/>
                        </a:rPr>
                        <a:t>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b="1">
                          <a:effectLst/>
                          <a:latin typeface="Calibri" panose="020F0502020204030204" pitchFamily="34" charset="0"/>
                          <a:ea typeface="Times New Roman" panose="02020603050405020304" pitchFamily="18" charset="0"/>
                          <a:cs typeface="Calibri" panose="020F0502020204030204" pitchFamily="34" charset="0"/>
                        </a:rPr>
                        <a:t>64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b="1">
                          <a:effectLst/>
                          <a:latin typeface="Calibri" panose="020F0502020204030204" pitchFamily="34" charset="0"/>
                          <a:ea typeface="Times New Roman" panose="02020603050405020304" pitchFamily="18" charset="0"/>
                          <a:cs typeface="Calibri" panose="020F0502020204030204" pitchFamily="34" charset="0"/>
                        </a:rPr>
                        <a:t>47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b="1">
                          <a:effectLst/>
                          <a:latin typeface="Calibri" panose="020F0502020204030204" pitchFamily="34" charset="0"/>
                          <a:ea typeface="Times New Roman" panose="02020603050405020304" pitchFamily="18" charset="0"/>
                          <a:cs typeface="Calibri" panose="020F0502020204030204" pitchFamily="34" charset="0"/>
                        </a:rPr>
                        <a:t>22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b="1">
                          <a:effectLst/>
                          <a:latin typeface="Calibri" panose="020F0502020204030204" pitchFamily="34" charset="0"/>
                          <a:ea typeface="Times New Roman" panose="02020603050405020304" pitchFamily="18" charset="0"/>
                          <a:cs typeface="Calibri" panose="020F0502020204030204" pitchFamily="34" charset="0"/>
                        </a:rPr>
                        <a:t>7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429240189"/>
                  </a:ext>
                </a:extLst>
              </a:tr>
              <a:tr h="203065">
                <a:tc vMerge="1">
                  <a:txBody>
                    <a:bodyPr/>
                    <a:lstStyle/>
                    <a:p>
                      <a:endParaRPr lang="en-US"/>
                    </a:p>
                  </a:txBody>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Mal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8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8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3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4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1039382357"/>
                  </a:ext>
                </a:extLst>
              </a:tr>
              <a:tr h="203065">
                <a:tc vMerge="1">
                  <a:txBody>
                    <a:bodyPr/>
                    <a:lstStyle/>
                    <a:p>
                      <a:endParaRPr lang="en-US"/>
                    </a:p>
                  </a:txBody>
                  <a:tcPr/>
                </a:tc>
                <a:tc>
                  <a:txBody>
                    <a:bodyPr/>
                    <a:lstStyle/>
                    <a:p>
                      <a:pPr marL="0" marR="0">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Femal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5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8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998490787"/>
                  </a:ext>
                </a:extLst>
              </a:tr>
              <a:tr h="406130">
                <a:tc gridSpan="2">
                  <a:txBody>
                    <a:bodyPr/>
                    <a:lstStyle/>
                    <a:p>
                      <a:pPr marL="0" marR="0">
                        <a:lnSpc>
                          <a:spcPct val="107000"/>
                        </a:lnSpc>
                        <a:spcBef>
                          <a:spcPts val="0"/>
                        </a:spcBef>
                        <a:spcAft>
                          <a:spcPts val="0"/>
                        </a:spcAft>
                      </a:pPr>
                      <a:r>
                        <a:rPr lang="en-GB" sz="1200" b="0" dirty="0" smtClean="0">
                          <a:effectLst/>
                          <a:latin typeface="Calibri" panose="020F0502020204030204" pitchFamily="34" charset="0"/>
                          <a:ea typeface="Times New Roman" panose="02020603050405020304" pitchFamily="18" charset="0"/>
                          <a:cs typeface="Calibri" panose="020F0502020204030204" pitchFamily="34" charset="0"/>
                        </a:rPr>
                        <a:t>%</a:t>
                      </a:r>
                      <a:r>
                        <a:rPr lang="en-GB" sz="1200" b="0" baseline="0" dirty="0" smtClean="0">
                          <a:effectLst/>
                          <a:latin typeface="Calibri" panose="020F0502020204030204" pitchFamily="34" charset="0"/>
                          <a:ea typeface="Times New Roman" panose="02020603050405020304" pitchFamily="18" charset="0"/>
                          <a:cs typeface="Calibri" panose="020F0502020204030204" pitchFamily="34" charset="0"/>
                        </a:rPr>
                        <a:t> </a:t>
                      </a:r>
                      <a:r>
                        <a:rPr lang="en-GB" sz="1200" b="0" dirty="0" smtClean="0">
                          <a:effectLst/>
                          <a:latin typeface="Calibri" panose="020F0502020204030204" pitchFamily="34" charset="0"/>
                          <a:ea typeface="Times New Roman" panose="02020603050405020304" pitchFamily="18" charset="0"/>
                          <a:cs typeface="Calibri" panose="020F0502020204030204" pitchFamily="34" charset="0"/>
                        </a:rPr>
                        <a:t>of </a:t>
                      </a:r>
                      <a:r>
                        <a:rPr lang="en-GB" sz="1200" b="0" dirty="0">
                          <a:effectLst/>
                          <a:latin typeface="Calibri" panose="020F0502020204030204" pitchFamily="34" charset="0"/>
                          <a:ea typeface="Times New Roman" panose="02020603050405020304" pitchFamily="18" charset="0"/>
                          <a:cs typeface="Calibri" panose="020F0502020204030204" pitchFamily="34" charset="0"/>
                        </a:rPr>
                        <a:t>total household produce sold through structured market facilities/arrangements</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hMerge="1">
                  <a:txBody>
                    <a:bodyPr/>
                    <a:lstStyle/>
                    <a:p>
                      <a:endParaRPr lang="en-US"/>
                    </a:p>
                  </a:txBody>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b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1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3651379402"/>
                  </a:ext>
                </a:extLst>
              </a:tr>
              <a:tr h="406130">
                <a:tc gridSpan="2">
                  <a:txBody>
                    <a:bodyPr/>
                    <a:lstStyle/>
                    <a:p>
                      <a:pPr marL="0" marR="0">
                        <a:lnSpc>
                          <a:spcPct val="107000"/>
                        </a:lnSpc>
                        <a:spcBef>
                          <a:spcPts val="0"/>
                        </a:spcBef>
                        <a:spcAft>
                          <a:spcPts val="0"/>
                        </a:spcAft>
                      </a:pPr>
                      <a:r>
                        <a:rPr lang="en-GB" sz="1200" b="0" dirty="0" smtClean="0">
                          <a:effectLst/>
                          <a:latin typeface="Calibri" panose="020F0502020204030204" pitchFamily="34" charset="0"/>
                          <a:ea typeface="Times New Roman" panose="02020603050405020304" pitchFamily="18" charset="0"/>
                          <a:cs typeface="Calibri" panose="020F0502020204030204" pitchFamily="34" charset="0"/>
                        </a:rPr>
                        <a:t>% </a:t>
                      </a:r>
                      <a:r>
                        <a:rPr lang="en-GB" sz="1200" b="0" dirty="0">
                          <a:effectLst/>
                          <a:latin typeface="Calibri" panose="020F0502020204030204" pitchFamily="34" charset="0"/>
                          <a:ea typeface="Times New Roman" panose="02020603050405020304" pitchFamily="18" charset="0"/>
                          <a:cs typeface="Calibri" panose="020F0502020204030204" pitchFamily="34" charset="0"/>
                        </a:rPr>
                        <a:t>value of financial services directed to agriculture sector</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hMerge="1">
                  <a:txBody>
                    <a:bodyPr/>
                    <a:lstStyle/>
                    <a:p>
                      <a:endParaRPr lang="en-US"/>
                    </a:p>
                  </a:txBody>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b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dirty="0">
                          <a:effectLst/>
                          <a:latin typeface="Calibri" panose="020F0502020204030204" pitchFamily="34" charset="0"/>
                          <a:ea typeface="Times New Roman" panose="02020603050405020304" pitchFamily="18" charset="0"/>
                          <a:cs typeface="Calibri" panose="020F0502020204030204" pitchFamily="34" charset="0"/>
                        </a:rPr>
                        <a:t>↑by 1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3619930464"/>
                  </a:ext>
                </a:extLst>
              </a:tr>
              <a:tr h="609196">
                <a:tc gridSpan="2">
                  <a:txBody>
                    <a:bodyPr/>
                    <a:lstStyle/>
                    <a:p>
                      <a:pPr marL="0" marR="0">
                        <a:lnSpc>
                          <a:spcPct val="107000"/>
                        </a:lnSpc>
                        <a:spcBef>
                          <a:spcPts val="0"/>
                        </a:spcBef>
                        <a:spcAft>
                          <a:spcPts val="0"/>
                        </a:spcAft>
                      </a:pPr>
                      <a:r>
                        <a:rPr lang="en-GB" sz="1200" b="0" dirty="0" smtClean="0">
                          <a:effectLst/>
                          <a:latin typeface="Calibri" panose="020F0502020204030204" pitchFamily="34" charset="0"/>
                          <a:ea typeface="Times New Roman" panose="02020603050405020304" pitchFamily="18" charset="0"/>
                          <a:cs typeface="Calibri" panose="020F0502020204030204" pitchFamily="34" charset="0"/>
                        </a:rPr>
                        <a:t>% </a:t>
                      </a:r>
                      <a:r>
                        <a:rPr lang="en-GB" sz="1200" b="0" dirty="0">
                          <a:effectLst/>
                          <a:latin typeface="Calibri" panose="020F0502020204030204" pitchFamily="34" charset="0"/>
                          <a:ea typeface="Times New Roman" panose="02020603050405020304" pitchFamily="18" charset="0"/>
                          <a:cs typeface="Calibri" panose="020F0502020204030204" pitchFamily="34" charset="0"/>
                        </a:rPr>
                        <a:t>yield difference of farming households using climate smart technologies in times of shocks/stresses </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hMerge="1">
                  <a:txBody>
                    <a:bodyPr/>
                    <a:lstStyle/>
                    <a:p>
                      <a:endParaRPr lang="en-US"/>
                    </a:p>
                  </a:txBody>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b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dirty="0">
                          <a:effectLst/>
                          <a:latin typeface="Calibri" panose="020F0502020204030204" pitchFamily="34" charset="0"/>
                          <a:ea typeface="Times New Roman" panose="02020603050405020304" pitchFamily="18" charset="0"/>
                          <a:cs typeface="Calibri" panose="020F0502020204030204" pitchFamily="34" charset="0"/>
                        </a:rPr>
                        <a:t>↑by 5%</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dirty="0" smtClean="0">
                          <a:effectLst/>
                          <a:latin typeface="Calibri" panose="020F0502020204030204" pitchFamily="34" charset="0"/>
                          <a:ea typeface="Times New Roman" panose="02020603050405020304" pitchFamily="18" charset="0"/>
                          <a:cs typeface="Calibri" panose="020F0502020204030204" pitchFamily="34" charset="0"/>
                        </a:rPr>
                        <a:t>↑by 12%</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dirty="0" smtClean="0">
                          <a:effectLst/>
                          <a:latin typeface="Calibri" panose="020F0502020204030204" pitchFamily="34" charset="0"/>
                          <a:ea typeface="Times New Roman" panose="02020603050405020304" pitchFamily="18" charset="0"/>
                          <a:cs typeface="Calibri" panose="020F0502020204030204" pitchFamily="34" charset="0"/>
                        </a:rPr>
                        <a:t>↑by 15%</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929590368"/>
                  </a:ext>
                </a:extLst>
              </a:tr>
              <a:tr h="1218391">
                <a:tc gridSpan="2">
                  <a:txBody>
                    <a:bodyPr/>
                    <a:lstStyle/>
                    <a:p>
                      <a:pPr marL="0" marR="0">
                        <a:lnSpc>
                          <a:spcPct val="107000"/>
                        </a:lnSpc>
                        <a:spcBef>
                          <a:spcPts val="0"/>
                        </a:spcBef>
                        <a:spcAft>
                          <a:spcPts val="0"/>
                        </a:spcAft>
                      </a:pPr>
                      <a:r>
                        <a:rPr lang="en-GB" sz="1200" b="0">
                          <a:effectLst/>
                          <a:latin typeface="Calibri" panose="020F0502020204030204" pitchFamily="34" charset="0"/>
                          <a:ea typeface="Times New Roman" panose="02020603050405020304" pitchFamily="18" charset="0"/>
                          <a:cs typeface="Calibri" panose="020F0502020204030204" pitchFamily="34" charset="0"/>
                        </a:rPr>
                        <a:t>Number of countries with a functional multi-stakeholder coordination body that links with regional bodies</a:t>
                      </a:r>
                      <a:endParaRPr lang="en-US" sz="1400" b="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hMerge="1">
                  <a:txBody>
                    <a:bodyPr/>
                    <a:lstStyle/>
                    <a:p>
                      <a:endParaRPr lang="en-US"/>
                    </a:p>
                  </a:txBody>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b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z has a functional multi-stakeholder coordination bod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z has a functional multi-stakeholder coordination bod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z has a functional multi-stakeholder coordination bod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dirty="0">
                          <a:effectLst/>
                          <a:latin typeface="Calibri" panose="020F0502020204030204" pitchFamily="34" charset="0"/>
                          <a:ea typeface="Times New Roman" panose="02020603050405020304" pitchFamily="18" charset="0"/>
                          <a:cs typeface="Calibri" panose="020F0502020204030204" pitchFamily="34" charset="0"/>
                        </a:rPr>
                        <a:t>1</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9300" marR="1930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2454298945"/>
                  </a:ext>
                </a:extLst>
              </a:tr>
            </a:tbl>
          </a:graphicData>
        </a:graphic>
      </p:graphicFrame>
      <p:sp>
        <p:nvSpPr>
          <p:cNvPr id="4" name="Slide Number Placeholder 3"/>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FAD6F48-C937-4B90-AF1D-01ADEA9D6D76}" type="slidenum">
              <a:rPr kumimoji="0" lang="en-US" sz="1600" b="0" i="0" u="none" strike="noStrike" kern="1200" cap="none" spc="0" normalizeH="0" baseline="0" noProof="0" smtClean="0">
                <a:ln>
                  <a:noFill/>
                </a:ln>
                <a:solidFill>
                  <a:prstClr val="black">
                    <a:tint val="75000"/>
                  </a:prstClr>
                </a:solidFill>
                <a:effectLst/>
                <a:uLnTx/>
                <a:uFillTx/>
                <a:latin typeface="Arial" charset="0"/>
                <a:ea typeface="+mn-ea"/>
                <a:cs typeface="Arial"/>
                <a:sym typeface="Arial"/>
              </a:rPr>
              <a:pPr marL="0" marR="0" lvl="0" indent="0" algn="l" defTabSz="914400" rtl="0" eaLnBrk="1" fontAlgn="base" latinLnBrk="0" hangingPunct="1">
                <a:lnSpc>
                  <a:spcPct val="100000"/>
                </a:lnSpc>
                <a:spcBef>
                  <a:spcPct val="0"/>
                </a:spcBef>
                <a:spcAft>
                  <a:spcPct val="0"/>
                </a:spcAft>
                <a:buClrTx/>
                <a:buSzTx/>
                <a:buFontTx/>
                <a:buNone/>
                <a:tabLst/>
                <a:defRPr/>
              </a:pPr>
              <a:t>48</a:t>
            </a:fld>
            <a:endParaRPr kumimoji="0" lang="en-US" sz="1600" b="0" i="0" u="none" strike="noStrike" kern="1200" cap="none" spc="0" normalizeH="0" baseline="0" noProof="0" dirty="0">
              <a:ln>
                <a:noFill/>
              </a:ln>
              <a:solidFill>
                <a:prstClr val="black">
                  <a:tint val="75000"/>
                </a:prstClr>
              </a:solidFill>
              <a:effectLst/>
              <a:uLnTx/>
              <a:uFillTx/>
              <a:latin typeface="Arial" charset="0"/>
              <a:ea typeface="+mn-ea"/>
              <a:cs typeface="Arial"/>
              <a:sym typeface="Arial"/>
            </a:endParaRPr>
          </a:p>
        </p:txBody>
      </p:sp>
    </p:spTree>
    <p:extLst>
      <p:ext uri="{BB962C8B-B14F-4D97-AF65-F5344CB8AC3E}">
        <p14:creationId xmlns:p14="http://schemas.microsoft.com/office/powerpoint/2010/main" val="216937173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650" y="215187"/>
            <a:ext cx="8007350" cy="307777"/>
          </a:xfrm>
        </p:spPr>
        <p:txBody>
          <a:bodyPr/>
          <a:lstStyle/>
          <a:p>
            <a:r>
              <a:rPr lang="en-US" sz="1800" dirty="0">
                <a:latin typeface="Arial" panose="020B0604020202020204" pitchFamily="34" charset="0"/>
                <a:ea typeface="Arial"/>
                <a:cs typeface="Arial" panose="020B0604020202020204" pitchFamily="34" charset="0"/>
                <a:sym typeface="Arial"/>
              </a:rPr>
              <a:t>Key Country </a:t>
            </a:r>
            <a:r>
              <a:rPr lang="en-US" sz="2000" dirty="0">
                <a:latin typeface="Arial" panose="020B0604020202020204" pitchFamily="34" charset="0"/>
                <a:ea typeface="Arial"/>
                <a:cs typeface="Arial" panose="020B0604020202020204" pitchFamily="34" charset="0"/>
                <a:sym typeface="Arial"/>
              </a:rPr>
              <a:t>Indicators</a:t>
            </a:r>
            <a:r>
              <a:rPr lang="en-US" sz="1800" dirty="0">
                <a:latin typeface="Arial" panose="020B0604020202020204" pitchFamily="34" charset="0"/>
                <a:ea typeface="Arial"/>
                <a:cs typeface="Arial" panose="020B0604020202020204" pitchFamily="34" charset="0"/>
                <a:sym typeface="Arial"/>
              </a:rPr>
              <a:t> and Target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260249601"/>
              </p:ext>
            </p:extLst>
          </p:nvPr>
        </p:nvGraphicFramePr>
        <p:xfrm>
          <a:off x="33161" y="832413"/>
          <a:ext cx="9685865" cy="6025587"/>
        </p:xfrm>
        <a:graphic>
          <a:graphicData uri="http://schemas.openxmlformats.org/drawingml/2006/table">
            <a:tbl>
              <a:tblPr firstRow="1" firstCol="1" bandRow="1"/>
              <a:tblGrid>
                <a:gridCol w="3533081">
                  <a:extLst>
                    <a:ext uri="{9D8B030D-6E8A-4147-A177-3AD203B41FA5}">
                      <a16:colId xmlns:a16="http://schemas.microsoft.com/office/drawing/2014/main" xmlns="" val="1216487056"/>
                    </a:ext>
                  </a:extLst>
                </a:gridCol>
                <a:gridCol w="742437">
                  <a:extLst>
                    <a:ext uri="{9D8B030D-6E8A-4147-A177-3AD203B41FA5}">
                      <a16:colId xmlns:a16="http://schemas.microsoft.com/office/drawing/2014/main" xmlns="" val="2851664718"/>
                    </a:ext>
                  </a:extLst>
                </a:gridCol>
                <a:gridCol w="1166791">
                  <a:extLst>
                    <a:ext uri="{9D8B030D-6E8A-4147-A177-3AD203B41FA5}">
                      <a16:colId xmlns:a16="http://schemas.microsoft.com/office/drawing/2014/main" xmlns="" val="3002403219"/>
                    </a:ext>
                  </a:extLst>
                </a:gridCol>
                <a:gridCol w="1061264">
                  <a:extLst>
                    <a:ext uri="{9D8B030D-6E8A-4147-A177-3AD203B41FA5}">
                      <a16:colId xmlns:a16="http://schemas.microsoft.com/office/drawing/2014/main" xmlns="" val="3695921250"/>
                    </a:ext>
                  </a:extLst>
                </a:gridCol>
                <a:gridCol w="1060514">
                  <a:extLst>
                    <a:ext uri="{9D8B030D-6E8A-4147-A177-3AD203B41FA5}">
                      <a16:colId xmlns:a16="http://schemas.microsoft.com/office/drawing/2014/main" xmlns="" val="1392277057"/>
                    </a:ext>
                  </a:extLst>
                </a:gridCol>
                <a:gridCol w="1061264">
                  <a:extLst>
                    <a:ext uri="{9D8B030D-6E8A-4147-A177-3AD203B41FA5}">
                      <a16:colId xmlns:a16="http://schemas.microsoft.com/office/drawing/2014/main" xmlns="" val="1238343977"/>
                    </a:ext>
                  </a:extLst>
                </a:gridCol>
                <a:gridCol w="1060514">
                  <a:extLst>
                    <a:ext uri="{9D8B030D-6E8A-4147-A177-3AD203B41FA5}">
                      <a16:colId xmlns:a16="http://schemas.microsoft.com/office/drawing/2014/main" xmlns="" val="1701941983"/>
                    </a:ext>
                  </a:extLst>
                </a:gridCol>
              </a:tblGrid>
              <a:tr h="249504">
                <a:tc>
                  <a:txBody>
                    <a:bodyPr/>
                    <a:lstStyle/>
                    <a:p>
                      <a:pPr marL="0" marR="0" algn="just">
                        <a:lnSpc>
                          <a:spcPct val="107000"/>
                        </a:lnSpc>
                        <a:spcBef>
                          <a:spcPts val="0"/>
                        </a:spcBef>
                        <a:spcAft>
                          <a:spcPts val="0"/>
                        </a:spcAft>
                      </a:pPr>
                      <a:r>
                        <a:rPr lang="en-GB" sz="1400" b="1" dirty="0">
                          <a:effectLst/>
                          <a:latin typeface="Calibri" panose="020F0502020204030204" pitchFamily="34" charset="0"/>
                          <a:ea typeface="Calibri" panose="020F0502020204030204" pitchFamily="34" charset="0"/>
                          <a:cs typeface="Times New Roman" panose="02020603050405020304" pitchFamily="18" charset="0"/>
                        </a:rPr>
                        <a:t>INDICATORS </a:t>
                      </a:r>
                      <a:endParaRPr lang="en-GB" sz="1400" b="1"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5B9BD5"/>
                      </a:solidFill>
                      <a:prstDash val="solid"/>
                      <a:round/>
                      <a:headEnd type="none" w="med" len="med"/>
                      <a:tailEnd type="none" w="med" len="med"/>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Baselin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1: 201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2: 20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3: 201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gn="just">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4: 20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a:noFill/>
                    </a:lnL>
                    <a:lnR>
                      <a:noFill/>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marL="0" marR="0">
                        <a:lnSpc>
                          <a:spcPct val="107000"/>
                        </a:lnSpc>
                        <a:spcBef>
                          <a:spcPts val="0"/>
                        </a:spcBef>
                        <a:spcAft>
                          <a:spcPts val="0"/>
                        </a:spcAft>
                      </a:pPr>
                      <a:r>
                        <a:rPr lang="en-GB" sz="1400" b="1">
                          <a:effectLst/>
                          <a:latin typeface="Calibri" panose="020F0502020204030204" pitchFamily="34" charset="0"/>
                          <a:ea typeface="Calibri" panose="020F0502020204030204" pitchFamily="34" charset="0"/>
                          <a:cs typeface="Times New Roman" panose="02020603050405020304" pitchFamily="18" charset="0"/>
                        </a:rPr>
                        <a:t>Year 5: 20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a:noFill/>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extLst>
                  <a:ext uri="{0D108BD9-81ED-4DB2-BD59-A6C34878D82A}">
                    <a16:rowId xmlns:a16="http://schemas.microsoft.com/office/drawing/2014/main" xmlns="" val="297466773"/>
                  </a:ext>
                </a:extLst>
              </a:tr>
              <a:tr h="510553">
                <a:tc>
                  <a:txBody>
                    <a:bodyPr/>
                    <a:lstStyle/>
                    <a:p>
                      <a:pPr marL="0" marR="0" algn="just">
                        <a:lnSpc>
                          <a:spcPct val="107000"/>
                        </a:lnSpc>
                        <a:spcBef>
                          <a:spcPts val="0"/>
                        </a:spcBef>
                        <a:spcAft>
                          <a:spcPts val="0"/>
                        </a:spcAft>
                      </a:pPr>
                      <a:r>
                        <a:rPr lang="en-GB" sz="1400" b="1" dirty="0">
                          <a:effectLst/>
                          <a:latin typeface="Calibri" panose="020F0502020204030204" pitchFamily="34" charset="0"/>
                          <a:ea typeface="Calibri" panose="020F0502020204030204" pitchFamily="34" charset="0"/>
                          <a:cs typeface="Times New Roman" panose="02020603050405020304" pitchFamily="18" charset="0"/>
                        </a:rPr>
                        <a:t>Outcomes (PO: Primary Outcome, IO: Intermediate Outcom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GB"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5B9BD5"/>
                    </a:solidFill>
                  </a:tcPr>
                </a:tc>
                <a:extLst>
                  <a:ext uri="{0D108BD9-81ED-4DB2-BD59-A6C34878D82A}">
                    <a16:rowId xmlns:a16="http://schemas.microsoft.com/office/drawing/2014/main" xmlns="" val="1583721286"/>
                  </a:ext>
                </a:extLst>
              </a:tr>
              <a:tr h="1332911">
                <a:tc>
                  <a:txBody>
                    <a:bodyPr/>
                    <a:lstStyle/>
                    <a:p>
                      <a:pPr marL="0" marR="0">
                        <a:lnSpc>
                          <a:spcPct val="107000"/>
                        </a:lnSpc>
                        <a:spcBef>
                          <a:spcPts val="0"/>
                        </a:spcBef>
                        <a:spcAft>
                          <a:spcPts val="0"/>
                        </a:spcAft>
                      </a:pPr>
                      <a:r>
                        <a:rPr lang="en-GB" sz="1200" b="0" dirty="0">
                          <a:effectLst/>
                          <a:latin typeface="Calibri" panose="020F0502020204030204" pitchFamily="34" charset="0"/>
                          <a:ea typeface="Times New Roman" panose="02020603050405020304" pitchFamily="18" charset="0"/>
                          <a:cs typeface="Calibri" panose="020F0502020204030204" pitchFamily="34" charset="0"/>
                        </a:rPr>
                        <a:t>Supportive institutions/mechanisms to implement approved national agriculture policies as a result of AGRA support in place</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dirty="0">
                          <a:effectLst/>
                          <a:latin typeface="Calibri" panose="020F0502020204030204" pitchFamily="34" charset="0"/>
                          <a:ea typeface="Times New Roman" panose="02020603050405020304" pitchFamily="18" charset="0"/>
                          <a:cs typeface="Calibri" panose="020F0502020204030204" pitchFamily="34" charset="0"/>
                        </a:rPr>
                        <a:t>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Supportive institutions/mechanisms to implement approved policies set up</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Supportive institutions/mechanisms to implement approved policies set up</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Supportive institutions/mechanisms to implement approved policies set up</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supportive institutions/mechanisms exist, and functioning</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dirty="0">
                          <a:effectLst/>
                          <a:latin typeface="Calibri" panose="020F0502020204030204" pitchFamily="34" charset="0"/>
                          <a:ea typeface="Times New Roman" panose="02020603050405020304" pitchFamily="18" charset="0"/>
                          <a:cs typeface="Calibri" panose="020F0502020204030204" pitchFamily="34" charset="0"/>
                        </a:rPr>
                        <a:t>supportive institutions/mechanisms exist, and functioning</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2077309128"/>
                  </a:ext>
                </a:extLst>
              </a:tr>
              <a:tr h="213922">
                <a:tc>
                  <a:txBody>
                    <a:bodyPr/>
                    <a:lstStyle/>
                    <a:p>
                      <a:pPr marL="0" marR="0">
                        <a:lnSpc>
                          <a:spcPct val="107000"/>
                        </a:lnSpc>
                        <a:spcBef>
                          <a:spcPts val="0"/>
                        </a:spcBef>
                        <a:spcAft>
                          <a:spcPts val="0"/>
                        </a:spcAft>
                      </a:pPr>
                      <a:r>
                        <a:rPr lang="en-GB" sz="1200" b="0">
                          <a:effectLst/>
                          <a:latin typeface="Calibri" panose="020F0502020204030204" pitchFamily="34" charset="0"/>
                          <a:ea typeface="Times New Roman" panose="02020603050405020304" pitchFamily="18" charset="0"/>
                          <a:cs typeface="Calibri" panose="020F0502020204030204" pitchFamily="34" charset="0"/>
                        </a:rPr>
                        <a:t>Women's Empowerment in Agriculture Index (WEAI) </a:t>
                      </a:r>
                      <a:endParaRPr lang="en-US" sz="1400" b="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b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x</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1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3246255938"/>
                  </a:ext>
                </a:extLst>
              </a:tr>
              <a:tr h="437720">
                <a:tc>
                  <a:txBody>
                    <a:bodyPr/>
                    <a:lstStyle/>
                    <a:p>
                      <a:pPr marL="0" marR="0">
                        <a:lnSpc>
                          <a:spcPct val="107000"/>
                        </a:lnSpc>
                        <a:spcBef>
                          <a:spcPts val="0"/>
                        </a:spcBef>
                        <a:spcAft>
                          <a:spcPts val="0"/>
                        </a:spcAft>
                      </a:pPr>
                      <a:r>
                        <a:rPr lang="en-GB" sz="1200" b="0" dirty="0" smtClean="0">
                          <a:effectLst/>
                          <a:latin typeface="Calibri" panose="020F0502020204030204" pitchFamily="34" charset="0"/>
                          <a:ea typeface="Times New Roman" panose="02020603050405020304" pitchFamily="18" charset="0"/>
                          <a:cs typeface="Calibri" panose="020F0502020204030204" pitchFamily="34" charset="0"/>
                        </a:rPr>
                        <a:t>% </a:t>
                      </a:r>
                      <a:r>
                        <a:rPr lang="en-GB" sz="1200" b="0" dirty="0">
                          <a:effectLst/>
                          <a:latin typeface="Calibri" panose="020F0502020204030204" pitchFamily="34" charset="0"/>
                          <a:ea typeface="Times New Roman" panose="02020603050405020304" pitchFamily="18" charset="0"/>
                          <a:cs typeface="Calibri" panose="020F0502020204030204" pitchFamily="34" charset="0"/>
                        </a:rPr>
                        <a:t>of youth in target areas engaged in agricultural activities for livelihood</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tb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2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2521641294"/>
                  </a:ext>
                </a:extLst>
              </a:tr>
              <a:tr h="437720">
                <a:tc>
                  <a:txBody>
                    <a:bodyPr/>
                    <a:lstStyle/>
                    <a:p>
                      <a:pPr marL="0" marR="0">
                        <a:lnSpc>
                          <a:spcPct val="107000"/>
                        </a:lnSpc>
                        <a:spcBef>
                          <a:spcPts val="0"/>
                        </a:spcBef>
                        <a:spcAft>
                          <a:spcPts val="0"/>
                        </a:spcAft>
                      </a:pPr>
                      <a:r>
                        <a:rPr lang="en-GB" sz="1200" b="0" dirty="0" smtClean="0">
                          <a:effectLst/>
                          <a:latin typeface="Calibri" panose="020F0502020204030204" pitchFamily="34" charset="0"/>
                          <a:ea typeface="Times New Roman" panose="02020603050405020304" pitchFamily="18" charset="0"/>
                          <a:cs typeface="Calibri" panose="020F0502020204030204" pitchFamily="34" charset="0"/>
                        </a:rPr>
                        <a:t>% </a:t>
                      </a:r>
                      <a:r>
                        <a:rPr lang="en-GB" sz="1200" b="0" dirty="0">
                          <a:effectLst/>
                          <a:latin typeface="Calibri" panose="020F0502020204030204" pitchFamily="34" charset="0"/>
                          <a:ea typeface="Times New Roman" panose="02020603050405020304" pitchFamily="18" charset="0"/>
                          <a:cs typeface="Calibri" panose="020F0502020204030204" pitchFamily="34" charset="0"/>
                        </a:rPr>
                        <a:t>of farmers applying skills and knowledge as a result of AGRA capacity building interventions</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At least 30% of those traine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At least 50% of those traine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At least 60% of those traine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7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8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1259409863"/>
                  </a:ext>
                </a:extLst>
              </a:tr>
              <a:tr h="661518">
                <a:tc>
                  <a:txBody>
                    <a:bodyPr/>
                    <a:lstStyle/>
                    <a:p>
                      <a:pPr marL="0" marR="0">
                        <a:lnSpc>
                          <a:spcPct val="107000"/>
                        </a:lnSpc>
                        <a:spcBef>
                          <a:spcPts val="0"/>
                        </a:spcBef>
                        <a:spcAft>
                          <a:spcPts val="0"/>
                        </a:spcAft>
                      </a:pPr>
                      <a:r>
                        <a:rPr lang="en-GB" sz="1200" b="0">
                          <a:effectLst/>
                          <a:latin typeface="Calibri" panose="020F0502020204030204" pitchFamily="34" charset="0"/>
                          <a:ea typeface="Times New Roman" panose="02020603050405020304" pitchFamily="18" charset="0"/>
                          <a:cs typeface="Calibri" panose="020F0502020204030204" pitchFamily="34" charset="0"/>
                        </a:rPr>
                        <a:t>Number of training events held to build capacity of farmers and other value chain actors along focus value chains</a:t>
                      </a:r>
                      <a:endParaRPr lang="en-US" sz="1400" b="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dirty="0">
                          <a:effectLst/>
                          <a:latin typeface="Calibri" panose="020F0502020204030204" pitchFamily="34" charset="0"/>
                          <a:ea typeface="Times New Roman" panose="02020603050405020304" pitchFamily="18" charset="0"/>
                          <a:cs typeface="Calibri" panose="020F0502020204030204" pitchFamily="34" charset="0"/>
                        </a:rPr>
                        <a:t>68</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39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67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3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1881401105"/>
                  </a:ext>
                </a:extLst>
              </a:tr>
              <a:tr h="437720">
                <a:tc>
                  <a:txBody>
                    <a:bodyPr/>
                    <a:lstStyle/>
                    <a:p>
                      <a:pPr marL="0" marR="0">
                        <a:lnSpc>
                          <a:spcPct val="107000"/>
                        </a:lnSpc>
                        <a:spcBef>
                          <a:spcPts val="0"/>
                        </a:spcBef>
                        <a:spcAft>
                          <a:spcPts val="0"/>
                        </a:spcAft>
                      </a:pPr>
                      <a:r>
                        <a:rPr lang="en-GB" sz="1200" b="0">
                          <a:effectLst/>
                          <a:latin typeface="Calibri" panose="020F0502020204030204" pitchFamily="34" charset="0"/>
                          <a:ea typeface="Times New Roman" panose="02020603050405020304" pitchFamily="18" charset="0"/>
                          <a:cs typeface="Calibri" panose="020F0502020204030204" pitchFamily="34" charset="0"/>
                        </a:rPr>
                        <a:t>Number of individuals who have received AGRA supported short-term agricultural sector training</a:t>
                      </a:r>
                      <a:endParaRPr lang="en-US" sz="1400" b="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7,34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17,66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83,08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0,53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0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516248896"/>
                  </a:ext>
                </a:extLst>
              </a:tr>
              <a:tr h="437720">
                <a:tc>
                  <a:txBody>
                    <a:bodyPr/>
                    <a:lstStyle/>
                    <a:p>
                      <a:pPr marL="0" marR="0">
                        <a:lnSpc>
                          <a:spcPct val="107000"/>
                        </a:lnSpc>
                        <a:spcBef>
                          <a:spcPts val="0"/>
                        </a:spcBef>
                        <a:spcAft>
                          <a:spcPts val="0"/>
                        </a:spcAft>
                      </a:pPr>
                      <a:r>
                        <a:rPr lang="en-GB" sz="1200" b="0">
                          <a:effectLst/>
                          <a:latin typeface="Calibri" panose="020F0502020204030204" pitchFamily="34" charset="0"/>
                          <a:ea typeface="Times New Roman" panose="02020603050405020304" pitchFamily="18" charset="0"/>
                          <a:cs typeface="Calibri" panose="020F0502020204030204" pitchFamily="34" charset="0"/>
                        </a:rPr>
                        <a:t>Number of farmers reached with promoted interventions</a:t>
                      </a:r>
                      <a:endParaRPr lang="en-US" sz="1400" b="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9,86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597,97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996,62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58,78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2125819857"/>
                  </a:ext>
                </a:extLst>
              </a:tr>
              <a:tr h="437720">
                <a:tc>
                  <a:txBody>
                    <a:bodyPr/>
                    <a:lstStyle/>
                    <a:p>
                      <a:pPr marL="0" marR="0">
                        <a:lnSpc>
                          <a:spcPct val="107000"/>
                        </a:lnSpc>
                        <a:spcBef>
                          <a:spcPts val="0"/>
                        </a:spcBef>
                        <a:spcAft>
                          <a:spcPts val="0"/>
                        </a:spcAft>
                      </a:pPr>
                      <a:r>
                        <a:rPr lang="en-GB" sz="1200" b="0" dirty="0" smtClean="0">
                          <a:effectLst/>
                          <a:latin typeface="Calibri" panose="020F0502020204030204" pitchFamily="34" charset="0"/>
                          <a:ea typeface="Times New Roman" panose="02020603050405020304" pitchFamily="18" charset="0"/>
                          <a:cs typeface="Calibri" panose="020F0502020204030204" pitchFamily="34" charset="0"/>
                        </a:rPr>
                        <a:t>% </a:t>
                      </a:r>
                      <a:r>
                        <a:rPr lang="en-GB" sz="1200" b="0" dirty="0">
                          <a:effectLst/>
                          <a:latin typeface="Calibri" panose="020F0502020204030204" pitchFamily="34" charset="0"/>
                          <a:ea typeface="Times New Roman" panose="02020603050405020304" pitchFamily="18" charset="0"/>
                          <a:cs typeface="Calibri" panose="020F0502020204030204" pitchFamily="34" charset="0"/>
                        </a:rPr>
                        <a:t>change in private sector investment in agriculture and agribusiness</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by 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1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3699816292"/>
                  </a:ext>
                </a:extLst>
              </a:tr>
              <a:tr h="661518">
                <a:tc>
                  <a:txBody>
                    <a:bodyPr/>
                    <a:lstStyle/>
                    <a:p>
                      <a:pPr marL="0" marR="0">
                        <a:lnSpc>
                          <a:spcPct val="107000"/>
                        </a:lnSpc>
                        <a:spcBef>
                          <a:spcPts val="0"/>
                        </a:spcBef>
                        <a:spcAft>
                          <a:spcPts val="0"/>
                        </a:spcAft>
                      </a:pPr>
                      <a:r>
                        <a:rPr lang="en-GB" sz="1200" b="0" dirty="0">
                          <a:effectLst/>
                          <a:latin typeface="Calibri" panose="020F0502020204030204" pitchFamily="34" charset="0"/>
                          <a:ea typeface="Times New Roman" panose="02020603050405020304" pitchFamily="18" charset="0"/>
                          <a:cs typeface="Calibri" panose="020F0502020204030204" pitchFamily="34" charset="0"/>
                        </a:rPr>
                        <a:t>Value (USD) of new public or private sector investment in the agriculture sector leveraged by AGRA implementation</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dirty="0">
                          <a:effectLst/>
                          <a:latin typeface="Calibri" panose="020F0502020204030204" pitchFamily="34" charset="0"/>
                          <a:ea typeface="Times New Roman" panose="02020603050405020304" pitchFamily="18" charset="0"/>
                          <a:cs typeface="Calibri" panose="020F0502020204030204" pitchFamily="34" charset="0"/>
                        </a:rPr>
                        <a:t>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20,000,0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a:effectLst/>
                          <a:latin typeface="Calibri" panose="020F0502020204030204" pitchFamily="34" charset="0"/>
                          <a:ea typeface="Times New Roman" panose="02020603050405020304" pitchFamily="18" charset="0"/>
                          <a:cs typeface="Calibri" panose="020F0502020204030204" pitchFamily="34" charset="0"/>
                        </a:rPr>
                        <a:t>30,000,0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GB" sz="1200" dirty="0">
                          <a:effectLst/>
                          <a:latin typeface="Calibri" panose="020F0502020204030204" pitchFamily="34" charset="0"/>
                          <a:ea typeface="Times New Roman" panose="02020603050405020304" pitchFamily="18" charset="0"/>
                          <a:cs typeface="Calibri" panose="020F0502020204030204" pitchFamily="34" charset="0"/>
                        </a:rPr>
                        <a:t>53,125,00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23684" marR="23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xmlns="" val="646559525"/>
                  </a:ext>
                </a:extLst>
              </a:tr>
            </a:tbl>
          </a:graphicData>
        </a:graphic>
      </p:graphicFrame>
    </p:spTree>
    <p:extLst>
      <p:ext uri="{BB962C8B-B14F-4D97-AF65-F5344CB8AC3E}">
        <p14:creationId xmlns:p14="http://schemas.microsoft.com/office/powerpoint/2010/main" val="15799494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81563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791" name="think-cell Slide" r:id="rId6" imgW="530" imgH="531" progId="TCLayout.ActiveDocument.1">
                  <p:embed/>
                </p:oleObj>
              </mc:Choice>
              <mc:Fallback>
                <p:oleObj name="think-cell Slide" r:id="rId6" imgW="530" imgH="53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xecutive Summary</a:t>
            </a:r>
          </a:p>
        </p:txBody>
      </p:sp>
      <p:sp>
        <p:nvSpPr>
          <p:cNvPr id="5" name="Text Placeholder 4"/>
          <p:cNvSpPr>
            <a:spLocks noGrp="1"/>
          </p:cNvSpPr>
          <p:nvPr>
            <p:ph type="body" idx="1"/>
          </p:nvPr>
        </p:nvSpPr>
        <p:spPr>
          <a:xfrm>
            <a:off x="450276" y="914401"/>
            <a:ext cx="9005453" cy="5140844"/>
          </a:xfrm>
        </p:spPr>
        <p:txBody>
          <a:bodyPr/>
          <a:lstStyle/>
          <a:p>
            <a:pPr marL="0" lvl="0" indent="0">
              <a:lnSpc>
                <a:spcPts val="1400"/>
              </a:lnSpc>
              <a:spcBef>
                <a:spcPts val="600"/>
              </a:spcBef>
              <a:buNone/>
            </a:pPr>
            <a:r>
              <a:rPr lang="en-US" sz="1200" dirty="0">
                <a:solidFill>
                  <a:srgbClr val="000000"/>
                </a:solidFill>
              </a:rPr>
              <a:t>Agriculture is undoubtedly the largest and most important sector of the Tanzanian economy, with the country benefitting from a diverse production base that includes livestock, staple food crops and a variety of cash crops. M</a:t>
            </a:r>
            <a:r>
              <a:rPr lang="en-US" sz="1200" dirty="0" smtClean="0">
                <a:solidFill>
                  <a:srgbClr val="000000"/>
                </a:solidFill>
              </a:rPr>
              <a:t>acroeconomic </a:t>
            </a:r>
            <a:r>
              <a:rPr lang="en-US" sz="1200" dirty="0">
                <a:solidFill>
                  <a:srgbClr val="000000"/>
                </a:solidFill>
              </a:rPr>
              <a:t>performance including GDP growth at an average rate of 6.9 percent for the last three years (2016-2018), growth of agriculture sector at an average rate of 5.3 percent, containing inflation rate at a single digit at an average of 4.7 percent for the period, stability of the shilling against other currencies and  reduction of poverty incidence from 28.2 percent to </a:t>
            </a:r>
            <a:r>
              <a:rPr lang="en-US" sz="1200" dirty="0" smtClean="0">
                <a:solidFill>
                  <a:srgbClr val="000000"/>
                </a:solidFill>
              </a:rPr>
              <a:t>26.4%. </a:t>
            </a:r>
            <a:r>
              <a:rPr lang="en-ZA" sz="1200" dirty="0" smtClean="0">
                <a:solidFill>
                  <a:srgbClr val="000000"/>
                </a:solidFill>
              </a:rPr>
              <a:t>Food </a:t>
            </a:r>
            <a:r>
              <a:rPr lang="en-ZA" sz="1200" dirty="0">
                <a:solidFill>
                  <a:srgbClr val="000000"/>
                </a:solidFill>
              </a:rPr>
              <a:t>related imports are estimated to be about $818 million.  Agriculture and related activities provide  employment to an estimated 67% of the population</a:t>
            </a:r>
            <a:r>
              <a:rPr lang="en-ZA" sz="1200" baseline="30000" dirty="0">
                <a:solidFill>
                  <a:srgbClr val="000000"/>
                </a:solidFill>
              </a:rPr>
              <a:t>2.  </a:t>
            </a:r>
          </a:p>
          <a:p>
            <a:pPr marL="0" indent="0">
              <a:lnSpc>
                <a:spcPts val="1400"/>
              </a:lnSpc>
              <a:spcBef>
                <a:spcPts val="600"/>
              </a:spcBef>
              <a:buNone/>
            </a:pPr>
            <a:r>
              <a:rPr lang="en-US" sz="1200" dirty="0">
                <a:solidFill>
                  <a:srgbClr val="000000"/>
                </a:solidFill>
              </a:rPr>
              <a:t>Tanzania's Agricultural sector is a sector of contrasts; despite having a relatively rich base of land and water resources and a favorable climate in many areas for the majority of years, it is hampered by low productivity and persistent poverty. Crop diversity is high, but the majority of households engaged in the sector grow a limited number of food crops for subsistence, and despite the resource endowments these households are vulnerable to food security and economic shocks</a:t>
            </a:r>
            <a:r>
              <a:rPr lang="en-US" sz="1200" baseline="30000" dirty="0">
                <a:solidFill>
                  <a:srgbClr val="000000"/>
                </a:solidFill>
              </a:rPr>
              <a:t>3</a:t>
            </a:r>
            <a:r>
              <a:rPr lang="en-US" sz="1200" dirty="0">
                <a:solidFill>
                  <a:srgbClr val="000000"/>
                </a:solidFill>
              </a:rPr>
              <a:t>.</a:t>
            </a:r>
          </a:p>
          <a:p>
            <a:pPr marL="0" indent="0">
              <a:lnSpc>
                <a:spcPts val="1400"/>
              </a:lnSpc>
              <a:spcBef>
                <a:spcPts val="600"/>
              </a:spcBef>
              <a:buNone/>
            </a:pPr>
            <a:r>
              <a:rPr lang="en-ZA" sz="1200" dirty="0" smtClean="0">
                <a:solidFill>
                  <a:srgbClr val="000000"/>
                </a:solidFill>
              </a:rPr>
              <a:t>The Agriculture sector in Tanzania, like her EA counterparts, faces many challenges. There is limited access to input/fertilizer with average fertilizer usage at  8-9 kg/ha of fertilizer compared to 16kg/ha used in SADC countries. </a:t>
            </a:r>
            <a:r>
              <a:rPr lang="en-US" sz="1200" dirty="0" smtClean="0">
                <a:solidFill>
                  <a:srgbClr val="000000"/>
                </a:solidFill>
              </a:rPr>
              <a:t>About </a:t>
            </a:r>
            <a:r>
              <a:rPr lang="en-US" sz="1200" dirty="0">
                <a:solidFill>
                  <a:srgbClr val="000000"/>
                </a:solidFill>
              </a:rPr>
              <a:t>4.7 M ha or 14% of the total crop land (32.7 M ha) in Tanzania are affected by soil acidity (pH&lt;5.65). The area affected and the impact on agriculture in Tanzania is large and its economic impact significant with an estimated $470 Million in annual losses due to yield impediment on major cropped areas. </a:t>
            </a:r>
            <a:r>
              <a:rPr lang="en-ZA" sz="1200" dirty="0" smtClean="0">
                <a:solidFill>
                  <a:srgbClr val="000000"/>
                </a:solidFill>
              </a:rPr>
              <a:t> </a:t>
            </a:r>
            <a:endParaRPr lang="en-ZA" sz="1200" dirty="0">
              <a:solidFill>
                <a:srgbClr val="000000"/>
              </a:solidFill>
            </a:endParaRPr>
          </a:p>
          <a:p>
            <a:pPr marL="0" indent="0">
              <a:lnSpc>
                <a:spcPts val="1400"/>
              </a:lnSpc>
              <a:spcBef>
                <a:spcPts val="600"/>
              </a:spcBef>
              <a:buNone/>
            </a:pPr>
            <a:r>
              <a:rPr lang="en-ZA" sz="1200" dirty="0" smtClean="0">
                <a:solidFill>
                  <a:srgbClr val="000000"/>
                </a:solidFill>
              </a:rPr>
              <a:t>Only about 20% of smallholders use improved seeds, the </a:t>
            </a:r>
            <a:r>
              <a:rPr lang="en-US" sz="1200" dirty="0" smtClean="0">
                <a:solidFill>
                  <a:srgbClr val="000000"/>
                </a:solidFill>
              </a:rPr>
              <a:t>cost of finance is high (18% - 24%) with &lt;10% of commercial lending to Agriculture. T</a:t>
            </a:r>
            <a:r>
              <a:rPr lang="en-ZA" sz="1200" dirty="0" smtClean="0">
                <a:solidFill>
                  <a:srgbClr val="000000"/>
                </a:solidFill>
              </a:rPr>
              <a:t>here is inadequate delivery of extension services due to limited resources, input distribution systems operate at sub-optimal level and the costs of farm inputs are generally high. The  quality of rural infrastructure  (e.g. irrigation, rural roads, storage facilities, market infrastructure) remain low leading to high transaction costs and post-harvest losses  estimated to be 25%-35%. Other challenges in the sector include low levels of mechanization that limits production capacity; for instance, 64% of smallholder farmers cultivate using the hand hoe, 24% by draught animal power and only 12% by tractors. </a:t>
            </a:r>
          </a:p>
          <a:p>
            <a:pPr marL="0" indent="0">
              <a:lnSpc>
                <a:spcPts val="1400"/>
              </a:lnSpc>
              <a:spcBef>
                <a:spcPts val="600"/>
              </a:spcBef>
              <a:buNone/>
            </a:pPr>
            <a:r>
              <a:rPr lang="en-US" sz="1200" dirty="0" smtClean="0">
                <a:solidFill>
                  <a:schemeClr val="tx1"/>
                </a:solidFill>
              </a:rPr>
              <a:t>Areas of improvement at national level include (1) sector coordination and evidence-based planning, (2) access to major grain markets and reduction of post-harvest losses, (3) coordinated supply chains to match demand and supply of grains and legumes, and (4) development of input systems in some agro-ecological zones. Other underlying challenges include implementation capacity gaps, resource constraints to fund the interventions and under-developed sector coordination. System level underlying challenges include limited access to fertilizers of appropriate blends as well as other technologies, limited access to credit and an ineffectual extension services network that results in poor adoption rates for fertilizer, seeds of improved crop varieties and other new productivity enhancing technologies.</a:t>
            </a:r>
          </a:p>
          <a:p>
            <a:pPr marL="0" indent="0">
              <a:lnSpc>
                <a:spcPts val="1400"/>
              </a:lnSpc>
              <a:spcBef>
                <a:spcPts val="600"/>
              </a:spcBef>
              <a:buNone/>
            </a:pPr>
            <a:endParaRPr lang="en-US" sz="800" dirty="0">
              <a:solidFill>
                <a:srgbClr val="000000"/>
              </a:solidFill>
            </a:endParaRPr>
          </a:p>
          <a:p>
            <a:pPr marL="0" indent="0">
              <a:lnSpc>
                <a:spcPts val="1400"/>
              </a:lnSpc>
              <a:spcBef>
                <a:spcPts val="600"/>
              </a:spcBef>
              <a:buNone/>
            </a:pPr>
            <a:endParaRPr lang="en-US" sz="800" dirty="0">
              <a:solidFill>
                <a:schemeClr val="tx1"/>
              </a:solidFill>
            </a:endParaRPr>
          </a:p>
        </p:txBody>
      </p:sp>
      <p:sp>
        <p:nvSpPr>
          <p:cNvPr id="6" name="Text Placeholder 5"/>
          <p:cNvSpPr>
            <a:spLocks noGrp="1"/>
          </p:cNvSpPr>
          <p:nvPr>
            <p:ph type="body" idx="2"/>
          </p:nvPr>
        </p:nvSpPr>
        <p:spPr>
          <a:xfrm>
            <a:off x="222063" y="6253203"/>
            <a:ext cx="7702813" cy="386679"/>
          </a:xfrm>
        </p:spPr>
        <p:txBody>
          <a:bodyPr/>
          <a:lstStyle/>
          <a:p>
            <a:r>
              <a:rPr lang="en-US" sz="800" dirty="0">
                <a:solidFill>
                  <a:schemeClr val="tx1"/>
                </a:solidFill>
              </a:rPr>
              <a:t>Sources: </a:t>
            </a:r>
            <a:r>
              <a:rPr lang="en-US" sz="800" dirty="0">
                <a:solidFill>
                  <a:schemeClr val="accent5"/>
                </a:solidFill>
              </a:rPr>
              <a:t>1. </a:t>
            </a:r>
            <a:r>
              <a:rPr lang="en-US" sz="800" dirty="0">
                <a:solidFill>
                  <a:schemeClr val="accent5"/>
                </a:solidFill>
                <a:hlinkClick r:id="rId8"/>
              </a:rPr>
              <a:t>https://datacatalog.worldbank.org</a:t>
            </a:r>
            <a:r>
              <a:rPr lang="en-US" sz="800" dirty="0">
                <a:solidFill>
                  <a:schemeClr val="accent5"/>
                </a:solidFill>
              </a:rPr>
              <a:t> |  2. </a:t>
            </a:r>
            <a:r>
              <a:rPr lang="en-US" sz="800" dirty="0" smtClean="0">
                <a:solidFill>
                  <a:schemeClr val="accent5"/>
                </a:solidFill>
              </a:rPr>
              <a:t>Tanzania 2019/20 Budget Speech. 3.</a:t>
            </a:r>
            <a:r>
              <a:rPr lang="en-US" sz="800" dirty="0" smtClean="0">
                <a:solidFill>
                  <a:schemeClr val="accent5"/>
                </a:solidFill>
                <a:hlinkClick r:id="rId9"/>
              </a:rPr>
              <a:t>http</a:t>
            </a:r>
            <a:r>
              <a:rPr lang="en-US" sz="800" dirty="0">
                <a:solidFill>
                  <a:schemeClr val="accent5"/>
                </a:solidFill>
                <a:hlinkClick r:id="rId9"/>
              </a:rPr>
              <a:t>://www.tzdpg.or.tz/fileadmin/documents/external/national_development_frameworks/ASDP2_Final_Document_20_May._2016__after_edit__1_.pdf</a:t>
            </a:r>
            <a:r>
              <a:rPr lang="en-US" sz="800" dirty="0">
                <a:solidFill>
                  <a:schemeClr val="accent5"/>
                </a:solidFill>
              </a:rPr>
              <a:t>  | 4 </a:t>
            </a:r>
            <a:r>
              <a:rPr lang="fr-FR" sz="800" dirty="0">
                <a:solidFill>
                  <a:schemeClr val="accent5"/>
                </a:solidFill>
              </a:rPr>
              <a:t>Agriculture </a:t>
            </a:r>
            <a:r>
              <a:rPr lang="fr-FR" sz="800" dirty="0" err="1">
                <a:solidFill>
                  <a:schemeClr val="accent5"/>
                </a:solidFill>
              </a:rPr>
              <a:t>Climate</a:t>
            </a:r>
            <a:r>
              <a:rPr lang="fr-FR" sz="800" dirty="0">
                <a:solidFill>
                  <a:schemeClr val="accent5"/>
                </a:solidFill>
              </a:rPr>
              <a:t> </a:t>
            </a:r>
            <a:r>
              <a:rPr lang="fr-FR" sz="800" dirty="0" err="1">
                <a:solidFill>
                  <a:schemeClr val="accent5"/>
                </a:solidFill>
              </a:rPr>
              <a:t>Resilience</a:t>
            </a:r>
            <a:r>
              <a:rPr lang="fr-FR" sz="800" dirty="0">
                <a:solidFill>
                  <a:schemeClr val="accent5"/>
                </a:solidFill>
              </a:rPr>
              <a:t> Plan </a:t>
            </a:r>
            <a:r>
              <a:rPr lang="fr-FR" sz="800" dirty="0" smtClean="0">
                <a:solidFill>
                  <a:schemeClr val="accent5"/>
                </a:solidFill>
              </a:rPr>
              <a:t>2014-2019</a:t>
            </a:r>
            <a:endParaRPr lang="en-US" sz="800" dirty="0">
              <a:solidFill>
                <a:schemeClr val="accent5"/>
              </a:solidFill>
            </a:endParaRPr>
          </a:p>
        </p:txBody>
      </p:sp>
    </p:spTree>
    <p:extLst>
      <p:ext uri="{BB962C8B-B14F-4D97-AF65-F5344CB8AC3E}">
        <p14:creationId xmlns:p14="http://schemas.microsoft.com/office/powerpoint/2010/main" val="122050299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Our delivery – Portfolio to date, emerging context, lessons learned, emerging priorities</a:t>
            </a:r>
            <a:endParaRPr lang="en-US"/>
          </a:p>
        </p:txBody>
      </p:sp>
    </p:spTree>
    <p:extLst>
      <p:ext uri="{BB962C8B-B14F-4D97-AF65-F5344CB8AC3E}">
        <p14:creationId xmlns:p14="http://schemas.microsoft.com/office/powerpoint/2010/main" val="259545168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4"/>
          <p:cNvGrpSpPr>
            <a:grpSpLocks noChangeAspect="1"/>
          </p:cNvGrpSpPr>
          <p:nvPr/>
        </p:nvGrpSpPr>
        <p:grpSpPr bwMode="auto">
          <a:xfrm>
            <a:off x="1004789" y="1312367"/>
            <a:ext cx="8729663" cy="5336085"/>
            <a:chOff x="491" y="423"/>
            <a:chExt cx="6768" cy="4137"/>
          </a:xfrm>
        </p:grpSpPr>
        <p:sp>
          <p:nvSpPr>
            <p:cNvPr id="5" name="AutoShape 3"/>
            <p:cNvSpPr>
              <a:spLocks noChangeAspect="1" noChangeArrowheads="1" noTextEdit="1"/>
            </p:cNvSpPr>
            <p:nvPr/>
          </p:nvSpPr>
          <p:spPr bwMode="auto">
            <a:xfrm>
              <a:off x="923" y="996"/>
              <a:ext cx="6336" cy="3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grpSp>
          <p:nvGrpSpPr>
            <p:cNvPr id="6" name="Group 205"/>
            <p:cNvGrpSpPr>
              <a:grpSpLocks/>
            </p:cNvGrpSpPr>
            <p:nvPr/>
          </p:nvGrpSpPr>
          <p:grpSpPr bwMode="auto">
            <a:xfrm>
              <a:off x="1869" y="535"/>
              <a:ext cx="3613" cy="3498"/>
              <a:chOff x="1869" y="535"/>
              <a:chExt cx="3613" cy="3498"/>
            </a:xfrm>
          </p:grpSpPr>
          <p:sp>
            <p:nvSpPr>
              <p:cNvPr id="225" name="Freeform 5"/>
              <p:cNvSpPr>
                <a:spLocks/>
              </p:cNvSpPr>
              <p:nvPr/>
            </p:nvSpPr>
            <p:spPr bwMode="auto">
              <a:xfrm>
                <a:off x="3629" y="765"/>
                <a:ext cx="887" cy="811"/>
              </a:xfrm>
              <a:custGeom>
                <a:avLst/>
                <a:gdLst>
                  <a:gd name="T0" fmla="*/ 245 w 887"/>
                  <a:gd name="T1" fmla="*/ 41 h 811"/>
                  <a:gd name="T2" fmla="*/ 321 w 887"/>
                  <a:gd name="T3" fmla="*/ 82 h 811"/>
                  <a:gd name="T4" fmla="*/ 369 w 887"/>
                  <a:gd name="T5" fmla="*/ 111 h 811"/>
                  <a:gd name="T6" fmla="*/ 466 w 887"/>
                  <a:gd name="T7" fmla="*/ 165 h 811"/>
                  <a:gd name="T8" fmla="*/ 550 w 887"/>
                  <a:gd name="T9" fmla="*/ 212 h 811"/>
                  <a:gd name="T10" fmla="*/ 615 w 887"/>
                  <a:gd name="T11" fmla="*/ 249 h 811"/>
                  <a:gd name="T12" fmla="*/ 733 w 887"/>
                  <a:gd name="T13" fmla="*/ 317 h 811"/>
                  <a:gd name="T14" fmla="*/ 805 w 887"/>
                  <a:gd name="T15" fmla="*/ 357 h 811"/>
                  <a:gd name="T16" fmla="*/ 887 w 887"/>
                  <a:gd name="T17" fmla="*/ 401 h 811"/>
                  <a:gd name="T18" fmla="*/ 843 w 887"/>
                  <a:gd name="T19" fmla="*/ 391 h 811"/>
                  <a:gd name="T20" fmla="*/ 800 w 887"/>
                  <a:gd name="T21" fmla="*/ 382 h 811"/>
                  <a:gd name="T22" fmla="*/ 762 w 887"/>
                  <a:gd name="T23" fmla="*/ 393 h 811"/>
                  <a:gd name="T24" fmla="*/ 732 w 887"/>
                  <a:gd name="T25" fmla="*/ 418 h 811"/>
                  <a:gd name="T26" fmla="*/ 697 w 887"/>
                  <a:gd name="T27" fmla="*/ 436 h 811"/>
                  <a:gd name="T28" fmla="*/ 698 w 887"/>
                  <a:gd name="T29" fmla="*/ 479 h 811"/>
                  <a:gd name="T30" fmla="*/ 735 w 887"/>
                  <a:gd name="T31" fmla="*/ 501 h 811"/>
                  <a:gd name="T32" fmla="*/ 752 w 887"/>
                  <a:gd name="T33" fmla="*/ 539 h 811"/>
                  <a:gd name="T34" fmla="*/ 754 w 887"/>
                  <a:gd name="T35" fmla="*/ 585 h 811"/>
                  <a:gd name="T36" fmla="*/ 722 w 887"/>
                  <a:gd name="T37" fmla="*/ 608 h 811"/>
                  <a:gd name="T38" fmla="*/ 686 w 887"/>
                  <a:gd name="T39" fmla="*/ 623 h 811"/>
                  <a:gd name="T40" fmla="*/ 662 w 887"/>
                  <a:gd name="T41" fmla="*/ 627 h 811"/>
                  <a:gd name="T42" fmla="*/ 626 w 887"/>
                  <a:gd name="T43" fmla="*/ 619 h 811"/>
                  <a:gd name="T44" fmla="*/ 597 w 887"/>
                  <a:gd name="T45" fmla="*/ 640 h 811"/>
                  <a:gd name="T46" fmla="*/ 575 w 887"/>
                  <a:gd name="T47" fmla="*/ 670 h 811"/>
                  <a:gd name="T48" fmla="*/ 575 w 887"/>
                  <a:gd name="T49" fmla="*/ 726 h 811"/>
                  <a:gd name="T50" fmla="*/ 581 w 887"/>
                  <a:gd name="T51" fmla="*/ 767 h 811"/>
                  <a:gd name="T52" fmla="*/ 548 w 887"/>
                  <a:gd name="T53" fmla="*/ 783 h 811"/>
                  <a:gd name="T54" fmla="*/ 475 w 887"/>
                  <a:gd name="T55" fmla="*/ 767 h 811"/>
                  <a:gd name="T56" fmla="*/ 432 w 887"/>
                  <a:gd name="T57" fmla="*/ 707 h 811"/>
                  <a:gd name="T58" fmla="*/ 404 w 887"/>
                  <a:gd name="T59" fmla="*/ 662 h 811"/>
                  <a:gd name="T60" fmla="*/ 382 w 887"/>
                  <a:gd name="T61" fmla="*/ 634 h 811"/>
                  <a:gd name="T62" fmla="*/ 348 w 887"/>
                  <a:gd name="T63" fmla="*/ 669 h 811"/>
                  <a:gd name="T64" fmla="*/ 334 w 887"/>
                  <a:gd name="T65" fmla="*/ 612 h 811"/>
                  <a:gd name="T66" fmla="*/ 317 w 887"/>
                  <a:gd name="T67" fmla="*/ 637 h 811"/>
                  <a:gd name="T68" fmla="*/ 282 w 887"/>
                  <a:gd name="T69" fmla="*/ 653 h 811"/>
                  <a:gd name="T70" fmla="*/ 266 w 887"/>
                  <a:gd name="T71" fmla="*/ 675 h 811"/>
                  <a:gd name="T72" fmla="*/ 250 w 887"/>
                  <a:gd name="T73" fmla="*/ 651 h 811"/>
                  <a:gd name="T74" fmla="*/ 230 w 887"/>
                  <a:gd name="T75" fmla="*/ 635 h 811"/>
                  <a:gd name="T76" fmla="*/ 196 w 887"/>
                  <a:gd name="T77" fmla="*/ 638 h 811"/>
                  <a:gd name="T78" fmla="*/ 152 w 887"/>
                  <a:gd name="T79" fmla="*/ 670 h 811"/>
                  <a:gd name="T80" fmla="*/ 116 w 887"/>
                  <a:gd name="T81" fmla="*/ 683 h 811"/>
                  <a:gd name="T82" fmla="*/ 89 w 887"/>
                  <a:gd name="T83" fmla="*/ 703 h 811"/>
                  <a:gd name="T84" fmla="*/ 43 w 887"/>
                  <a:gd name="T85" fmla="*/ 718 h 811"/>
                  <a:gd name="T86" fmla="*/ 9 w 887"/>
                  <a:gd name="T87" fmla="*/ 691 h 811"/>
                  <a:gd name="T88" fmla="*/ 17 w 887"/>
                  <a:gd name="T89" fmla="*/ 645 h 811"/>
                  <a:gd name="T90" fmla="*/ 43 w 887"/>
                  <a:gd name="T91" fmla="*/ 631 h 811"/>
                  <a:gd name="T92" fmla="*/ 47 w 887"/>
                  <a:gd name="T93" fmla="*/ 586 h 811"/>
                  <a:gd name="T94" fmla="*/ 51 w 887"/>
                  <a:gd name="T95" fmla="*/ 540 h 811"/>
                  <a:gd name="T96" fmla="*/ 51 w 887"/>
                  <a:gd name="T97" fmla="*/ 491 h 811"/>
                  <a:gd name="T98" fmla="*/ 52 w 887"/>
                  <a:gd name="T99" fmla="*/ 437 h 811"/>
                  <a:gd name="T100" fmla="*/ 54 w 887"/>
                  <a:gd name="T101" fmla="*/ 382 h 811"/>
                  <a:gd name="T102" fmla="*/ 82 w 887"/>
                  <a:gd name="T103" fmla="*/ 415 h 811"/>
                  <a:gd name="T104" fmla="*/ 120 w 887"/>
                  <a:gd name="T105" fmla="*/ 402 h 811"/>
                  <a:gd name="T106" fmla="*/ 136 w 887"/>
                  <a:gd name="T107" fmla="*/ 366 h 811"/>
                  <a:gd name="T108" fmla="*/ 147 w 887"/>
                  <a:gd name="T109" fmla="*/ 322 h 811"/>
                  <a:gd name="T110" fmla="*/ 154 w 887"/>
                  <a:gd name="T111" fmla="*/ 274 h 811"/>
                  <a:gd name="T112" fmla="*/ 187 w 887"/>
                  <a:gd name="T113" fmla="*/ 203 h 811"/>
                  <a:gd name="T114" fmla="*/ 195 w 887"/>
                  <a:gd name="T115" fmla="*/ 162 h 811"/>
                  <a:gd name="T116" fmla="*/ 158 w 887"/>
                  <a:gd name="T117" fmla="*/ 144 h 811"/>
                  <a:gd name="T118" fmla="*/ 155 w 887"/>
                  <a:gd name="T119" fmla="*/ 98 h 811"/>
                  <a:gd name="T120" fmla="*/ 160 w 887"/>
                  <a:gd name="T121" fmla="*/ 54 h 811"/>
                  <a:gd name="T122" fmla="*/ 165 w 887"/>
                  <a:gd name="T123" fmla="*/ 8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7" h="811">
                    <a:moveTo>
                      <a:pt x="165" y="0"/>
                    </a:moveTo>
                    <a:lnTo>
                      <a:pt x="187" y="14"/>
                    </a:lnTo>
                    <a:lnTo>
                      <a:pt x="187" y="8"/>
                    </a:lnTo>
                    <a:lnTo>
                      <a:pt x="188" y="8"/>
                    </a:lnTo>
                    <a:lnTo>
                      <a:pt x="188" y="10"/>
                    </a:lnTo>
                    <a:lnTo>
                      <a:pt x="190" y="10"/>
                    </a:lnTo>
                    <a:lnTo>
                      <a:pt x="192" y="11"/>
                    </a:lnTo>
                    <a:lnTo>
                      <a:pt x="195" y="13"/>
                    </a:lnTo>
                    <a:lnTo>
                      <a:pt x="196" y="13"/>
                    </a:lnTo>
                    <a:lnTo>
                      <a:pt x="196" y="14"/>
                    </a:lnTo>
                    <a:lnTo>
                      <a:pt x="206" y="19"/>
                    </a:lnTo>
                    <a:lnTo>
                      <a:pt x="207" y="19"/>
                    </a:lnTo>
                    <a:lnTo>
                      <a:pt x="211" y="22"/>
                    </a:lnTo>
                    <a:lnTo>
                      <a:pt x="214" y="24"/>
                    </a:lnTo>
                    <a:lnTo>
                      <a:pt x="215" y="25"/>
                    </a:lnTo>
                    <a:lnTo>
                      <a:pt x="217" y="25"/>
                    </a:lnTo>
                    <a:lnTo>
                      <a:pt x="219" y="25"/>
                    </a:lnTo>
                    <a:lnTo>
                      <a:pt x="219" y="27"/>
                    </a:lnTo>
                    <a:lnTo>
                      <a:pt x="220" y="27"/>
                    </a:lnTo>
                    <a:lnTo>
                      <a:pt x="223" y="29"/>
                    </a:lnTo>
                    <a:lnTo>
                      <a:pt x="226" y="30"/>
                    </a:lnTo>
                    <a:lnTo>
                      <a:pt x="228" y="32"/>
                    </a:lnTo>
                    <a:lnTo>
                      <a:pt x="230" y="32"/>
                    </a:lnTo>
                    <a:lnTo>
                      <a:pt x="234" y="35"/>
                    </a:lnTo>
                    <a:lnTo>
                      <a:pt x="236" y="35"/>
                    </a:lnTo>
                    <a:lnTo>
                      <a:pt x="236" y="37"/>
                    </a:lnTo>
                    <a:lnTo>
                      <a:pt x="238" y="37"/>
                    </a:lnTo>
                    <a:lnTo>
                      <a:pt x="241" y="38"/>
                    </a:lnTo>
                    <a:lnTo>
                      <a:pt x="244" y="40"/>
                    </a:lnTo>
                    <a:lnTo>
                      <a:pt x="244" y="41"/>
                    </a:lnTo>
                    <a:lnTo>
                      <a:pt x="245" y="41"/>
                    </a:lnTo>
                    <a:lnTo>
                      <a:pt x="247" y="41"/>
                    </a:lnTo>
                    <a:lnTo>
                      <a:pt x="247" y="43"/>
                    </a:lnTo>
                    <a:lnTo>
                      <a:pt x="249" y="43"/>
                    </a:lnTo>
                    <a:lnTo>
                      <a:pt x="250" y="44"/>
                    </a:lnTo>
                    <a:lnTo>
                      <a:pt x="252" y="44"/>
                    </a:lnTo>
                    <a:lnTo>
                      <a:pt x="253" y="46"/>
                    </a:lnTo>
                    <a:lnTo>
                      <a:pt x="255" y="46"/>
                    </a:lnTo>
                    <a:lnTo>
                      <a:pt x="255" y="48"/>
                    </a:lnTo>
                    <a:lnTo>
                      <a:pt x="257" y="48"/>
                    </a:lnTo>
                    <a:lnTo>
                      <a:pt x="258" y="48"/>
                    </a:lnTo>
                    <a:lnTo>
                      <a:pt x="258" y="49"/>
                    </a:lnTo>
                    <a:lnTo>
                      <a:pt x="260" y="49"/>
                    </a:lnTo>
                    <a:lnTo>
                      <a:pt x="264" y="52"/>
                    </a:lnTo>
                    <a:lnTo>
                      <a:pt x="268" y="54"/>
                    </a:lnTo>
                    <a:lnTo>
                      <a:pt x="271" y="56"/>
                    </a:lnTo>
                    <a:lnTo>
                      <a:pt x="272" y="56"/>
                    </a:lnTo>
                    <a:lnTo>
                      <a:pt x="272" y="57"/>
                    </a:lnTo>
                    <a:lnTo>
                      <a:pt x="274" y="57"/>
                    </a:lnTo>
                    <a:lnTo>
                      <a:pt x="280" y="60"/>
                    </a:lnTo>
                    <a:lnTo>
                      <a:pt x="282" y="62"/>
                    </a:lnTo>
                    <a:lnTo>
                      <a:pt x="283" y="62"/>
                    </a:lnTo>
                    <a:lnTo>
                      <a:pt x="285" y="63"/>
                    </a:lnTo>
                    <a:lnTo>
                      <a:pt x="291" y="67"/>
                    </a:lnTo>
                    <a:lnTo>
                      <a:pt x="295" y="68"/>
                    </a:lnTo>
                    <a:lnTo>
                      <a:pt x="296" y="70"/>
                    </a:lnTo>
                    <a:lnTo>
                      <a:pt x="298" y="70"/>
                    </a:lnTo>
                    <a:lnTo>
                      <a:pt x="317" y="81"/>
                    </a:lnTo>
                    <a:lnTo>
                      <a:pt x="318" y="81"/>
                    </a:lnTo>
                    <a:lnTo>
                      <a:pt x="318" y="82"/>
                    </a:lnTo>
                    <a:lnTo>
                      <a:pt x="320" y="82"/>
                    </a:lnTo>
                    <a:lnTo>
                      <a:pt x="321" y="82"/>
                    </a:lnTo>
                    <a:lnTo>
                      <a:pt x="323" y="84"/>
                    </a:lnTo>
                    <a:lnTo>
                      <a:pt x="325" y="86"/>
                    </a:lnTo>
                    <a:lnTo>
                      <a:pt x="326" y="87"/>
                    </a:lnTo>
                    <a:lnTo>
                      <a:pt x="329" y="89"/>
                    </a:lnTo>
                    <a:lnTo>
                      <a:pt x="331" y="89"/>
                    </a:lnTo>
                    <a:lnTo>
                      <a:pt x="331" y="90"/>
                    </a:lnTo>
                    <a:lnTo>
                      <a:pt x="333" y="90"/>
                    </a:lnTo>
                    <a:lnTo>
                      <a:pt x="334" y="90"/>
                    </a:lnTo>
                    <a:lnTo>
                      <a:pt x="334" y="92"/>
                    </a:lnTo>
                    <a:lnTo>
                      <a:pt x="336" y="92"/>
                    </a:lnTo>
                    <a:lnTo>
                      <a:pt x="337" y="92"/>
                    </a:lnTo>
                    <a:lnTo>
                      <a:pt x="337" y="94"/>
                    </a:lnTo>
                    <a:lnTo>
                      <a:pt x="339" y="94"/>
                    </a:lnTo>
                    <a:lnTo>
                      <a:pt x="340" y="94"/>
                    </a:lnTo>
                    <a:lnTo>
                      <a:pt x="340" y="95"/>
                    </a:lnTo>
                    <a:lnTo>
                      <a:pt x="342" y="95"/>
                    </a:lnTo>
                    <a:lnTo>
                      <a:pt x="344" y="97"/>
                    </a:lnTo>
                    <a:lnTo>
                      <a:pt x="345" y="97"/>
                    </a:lnTo>
                    <a:lnTo>
                      <a:pt x="347" y="98"/>
                    </a:lnTo>
                    <a:lnTo>
                      <a:pt x="348" y="98"/>
                    </a:lnTo>
                    <a:lnTo>
                      <a:pt x="348" y="100"/>
                    </a:lnTo>
                    <a:lnTo>
                      <a:pt x="350" y="100"/>
                    </a:lnTo>
                    <a:lnTo>
                      <a:pt x="352" y="100"/>
                    </a:lnTo>
                    <a:lnTo>
                      <a:pt x="353" y="102"/>
                    </a:lnTo>
                    <a:lnTo>
                      <a:pt x="355" y="102"/>
                    </a:lnTo>
                    <a:lnTo>
                      <a:pt x="355" y="103"/>
                    </a:lnTo>
                    <a:lnTo>
                      <a:pt x="356" y="103"/>
                    </a:lnTo>
                    <a:lnTo>
                      <a:pt x="361" y="105"/>
                    </a:lnTo>
                    <a:lnTo>
                      <a:pt x="366" y="108"/>
                    </a:lnTo>
                    <a:lnTo>
                      <a:pt x="367" y="109"/>
                    </a:lnTo>
                    <a:lnTo>
                      <a:pt x="369" y="111"/>
                    </a:lnTo>
                    <a:lnTo>
                      <a:pt x="375" y="114"/>
                    </a:lnTo>
                    <a:lnTo>
                      <a:pt x="380" y="116"/>
                    </a:lnTo>
                    <a:lnTo>
                      <a:pt x="380" y="117"/>
                    </a:lnTo>
                    <a:lnTo>
                      <a:pt x="382" y="117"/>
                    </a:lnTo>
                    <a:lnTo>
                      <a:pt x="393" y="124"/>
                    </a:lnTo>
                    <a:lnTo>
                      <a:pt x="402" y="128"/>
                    </a:lnTo>
                    <a:lnTo>
                      <a:pt x="402" y="130"/>
                    </a:lnTo>
                    <a:lnTo>
                      <a:pt x="404" y="130"/>
                    </a:lnTo>
                    <a:lnTo>
                      <a:pt x="405" y="130"/>
                    </a:lnTo>
                    <a:lnTo>
                      <a:pt x="405" y="132"/>
                    </a:lnTo>
                    <a:lnTo>
                      <a:pt x="407" y="132"/>
                    </a:lnTo>
                    <a:lnTo>
                      <a:pt x="409" y="133"/>
                    </a:lnTo>
                    <a:lnTo>
                      <a:pt x="407" y="133"/>
                    </a:lnTo>
                    <a:lnTo>
                      <a:pt x="407" y="136"/>
                    </a:lnTo>
                    <a:lnTo>
                      <a:pt x="407" y="140"/>
                    </a:lnTo>
                    <a:lnTo>
                      <a:pt x="407" y="144"/>
                    </a:lnTo>
                    <a:lnTo>
                      <a:pt x="415" y="147"/>
                    </a:lnTo>
                    <a:lnTo>
                      <a:pt x="442" y="162"/>
                    </a:lnTo>
                    <a:lnTo>
                      <a:pt x="443" y="152"/>
                    </a:lnTo>
                    <a:lnTo>
                      <a:pt x="448" y="155"/>
                    </a:lnTo>
                    <a:lnTo>
                      <a:pt x="450" y="157"/>
                    </a:lnTo>
                    <a:lnTo>
                      <a:pt x="451" y="157"/>
                    </a:lnTo>
                    <a:lnTo>
                      <a:pt x="453" y="159"/>
                    </a:lnTo>
                    <a:lnTo>
                      <a:pt x="456" y="160"/>
                    </a:lnTo>
                    <a:lnTo>
                      <a:pt x="458" y="162"/>
                    </a:lnTo>
                    <a:lnTo>
                      <a:pt x="459" y="162"/>
                    </a:lnTo>
                    <a:lnTo>
                      <a:pt x="461" y="162"/>
                    </a:lnTo>
                    <a:lnTo>
                      <a:pt x="461" y="163"/>
                    </a:lnTo>
                    <a:lnTo>
                      <a:pt x="462" y="163"/>
                    </a:lnTo>
                    <a:lnTo>
                      <a:pt x="464" y="165"/>
                    </a:lnTo>
                    <a:lnTo>
                      <a:pt x="466" y="165"/>
                    </a:lnTo>
                    <a:lnTo>
                      <a:pt x="467" y="166"/>
                    </a:lnTo>
                    <a:lnTo>
                      <a:pt x="469" y="166"/>
                    </a:lnTo>
                    <a:lnTo>
                      <a:pt x="470" y="168"/>
                    </a:lnTo>
                    <a:lnTo>
                      <a:pt x="472" y="168"/>
                    </a:lnTo>
                    <a:lnTo>
                      <a:pt x="472" y="170"/>
                    </a:lnTo>
                    <a:lnTo>
                      <a:pt x="474" y="170"/>
                    </a:lnTo>
                    <a:lnTo>
                      <a:pt x="485" y="176"/>
                    </a:lnTo>
                    <a:lnTo>
                      <a:pt x="486" y="178"/>
                    </a:lnTo>
                    <a:lnTo>
                      <a:pt x="488" y="178"/>
                    </a:lnTo>
                    <a:lnTo>
                      <a:pt x="489" y="178"/>
                    </a:lnTo>
                    <a:lnTo>
                      <a:pt x="489" y="179"/>
                    </a:lnTo>
                    <a:lnTo>
                      <a:pt x="491" y="179"/>
                    </a:lnTo>
                    <a:lnTo>
                      <a:pt x="493" y="181"/>
                    </a:lnTo>
                    <a:lnTo>
                      <a:pt x="496" y="182"/>
                    </a:lnTo>
                    <a:lnTo>
                      <a:pt x="497" y="184"/>
                    </a:lnTo>
                    <a:lnTo>
                      <a:pt x="499" y="184"/>
                    </a:lnTo>
                    <a:lnTo>
                      <a:pt x="499" y="185"/>
                    </a:lnTo>
                    <a:lnTo>
                      <a:pt x="504" y="187"/>
                    </a:lnTo>
                    <a:lnTo>
                      <a:pt x="507" y="189"/>
                    </a:lnTo>
                    <a:lnTo>
                      <a:pt x="508" y="190"/>
                    </a:lnTo>
                    <a:lnTo>
                      <a:pt x="510" y="190"/>
                    </a:lnTo>
                    <a:lnTo>
                      <a:pt x="521" y="197"/>
                    </a:lnTo>
                    <a:lnTo>
                      <a:pt x="526" y="200"/>
                    </a:lnTo>
                    <a:lnTo>
                      <a:pt x="531" y="203"/>
                    </a:lnTo>
                    <a:lnTo>
                      <a:pt x="532" y="203"/>
                    </a:lnTo>
                    <a:lnTo>
                      <a:pt x="534" y="204"/>
                    </a:lnTo>
                    <a:lnTo>
                      <a:pt x="537" y="206"/>
                    </a:lnTo>
                    <a:lnTo>
                      <a:pt x="542" y="208"/>
                    </a:lnTo>
                    <a:lnTo>
                      <a:pt x="546" y="211"/>
                    </a:lnTo>
                    <a:lnTo>
                      <a:pt x="548" y="212"/>
                    </a:lnTo>
                    <a:lnTo>
                      <a:pt x="550" y="212"/>
                    </a:lnTo>
                    <a:lnTo>
                      <a:pt x="551" y="214"/>
                    </a:lnTo>
                    <a:lnTo>
                      <a:pt x="554" y="216"/>
                    </a:lnTo>
                    <a:lnTo>
                      <a:pt x="556" y="216"/>
                    </a:lnTo>
                    <a:lnTo>
                      <a:pt x="559" y="217"/>
                    </a:lnTo>
                    <a:lnTo>
                      <a:pt x="559" y="219"/>
                    </a:lnTo>
                    <a:lnTo>
                      <a:pt x="561" y="219"/>
                    </a:lnTo>
                    <a:lnTo>
                      <a:pt x="564" y="220"/>
                    </a:lnTo>
                    <a:lnTo>
                      <a:pt x="565" y="222"/>
                    </a:lnTo>
                    <a:lnTo>
                      <a:pt x="572" y="225"/>
                    </a:lnTo>
                    <a:lnTo>
                      <a:pt x="573" y="225"/>
                    </a:lnTo>
                    <a:lnTo>
                      <a:pt x="573" y="227"/>
                    </a:lnTo>
                    <a:lnTo>
                      <a:pt x="581" y="231"/>
                    </a:lnTo>
                    <a:lnTo>
                      <a:pt x="583" y="231"/>
                    </a:lnTo>
                    <a:lnTo>
                      <a:pt x="584" y="233"/>
                    </a:lnTo>
                    <a:lnTo>
                      <a:pt x="586" y="233"/>
                    </a:lnTo>
                    <a:lnTo>
                      <a:pt x="589" y="235"/>
                    </a:lnTo>
                    <a:lnTo>
                      <a:pt x="591" y="236"/>
                    </a:lnTo>
                    <a:lnTo>
                      <a:pt x="592" y="238"/>
                    </a:lnTo>
                    <a:lnTo>
                      <a:pt x="594" y="238"/>
                    </a:lnTo>
                    <a:lnTo>
                      <a:pt x="597" y="239"/>
                    </a:lnTo>
                    <a:lnTo>
                      <a:pt x="599" y="241"/>
                    </a:lnTo>
                    <a:lnTo>
                      <a:pt x="600" y="241"/>
                    </a:lnTo>
                    <a:lnTo>
                      <a:pt x="600" y="242"/>
                    </a:lnTo>
                    <a:lnTo>
                      <a:pt x="602" y="242"/>
                    </a:lnTo>
                    <a:lnTo>
                      <a:pt x="603" y="242"/>
                    </a:lnTo>
                    <a:lnTo>
                      <a:pt x="605" y="244"/>
                    </a:lnTo>
                    <a:lnTo>
                      <a:pt x="610" y="246"/>
                    </a:lnTo>
                    <a:lnTo>
                      <a:pt x="610" y="247"/>
                    </a:lnTo>
                    <a:lnTo>
                      <a:pt x="611" y="247"/>
                    </a:lnTo>
                    <a:lnTo>
                      <a:pt x="613" y="247"/>
                    </a:lnTo>
                    <a:lnTo>
                      <a:pt x="615" y="249"/>
                    </a:lnTo>
                    <a:lnTo>
                      <a:pt x="624" y="255"/>
                    </a:lnTo>
                    <a:lnTo>
                      <a:pt x="626" y="255"/>
                    </a:lnTo>
                    <a:lnTo>
                      <a:pt x="627" y="257"/>
                    </a:lnTo>
                    <a:lnTo>
                      <a:pt x="629" y="257"/>
                    </a:lnTo>
                    <a:lnTo>
                      <a:pt x="629" y="258"/>
                    </a:lnTo>
                    <a:lnTo>
                      <a:pt x="630" y="258"/>
                    </a:lnTo>
                    <a:lnTo>
                      <a:pt x="632" y="260"/>
                    </a:lnTo>
                    <a:lnTo>
                      <a:pt x="640" y="263"/>
                    </a:lnTo>
                    <a:lnTo>
                      <a:pt x="641" y="265"/>
                    </a:lnTo>
                    <a:lnTo>
                      <a:pt x="643" y="266"/>
                    </a:lnTo>
                    <a:lnTo>
                      <a:pt x="645" y="266"/>
                    </a:lnTo>
                    <a:lnTo>
                      <a:pt x="646" y="266"/>
                    </a:lnTo>
                    <a:lnTo>
                      <a:pt x="646" y="268"/>
                    </a:lnTo>
                    <a:lnTo>
                      <a:pt x="653" y="271"/>
                    </a:lnTo>
                    <a:lnTo>
                      <a:pt x="654" y="271"/>
                    </a:lnTo>
                    <a:lnTo>
                      <a:pt x="659" y="274"/>
                    </a:lnTo>
                    <a:lnTo>
                      <a:pt x="660" y="276"/>
                    </a:lnTo>
                    <a:lnTo>
                      <a:pt x="662" y="276"/>
                    </a:lnTo>
                    <a:lnTo>
                      <a:pt x="664" y="277"/>
                    </a:lnTo>
                    <a:lnTo>
                      <a:pt x="665" y="279"/>
                    </a:lnTo>
                    <a:lnTo>
                      <a:pt x="668" y="279"/>
                    </a:lnTo>
                    <a:lnTo>
                      <a:pt x="668" y="281"/>
                    </a:lnTo>
                    <a:lnTo>
                      <a:pt x="692" y="293"/>
                    </a:lnTo>
                    <a:lnTo>
                      <a:pt x="700" y="298"/>
                    </a:lnTo>
                    <a:lnTo>
                      <a:pt x="702" y="298"/>
                    </a:lnTo>
                    <a:lnTo>
                      <a:pt x="702" y="300"/>
                    </a:lnTo>
                    <a:lnTo>
                      <a:pt x="703" y="300"/>
                    </a:lnTo>
                    <a:lnTo>
                      <a:pt x="705" y="301"/>
                    </a:lnTo>
                    <a:lnTo>
                      <a:pt x="713" y="304"/>
                    </a:lnTo>
                    <a:lnTo>
                      <a:pt x="732" y="315"/>
                    </a:lnTo>
                    <a:lnTo>
                      <a:pt x="733" y="317"/>
                    </a:lnTo>
                    <a:lnTo>
                      <a:pt x="735" y="317"/>
                    </a:lnTo>
                    <a:lnTo>
                      <a:pt x="735" y="319"/>
                    </a:lnTo>
                    <a:lnTo>
                      <a:pt x="736" y="319"/>
                    </a:lnTo>
                    <a:lnTo>
                      <a:pt x="738" y="319"/>
                    </a:lnTo>
                    <a:lnTo>
                      <a:pt x="740" y="320"/>
                    </a:lnTo>
                    <a:lnTo>
                      <a:pt x="741" y="320"/>
                    </a:lnTo>
                    <a:lnTo>
                      <a:pt x="743" y="322"/>
                    </a:lnTo>
                    <a:lnTo>
                      <a:pt x="744" y="322"/>
                    </a:lnTo>
                    <a:lnTo>
                      <a:pt x="746" y="323"/>
                    </a:lnTo>
                    <a:lnTo>
                      <a:pt x="749" y="325"/>
                    </a:lnTo>
                    <a:lnTo>
                      <a:pt x="752" y="326"/>
                    </a:lnTo>
                    <a:lnTo>
                      <a:pt x="754" y="328"/>
                    </a:lnTo>
                    <a:lnTo>
                      <a:pt x="768" y="336"/>
                    </a:lnTo>
                    <a:lnTo>
                      <a:pt x="771" y="338"/>
                    </a:lnTo>
                    <a:lnTo>
                      <a:pt x="773" y="338"/>
                    </a:lnTo>
                    <a:lnTo>
                      <a:pt x="775" y="339"/>
                    </a:lnTo>
                    <a:lnTo>
                      <a:pt x="776" y="341"/>
                    </a:lnTo>
                    <a:lnTo>
                      <a:pt x="778" y="341"/>
                    </a:lnTo>
                    <a:lnTo>
                      <a:pt x="782" y="344"/>
                    </a:lnTo>
                    <a:lnTo>
                      <a:pt x="784" y="344"/>
                    </a:lnTo>
                    <a:lnTo>
                      <a:pt x="784" y="345"/>
                    </a:lnTo>
                    <a:lnTo>
                      <a:pt x="786" y="345"/>
                    </a:lnTo>
                    <a:lnTo>
                      <a:pt x="789" y="347"/>
                    </a:lnTo>
                    <a:lnTo>
                      <a:pt x="790" y="347"/>
                    </a:lnTo>
                    <a:lnTo>
                      <a:pt x="792" y="349"/>
                    </a:lnTo>
                    <a:lnTo>
                      <a:pt x="797" y="350"/>
                    </a:lnTo>
                    <a:lnTo>
                      <a:pt x="797" y="352"/>
                    </a:lnTo>
                    <a:lnTo>
                      <a:pt x="798" y="352"/>
                    </a:lnTo>
                    <a:lnTo>
                      <a:pt x="800" y="353"/>
                    </a:lnTo>
                    <a:lnTo>
                      <a:pt x="805" y="355"/>
                    </a:lnTo>
                    <a:lnTo>
                      <a:pt x="805" y="357"/>
                    </a:lnTo>
                    <a:lnTo>
                      <a:pt x="806" y="357"/>
                    </a:lnTo>
                    <a:lnTo>
                      <a:pt x="808" y="357"/>
                    </a:lnTo>
                    <a:lnTo>
                      <a:pt x="809" y="358"/>
                    </a:lnTo>
                    <a:lnTo>
                      <a:pt x="813" y="360"/>
                    </a:lnTo>
                    <a:lnTo>
                      <a:pt x="814" y="360"/>
                    </a:lnTo>
                    <a:lnTo>
                      <a:pt x="814" y="361"/>
                    </a:lnTo>
                    <a:lnTo>
                      <a:pt x="816" y="361"/>
                    </a:lnTo>
                    <a:lnTo>
                      <a:pt x="822" y="364"/>
                    </a:lnTo>
                    <a:lnTo>
                      <a:pt x="825" y="368"/>
                    </a:lnTo>
                    <a:lnTo>
                      <a:pt x="827" y="368"/>
                    </a:lnTo>
                    <a:lnTo>
                      <a:pt x="830" y="369"/>
                    </a:lnTo>
                    <a:lnTo>
                      <a:pt x="832" y="371"/>
                    </a:lnTo>
                    <a:lnTo>
                      <a:pt x="835" y="372"/>
                    </a:lnTo>
                    <a:lnTo>
                      <a:pt x="836" y="372"/>
                    </a:lnTo>
                    <a:lnTo>
                      <a:pt x="836" y="374"/>
                    </a:lnTo>
                    <a:lnTo>
                      <a:pt x="839" y="374"/>
                    </a:lnTo>
                    <a:lnTo>
                      <a:pt x="844" y="377"/>
                    </a:lnTo>
                    <a:lnTo>
                      <a:pt x="843" y="377"/>
                    </a:lnTo>
                    <a:lnTo>
                      <a:pt x="841" y="379"/>
                    </a:lnTo>
                    <a:lnTo>
                      <a:pt x="839" y="377"/>
                    </a:lnTo>
                    <a:lnTo>
                      <a:pt x="836" y="377"/>
                    </a:lnTo>
                    <a:lnTo>
                      <a:pt x="835" y="379"/>
                    </a:lnTo>
                    <a:lnTo>
                      <a:pt x="863" y="395"/>
                    </a:lnTo>
                    <a:lnTo>
                      <a:pt x="868" y="390"/>
                    </a:lnTo>
                    <a:lnTo>
                      <a:pt x="868" y="391"/>
                    </a:lnTo>
                    <a:lnTo>
                      <a:pt x="870" y="391"/>
                    </a:lnTo>
                    <a:lnTo>
                      <a:pt x="882" y="398"/>
                    </a:lnTo>
                    <a:lnTo>
                      <a:pt x="884" y="399"/>
                    </a:lnTo>
                    <a:lnTo>
                      <a:pt x="885" y="399"/>
                    </a:lnTo>
                    <a:lnTo>
                      <a:pt x="885" y="401"/>
                    </a:lnTo>
                    <a:lnTo>
                      <a:pt x="887" y="401"/>
                    </a:lnTo>
                    <a:lnTo>
                      <a:pt x="885" y="404"/>
                    </a:lnTo>
                    <a:lnTo>
                      <a:pt x="884" y="404"/>
                    </a:lnTo>
                    <a:lnTo>
                      <a:pt x="882" y="404"/>
                    </a:lnTo>
                    <a:lnTo>
                      <a:pt x="881" y="404"/>
                    </a:lnTo>
                    <a:lnTo>
                      <a:pt x="879" y="404"/>
                    </a:lnTo>
                    <a:lnTo>
                      <a:pt x="877" y="402"/>
                    </a:lnTo>
                    <a:lnTo>
                      <a:pt x="876" y="402"/>
                    </a:lnTo>
                    <a:lnTo>
                      <a:pt x="874" y="402"/>
                    </a:lnTo>
                    <a:lnTo>
                      <a:pt x="873" y="402"/>
                    </a:lnTo>
                    <a:lnTo>
                      <a:pt x="871" y="402"/>
                    </a:lnTo>
                    <a:lnTo>
                      <a:pt x="871" y="401"/>
                    </a:lnTo>
                    <a:lnTo>
                      <a:pt x="870" y="401"/>
                    </a:lnTo>
                    <a:lnTo>
                      <a:pt x="868" y="401"/>
                    </a:lnTo>
                    <a:lnTo>
                      <a:pt x="866" y="401"/>
                    </a:lnTo>
                    <a:lnTo>
                      <a:pt x="865" y="401"/>
                    </a:lnTo>
                    <a:lnTo>
                      <a:pt x="863" y="401"/>
                    </a:lnTo>
                    <a:lnTo>
                      <a:pt x="862" y="401"/>
                    </a:lnTo>
                    <a:lnTo>
                      <a:pt x="860" y="399"/>
                    </a:lnTo>
                    <a:lnTo>
                      <a:pt x="858" y="399"/>
                    </a:lnTo>
                    <a:lnTo>
                      <a:pt x="857" y="399"/>
                    </a:lnTo>
                    <a:lnTo>
                      <a:pt x="855" y="399"/>
                    </a:lnTo>
                    <a:lnTo>
                      <a:pt x="854" y="399"/>
                    </a:lnTo>
                    <a:lnTo>
                      <a:pt x="854" y="398"/>
                    </a:lnTo>
                    <a:lnTo>
                      <a:pt x="852" y="398"/>
                    </a:lnTo>
                    <a:lnTo>
                      <a:pt x="851" y="396"/>
                    </a:lnTo>
                    <a:lnTo>
                      <a:pt x="849" y="396"/>
                    </a:lnTo>
                    <a:lnTo>
                      <a:pt x="849" y="395"/>
                    </a:lnTo>
                    <a:lnTo>
                      <a:pt x="847" y="393"/>
                    </a:lnTo>
                    <a:lnTo>
                      <a:pt x="846" y="393"/>
                    </a:lnTo>
                    <a:lnTo>
                      <a:pt x="844" y="391"/>
                    </a:lnTo>
                    <a:lnTo>
                      <a:pt x="843" y="391"/>
                    </a:lnTo>
                    <a:lnTo>
                      <a:pt x="841" y="391"/>
                    </a:lnTo>
                    <a:lnTo>
                      <a:pt x="839" y="390"/>
                    </a:lnTo>
                    <a:lnTo>
                      <a:pt x="838" y="390"/>
                    </a:lnTo>
                    <a:lnTo>
                      <a:pt x="836" y="390"/>
                    </a:lnTo>
                    <a:lnTo>
                      <a:pt x="835" y="390"/>
                    </a:lnTo>
                    <a:lnTo>
                      <a:pt x="833" y="390"/>
                    </a:lnTo>
                    <a:lnTo>
                      <a:pt x="833" y="388"/>
                    </a:lnTo>
                    <a:lnTo>
                      <a:pt x="832" y="388"/>
                    </a:lnTo>
                    <a:lnTo>
                      <a:pt x="830" y="388"/>
                    </a:lnTo>
                    <a:lnTo>
                      <a:pt x="828" y="388"/>
                    </a:lnTo>
                    <a:lnTo>
                      <a:pt x="828" y="387"/>
                    </a:lnTo>
                    <a:lnTo>
                      <a:pt x="827" y="385"/>
                    </a:lnTo>
                    <a:lnTo>
                      <a:pt x="825" y="383"/>
                    </a:lnTo>
                    <a:lnTo>
                      <a:pt x="824" y="382"/>
                    </a:lnTo>
                    <a:lnTo>
                      <a:pt x="822" y="382"/>
                    </a:lnTo>
                    <a:lnTo>
                      <a:pt x="820" y="382"/>
                    </a:lnTo>
                    <a:lnTo>
                      <a:pt x="819" y="380"/>
                    </a:lnTo>
                    <a:lnTo>
                      <a:pt x="817" y="380"/>
                    </a:lnTo>
                    <a:lnTo>
                      <a:pt x="816" y="380"/>
                    </a:lnTo>
                    <a:lnTo>
                      <a:pt x="816" y="379"/>
                    </a:lnTo>
                    <a:lnTo>
                      <a:pt x="814" y="379"/>
                    </a:lnTo>
                    <a:lnTo>
                      <a:pt x="813" y="379"/>
                    </a:lnTo>
                    <a:lnTo>
                      <a:pt x="811" y="379"/>
                    </a:lnTo>
                    <a:lnTo>
                      <a:pt x="809" y="379"/>
                    </a:lnTo>
                    <a:lnTo>
                      <a:pt x="808" y="380"/>
                    </a:lnTo>
                    <a:lnTo>
                      <a:pt x="806" y="380"/>
                    </a:lnTo>
                    <a:lnTo>
                      <a:pt x="805" y="380"/>
                    </a:lnTo>
                    <a:lnTo>
                      <a:pt x="803" y="380"/>
                    </a:lnTo>
                    <a:lnTo>
                      <a:pt x="801" y="380"/>
                    </a:lnTo>
                    <a:lnTo>
                      <a:pt x="801" y="382"/>
                    </a:lnTo>
                    <a:lnTo>
                      <a:pt x="800" y="382"/>
                    </a:lnTo>
                    <a:lnTo>
                      <a:pt x="798" y="382"/>
                    </a:lnTo>
                    <a:lnTo>
                      <a:pt x="797" y="382"/>
                    </a:lnTo>
                    <a:lnTo>
                      <a:pt x="797" y="380"/>
                    </a:lnTo>
                    <a:lnTo>
                      <a:pt x="797" y="379"/>
                    </a:lnTo>
                    <a:lnTo>
                      <a:pt x="797" y="377"/>
                    </a:lnTo>
                    <a:lnTo>
                      <a:pt x="795" y="377"/>
                    </a:lnTo>
                    <a:lnTo>
                      <a:pt x="794" y="377"/>
                    </a:lnTo>
                    <a:lnTo>
                      <a:pt x="792" y="377"/>
                    </a:lnTo>
                    <a:lnTo>
                      <a:pt x="790" y="377"/>
                    </a:lnTo>
                    <a:lnTo>
                      <a:pt x="789" y="377"/>
                    </a:lnTo>
                    <a:lnTo>
                      <a:pt x="787" y="377"/>
                    </a:lnTo>
                    <a:lnTo>
                      <a:pt x="786" y="379"/>
                    </a:lnTo>
                    <a:lnTo>
                      <a:pt x="784" y="377"/>
                    </a:lnTo>
                    <a:lnTo>
                      <a:pt x="782" y="379"/>
                    </a:lnTo>
                    <a:lnTo>
                      <a:pt x="781" y="380"/>
                    </a:lnTo>
                    <a:lnTo>
                      <a:pt x="779" y="382"/>
                    </a:lnTo>
                    <a:lnTo>
                      <a:pt x="778" y="383"/>
                    </a:lnTo>
                    <a:lnTo>
                      <a:pt x="776" y="383"/>
                    </a:lnTo>
                    <a:lnTo>
                      <a:pt x="776" y="382"/>
                    </a:lnTo>
                    <a:lnTo>
                      <a:pt x="775" y="382"/>
                    </a:lnTo>
                    <a:lnTo>
                      <a:pt x="773" y="382"/>
                    </a:lnTo>
                    <a:lnTo>
                      <a:pt x="771" y="382"/>
                    </a:lnTo>
                    <a:lnTo>
                      <a:pt x="770" y="383"/>
                    </a:lnTo>
                    <a:lnTo>
                      <a:pt x="768" y="383"/>
                    </a:lnTo>
                    <a:lnTo>
                      <a:pt x="768" y="385"/>
                    </a:lnTo>
                    <a:lnTo>
                      <a:pt x="767" y="387"/>
                    </a:lnTo>
                    <a:lnTo>
                      <a:pt x="765" y="388"/>
                    </a:lnTo>
                    <a:lnTo>
                      <a:pt x="765" y="390"/>
                    </a:lnTo>
                    <a:lnTo>
                      <a:pt x="763" y="390"/>
                    </a:lnTo>
                    <a:lnTo>
                      <a:pt x="763" y="391"/>
                    </a:lnTo>
                    <a:lnTo>
                      <a:pt x="762" y="393"/>
                    </a:lnTo>
                    <a:lnTo>
                      <a:pt x="762" y="395"/>
                    </a:lnTo>
                    <a:lnTo>
                      <a:pt x="760" y="395"/>
                    </a:lnTo>
                    <a:lnTo>
                      <a:pt x="760" y="396"/>
                    </a:lnTo>
                    <a:lnTo>
                      <a:pt x="759" y="396"/>
                    </a:lnTo>
                    <a:lnTo>
                      <a:pt x="759" y="398"/>
                    </a:lnTo>
                    <a:lnTo>
                      <a:pt x="757" y="399"/>
                    </a:lnTo>
                    <a:lnTo>
                      <a:pt x="755" y="399"/>
                    </a:lnTo>
                    <a:lnTo>
                      <a:pt x="755" y="401"/>
                    </a:lnTo>
                    <a:lnTo>
                      <a:pt x="754" y="401"/>
                    </a:lnTo>
                    <a:lnTo>
                      <a:pt x="752" y="401"/>
                    </a:lnTo>
                    <a:lnTo>
                      <a:pt x="751" y="399"/>
                    </a:lnTo>
                    <a:lnTo>
                      <a:pt x="749" y="399"/>
                    </a:lnTo>
                    <a:lnTo>
                      <a:pt x="749" y="401"/>
                    </a:lnTo>
                    <a:lnTo>
                      <a:pt x="748" y="402"/>
                    </a:lnTo>
                    <a:lnTo>
                      <a:pt x="748" y="404"/>
                    </a:lnTo>
                    <a:lnTo>
                      <a:pt x="748" y="406"/>
                    </a:lnTo>
                    <a:lnTo>
                      <a:pt x="746" y="406"/>
                    </a:lnTo>
                    <a:lnTo>
                      <a:pt x="746" y="407"/>
                    </a:lnTo>
                    <a:lnTo>
                      <a:pt x="744" y="407"/>
                    </a:lnTo>
                    <a:lnTo>
                      <a:pt x="744" y="409"/>
                    </a:lnTo>
                    <a:lnTo>
                      <a:pt x="743" y="409"/>
                    </a:lnTo>
                    <a:lnTo>
                      <a:pt x="743" y="410"/>
                    </a:lnTo>
                    <a:lnTo>
                      <a:pt x="741" y="410"/>
                    </a:lnTo>
                    <a:lnTo>
                      <a:pt x="740" y="412"/>
                    </a:lnTo>
                    <a:lnTo>
                      <a:pt x="740" y="414"/>
                    </a:lnTo>
                    <a:lnTo>
                      <a:pt x="738" y="414"/>
                    </a:lnTo>
                    <a:lnTo>
                      <a:pt x="736" y="415"/>
                    </a:lnTo>
                    <a:lnTo>
                      <a:pt x="735" y="417"/>
                    </a:lnTo>
                    <a:lnTo>
                      <a:pt x="733" y="417"/>
                    </a:lnTo>
                    <a:lnTo>
                      <a:pt x="733" y="418"/>
                    </a:lnTo>
                    <a:lnTo>
                      <a:pt x="732" y="418"/>
                    </a:lnTo>
                    <a:lnTo>
                      <a:pt x="730" y="418"/>
                    </a:lnTo>
                    <a:lnTo>
                      <a:pt x="729" y="418"/>
                    </a:lnTo>
                    <a:lnTo>
                      <a:pt x="729" y="420"/>
                    </a:lnTo>
                    <a:lnTo>
                      <a:pt x="727" y="420"/>
                    </a:lnTo>
                    <a:lnTo>
                      <a:pt x="725" y="420"/>
                    </a:lnTo>
                    <a:lnTo>
                      <a:pt x="724" y="420"/>
                    </a:lnTo>
                    <a:lnTo>
                      <a:pt x="722" y="420"/>
                    </a:lnTo>
                    <a:lnTo>
                      <a:pt x="721" y="420"/>
                    </a:lnTo>
                    <a:lnTo>
                      <a:pt x="719" y="420"/>
                    </a:lnTo>
                    <a:lnTo>
                      <a:pt x="717" y="420"/>
                    </a:lnTo>
                    <a:lnTo>
                      <a:pt x="716" y="420"/>
                    </a:lnTo>
                    <a:lnTo>
                      <a:pt x="714" y="420"/>
                    </a:lnTo>
                    <a:lnTo>
                      <a:pt x="713" y="421"/>
                    </a:lnTo>
                    <a:lnTo>
                      <a:pt x="711" y="421"/>
                    </a:lnTo>
                    <a:lnTo>
                      <a:pt x="710" y="421"/>
                    </a:lnTo>
                    <a:lnTo>
                      <a:pt x="708" y="421"/>
                    </a:lnTo>
                    <a:lnTo>
                      <a:pt x="706" y="421"/>
                    </a:lnTo>
                    <a:lnTo>
                      <a:pt x="705" y="421"/>
                    </a:lnTo>
                    <a:lnTo>
                      <a:pt x="705" y="423"/>
                    </a:lnTo>
                    <a:lnTo>
                      <a:pt x="703" y="423"/>
                    </a:lnTo>
                    <a:lnTo>
                      <a:pt x="703" y="425"/>
                    </a:lnTo>
                    <a:lnTo>
                      <a:pt x="702" y="426"/>
                    </a:lnTo>
                    <a:lnTo>
                      <a:pt x="702" y="428"/>
                    </a:lnTo>
                    <a:lnTo>
                      <a:pt x="700" y="428"/>
                    </a:lnTo>
                    <a:lnTo>
                      <a:pt x="700" y="429"/>
                    </a:lnTo>
                    <a:lnTo>
                      <a:pt x="700" y="431"/>
                    </a:lnTo>
                    <a:lnTo>
                      <a:pt x="698" y="431"/>
                    </a:lnTo>
                    <a:lnTo>
                      <a:pt x="698" y="433"/>
                    </a:lnTo>
                    <a:lnTo>
                      <a:pt x="698" y="434"/>
                    </a:lnTo>
                    <a:lnTo>
                      <a:pt x="697" y="434"/>
                    </a:lnTo>
                    <a:lnTo>
                      <a:pt x="697" y="436"/>
                    </a:lnTo>
                    <a:lnTo>
                      <a:pt x="697" y="437"/>
                    </a:lnTo>
                    <a:lnTo>
                      <a:pt x="695" y="437"/>
                    </a:lnTo>
                    <a:lnTo>
                      <a:pt x="697" y="439"/>
                    </a:lnTo>
                    <a:lnTo>
                      <a:pt x="697" y="440"/>
                    </a:lnTo>
                    <a:lnTo>
                      <a:pt x="698" y="442"/>
                    </a:lnTo>
                    <a:lnTo>
                      <a:pt x="698" y="444"/>
                    </a:lnTo>
                    <a:lnTo>
                      <a:pt x="697" y="444"/>
                    </a:lnTo>
                    <a:lnTo>
                      <a:pt x="697" y="445"/>
                    </a:lnTo>
                    <a:lnTo>
                      <a:pt x="697" y="447"/>
                    </a:lnTo>
                    <a:lnTo>
                      <a:pt x="697" y="448"/>
                    </a:lnTo>
                    <a:lnTo>
                      <a:pt x="697" y="450"/>
                    </a:lnTo>
                    <a:lnTo>
                      <a:pt x="697" y="452"/>
                    </a:lnTo>
                    <a:lnTo>
                      <a:pt x="697" y="453"/>
                    </a:lnTo>
                    <a:lnTo>
                      <a:pt x="698" y="453"/>
                    </a:lnTo>
                    <a:lnTo>
                      <a:pt x="698" y="455"/>
                    </a:lnTo>
                    <a:lnTo>
                      <a:pt x="698" y="456"/>
                    </a:lnTo>
                    <a:lnTo>
                      <a:pt x="697" y="458"/>
                    </a:lnTo>
                    <a:lnTo>
                      <a:pt x="697" y="459"/>
                    </a:lnTo>
                    <a:lnTo>
                      <a:pt x="697" y="461"/>
                    </a:lnTo>
                    <a:lnTo>
                      <a:pt x="697" y="463"/>
                    </a:lnTo>
                    <a:lnTo>
                      <a:pt x="697" y="464"/>
                    </a:lnTo>
                    <a:lnTo>
                      <a:pt x="698" y="464"/>
                    </a:lnTo>
                    <a:lnTo>
                      <a:pt x="698" y="466"/>
                    </a:lnTo>
                    <a:lnTo>
                      <a:pt x="700" y="467"/>
                    </a:lnTo>
                    <a:lnTo>
                      <a:pt x="700" y="469"/>
                    </a:lnTo>
                    <a:lnTo>
                      <a:pt x="698" y="471"/>
                    </a:lnTo>
                    <a:lnTo>
                      <a:pt x="698" y="472"/>
                    </a:lnTo>
                    <a:lnTo>
                      <a:pt x="700" y="474"/>
                    </a:lnTo>
                    <a:lnTo>
                      <a:pt x="700" y="475"/>
                    </a:lnTo>
                    <a:lnTo>
                      <a:pt x="698" y="477"/>
                    </a:lnTo>
                    <a:lnTo>
                      <a:pt x="698" y="479"/>
                    </a:lnTo>
                    <a:lnTo>
                      <a:pt x="698" y="480"/>
                    </a:lnTo>
                    <a:lnTo>
                      <a:pt x="700" y="480"/>
                    </a:lnTo>
                    <a:lnTo>
                      <a:pt x="702" y="480"/>
                    </a:lnTo>
                    <a:lnTo>
                      <a:pt x="702" y="482"/>
                    </a:lnTo>
                    <a:lnTo>
                      <a:pt x="703" y="482"/>
                    </a:lnTo>
                    <a:lnTo>
                      <a:pt x="705" y="483"/>
                    </a:lnTo>
                    <a:lnTo>
                      <a:pt x="706" y="483"/>
                    </a:lnTo>
                    <a:lnTo>
                      <a:pt x="706" y="485"/>
                    </a:lnTo>
                    <a:lnTo>
                      <a:pt x="708" y="485"/>
                    </a:lnTo>
                    <a:lnTo>
                      <a:pt x="710" y="486"/>
                    </a:lnTo>
                    <a:lnTo>
                      <a:pt x="711" y="486"/>
                    </a:lnTo>
                    <a:lnTo>
                      <a:pt x="711" y="488"/>
                    </a:lnTo>
                    <a:lnTo>
                      <a:pt x="713" y="488"/>
                    </a:lnTo>
                    <a:lnTo>
                      <a:pt x="714" y="488"/>
                    </a:lnTo>
                    <a:lnTo>
                      <a:pt x="716" y="488"/>
                    </a:lnTo>
                    <a:lnTo>
                      <a:pt x="717" y="490"/>
                    </a:lnTo>
                    <a:lnTo>
                      <a:pt x="719" y="490"/>
                    </a:lnTo>
                    <a:lnTo>
                      <a:pt x="719" y="491"/>
                    </a:lnTo>
                    <a:lnTo>
                      <a:pt x="721" y="491"/>
                    </a:lnTo>
                    <a:lnTo>
                      <a:pt x="721" y="493"/>
                    </a:lnTo>
                    <a:lnTo>
                      <a:pt x="722" y="493"/>
                    </a:lnTo>
                    <a:lnTo>
                      <a:pt x="724" y="494"/>
                    </a:lnTo>
                    <a:lnTo>
                      <a:pt x="725" y="494"/>
                    </a:lnTo>
                    <a:lnTo>
                      <a:pt x="727" y="496"/>
                    </a:lnTo>
                    <a:lnTo>
                      <a:pt x="729" y="496"/>
                    </a:lnTo>
                    <a:lnTo>
                      <a:pt x="729" y="498"/>
                    </a:lnTo>
                    <a:lnTo>
                      <a:pt x="730" y="498"/>
                    </a:lnTo>
                    <a:lnTo>
                      <a:pt x="732" y="499"/>
                    </a:lnTo>
                    <a:lnTo>
                      <a:pt x="733" y="499"/>
                    </a:lnTo>
                    <a:lnTo>
                      <a:pt x="733" y="501"/>
                    </a:lnTo>
                    <a:lnTo>
                      <a:pt x="735" y="501"/>
                    </a:lnTo>
                    <a:lnTo>
                      <a:pt x="736" y="502"/>
                    </a:lnTo>
                    <a:lnTo>
                      <a:pt x="738" y="502"/>
                    </a:lnTo>
                    <a:lnTo>
                      <a:pt x="738" y="504"/>
                    </a:lnTo>
                    <a:lnTo>
                      <a:pt x="740" y="504"/>
                    </a:lnTo>
                    <a:lnTo>
                      <a:pt x="740" y="505"/>
                    </a:lnTo>
                    <a:lnTo>
                      <a:pt x="741" y="505"/>
                    </a:lnTo>
                    <a:lnTo>
                      <a:pt x="743" y="507"/>
                    </a:lnTo>
                    <a:lnTo>
                      <a:pt x="744" y="507"/>
                    </a:lnTo>
                    <a:lnTo>
                      <a:pt x="744" y="509"/>
                    </a:lnTo>
                    <a:lnTo>
                      <a:pt x="744" y="510"/>
                    </a:lnTo>
                    <a:lnTo>
                      <a:pt x="746" y="512"/>
                    </a:lnTo>
                    <a:lnTo>
                      <a:pt x="748" y="512"/>
                    </a:lnTo>
                    <a:lnTo>
                      <a:pt x="749" y="512"/>
                    </a:lnTo>
                    <a:lnTo>
                      <a:pt x="749" y="513"/>
                    </a:lnTo>
                    <a:lnTo>
                      <a:pt x="751" y="513"/>
                    </a:lnTo>
                    <a:lnTo>
                      <a:pt x="752" y="515"/>
                    </a:lnTo>
                    <a:lnTo>
                      <a:pt x="754" y="517"/>
                    </a:lnTo>
                    <a:lnTo>
                      <a:pt x="752" y="518"/>
                    </a:lnTo>
                    <a:lnTo>
                      <a:pt x="752" y="520"/>
                    </a:lnTo>
                    <a:lnTo>
                      <a:pt x="752" y="521"/>
                    </a:lnTo>
                    <a:lnTo>
                      <a:pt x="752" y="523"/>
                    </a:lnTo>
                    <a:lnTo>
                      <a:pt x="752" y="524"/>
                    </a:lnTo>
                    <a:lnTo>
                      <a:pt x="752" y="526"/>
                    </a:lnTo>
                    <a:lnTo>
                      <a:pt x="752" y="528"/>
                    </a:lnTo>
                    <a:lnTo>
                      <a:pt x="752" y="529"/>
                    </a:lnTo>
                    <a:lnTo>
                      <a:pt x="752" y="531"/>
                    </a:lnTo>
                    <a:lnTo>
                      <a:pt x="752" y="532"/>
                    </a:lnTo>
                    <a:lnTo>
                      <a:pt x="752" y="534"/>
                    </a:lnTo>
                    <a:lnTo>
                      <a:pt x="752" y="536"/>
                    </a:lnTo>
                    <a:lnTo>
                      <a:pt x="752" y="537"/>
                    </a:lnTo>
                    <a:lnTo>
                      <a:pt x="752" y="539"/>
                    </a:lnTo>
                    <a:lnTo>
                      <a:pt x="752" y="540"/>
                    </a:lnTo>
                    <a:lnTo>
                      <a:pt x="752" y="542"/>
                    </a:lnTo>
                    <a:lnTo>
                      <a:pt x="752" y="543"/>
                    </a:lnTo>
                    <a:lnTo>
                      <a:pt x="752" y="545"/>
                    </a:lnTo>
                    <a:lnTo>
                      <a:pt x="754" y="545"/>
                    </a:lnTo>
                    <a:lnTo>
                      <a:pt x="752" y="547"/>
                    </a:lnTo>
                    <a:lnTo>
                      <a:pt x="754" y="547"/>
                    </a:lnTo>
                    <a:lnTo>
                      <a:pt x="754" y="548"/>
                    </a:lnTo>
                    <a:lnTo>
                      <a:pt x="754" y="550"/>
                    </a:lnTo>
                    <a:lnTo>
                      <a:pt x="754" y="551"/>
                    </a:lnTo>
                    <a:lnTo>
                      <a:pt x="754" y="553"/>
                    </a:lnTo>
                    <a:lnTo>
                      <a:pt x="754" y="555"/>
                    </a:lnTo>
                    <a:lnTo>
                      <a:pt x="754" y="556"/>
                    </a:lnTo>
                    <a:lnTo>
                      <a:pt x="754" y="558"/>
                    </a:lnTo>
                    <a:lnTo>
                      <a:pt x="754" y="559"/>
                    </a:lnTo>
                    <a:lnTo>
                      <a:pt x="754" y="561"/>
                    </a:lnTo>
                    <a:lnTo>
                      <a:pt x="754" y="562"/>
                    </a:lnTo>
                    <a:lnTo>
                      <a:pt x="754" y="564"/>
                    </a:lnTo>
                    <a:lnTo>
                      <a:pt x="754" y="566"/>
                    </a:lnTo>
                    <a:lnTo>
                      <a:pt x="754" y="567"/>
                    </a:lnTo>
                    <a:lnTo>
                      <a:pt x="754" y="569"/>
                    </a:lnTo>
                    <a:lnTo>
                      <a:pt x="754" y="570"/>
                    </a:lnTo>
                    <a:lnTo>
                      <a:pt x="754" y="572"/>
                    </a:lnTo>
                    <a:lnTo>
                      <a:pt x="754" y="574"/>
                    </a:lnTo>
                    <a:lnTo>
                      <a:pt x="754" y="575"/>
                    </a:lnTo>
                    <a:lnTo>
                      <a:pt x="754" y="577"/>
                    </a:lnTo>
                    <a:lnTo>
                      <a:pt x="754" y="578"/>
                    </a:lnTo>
                    <a:lnTo>
                      <a:pt x="754" y="580"/>
                    </a:lnTo>
                    <a:lnTo>
                      <a:pt x="754" y="581"/>
                    </a:lnTo>
                    <a:lnTo>
                      <a:pt x="754" y="583"/>
                    </a:lnTo>
                    <a:lnTo>
                      <a:pt x="754" y="585"/>
                    </a:lnTo>
                    <a:lnTo>
                      <a:pt x="754" y="586"/>
                    </a:lnTo>
                    <a:lnTo>
                      <a:pt x="752" y="586"/>
                    </a:lnTo>
                    <a:lnTo>
                      <a:pt x="751" y="588"/>
                    </a:lnTo>
                    <a:lnTo>
                      <a:pt x="749" y="588"/>
                    </a:lnTo>
                    <a:lnTo>
                      <a:pt x="748" y="588"/>
                    </a:lnTo>
                    <a:lnTo>
                      <a:pt x="746" y="588"/>
                    </a:lnTo>
                    <a:lnTo>
                      <a:pt x="744" y="588"/>
                    </a:lnTo>
                    <a:lnTo>
                      <a:pt x="743" y="589"/>
                    </a:lnTo>
                    <a:lnTo>
                      <a:pt x="741" y="589"/>
                    </a:lnTo>
                    <a:lnTo>
                      <a:pt x="740" y="589"/>
                    </a:lnTo>
                    <a:lnTo>
                      <a:pt x="738" y="591"/>
                    </a:lnTo>
                    <a:lnTo>
                      <a:pt x="738" y="593"/>
                    </a:lnTo>
                    <a:lnTo>
                      <a:pt x="736" y="593"/>
                    </a:lnTo>
                    <a:lnTo>
                      <a:pt x="736" y="594"/>
                    </a:lnTo>
                    <a:lnTo>
                      <a:pt x="735" y="596"/>
                    </a:lnTo>
                    <a:lnTo>
                      <a:pt x="733" y="596"/>
                    </a:lnTo>
                    <a:lnTo>
                      <a:pt x="733" y="597"/>
                    </a:lnTo>
                    <a:lnTo>
                      <a:pt x="732" y="597"/>
                    </a:lnTo>
                    <a:lnTo>
                      <a:pt x="732" y="599"/>
                    </a:lnTo>
                    <a:lnTo>
                      <a:pt x="730" y="599"/>
                    </a:lnTo>
                    <a:lnTo>
                      <a:pt x="730" y="600"/>
                    </a:lnTo>
                    <a:lnTo>
                      <a:pt x="729" y="600"/>
                    </a:lnTo>
                    <a:lnTo>
                      <a:pt x="729" y="602"/>
                    </a:lnTo>
                    <a:lnTo>
                      <a:pt x="727" y="602"/>
                    </a:lnTo>
                    <a:lnTo>
                      <a:pt x="727" y="604"/>
                    </a:lnTo>
                    <a:lnTo>
                      <a:pt x="727" y="605"/>
                    </a:lnTo>
                    <a:lnTo>
                      <a:pt x="725" y="605"/>
                    </a:lnTo>
                    <a:lnTo>
                      <a:pt x="725" y="607"/>
                    </a:lnTo>
                    <a:lnTo>
                      <a:pt x="724" y="607"/>
                    </a:lnTo>
                    <a:lnTo>
                      <a:pt x="724" y="608"/>
                    </a:lnTo>
                    <a:lnTo>
                      <a:pt x="722" y="608"/>
                    </a:lnTo>
                    <a:lnTo>
                      <a:pt x="722" y="610"/>
                    </a:lnTo>
                    <a:lnTo>
                      <a:pt x="721" y="610"/>
                    </a:lnTo>
                    <a:lnTo>
                      <a:pt x="721" y="612"/>
                    </a:lnTo>
                    <a:lnTo>
                      <a:pt x="722" y="613"/>
                    </a:lnTo>
                    <a:lnTo>
                      <a:pt x="721" y="613"/>
                    </a:lnTo>
                    <a:lnTo>
                      <a:pt x="719" y="613"/>
                    </a:lnTo>
                    <a:lnTo>
                      <a:pt x="717" y="613"/>
                    </a:lnTo>
                    <a:lnTo>
                      <a:pt x="716" y="613"/>
                    </a:lnTo>
                    <a:lnTo>
                      <a:pt x="714" y="613"/>
                    </a:lnTo>
                    <a:lnTo>
                      <a:pt x="713" y="613"/>
                    </a:lnTo>
                    <a:lnTo>
                      <a:pt x="713" y="612"/>
                    </a:lnTo>
                    <a:lnTo>
                      <a:pt x="711" y="612"/>
                    </a:lnTo>
                    <a:lnTo>
                      <a:pt x="710" y="612"/>
                    </a:lnTo>
                    <a:lnTo>
                      <a:pt x="708" y="612"/>
                    </a:lnTo>
                    <a:lnTo>
                      <a:pt x="706" y="612"/>
                    </a:lnTo>
                    <a:lnTo>
                      <a:pt x="705" y="612"/>
                    </a:lnTo>
                    <a:lnTo>
                      <a:pt x="703" y="612"/>
                    </a:lnTo>
                    <a:lnTo>
                      <a:pt x="702" y="613"/>
                    </a:lnTo>
                    <a:lnTo>
                      <a:pt x="700" y="613"/>
                    </a:lnTo>
                    <a:lnTo>
                      <a:pt x="698" y="613"/>
                    </a:lnTo>
                    <a:lnTo>
                      <a:pt x="697" y="613"/>
                    </a:lnTo>
                    <a:lnTo>
                      <a:pt x="695" y="613"/>
                    </a:lnTo>
                    <a:lnTo>
                      <a:pt x="694" y="613"/>
                    </a:lnTo>
                    <a:lnTo>
                      <a:pt x="692" y="613"/>
                    </a:lnTo>
                    <a:lnTo>
                      <a:pt x="691" y="615"/>
                    </a:lnTo>
                    <a:lnTo>
                      <a:pt x="691" y="616"/>
                    </a:lnTo>
                    <a:lnTo>
                      <a:pt x="689" y="618"/>
                    </a:lnTo>
                    <a:lnTo>
                      <a:pt x="689" y="619"/>
                    </a:lnTo>
                    <a:lnTo>
                      <a:pt x="687" y="621"/>
                    </a:lnTo>
                    <a:lnTo>
                      <a:pt x="687" y="623"/>
                    </a:lnTo>
                    <a:lnTo>
                      <a:pt x="686" y="623"/>
                    </a:lnTo>
                    <a:lnTo>
                      <a:pt x="686" y="624"/>
                    </a:lnTo>
                    <a:lnTo>
                      <a:pt x="686" y="626"/>
                    </a:lnTo>
                    <a:lnTo>
                      <a:pt x="684" y="626"/>
                    </a:lnTo>
                    <a:lnTo>
                      <a:pt x="684" y="627"/>
                    </a:lnTo>
                    <a:lnTo>
                      <a:pt x="683" y="629"/>
                    </a:lnTo>
                    <a:lnTo>
                      <a:pt x="683" y="631"/>
                    </a:lnTo>
                    <a:lnTo>
                      <a:pt x="683" y="632"/>
                    </a:lnTo>
                    <a:lnTo>
                      <a:pt x="681" y="632"/>
                    </a:lnTo>
                    <a:lnTo>
                      <a:pt x="679" y="632"/>
                    </a:lnTo>
                    <a:lnTo>
                      <a:pt x="679" y="634"/>
                    </a:lnTo>
                    <a:lnTo>
                      <a:pt x="678" y="634"/>
                    </a:lnTo>
                    <a:lnTo>
                      <a:pt x="678" y="635"/>
                    </a:lnTo>
                    <a:lnTo>
                      <a:pt x="676" y="635"/>
                    </a:lnTo>
                    <a:lnTo>
                      <a:pt x="676" y="637"/>
                    </a:lnTo>
                    <a:lnTo>
                      <a:pt x="675" y="637"/>
                    </a:lnTo>
                    <a:lnTo>
                      <a:pt x="673" y="637"/>
                    </a:lnTo>
                    <a:lnTo>
                      <a:pt x="672" y="638"/>
                    </a:lnTo>
                    <a:lnTo>
                      <a:pt x="670" y="638"/>
                    </a:lnTo>
                    <a:lnTo>
                      <a:pt x="668" y="640"/>
                    </a:lnTo>
                    <a:lnTo>
                      <a:pt x="667" y="642"/>
                    </a:lnTo>
                    <a:lnTo>
                      <a:pt x="667" y="640"/>
                    </a:lnTo>
                    <a:lnTo>
                      <a:pt x="667" y="638"/>
                    </a:lnTo>
                    <a:lnTo>
                      <a:pt x="667" y="637"/>
                    </a:lnTo>
                    <a:lnTo>
                      <a:pt x="667" y="635"/>
                    </a:lnTo>
                    <a:lnTo>
                      <a:pt x="667" y="634"/>
                    </a:lnTo>
                    <a:lnTo>
                      <a:pt x="667" y="632"/>
                    </a:lnTo>
                    <a:lnTo>
                      <a:pt x="667" y="631"/>
                    </a:lnTo>
                    <a:lnTo>
                      <a:pt x="665" y="629"/>
                    </a:lnTo>
                    <a:lnTo>
                      <a:pt x="664" y="629"/>
                    </a:lnTo>
                    <a:lnTo>
                      <a:pt x="664" y="627"/>
                    </a:lnTo>
                    <a:lnTo>
                      <a:pt x="662" y="627"/>
                    </a:lnTo>
                    <a:lnTo>
                      <a:pt x="662" y="626"/>
                    </a:lnTo>
                    <a:lnTo>
                      <a:pt x="662" y="624"/>
                    </a:lnTo>
                    <a:lnTo>
                      <a:pt x="662" y="623"/>
                    </a:lnTo>
                    <a:lnTo>
                      <a:pt x="660" y="621"/>
                    </a:lnTo>
                    <a:lnTo>
                      <a:pt x="659" y="621"/>
                    </a:lnTo>
                    <a:lnTo>
                      <a:pt x="657" y="621"/>
                    </a:lnTo>
                    <a:lnTo>
                      <a:pt x="656" y="621"/>
                    </a:lnTo>
                    <a:lnTo>
                      <a:pt x="654" y="621"/>
                    </a:lnTo>
                    <a:lnTo>
                      <a:pt x="653" y="619"/>
                    </a:lnTo>
                    <a:lnTo>
                      <a:pt x="653" y="618"/>
                    </a:lnTo>
                    <a:lnTo>
                      <a:pt x="651" y="619"/>
                    </a:lnTo>
                    <a:lnTo>
                      <a:pt x="649" y="619"/>
                    </a:lnTo>
                    <a:lnTo>
                      <a:pt x="648" y="619"/>
                    </a:lnTo>
                    <a:lnTo>
                      <a:pt x="646" y="619"/>
                    </a:lnTo>
                    <a:lnTo>
                      <a:pt x="645" y="619"/>
                    </a:lnTo>
                    <a:lnTo>
                      <a:pt x="643" y="619"/>
                    </a:lnTo>
                    <a:lnTo>
                      <a:pt x="643" y="621"/>
                    </a:lnTo>
                    <a:lnTo>
                      <a:pt x="641" y="619"/>
                    </a:lnTo>
                    <a:lnTo>
                      <a:pt x="640" y="619"/>
                    </a:lnTo>
                    <a:lnTo>
                      <a:pt x="640" y="618"/>
                    </a:lnTo>
                    <a:lnTo>
                      <a:pt x="638" y="618"/>
                    </a:lnTo>
                    <a:lnTo>
                      <a:pt x="638" y="619"/>
                    </a:lnTo>
                    <a:lnTo>
                      <a:pt x="637" y="619"/>
                    </a:lnTo>
                    <a:lnTo>
                      <a:pt x="635" y="619"/>
                    </a:lnTo>
                    <a:lnTo>
                      <a:pt x="635" y="621"/>
                    </a:lnTo>
                    <a:lnTo>
                      <a:pt x="634" y="621"/>
                    </a:lnTo>
                    <a:lnTo>
                      <a:pt x="632" y="619"/>
                    </a:lnTo>
                    <a:lnTo>
                      <a:pt x="630" y="619"/>
                    </a:lnTo>
                    <a:lnTo>
                      <a:pt x="629" y="619"/>
                    </a:lnTo>
                    <a:lnTo>
                      <a:pt x="627" y="619"/>
                    </a:lnTo>
                    <a:lnTo>
                      <a:pt x="626" y="619"/>
                    </a:lnTo>
                    <a:lnTo>
                      <a:pt x="626" y="621"/>
                    </a:lnTo>
                    <a:lnTo>
                      <a:pt x="624" y="621"/>
                    </a:lnTo>
                    <a:lnTo>
                      <a:pt x="624" y="623"/>
                    </a:lnTo>
                    <a:lnTo>
                      <a:pt x="624" y="624"/>
                    </a:lnTo>
                    <a:lnTo>
                      <a:pt x="624" y="626"/>
                    </a:lnTo>
                    <a:lnTo>
                      <a:pt x="624" y="627"/>
                    </a:lnTo>
                    <a:lnTo>
                      <a:pt x="624" y="629"/>
                    </a:lnTo>
                    <a:lnTo>
                      <a:pt x="622" y="631"/>
                    </a:lnTo>
                    <a:lnTo>
                      <a:pt x="621" y="631"/>
                    </a:lnTo>
                    <a:lnTo>
                      <a:pt x="621" y="632"/>
                    </a:lnTo>
                    <a:lnTo>
                      <a:pt x="619" y="632"/>
                    </a:lnTo>
                    <a:lnTo>
                      <a:pt x="618" y="632"/>
                    </a:lnTo>
                    <a:lnTo>
                      <a:pt x="616" y="632"/>
                    </a:lnTo>
                    <a:lnTo>
                      <a:pt x="616" y="634"/>
                    </a:lnTo>
                    <a:lnTo>
                      <a:pt x="615" y="634"/>
                    </a:lnTo>
                    <a:lnTo>
                      <a:pt x="613" y="634"/>
                    </a:lnTo>
                    <a:lnTo>
                      <a:pt x="613" y="635"/>
                    </a:lnTo>
                    <a:lnTo>
                      <a:pt x="611" y="635"/>
                    </a:lnTo>
                    <a:lnTo>
                      <a:pt x="610" y="635"/>
                    </a:lnTo>
                    <a:lnTo>
                      <a:pt x="608" y="637"/>
                    </a:lnTo>
                    <a:lnTo>
                      <a:pt x="608" y="638"/>
                    </a:lnTo>
                    <a:lnTo>
                      <a:pt x="608" y="640"/>
                    </a:lnTo>
                    <a:lnTo>
                      <a:pt x="607" y="640"/>
                    </a:lnTo>
                    <a:lnTo>
                      <a:pt x="605" y="640"/>
                    </a:lnTo>
                    <a:lnTo>
                      <a:pt x="603" y="640"/>
                    </a:lnTo>
                    <a:lnTo>
                      <a:pt x="603" y="638"/>
                    </a:lnTo>
                    <a:lnTo>
                      <a:pt x="602" y="638"/>
                    </a:lnTo>
                    <a:lnTo>
                      <a:pt x="602" y="640"/>
                    </a:lnTo>
                    <a:lnTo>
                      <a:pt x="600" y="640"/>
                    </a:lnTo>
                    <a:lnTo>
                      <a:pt x="599" y="640"/>
                    </a:lnTo>
                    <a:lnTo>
                      <a:pt x="597" y="640"/>
                    </a:lnTo>
                    <a:lnTo>
                      <a:pt x="597" y="642"/>
                    </a:lnTo>
                    <a:lnTo>
                      <a:pt x="596" y="642"/>
                    </a:lnTo>
                    <a:lnTo>
                      <a:pt x="596" y="643"/>
                    </a:lnTo>
                    <a:lnTo>
                      <a:pt x="594" y="643"/>
                    </a:lnTo>
                    <a:lnTo>
                      <a:pt x="594" y="645"/>
                    </a:lnTo>
                    <a:lnTo>
                      <a:pt x="594" y="646"/>
                    </a:lnTo>
                    <a:lnTo>
                      <a:pt x="592" y="646"/>
                    </a:lnTo>
                    <a:lnTo>
                      <a:pt x="592" y="648"/>
                    </a:lnTo>
                    <a:lnTo>
                      <a:pt x="592" y="650"/>
                    </a:lnTo>
                    <a:lnTo>
                      <a:pt x="591" y="650"/>
                    </a:lnTo>
                    <a:lnTo>
                      <a:pt x="591" y="651"/>
                    </a:lnTo>
                    <a:lnTo>
                      <a:pt x="589" y="653"/>
                    </a:lnTo>
                    <a:lnTo>
                      <a:pt x="589" y="654"/>
                    </a:lnTo>
                    <a:lnTo>
                      <a:pt x="589" y="656"/>
                    </a:lnTo>
                    <a:lnTo>
                      <a:pt x="588" y="656"/>
                    </a:lnTo>
                    <a:lnTo>
                      <a:pt x="588" y="658"/>
                    </a:lnTo>
                    <a:lnTo>
                      <a:pt x="586" y="658"/>
                    </a:lnTo>
                    <a:lnTo>
                      <a:pt x="586" y="659"/>
                    </a:lnTo>
                    <a:lnTo>
                      <a:pt x="584" y="659"/>
                    </a:lnTo>
                    <a:lnTo>
                      <a:pt x="584" y="661"/>
                    </a:lnTo>
                    <a:lnTo>
                      <a:pt x="583" y="662"/>
                    </a:lnTo>
                    <a:lnTo>
                      <a:pt x="583" y="664"/>
                    </a:lnTo>
                    <a:lnTo>
                      <a:pt x="581" y="664"/>
                    </a:lnTo>
                    <a:lnTo>
                      <a:pt x="581" y="665"/>
                    </a:lnTo>
                    <a:lnTo>
                      <a:pt x="580" y="665"/>
                    </a:lnTo>
                    <a:lnTo>
                      <a:pt x="580" y="667"/>
                    </a:lnTo>
                    <a:lnTo>
                      <a:pt x="578" y="667"/>
                    </a:lnTo>
                    <a:lnTo>
                      <a:pt x="577" y="667"/>
                    </a:lnTo>
                    <a:lnTo>
                      <a:pt x="577" y="669"/>
                    </a:lnTo>
                    <a:lnTo>
                      <a:pt x="575" y="669"/>
                    </a:lnTo>
                    <a:lnTo>
                      <a:pt x="575" y="670"/>
                    </a:lnTo>
                    <a:lnTo>
                      <a:pt x="573" y="670"/>
                    </a:lnTo>
                    <a:lnTo>
                      <a:pt x="572" y="672"/>
                    </a:lnTo>
                    <a:lnTo>
                      <a:pt x="572" y="684"/>
                    </a:lnTo>
                    <a:lnTo>
                      <a:pt x="572" y="686"/>
                    </a:lnTo>
                    <a:lnTo>
                      <a:pt x="572" y="688"/>
                    </a:lnTo>
                    <a:lnTo>
                      <a:pt x="572" y="689"/>
                    </a:lnTo>
                    <a:lnTo>
                      <a:pt x="572" y="691"/>
                    </a:lnTo>
                    <a:lnTo>
                      <a:pt x="572" y="692"/>
                    </a:lnTo>
                    <a:lnTo>
                      <a:pt x="572" y="694"/>
                    </a:lnTo>
                    <a:lnTo>
                      <a:pt x="572" y="696"/>
                    </a:lnTo>
                    <a:lnTo>
                      <a:pt x="572" y="697"/>
                    </a:lnTo>
                    <a:lnTo>
                      <a:pt x="572" y="699"/>
                    </a:lnTo>
                    <a:lnTo>
                      <a:pt x="572" y="700"/>
                    </a:lnTo>
                    <a:lnTo>
                      <a:pt x="572" y="702"/>
                    </a:lnTo>
                    <a:lnTo>
                      <a:pt x="572" y="703"/>
                    </a:lnTo>
                    <a:lnTo>
                      <a:pt x="572" y="705"/>
                    </a:lnTo>
                    <a:lnTo>
                      <a:pt x="572" y="707"/>
                    </a:lnTo>
                    <a:lnTo>
                      <a:pt x="572" y="708"/>
                    </a:lnTo>
                    <a:lnTo>
                      <a:pt x="573" y="708"/>
                    </a:lnTo>
                    <a:lnTo>
                      <a:pt x="573" y="710"/>
                    </a:lnTo>
                    <a:lnTo>
                      <a:pt x="573" y="711"/>
                    </a:lnTo>
                    <a:lnTo>
                      <a:pt x="573" y="713"/>
                    </a:lnTo>
                    <a:lnTo>
                      <a:pt x="573" y="715"/>
                    </a:lnTo>
                    <a:lnTo>
                      <a:pt x="573" y="716"/>
                    </a:lnTo>
                    <a:lnTo>
                      <a:pt x="575" y="716"/>
                    </a:lnTo>
                    <a:lnTo>
                      <a:pt x="575" y="718"/>
                    </a:lnTo>
                    <a:lnTo>
                      <a:pt x="575" y="719"/>
                    </a:lnTo>
                    <a:lnTo>
                      <a:pt x="575" y="721"/>
                    </a:lnTo>
                    <a:lnTo>
                      <a:pt x="575" y="722"/>
                    </a:lnTo>
                    <a:lnTo>
                      <a:pt x="575" y="724"/>
                    </a:lnTo>
                    <a:lnTo>
                      <a:pt x="575" y="726"/>
                    </a:lnTo>
                    <a:lnTo>
                      <a:pt x="577" y="727"/>
                    </a:lnTo>
                    <a:lnTo>
                      <a:pt x="577" y="729"/>
                    </a:lnTo>
                    <a:lnTo>
                      <a:pt x="577" y="730"/>
                    </a:lnTo>
                    <a:lnTo>
                      <a:pt x="577" y="732"/>
                    </a:lnTo>
                    <a:lnTo>
                      <a:pt x="577" y="734"/>
                    </a:lnTo>
                    <a:lnTo>
                      <a:pt x="578" y="734"/>
                    </a:lnTo>
                    <a:lnTo>
                      <a:pt x="578" y="735"/>
                    </a:lnTo>
                    <a:lnTo>
                      <a:pt x="578" y="737"/>
                    </a:lnTo>
                    <a:lnTo>
                      <a:pt x="578" y="738"/>
                    </a:lnTo>
                    <a:lnTo>
                      <a:pt x="578" y="740"/>
                    </a:lnTo>
                    <a:lnTo>
                      <a:pt x="578" y="741"/>
                    </a:lnTo>
                    <a:lnTo>
                      <a:pt x="580" y="741"/>
                    </a:lnTo>
                    <a:lnTo>
                      <a:pt x="580" y="743"/>
                    </a:lnTo>
                    <a:lnTo>
                      <a:pt x="580" y="745"/>
                    </a:lnTo>
                    <a:lnTo>
                      <a:pt x="578" y="745"/>
                    </a:lnTo>
                    <a:lnTo>
                      <a:pt x="578" y="746"/>
                    </a:lnTo>
                    <a:lnTo>
                      <a:pt x="578" y="748"/>
                    </a:lnTo>
                    <a:lnTo>
                      <a:pt x="577" y="748"/>
                    </a:lnTo>
                    <a:lnTo>
                      <a:pt x="577" y="749"/>
                    </a:lnTo>
                    <a:lnTo>
                      <a:pt x="578" y="751"/>
                    </a:lnTo>
                    <a:lnTo>
                      <a:pt x="578" y="753"/>
                    </a:lnTo>
                    <a:lnTo>
                      <a:pt x="580" y="754"/>
                    </a:lnTo>
                    <a:lnTo>
                      <a:pt x="580" y="756"/>
                    </a:lnTo>
                    <a:lnTo>
                      <a:pt x="580" y="757"/>
                    </a:lnTo>
                    <a:lnTo>
                      <a:pt x="580" y="759"/>
                    </a:lnTo>
                    <a:lnTo>
                      <a:pt x="580" y="760"/>
                    </a:lnTo>
                    <a:lnTo>
                      <a:pt x="580" y="762"/>
                    </a:lnTo>
                    <a:lnTo>
                      <a:pt x="580" y="764"/>
                    </a:lnTo>
                    <a:lnTo>
                      <a:pt x="581" y="764"/>
                    </a:lnTo>
                    <a:lnTo>
                      <a:pt x="581" y="765"/>
                    </a:lnTo>
                    <a:lnTo>
                      <a:pt x="581" y="767"/>
                    </a:lnTo>
                    <a:lnTo>
                      <a:pt x="581" y="768"/>
                    </a:lnTo>
                    <a:lnTo>
                      <a:pt x="581" y="770"/>
                    </a:lnTo>
                    <a:lnTo>
                      <a:pt x="581" y="772"/>
                    </a:lnTo>
                    <a:lnTo>
                      <a:pt x="581" y="773"/>
                    </a:lnTo>
                    <a:lnTo>
                      <a:pt x="581" y="775"/>
                    </a:lnTo>
                    <a:lnTo>
                      <a:pt x="581" y="776"/>
                    </a:lnTo>
                    <a:lnTo>
                      <a:pt x="581" y="778"/>
                    </a:lnTo>
                    <a:lnTo>
                      <a:pt x="581" y="779"/>
                    </a:lnTo>
                    <a:lnTo>
                      <a:pt x="581" y="781"/>
                    </a:lnTo>
                    <a:lnTo>
                      <a:pt x="580" y="781"/>
                    </a:lnTo>
                    <a:lnTo>
                      <a:pt x="578" y="781"/>
                    </a:lnTo>
                    <a:lnTo>
                      <a:pt x="577" y="781"/>
                    </a:lnTo>
                    <a:lnTo>
                      <a:pt x="575" y="779"/>
                    </a:lnTo>
                    <a:lnTo>
                      <a:pt x="573" y="779"/>
                    </a:lnTo>
                    <a:lnTo>
                      <a:pt x="572" y="778"/>
                    </a:lnTo>
                    <a:lnTo>
                      <a:pt x="570" y="778"/>
                    </a:lnTo>
                    <a:lnTo>
                      <a:pt x="569" y="778"/>
                    </a:lnTo>
                    <a:lnTo>
                      <a:pt x="567" y="778"/>
                    </a:lnTo>
                    <a:lnTo>
                      <a:pt x="565" y="778"/>
                    </a:lnTo>
                    <a:lnTo>
                      <a:pt x="564" y="778"/>
                    </a:lnTo>
                    <a:lnTo>
                      <a:pt x="562" y="778"/>
                    </a:lnTo>
                    <a:lnTo>
                      <a:pt x="561" y="778"/>
                    </a:lnTo>
                    <a:lnTo>
                      <a:pt x="559" y="779"/>
                    </a:lnTo>
                    <a:lnTo>
                      <a:pt x="557" y="779"/>
                    </a:lnTo>
                    <a:lnTo>
                      <a:pt x="556" y="781"/>
                    </a:lnTo>
                    <a:lnTo>
                      <a:pt x="554" y="781"/>
                    </a:lnTo>
                    <a:lnTo>
                      <a:pt x="553" y="781"/>
                    </a:lnTo>
                    <a:lnTo>
                      <a:pt x="551" y="781"/>
                    </a:lnTo>
                    <a:lnTo>
                      <a:pt x="551" y="783"/>
                    </a:lnTo>
                    <a:lnTo>
                      <a:pt x="550" y="783"/>
                    </a:lnTo>
                    <a:lnTo>
                      <a:pt x="548" y="783"/>
                    </a:lnTo>
                    <a:lnTo>
                      <a:pt x="546" y="783"/>
                    </a:lnTo>
                    <a:lnTo>
                      <a:pt x="545" y="783"/>
                    </a:lnTo>
                    <a:lnTo>
                      <a:pt x="543" y="783"/>
                    </a:lnTo>
                    <a:lnTo>
                      <a:pt x="542" y="783"/>
                    </a:lnTo>
                    <a:lnTo>
                      <a:pt x="540" y="783"/>
                    </a:lnTo>
                    <a:lnTo>
                      <a:pt x="538" y="783"/>
                    </a:lnTo>
                    <a:lnTo>
                      <a:pt x="537" y="783"/>
                    </a:lnTo>
                    <a:lnTo>
                      <a:pt x="535" y="783"/>
                    </a:lnTo>
                    <a:lnTo>
                      <a:pt x="534" y="783"/>
                    </a:lnTo>
                    <a:lnTo>
                      <a:pt x="532" y="783"/>
                    </a:lnTo>
                    <a:lnTo>
                      <a:pt x="532" y="784"/>
                    </a:lnTo>
                    <a:lnTo>
                      <a:pt x="531" y="784"/>
                    </a:lnTo>
                    <a:lnTo>
                      <a:pt x="529" y="784"/>
                    </a:lnTo>
                    <a:lnTo>
                      <a:pt x="527" y="784"/>
                    </a:lnTo>
                    <a:lnTo>
                      <a:pt x="526" y="784"/>
                    </a:lnTo>
                    <a:lnTo>
                      <a:pt x="524" y="784"/>
                    </a:lnTo>
                    <a:lnTo>
                      <a:pt x="523" y="784"/>
                    </a:lnTo>
                    <a:lnTo>
                      <a:pt x="521" y="791"/>
                    </a:lnTo>
                    <a:lnTo>
                      <a:pt x="521" y="792"/>
                    </a:lnTo>
                    <a:lnTo>
                      <a:pt x="519" y="798"/>
                    </a:lnTo>
                    <a:lnTo>
                      <a:pt x="513" y="803"/>
                    </a:lnTo>
                    <a:lnTo>
                      <a:pt x="510" y="808"/>
                    </a:lnTo>
                    <a:lnTo>
                      <a:pt x="507" y="811"/>
                    </a:lnTo>
                    <a:lnTo>
                      <a:pt x="505" y="811"/>
                    </a:lnTo>
                    <a:lnTo>
                      <a:pt x="505" y="810"/>
                    </a:lnTo>
                    <a:lnTo>
                      <a:pt x="496" y="797"/>
                    </a:lnTo>
                    <a:lnTo>
                      <a:pt x="496" y="795"/>
                    </a:lnTo>
                    <a:lnTo>
                      <a:pt x="491" y="789"/>
                    </a:lnTo>
                    <a:lnTo>
                      <a:pt x="489" y="787"/>
                    </a:lnTo>
                    <a:lnTo>
                      <a:pt x="486" y="786"/>
                    </a:lnTo>
                    <a:lnTo>
                      <a:pt x="475" y="767"/>
                    </a:lnTo>
                    <a:lnTo>
                      <a:pt x="475" y="765"/>
                    </a:lnTo>
                    <a:lnTo>
                      <a:pt x="472" y="760"/>
                    </a:lnTo>
                    <a:lnTo>
                      <a:pt x="470" y="759"/>
                    </a:lnTo>
                    <a:lnTo>
                      <a:pt x="469" y="757"/>
                    </a:lnTo>
                    <a:lnTo>
                      <a:pt x="467" y="754"/>
                    </a:lnTo>
                    <a:lnTo>
                      <a:pt x="462" y="751"/>
                    </a:lnTo>
                    <a:lnTo>
                      <a:pt x="461" y="749"/>
                    </a:lnTo>
                    <a:lnTo>
                      <a:pt x="461" y="748"/>
                    </a:lnTo>
                    <a:lnTo>
                      <a:pt x="459" y="746"/>
                    </a:lnTo>
                    <a:lnTo>
                      <a:pt x="459" y="745"/>
                    </a:lnTo>
                    <a:lnTo>
                      <a:pt x="458" y="745"/>
                    </a:lnTo>
                    <a:lnTo>
                      <a:pt x="458" y="743"/>
                    </a:lnTo>
                    <a:lnTo>
                      <a:pt x="456" y="741"/>
                    </a:lnTo>
                    <a:lnTo>
                      <a:pt x="456" y="740"/>
                    </a:lnTo>
                    <a:lnTo>
                      <a:pt x="455" y="740"/>
                    </a:lnTo>
                    <a:lnTo>
                      <a:pt x="455" y="738"/>
                    </a:lnTo>
                    <a:lnTo>
                      <a:pt x="453" y="737"/>
                    </a:lnTo>
                    <a:lnTo>
                      <a:pt x="450" y="732"/>
                    </a:lnTo>
                    <a:lnTo>
                      <a:pt x="443" y="722"/>
                    </a:lnTo>
                    <a:lnTo>
                      <a:pt x="442" y="721"/>
                    </a:lnTo>
                    <a:lnTo>
                      <a:pt x="442" y="719"/>
                    </a:lnTo>
                    <a:lnTo>
                      <a:pt x="440" y="719"/>
                    </a:lnTo>
                    <a:lnTo>
                      <a:pt x="440" y="718"/>
                    </a:lnTo>
                    <a:lnTo>
                      <a:pt x="439" y="716"/>
                    </a:lnTo>
                    <a:lnTo>
                      <a:pt x="439" y="715"/>
                    </a:lnTo>
                    <a:lnTo>
                      <a:pt x="437" y="715"/>
                    </a:lnTo>
                    <a:lnTo>
                      <a:pt x="437" y="713"/>
                    </a:lnTo>
                    <a:lnTo>
                      <a:pt x="436" y="711"/>
                    </a:lnTo>
                    <a:lnTo>
                      <a:pt x="434" y="710"/>
                    </a:lnTo>
                    <a:lnTo>
                      <a:pt x="434" y="708"/>
                    </a:lnTo>
                    <a:lnTo>
                      <a:pt x="432" y="707"/>
                    </a:lnTo>
                    <a:lnTo>
                      <a:pt x="432" y="705"/>
                    </a:lnTo>
                    <a:lnTo>
                      <a:pt x="429" y="700"/>
                    </a:lnTo>
                    <a:lnTo>
                      <a:pt x="428" y="700"/>
                    </a:lnTo>
                    <a:lnTo>
                      <a:pt x="428" y="699"/>
                    </a:lnTo>
                    <a:lnTo>
                      <a:pt x="426" y="697"/>
                    </a:lnTo>
                    <a:lnTo>
                      <a:pt x="426" y="696"/>
                    </a:lnTo>
                    <a:lnTo>
                      <a:pt x="424" y="696"/>
                    </a:lnTo>
                    <a:lnTo>
                      <a:pt x="423" y="692"/>
                    </a:lnTo>
                    <a:lnTo>
                      <a:pt x="423" y="691"/>
                    </a:lnTo>
                    <a:lnTo>
                      <a:pt x="421" y="691"/>
                    </a:lnTo>
                    <a:lnTo>
                      <a:pt x="421" y="689"/>
                    </a:lnTo>
                    <a:lnTo>
                      <a:pt x="421" y="688"/>
                    </a:lnTo>
                    <a:lnTo>
                      <a:pt x="420" y="688"/>
                    </a:lnTo>
                    <a:lnTo>
                      <a:pt x="415" y="681"/>
                    </a:lnTo>
                    <a:lnTo>
                      <a:pt x="415" y="680"/>
                    </a:lnTo>
                    <a:lnTo>
                      <a:pt x="415" y="678"/>
                    </a:lnTo>
                    <a:lnTo>
                      <a:pt x="413" y="678"/>
                    </a:lnTo>
                    <a:lnTo>
                      <a:pt x="413" y="677"/>
                    </a:lnTo>
                    <a:lnTo>
                      <a:pt x="412" y="677"/>
                    </a:lnTo>
                    <a:lnTo>
                      <a:pt x="412" y="675"/>
                    </a:lnTo>
                    <a:lnTo>
                      <a:pt x="412" y="673"/>
                    </a:lnTo>
                    <a:lnTo>
                      <a:pt x="410" y="673"/>
                    </a:lnTo>
                    <a:lnTo>
                      <a:pt x="410" y="672"/>
                    </a:lnTo>
                    <a:lnTo>
                      <a:pt x="410" y="670"/>
                    </a:lnTo>
                    <a:lnTo>
                      <a:pt x="409" y="670"/>
                    </a:lnTo>
                    <a:lnTo>
                      <a:pt x="409" y="669"/>
                    </a:lnTo>
                    <a:lnTo>
                      <a:pt x="407" y="667"/>
                    </a:lnTo>
                    <a:lnTo>
                      <a:pt x="407" y="665"/>
                    </a:lnTo>
                    <a:lnTo>
                      <a:pt x="405" y="664"/>
                    </a:lnTo>
                    <a:lnTo>
                      <a:pt x="405" y="662"/>
                    </a:lnTo>
                    <a:lnTo>
                      <a:pt x="404" y="662"/>
                    </a:lnTo>
                    <a:lnTo>
                      <a:pt x="404" y="661"/>
                    </a:lnTo>
                    <a:lnTo>
                      <a:pt x="402" y="661"/>
                    </a:lnTo>
                    <a:lnTo>
                      <a:pt x="402" y="659"/>
                    </a:lnTo>
                    <a:lnTo>
                      <a:pt x="401" y="658"/>
                    </a:lnTo>
                    <a:lnTo>
                      <a:pt x="401" y="656"/>
                    </a:lnTo>
                    <a:lnTo>
                      <a:pt x="399" y="656"/>
                    </a:lnTo>
                    <a:lnTo>
                      <a:pt x="399" y="654"/>
                    </a:lnTo>
                    <a:lnTo>
                      <a:pt x="399" y="653"/>
                    </a:lnTo>
                    <a:lnTo>
                      <a:pt x="398" y="653"/>
                    </a:lnTo>
                    <a:lnTo>
                      <a:pt x="398" y="651"/>
                    </a:lnTo>
                    <a:lnTo>
                      <a:pt x="398" y="650"/>
                    </a:lnTo>
                    <a:lnTo>
                      <a:pt x="396" y="650"/>
                    </a:lnTo>
                    <a:lnTo>
                      <a:pt x="396" y="648"/>
                    </a:lnTo>
                    <a:lnTo>
                      <a:pt x="396" y="646"/>
                    </a:lnTo>
                    <a:lnTo>
                      <a:pt x="394" y="646"/>
                    </a:lnTo>
                    <a:lnTo>
                      <a:pt x="394" y="645"/>
                    </a:lnTo>
                    <a:lnTo>
                      <a:pt x="396" y="643"/>
                    </a:lnTo>
                    <a:lnTo>
                      <a:pt x="394" y="642"/>
                    </a:lnTo>
                    <a:lnTo>
                      <a:pt x="393" y="642"/>
                    </a:lnTo>
                    <a:lnTo>
                      <a:pt x="393" y="640"/>
                    </a:lnTo>
                    <a:lnTo>
                      <a:pt x="393" y="638"/>
                    </a:lnTo>
                    <a:lnTo>
                      <a:pt x="391" y="638"/>
                    </a:lnTo>
                    <a:lnTo>
                      <a:pt x="391" y="637"/>
                    </a:lnTo>
                    <a:lnTo>
                      <a:pt x="390" y="635"/>
                    </a:lnTo>
                    <a:lnTo>
                      <a:pt x="390" y="634"/>
                    </a:lnTo>
                    <a:lnTo>
                      <a:pt x="388" y="632"/>
                    </a:lnTo>
                    <a:lnTo>
                      <a:pt x="386" y="632"/>
                    </a:lnTo>
                    <a:lnTo>
                      <a:pt x="385" y="632"/>
                    </a:lnTo>
                    <a:lnTo>
                      <a:pt x="383" y="632"/>
                    </a:lnTo>
                    <a:lnTo>
                      <a:pt x="383" y="634"/>
                    </a:lnTo>
                    <a:lnTo>
                      <a:pt x="382" y="634"/>
                    </a:lnTo>
                    <a:lnTo>
                      <a:pt x="380" y="634"/>
                    </a:lnTo>
                    <a:lnTo>
                      <a:pt x="380" y="635"/>
                    </a:lnTo>
                    <a:lnTo>
                      <a:pt x="378" y="637"/>
                    </a:lnTo>
                    <a:lnTo>
                      <a:pt x="377" y="637"/>
                    </a:lnTo>
                    <a:lnTo>
                      <a:pt x="375" y="637"/>
                    </a:lnTo>
                    <a:lnTo>
                      <a:pt x="374" y="637"/>
                    </a:lnTo>
                    <a:lnTo>
                      <a:pt x="374" y="638"/>
                    </a:lnTo>
                    <a:lnTo>
                      <a:pt x="372" y="638"/>
                    </a:lnTo>
                    <a:lnTo>
                      <a:pt x="372" y="640"/>
                    </a:lnTo>
                    <a:lnTo>
                      <a:pt x="372" y="642"/>
                    </a:lnTo>
                    <a:lnTo>
                      <a:pt x="371" y="642"/>
                    </a:lnTo>
                    <a:lnTo>
                      <a:pt x="369" y="642"/>
                    </a:lnTo>
                    <a:lnTo>
                      <a:pt x="367" y="642"/>
                    </a:lnTo>
                    <a:lnTo>
                      <a:pt x="366" y="642"/>
                    </a:lnTo>
                    <a:lnTo>
                      <a:pt x="366" y="643"/>
                    </a:lnTo>
                    <a:lnTo>
                      <a:pt x="366" y="645"/>
                    </a:lnTo>
                    <a:lnTo>
                      <a:pt x="364" y="646"/>
                    </a:lnTo>
                    <a:lnTo>
                      <a:pt x="363" y="650"/>
                    </a:lnTo>
                    <a:lnTo>
                      <a:pt x="363" y="653"/>
                    </a:lnTo>
                    <a:lnTo>
                      <a:pt x="361" y="653"/>
                    </a:lnTo>
                    <a:lnTo>
                      <a:pt x="361" y="654"/>
                    </a:lnTo>
                    <a:lnTo>
                      <a:pt x="359" y="654"/>
                    </a:lnTo>
                    <a:lnTo>
                      <a:pt x="359" y="656"/>
                    </a:lnTo>
                    <a:lnTo>
                      <a:pt x="358" y="656"/>
                    </a:lnTo>
                    <a:lnTo>
                      <a:pt x="356" y="658"/>
                    </a:lnTo>
                    <a:lnTo>
                      <a:pt x="355" y="661"/>
                    </a:lnTo>
                    <a:lnTo>
                      <a:pt x="353" y="662"/>
                    </a:lnTo>
                    <a:lnTo>
                      <a:pt x="353" y="664"/>
                    </a:lnTo>
                    <a:lnTo>
                      <a:pt x="352" y="664"/>
                    </a:lnTo>
                    <a:lnTo>
                      <a:pt x="350" y="667"/>
                    </a:lnTo>
                    <a:lnTo>
                      <a:pt x="348" y="669"/>
                    </a:lnTo>
                    <a:lnTo>
                      <a:pt x="347" y="672"/>
                    </a:lnTo>
                    <a:lnTo>
                      <a:pt x="345" y="673"/>
                    </a:lnTo>
                    <a:lnTo>
                      <a:pt x="344" y="675"/>
                    </a:lnTo>
                    <a:lnTo>
                      <a:pt x="342" y="675"/>
                    </a:lnTo>
                    <a:lnTo>
                      <a:pt x="340" y="677"/>
                    </a:lnTo>
                    <a:lnTo>
                      <a:pt x="339" y="678"/>
                    </a:lnTo>
                    <a:lnTo>
                      <a:pt x="339" y="680"/>
                    </a:lnTo>
                    <a:lnTo>
                      <a:pt x="337" y="680"/>
                    </a:lnTo>
                    <a:lnTo>
                      <a:pt x="336" y="680"/>
                    </a:lnTo>
                    <a:lnTo>
                      <a:pt x="334" y="681"/>
                    </a:lnTo>
                    <a:lnTo>
                      <a:pt x="334" y="683"/>
                    </a:lnTo>
                    <a:lnTo>
                      <a:pt x="334" y="684"/>
                    </a:lnTo>
                    <a:lnTo>
                      <a:pt x="334" y="686"/>
                    </a:lnTo>
                    <a:lnTo>
                      <a:pt x="334" y="688"/>
                    </a:lnTo>
                    <a:lnTo>
                      <a:pt x="334" y="689"/>
                    </a:lnTo>
                    <a:lnTo>
                      <a:pt x="334" y="691"/>
                    </a:lnTo>
                    <a:lnTo>
                      <a:pt x="334" y="692"/>
                    </a:lnTo>
                    <a:lnTo>
                      <a:pt x="334" y="694"/>
                    </a:lnTo>
                    <a:lnTo>
                      <a:pt x="333" y="696"/>
                    </a:lnTo>
                    <a:lnTo>
                      <a:pt x="333" y="697"/>
                    </a:lnTo>
                    <a:lnTo>
                      <a:pt x="333" y="699"/>
                    </a:lnTo>
                    <a:lnTo>
                      <a:pt x="328" y="697"/>
                    </a:lnTo>
                    <a:lnTo>
                      <a:pt x="318" y="683"/>
                    </a:lnTo>
                    <a:lnTo>
                      <a:pt x="320" y="670"/>
                    </a:lnTo>
                    <a:lnTo>
                      <a:pt x="318" y="667"/>
                    </a:lnTo>
                    <a:lnTo>
                      <a:pt x="323" y="658"/>
                    </a:lnTo>
                    <a:lnTo>
                      <a:pt x="321" y="646"/>
                    </a:lnTo>
                    <a:lnTo>
                      <a:pt x="323" y="635"/>
                    </a:lnTo>
                    <a:lnTo>
                      <a:pt x="333" y="627"/>
                    </a:lnTo>
                    <a:lnTo>
                      <a:pt x="334" y="613"/>
                    </a:lnTo>
                    <a:lnTo>
                      <a:pt x="334" y="612"/>
                    </a:lnTo>
                    <a:lnTo>
                      <a:pt x="326" y="610"/>
                    </a:lnTo>
                    <a:lnTo>
                      <a:pt x="326" y="612"/>
                    </a:lnTo>
                    <a:lnTo>
                      <a:pt x="325" y="612"/>
                    </a:lnTo>
                    <a:lnTo>
                      <a:pt x="323" y="610"/>
                    </a:lnTo>
                    <a:lnTo>
                      <a:pt x="321" y="610"/>
                    </a:lnTo>
                    <a:lnTo>
                      <a:pt x="320" y="610"/>
                    </a:lnTo>
                    <a:lnTo>
                      <a:pt x="320" y="608"/>
                    </a:lnTo>
                    <a:lnTo>
                      <a:pt x="320" y="607"/>
                    </a:lnTo>
                    <a:lnTo>
                      <a:pt x="318" y="607"/>
                    </a:lnTo>
                    <a:lnTo>
                      <a:pt x="317" y="607"/>
                    </a:lnTo>
                    <a:lnTo>
                      <a:pt x="317" y="608"/>
                    </a:lnTo>
                    <a:lnTo>
                      <a:pt x="317" y="610"/>
                    </a:lnTo>
                    <a:lnTo>
                      <a:pt x="315" y="610"/>
                    </a:lnTo>
                    <a:lnTo>
                      <a:pt x="315" y="612"/>
                    </a:lnTo>
                    <a:lnTo>
                      <a:pt x="315" y="613"/>
                    </a:lnTo>
                    <a:lnTo>
                      <a:pt x="315" y="615"/>
                    </a:lnTo>
                    <a:lnTo>
                      <a:pt x="317" y="616"/>
                    </a:lnTo>
                    <a:lnTo>
                      <a:pt x="317" y="618"/>
                    </a:lnTo>
                    <a:lnTo>
                      <a:pt x="318" y="619"/>
                    </a:lnTo>
                    <a:lnTo>
                      <a:pt x="318" y="621"/>
                    </a:lnTo>
                    <a:lnTo>
                      <a:pt x="318" y="623"/>
                    </a:lnTo>
                    <a:lnTo>
                      <a:pt x="320" y="624"/>
                    </a:lnTo>
                    <a:lnTo>
                      <a:pt x="320" y="626"/>
                    </a:lnTo>
                    <a:lnTo>
                      <a:pt x="321" y="627"/>
                    </a:lnTo>
                    <a:lnTo>
                      <a:pt x="321" y="629"/>
                    </a:lnTo>
                    <a:lnTo>
                      <a:pt x="320" y="631"/>
                    </a:lnTo>
                    <a:lnTo>
                      <a:pt x="320" y="632"/>
                    </a:lnTo>
                    <a:lnTo>
                      <a:pt x="320" y="634"/>
                    </a:lnTo>
                    <a:lnTo>
                      <a:pt x="318" y="635"/>
                    </a:lnTo>
                    <a:lnTo>
                      <a:pt x="318" y="637"/>
                    </a:lnTo>
                    <a:lnTo>
                      <a:pt x="317" y="637"/>
                    </a:lnTo>
                    <a:lnTo>
                      <a:pt x="317" y="638"/>
                    </a:lnTo>
                    <a:lnTo>
                      <a:pt x="315" y="640"/>
                    </a:lnTo>
                    <a:lnTo>
                      <a:pt x="315" y="642"/>
                    </a:lnTo>
                    <a:lnTo>
                      <a:pt x="315" y="643"/>
                    </a:lnTo>
                    <a:lnTo>
                      <a:pt x="315" y="645"/>
                    </a:lnTo>
                    <a:lnTo>
                      <a:pt x="315" y="646"/>
                    </a:lnTo>
                    <a:lnTo>
                      <a:pt x="315" y="648"/>
                    </a:lnTo>
                    <a:lnTo>
                      <a:pt x="315" y="650"/>
                    </a:lnTo>
                    <a:lnTo>
                      <a:pt x="315" y="651"/>
                    </a:lnTo>
                    <a:lnTo>
                      <a:pt x="315" y="653"/>
                    </a:lnTo>
                    <a:lnTo>
                      <a:pt x="314" y="654"/>
                    </a:lnTo>
                    <a:lnTo>
                      <a:pt x="312" y="654"/>
                    </a:lnTo>
                    <a:lnTo>
                      <a:pt x="310" y="653"/>
                    </a:lnTo>
                    <a:lnTo>
                      <a:pt x="309" y="653"/>
                    </a:lnTo>
                    <a:lnTo>
                      <a:pt x="307" y="653"/>
                    </a:lnTo>
                    <a:lnTo>
                      <a:pt x="306" y="653"/>
                    </a:lnTo>
                    <a:lnTo>
                      <a:pt x="304" y="653"/>
                    </a:lnTo>
                    <a:lnTo>
                      <a:pt x="302" y="653"/>
                    </a:lnTo>
                    <a:lnTo>
                      <a:pt x="301" y="653"/>
                    </a:lnTo>
                    <a:lnTo>
                      <a:pt x="299" y="653"/>
                    </a:lnTo>
                    <a:lnTo>
                      <a:pt x="298" y="653"/>
                    </a:lnTo>
                    <a:lnTo>
                      <a:pt x="296" y="653"/>
                    </a:lnTo>
                    <a:lnTo>
                      <a:pt x="295" y="653"/>
                    </a:lnTo>
                    <a:lnTo>
                      <a:pt x="293" y="653"/>
                    </a:lnTo>
                    <a:lnTo>
                      <a:pt x="291" y="653"/>
                    </a:lnTo>
                    <a:lnTo>
                      <a:pt x="290" y="653"/>
                    </a:lnTo>
                    <a:lnTo>
                      <a:pt x="288" y="653"/>
                    </a:lnTo>
                    <a:lnTo>
                      <a:pt x="287" y="653"/>
                    </a:lnTo>
                    <a:lnTo>
                      <a:pt x="285" y="653"/>
                    </a:lnTo>
                    <a:lnTo>
                      <a:pt x="283" y="653"/>
                    </a:lnTo>
                    <a:lnTo>
                      <a:pt x="282" y="653"/>
                    </a:lnTo>
                    <a:lnTo>
                      <a:pt x="280" y="653"/>
                    </a:lnTo>
                    <a:lnTo>
                      <a:pt x="279" y="653"/>
                    </a:lnTo>
                    <a:lnTo>
                      <a:pt x="277" y="653"/>
                    </a:lnTo>
                    <a:lnTo>
                      <a:pt x="276" y="653"/>
                    </a:lnTo>
                    <a:lnTo>
                      <a:pt x="274" y="653"/>
                    </a:lnTo>
                    <a:lnTo>
                      <a:pt x="272" y="653"/>
                    </a:lnTo>
                    <a:lnTo>
                      <a:pt x="271" y="651"/>
                    </a:lnTo>
                    <a:lnTo>
                      <a:pt x="269" y="651"/>
                    </a:lnTo>
                    <a:lnTo>
                      <a:pt x="269" y="653"/>
                    </a:lnTo>
                    <a:lnTo>
                      <a:pt x="269" y="654"/>
                    </a:lnTo>
                    <a:lnTo>
                      <a:pt x="271" y="654"/>
                    </a:lnTo>
                    <a:lnTo>
                      <a:pt x="271" y="656"/>
                    </a:lnTo>
                    <a:lnTo>
                      <a:pt x="271" y="658"/>
                    </a:lnTo>
                    <a:lnTo>
                      <a:pt x="271" y="659"/>
                    </a:lnTo>
                    <a:lnTo>
                      <a:pt x="271" y="661"/>
                    </a:lnTo>
                    <a:lnTo>
                      <a:pt x="272" y="662"/>
                    </a:lnTo>
                    <a:lnTo>
                      <a:pt x="272" y="664"/>
                    </a:lnTo>
                    <a:lnTo>
                      <a:pt x="272" y="665"/>
                    </a:lnTo>
                    <a:lnTo>
                      <a:pt x="274" y="665"/>
                    </a:lnTo>
                    <a:lnTo>
                      <a:pt x="274" y="667"/>
                    </a:lnTo>
                    <a:lnTo>
                      <a:pt x="272" y="667"/>
                    </a:lnTo>
                    <a:lnTo>
                      <a:pt x="272" y="669"/>
                    </a:lnTo>
                    <a:lnTo>
                      <a:pt x="272" y="670"/>
                    </a:lnTo>
                    <a:lnTo>
                      <a:pt x="274" y="672"/>
                    </a:lnTo>
                    <a:lnTo>
                      <a:pt x="274" y="673"/>
                    </a:lnTo>
                    <a:lnTo>
                      <a:pt x="274" y="675"/>
                    </a:lnTo>
                    <a:lnTo>
                      <a:pt x="272" y="675"/>
                    </a:lnTo>
                    <a:lnTo>
                      <a:pt x="271" y="675"/>
                    </a:lnTo>
                    <a:lnTo>
                      <a:pt x="269" y="675"/>
                    </a:lnTo>
                    <a:lnTo>
                      <a:pt x="268" y="675"/>
                    </a:lnTo>
                    <a:lnTo>
                      <a:pt x="266" y="675"/>
                    </a:lnTo>
                    <a:lnTo>
                      <a:pt x="264" y="675"/>
                    </a:lnTo>
                    <a:lnTo>
                      <a:pt x="263" y="675"/>
                    </a:lnTo>
                    <a:lnTo>
                      <a:pt x="261" y="675"/>
                    </a:lnTo>
                    <a:lnTo>
                      <a:pt x="260" y="675"/>
                    </a:lnTo>
                    <a:lnTo>
                      <a:pt x="258" y="675"/>
                    </a:lnTo>
                    <a:lnTo>
                      <a:pt x="257" y="675"/>
                    </a:lnTo>
                    <a:lnTo>
                      <a:pt x="255" y="675"/>
                    </a:lnTo>
                    <a:lnTo>
                      <a:pt x="253" y="675"/>
                    </a:lnTo>
                    <a:lnTo>
                      <a:pt x="253" y="673"/>
                    </a:lnTo>
                    <a:lnTo>
                      <a:pt x="252" y="673"/>
                    </a:lnTo>
                    <a:lnTo>
                      <a:pt x="250" y="672"/>
                    </a:lnTo>
                    <a:lnTo>
                      <a:pt x="249" y="672"/>
                    </a:lnTo>
                    <a:lnTo>
                      <a:pt x="247" y="670"/>
                    </a:lnTo>
                    <a:lnTo>
                      <a:pt x="245" y="669"/>
                    </a:lnTo>
                    <a:lnTo>
                      <a:pt x="244" y="669"/>
                    </a:lnTo>
                    <a:lnTo>
                      <a:pt x="244" y="667"/>
                    </a:lnTo>
                    <a:lnTo>
                      <a:pt x="242" y="667"/>
                    </a:lnTo>
                    <a:lnTo>
                      <a:pt x="242" y="665"/>
                    </a:lnTo>
                    <a:lnTo>
                      <a:pt x="241" y="665"/>
                    </a:lnTo>
                    <a:lnTo>
                      <a:pt x="241" y="664"/>
                    </a:lnTo>
                    <a:lnTo>
                      <a:pt x="241" y="662"/>
                    </a:lnTo>
                    <a:lnTo>
                      <a:pt x="241" y="661"/>
                    </a:lnTo>
                    <a:lnTo>
                      <a:pt x="242" y="659"/>
                    </a:lnTo>
                    <a:lnTo>
                      <a:pt x="242" y="658"/>
                    </a:lnTo>
                    <a:lnTo>
                      <a:pt x="242" y="656"/>
                    </a:lnTo>
                    <a:lnTo>
                      <a:pt x="244" y="656"/>
                    </a:lnTo>
                    <a:lnTo>
                      <a:pt x="244" y="654"/>
                    </a:lnTo>
                    <a:lnTo>
                      <a:pt x="245" y="653"/>
                    </a:lnTo>
                    <a:lnTo>
                      <a:pt x="247" y="653"/>
                    </a:lnTo>
                    <a:lnTo>
                      <a:pt x="249" y="651"/>
                    </a:lnTo>
                    <a:lnTo>
                      <a:pt x="250" y="651"/>
                    </a:lnTo>
                    <a:lnTo>
                      <a:pt x="250" y="650"/>
                    </a:lnTo>
                    <a:lnTo>
                      <a:pt x="252" y="650"/>
                    </a:lnTo>
                    <a:lnTo>
                      <a:pt x="253" y="648"/>
                    </a:lnTo>
                    <a:lnTo>
                      <a:pt x="255" y="648"/>
                    </a:lnTo>
                    <a:lnTo>
                      <a:pt x="255" y="646"/>
                    </a:lnTo>
                    <a:lnTo>
                      <a:pt x="257" y="646"/>
                    </a:lnTo>
                    <a:lnTo>
                      <a:pt x="257" y="645"/>
                    </a:lnTo>
                    <a:lnTo>
                      <a:pt x="258" y="645"/>
                    </a:lnTo>
                    <a:lnTo>
                      <a:pt x="258" y="643"/>
                    </a:lnTo>
                    <a:lnTo>
                      <a:pt x="257" y="643"/>
                    </a:lnTo>
                    <a:lnTo>
                      <a:pt x="257" y="642"/>
                    </a:lnTo>
                    <a:lnTo>
                      <a:pt x="255" y="642"/>
                    </a:lnTo>
                    <a:lnTo>
                      <a:pt x="255" y="640"/>
                    </a:lnTo>
                    <a:lnTo>
                      <a:pt x="253" y="640"/>
                    </a:lnTo>
                    <a:lnTo>
                      <a:pt x="252" y="640"/>
                    </a:lnTo>
                    <a:lnTo>
                      <a:pt x="250" y="640"/>
                    </a:lnTo>
                    <a:lnTo>
                      <a:pt x="249" y="640"/>
                    </a:lnTo>
                    <a:lnTo>
                      <a:pt x="247" y="640"/>
                    </a:lnTo>
                    <a:lnTo>
                      <a:pt x="245" y="642"/>
                    </a:lnTo>
                    <a:lnTo>
                      <a:pt x="244" y="640"/>
                    </a:lnTo>
                    <a:lnTo>
                      <a:pt x="242" y="640"/>
                    </a:lnTo>
                    <a:lnTo>
                      <a:pt x="241" y="640"/>
                    </a:lnTo>
                    <a:lnTo>
                      <a:pt x="239" y="638"/>
                    </a:lnTo>
                    <a:lnTo>
                      <a:pt x="238" y="638"/>
                    </a:lnTo>
                    <a:lnTo>
                      <a:pt x="236" y="638"/>
                    </a:lnTo>
                    <a:lnTo>
                      <a:pt x="236" y="637"/>
                    </a:lnTo>
                    <a:lnTo>
                      <a:pt x="234" y="637"/>
                    </a:lnTo>
                    <a:lnTo>
                      <a:pt x="233" y="637"/>
                    </a:lnTo>
                    <a:lnTo>
                      <a:pt x="233" y="635"/>
                    </a:lnTo>
                    <a:lnTo>
                      <a:pt x="231" y="635"/>
                    </a:lnTo>
                    <a:lnTo>
                      <a:pt x="230" y="635"/>
                    </a:lnTo>
                    <a:lnTo>
                      <a:pt x="230" y="634"/>
                    </a:lnTo>
                    <a:lnTo>
                      <a:pt x="228" y="634"/>
                    </a:lnTo>
                    <a:lnTo>
                      <a:pt x="226" y="634"/>
                    </a:lnTo>
                    <a:lnTo>
                      <a:pt x="226" y="632"/>
                    </a:lnTo>
                    <a:lnTo>
                      <a:pt x="225" y="632"/>
                    </a:lnTo>
                    <a:lnTo>
                      <a:pt x="223" y="632"/>
                    </a:lnTo>
                    <a:lnTo>
                      <a:pt x="223" y="631"/>
                    </a:lnTo>
                    <a:lnTo>
                      <a:pt x="222" y="631"/>
                    </a:lnTo>
                    <a:lnTo>
                      <a:pt x="220" y="629"/>
                    </a:lnTo>
                    <a:lnTo>
                      <a:pt x="219" y="627"/>
                    </a:lnTo>
                    <a:lnTo>
                      <a:pt x="217" y="627"/>
                    </a:lnTo>
                    <a:lnTo>
                      <a:pt x="217" y="626"/>
                    </a:lnTo>
                    <a:lnTo>
                      <a:pt x="215" y="626"/>
                    </a:lnTo>
                    <a:lnTo>
                      <a:pt x="214" y="626"/>
                    </a:lnTo>
                    <a:lnTo>
                      <a:pt x="214" y="627"/>
                    </a:lnTo>
                    <a:lnTo>
                      <a:pt x="212" y="627"/>
                    </a:lnTo>
                    <a:lnTo>
                      <a:pt x="211" y="629"/>
                    </a:lnTo>
                    <a:lnTo>
                      <a:pt x="209" y="629"/>
                    </a:lnTo>
                    <a:lnTo>
                      <a:pt x="207" y="629"/>
                    </a:lnTo>
                    <a:lnTo>
                      <a:pt x="207" y="631"/>
                    </a:lnTo>
                    <a:lnTo>
                      <a:pt x="206" y="631"/>
                    </a:lnTo>
                    <a:lnTo>
                      <a:pt x="204" y="631"/>
                    </a:lnTo>
                    <a:lnTo>
                      <a:pt x="203" y="632"/>
                    </a:lnTo>
                    <a:lnTo>
                      <a:pt x="201" y="632"/>
                    </a:lnTo>
                    <a:lnTo>
                      <a:pt x="200" y="632"/>
                    </a:lnTo>
                    <a:lnTo>
                      <a:pt x="200" y="634"/>
                    </a:lnTo>
                    <a:lnTo>
                      <a:pt x="198" y="634"/>
                    </a:lnTo>
                    <a:lnTo>
                      <a:pt x="196" y="634"/>
                    </a:lnTo>
                    <a:lnTo>
                      <a:pt x="196" y="635"/>
                    </a:lnTo>
                    <a:lnTo>
                      <a:pt x="196" y="637"/>
                    </a:lnTo>
                    <a:lnTo>
                      <a:pt x="196" y="638"/>
                    </a:lnTo>
                    <a:lnTo>
                      <a:pt x="195" y="638"/>
                    </a:lnTo>
                    <a:lnTo>
                      <a:pt x="195" y="640"/>
                    </a:lnTo>
                    <a:lnTo>
                      <a:pt x="195" y="642"/>
                    </a:lnTo>
                    <a:lnTo>
                      <a:pt x="193" y="643"/>
                    </a:lnTo>
                    <a:lnTo>
                      <a:pt x="193" y="645"/>
                    </a:lnTo>
                    <a:lnTo>
                      <a:pt x="193" y="646"/>
                    </a:lnTo>
                    <a:lnTo>
                      <a:pt x="192" y="646"/>
                    </a:lnTo>
                    <a:lnTo>
                      <a:pt x="192" y="648"/>
                    </a:lnTo>
                    <a:lnTo>
                      <a:pt x="190" y="648"/>
                    </a:lnTo>
                    <a:lnTo>
                      <a:pt x="190" y="650"/>
                    </a:lnTo>
                    <a:lnTo>
                      <a:pt x="188" y="650"/>
                    </a:lnTo>
                    <a:lnTo>
                      <a:pt x="187" y="651"/>
                    </a:lnTo>
                    <a:lnTo>
                      <a:pt x="185" y="651"/>
                    </a:lnTo>
                    <a:lnTo>
                      <a:pt x="184" y="653"/>
                    </a:lnTo>
                    <a:lnTo>
                      <a:pt x="182" y="653"/>
                    </a:lnTo>
                    <a:lnTo>
                      <a:pt x="180" y="653"/>
                    </a:lnTo>
                    <a:lnTo>
                      <a:pt x="179" y="653"/>
                    </a:lnTo>
                    <a:lnTo>
                      <a:pt x="177" y="653"/>
                    </a:lnTo>
                    <a:lnTo>
                      <a:pt x="177" y="654"/>
                    </a:lnTo>
                    <a:lnTo>
                      <a:pt x="176" y="654"/>
                    </a:lnTo>
                    <a:lnTo>
                      <a:pt x="174" y="654"/>
                    </a:lnTo>
                    <a:lnTo>
                      <a:pt x="173" y="654"/>
                    </a:lnTo>
                    <a:lnTo>
                      <a:pt x="173" y="656"/>
                    </a:lnTo>
                    <a:lnTo>
                      <a:pt x="171" y="656"/>
                    </a:lnTo>
                    <a:lnTo>
                      <a:pt x="169" y="656"/>
                    </a:lnTo>
                    <a:lnTo>
                      <a:pt x="168" y="658"/>
                    </a:lnTo>
                    <a:lnTo>
                      <a:pt x="166" y="658"/>
                    </a:lnTo>
                    <a:lnTo>
                      <a:pt x="166" y="659"/>
                    </a:lnTo>
                    <a:lnTo>
                      <a:pt x="165" y="659"/>
                    </a:lnTo>
                    <a:lnTo>
                      <a:pt x="154" y="672"/>
                    </a:lnTo>
                    <a:lnTo>
                      <a:pt x="152" y="670"/>
                    </a:lnTo>
                    <a:lnTo>
                      <a:pt x="152" y="669"/>
                    </a:lnTo>
                    <a:lnTo>
                      <a:pt x="150" y="667"/>
                    </a:lnTo>
                    <a:lnTo>
                      <a:pt x="149" y="667"/>
                    </a:lnTo>
                    <a:lnTo>
                      <a:pt x="147" y="667"/>
                    </a:lnTo>
                    <a:lnTo>
                      <a:pt x="146" y="665"/>
                    </a:lnTo>
                    <a:lnTo>
                      <a:pt x="144" y="664"/>
                    </a:lnTo>
                    <a:lnTo>
                      <a:pt x="144" y="665"/>
                    </a:lnTo>
                    <a:lnTo>
                      <a:pt x="142" y="665"/>
                    </a:lnTo>
                    <a:lnTo>
                      <a:pt x="141" y="667"/>
                    </a:lnTo>
                    <a:lnTo>
                      <a:pt x="139" y="667"/>
                    </a:lnTo>
                    <a:lnTo>
                      <a:pt x="139" y="669"/>
                    </a:lnTo>
                    <a:lnTo>
                      <a:pt x="138" y="669"/>
                    </a:lnTo>
                    <a:lnTo>
                      <a:pt x="136" y="670"/>
                    </a:lnTo>
                    <a:lnTo>
                      <a:pt x="135" y="670"/>
                    </a:lnTo>
                    <a:lnTo>
                      <a:pt x="135" y="672"/>
                    </a:lnTo>
                    <a:lnTo>
                      <a:pt x="133" y="672"/>
                    </a:lnTo>
                    <a:lnTo>
                      <a:pt x="131" y="673"/>
                    </a:lnTo>
                    <a:lnTo>
                      <a:pt x="130" y="673"/>
                    </a:lnTo>
                    <a:lnTo>
                      <a:pt x="128" y="675"/>
                    </a:lnTo>
                    <a:lnTo>
                      <a:pt x="127" y="675"/>
                    </a:lnTo>
                    <a:lnTo>
                      <a:pt x="127" y="677"/>
                    </a:lnTo>
                    <a:lnTo>
                      <a:pt x="125" y="677"/>
                    </a:lnTo>
                    <a:lnTo>
                      <a:pt x="123" y="678"/>
                    </a:lnTo>
                    <a:lnTo>
                      <a:pt x="122" y="678"/>
                    </a:lnTo>
                    <a:lnTo>
                      <a:pt x="122" y="680"/>
                    </a:lnTo>
                    <a:lnTo>
                      <a:pt x="120" y="680"/>
                    </a:lnTo>
                    <a:lnTo>
                      <a:pt x="119" y="680"/>
                    </a:lnTo>
                    <a:lnTo>
                      <a:pt x="119" y="681"/>
                    </a:lnTo>
                    <a:lnTo>
                      <a:pt x="117" y="681"/>
                    </a:lnTo>
                    <a:lnTo>
                      <a:pt x="117" y="683"/>
                    </a:lnTo>
                    <a:lnTo>
                      <a:pt x="116" y="683"/>
                    </a:lnTo>
                    <a:lnTo>
                      <a:pt x="114" y="683"/>
                    </a:lnTo>
                    <a:lnTo>
                      <a:pt x="114" y="684"/>
                    </a:lnTo>
                    <a:lnTo>
                      <a:pt x="112" y="684"/>
                    </a:lnTo>
                    <a:lnTo>
                      <a:pt x="112" y="686"/>
                    </a:lnTo>
                    <a:lnTo>
                      <a:pt x="111" y="686"/>
                    </a:lnTo>
                    <a:lnTo>
                      <a:pt x="109" y="686"/>
                    </a:lnTo>
                    <a:lnTo>
                      <a:pt x="109" y="688"/>
                    </a:lnTo>
                    <a:lnTo>
                      <a:pt x="108" y="688"/>
                    </a:lnTo>
                    <a:lnTo>
                      <a:pt x="108" y="689"/>
                    </a:lnTo>
                    <a:lnTo>
                      <a:pt x="106" y="689"/>
                    </a:lnTo>
                    <a:lnTo>
                      <a:pt x="106" y="691"/>
                    </a:lnTo>
                    <a:lnTo>
                      <a:pt x="106" y="692"/>
                    </a:lnTo>
                    <a:lnTo>
                      <a:pt x="106" y="694"/>
                    </a:lnTo>
                    <a:lnTo>
                      <a:pt x="108" y="694"/>
                    </a:lnTo>
                    <a:lnTo>
                      <a:pt x="108" y="696"/>
                    </a:lnTo>
                    <a:lnTo>
                      <a:pt x="108" y="697"/>
                    </a:lnTo>
                    <a:lnTo>
                      <a:pt x="108" y="699"/>
                    </a:lnTo>
                    <a:lnTo>
                      <a:pt x="106" y="699"/>
                    </a:lnTo>
                    <a:lnTo>
                      <a:pt x="104" y="699"/>
                    </a:lnTo>
                    <a:lnTo>
                      <a:pt x="103" y="699"/>
                    </a:lnTo>
                    <a:lnTo>
                      <a:pt x="101" y="700"/>
                    </a:lnTo>
                    <a:lnTo>
                      <a:pt x="100" y="700"/>
                    </a:lnTo>
                    <a:lnTo>
                      <a:pt x="98" y="700"/>
                    </a:lnTo>
                    <a:lnTo>
                      <a:pt x="97" y="700"/>
                    </a:lnTo>
                    <a:lnTo>
                      <a:pt x="97" y="702"/>
                    </a:lnTo>
                    <a:lnTo>
                      <a:pt x="95" y="702"/>
                    </a:lnTo>
                    <a:lnTo>
                      <a:pt x="93" y="702"/>
                    </a:lnTo>
                    <a:lnTo>
                      <a:pt x="92" y="702"/>
                    </a:lnTo>
                    <a:lnTo>
                      <a:pt x="90" y="702"/>
                    </a:lnTo>
                    <a:lnTo>
                      <a:pt x="90" y="703"/>
                    </a:lnTo>
                    <a:lnTo>
                      <a:pt x="89" y="703"/>
                    </a:lnTo>
                    <a:lnTo>
                      <a:pt x="87" y="703"/>
                    </a:lnTo>
                    <a:lnTo>
                      <a:pt x="85" y="703"/>
                    </a:lnTo>
                    <a:lnTo>
                      <a:pt x="84" y="705"/>
                    </a:lnTo>
                    <a:lnTo>
                      <a:pt x="82" y="705"/>
                    </a:lnTo>
                    <a:lnTo>
                      <a:pt x="81" y="705"/>
                    </a:lnTo>
                    <a:lnTo>
                      <a:pt x="79" y="707"/>
                    </a:lnTo>
                    <a:lnTo>
                      <a:pt x="78" y="708"/>
                    </a:lnTo>
                    <a:lnTo>
                      <a:pt x="74" y="711"/>
                    </a:lnTo>
                    <a:lnTo>
                      <a:pt x="73" y="711"/>
                    </a:lnTo>
                    <a:lnTo>
                      <a:pt x="71" y="713"/>
                    </a:lnTo>
                    <a:lnTo>
                      <a:pt x="70" y="713"/>
                    </a:lnTo>
                    <a:lnTo>
                      <a:pt x="68" y="715"/>
                    </a:lnTo>
                    <a:lnTo>
                      <a:pt x="66" y="715"/>
                    </a:lnTo>
                    <a:lnTo>
                      <a:pt x="65" y="716"/>
                    </a:lnTo>
                    <a:lnTo>
                      <a:pt x="63" y="716"/>
                    </a:lnTo>
                    <a:lnTo>
                      <a:pt x="62" y="716"/>
                    </a:lnTo>
                    <a:lnTo>
                      <a:pt x="60" y="718"/>
                    </a:lnTo>
                    <a:lnTo>
                      <a:pt x="59" y="718"/>
                    </a:lnTo>
                    <a:lnTo>
                      <a:pt x="57" y="718"/>
                    </a:lnTo>
                    <a:lnTo>
                      <a:pt x="57" y="719"/>
                    </a:lnTo>
                    <a:lnTo>
                      <a:pt x="55" y="719"/>
                    </a:lnTo>
                    <a:lnTo>
                      <a:pt x="54" y="719"/>
                    </a:lnTo>
                    <a:lnTo>
                      <a:pt x="52" y="719"/>
                    </a:lnTo>
                    <a:lnTo>
                      <a:pt x="51" y="719"/>
                    </a:lnTo>
                    <a:lnTo>
                      <a:pt x="51" y="721"/>
                    </a:lnTo>
                    <a:lnTo>
                      <a:pt x="49" y="721"/>
                    </a:lnTo>
                    <a:lnTo>
                      <a:pt x="49" y="722"/>
                    </a:lnTo>
                    <a:lnTo>
                      <a:pt x="47" y="721"/>
                    </a:lnTo>
                    <a:lnTo>
                      <a:pt x="46" y="721"/>
                    </a:lnTo>
                    <a:lnTo>
                      <a:pt x="44" y="719"/>
                    </a:lnTo>
                    <a:lnTo>
                      <a:pt x="43" y="718"/>
                    </a:lnTo>
                    <a:lnTo>
                      <a:pt x="41" y="718"/>
                    </a:lnTo>
                    <a:lnTo>
                      <a:pt x="41" y="716"/>
                    </a:lnTo>
                    <a:lnTo>
                      <a:pt x="40" y="715"/>
                    </a:lnTo>
                    <a:lnTo>
                      <a:pt x="38" y="715"/>
                    </a:lnTo>
                    <a:lnTo>
                      <a:pt x="38" y="713"/>
                    </a:lnTo>
                    <a:lnTo>
                      <a:pt x="36" y="713"/>
                    </a:lnTo>
                    <a:lnTo>
                      <a:pt x="35" y="711"/>
                    </a:lnTo>
                    <a:lnTo>
                      <a:pt x="33" y="710"/>
                    </a:lnTo>
                    <a:lnTo>
                      <a:pt x="32" y="708"/>
                    </a:lnTo>
                    <a:lnTo>
                      <a:pt x="30" y="708"/>
                    </a:lnTo>
                    <a:lnTo>
                      <a:pt x="30" y="707"/>
                    </a:lnTo>
                    <a:lnTo>
                      <a:pt x="28" y="707"/>
                    </a:lnTo>
                    <a:lnTo>
                      <a:pt x="28" y="705"/>
                    </a:lnTo>
                    <a:lnTo>
                      <a:pt x="27" y="705"/>
                    </a:lnTo>
                    <a:lnTo>
                      <a:pt x="25" y="703"/>
                    </a:lnTo>
                    <a:lnTo>
                      <a:pt x="25" y="702"/>
                    </a:lnTo>
                    <a:lnTo>
                      <a:pt x="24" y="702"/>
                    </a:lnTo>
                    <a:lnTo>
                      <a:pt x="24" y="700"/>
                    </a:lnTo>
                    <a:lnTo>
                      <a:pt x="22" y="700"/>
                    </a:lnTo>
                    <a:lnTo>
                      <a:pt x="21" y="699"/>
                    </a:lnTo>
                    <a:lnTo>
                      <a:pt x="19" y="697"/>
                    </a:lnTo>
                    <a:lnTo>
                      <a:pt x="17" y="697"/>
                    </a:lnTo>
                    <a:lnTo>
                      <a:pt x="17" y="696"/>
                    </a:lnTo>
                    <a:lnTo>
                      <a:pt x="16" y="696"/>
                    </a:lnTo>
                    <a:lnTo>
                      <a:pt x="16" y="694"/>
                    </a:lnTo>
                    <a:lnTo>
                      <a:pt x="14" y="694"/>
                    </a:lnTo>
                    <a:lnTo>
                      <a:pt x="14" y="692"/>
                    </a:lnTo>
                    <a:lnTo>
                      <a:pt x="13" y="692"/>
                    </a:lnTo>
                    <a:lnTo>
                      <a:pt x="11" y="692"/>
                    </a:lnTo>
                    <a:lnTo>
                      <a:pt x="11" y="691"/>
                    </a:lnTo>
                    <a:lnTo>
                      <a:pt x="9" y="691"/>
                    </a:lnTo>
                    <a:lnTo>
                      <a:pt x="9" y="689"/>
                    </a:lnTo>
                    <a:lnTo>
                      <a:pt x="8" y="689"/>
                    </a:lnTo>
                    <a:lnTo>
                      <a:pt x="6" y="688"/>
                    </a:lnTo>
                    <a:lnTo>
                      <a:pt x="6" y="686"/>
                    </a:lnTo>
                    <a:lnTo>
                      <a:pt x="5" y="686"/>
                    </a:lnTo>
                    <a:lnTo>
                      <a:pt x="5" y="684"/>
                    </a:lnTo>
                    <a:lnTo>
                      <a:pt x="5" y="683"/>
                    </a:lnTo>
                    <a:lnTo>
                      <a:pt x="3" y="681"/>
                    </a:lnTo>
                    <a:lnTo>
                      <a:pt x="3" y="680"/>
                    </a:lnTo>
                    <a:lnTo>
                      <a:pt x="1" y="678"/>
                    </a:lnTo>
                    <a:lnTo>
                      <a:pt x="1" y="677"/>
                    </a:lnTo>
                    <a:lnTo>
                      <a:pt x="0" y="677"/>
                    </a:lnTo>
                    <a:lnTo>
                      <a:pt x="0" y="675"/>
                    </a:lnTo>
                    <a:lnTo>
                      <a:pt x="0" y="673"/>
                    </a:lnTo>
                    <a:lnTo>
                      <a:pt x="0" y="672"/>
                    </a:lnTo>
                    <a:lnTo>
                      <a:pt x="1" y="672"/>
                    </a:lnTo>
                    <a:lnTo>
                      <a:pt x="1" y="670"/>
                    </a:lnTo>
                    <a:lnTo>
                      <a:pt x="5" y="658"/>
                    </a:lnTo>
                    <a:lnTo>
                      <a:pt x="5" y="656"/>
                    </a:lnTo>
                    <a:lnTo>
                      <a:pt x="6" y="656"/>
                    </a:lnTo>
                    <a:lnTo>
                      <a:pt x="6" y="654"/>
                    </a:lnTo>
                    <a:lnTo>
                      <a:pt x="8" y="653"/>
                    </a:lnTo>
                    <a:lnTo>
                      <a:pt x="9" y="653"/>
                    </a:lnTo>
                    <a:lnTo>
                      <a:pt x="9" y="651"/>
                    </a:lnTo>
                    <a:lnTo>
                      <a:pt x="11" y="651"/>
                    </a:lnTo>
                    <a:lnTo>
                      <a:pt x="11" y="650"/>
                    </a:lnTo>
                    <a:lnTo>
                      <a:pt x="13" y="650"/>
                    </a:lnTo>
                    <a:lnTo>
                      <a:pt x="13" y="648"/>
                    </a:lnTo>
                    <a:lnTo>
                      <a:pt x="14" y="646"/>
                    </a:lnTo>
                    <a:lnTo>
                      <a:pt x="16" y="645"/>
                    </a:lnTo>
                    <a:lnTo>
                      <a:pt x="17" y="645"/>
                    </a:lnTo>
                    <a:lnTo>
                      <a:pt x="17" y="643"/>
                    </a:lnTo>
                    <a:lnTo>
                      <a:pt x="19" y="643"/>
                    </a:lnTo>
                    <a:lnTo>
                      <a:pt x="21" y="642"/>
                    </a:lnTo>
                    <a:lnTo>
                      <a:pt x="21" y="640"/>
                    </a:lnTo>
                    <a:lnTo>
                      <a:pt x="22" y="642"/>
                    </a:lnTo>
                    <a:lnTo>
                      <a:pt x="22" y="640"/>
                    </a:lnTo>
                    <a:lnTo>
                      <a:pt x="24" y="640"/>
                    </a:lnTo>
                    <a:lnTo>
                      <a:pt x="24" y="638"/>
                    </a:lnTo>
                    <a:lnTo>
                      <a:pt x="25" y="638"/>
                    </a:lnTo>
                    <a:lnTo>
                      <a:pt x="25" y="637"/>
                    </a:lnTo>
                    <a:lnTo>
                      <a:pt x="25" y="635"/>
                    </a:lnTo>
                    <a:lnTo>
                      <a:pt x="25" y="634"/>
                    </a:lnTo>
                    <a:lnTo>
                      <a:pt x="25" y="632"/>
                    </a:lnTo>
                    <a:lnTo>
                      <a:pt x="25" y="631"/>
                    </a:lnTo>
                    <a:lnTo>
                      <a:pt x="25" y="629"/>
                    </a:lnTo>
                    <a:lnTo>
                      <a:pt x="27" y="627"/>
                    </a:lnTo>
                    <a:lnTo>
                      <a:pt x="28" y="627"/>
                    </a:lnTo>
                    <a:lnTo>
                      <a:pt x="28" y="626"/>
                    </a:lnTo>
                    <a:lnTo>
                      <a:pt x="30" y="626"/>
                    </a:lnTo>
                    <a:lnTo>
                      <a:pt x="32" y="626"/>
                    </a:lnTo>
                    <a:lnTo>
                      <a:pt x="32" y="627"/>
                    </a:lnTo>
                    <a:lnTo>
                      <a:pt x="33" y="627"/>
                    </a:lnTo>
                    <a:lnTo>
                      <a:pt x="35" y="627"/>
                    </a:lnTo>
                    <a:lnTo>
                      <a:pt x="36" y="627"/>
                    </a:lnTo>
                    <a:lnTo>
                      <a:pt x="38" y="629"/>
                    </a:lnTo>
                    <a:lnTo>
                      <a:pt x="36" y="629"/>
                    </a:lnTo>
                    <a:lnTo>
                      <a:pt x="38" y="631"/>
                    </a:lnTo>
                    <a:lnTo>
                      <a:pt x="40" y="631"/>
                    </a:lnTo>
                    <a:lnTo>
                      <a:pt x="41" y="629"/>
                    </a:lnTo>
                    <a:lnTo>
                      <a:pt x="41" y="631"/>
                    </a:lnTo>
                    <a:lnTo>
                      <a:pt x="43" y="631"/>
                    </a:lnTo>
                    <a:lnTo>
                      <a:pt x="43" y="629"/>
                    </a:lnTo>
                    <a:lnTo>
                      <a:pt x="44" y="629"/>
                    </a:lnTo>
                    <a:lnTo>
                      <a:pt x="46" y="629"/>
                    </a:lnTo>
                    <a:lnTo>
                      <a:pt x="47" y="629"/>
                    </a:lnTo>
                    <a:lnTo>
                      <a:pt x="47" y="627"/>
                    </a:lnTo>
                    <a:lnTo>
                      <a:pt x="47" y="626"/>
                    </a:lnTo>
                    <a:lnTo>
                      <a:pt x="47" y="624"/>
                    </a:lnTo>
                    <a:lnTo>
                      <a:pt x="47" y="623"/>
                    </a:lnTo>
                    <a:lnTo>
                      <a:pt x="47" y="621"/>
                    </a:lnTo>
                    <a:lnTo>
                      <a:pt x="47" y="619"/>
                    </a:lnTo>
                    <a:lnTo>
                      <a:pt x="47" y="618"/>
                    </a:lnTo>
                    <a:lnTo>
                      <a:pt x="47" y="616"/>
                    </a:lnTo>
                    <a:lnTo>
                      <a:pt x="47" y="615"/>
                    </a:lnTo>
                    <a:lnTo>
                      <a:pt x="47" y="613"/>
                    </a:lnTo>
                    <a:lnTo>
                      <a:pt x="47" y="612"/>
                    </a:lnTo>
                    <a:lnTo>
                      <a:pt x="47" y="610"/>
                    </a:lnTo>
                    <a:lnTo>
                      <a:pt x="47" y="608"/>
                    </a:lnTo>
                    <a:lnTo>
                      <a:pt x="47" y="607"/>
                    </a:lnTo>
                    <a:lnTo>
                      <a:pt x="47" y="605"/>
                    </a:lnTo>
                    <a:lnTo>
                      <a:pt x="47" y="604"/>
                    </a:lnTo>
                    <a:lnTo>
                      <a:pt x="47" y="602"/>
                    </a:lnTo>
                    <a:lnTo>
                      <a:pt x="47" y="600"/>
                    </a:lnTo>
                    <a:lnTo>
                      <a:pt x="47" y="599"/>
                    </a:lnTo>
                    <a:lnTo>
                      <a:pt x="47" y="597"/>
                    </a:lnTo>
                    <a:lnTo>
                      <a:pt x="47" y="596"/>
                    </a:lnTo>
                    <a:lnTo>
                      <a:pt x="47" y="594"/>
                    </a:lnTo>
                    <a:lnTo>
                      <a:pt x="47" y="593"/>
                    </a:lnTo>
                    <a:lnTo>
                      <a:pt x="47" y="591"/>
                    </a:lnTo>
                    <a:lnTo>
                      <a:pt x="47" y="589"/>
                    </a:lnTo>
                    <a:lnTo>
                      <a:pt x="47" y="588"/>
                    </a:lnTo>
                    <a:lnTo>
                      <a:pt x="47" y="586"/>
                    </a:lnTo>
                    <a:lnTo>
                      <a:pt x="49" y="586"/>
                    </a:lnTo>
                    <a:lnTo>
                      <a:pt x="49" y="585"/>
                    </a:lnTo>
                    <a:lnTo>
                      <a:pt x="49" y="583"/>
                    </a:lnTo>
                    <a:lnTo>
                      <a:pt x="49" y="581"/>
                    </a:lnTo>
                    <a:lnTo>
                      <a:pt x="49" y="580"/>
                    </a:lnTo>
                    <a:lnTo>
                      <a:pt x="49" y="578"/>
                    </a:lnTo>
                    <a:lnTo>
                      <a:pt x="49" y="577"/>
                    </a:lnTo>
                    <a:lnTo>
                      <a:pt x="49" y="575"/>
                    </a:lnTo>
                    <a:lnTo>
                      <a:pt x="49" y="574"/>
                    </a:lnTo>
                    <a:lnTo>
                      <a:pt x="49" y="572"/>
                    </a:lnTo>
                    <a:lnTo>
                      <a:pt x="49" y="570"/>
                    </a:lnTo>
                    <a:lnTo>
                      <a:pt x="49" y="569"/>
                    </a:lnTo>
                    <a:lnTo>
                      <a:pt x="49" y="567"/>
                    </a:lnTo>
                    <a:lnTo>
                      <a:pt x="49" y="566"/>
                    </a:lnTo>
                    <a:lnTo>
                      <a:pt x="49" y="564"/>
                    </a:lnTo>
                    <a:lnTo>
                      <a:pt x="49" y="562"/>
                    </a:lnTo>
                    <a:lnTo>
                      <a:pt x="49" y="561"/>
                    </a:lnTo>
                    <a:lnTo>
                      <a:pt x="49" y="559"/>
                    </a:lnTo>
                    <a:lnTo>
                      <a:pt x="49" y="558"/>
                    </a:lnTo>
                    <a:lnTo>
                      <a:pt x="49" y="556"/>
                    </a:lnTo>
                    <a:lnTo>
                      <a:pt x="49" y="555"/>
                    </a:lnTo>
                    <a:lnTo>
                      <a:pt x="49" y="553"/>
                    </a:lnTo>
                    <a:lnTo>
                      <a:pt x="49" y="551"/>
                    </a:lnTo>
                    <a:lnTo>
                      <a:pt x="49" y="550"/>
                    </a:lnTo>
                    <a:lnTo>
                      <a:pt x="49" y="548"/>
                    </a:lnTo>
                    <a:lnTo>
                      <a:pt x="49" y="547"/>
                    </a:lnTo>
                    <a:lnTo>
                      <a:pt x="49" y="545"/>
                    </a:lnTo>
                    <a:lnTo>
                      <a:pt x="51" y="545"/>
                    </a:lnTo>
                    <a:lnTo>
                      <a:pt x="51" y="543"/>
                    </a:lnTo>
                    <a:lnTo>
                      <a:pt x="51" y="542"/>
                    </a:lnTo>
                    <a:lnTo>
                      <a:pt x="51" y="540"/>
                    </a:lnTo>
                    <a:lnTo>
                      <a:pt x="51" y="539"/>
                    </a:lnTo>
                    <a:lnTo>
                      <a:pt x="51" y="537"/>
                    </a:lnTo>
                    <a:lnTo>
                      <a:pt x="51" y="536"/>
                    </a:lnTo>
                    <a:lnTo>
                      <a:pt x="51" y="534"/>
                    </a:lnTo>
                    <a:lnTo>
                      <a:pt x="51" y="532"/>
                    </a:lnTo>
                    <a:lnTo>
                      <a:pt x="51" y="531"/>
                    </a:lnTo>
                    <a:lnTo>
                      <a:pt x="51" y="529"/>
                    </a:lnTo>
                    <a:lnTo>
                      <a:pt x="51" y="528"/>
                    </a:lnTo>
                    <a:lnTo>
                      <a:pt x="51" y="526"/>
                    </a:lnTo>
                    <a:lnTo>
                      <a:pt x="51" y="524"/>
                    </a:lnTo>
                    <a:lnTo>
                      <a:pt x="51" y="523"/>
                    </a:lnTo>
                    <a:lnTo>
                      <a:pt x="51" y="521"/>
                    </a:lnTo>
                    <a:lnTo>
                      <a:pt x="51" y="520"/>
                    </a:lnTo>
                    <a:lnTo>
                      <a:pt x="51" y="518"/>
                    </a:lnTo>
                    <a:lnTo>
                      <a:pt x="51" y="517"/>
                    </a:lnTo>
                    <a:lnTo>
                      <a:pt x="51" y="515"/>
                    </a:lnTo>
                    <a:lnTo>
                      <a:pt x="51" y="513"/>
                    </a:lnTo>
                    <a:lnTo>
                      <a:pt x="51" y="512"/>
                    </a:lnTo>
                    <a:lnTo>
                      <a:pt x="51" y="510"/>
                    </a:lnTo>
                    <a:lnTo>
                      <a:pt x="51" y="509"/>
                    </a:lnTo>
                    <a:lnTo>
                      <a:pt x="51" y="507"/>
                    </a:lnTo>
                    <a:lnTo>
                      <a:pt x="51" y="505"/>
                    </a:lnTo>
                    <a:lnTo>
                      <a:pt x="51" y="504"/>
                    </a:lnTo>
                    <a:lnTo>
                      <a:pt x="51" y="502"/>
                    </a:lnTo>
                    <a:lnTo>
                      <a:pt x="51" y="501"/>
                    </a:lnTo>
                    <a:lnTo>
                      <a:pt x="51" y="499"/>
                    </a:lnTo>
                    <a:lnTo>
                      <a:pt x="51" y="498"/>
                    </a:lnTo>
                    <a:lnTo>
                      <a:pt x="51" y="496"/>
                    </a:lnTo>
                    <a:lnTo>
                      <a:pt x="51" y="494"/>
                    </a:lnTo>
                    <a:lnTo>
                      <a:pt x="51" y="493"/>
                    </a:lnTo>
                    <a:lnTo>
                      <a:pt x="51" y="491"/>
                    </a:lnTo>
                    <a:lnTo>
                      <a:pt x="51" y="490"/>
                    </a:lnTo>
                    <a:lnTo>
                      <a:pt x="51" y="488"/>
                    </a:lnTo>
                    <a:lnTo>
                      <a:pt x="51" y="486"/>
                    </a:lnTo>
                    <a:lnTo>
                      <a:pt x="51" y="485"/>
                    </a:lnTo>
                    <a:lnTo>
                      <a:pt x="51" y="483"/>
                    </a:lnTo>
                    <a:lnTo>
                      <a:pt x="51" y="482"/>
                    </a:lnTo>
                    <a:lnTo>
                      <a:pt x="51" y="480"/>
                    </a:lnTo>
                    <a:lnTo>
                      <a:pt x="51" y="479"/>
                    </a:lnTo>
                    <a:lnTo>
                      <a:pt x="51" y="477"/>
                    </a:lnTo>
                    <a:lnTo>
                      <a:pt x="51" y="475"/>
                    </a:lnTo>
                    <a:lnTo>
                      <a:pt x="51" y="474"/>
                    </a:lnTo>
                    <a:lnTo>
                      <a:pt x="51" y="472"/>
                    </a:lnTo>
                    <a:lnTo>
                      <a:pt x="51" y="471"/>
                    </a:lnTo>
                    <a:lnTo>
                      <a:pt x="51" y="469"/>
                    </a:lnTo>
                    <a:lnTo>
                      <a:pt x="51" y="467"/>
                    </a:lnTo>
                    <a:lnTo>
                      <a:pt x="51" y="466"/>
                    </a:lnTo>
                    <a:lnTo>
                      <a:pt x="51" y="464"/>
                    </a:lnTo>
                    <a:lnTo>
                      <a:pt x="51" y="463"/>
                    </a:lnTo>
                    <a:lnTo>
                      <a:pt x="51" y="461"/>
                    </a:lnTo>
                    <a:lnTo>
                      <a:pt x="52" y="459"/>
                    </a:lnTo>
                    <a:lnTo>
                      <a:pt x="52" y="458"/>
                    </a:lnTo>
                    <a:lnTo>
                      <a:pt x="52" y="456"/>
                    </a:lnTo>
                    <a:lnTo>
                      <a:pt x="52" y="455"/>
                    </a:lnTo>
                    <a:lnTo>
                      <a:pt x="52" y="453"/>
                    </a:lnTo>
                    <a:lnTo>
                      <a:pt x="52" y="452"/>
                    </a:lnTo>
                    <a:lnTo>
                      <a:pt x="52" y="450"/>
                    </a:lnTo>
                    <a:lnTo>
                      <a:pt x="54" y="444"/>
                    </a:lnTo>
                    <a:lnTo>
                      <a:pt x="52" y="442"/>
                    </a:lnTo>
                    <a:lnTo>
                      <a:pt x="52" y="440"/>
                    </a:lnTo>
                    <a:lnTo>
                      <a:pt x="52" y="439"/>
                    </a:lnTo>
                    <a:lnTo>
                      <a:pt x="52" y="437"/>
                    </a:lnTo>
                    <a:lnTo>
                      <a:pt x="52" y="436"/>
                    </a:lnTo>
                    <a:lnTo>
                      <a:pt x="52" y="434"/>
                    </a:lnTo>
                    <a:lnTo>
                      <a:pt x="52" y="433"/>
                    </a:lnTo>
                    <a:lnTo>
                      <a:pt x="52" y="431"/>
                    </a:lnTo>
                    <a:lnTo>
                      <a:pt x="52" y="429"/>
                    </a:lnTo>
                    <a:lnTo>
                      <a:pt x="52" y="428"/>
                    </a:lnTo>
                    <a:lnTo>
                      <a:pt x="52" y="426"/>
                    </a:lnTo>
                    <a:lnTo>
                      <a:pt x="52" y="425"/>
                    </a:lnTo>
                    <a:lnTo>
                      <a:pt x="52" y="423"/>
                    </a:lnTo>
                    <a:lnTo>
                      <a:pt x="52" y="421"/>
                    </a:lnTo>
                    <a:lnTo>
                      <a:pt x="52" y="420"/>
                    </a:lnTo>
                    <a:lnTo>
                      <a:pt x="52" y="418"/>
                    </a:lnTo>
                    <a:lnTo>
                      <a:pt x="52" y="417"/>
                    </a:lnTo>
                    <a:lnTo>
                      <a:pt x="52" y="415"/>
                    </a:lnTo>
                    <a:lnTo>
                      <a:pt x="52" y="414"/>
                    </a:lnTo>
                    <a:lnTo>
                      <a:pt x="52" y="412"/>
                    </a:lnTo>
                    <a:lnTo>
                      <a:pt x="52" y="410"/>
                    </a:lnTo>
                    <a:lnTo>
                      <a:pt x="52" y="409"/>
                    </a:lnTo>
                    <a:lnTo>
                      <a:pt x="52" y="407"/>
                    </a:lnTo>
                    <a:lnTo>
                      <a:pt x="52" y="406"/>
                    </a:lnTo>
                    <a:lnTo>
                      <a:pt x="52" y="404"/>
                    </a:lnTo>
                    <a:lnTo>
                      <a:pt x="52" y="402"/>
                    </a:lnTo>
                    <a:lnTo>
                      <a:pt x="51" y="395"/>
                    </a:lnTo>
                    <a:lnTo>
                      <a:pt x="52" y="393"/>
                    </a:lnTo>
                    <a:lnTo>
                      <a:pt x="52" y="391"/>
                    </a:lnTo>
                    <a:lnTo>
                      <a:pt x="52" y="390"/>
                    </a:lnTo>
                    <a:lnTo>
                      <a:pt x="52" y="388"/>
                    </a:lnTo>
                    <a:lnTo>
                      <a:pt x="52" y="387"/>
                    </a:lnTo>
                    <a:lnTo>
                      <a:pt x="52" y="385"/>
                    </a:lnTo>
                    <a:lnTo>
                      <a:pt x="52" y="383"/>
                    </a:lnTo>
                    <a:lnTo>
                      <a:pt x="54" y="382"/>
                    </a:lnTo>
                    <a:lnTo>
                      <a:pt x="54" y="383"/>
                    </a:lnTo>
                    <a:lnTo>
                      <a:pt x="55" y="383"/>
                    </a:lnTo>
                    <a:lnTo>
                      <a:pt x="55" y="385"/>
                    </a:lnTo>
                    <a:lnTo>
                      <a:pt x="57" y="387"/>
                    </a:lnTo>
                    <a:lnTo>
                      <a:pt x="59" y="388"/>
                    </a:lnTo>
                    <a:lnTo>
                      <a:pt x="60" y="390"/>
                    </a:lnTo>
                    <a:lnTo>
                      <a:pt x="62" y="391"/>
                    </a:lnTo>
                    <a:lnTo>
                      <a:pt x="63" y="393"/>
                    </a:lnTo>
                    <a:lnTo>
                      <a:pt x="65" y="395"/>
                    </a:lnTo>
                    <a:lnTo>
                      <a:pt x="66" y="395"/>
                    </a:lnTo>
                    <a:lnTo>
                      <a:pt x="66" y="396"/>
                    </a:lnTo>
                    <a:lnTo>
                      <a:pt x="68" y="396"/>
                    </a:lnTo>
                    <a:lnTo>
                      <a:pt x="70" y="396"/>
                    </a:lnTo>
                    <a:lnTo>
                      <a:pt x="70" y="398"/>
                    </a:lnTo>
                    <a:lnTo>
                      <a:pt x="71" y="398"/>
                    </a:lnTo>
                    <a:lnTo>
                      <a:pt x="73" y="398"/>
                    </a:lnTo>
                    <a:lnTo>
                      <a:pt x="73" y="399"/>
                    </a:lnTo>
                    <a:lnTo>
                      <a:pt x="74" y="399"/>
                    </a:lnTo>
                    <a:lnTo>
                      <a:pt x="76" y="401"/>
                    </a:lnTo>
                    <a:lnTo>
                      <a:pt x="78" y="401"/>
                    </a:lnTo>
                    <a:lnTo>
                      <a:pt x="78" y="402"/>
                    </a:lnTo>
                    <a:lnTo>
                      <a:pt x="79" y="402"/>
                    </a:lnTo>
                    <a:lnTo>
                      <a:pt x="79" y="404"/>
                    </a:lnTo>
                    <a:lnTo>
                      <a:pt x="81" y="406"/>
                    </a:lnTo>
                    <a:lnTo>
                      <a:pt x="81" y="407"/>
                    </a:lnTo>
                    <a:lnTo>
                      <a:pt x="81" y="409"/>
                    </a:lnTo>
                    <a:lnTo>
                      <a:pt x="81" y="410"/>
                    </a:lnTo>
                    <a:lnTo>
                      <a:pt x="81" y="412"/>
                    </a:lnTo>
                    <a:lnTo>
                      <a:pt x="81" y="414"/>
                    </a:lnTo>
                    <a:lnTo>
                      <a:pt x="82" y="414"/>
                    </a:lnTo>
                    <a:lnTo>
                      <a:pt x="82" y="415"/>
                    </a:lnTo>
                    <a:lnTo>
                      <a:pt x="84" y="415"/>
                    </a:lnTo>
                    <a:lnTo>
                      <a:pt x="84" y="417"/>
                    </a:lnTo>
                    <a:lnTo>
                      <a:pt x="85" y="417"/>
                    </a:lnTo>
                    <a:lnTo>
                      <a:pt x="87" y="418"/>
                    </a:lnTo>
                    <a:lnTo>
                      <a:pt x="87" y="417"/>
                    </a:lnTo>
                    <a:lnTo>
                      <a:pt x="89" y="417"/>
                    </a:lnTo>
                    <a:lnTo>
                      <a:pt x="90" y="417"/>
                    </a:lnTo>
                    <a:lnTo>
                      <a:pt x="92" y="417"/>
                    </a:lnTo>
                    <a:lnTo>
                      <a:pt x="93" y="417"/>
                    </a:lnTo>
                    <a:lnTo>
                      <a:pt x="95" y="417"/>
                    </a:lnTo>
                    <a:lnTo>
                      <a:pt x="97" y="417"/>
                    </a:lnTo>
                    <a:lnTo>
                      <a:pt x="97" y="415"/>
                    </a:lnTo>
                    <a:lnTo>
                      <a:pt x="98" y="415"/>
                    </a:lnTo>
                    <a:lnTo>
                      <a:pt x="98" y="414"/>
                    </a:lnTo>
                    <a:lnTo>
                      <a:pt x="100" y="414"/>
                    </a:lnTo>
                    <a:lnTo>
                      <a:pt x="101" y="414"/>
                    </a:lnTo>
                    <a:lnTo>
                      <a:pt x="103" y="412"/>
                    </a:lnTo>
                    <a:lnTo>
                      <a:pt x="103" y="410"/>
                    </a:lnTo>
                    <a:lnTo>
                      <a:pt x="104" y="410"/>
                    </a:lnTo>
                    <a:lnTo>
                      <a:pt x="104" y="409"/>
                    </a:lnTo>
                    <a:lnTo>
                      <a:pt x="106" y="409"/>
                    </a:lnTo>
                    <a:lnTo>
                      <a:pt x="108" y="407"/>
                    </a:lnTo>
                    <a:lnTo>
                      <a:pt x="109" y="407"/>
                    </a:lnTo>
                    <a:lnTo>
                      <a:pt x="111" y="406"/>
                    </a:lnTo>
                    <a:lnTo>
                      <a:pt x="112" y="406"/>
                    </a:lnTo>
                    <a:lnTo>
                      <a:pt x="114" y="404"/>
                    </a:lnTo>
                    <a:lnTo>
                      <a:pt x="116" y="404"/>
                    </a:lnTo>
                    <a:lnTo>
                      <a:pt x="117" y="404"/>
                    </a:lnTo>
                    <a:lnTo>
                      <a:pt x="117" y="402"/>
                    </a:lnTo>
                    <a:lnTo>
                      <a:pt x="119" y="402"/>
                    </a:lnTo>
                    <a:lnTo>
                      <a:pt x="120" y="402"/>
                    </a:lnTo>
                    <a:lnTo>
                      <a:pt x="120" y="401"/>
                    </a:lnTo>
                    <a:lnTo>
                      <a:pt x="122" y="401"/>
                    </a:lnTo>
                    <a:lnTo>
                      <a:pt x="123" y="401"/>
                    </a:lnTo>
                    <a:lnTo>
                      <a:pt x="125" y="399"/>
                    </a:lnTo>
                    <a:lnTo>
                      <a:pt x="127" y="399"/>
                    </a:lnTo>
                    <a:lnTo>
                      <a:pt x="127" y="398"/>
                    </a:lnTo>
                    <a:lnTo>
                      <a:pt x="128" y="398"/>
                    </a:lnTo>
                    <a:lnTo>
                      <a:pt x="128" y="396"/>
                    </a:lnTo>
                    <a:lnTo>
                      <a:pt x="128" y="395"/>
                    </a:lnTo>
                    <a:lnTo>
                      <a:pt x="128" y="393"/>
                    </a:lnTo>
                    <a:lnTo>
                      <a:pt x="130" y="393"/>
                    </a:lnTo>
                    <a:lnTo>
                      <a:pt x="130" y="391"/>
                    </a:lnTo>
                    <a:lnTo>
                      <a:pt x="130" y="390"/>
                    </a:lnTo>
                    <a:lnTo>
                      <a:pt x="130" y="388"/>
                    </a:lnTo>
                    <a:lnTo>
                      <a:pt x="131" y="387"/>
                    </a:lnTo>
                    <a:lnTo>
                      <a:pt x="131" y="385"/>
                    </a:lnTo>
                    <a:lnTo>
                      <a:pt x="131" y="383"/>
                    </a:lnTo>
                    <a:lnTo>
                      <a:pt x="131" y="382"/>
                    </a:lnTo>
                    <a:lnTo>
                      <a:pt x="133" y="382"/>
                    </a:lnTo>
                    <a:lnTo>
                      <a:pt x="133" y="380"/>
                    </a:lnTo>
                    <a:lnTo>
                      <a:pt x="133" y="379"/>
                    </a:lnTo>
                    <a:lnTo>
                      <a:pt x="133" y="377"/>
                    </a:lnTo>
                    <a:lnTo>
                      <a:pt x="133" y="376"/>
                    </a:lnTo>
                    <a:lnTo>
                      <a:pt x="135" y="376"/>
                    </a:lnTo>
                    <a:lnTo>
                      <a:pt x="135" y="374"/>
                    </a:lnTo>
                    <a:lnTo>
                      <a:pt x="135" y="372"/>
                    </a:lnTo>
                    <a:lnTo>
                      <a:pt x="135" y="371"/>
                    </a:lnTo>
                    <a:lnTo>
                      <a:pt x="135" y="369"/>
                    </a:lnTo>
                    <a:lnTo>
                      <a:pt x="135" y="368"/>
                    </a:lnTo>
                    <a:lnTo>
                      <a:pt x="136" y="368"/>
                    </a:lnTo>
                    <a:lnTo>
                      <a:pt x="136" y="366"/>
                    </a:lnTo>
                    <a:lnTo>
                      <a:pt x="136" y="364"/>
                    </a:lnTo>
                    <a:lnTo>
                      <a:pt x="136" y="363"/>
                    </a:lnTo>
                    <a:lnTo>
                      <a:pt x="138" y="361"/>
                    </a:lnTo>
                    <a:lnTo>
                      <a:pt x="138" y="360"/>
                    </a:lnTo>
                    <a:lnTo>
                      <a:pt x="138" y="358"/>
                    </a:lnTo>
                    <a:lnTo>
                      <a:pt x="138" y="357"/>
                    </a:lnTo>
                    <a:lnTo>
                      <a:pt x="139" y="355"/>
                    </a:lnTo>
                    <a:lnTo>
                      <a:pt x="139" y="353"/>
                    </a:lnTo>
                    <a:lnTo>
                      <a:pt x="139" y="352"/>
                    </a:lnTo>
                    <a:lnTo>
                      <a:pt x="139" y="350"/>
                    </a:lnTo>
                    <a:lnTo>
                      <a:pt x="141" y="350"/>
                    </a:lnTo>
                    <a:lnTo>
                      <a:pt x="141" y="349"/>
                    </a:lnTo>
                    <a:lnTo>
                      <a:pt x="141" y="347"/>
                    </a:lnTo>
                    <a:lnTo>
                      <a:pt x="141" y="345"/>
                    </a:lnTo>
                    <a:lnTo>
                      <a:pt x="141" y="344"/>
                    </a:lnTo>
                    <a:lnTo>
                      <a:pt x="142" y="342"/>
                    </a:lnTo>
                    <a:lnTo>
                      <a:pt x="142" y="341"/>
                    </a:lnTo>
                    <a:lnTo>
                      <a:pt x="142" y="339"/>
                    </a:lnTo>
                    <a:lnTo>
                      <a:pt x="142" y="338"/>
                    </a:lnTo>
                    <a:lnTo>
                      <a:pt x="142" y="336"/>
                    </a:lnTo>
                    <a:lnTo>
                      <a:pt x="144" y="336"/>
                    </a:lnTo>
                    <a:lnTo>
                      <a:pt x="144" y="334"/>
                    </a:lnTo>
                    <a:lnTo>
                      <a:pt x="144" y="333"/>
                    </a:lnTo>
                    <a:lnTo>
                      <a:pt x="144" y="331"/>
                    </a:lnTo>
                    <a:lnTo>
                      <a:pt x="144" y="330"/>
                    </a:lnTo>
                    <a:lnTo>
                      <a:pt x="146" y="330"/>
                    </a:lnTo>
                    <a:lnTo>
                      <a:pt x="146" y="328"/>
                    </a:lnTo>
                    <a:lnTo>
                      <a:pt x="146" y="326"/>
                    </a:lnTo>
                    <a:lnTo>
                      <a:pt x="146" y="325"/>
                    </a:lnTo>
                    <a:lnTo>
                      <a:pt x="146" y="323"/>
                    </a:lnTo>
                    <a:lnTo>
                      <a:pt x="147" y="322"/>
                    </a:lnTo>
                    <a:lnTo>
                      <a:pt x="147" y="320"/>
                    </a:lnTo>
                    <a:lnTo>
                      <a:pt x="147" y="319"/>
                    </a:lnTo>
                    <a:lnTo>
                      <a:pt x="147" y="317"/>
                    </a:lnTo>
                    <a:lnTo>
                      <a:pt x="147" y="315"/>
                    </a:lnTo>
                    <a:lnTo>
                      <a:pt x="147" y="314"/>
                    </a:lnTo>
                    <a:lnTo>
                      <a:pt x="149" y="312"/>
                    </a:lnTo>
                    <a:lnTo>
                      <a:pt x="149" y="311"/>
                    </a:lnTo>
                    <a:lnTo>
                      <a:pt x="149" y="309"/>
                    </a:lnTo>
                    <a:lnTo>
                      <a:pt x="149" y="307"/>
                    </a:lnTo>
                    <a:lnTo>
                      <a:pt x="149" y="306"/>
                    </a:lnTo>
                    <a:lnTo>
                      <a:pt x="149" y="304"/>
                    </a:lnTo>
                    <a:lnTo>
                      <a:pt x="150" y="304"/>
                    </a:lnTo>
                    <a:lnTo>
                      <a:pt x="150" y="303"/>
                    </a:lnTo>
                    <a:lnTo>
                      <a:pt x="150" y="301"/>
                    </a:lnTo>
                    <a:lnTo>
                      <a:pt x="150" y="300"/>
                    </a:lnTo>
                    <a:lnTo>
                      <a:pt x="150" y="298"/>
                    </a:lnTo>
                    <a:lnTo>
                      <a:pt x="150" y="296"/>
                    </a:lnTo>
                    <a:lnTo>
                      <a:pt x="150" y="295"/>
                    </a:lnTo>
                    <a:lnTo>
                      <a:pt x="150" y="293"/>
                    </a:lnTo>
                    <a:lnTo>
                      <a:pt x="152" y="292"/>
                    </a:lnTo>
                    <a:lnTo>
                      <a:pt x="152" y="290"/>
                    </a:lnTo>
                    <a:lnTo>
                      <a:pt x="152" y="288"/>
                    </a:lnTo>
                    <a:lnTo>
                      <a:pt x="152" y="287"/>
                    </a:lnTo>
                    <a:lnTo>
                      <a:pt x="152" y="285"/>
                    </a:lnTo>
                    <a:lnTo>
                      <a:pt x="152" y="284"/>
                    </a:lnTo>
                    <a:lnTo>
                      <a:pt x="152" y="282"/>
                    </a:lnTo>
                    <a:lnTo>
                      <a:pt x="154" y="281"/>
                    </a:lnTo>
                    <a:lnTo>
                      <a:pt x="154" y="279"/>
                    </a:lnTo>
                    <a:lnTo>
                      <a:pt x="154" y="277"/>
                    </a:lnTo>
                    <a:lnTo>
                      <a:pt x="154" y="276"/>
                    </a:lnTo>
                    <a:lnTo>
                      <a:pt x="154" y="274"/>
                    </a:lnTo>
                    <a:lnTo>
                      <a:pt x="154" y="273"/>
                    </a:lnTo>
                    <a:lnTo>
                      <a:pt x="155" y="271"/>
                    </a:lnTo>
                    <a:lnTo>
                      <a:pt x="155" y="269"/>
                    </a:lnTo>
                    <a:lnTo>
                      <a:pt x="155" y="268"/>
                    </a:lnTo>
                    <a:lnTo>
                      <a:pt x="155" y="266"/>
                    </a:lnTo>
                    <a:lnTo>
                      <a:pt x="155" y="265"/>
                    </a:lnTo>
                    <a:lnTo>
                      <a:pt x="150" y="260"/>
                    </a:lnTo>
                    <a:lnTo>
                      <a:pt x="165" y="219"/>
                    </a:lnTo>
                    <a:lnTo>
                      <a:pt x="166" y="219"/>
                    </a:lnTo>
                    <a:lnTo>
                      <a:pt x="168" y="219"/>
                    </a:lnTo>
                    <a:lnTo>
                      <a:pt x="169" y="219"/>
                    </a:lnTo>
                    <a:lnTo>
                      <a:pt x="171" y="219"/>
                    </a:lnTo>
                    <a:lnTo>
                      <a:pt x="173" y="219"/>
                    </a:lnTo>
                    <a:lnTo>
                      <a:pt x="174" y="219"/>
                    </a:lnTo>
                    <a:lnTo>
                      <a:pt x="176" y="219"/>
                    </a:lnTo>
                    <a:lnTo>
                      <a:pt x="177" y="219"/>
                    </a:lnTo>
                    <a:lnTo>
                      <a:pt x="179" y="219"/>
                    </a:lnTo>
                    <a:lnTo>
                      <a:pt x="180" y="219"/>
                    </a:lnTo>
                    <a:lnTo>
                      <a:pt x="180" y="217"/>
                    </a:lnTo>
                    <a:lnTo>
                      <a:pt x="180" y="216"/>
                    </a:lnTo>
                    <a:lnTo>
                      <a:pt x="182" y="216"/>
                    </a:lnTo>
                    <a:lnTo>
                      <a:pt x="182" y="214"/>
                    </a:lnTo>
                    <a:lnTo>
                      <a:pt x="182" y="212"/>
                    </a:lnTo>
                    <a:lnTo>
                      <a:pt x="184" y="212"/>
                    </a:lnTo>
                    <a:lnTo>
                      <a:pt x="184" y="211"/>
                    </a:lnTo>
                    <a:lnTo>
                      <a:pt x="184" y="209"/>
                    </a:lnTo>
                    <a:lnTo>
                      <a:pt x="185" y="208"/>
                    </a:lnTo>
                    <a:lnTo>
                      <a:pt x="185" y="206"/>
                    </a:lnTo>
                    <a:lnTo>
                      <a:pt x="185" y="204"/>
                    </a:lnTo>
                    <a:lnTo>
                      <a:pt x="187" y="204"/>
                    </a:lnTo>
                    <a:lnTo>
                      <a:pt x="187" y="203"/>
                    </a:lnTo>
                    <a:lnTo>
                      <a:pt x="187" y="201"/>
                    </a:lnTo>
                    <a:lnTo>
                      <a:pt x="188" y="200"/>
                    </a:lnTo>
                    <a:lnTo>
                      <a:pt x="188" y="198"/>
                    </a:lnTo>
                    <a:lnTo>
                      <a:pt x="188" y="197"/>
                    </a:lnTo>
                    <a:lnTo>
                      <a:pt x="190" y="197"/>
                    </a:lnTo>
                    <a:lnTo>
                      <a:pt x="190" y="195"/>
                    </a:lnTo>
                    <a:lnTo>
                      <a:pt x="190" y="193"/>
                    </a:lnTo>
                    <a:lnTo>
                      <a:pt x="192" y="192"/>
                    </a:lnTo>
                    <a:lnTo>
                      <a:pt x="192" y="190"/>
                    </a:lnTo>
                    <a:lnTo>
                      <a:pt x="192" y="189"/>
                    </a:lnTo>
                    <a:lnTo>
                      <a:pt x="193" y="189"/>
                    </a:lnTo>
                    <a:lnTo>
                      <a:pt x="193" y="187"/>
                    </a:lnTo>
                    <a:lnTo>
                      <a:pt x="193" y="185"/>
                    </a:lnTo>
                    <a:lnTo>
                      <a:pt x="195" y="184"/>
                    </a:lnTo>
                    <a:lnTo>
                      <a:pt x="195" y="182"/>
                    </a:lnTo>
                    <a:lnTo>
                      <a:pt x="195" y="181"/>
                    </a:lnTo>
                    <a:lnTo>
                      <a:pt x="195" y="179"/>
                    </a:lnTo>
                    <a:lnTo>
                      <a:pt x="195" y="178"/>
                    </a:lnTo>
                    <a:lnTo>
                      <a:pt x="195" y="176"/>
                    </a:lnTo>
                    <a:lnTo>
                      <a:pt x="196" y="176"/>
                    </a:lnTo>
                    <a:lnTo>
                      <a:pt x="196" y="174"/>
                    </a:lnTo>
                    <a:lnTo>
                      <a:pt x="196" y="173"/>
                    </a:lnTo>
                    <a:lnTo>
                      <a:pt x="196" y="171"/>
                    </a:lnTo>
                    <a:lnTo>
                      <a:pt x="196" y="170"/>
                    </a:lnTo>
                    <a:lnTo>
                      <a:pt x="196" y="168"/>
                    </a:lnTo>
                    <a:lnTo>
                      <a:pt x="198" y="168"/>
                    </a:lnTo>
                    <a:lnTo>
                      <a:pt x="198" y="166"/>
                    </a:lnTo>
                    <a:lnTo>
                      <a:pt x="198" y="165"/>
                    </a:lnTo>
                    <a:lnTo>
                      <a:pt x="198" y="163"/>
                    </a:lnTo>
                    <a:lnTo>
                      <a:pt x="196" y="162"/>
                    </a:lnTo>
                    <a:lnTo>
                      <a:pt x="195" y="162"/>
                    </a:lnTo>
                    <a:lnTo>
                      <a:pt x="193" y="162"/>
                    </a:lnTo>
                    <a:lnTo>
                      <a:pt x="192" y="162"/>
                    </a:lnTo>
                    <a:lnTo>
                      <a:pt x="190" y="162"/>
                    </a:lnTo>
                    <a:lnTo>
                      <a:pt x="190" y="160"/>
                    </a:lnTo>
                    <a:lnTo>
                      <a:pt x="188" y="160"/>
                    </a:lnTo>
                    <a:lnTo>
                      <a:pt x="187" y="160"/>
                    </a:lnTo>
                    <a:lnTo>
                      <a:pt x="185" y="160"/>
                    </a:lnTo>
                    <a:lnTo>
                      <a:pt x="184" y="160"/>
                    </a:lnTo>
                    <a:lnTo>
                      <a:pt x="182" y="159"/>
                    </a:lnTo>
                    <a:lnTo>
                      <a:pt x="180" y="159"/>
                    </a:lnTo>
                    <a:lnTo>
                      <a:pt x="179" y="159"/>
                    </a:lnTo>
                    <a:lnTo>
                      <a:pt x="177" y="157"/>
                    </a:lnTo>
                    <a:lnTo>
                      <a:pt x="176" y="157"/>
                    </a:lnTo>
                    <a:lnTo>
                      <a:pt x="174" y="157"/>
                    </a:lnTo>
                    <a:lnTo>
                      <a:pt x="174" y="155"/>
                    </a:lnTo>
                    <a:lnTo>
                      <a:pt x="173" y="155"/>
                    </a:lnTo>
                    <a:lnTo>
                      <a:pt x="171" y="155"/>
                    </a:lnTo>
                    <a:lnTo>
                      <a:pt x="169" y="155"/>
                    </a:lnTo>
                    <a:lnTo>
                      <a:pt x="169" y="154"/>
                    </a:lnTo>
                    <a:lnTo>
                      <a:pt x="168" y="154"/>
                    </a:lnTo>
                    <a:lnTo>
                      <a:pt x="166" y="154"/>
                    </a:lnTo>
                    <a:lnTo>
                      <a:pt x="165" y="154"/>
                    </a:lnTo>
                    <a:lnTo>
                      <a:pt x="165" y="152"/>
                    </a:lnTo>
                    <a:lnTo>
                      <a:pt x="163" y="152"/>
                    </a:lnTo>
                    <a:lnTo>
                      <a:pt x="161" y="152"/>
                    </a:lnTo>
                    <a:lnTo>
                      <a:pt x="160" y="151"/>
                    </a:lnTo>
                    <a:lnTo>
                      <a:pt x="158" y="151"/>
                    </a:lnTo>
                    <a:lnTo>
                      <a:pt x="158" y="149"/>
                    </a:lnTo>
                    <a:lnTo>
                      <a:pt x="158" y="147"/>
                    </a:lnTo>
                    <a:lnTo>
                      <a:pt x="158" y="146"/>
                    </a:lnTo>
                    <a:lnTo>
                      <a:pt x="158" y="144"/>
                    </a:lnTo>
                    <a:lnTo>
                      <a:pt x="158" y="143"/>
                    </a:lnTo>
                    <a:lnTo>
                      <a:pt x="158" y="141"/>
                    </a:lnTo>
                    <a:lnTo>
                      <a:pt x="158" y="140"/>
                    </a:lnTo>
                    <a:lnTo>
                      <a:pt x="158" y="138"/>
                    </a:lnTo>
                    <a:lnTo>
                      <a:pt x="158" y="136"/>
                    </a:lnTo>
                    <a:lnTo>
                      <a:pt x="158" y="135"/>
                    </a:lnTo>
                    <a:lnTo>
                      <a:pt x="158" y="133"/>
                    </a:lnTo>
                    <a:lnTo>
                      <a:pt x="158" y="132"/>
                    </a:lnTo>
                    <a:lnTo>
                      <a:pt x="158" y="130"/>
                    </a:lnTo>
                    <a:lnTo>
                      <a:pt x="158" y="128"/>
                    </a:lnTo>
                    <a:lnTo>
                      <a:pt x="158" y="127"/>
                    </a:lnTo>
                    <a:lnTo>
                      <a:pt x="157" y="127"/>
                    </a:lnTo>
                    <a:lnTo>
                      <a:pt x="157" y="125"/>
                    </a:lnTo>
                    <a:lnTo>
                      <a:pt x="157" y="124"/>
                    </a:lnTo>
                    <a:lnTo>
                      <a:pt x="157" y="122"/>
                    </a:lnTo>
                    <a:lnTo>
                      <a:pt x="157" y="121"/>
                    </a:lnTo>
                    <a:lnTo>
                      <a:pt x="157" y="119"/>
                    </a:lnTo>
                    <a:lnTo>
                      <a:pt x="157" y="117"/>
                    </a:lnTo>
                    <a:lnTo>
                      <a:pt x="157" y="116"/>
                    </a:lnTo>
                    <a:lnTo>
                      <a:pt x="157" y="114"/>
                    </a:lnTo>
                    <a:lnTo>
                      <a:pt x="157" y="113"/>
                    </a:lnTo>
                    <a:lnTo>
                      <a:pt x="157" y="111"/>
                    </a:lnTo>
                    <a:lnTo>
                      <a:pt x="157" y="109"/>
                    </a:lnTo>
                    <a:lnTo>
                      <a:pt x="157" y="108"/>
                    </a:lnTo>
                    <a:lnTo>
                      <a:pt x="157" y="106"/>
                    </a:lnTo>
                    <a:lnTo>
                      <a:pt x="157" y="105"/>
                    </a:lnTo>
                    <a:lnTo>
                      <a:pt x="157" y="103"/>
                    </a:lnTo>
                    <a:lnTo>
                      <a:pt x="157" y="102"/>
                    </a:lnTo>
                    <a:lnTo>
                      <a:pt x="155" y="102"/>
                    </a:lnTo>
                    <a:lnTo>
                      <a:pt x="155" y="100"/>
                    </a:lnTo>
                    <a:lnTo>
                      <a:pt x="155" y="98"/>
                    </a:lnTo>
                    <a:lnTo>
                      <a:pt x="155" y="97"/>
                    </a:lnTo>
                    <a:lnTo>
                      <a:pt x="155" y="95"/>
                    </a:lnTo>
                    <a:lnTo>
                      <a:pt x="155" y="94"/>
                    </a:lnTo>
                    <a:lnTo>
                      <a:pt x="155" y="92"/>
                    </a:lnTo>
                    <a:lnTo>
                      <a:pt x="155" y="90"/>
                    </a:lnTo>
                    <a:lnTo>
                      <a:pt x="155" y="89"/>
                    </a:lnTo>
                    <a:lnTo>
                      <a:pt x="157" y="89"/>
                    </a:lnTo>
                    <a:lnTo>
                      <a:pt x="157" y="87"/>
                    </a:lnTo>
                    <a:lnTo>
                      <a:pt x="157" y="86"/>
                    </a:lnTo>
                    <a:lnTo>
                      <a:pt x="157" y="84"/>
                    </a:lnTo>
                    <a:lnTo>
                      <a:pt x="157" y="82"/>
                    </a:lnTo>
                    <a:lnTo>
                      <a:pt x="157" y="81"/>
                    </a:lnTo>
                    <a:lnTo>
                      <a:pt x="157" y="79"/>
                    </a:lnTo>
                    <a:lnTo>
                      <a:pt x="157" y="78"/>
                    </a:lnTo>
                    <a:lnTo>
                      <a:pt x="157" y="76"/>
                    </a:lnTo>
                    <a:lnTo>
                      <a:pt x="157" y="75"/>
                    </a:lnTo>
                    <a:lnTo>
                      <a:pt x="158" y="75"/>
                    </a:lnTo>
                    <a:lnTo>
                      <a:pt x="158" y="73"/>
                    </a:lnTo>
                    <a:lnTo>
                      <a:pt x="158" y="71"/>
                    </a:lnTo>
                    <a:lnTo>
                      <a:pt x="158" y="70"/>
                    </a:lnTo>
                    <a:lnTo>
                      <a:pt x="158" y="68"/>
                    </a:lnTo>
                    <a:lnTo>
                      <a:pt x="158" y="67"/>
                    </a:lnTo>
                    <a:lnTo>
                      <a:pt x="158" y="65"/>
                    </a:lnTo>
                    <a:lnTo>
                      <a:pt x="158" y="63"/>
                    </a:lnTo>
                    <a:lnTo>
                      <a:pt x="158" y="62"/>
                    </a:lnTo>
                    <a:lnTo>
                      <a:pt x="160" y="62"/>
                    </a:lnTo>
                    <a:lnTo>
                      <a:pt x="160" y="60"/>
                    </a:lnTo>
                    <a:lnTo>
                      <a:pt x="160" y="59"/>
                    </a:lnTo>
                    <a:lnTo>
                      <a:pt x="160" y="57"/>
                    </a:lnTo>
                    <a:lnTo>
                      <a:pt x="160" y="56"/>
                    </a:lnTo>
                    <a:lnTo>
                      <a:pt x="160" y="54"/>
                    </a:lnTo>
                    <a:lnTo>
                      <a:pt x="160" y="52"/>
                    </a:lnTo>
                    <a:lnTo>
                      <a:pt x="160" y="51"/>
                    </a:lnTo>
                    <a:lnTo>
                      <a:pt x="160" y="49"/>
                    </a:lnTo>
                    <a:lnTo>
                      <a:pt x="161" y="49"/>
                    </a:lnTo>
                    <a:lnTo>
                      <a:pt x="161" y="48"/>
                    </a:lnTo>
                    <a:lnTo>
                      <a:pt x="161" y="46"/>
                    </a:lnTo>
                    <a:lnTo>
                      <a:pt x="161" y="44"/>
                    </a:lnTo>
                    <a:lnTo>
                      <a:pt x="161" y="43"/>
                    </a:lnTo>
                    <a:lnTo>
                      <a:pt x="161" y="41"/>
                    </a:lnTo>
                    <a:lnTo>
                      <a:pt x="161" y="40"/>
                    </a:lnTo>
                    <a:lnTo>
                      <a:pt x="161" y="38"/>
                    </a:lnTo>
                    <a:lnTo>
                      <a:pt x="163" y="37"/>
                    </a:lnTo>
                    <a:lnTo>
                      <a:pt x="163" y="35"/>
                    </a:lnTo>
                    <a:lnTo>
                      <a:pt x="163" y="33"/>
                    </a:lnTo>
                    <a:lnTo>
                      <a:pt x="163" y="32"/>
                    </a:lnTo>
                    <a:lnTo>
                      <a:pt x="163" y="30"/>
                    </a:lnTo>
                    <a:lnTo>
                      <a:pt x="163" y="29"/>
                    </a:lnTo>
                    <a:lnTo>
                      <a:pt x="163" y="27"/>
                    </a:lnTo>
                    <a:lnTo>
                      <a:pt x="163" y="25"/>
                    </a:lnTo>
                    <a:lnTo>
                      <a:pt x="163" y="24"/>
                    </a:lnTo>
                    <a:lnTo>
                      <a:pt x="163" y="22"/>
                    </a:lnTo>
                    <a:lnTo>
                      <a:pt x="163" y="21"/>
                    </a:lnTo>
                    <a:lnTo>
                      <a:pt x="165" y="21"/>
                    </a:lnTo>
                    <a:lnTo>
                      <a:pt x="165" y="19"/>
                    </a:lnTo>
                    <a:lnTo>
                      <a:pt x="165" y="18"/>
                    </a:lnTo>
                    <a:lnTo>
                      <a:pt x="165" y="16"/>
                    </a:lnTo>
                    <a:lnTo>
                      <a:pt x="165" y="14"/>
                    </a:lnTo>
                    <a:lnTo>
                      <a:pt x="165" y="13"/>
                    </a:lnTo>
                    <a:lnTo>
                      <a:pt x="165" y="11"/>
                    </a:lnTo>
                    <a:lnTo>
                      <a:pt x="165" y="10"/>
                    </a:lnTo>
                    <a:lnTo>
                      <a:pt x="165" y="8"/>
                    </a:lnTo>
                    <a:lnTo>
                      <a:pt x="165" y="6"/>
                    </a:lnTo>
                    <a:lnTo>
                      <a:pt x="165" y="5"/>
                    </a:lnTo>
                    <a:lnTo>
                      <a:pt x="165" y="3"/>
                    </a:lnTo>
                    <a:lnTo>
                      <a:pt x="165" y="2"/>
                    </a:lnTo>
                    <a:lnTo>
                      <a:pt x="165" y="0"/>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26" name="Freeform 6"/>
              <p:cNvSpPr>
                <a:spLocks/>
              </p:cNvSpPr>
              <p:nvPr/>
            </p:nvSpPr>
            <p:spPr bwMode="auto">
              <a:xfrm>
                <a:off x="3794" y="765"/>
                <a:ext cx="722" cy="811"/>
              </a:xfrm>
              <a:custGeom>
                <a:avLst/>
                <a:gdLst>
                  <a:gd name="T0" fmla="*/ 54 w 722"/>
                  <a:gd name="T1" fmla="*/ 25 h 811"/>
                  <a:gd name="T2" fmla="*/ 84 w 722"/>
                  <a:gd name="T3" fmla="*/ 43 h 811"/>
                  <a:gd name="T4" fmla="*/ 117 w 722"/>
                  <a:gd name="T5" fmla="*/ 62 h 811"/>
                  <a:gd name="T6" fmla="*/ 166 w 722"/>
                  <a:gd name="T7" fmla="*/ 90 h 811"/>
                  <a:gd name="T8" fmla="*/ 187 w 722"/>
                  <a:gd name="T9" fmla="*/ 100 h 811"/>
                  <a:gd name="T10" fmla="*/ 240 w 722"/>
                  <a:gd name="T11" fmla="*/ 130 h 811"/>
                  <a:gd name="T12" fmla="*/ 294 w 722"/>
                  <a:gd name="T13" fmla="*/ 162 h 811"/>
                  <a:gd name="T14" fmla="*/ 326 w 722"/>
                  <a:gd name="T15" fmla="*/ 179 h 811"/>
                  <a:gd name="T16" fmla="*/ 381 w 722"/>
                  <a:gd name="T17" fmla="*/ 211 h 811"/>
                  <a:gd name="T18" fmla="*/ 421 w 722"/>
                  <a:gd name="T19" fmla="*/ 233 h 811"/>
                  <a:gd name="T20" fmla="*/ 459 w 722"/>
                  <a:gd name="T21" fmla="*/ 255 h 811"/>
                  <a:gd name="T22" fmla="*/ 497 w 722"/>
                  <a:gd name="T23" fmla="*/ 276 h 811"/>
                  <a:gd name="T24" fmla="*/ 573 w 722"/>
                  <a:gd name="T25" fmla="*/ 319 h 811"/>
                  <a:gd name="T26" fmla="*/ 619 w 722"/>
                  <a:gd name="T27" fmla="*/ 345 h 811"/>
                  <a:gd name="T28" fmla="*/ 651 w 722"/>
                  <a:gd name="T29" fmla="*/ 361 h 811"/>
                  <a:gd name="T30" fmla="*/ 703 w 722"/>
                  <a:gd name="T31" fmla="*/ 390 h 811"/>
                  <a:gd name="T32" fmla="*/ 706 w 722"/>
                  <a:gd name="T33" fmla="*/ 402 h 811"/>
                  <a:gd name="T34" fmla="*/ 684 w 722"/>
                  <a:gd name="T35" fmla="*/ 395 h 811"/>
                  <a:gd name="T36" fmla="*/ 660 w 722"/>
                  <a:gd name="T37" fmla="*/ 383 h 811"/>
                  <a:gd name="T38" fmla="*/ 636 w 722"/>
                  <a:gd name="T39" fmla="*/ 382 h 811"/>
                  <a:gd name="T40" fmla="*/ 614 w 722"/>
                  <a:gd name="T41" fmla="*/ 382 h 811"/>
                  <a:gd name="T42" fmla="*/ 595 w 722"/>
                  <a:gd name="T43" fmla="*/ 395 h 811"/>
                  <a:gd name="T44" fmla="*/ 579 w 722"/>
                  <a:gd name="T45" fmla="*/ 407 h 811"/>
                  <a:gd name="T46" fmla="*/ 560 w 722"/>
                  <a:gd name="T47" fmla="*/ 420 h 811"/>
                  <a:gd name="T48" fmla="*/ 537 w 722"/>
                  <a:gd name="T49" fmla="*/ 426 h 811"/>
                  <a:gd name="T50" fmla="*/ 532 w 722"/>
                  <a:gd name="T51" fmla="*/ 445 h 811"/>
                  <a:gd name="T52" fmla="*/ 535 w 722"/>
                  <a:gd name="T53" fmla="*/ 469 h 811"/>
                  <a:gd name="T54" fmla="*/ 546 w 722"/>
                  <a:gd name="T55" fmla="*/ 486 h 811"/>
                  <a:gd name="T56" fmla="*/ 567 w 722"/>
                  <a:gd name="T57" fmla="*/ 499 h 811"/>
                  <a:gd name="T58" fmla="*/ 584 w 722"/>
                  <a:gd name="T59" fmla="*/ 513 h 811"/>
                  <a:gd name="T60" fmla="*/ 587 w 722"/>
                  <a:gd name="T61" fmla="*/ 539 h 811"/>
                  <a:gd name="T62" fmla="*/ 589 w 722"/>
                  <a:gd name="T63" fmla="*/ 562 h 811"/>
                  <a:gd name="T64" fmla="*/ 586 w 722"/>
                  <a:gd name="T65" fmla="*/ 588 h 811"/>
                  <a:gd name="T66" fmla="*/ 565 w 722"/>
                  <a:gd name="T67" fmla="*/ 599 h 811"/>
                  <a:gd name="T68" fmla="*/ 554 w 722"/>
                  <a:gd name="T69" fmla="*/ 613 h 811"/>
                  <a:gd name="T70" fmla="*/ 529 w 722"/>
                  <a:gd name="T71" fmla="*/ 613 h 811"/>
                  <a:gd name="T72" fmla="*/ 514 w 722"/>
                  <a:gd name="T73" fmla="*/ 632 h 811"/>
                  <a:gd name="T74" fmla="*/ 502 w 722"/>
                  <a:gd name="T75" fmla="*/ 632 h 811"/>
                  <a:gd name="T76" fmla="*/ 484 w 722"/>
                  <a:gd name="T77" fmla="*/ 619 h 811"/>
                  <a:gd name="T78" fmla="*/ 464 w 722"/>
                  <a:gd name="T79" fmla="*/ 619 h 811"/>
                  <a:gd name="T80" fmla="*/ 450 w 722"/>
                  <a:gd name="T81" fmla="*/ 634 h 811"/>
                  <a:gd name="T82" fmla="*/ 432 w 722"/>
                  <a:gd name="T83" fmla="*/ 642 h 811"/>
                  <a:gd name="T84" fmla="*/ 421 w 722"/>
                  <a:gd name="T85" fmla="*/ 659 h 811"/>
                  <a:gd name="T86" fmla="*/ 407 w 722"/>
                  <a:gd name="T87" fmla="*/ 686 h 811"/>
                  <a:gd name="T88" fmla="*/ 408 w 722"/>
                  <a:gd name="T89" fmla="*/ 711 h 811"/>
                  <a:gd name="T90" fmla="*/ 413 w 722"/>
                  <a:gd name="T91" fmla="*/ 735 h 811"/>
                  <a:gd name="T92" fmla="*/ 415 w 722"/>
                  <a:gd name="T93" fmla="*/ 757 h 811"/>
                  <a:gd name="T94" fmla="*/ 415 w 722"/>
                  <a:gd name="T95" fmla="*/ 781 h 811"/>
                  <a:gd name="T96" fmla="*/ 388 w 722"/>
                  <a:gd name="T97" fmla="*/ 781 h 811"/>
                  <a:gd name="T98" fmla="*/ 364 w 722"/>
                  <a:gd name="T99" fmla="*/ 784 h 811"/>
                  <a:gd name="T100" fmla="*/ 321 w 722"/>
                  <a:gd name="T101" fmla="*/ 786 h 811"/>
                  <a:gd name="T102" fmla="*/ 290 w 722"/>
                  <a:gd name="T103" fmla="*/ 738 h 811"/>
                  <a:gd name="T104" fmla="*/ 264 w 722"/>
                  <a:gd name="T105" fmla="*/ 700 h 811"/>
                  <a:gd name="T106" fmla="*/ 247 w 722"/>
                  <a:gd name="T107" fmla="*/ 677 h 811"/>
                  <a:gd name="T108" fmla="*/ 236 w 722"/>
                  <a:gd name="T109" fmla="*/ 656 h 811"/>
                  <a:gd name="T110" fmla="*/ 226 w 722"/>
                  <a:gd name="T111" fmla="*/ 638 h 811"/>
                  <a:gd name="T112" fmla="*/ 207 w 722"/>
                  <a:gd name="T113" fmla="*/ 638 h 811"/>
                  <a:gd name="T114" fmla="*/ 191 w 722"/>
                  <a:gd name="T115" fmla="*/ 658 h 811"/>
                  <a:gd name="T116" fmla="*/ 169 w 722"/>
                  <a:gd name="T117" fmla="*/ 683 h 811"/>
                  <a:gd name="T118" fmla="*/ 158 w 722"/>
                  <a:gd name="T119" fmla="*/ 635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2" h="811">
                    <a:moveTo>
                      <a:pt x="0" y="0"/>
                    </a:moveTo>
                    <a:lnTo>
                      <a:pt x="22" y="14"/>
                    </a:lnTo>
                    <a:lnTo>
                      <a:pt x="22" y="8"/>
                    </a:lnTo>
                    <a:lnTo>
                      <a:pt x="23" y="8"/>
                    </a:lnTo>
                    <a:lnTo>
                      <a:pt x="23" y="10"/>
                    </a:lnTo>
                    <a:lnTo>
                      <a:pt x="25" y="10"/>
                    </a:lnTo>
                    <a:lnTo>
                      <a:pt x="27" y="11"/>
                    </a:lnTo>
                    <a:lnTo>
                      <a:pt x="30" y="13"/>
                    </a:lnTo>
                    <a:lnTo>
                      <a:pt x="31" y="13"/>
                    </a:lnTo>
                    <a:lnTo>
                      <a:pt x="31" y="14"/>
                    </a:lnTo>
                    <a:lnTo>
                      <a:pt x="41" y="19"/>
                    </a:lnTo>
                    <a:lnTo>
                      <a:pt x="42" y="19"/>
                    </a:lnTo>
                    <a:lnTo>
                      <a:pt x="46" y="22"/>
                    </a:lnTo>
                    <a:lnTo>
                      <a:pt x="49" y="24"/>
                    </a:lnTo>
                    <a:lnTo>
                      <a:pt x="50" y="25"/>
                    </a:lnTo>
                    <a:lnTo>
                      <a:pt x="52" y="25"/>
                    </a:lnTo>
                    <a:lnTo>
                      <a:pt x="54" y="25"/>
                    </a:lnTo>
                    <a:lnTo>
                      <a:pt x="54" y="27"/>
                    </a:lnTo>
                    <a:lnTo>
                      <a:pt x="55" y="27"/>
                    </a:lnTo>
                    <a:lnTo>
                      <a:pt x="58" y="29"/>
                    </a:lnTo>
                    <a:lnTo>
                      <a:pt x="61" y="30"/>
                    </a:lnTo>
                    <a:lnTo>
                      <a:pt x="63" y="32"/>
                    </a:lnTo>
                    <a:lnTo>
                      <a:pt x="65" y="32"/>
                    </a:lnTo>
                    <a:lnTo>
                      <a:pt x="69" y="35"/>
                    </a:lnTo>
                    <a:lnTo>
                      <a:pt x="71" y="35"/>
                    </a:lnTo>
                    <a:lnTo>
                      <a:pt x="71" y="37"/>
                    </a:lnTo>
                    <a:lnTo>
                      <a:pt x="73" y="37"/>
                    </a:lnTo>
                    <a:lnTo>
                      <a:pt x="76" y="38"/>
                    </a:lnTo>
                    <a:lnTo>
                      <a:pt x="79" y="40"/>
                    </a:lnTo>
                    <a:lnTo>
                      <a:pt x="79" y="41"/>
                    </a:lnTo>
                    <a:lnTo>
                      <a:pt x="80" y="41"/>
                    </a:lnTo>
                    <a:lnTo>
                      <a:pt x="82" y="41"/>
                    </a:lnTo>
                    <a:lnTo>
                      <a:pt x="82" y="43"/>
                    </a:lnTo>
                    <a:lnTo>
                      <a:pt x="84" y="43"/>
                    </a:lnTo>
                    <a:lnTo>
                      <a:pt x="85" y="44"/>
                    </a:lnTo>
                    <a:lnTo>
                      <a:pt x="87" y="44"/>
                    </a:lnTo>
                    <a:lnTo>
                      <a:pt x="88" y="46"/>
                    </a:lnTo>
                    <a:lnTo>
                      <a:pt x="90" y="46"/>
                    </a:lnTo>
                    <a:lnTo>
                      <a:pt x="90" y="48"/>
                    </a:lnTo>
                    <a:lnTo>
                      <a:pt x="92" y="48"/>
                    </a:lnTo>
                    <a:lnTo>
                      <a:pt x="93" y="48"/>
                    </a:lnTo>
                    <a:lnTo>
                      <a:pt x="93" y="49"/>
                    </a:lnTo>
                    <a:lnTo>
                      <a:pt x="95" y="49"/>
                    </a:lnTo>
                    <a:lnTo>
                      <a:pt x="99" y="52"/>
                    </a:lnTo>
                    <a:lnTo>
                      <a:pt x="103" y="54"/>
                    </a:lnTo>
                    <a:lnTo>
                      <a:pt x="106" y="56"/>
                    </a:lnTo>
                    <a:lnTo>
                      <a:pt x="107" y="56"/>
                    </a:lnTo>
                    <a:lnTo>
                      <a:pt x="107" y="57"/>
                    </a:lnTo>
                    <a:lnTo>
                      <a:pt x="109" y="57"/>
                    </a:lnTo>
                    <a:lnTo>
                      <a:pt x="115" y="60"/>
                    </a:lnTo>
                    <a:lnTo>
                      <a:pt x="117" y="62"/>
                    </a:lnTo>
                    <a:lnTo>
                      <a:pt x="118" y="62"/>
                    </a:lnTo>
                    <a:lnTo>
                      <a:pt x="120" y="63"/>
                    </a:lnTo>
                    <a:lnTo>
                      <a:pt x="126" y="67"/>
                    </a:lnTo>
                    <a:lnTo>
                      <a:pt x="130" y="68"/>
                    </a:lnTo>
                    <a:lnTo>
                      <a:pt x="131" y="70"/>
                    </a:lnTo>
                    <a:lnTo>
                      <a:pt x="133" y="70"/>
                    </a:lnTo>
                    <a:lnTo>
                      <a:pt x="152" y="81"/>
                    </a:lnTo>
                    <a:lnTo>
                      <a:pt x="153" y="81"/>
                    </a:lnTo>
                    <a:lnTo>
                      <a:pt x="153" y="82"/>
                    </a:lnTo>
                    <a:lnTo>
                      <a:pt x="155" y="82"/>
                    </a:lnTo>
                    <a:lnTo>
                      <a:pt x="156" y="82"/>
                    </a:lnTo>
                    <a:lnTo>
                      <a:pt x="158" y="84"/>
                    </a:lnTo>
                    <a:lnTo>
                      <a:pt x="160" y="86"/>
                    </a:lnTo>
                    <a:lnTo>
                      <a:pt x="161" y="87"/>
                    </a:lnTo>
                    <a:lnTo>
                      <a:pt x="164" y="89"/>
                    </a:lnTo>
                    <a:lnTo>
                      <a:pt x="166" y="89"/>
                    </a:lnTo>
                    <a:lnTo>
                      <a:pt x="166" y="90"/>
                    </a:lnTo>
                    <a:lnTo>
                      <a:pt x="168" y="90"/>
                    </a:lnTo>
                    <a:lnTo>
                      <a:pt x="169" y="90"/>
                    </a:lnTo>
                    <a:lnTo>
                      <a:pt x="169" y="92"/>
                    </a:lnTo>
                    <a:lnTo>
                      <a:pt x="171" y="92"/>
                    </a:lnTo>
                    <a:lnTo>
                      <a:pt x="172" y="92"/>
                    </a:lnTo>
                    <a:lnTo>
                      <a:pt x="172" y="94"/>
                    </a:lnTo>
                    <a:lnTo>
                      <a:pt x="174" y="94"/>
                    </a:lnTo>
                    <a:lnTo>
                      <a:pt x="175" y="94"/>
                    </a:lnTo>
                    <a:lnTo>
                      <a:pt x="175" y="95"/>
                    </a:lnTo>
                    <a:lnTo>
                      <a:pt x="177" y="95"/>
                    </a:lnTo>
                    <a:lnTo>
                      <a:pt x="179" y="97"/>
                    </a:lnTo>
                    <a:lnTo>
                      <a:pt x="180" y="97"/>
                    </a:lnTo>
                    <a:lnTo>
                      <a:pt x="182" y="98"/>
                    </a:lnTo>
                    <a:lnTo>
                      <a:pt x="183" y="98"/>
                    </a:lnTo>
                    <a:lnTo>
                      <a:pt x="183" y="100"/>
                    </a:lnTo>
                    <a:lnTo>
                      <a:pt x="185" y="100"/>
                    </a:lnTo>
                    <a:lnTo>
                      <a:pt x="187" y="100"/>
                    </a:lnTo>
                    <a:lnTo>
                      <a:pt x="188" y="102"/>
                    </a:lnTo>
                    <a:lnTo>
                      <a:pt x="190" y="102"/>
                    </a:lnTo>
                    <a:lnTo>
                      <a:pt x="190" y="103"/>
                    </a:lnTo>
                    <a:lnTo>
                      <a:pt x="191" y="103"/>
                    </a:lnTo>
                    <a:lnTo>
                      <a:pt x="196" y="105"/>
                    </a:lnTo>
                    <a:lnTo>
                      <a:pt x="201" y="108"/>
                    </a:lnTo>
                    <a:lnTo>
                      <a:pt x="202" y="109"/>
                    </a:lnTo>
                    <a:lnTo>
                      <a:pt x="204" y="111"/>
                    </a:lnTo>
                    <a:lnTo>
                      <a:pt x="210" y="114"/>
                    </a:lnTo>
                    <a:lnTo>
                      <a:pt x="215" y="116"/>
                    </a:lnTo>
                    <a:lnTo>
                      <a:pt x="215" y="117"/>
                    </a:lnTo>
                    <a:lnTo>
                      <a:pt x="217" y="117"/>
                    </a:lnTo>
                    <a:lnTo>
                      <a:pt x="228" y="124"/>
                    </a:lnTo>
                    <a:lnTo>
                      <a:pt x="237" y="128"/>
                    </a:lnTo>
                    <a:lnTo>
                      <a:pt x="237" y="130"/>
                    </a:lnTo>
                    <a:lnTo>
                      <a:pt x="239" y="130"/>
                    </a:lnTo>
                    <a:lnTo>
                      <a:pt x="240" y="130"/>
                    </a:lnTo>
                    <a:lnTo>
                      <a:pt x="240" y="132"/>
                    </a:lnTo>
                    <a:lnTo>
                      <a:pt x="242" y="132"/>
                    </a:lnTo>
                    <a:lnTo>
                      <a:pt x="244" y="133"/>
                    </a:lnTo>
                    <a:lnTo>
                      <a:pt x="242" y="133"/>
                    </a:lnTo>
                    <a:lnTo>
                      <a:pt x="242" y="136"/>
                    </a:lnTo>
                    <a:lnTo>
                      <a:pt x="242" y="140"/>
                    </a:lnTo>
                    <a:lnTo>
                      <a:pt x="242" y="144"/>
                    </a:lnTo>
                    <a:lnTo>
                      <a:pt x="250" y="147"/>
                    </a:lnTo>
                    <a:lnTo>
                      <a:pt x="277" y="162"/>
                    </a:lnTo>
                    <a:lnTo>
                      <a:pt x="278" y="152"/>
                    </a:lnTo>
                    <a:lnTo>
                      <a:pt x="283" y="155"/>
                    </a:lnTo>
                    <a:lnTo>
                      <a:pt x="285" y="157"/>
                    </a:lnTo>
                    <a:lnTo>
                      <a:pt x="286" y="157"/>
                    </a:lnTo>
                    <a:lnTo>
                      <a:pt x="288" y="159"/>
                    </a:lnTo>
                    <a:lnTo>
                      <a:pt x="291" y="160"/>
                    </a:lnTo>
                    <a:lnTo>
                      <a:pt x="293" y="162"/>
                    </a:lnTo>
                    <a:lnTo>
                      <a:pt x="294" y="162"/>
                    </a:lnTo>
                    <a:lnTo>
                      <a:pt x="296" y="162"/>
                    </a:lnTo>
                    <a:lnTo>
                      <a:pt x="296" y="163"/>
                    </a:lnTo>
                    <a:lnTo>
                      <a:pt x="297" y="163"/>
                    </a:lnTo>
                    <a:lnTo>
                      <a:pt x="299" y="165"/>
                    </a:lnTo>
                    <a:lnTo>
                      <a:pt x="301" y="165"/>
                    </a:lnTo>
                    <a:lnTo>
                      <a:pt x="302" y="166"/>
                    </a:lnTo>
                    <a:lnTo>
                      <a:pt x="304" y="166"/>
                    </a:lnTo>
                    <a:lnTo>
                      <a:pt x="305" y="168"/>
                    </a:lnTo>
                    <a:lnTo>
                      <a:pt x="307" y="168"/>
                    </a:lnTo>
                    <a:lnTo>
                      <a:pt x="307" y="170"/>
                    </a:lnTo>
                    <a:lnTo>
                      <a:pt x="309" y="170"/>
                    </a:lnTo>
                    <a:lnTo>
                      <a:pt x="320" y="176"/>
                    </a:lnTo>
                    <a:lnTo>
                      <a:pt x="321" y="178"/>
                    </a:lnTo>
                    <a:lnTo>
                      <a:pt x="323" y="178"/>
                    </a:lnTo>
                    <a:lnTo>
                      <a:pt x="324" y="178"/>
                    </a:lnTo>
                    <a:lnTo>
                      <a:pt x="324" y="179"/>
                    </a:lnTo>
                    <a:lnTo>
                      <a:pt x="326" y="179"/>
                    </a:lnTo>
                    <a:lnTo>
                      <a:pt x="328" y="181"/>
                    </a:lnTo>
                    <a:lnTo>
                      <a:pt x="331" y="182"/>
                    </a:lnTo>
                    <a:lnTo>
                      <a:pt x="332" y="184"/>
                    </a:lnTo>
                    <a:lnTo>
                      <a:pt x="334" y="184"/>
                    </a:lnTo>
                    <a:lnTo>
                      <a:pt x="334" y="185"/>
                    </a:lnTo>
                    <a:lnTo>
                      <a:pt x="339" y="187"/>
                    </a:lnTo>
                    <a:lnTo>
                      <a:pt x="342" y="189"/>
                    </a:lnTo>
                    <a:lnTo>
                      <a:pt x="343" y="190"/>
                    </a:lnTo>
                    <a:lnTo>
                      <a:pt x="345" y="190"/>
                    </a:lnTo>
                    <a:lnTo>
                      <a:pt x="356" y="197"/>
                    </a:lnTo>
                    <a:lnTo>
                      <a:pt x="361" y="200"/>
                    </a:lnTo>
                    <a:lnTo>
                      <a:pt x="366" y="203"/>
                    </a:lnTo>
                    <a:lnTo>
                      <a:pt x="367" y="203"/>
                    </a:lnTo>
                    <a:lnTo>
                      <a:pt x="369" y="204"/>
                    </a:lnTo>
                    <a:lnTo>
                      <a:pt x="372" y="206"/>
                    </a:lnTo>
                    <a:lnTo>
                      <a:pt x="377" y="208"/>
                    </a:lnTo>
                    <a:lnTo>
                      <a:pt x="381" y="211"/>
                    </a:lnTo>
                    <a:lnTo>
                      <a:pt x="383" y="212"/>
                    </a:lnTo>
                    <a:lnTo>
                      <a:pt x="385" y="212"/>
                    </a:lnTo>
                    <a:lnTo>
                      <a:pt x="386" y="214"/>
                    </a:lnTo>
                    <a:lnTo>
                      <a:pt x="389" y="216"/>
                    </a:lnTo>
                    <a:lnTo>
                      <a:pt x="391" y="216"/>
                    </a:lnTo>
                    <a:lnTo>
                      <a:pt x="394" y="217"/>
                    </a:lnTo>
                    <a:lnTo>
                      <a:pt x="394" y="219"/>
                    </a:lnTo>
                    <a:lnTo>
                      <a:pt x="396" y="219"/>
                    </a:lnTo>
                    <a:lnTo>
                      <a:pt x="399" y="220"/>
                    </a:lnTo>
                    <a:lnTo>
                      <a:pt x="400" y="222"/>
                    </a:lnTo>
                    <a:lnTo>
                      <a:pt x="407" y="225"/>
                    </a:lnTo>
                    <a:lnTo>
                      <a:pt x="408" y="225"/>
                    </a:lnTo>
                    <a:lnTo>
                      <a:pt x="408" y="227"/>
                    </a:lnTo>
                    <a:lnTo>
                      <a:pt x="416" y="231"/>
                    </a:lnTo>
                    <a:lnTo>
                      <a:pt x="418" y="231"/>
                    </a:lnTo>
                    <a:lnTo>
                      <a:pt x="419" y="233"/>
                    </a:lnTo>
                    <a:lnTo>
                      <a:pt x="421" y="233"/>
                    </a:lnTo>
                    <a:lnTo>
                      <a:pt x="424" y="235"/>
                    </a:lnTo>
                    <a:lnTo>
                      <a:pt x="426" y="236"/>
                    </a:lnTo>
                    <a:lnTo>
                      <a:pt x="427" y="238"/>
                    </a:lnTo>
                    <a:lnTo>
                      <a:pt x="429" y="238"/>
                    </a:lnTo>
                    <a:lnTo>
                      <a:pt x="432" y="239"/>
                    </a:lnTo>
                    <a:lnTo>
                      <a:pt x="434" y="241"/>
                    </a:lnTo>
                    <a:lnTo>
                      <a:pt x="435" y="241"/>
                    </a:lnTo>
                    <a:lnTo>
                      <a:pt x="435" y="242"/>
                    </a:lnTo>
                    <a:lnTo>
                      <a:pt x="437" y="242"/>
                    </a:lnTo>
                    <a:lnTo>
                      <a:pt x="438" y="242"/>
                    </a:lnTo>
                    <a:lnTo>
                      <a:pt x="440" y="244"/>
                    </a:lnTo>
                    <a:lnTo>
                      <a:pt x="445" y="246"/>
                    </a:lnTo>
                    <a:lnTo>
                      <a:pt x="445" y="247"/>
                    </a:lnTo>
                    <a:lnTo>
                      <a:pt x="446" y="247"/>
                    </a:lnTo>
                    <a:lnTo>
                      <a:pt x="448" y="247"/>
                    </a:lnTo>
                    <a:lnTo>
                      <a:pt x="450" y="249"/>
                    </a:lnTo>
                    <a:lnTo>
                      <a:pt x="459" y="255"/>
                    </a:lnTo>
                    <a:lnTo>
                      <a:pt x="461" y="255"/>
                    </a:lnTo>
                    <a:lnTo>
                      <a:pt x="462" y="257"/>
                    </a:lnTo>
                    <a:lnTo>
                      <a:pt x="464" y="257"/>
                    </a:lnTo>
                    <a:lnTo>
                      <a:pt x="464" y="258"/>
                    </a:lnTo>
                    <a:lnTo>
                      <a:pt x="465" y="258"/>
                    </a:lnTo>
                    <a:lnTo>
                      <a:pt x="467" y="260"/>
                    </a:lnTo>
                    <a:lnTo>
                      <a:pt x="475" y="263"/>
                    </a:lnTo>
                    <a:lnTo>
                      <a:pt x="476" y="265"/>
                    </a:lnTo>
                    <a:lnTo>
                      <a:pt x="478" y="266"/>
                    </a:lnTo>
                    <a:lnTo>
                      <a:pt x="480" y="266"/>
                    </a:lnTo>
                    <a:lnTo>
                      <a:pt x="481" y="266"/>
                    </a:lnTo>
                    <a:lnTo>
                      <a:pt x="481" y="268"/>
                    </a:lnTo>
                    <a:lnTo>
                      <a:pt x="488" y="271"/>
                    </a:lnTo>
                    <a:lnTo>
                      <a:pt x="489" y="271"/>
                    </a:lnTo>
                    <a:lnTo>
                      <a:pt x="494" y="274"/>
                    </a:lnTo>
                    <a:lnTo>
                      <a:pt x="495" y="276"/>
                    </a:lnTo>
                    <a:lnTo>
                      <a:pt x="497" y="276"/>
                    </a:lnTo>
                    <a:lnTo>
                      <a:pt x="499" y="277"/>
                    </a:lnTo>
                    <a:lnTo>
                      <a:pt x="500" y="279"/>
                    </a:lnTo>
                    <a:lnTo>
                      <a:pt x="503" y="279"/>
                    </a:lnTo>
                    <a:lnTo>
                      <a:pt x="503" y="281"/>
                    </a:lnTo>
                    <a:lnTo>
                      <a:pt x="527" y="293"/>
                    </a:lnTo>
                    <a:lnTo>
                      <a:pt x="535" y="298"/>
                    </a:lnTo>
                    <a:lnTo>
                      <a:pt x="537" y="298"/>
                    </a:lnTo>
                    <a:lnTo>
                      <a:pt x="537" y="300"/>
                    </a:lnTo>
                    <a:lnTo>
                      <a:pt x="538" y="300"/>
                    </a:lnTo>
                    <a:lnTo>
                      <a:pt x="540" y="301"/>
                    </a:lnTo>
                    <a:lnTo>
                      <a:pt x="548" y="304"/>
                    </a:lnTo>
                    <a:lnTo>
                      <a:pt x="567" y="315"/>
                    </a:lnTo>
                    <a:lnTo>
                      <a:pt x="568" y="317"/>
                    </a:lnTo>
                    <a:lnTo>
                      <a:pt x="570" y="317"/>
                    </a:lnTo>
                    <a:lnTo>
                      <a:pt x="570" y="319"/>
                    </a:lnTo>
                    <a:lnTo>
                      <a:pt x="571" y="319"/>
                    </a:lnTo>
                    <a:lnTo>
                      <a:pt x="573" y="319"/>
                    </a:lnTo>
                    <a:lnTo>
                      <a:pt x="575" y="320"/>
                    </a:lnTo>
                    <a:lnTo>
                      <a:pt x="576" y="320"/>
                    </a:lnTo>
                    <a:lnTo>
                      <a:pt x="578" y="322"/>
                    </a:lnTo>
                    <a:lnTo>
                      <a:pt x="579" y="322"/>
                    </a:lnTo>
                    <a:lnTo>
                      <a:pt x="581" y="323"/>
                    </a:lnTo>
                    <a:lnTo>
                      <a:pt x="584" y="325"/>
                    </a:lnTo>
                    <a:lnTo>
                      <a:pt x="587" y="326"/>
                    </a:lnTo>
                    <a:lnTo>
                      <a:pt x="589" y="328"/>
                    </a:lnTo>
                    <a:lnTo>
                      <a:pt x="603" y="336"/>
                    </a:lnTo>
                    <a:lnTo>
                      <a:pt x="606" y="338"/>
                    </a:lnTo>
                    <a:lnTo>
                      <a:pt x="608" y="338"/>
                    </a:lnTo>
                    <a:lnTo>
                      <a:pt x="610" y="339"/>
                    </a:lnTo>
                    <a:lnTo>
                      <a:pt x="611" y="341"/>
                    </a:lnTo>
                    <a:lnTo>
                      <a:pt x="613" y="341"/>
                    </a:lnTo>
                    <a:lnTo>
                      <a:pt x="617" y="344"/>
                    </a:lnTo>
                    <a:lnTo>
                      <a:pt x="619" y="344"/>
                    </a:lnTo>
                    <a:lnTo>
                      <a:pt x="619" y="345"/>
                    </a:lnTo>
                    <a:lnTo>
                      <a:pt x="621" y="345"/>
                    </a:lnTo>
                    <a:lnTo>
                      <a:pt x="624" y="347"/>
                    </a:lnTo>
                    <a:lnTo>
                      <a:pt x="625" y="347"/>
                    </a:lnTo>
                    <a:lnTo>
                      <a:pt x="627" y="349"/>
                    </a:lnTo>
                    <a:lnTo>
                      <a:pt x="632" y="350"/>
                    </a:lnTo>
                    <a:lnTo>
                      <a:pt x="632" y="352"/>
                    </a:lnTo>
                    <a:lnTo>
                      <a:pt x="633" y="352"/>
                    </a:lnTo>
                    <a:lnTo>
                      <a:pt x="635" y="353"/>
                    </a:lnTo>
                    <a:lnTo>
                      <a:pt x="640" y="355"/>
                    </a:lnTo>
                    <a:lnTo>
                      <a:pt x="640" y="357"/>
                    </a:lnTo>
                    <a:lnTo>
                      <a:pt x="641" y="357"/>
                    </a:lnTo>
                    <a:lnTo>
                      <a:pt x="643" y="357"/>
                    </a:lnTo>
                    <a:lnTo>
                      <a:pt x="644" y="358"/>
                    </a:lnTo>
                    <a:lnTo>
                      <a:pt x="648" y="360"/>
                    </a:lnTo>
                    <a:lnTo>
                      <a:pt x="649" y="360"/>
                    </a:lnTo>
                    <a:lnTo>
                      <a:pt x="649" y="361"/>
                    </a:lnTo>
                    <a:lnTo>
                      <a:pt x="651" y="361"/>
                    </a:lnTo>
                    <a:lnTo>
                      <a:pt x="657" y="364"/>
                    </a:lnTo>
                    <a:lnTo>
                      <a:pt x="660" y="368"/>
                    </a:lnTo>
                    <a:lnTo>
                      <a:pt x="662" y="368"/>
                    </a:lnTo>
                    <a:lnTo>
                      <a:pt x="665" y="369"/>
                    </a:lnTo>
                    <a:lnTo>
                      <a:pt x="667" y="371"/>
                    </a:lnTo>
                    <a:lnTo>
                      <a:pt x="670" y="372"/>
                    </a:lnTo>
                    <a:lnTo>
                      <a:pt x="671" y="372"/>
                    </a:lnTo>
                    <a:lnTo>
                      <a:pt x="671" y="374"/>
                    </a:lnTo>
                    <a:lnTo>
                      <a:pt x="674" y="374"/>
                    </a:lnTo>
                    <a:lnTo>
                      <a:pt x="679" y="377"/>
                    </a:lnTo>
                    <a:lnTo>
                      <a:pt x="678" y="377"/>
                    </a:lnTo>
                    <a:lnTo>
                      <a:pt x="676" y="379"/>
                    </a:lnTo>
                    <a:lnTo>
                      <a:pt x="674" y="377"/>
                    </a:lnTo>
                    <a:lnTo>
                      <a:pt x="671" y="377"/>
                    </a:lnTo>
                    <a:lnTo>
                      <a:pt x="670" y="379"/>
                    </a:lnTo>
                    <a:lnTo>
                      <a:pt x="698" y="395"/>
                    </a:lnTo>
                    <a:lnTo>
                      <a:pt x="703" y="390"/>
                    </a:lnTo>
                    <a:lnTo>
                      <a:pt x="703" y="391"/>
                    </a:lnTo>
                    <a:lnTo>
                      <a:pt x="705" y="391"/>
                    </a:lnTo>
                    <a:lnTo>
                      <a:pt x="717" y="398"/>
                    </a:lnTo>
                    <a:lnTo>
                      <a:pt x="719" y="399"/>
                    </a:lnTo>
                    <a:lnTo>
                      <a:pt x="720" y="399"/>
                    </a:lnTo>
                    <a:lnTo>
                      <a:pt x="720" y="401"/>
                    </a:lnTo>
                    <a:lnTo>
                      <a:pt x="722" y="401"/>
                    </a:lnTo>
                    <a:lnTo>
                      <a:pt x="720" y="404"/>
                    </a:lnTo>
                    <a:lnTo>
                      <a:pt x="719" y="404"/>
                    </a:lnTo>
                    <a:lnTo>
                      <a:pt x="717" y="404"/>
                    </a:lnTo>
                    <a:lnTo>
                      <a:pt x="716" y="404"/>
                    </a:lnTo>
                    <a:lnTo>
                      <a:pt x="714" y="404"/>
                    </a:lnTo>
                    <a:lnTo>
                      <a:pt x="712" y="402"/>
                    </a:lnTo>
                    <a:lnTo>
                      <a:pt x="711" y="402"/>
                    </a:lnTo>
                    <a:lnTo>
                      <a:pt x="709" y="402"/>
                    </a:lnTo>
                    <a:lnTo>
                      <a:pt x="708" y="402"/>
                    </a:lnTo>
                    <a:lnTo>
                      <a:pt x="706" y="402"/>
                    </a:lnTo>
                    <a:lnTo>
                      <a:pt x="706" y="401"/>
                    </a:lnTo>
                    <a:lnTo>
                      <a:pt x="705" y="401"/>
                    </a:lnTo>
                    <a:lnTo>
                      <a:pt x="703" y="401"/>
                    </a:lnTo>
                    <a:lnTo>
                      <a:pt x="701" y="401"/>
                    </a:lnTo>
                    <a:lnTo>
                      <a:pt x="700" y="401"/>
                    </a:lnTo>
                    <a:lnTo>
                      <a:pt x="698" y="401"/>
                    </a:lnTo>
                    <a:lnTo>
                      <a:pt x="697" y="401"/>
                    </a:lnTo>
                    <a:lnTo>
                      <a:pt x="695" y="399"/>
                    </a:lnTo>
                    <a:lnTo>
                      <a:pt x="693" y="399"/>
                    </a:lnTo>
                    <a:lnTo>
                      <a:pt x="692" y="399"/>
                    </a:lnTo>
                    <a:lnTo>
                      <a:pt x="690" y="399"/>
                    </a:lnTo>
                    <a:lnTo>
                      <a:pt x="689" y="399"/>
                    </a:lnTo>
                    <a:lnTo>
                      <a:pt x="689" y="398"/>
                    </a:lnTo>
                    <a:lnTo>
                      <a:pt x="687" y="398"/>
                    </a:lnTo>
                    <a:lnTo>
                      <a:pt x="686" y="396"/>
                    </a:lnTo>
                    <a:lnTo>
                      <a:pt x="684" y="396"/>
                    </a:lnTo>
                    <a:lnTo>
                      <a:pt x="684" y="395"/>
                    </a:lnTo>
                    <a:lnTo>
                      <a:pt x="682" y="393"/>
                    </a:lnTo>
                    <a:lnTo>
                      <a:pt x="681" y="393"/>
                    </a:lnTo>
                    <a:lnTo>
                      <a:pt x="679" y="391"/>
                    </a:lnTo>
                    <a:lnTo>
                      <a:pt x="678" y="391"/>
                    </a:lnTo>
                    <a:lnTo>
                      <a:pt x="676" y="391"/>
                    </a:lnTo>
                    <a:lnTo>
                      <a:pt x="674" y="390"/>
                    </a:lnTo>
                    <a:lnTo>
                      <a:pt x="673" y="390"/>
                    </a:lnTo>
                    <a:lnTo>
                      <a:pt x="671" y="390"/>
                    </a:lnTo>
                    <a:lnTo>
                      <a:pt x="670" y="390"/>
                    </a:lnTo>
                    <a:lnTo>
                      <a:pt x="668" y="390"/>
                    </a:lnTo>
                    <a:lnTo>
                      <a:pt x="668" y="388"/>
                    </a:lnTo>
                    <a:lnTo>
                      <a:pt x="667" y="388"/>
                    </a:lnTo>
                    <a:lnTo>
                      <a:pt x="665" y="388"/>
                    </a:lnTo>
                    <a:lnTo>
                      <a:pt x="663" y="388"/>
                    </a:lnTo>
                    <a:lnTo>
                      <a:pt x="663" y="387"/>
                    </a:lnTo>
                    <a:lnTo>
                      <a:pt x="662" y="385"/>
                    </a:lnTo>
                    <a:lnTo>
                      <a:pt x="660" y="383"/>
                    </a:lnTo>
                    <a:lnTo>
                      <a:pt x="659" y="382"/>
                    </a:lnTo>
                    <a:lnTo>
                      <a:pt x="657" y="382"/>
                    </a:lnTo>
                    <a:lnTo>
                      <a:pt x="655" y="382"/>
                    </a:lnTo>
                    <a:lnTo>
                      <a:pt x="654" y="380"/>
                    </a:lnTo>
                    <a:lnTo>
                      <a:pt x="652" y="380"/>
                    </a:lnTo>
                    <a:lnTo>
                      <a:pt x="651" y="380"/>
                    </a:lnTo>
                    <a:lnTo>
                      <a:pt x="651" y="379"/>
                    </a:lnTo>
                    <a:lnTo>
                      <a:pt x="649" y="379"/>
                    </a:lnTo>
                    <a:lnTo>
                      <a:pt x="648" y="379"/>
                    </a:lnTo>
                    <a:lnTo>
                      <a:pt x="646" y="379"/>
                    </a:lnTo>
                    <a:lnTo>
                      <a:pt x="644" y="379"/>
                    </a:lnTo>
                    <a:lnTo>
                      <a:pt x="643" y="380"/>
                    </a:lnTo>
                    <a:lnTo>
                      <a:pt x="641" y="380"/>
                    </a:lnTo>
                    <a:lnTo>
                      <a:pt x="640" y="380"/>
                    </a:lnTo>
                    <a:lnTo>
                      <a:pt x="638" y="380"/>
                    </a:lnTo>
                    <a:lnTo>
                      <a:pt x="636" y="380"/>
                    </a:lnTo>
                    <a:lnTo>
                      <a:pt x="636" y="382"/>
                    </a:lnTo>
                    <a:lnTo>
                      <a:pt x="635" y="382"/>
                    </a:lnTo>
                    <a:lnTo>
                      <a:pt x="633" y="382"/>
                    </a:lnTo>
                    <a:lnTo>
                      <a:pt x="632" y="382"/>
                    </a:lnTo>
                    <a:lnTo>
                      <a:pt x="632" y="380"/>
                    </a:lnTo>
                    <a:lnTo>
                      <a:pt x="632" y="379"/>
                    </a:lnTo>
                    <a:lnTo>
                      <a:pt x="632" y="377"/>
                    </a:lnTo>
                    <a:lnTo>
                      <a:pt x="630" y="377"/>
                    </a:lnTo>
                    <a:lnTo>
                      <a:pt x="629" y="377"/>
                    </a:lnTo>
                    <a:lnTo>
                      <a:pt x="627" y="377"/>
                    </a:lnTo>
                    <a:lnTo>
                      <a:pt x="625" y="377"/>
                    </a:lnTo>
                    <a:lnTo>
                      <a:pt x="624" y="377"/>
                    </a:lnTo>
                    <a:lnTo>
                      <a:pt x="622" y="377"/>
                    </a:lnTo>
                    <a:lnTo>
                      <a:pt x="621" y="379"/>
                    </a:lnTo>
                    <a:lnTo>
                      <a:pt x="619" y="377"/>
                    </a:lnTo>
                    <a:lnTo>
                      <a:pt x="617" y="379"/>
                    </a:lnTo>
                    <a:lnTo>
                      <a:pt x="616" y="380"/>
                    </a:lnTo>
                    <a:lnTo>
                      <a:pt x="614" y="382"/>
                    </a:lnTo>
                    <a:lnTo>
                      <a:pt x="613" y="383"/>
                    </a:lnTo>
                    <a:lnTo>
                      <a:pt x="611" y="383"/>
                    </a:lnTo>
                    <a:lnTo>
                      <a:pt x="611" y="382"/>
                    </a:lnTo>
                    <a:lnTo>
                      <a:pt x="610" y="382"/>
                    </a:lnTo>
                    <a:lnTo>
                      <a:pt x="608" y="382"/>
                    </a:lnTo>
                    <a:lnTo>
                      <a:pt x="606" y="382"/>
                    </a:lnTo>
                    <a:lnTo>
                      <a:pt x="605" y="383"/>
                    </a:lnTo>
                    <a:lnTo>
                      <a:pt x="603" y="383"/>
                    </a:lnTo>
                    <a:lnTo>
                      <a:pt x="603" y="385"/>
                    </a:lnTo>
                    <a:lnTo>
                      <a:pt x="602" y="387"/>
                    </a:lnTo>
                    <a:lnTo>
                      <a:pt x="600" y="388"/>
                    </a:lnTo>
                    <a:lnTo>
                      <a:pt x="600" y="390"/>
                    </a:lnTo>
                    <a:lnTo>
                      <a:pt x="598" y="390"/>
                    </a:lnTo>
                    <a:lnTo>
                      <a:pt x="598" y="391"/>
                    </a:lnTo>
                    <a:lnTo>
                      <a:pt x="597" y="393"/>
                    </a:lnTo>
                    <a:lnTo>
                      <a:pt x="597" y="395"/>
                    </a:lnTo>
                    <a:lnTo>
                      <a:pt x="595" y="395"/>
                    </a:lnTo>
                    <a:lnTo>
                      <a:pt x="595" y="396"/>
                    </a:lnTo>
                    <a:lnTo>
                      <a:pt x="594" y="396"/>
                    </a:lnTo>
                    <a:lnTo>
                      <a:pt x="594" y="398"/>
                    </a:lnTo>
                    <a:lnTo>
                      <a:pt x="592" y="399"/>
                    </a:lnTo>
                    <a:lnTo>
                      <a:pt x="590" y="399"/>
                    </a:lnTo>
                    <a:lnTo>
                      <a:pt x="590" y="401"/>
                    </a:lnTo>
                    <a:lnTo>
                      <a:pt x="589" y="401"/>
                    </a:lnTo>
                    <a:lnTo>
                      <a:pt x="587" y="401"/>
                    </a:lnTo>
                    <a:lnTo>
                      <a:pt x="586" y="399"/>
                    </a:lnTo>
                    <a:lnTo>
                      <a:pt x="584" y="399"/>
                    </a:lnTo>
                    <a:lnTo>
                      <a:pt x="584" y="401"/>
                    </a:lnTo>
                    <a:lnTo>
                      <a:pt x="583" y="402"/>
                    </a:lnTo>
                    <a:lnTo>
                      <a:pt x="583" y="404"/>
                    </a:lnTo>
                    <a:lnTo>
                      <a:pt x="583" y="406"/>
                    </a:lnTo>
                    <a:lnTo>
                      <a:pt x="581" y="406"/>
                    </a:lnTo>
                    <a:lnTo>
                      <a:pt x="581" y="407"/>
                    </a:lnTo>
                    <a:lnTo>
                      <a:pt x="579" y="407"/>
                    </a:lnTo>
                    <a:lnTo>
                      <a:pt x="579" y="409"/>
                    </a:lnTo>
                    <a:lnTo>
                      <a:pt x="578" y="409"/>
                    </a:lnTo>
                    <a:lnTo>
                      <a:pt x="578" y="410"/>
                    </a:lnTo>
                    <a:lnTo>
                      <a:pt x="576" y="410"/>
                    </a:lnTo>
                    <a:lnTo>
                      <a:pt x="575" y="412"/>
                    </a:lnTo>
                    <a:lnTo>
                      <a:pt x="575" y="414"/>
                    </a:lnTo>
                    <a:lnTo>
                      <a:pt x="573" y="414"/>
                    </a:lnTo>
                    <a:lnTo>
                      <a:pt x="571" y="415"/>
                    </a:lnTo>
                    <a:lnTo>
                      <a:pt x="570" y="417"/>
                    </a:lnTo>
                    <a:lnTo>
                      <a:pt x="568" y="417"/>
                    </a:lnTo>
                    <a:lnTo>
                      <a:pt x="568" y="418"/>
                    </a:lnTo>
                    <a:lnTo>
                      <a:pt x="567" y="418"/>
                    </a:lnTo>
                    <a:lnTo>
                      <a:pt x="565" y="418"/>
                    </a:lnTo>
                    <a:lnTo>
                      <a:pt x="564" y="418"/>
                    </a:lnTo>
                    <a:lnTo>
                      <a:pt x="564" y="420"/>
                    </a:lnTo>
                    <a:lnTo>
                      <a:pt x="562" y="420"/>
                    </a:lnTo>
                    <a:lnTo>
                      <a:pt x="560" y="420"/>
                    </a:lnTo>
                    <a:lnTo>
                      <a:pt x="559" y="420"/>
                    </a:lnTo>
                    <a:lnTo>
                      <a:pt x="557" y="420"/>
                    </a:lnTo>
                    <a:lnTo>
                      <a:pt x="556" y="420"/>
                    </a:lnTo>
                    <a:lnTo>
                      <a:pt x="554" y="420"/>
                    </a:lnTo>
                    <a:lnTo>
                      <a:pt x="552" y="420"/>
                    </a:lnTo>
                    <a:lnTo>
                      <a:pt x="551" y="420"/>
                    </a:lnTo>
                    <a:lnTo>
                      <a:pt x="549" y="420"/>
                    </a:lnTo>
                    <a:lnTo>
                      <a:pt x="548" y="421"/>
                    </a:lnTo>
                    <a:lnTo>
                      <a:pt x="546" y="421"/>
                    </a:lnTo>
                    <a:lnTo>
                      <a:pt x="545" y="421"/>
                    </a:lnTo>
                    <a:lnTo>
                      <a:pt x="543" y="421"/>
                    </a:lnTo>
                    <a:lnTo>
                      <a:pt x="541" y="421"/>
                    </a:lnTo>
                    <a:lnTo>
                      <a:pt x="540" y="421"/>
                    </a:lnTo>
                    <a:lnTo>
                      <a:pt x="540" y="423"/>
                    </a:lnTo>
                    <a:lnTo>
                      <a:pt x="538" y="423"/>
                    </a:lnTo>
                    <a:lnTo>
                      <a:pt x="538" y="425"/>
                    </a:lnTo>
                    <a:lnTo>
                      <a:pt x="537" y="426"/>
                    </a:lnTo>
                    <a:lnTo>
                      <a:pt x="537" y="428"/>
                    </a:lnTo>
                    <a:lnTo>
                      <a:pt x="535" y="428"/>
                    </a:lnTo>
                    <a:lnTo>
                      <a:pt x="535" y="429"/>
                    </a:lnTo>
                    <a:lnTo>
                      <a:pt x="535" y="431"/>
                    </a:lnTo>
                    <a:lnTo>
                      <a:pt x="533" y="431"/>
                    </a:lnTo>
                    <a:lnTo>
                      <a:pt x="533" y="433"/>
                    </a:lnTo>
                    <a:lnTo>
                      <a:pt x="533" y="434"/>
                    </a:lnTo>
                    <a:lnTo>
                      <a:pt x="532" y="434"/>
                    </a:lnTo>
                    <a:lnTo>
                      <a:pt x="532" y="436"/>
                    </a:lnTo>
                    <a:lnTo>
                      <a:pt x="532" y="437"/>
                    </a:lnTo>
                    <a:lnTo>
                      <a:pt x="530" y="437"/>
                    </a:lnTo>
                    <a:lnTo>
                      <a:pt x="532" y="439"/>
                    </a:lnTo>
                    <a:lnTo>
                      <a:pt x="532" y="440"/>
                    </a:lnTo>
                    <a:lnTo>
                      <a:pt x="533" y="442"/>
                    </a:lnTo>
                    <a:lnTo>
                      <a:pt x="533" y="444"/>
                    </a:lnTo>
                    <a:lnTo>
                      <a:pt x="532" y="444"/>
                    </a:lnTo>
                    <a:lnTo>
                      <a:pt x="532" y="445"/>
                    </a:lnTo>
                    <a:lnTo>
                      <a:pt x="532" y="447"/>
                    </a:lnTo>
                    <a:lnTo>
                      <a:pt x="532" y="448"/>
                    </a:lnTo>
                    <a:lnTo>
                      <a:pt x="532" y="450"/>
                    </a:lnTo>
                    <a:lnTo>
                      <a:pt x="532" y="452"/>
                    </a:lnTo>
                    <a:lnTo>
                      <a:pt x="532" y="453"/>
                    </a:lnTo>
                    <a:lnTo>
                      <a:pt x="533" y="453"/>
                    </a:lnTo>
                    <a:lnTo>
                      <a:pt x="533" y="455"/>
                    </a:lnTo>
                    <a:lnTo>
                      <a:pt x="533" y="456"/>
                    </a:lnTo>
                    <a:lnTo>
                      <a:pt x="532" y="458"/>
                    </a:lnTo>
                    <a:lnTo>
                      <a:pt x="532" y="459"/>
                    </a:lnTo>
                    <a:lnTo>
                      <a:pt x="532" y="461"/>
                    </a:lnTo>
                    <a:lnTo>
                      <a:pt x="532" y="463"/>
                    </a:lnTo>
                    <a:lnTo>
                      <a:pt x="532" y="464"/>
                    </a:lnTo>
                    <a:lnTo>
                      <a:pt x="533" y="464"/>
                    </a:lnTo>
                    <a:lnTo>
                      <a:pt x="533" y="466"/>
                    </a:lnTo>
                    <a:lnTo>
                      <a:pt x="535" y="467"/>
                    </a:lnTo>
                    <a:lnTo>
                      <a:pt x="535" y="469"/>
                    </a:lnTo>
                    <a:lnTo>
                      <a:pt x="533" y="471"/>
                    </a:lnTo>
                    <a:lnTo>
                      <a:pt x="533" y="472"/>
                    </a:lnTo>
                    <a:lnTo>
                      <a:pt x="535" y="474"/>
                    </a:lnTo>
                    <a:lnTo>
                      <a:pt x="535" y="475"/>
                    </a:lnTo>
                    <a:lnTo>
                      <a:pt x="533" y="477"/>
                    </a:lnTo>
                    <a:lnTo>
                      <a:pt x="533" y="479"/>
                    </a:lnTo>
                    <a:lnTo>
                      <a:pt x="533" y="480"/>
                    </a:lnTo>
                    <a:lnTo>
                      <a:pt x="535" y="480"/>
                    </a:lnTo>
                    <a:lnTo>
                      <a:pt x="537" y="480"/>
                    </a:lnTo>
                    <a:lnTo>
                      <a:pt x="537" y="482"/>
                    </a:lnTo>
                    <a:lnTo>
                      <a:pt x="538" y="482"/>
                    </a:lnTo>
                    <a:lnTo>
                      <a:pt x="540" y="483"/>
                    </a:lnTo>
                    <a:lnTo>
                      <a:pt x="541" y="483"/>
                    </a:lnTo>
                    <a:lnTo>
                      <a:pt x="541" y="485"/>
                    </a:lnTo>
                    <a:lnTo>
                      <a:pt x="543" y="485"/>
                    </a:lnTo>
                    <a:lnTo>
                      <a:pt x="545" y="486"/>
                    </a:lnTo>
                    <a:lnTo>
                      <a:pt x="546" y="486"/>
                    </a:lnTo>
                    <a:lnTo>
                      <a:pt x="546" y="488"/>
                    </a:lnTo>
                    <a:lnTo>
                      <a:pt x="548" y="488"/>
                    </a:lnTo>
                    <a:lnTo>
                      <a:pt x="549" y="488"/>
                    </a:lnTo>
                    <a:lnTo>
                      <a:pt x="551" y="488"/>
                    </a:lnTo>
                    <a:lnTo>
                      <a:pt x="552" y="490"/>
                    </a:lnTo>
                    <a:lnTo>
                      <a:pt x="554" y="490"/>
                    </a:lnTo>
                    <a:lnTo>
                      <a:pt x="554" y="491"/>
                    </a:lnTo>
                    <a:lnTo>
                      <a:pt x="556" y="491"/>
                    </a:lnTo>
                    <a:lnTo>
                      <a:pt x="556" y="493"/>
                    </a:lnTo>
                    <a:lnTo>
                      <a:pt x="557" y="493"/>
                    </a:lnTo>
                    <a:lnTo>
                      <a:pt x="559" y="494"/>
                    </a:lnTo>
                    <a:lnTo>
                      <a:pt x="560" y="494"/>
                    </a:lnTo>
                    <a:lnTo>
                      <a:pt x="562" y="496"/>
                    </a:lnTo>
                    <a:lnTo>
                      <a:pt x="564" y="496"/>
                    </a:lnTo>
                    <a:lnTo>
                      <a:pt x="564" y="498"/>
                    </a:lnTo>
                    <a:lnTo>
                      <a:pt x="565" y="498"/>
                    </a:lnTo>
                    <a:lnTo>
                      <a:pt x="567" y="499"/>
                    </a:lnTo>
                    <a:lnTo>
                      <a:pt x="568" y="499"/>
                    </a:lnTo>
                    <a:lnTo>
                      <a:pt x="568" y="501"/>
                    </a:lnTo>
                    <a:lnTo>
                      <a:pt x="570" y="501"/>
                    </a:lnTo>
                    <a:lnTo>
                      <a:pt x="571" y="502"/>
                    </a:lnTo>
                    <a:lnTo>
                      <a:pt x="573" y="502"/>
                    </a:lnTo>
                    <a:lnTo>
                      <a:pt x="573" y="504"/>
                    </a:lnTo>
                    <a:lnTo>
                      <a:pt x="575" y="504"/>
                    </a:lnTo>
                    <a:lnTo>
                      <a:pt x="575" y="505"/>
                    </a:lnTo>
                    <a:lnTo>
                      <a:pt x="576" y="505"/>
                    </a:lnTo>
                    <a:lnTo>
                      <a:pt x="578" y="507"/>
                    </a:lnTo>
                    <a:lnTo>
                      <a:pt x="579" y="507"/>
                    </a:lnTo>
                    <a:lnTo>
                      <a:pt x="579" y="509"/>
                    </a:lnTo>
                    <a:lnTo>
                      <a:pt x="579" y="510"/>
                    </a:lnTo>
                    <a:lnTo>
                      <a:pt x="581" y="512"/>
                    </a:lnTo>
                    <a:lnTo>
                      <a:pt x="583" y="512"/>
                    </a:lnTo>
                    <a:lnTo>
                      <a:pt x="584" y="512"/>
                    </a:lnTo>
                    <a:lnTo>
                      <a:pt x="584" y="513"/>
                    </a:lnTo>
                    <a:lnTo>
                      <a:pt x="586" y="513"/>
                    </a:lnTo>
                    <a:lnTo>
                      <a:pt x="587" y="515"/>
                    </a:lnTo>
                    <a:lnTo>
                      <a:pt x="589" y="517"/>
                    </a:lnTo>
                    <a:lnTo>
                      <a:pt x="587" y="518"/>
                    </a:lnTo>
                    <a:lnTo>
                      <a:pt x="587" y="520"/>
                    </a:lnTo>
                    <a:lnTo>
                      <a:pt x="587" y="521"/>
                    </a:lnTo>
                    <a:lnTo>
                      <a:pt x="587" y="523"/>
                    </a:lnTo>
                    <a:lnTo>
                      <a:pt x="587" y="524"/>
                    </a:lnTo>
                    <a:lnTo>
                      <a:pt x="587" y="526"/>
                    </a:lnTo>
                    <a:lnTo>
                      <a:pt x="587" y="528"/>
                    </a:lnTo>
                    <a:lnTo>
                      <a:pt x="587" y="529"/>
                    </a:lnTo>
                    <a:lnTo>
                      <a:pt x="587" y="531"/>
                    </a:lnTo>
                    <a:lnTo>
                      <a:pt x="587" y="532"/>
                    </a:lnTo>
                    <a:lnTo>
                      <a:pt x="587" y="534"/>
                    </a:lnTo>
                    <a:lnTo>
                      <a:pt x="587" y="536"/>
                    </a:lnTo>
                    <a:lnTo>
                      <a:pt x="587" y="537"/>
                    </a:lnTo>
                    <a:lnTo>
                      <a:pt x="587" y="539"/>
                    </a:lnTo>
                    <a:lnTo>
                      <a:pt x="587" y="540"/>
                    </a:lnTo>
                    <a:lnTo>
                      <a:pt x="587" y="542"/>
                    </a:lnTo>
                    <a:lnTo>
                      <a:pt x="587" y="543"/>
                    </a:lnTo>
                    <a:lnTo>
                      <a:pt x="587" y="545"/>
                    </a:lnTo>
                    <a:lnTo>
                      <a:pt x="589" y="545"/>
                    </a:lnTo>
                    <a:lnTo>
                      <a:pt x="587" y="547"/>
                    </a:lnTo>
                    <a:lnTo>
                      <a:pt x="589" y="547"/>
                    </a:lnTo>
                    <a:lnTo>
                      <a:pt x="589" y="548"/>
                    </a:lnTo>
                    <a:lnTo>
                      <a:pt x="589" y="550"/>
                    </a:lnTo>
                    <a:lnTo>
                      <a:pt x="589" y="551"/>
                    </a:lnTo>
                    <a:lnTo>
                      <a:pt x="589" y="553"/>
                    </a:lnTo>
                    <a:lnTo>
                      <a:pt x="589" y="555"/>
                    </a:lnTo>
                    <a:lnTo>
                      <a:pt x="589" y="556"/>
                    </a:lnTo>
                    <a:lnTo>
                      <a:pt x="589" y="558"/>
                    </a:lnTo>
                    <a:lnTo>
                      <a:pt x="589" y="559"/>
                    </a:lnTo>
                    <a:lnTo>
                      <a:pt x="589" y="561"/>
                    </a:lnTo>
                    <a:lnTo>
                      <a:pt x="589" y="562"/>
                    </a:lnTo>
                    <a:lnTo>
                      <a:pt x="589" y="564"/>
                    </a:lnTo>
                    <a:lnTo>
                      <a:pt x="589" y="566"/>
                    </a:lnTo>
                    <a:lnTo>
                      <a:pt x="589" y="567"/>
                    </a:lnTo>
                    <a:lnTo>
                      <a:pt x="589" y="569"/>
                    </a:lnTo>
                    <a:lnTo>
                      <a:pt x="589" y="570"/>
                    </a:lnTo>
                    <a:lnTo>
                      <a:pt x="589" y="572"/>
                    </a:lnTo>
                    <a:lnTo>
                      <a:pt x="589" y="574"/>
                    </a:lnTo>
                    <a:lnTo>
                      <a:pt x="589" y="575"/>
                    </a:lnTo>
                    <a:lnTo>
                      <a:pt x="589" y="577"/>
                    </a:lnTo>
                    <a:lnTo>
                      <a:pt x="589" y="578"/>
                    </a:lnTo>
                    <a:lnTo>
                      <a:pt x="589" y="580"/>
                    </a:lnTo>
                    <a:lnTo>
                      <a:pt x="589" y="581"/>
                    </a:lnTo>
                    <a:lnTo>
                      <a:pt x="589" y="583"/>
                    </a:lnTo>
                    <a:lnTo>
                      <a:pt x="589" y="585"/>
                    </a:lnTo>
                    <a:lnTo>
                      <a:pt x="589" y="586"/>
                    </a:lnTo>
                    <a:lnTo>
                      <a:pt x="587" y="586"/>
                    </a:lnTo>
                    <a:lnTo>
                      <a:pt x="586" y="588"/>
                    </a:lnTo>
                    <a:lnTo>
                      <a:pt x="584" y="588"/>
                    </a:lnTo>
                    <a:lnTo>
                      <a:pt x="583" y="588"/>
                    </a:lnTo>
                    <a:lnTo>
                      <a:pt x="581" y="588"/>
                    </a:lnTo>
                    <a:lnTo>
                      <a:pt x="579" y="588"/>
                    </a:lnTo>
                    <a:lnTo>
                      <a:pt x="578" y="589"/>
                    </a:lnTo>
                    <a:lnTo>
                      <a:pt x="576" y="589"/>
                    </a:lnTo>
                    <a:lnTo>
                      <a:pt x="575" y="589"/>
                    </a:lnTo>
                    <a:lnTo>
                      <a:pt x="573" y="591"/>
                    </a:lnTo>
                    <a:lnTo>
                      <a:pt x="573" y="593"/>
                    </a:lnTo>
                    <a:lnTo>
                      <a:pt x="571" y="593"/>
                    </a:lnTo>
                    <a:lnTo>
                      <a:pt x="571" y="594"/>
                    </a:lnTo>
                    <a:lnTo>
                      <a:pt x="570" y="596"/>
                    </a:lnTo>
                    <a:lnTo>
                      <a:pt x="568" y="596"/>
                    </a:lnTo>
                    <a:lnTo>
                      <a:pt x="568" y="597"/>
                    </a:lnTo>
                    <a:lnTo>
                      <a:pt x="567" y="597"/>
                    </a:lnTo>
                    <a:lnTo>
                      <a:pt x="567" y="599"/>
                    </a:lnTo>
                    <a:lnTo>
                      <a:pt x="565" y="599"/>
                    </a:lnTo>
                    <a:lnTo>
                      <a:pt x="565" y="600"/>
                    </a:lnTo>
                    <a:lnTo>
                      <a:pt x="564" y="600"/>
                    </a:lnTo>
                    <a:lnTo>
                      <a:pt x="564" y="602"/>
                    </a:lnTo>
                    <a:lnTo>
                      <a:pt x="562" y="602"/>
                    </a:lnTo>
                    <a:lnTo>
                      <a:pt x="562" y="604"/>
                    </a:lnTo>
                    <a:lnTo>
                      <a:pt x="562" y="605"/>
                    </a:lnTo>
                    <a:lnTo>
                      <a:pt x="560" y="605"/>
                    </a:lnTo>
                    <a:lnTo>
                      <a:pt x="560" y="607"/>
                    </a:lnTo>
                    <a:lnTo>
                      <a:pt x="559" y="607"/>
                    </a:lnTo>
                    <a:lnTo>
                      <a:pt x="559" y="608"/>
                    </a:lnTo>
                    <a:lnTo>
                      <a:pt x="557" y="608"/>
                    </a:lnTo>
                    <a:lnTo>
                      <a:pt x="557" y="610"/>
                    </a:lnTo>
                    <a:lnTo>
                      <a:pt x="556" y="610"/>
                    </a:lnTo>
                    <a:lnTo>
                      <a:pt x="556" y="612"/>
                    </a:lnTo>
                    <a:lnTo>
                      <a:pt x="557" y="613"/>
                    </a:lnTo>
                    <a:lnTo>
                      <a:pt x="556" y="613"/>
                    </a:lnTo>
                    <a:lnTo>
                      <a:pt x="554" y="613"/>
                    </a:lnTo>
                    <a:lnTo>
                      <a:pt x="552" y="613"/>
                    </a:lnTo>
                    <a:lnTo>
                      <a:pt x="551" y="613"/>
                    </a:lnTo>
                    <a:lnTo>
                      <a:pt x="549" y="613"/>
                    </a:lnTo>
                    <a:lnTo>
                      <a:pt x="548" y="613"/>
                    </a:lnTo>
                    <a:lnTo>
                      <a:pt x="548" y="612"/>
                    </a:lnTo>
                    <a:lnTo>
                      <a:pt x="546" y="612"/>
                    </a:lnTo>
                    <a:lnTo>
                      <a:pt x="545" y="612"/>
                    </a:lnTo>
                    <a:lnTo>
                      <a:pt x="543" y="612"/>
                    </a:lnTo>
                    <a:lnTo>
                      <a:pt x="541" y="612"/>
                    </a:lnTo>
                    <a:lnTo>
                      <a:pt x="540" y="612"/>
                    </a:lnTo>
                    <a:lnTo>
                      <a:pt x="538" y="612"/>
                    </a:lnTo>
                    <a:lnTo>
                      <a:pt x="537" y="613"/>
                    </a:lnTo>
                    <a:lnTo>
                      <a:pt x="535" y="613"/>
                    </a:lnTo>
                    <a:lnTo>
                      <a:pt x="533" y="613"/>
                    </a:lnTo>
                    <a:lnTo>
                      <a:pt x="532" y="613"/>
                    </a:lnTo>
                    <a:lnTo>
                      <a:pt x="530" y="613"/>
                    </a:lnTo>
                    <a:lnTo>
                      <a:pt x="529" y="613"/>
                    </a:lnTo>
                    <a:lnTo>
                      <a:pt x="527" y="613"/>
                    </a:lnTo>
                    <a:lnTo>
                      <a:pt x="526" y="615"/>
                    </a:lnTo>
                    <a:lnTo>
                      <a:pt x="526" y="616"/>
                    </a:lnTo>
                    <a:lnTo>
                      <a:pt x="524" y="618"/>
                    </a:lnTo>
                    <a:lnTo>
                      <a:pt x="524" y="619"/>
                    </a:lnTo>
                    <a:lnTo>
                      <a:pt x="522" y="621"/>
                    </a:lnTo>
                    <a:lnTo>
                      <a:pt x="522" y="623"/>
                    </a:lnTo>
                    <a:lnTo>
                      <a:pt x="521" y="623"/>
                    </a:lnTo>
                    <a:lnTo>
                      <a:pt x="521" y="624"/>
                    </a:lnTo>
                    <a:lnTo>
                      <a:pt x="521" y="626"/>
                    </a:lnTo>
                    <a:lnTo>
                      <a:pt x="519" y="626"/>
                    </a:lnTo>
                    <a:lnTo>
                      <a:pt x="519" y="627"/>
                    </a:lnTo>
                    <a:lnTo>
                      <a:pt x="518" y="629"/>
                    </a:lnTo>
                    <a:lnTo>
                      <a:pt x="518" y="631"/>
                    </a:lnTo>
                    <a:lnTo>
                      <a:pt x="518" y="632"/>
                    </a:lnTo>
                    <a:lnTo>
                      <a:pt x="516" y="632"/>
                    </a:lnTo>
                    <a:lnTo>
                      <a:pt x="514" y="632"/>
                    </a:lnTo>
                    <a:lnTo>
                      <a:pt x="514" y="634"/>
                    </a:lnTo>
                    <a:lnTo>
                      <a:pt x="513" y="634"/>
                    </a:lnTo>
                    <a:lnTo>
                      <a:pt x="513" y="635"/>
                    </a:lnTo>
                    <a:lnTo>
                      <a:pt x="511" y="635"/>
                    </a:lnTo>
                    <a:lnTo>
                      <a:pt x="511" y="637"/>
                    </a:lnTo>
                    <a:lnTo>
                      <a:pt x="510" y="637"/>
                    </a:lnTo>
                    <a:lnTo>
                      <a:pt x="508" y="637"/>
                    </a:lnTo>
                    <a:lnTo>
                      <a:pt x="507" y="638"/>
                    </a:lnTo>
                    <a:lnTo>
                      <a:pt x="505" y="638"/>
                    </a:lnTo>
                    <a:lnTo>
                      <a:pt x="503" y="640"/>
                    </a:lnTo>
                    <a:lnTo>
                      <a:pt x="502" y="642"/>
                    </a:lnTo>
                    <a:lnTo>
                      <a:pt x="502" y="640"/>
                    </a:lnTo>
                    <a:lnTo>
                      <a:pt x="502" y="638"/>
                    </a:lnTo>
                    <a:lnTo>
                      <a:pt x="502" y="637"/>
                    </a:lnTo>
                    <a:lnTo>
                      <a:pt x="502" y="635"/>
                    </a:lnTo>
                    <a:lnTo>
                      <a:pt x="502" y="634"/>
                    </a:lnTo>
                    <a:lnTo>
                      <a:pt x="502" y="632"/>
                    </a:lnTo>
                    <a:lnTo>
                      <a:pt x="502" y="631"/>
                    </a:lnTo>
                    <a:lnTo>
                      <a:pt x="500" y="629"/>
                    </a:lnTo>
                    <a:lnTo>
                      <a:pt x="499" y="629"/>
                    </a:lnTo>
                    <a:lnTo>
                      <a:pt x="499" y="627"/>
                    </a:lnTo>
                    <a:lnTo>
                      <a:pt x="497" y="627"/>
                    </a:lnTo>
                    <a:lnTo>
                      <a:pt x="497" y="626"/>
                    </a:lnTo>
                    <a:lnTo>
                      <a:pt x="497" y="624"/>
                    </a:lnTo>
                    <a:lnTo>
                      <a:pt x="497" y="623"/>
                    </a:lnTo>
                    <a:lnTo>
                      <a:pt x="495" y="621"/>
                    </a:lnTo>
                    <a:lnTo>
                      <a:pt x="494" y="621"/>
                    </a:lnTo>
                    <a:lnTo>
                      <a:pt x="492" y="621"/>
                    </a:lnTo>
                    <a:lnTo>
                      <a:pt x="491" y="621"/>
                    </a:lnTo>
                    <a:lnTo>
                      <a:pt x="489" y="621"/>
                    </a:lnTo>
                    <a:lnTo>
                      <a:pt x="488" y="619"/>
                    </a:lnTo>
                    <a:lnTo>
                      <a:pt x="488" y="618"/>
                    </a:lnTo>
                    <a:lnTo>
                      <a:pt x="486" y="619"/>
                    </a:lnTo>
                    <a:lnTo>
                      <a:pt x="484" y="619"/>
                    </a:lnTo>
                    <a:lnTo>
                      <a:pt x="483" y="619"/>
                    </a:lnTo>
                    <a:lnTo>
                      <a:pt x="481" y="619"/>
                    </a:lnTo>
                    <a:lnTo>
                      <a:pt x="480" y="619"/>
                    </a:lnTo>
                    <a:lnTo>
                      <a:pt x="478" y="619"/>
                    </a:lnTo>
                    <a:lnTo>
                      <a:pt x="478" y="621"/>
                    </a:lnTo>
                    <a:lnTo>
                      <a:pt x="476" y="619"/>
                    </a:lnTo>
                    <a:lnTo>
                      <a:pt x="475" y="619"/>
                    </a:lnTo>
                    <a:lnTo>
                      <a:pt x="475" y="618"/>
                    </a:lnTo>
                    <a:lnTo>
                      <a:pt x="473" y="618"/>
                    </a:lnTo>
                    <a:lnTo>
                      <a:pt x="473" y="619"/>
                    </a:lnTo>
                    <a:lnTo>
                      <a:pt x="472" y="619"/>
                    </a:lnTo>
                    <a:lnTo>
                      <a:pt x="470" y="619"/>
                    </a:lnTo>
                    <a:lnTo>
                      <a:pt x="470" y="621"/>
                    </a:lnTo>
                    <a:lnTo>
                      <a:pt x="469" y="621"/>
                    </a:lnTo>
                    <a:lnTo>
                      <a:pt x="467" y="619"/>
                    </a:lnTo>
                    <a:lnTo>
                      <a:pt x="465" y="619"/>
                    </a:lnTo>
                    <a:lnTo>
                      <a:pt x="464" y="619"/>
                    </a:lnTo>
                    <a:lnTo>
                      <a:pt x="462" y="619"/>
                    </a:lnTo>
                    <a:lnTo>
                      <a:pt x="461" y="619"/>
                    </a:lnTo>
                    <a:lnTo>
                      <a:pt x="461" y="621"/>
                    </a:lnTo>
                    <a:lnTo>
                      <a:pt x="459" y="621"/>
                    </a:lnTo>
                    <a:lnTo>
                      <a:pt x="459" y="623"/>
                    </a:lnTo>
                    <a:lnTo>
                      <a:pt x="459" y="624"/>
                    </a:lnTo>
                    <a:lnTo>
                      <a:pt x="459" y="626"/>
                    </a:lnTo>
                    <a:lnTo>
                      <a:pt x="459" y="627"/>
                    </a:lnTo>
                    <a:lnTo>
                      <a:pt x="459" y="629"/>
                    </a:lnTo>
                    <a:lnTo>
                      <a:pt x="457" y="631"/>
                    </a:lnTo>
                    <a:lnTo>
                      <a:pt x="456" y="631"/>
                    </a:lnTo>
                    <a:lnTo>
                      <a:pt x="456" y="632"/>
                    </a:lnTo>
                    <a:lnTo>
                      <a:pt x="454" y="632"/>
                    </a:lnTo>
                    <a:lnTo>
                      <a:pt x="453" y="632"/>
                    </a:lnTo>
                    <a:lnTo>
                      <a:pt x="451" y="632"/>
                    </a:lnTo>
                    <a:lnTo>
                      <a:pt x="451" y="634"/>
                    </a:lnTo>
                    <a:lnTo>
                      <a:pt x="450" y="634"/>
                    </a:lnTo>
                    <a:lnTo>
                      <a:pt x="448" y="634"/>
                    </a:lnTo>
                    <a:lnTo>
                      <a:pt x="448" y="635"/>
                    </a:lnTo>
                    <a:lnTo>
                      <a:pt x="446" y="635"/>
                    </a:lnTo>
                    <a:lnTo>
                      <a:pt x="445" y="635"/>
                    </a:lnTo>
                    <a:lnTo>
                      <a:pt x="443" y="637"/>
                    </a:lnTo>
                    <a:lnTo>
                      <a:pt x="443" y="638"/>
                    </a:lnTo>
                    <a:lnTo>
                      <a:pt x="443" y="640"/>
                    </a:lnTo>
                    <a:lnTo>
                      <a:pt x="442" y="640"/>
                    </a:lnTo>
                    <a:lnTo>
                      <a:pt x="440" y="640"/>
                    </a:lnTo>
                    <a:lnTo>
                      <a:pt x="438" y="640"/>
                    </a:lnTo>
                    <a:lnTo>
                      <a:pt x="438" y="638"/>
                    </a:lnTo>
                    <a:lnTo>
                      <a:pt x="437" y="638"/>
                    </a:lnTo>
                    <a:lnTo>
                      <a:pt x="437" y="640"/>
                    </a:lnTo>
                    <a:lnTo>
                      <a:pt x="435" y="640"/>
                    </a:lnTo>
                    <a:lnTo>
                      <a:pt x="434" y="640"/>
                    </a:lnTo>
                    <a:lnTo>
                      <a:pt x="432" y="640"/>
                    </a:lnTo>
                    <a:lnTo>
                      <a:pt x="432" y="642"/>
                    </a:lnTo>
                    <a:lnTo>
                      <a:pt x="431" y="642"/>
                    </a:lnTo>
                    <a:lnTo>
                      <a:pt x="431" y="643"/>
                    </a:lnTo>
                    <a:lnTo>
                      <a:pt x="429" y="643"/>
                    </a:lnTo>
                    <a:lnTo>
                      <a:pt x="429" y="645"/>
                    </a:lnTo>
                    <a:lnTo>
                      <a:pt x="429" y="646"/>
                    </a:lnTo>
                    <a:lnTo>
                      <a:pt x="427" y="646"/>
                    </a:lnTo>
                    <a:lnTo>
                      <a:pt x="427" y="648"/>
                    </a:lnTo>
                    <a:lnTo>
                      <a:pt x="427" y="650"/>
                    </a:lnTo>
                    <a:lnTo>
                      <a:pt x="426" y="650"/>
                    </a:lnTo>
                    <a:lnTo>
                      <a:pt x="426" y="651"/>
                    </a:lnTo>
                    <a:lnTo>
                      <a:pt x="424" y="653"/>
                    </a:lnTo>
                    <a:lnTo>
                      <a:pt x="424" y="654"/>
                    </a:lnTo>
                    <a:lnTo>
                      <a:pt x="424" y="656"/>
                    </a:lnTo>
                    <a:lnTo>
                      <a:pt x="423" y="656"/>
                    </a:lnTo>
                    <a:lnTo>
                      <a:pt x="423" y="658"/>
                    </a:lnTo>
                    <a:lnTo>
                      <a:pt x="421" y="658"/>
                    </a:lnTo>
                    <a:lnTo>
                      <a:pt x="421" y="659"/>
                    </a:lnTo>
                    <a:lnTo>
                      <a:pt x="419" y="659"/>
                    </a:lnTo>
                    <a:lnTo>
                      <a:pt x="419" y="661"/>
                    </a:lnTo>
                    <a:lnTo>
                      <a:pt x="418" y="662"/>
                    </a:lnTo>
                    <a:lnTo>
                      <a:pt x="418" y="664"/>
                    </a:lnTo>
                    <a:lnTo>
                      <a:pt x="416" y="664"/>
                    </a:lnTo>
                    <a:lnTo>
                      <a:pt x="416" y="665"/>
                    </a:lnTo>
                    <a:lnTo>
                      <a:pt x="415" y="665"/>
                    </a:lnTo>
                    <a:lnTo>
                      <a:pt x="415" y="667"/>
                    </a:lnTo>
                    <a:lnTo>
                      <a:pt x="413" y="667"/>
                    </a:lnTo>
                    <a:lnTo>
                      <a:pt x="412" y="667"/>
                    </a:lnTo>
                    <a:lnTo>
                      <a:pt x="412" y="669"/>
                    </a:lnTo>
                    <a:lnTo>
                      <a:pt x="410" y="669"/>
                    </a:lnTo>
                    <a:lnTo>
                      <a:pt x="410" y="670"/>
                    </a:lnTo>
                    <a:lnTo>
                      <a:pt x="408" y="670"/>
                    </a:lnTo>
                    <a:lnTo>
                      <a:pt x="407" y="672"/>
                    </a:lnTo>
                    <a:lnTo>
                      <a:pt x="407" y="684"/>
                    </a:lnTo>
                    <a:lnTo>
                      <a:pt x="407" y="686"/>
                    </a:lnTo>
                    <a:lnTo>
                      <a:pt x="407" y="688"/>
                    </a:lnTo>
                    <a:lnTo>
                      <a:pt x="407" y="689"/>
                    </a:lnTo>
                    <a:lnTo>
                      <a:pt x="407" y="691"/>
                    </a:lnTo>
                    <a:lnTo>
                      <a:pt x="407" y="692"/>
                    </a:lnTo>
                    <a:lnTo>
                      <a:pt x="407" y="694"/>
                    </a:lnTo>
                    <a:lnTo>
                      <a:pt x="407" y="696"/>
                    </a:lnTo>
                    <a:lnTo>
                      <a:pt x="407" y="697"/>
                    </a:lnTo>
                    <a:lnTo>
                      <a:pt x="407" y="699"/>
                    </a:lnTo>
                    <a:lnTo>
                      <a:pt x="407" y="700"/>
                    </a:lnTo>
                    <a:lnTo>
                      <a:pt x="407" y="702"/>
                    </a:lnTo>
                    <a:lnTo>
                      <a:pt x="407" y="703"/>
                    </a:lnTo>
                    <a:lnTo>
                      <a:pt x="407" y="705"/>
                    </a:lnTo>
                    <a:lnTo>
                      <a:pt x="407" y="707"/>
                    </a:lnTo>
                    <a:lnTo>
                      <a:pt x="407" y="708"/>
                    </a:lnTo>
                    <a:lnTo>
                      <a:pt x="408" y="708"/>
                    </a:lnTo>
                    <a:lnTo>
                      <a:pt x="408" y="710"/>
                    </a:lnTo>
                    <a:lnTo>
                      <a:pt x="408" y="711"/>
                    </a:lnTo>
                    <a:lnTo>
                      <a:pt x="408" y="713"/>
                    </a:lnTo>
                    <a:lnTo>
                      <a:pt x="408" y="715"/>
                    </a:lnTo>
                    <a:lnTo>
                      <a:pt x="408" y="716"/>
                    </a:lnTo>
                    <a:lnTo>
                      <a:pt x="410" y="716"/>
                    </a:lnTo>
                    <a:lnTo>
                      <a:pt x="410" y="718"/>
                    </a:lnTo>
                    <a:lnTo>
                      <a:pt x="410" y="719"/>
                    </a:lnTo>
                    <a:lnTo>
                      <a:pt x="410" y="721"/>
                    </a:lnTo>
                    <a:lnTo>
                      <a:pt x="410" y="722"/>
                    </a:lnTo>
                    <a:lnTo>
                      <a:pt x="410" y="724"/>
                    </a:lnTo>
                    <a:lnTo>
                      <a:pt x="410" y="726"/>
                    </a:lnTo>
                    <a:lnTo>
                      <a:pt x="412" y="727"/>
                    </a:lnTo>
                    <a:lnTo>
                      <a:pt x="412" y="729"/>
                    </a:lnTo>
                    <a:lnTo>
                      <a:pt x="412" y="730"/>
                    </a:lnTo>
                    <a:lnTo>
                      <a:pt x="412" y="732"/>
                    </a:lnTo>
                    <a:lnTo>
                      <a:pt x="412" y="734"/>
                    </a:lnTo>
                    <a:lnTo>
                      <a:pt x="413" y="734"/>
                    </a:lnTo>
                    <a:lnTo>
                      <a:pt x="413" y="735"/>
                    </a:lnTo>
                    <a:lnTo>
                      <a:pt x="413" y="737"/>
                    </a:lnTo>
                    <a:lnTo>
                      <a:pt x="413" y="738"/>
                    </a:lnTo>
                    <a:lnTo>
                      <a:pt x="413" y="740"/>
                    </a:lnTo>
                    <a:lnTo>
                      <a:pt x="413" y="741"/>
                    </a:lnTo>
                    <a:lnTo>
                      <a:pt x="415" y="741"/>
                    </a:lnTo>
                    <a:lnTo>
                      <a:pt x="415" y="743"/>
                    </a:lnTo>
                    <a:lnTo>
                      <a:pt x="415" y="745"/>
                    </a:lnTo>
                    <a:lnTo>
                      <a:pt x="413" y="745"/>
                    </a:lnTo>
                    <a:lnTo>
                      <a:pt x="413" y="746"/>
                    </a:lnTo>
                    <a:lnTo>
                      <a:pt x="413" y="748"/>
                    </a:lnTo>
                    <a:lnTo>
                      <a:pt x="412" y="748"/>
                    </a:lnTo>
                    <a:lnTo>
                      <a:pt x="412" y="749"/>
                    </a:lnTo>
                    <a:lnTo>
                      <a:pt x="413" y="751"/>
                    </a:lnTo>
                    <a:lnTo>
                      <a:pt x="413" y="753"/>
                    </a:lnTo>
                    <a:lnTo>
                      <a:pt x="415" y="754"/>
                    </a:lnTo>
                    <a:lnTo>
                      <a:pt x="415" y="756"/>
                    </a:lnTo>
                    <a:lnTo>
                      <a:pt x="415" y="757"/>
                    </a:lnTo>
                    <a:lnTo>
                      <a:pt x="415" y="759"/>
                    </a:lnTo>
                    <a:lnTo>
                      <a:pt x="415" y="760"/>
                    </a:lnTo>
                    <a:lnTo>
                      <a:pt x="415" y="762"/>
                    </a:lnTo>
                    <a:lnTo>
                      <a:pt x="415" y="764"/>
                    </a:lnTo>
                    <a:lnTo>
                      <a:pt x="416" y="764"/>
                    </a:lnTo>
                    <a:lnTo>
                      <a:pt x="416" y="765"/>
                    </a:lnTo>
                    <a:lnTo>
                      <a:pt x="416" y="767"/>
                    </a:lnTo>
                    <a:lnTo>
                      <a:pt x="416" y="768"/>
                    </a:lnTo>
                    <a:lnTo>
                      <a:pt x="416" y="770"/>
                    </a:lnTo>
                    <a:lnTo>
                      <a:pt x="416" y="772"/>
                    </a:lnTo>
                    <a:lnTo>
                      <a:pt x="416" y="773"/>
                    </a:lnTo>
                    <a:lnTo>
                      <a:pt x="416" y="775"/>
                    </a:lnTo>
                    <a:lnTo>
                      <a:pt x="416" y="776"/>
                    </a:lnTo>
                    <a:lnTo>
                      <a:pt x="416" y="778"/>
                    </a:lnTo>
                    <a:lnTo>
                      <a:pt x="416" y="779"/>
                    </a:lnTo>
                    <a:lnTo>
                      <a:pt x="416" y="781"/>
                    </a:lnTo>
                    <a:lnTo>
                      <a:pt x="415" y="781"/>
                    </a:lnTo>
                    <a:lnTo>
                      <a:pt x="413" y="781"/>
                    </a:lnTo>
                    <a:lnTo>
                      <a:pt x="412" y="781"/>
                    </a:lnTo>
                    <a:lnTo>
                      <a:pt x="410" y="779"/>
                    </a:lnTo>
                    <a:lnTo>
                      <a:pt x="408" y="779"/>
                    </a:lnTo>
                    <a:lnTo>
                      <a:pt x="407" y="778"/>
                    </a:lnTo>
                    <a:lnTo>
                      <a:pt x="405" y="778"/>
                    </a:lnTo>
                    <a:lnTo>
                      <a:pt x="404" y="778"/>
                    </a:lnTo>
                    <a:lnTo>
                      <a:pt x="402" y="778"/>
                    </a:lnTo>
                    <a:lnTo>
                      <a:pt x="400" y="778"/>
                    </a:lnTo>
                    <a:lnTo>
                      <a:pt x="399" y="778"/>
                    </a:lnTo>
                    <a:lnTo>
                      <a:pt x="397" y="778"/>
                    </a:lnTo>
                    <a:lnTo>
                      <a:pt x="396" y="778"/>
                    </a:lnTo>
                    <a:lnTo>
                      <a:pt x="394" y="779"/>
                    </a:lnTo>
                    <a:lnTo>
                      <a:pt x="392" y="779"/>
                    </a:lnTo>
                    <a:lnTo>
                      <a:pt x="391" y="781"/>
                    </a:lnTo>
                    <a:lnTo>
                      <a:pt x="389" y="781"/>
                    </a:lnTo>
                    <a:lnTo>
                      <a:pt x="388" y="781"/>
                    </a:lnTo>
                    <a:lnTo>
                      <a:pt x="386" y="781"/>
                    </a:lnTo>
                    <a:lnTo>
                      <a:pt x="386" y="783"/>
                    </a:lnTo>
                    <a:lnTo>
                      <a:pt x="385" y="783"/>
                    </a:lnTo>
                    <a:lnTo>
                      <a:pt x="383" y="783"/>
                    </a:lnTo>
                    <a:lnTo>
                      <a:pt x="381" y="783"/>
                    </a:lnTo>
                    <a:lnTo>
                      <a:pt x="380" y="783"/>
                    </a:lnTo>
                    <a:lnTo>
                      <a:pt x="378" y="783"/>
                    </a:lnTo>
                    <a:lnTo>
                      <a:pt x="377" y="783"/>
                    </a:lnTo>
                    <a:lnTo>
                      <a:pt x="375" y="783"/>
                    </a:lnTo>
                    <a:lnTo>
                      <a:pt x="373" y="783"/>
                    </a:lnTo>
                    <a:lnTo>
                      <a:pt x="372" y="783"/>
                    </a:lnTo>
                    <a:lnTo>
                      <a:pt x="370" y="783"/>
                    </a:lnTo>
                    <a:lnTo>
                      <a:pt x="369" y="783"/>
                    </a:lnTo>
                    <a:lnTo>
                      <a:pt x="367" y="783"/>
                    </a:lnTo>
                    <a:lnTo>
                      <a:pt x="367" y="784"/>
                    </a:lnTo>
                    <a:lnTo>
                      <a:pt x="366" y="784"/>
                    </a:lnTo>
                    <a:lnTo>
                      <a:pt x="364" y="784"/>
                    </a:lnTo>
                    <a:lnTo>
                      <a:pt x="362" y="784"/>
                    </a:lnTo>
                    <a:lnTo>
                      <a:pt x="361" y="784"/>
                    </a:lnTo>
                    <a:lnTo>
                      <a:pt x="359" y="784"/>
                    </a:lnTo>
                    <a:lnTo>
                      <a:pt x="358" y="784"/>
                    </a:lnTo>
                    <a:lnTo>
                      <a:pt x="356" y="791"/>
                    </a:lnTo>
                    <a:lnTo>
                      <a:pt x="356" y="792"/>
                    </a:lnTo>
                    <a:lnTo>
                      <a:pt x="354" y="798"/>
                    </a:lnTo>
                    <a:lnTo>
                      <a:pt x="348" y="803"/>
                    </a:lnTo>
                    <a:lnTo>
                      <a:pt x="345" y="808"/>
                    </a:lnTo>
                    <a:lnTo>
                      <a:pt x="342" y="811"/>
                    </a:lnTo>
                    <a:lnTo>
                      <a:pt x="340" y="811"/>
                    </a:lnTo>
                    <a:lnTo>
                      <a:pt x="340" y="810"/>
                    </a:lnTo>
                    <a:lnTo>
                      <a:pt x="331" y="797"/>
                    </a:lnTo>
                    <a:lnTo>
                      <a:pt x="331" y="795"/>
                    </a:lnTo>
                    <a:lnTo>
                      <a:pt x="326" y="789"/>
                    </a:lnTo>
                    <a:lnTo>
                      <a:pt x="324" y="787"/>
                    </a:lnTo>
                    <a:lnTo>
                      <a:pt x="321" y="786"/>
                    </a:lnTo>
                    <a:lnTo>
                      <a:pt x="310" y="767"/>
                    </a:lnTo>
                    <a:lnTo>
                      <a:pt x="310" y="765"/>
                    </a:lnTo>
                    <a:lnTo>
                      <a:pt x="307" y="760"/>
                    </a:lnTo>
                    <a:lnTo>
                      <a:pt x="305" y="759"/>
                    </a:lnTo>
                    <a:lnTo>
                      <a:pt x="304" y="757"/>
                    </a:lnTo>
                    <a:lnTo>
                      <a:pt x="302" y="754"/>
                    </a:lnTo>
                    <a:lnTo>
                      <a:pt x="297" y="751"/>
                    </a:lnTo>
                    <a:lnTo>
                      <a:pt x="296" y="749"/>
                    </a:lnTo>
                    <a:lnTo>
                      <a:pt x="296" y="748"/>
                    </a:lnTo>
                    <a:lnTo>
                      <a:pt x="294" y="746"/>
                    </a:lnTo>
                    <a:lnTo>
                      <a:pt x="294" y="745"/>
                    </a:lnTo>
                    <a:lnTo>
                      <a:pt x="293" y="745"/>
                    </a:lnTo>
                    <a:lnTo>
                      <a:pt x="293" y="743"/>
                    </a:lnTo>
                    <a:lnTo>
                      <a:pt x="291" y="741"/>
                    </a:lnTo>
                    <a:lnTo>
                      <a:pt x="291" y="740"/>
                    </a:lnTo>
                    <a:lnTo>
                      <a:pt x="290" y="740"/>
                    </a:lnTo>
                    <a:lnTo>
                      <a:pt x="290" y="738"/>
                    </a:lnTo>
                    <a:lnTo>
                      <a:pt x="288" y="737"/>
                    </a:lnTo>
                    <a:lnTo>
                      <a:pt x="285" y="732"/>
                    </a:lnTo>
                    <a:lnTo>
                      <a:pt x="278" y="722"/>
                    </a:lnTo>
                    <a:lnTo>
                      <a:pt x="277" y="721"/>
                    </a:lnTo>
                    <a:lnTo>
                      <a:pt x="277" y="719"/>
                    </a:lnTo>
                    <a:lnTo>
                      <a:pt x="275" y="719"/>
                    </a:lnTo>
                    <a:lnTo>
                      <a:pt x="275" y="718"/>
                    </a:lnTo>
                    <a:lnTo>
                      <a:pt x="274" y="716"/>
                    </a:lnTo>
                    <a:lnTo>
                      <a:pt x="274" y="715"/>
                    </a:lnTo>
                    <a:lnTo>
                      <a:pt x="272" y="715"/>
                    </a:lnTo>
                    <a:lnTo>
                      <a:pt x="272" y="713"/>
                    </a:lnTo>
                    <a:lnTo>
                      <a:pt x="271" y="711"/>
                    </a:lnTo>
                    <a:lnTo>
                      <a:pt x="269" y="710"/>
                    </a:lnTo>
                    <a:lnTo>
                      <a:pt x="269" y="708"/>
                    </a:lnTo>
                    <a:lnTo>
                      <a:pt x="267" y="707"/>
                    </a:lnTo>
                    <a:lnTo>
                      <a:pt x="267" y="705"/>
                    </a:lnTo>
                    <a:lnTo>
                      <a:pt x="264" y="700"/>
                    </a:lnTo>
                    <a:lnTo>
                      <a:pt x="263" y="700"/>
                    </a:lnTo>
                    <a:lnTo>
                      <a:pt x="263" y="699"/>
                    </a:lnTo>
                    <a:lnTo>
                      <a:pt x="261" y="697"/>
                    </a:lnTo>
                    <a:lnTo>
                      <a:pt x="261" y="696"/>
                    </a:lnTo>
                    <a:lnTo>
                      <a:pt x="259" y="696"/>
                    </a:lnTo>
                    <a:lnTo>
                      <a:pt x="258" y="692"/>
                    </a:lnTo>
                    <a:lnTo>
                      <a:pt x="258" y="691"/>
                    </a:lnTo>
                    <a:lnTo>
                      <a:pt x="256" y="691"/>
                    </a:lnTo>
                    <a:lnTo>
                      <a:pt x="256" y="689"/>
                    </a:lnTo>
                    <a:lnTo>
                      <a:pt x="256" y="688"/>
                    </a:lnTo>
                    <a:lnTo>
                      <a:pt x="255" y="688"/>
                    </a:lnTo>
                    <a:lnTo>
                      <a:pt x="250" y="681"/>
                    </a:lnTo>
                    <a:lnTo>
                      <a:pt x="250" y="680"/>
                    </a:lnTo>
                    <a:lnTo>
                      <a:pt x="250" y="678"/>
                    </a:lnTo>
                    <a:lnTo>
                      <a:pt x="248" y="678"/>
                    </a:lnTo>
                    <a:lnTo>
                      <a:pt x="248" y="677"/>
                    </a:lnTo>
                    <a:lnTo>
                      <a:pt x="247" y="677"/>
                    </a:lnTo>
                    <a:lnTo>
                      <a:pt x="247" y="675"/>
                    </a:lnTo>
                    <a:lnTo>
                      <a:pt x="247" y="673"/>
                    </a:lnTo>
                    <a:lnTo>
                      <a:pt x="245" y="673"/>
                    </a:lnTo>
                    <a:lnTo>
                      <a:pt x="245" y="672"/>
                    </a:lnTo>
                    <a:lnTo>
                      <a:pt x="245" y="670"/>
                    </a:lnTo>
                    <a:lnTo>
                      <a:pt x="244" y="670"/>
                    </a:lnTo>
                    <a:lnTo>
                      <a:pt x="244" y="669"/>
                    </a:lnTo>
                    <a:lnTo>
                      <a:pt x="242" y="667"/>
                    </a:lnTo>
                    <a:lnTo>
                      <a:pt x="242" y="665"/>
                    </a:lnTo>
                    <a:lnTo>
                      <a:pt x="240" y="664"/>
                    </a:lnTo>
                    <a:lnTo>
                      <a:pt x="240" y="662"/>
                    </a:lnTo>
                    <a:lnTo>
                      <a:pt x="239" y="662"/>
                    </a:lnTo>
                    <a:lnTo>
                      <a:pt x="239" y="661"/>
                    </a:lnTo>
                    <a:lnTo>
                      <a:pt x="237" y="661"/>
                    </a:lnTo>
                    <a:lnTo>
                      <a:pt x="237" y="659"/>
                    </a:lnTo>
                    <a:lnTo>
                      <a:pt x="236" y="658"/>
                    </a:lnTo>
                    <a:lnTo>
                      <a:pt x="236" y="656"/>
                    </a:lnTo>
                    <a:lnTo>
                      <a:pt x="234" y="656"/>
                    </a:lnTo>
                    <a:lnTo>
                      <a:pt x="234" y="654"/>
                    </a:lnTo>
                    <a:lnTo>
                      <a:pt x="234" y="653"/>
                    </a:lnTo>
                    <a:lnTo>
                      <a:pt x="233" y="653"/>
                    </a:lnTo>
                    <a:lnTo>
                      <a:pt x="233" y="651"/>
                    </a:lnTo>
                    <a:lnTo>
                      <a:pt x="233" y="650"/>
                    </a:lnTo>
                    <a:lnTo>
                      <a:pt x="231" y="650"/>
                    </a:lnTo>
                    <a:lnTo>
                      <a:pt x="231" y="648"/>
                    </a:lnTo>
                    <a:lnTo>
                      <a:pt x="231" y="646"/>
                    </a:lnTo>
                    <a:lnTo>
                      <a:pt x="229" y="646"/>
                    </a:lnTo>
                    <a:lnTo>
                      <a:pt x="229" y="645"/>
                    </a:lnTo>
                    <a:lnTo>
                      <a:pt x="231" y="643"/>
                    </a:lnTo>
                    <a:lnTo>
                      <a:pt x="229" y="642"/>
                    </a:lnTo>
                    <a:lnTo>
                      <a:pt x="228" y="642"/>
                    </a:lnTo>
                    <a:lnTo>
                      <a:pt x="228" y="640"/>
                    </a:lnTo>
                    <a:lnTo>
                      <a:pt x="228" y="638"/>
                    </a:lnTo>
                    <a:lnTo>
                      <a:pt x="226" y="638"/>
                    </a:lnTo>
                    <a:lnTo>
                      <a:pt x="226" y="637"/>
                    </a:lnTo>
                    <a:lnTo>
                      <a:pt x="225" y="635"/>
                    </a:lnTo>
                    <a:lnTo>
                      <a:pt x="225" y="634"/>
                    </a:lnTo>
                    <a:lnTo>
                      <a:pt x="223" y="632"/>
                    </a:lnTo>
                    <a:lnTo>
                      <a:pt x="221" y="632"/>
                    </a:lnTo>
                    <a:lnTo>
                      <a:pt x="220" y="632"/>
                    </a:lnTo>
                    <a:lnTo>
                      <a:pt x="218" y="632"/>
                    </a:lnTo>
                    <a:lnTo>
                      <a:pt x="218" y="634"/>
                    </a:lnTo>
                    <a:lnTo>
                      <a:pt x="217" y="634"/>
                    </a:lnTo>
                    <a:lnTo>
                      <a:pt x="215" y="634"/>
                    </a:lnTo>
                    <a:lnTo>
                      <a:pt x="215" y="635"/>
                    </a:lnTo>
                    <a:lnTo>
                      <a:pt x="213" y="637"/>
                    </a:lnTo>
                    <a:lnTo>
                      <a:pt x="212" y="637"/>
                    </a:lnTo>
                    <a:lnTo>
                      <a:pt x="210" y="637"/>
                    </a:lnTo>
                    <a:lnTo>
                      <a:pt x="209" y="637"/>
                    </a:lnTo>
                    <a:lnTo>
                      <a:pt x="209" y="638"/>
                    </a:lnTo>
                    <a:lnTo>
                      <a:pt x="207" y="638"/>
                    </a:lnTo>
                    <a:lnTo>
                      <a:pt x="207" y="640"/>
                    </a:lnTo>
                    <a:lnTo>
                      <a:pt x="207" y="642"/>
                    </a:lnTo>
                    <a:lnTo>
                      <a:pt x="206" y="642"/>
                    </a:lnTo>
                    <a:lnTo>
                      <a:pt x="204" y="642"/>
                    </a:lnTo>
                    <a:lnTo>
                      <a:pt x="202" y="642"/>
                    </a:lnTo>
                    <a:lnTo>
                      <a:pt x="201" y="642"/>
                    </a:lnTo>
                    <a:lnTo>
                      <a:pt x="201" y="643"/>
                    </a:lnTo>
                    <a:lnTo>
                      <a:pt x="201" y="645"/>
                    </a:lnTo>
                    <a:lnTo>
                      <a:pt x="199" y="646"/>
                    </a:lnTo>
                    <a:lnTo>
                      <a:pt x="198" y="650"/>
                    </a:lnTo>
                    <a:lnTo>
                      <a:pt x="198" y="653"/>
                    </a:lnTo>
                    <a:lnTo>
                      <a:pt x="196" y="653"/>
                    </a:lnTo>
                    <a:lnTo>
                      <a:pt x="196" y="654"/>
                    </a:lnTo>
                    <a:lnTo>
                      <a:pt x="194" y="654"/>
                    </a:lnTo>
                    <a:lnTo>
                      <a:pt x="194" y="656"/>
                    </a:lnTo>
                    <a:lnTo>
                      <a:pt x="193" y="656"/>
                    </a:lnTo>
                    <a:lnTo>
                      <a:pt x="191" y="658"/>
                    </a:lnTo>
                    <a:lnTo>
                      <a:pt x="190" y="661"/>
                    </a:lnTo>
                    <a:lnTo>
                      <a:pt x="188" y="662"/>
                    </a:lnTo>
                    <a:lnTo>
                      <a:pt x="188" y="664"/>
                    </a:lnTo>
                    <a:lnTo>
                      <a:pt x="187" y="664"/>
                    </a:lnTo>
                    <a:lnTo>
                      <a:pt x="185" y="667"/>
                    </a:lnTo>
                    <a:lnTo>
                      <a:pt x="183" y="669"/>
                    </a:lnTo>
                    <a:lnTo>
                      <a:pt x="182" y="672"/>
                    </a:lnTo>
                    <a:lnTo>
                      <a:pt x="180" y="673"/>
                    </a:lnTo>
                    <a:lnTo>
                      <a:pt x="179" y="675"/>
                    </a:lnTo>
                    <a:lnTo>
                      <a:pt x="177" y="675"/>
                    </a:lnTo>
                    <a:lnTo>
                      <a:pt x="175" y="677"/>
                    </a:lnTo>
                    <a:lnTo>
                      <a:pt x="174" y="678"/>
                    </a:lnTo>
                    <a:lnTo>
                      <a:pt x="174" y="680"/>
                    </a:lnTo>
                    <a:lnTo>
                      <a:pt x="172" y="680"/>
                    </a:lnTo>
                    <a:lnTo>
                      <a:pt x="171" y="680"/>
                    </a:lnTo>
                    <a:lnTo>
                      <a:pt x="169" y="681"/>
                    </a:lnTo>
                    <a:lnTo>
                      <a:pt x="169" y="683"/>
                    </a:lnTo>
                    <a:lnTo>
                      <a:pt x="169" y="684"/>
                    </a:lnTo>
                    <a:lnTo>
                      <a:pt x="169" y="686"/>
                    </a:lnTo>
                    <a:lnTo>
                      <a:pt x="169" y="688"/>
                    </a:lnTo>
                    <a:lnTo>
                      <a:pt x="169" y="689"/>
                    </a:lnTo>
                    <a:lnTo>
                      <a:pt x="169" y="691"/>
                    </a:lnTo>
                    <a:lnTo>
                      <a:pt x="169" y="692"/>
                    </a:lnTo>
                    <a:lnTo>
                      <a:pt x="169" y="694"/>
                    </a:lnTo>
                    <a:lnTo>
                      <a:pt x="168" y="696"/>
                    </a:lnTo>
                    <a:lnTo>
                      <a:pt x="168" y="697"/>
                    </a:lnTo>
                    <a:lnTo>
                      <a:pt x="168" y="699"/>
                    </a:lnTo>
                    <a:lnTo>
                      <a:pt x="163" y="697"/>
                    </a:lnTo>
                    <a:lnTo>
                      <a:pt x="153" y="683"/>
                    </a:lnTo>
                    <a:lnTo>
                      <a:pt x="155" y="670"/>
                    </a:lnTo>
                    <a:lnTo>
                      <a:pt x="153" y="667"/>
                    </a:lnTo>
                    <a:lnTo>
                      <a:pt x="158" y="658"/>
                    </a:lnTo>
                    <a:lnTo>
                      <a:pt x="156" y="646"/>
                    </a:lnTo>
                    <a:lnTo>
                      <a:pt x="158" y="635"/>
                    </a:lnTo>
                    <a:lnTo>
                      <a:pt x="168" y="627"/>
                    </a:lnTo>
                    <a:lnTo>
                      <a:pt x="169" y="613"/>
                    </a:lnTo>
                    <a:lnTo>
                      <a:pt x="169" y="612"/>
                    </a:lnTo>
                    <a:lnTo>
                      <a:pt x="161" y="61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27" name="Freeform 7"/>
              <p:cNvSpPr>
                <a:spLocks/>
              </p:cNvSpPr>
              <p:nvPr/>
            </p:nvSpPr>
            <p:spPr bwMode="auto">
              <a:xfrm>
                <a:off x="3629" y="765"/>
                <a:ext cx="326" cy="722"/>
              </a:xfrm>
              <a:custGeom>
                <a:avLst/>
                <a:gdLst>
                  <a:gd name="T0" fmla="*/ 315 w 326"/>
                  <a:gd name="T1" fmla="*/ 613 h 722"/>
                  <a:gd name="T2" fmla="*/ 318 w 326"/>
                  <a:gd name="T3" fmla="*/ 637 h 722"/>
                  <a:gd name="T4" fmla="*/ 309 w 326"/>
                  <a:gd name="T5" fmla="*/ 653 h 722"/>
                  <a:gd name="T6" fmla="*/ 285 w 326"/>
                  <a:gd name="T7" fmla="*/ 653 h 722"/>
                  <a:gd name="T8" fmla="*/ 271 w 326"/>
                  <a:gd name="T9" fmla="*/ 658 h 722"/>
                  <a:gd name="T10" fmla="*/ 271 w 326"/>
                  <a:gd name="T11" fmla="*/ 675 h 722"/>
                  <a:gd name="T12" fmla="*/ 249 w 326"/>
                  <a:gd name="T13" fmla="*/ 672 h 722"/>
                  <a:gd name="T14" fmla="*/ 244 w 326"/>
                  <a:gd name="T15" fmla="*/ 654 h 722"/>
                  <a:gd name="T16" fmla="*/ 257 w 326"/>
                  <a:gd name="T17" fmla="*/ 642 h 722"/>
                  <a:gd name="T18" fmla="*/ 236 w 326"/>
                  <a:gd name="T19" fmla="*/ 637 h 722"/>
                  <a:gd name="T20" fmla="*/ 219 w 326"/>
                  <a:gd name="T21" fmla="*/ 627 h 722"/>
                  <a:gd name="T22" fmla="*/ 200 w 326"/>
                  <a:gd name="T23" fmla="*/ 632 h 722"/>
                  <a:gd name="T24" fmla="*/ 190 w 326"/>
                  <a:gd name="T25" fmla="*/ 648 h 722"/>
                  <a:gd name="T26" fmla="*/ 171 w 326"/>
                  <a:gd name="T27" fmla="*/ 656 h 722"/>
                  <a:gd name="T28" fmla="*/ 142 w 326"/>
                  <a:gd name="T29" fmla="*/ 665 h 722"/>
                  <a:gd name="T30" fmla="*/ 123 w 326"/>
                  <a:gd name="T31" fmla="*/ 678 h 722"/>
                  <a:gd name="T32" fmla="*/ 109 w 326"/>
                  <a:gd name="T33" fmla="*/ 688 h 722"/>
                  <a:gd name="T34" fmla="*/ 100 w 326"/>
                  <a:gd name="T35" fmla="*/ 700 h 722"/>
                  <a:gd name="T36" fmla="*/ 79 w 326"/>
                  <a:gd name="T37" fmla="*/ 707 h 722"/>
                  <a:gd name="T38" fmla="*/ 55 w 326"/>
                  <a:gd name="T39" fmla="*/ 719 h 722"/>
                  <a:gd name="T40" fmla="*/ 38 w 326"/>
                  <a:gd name="T41" fmla="*/ 713 h 722"/>
                  <a:gd name="T42" fmla="*/ 21 w 326"/>
                  <a:gd name="T43" fmla="*/ 699 h 722"/>
                  <a:gd name="T44" fmla="*/ 6 w 326"/>
                  <a:gd name="T45" fmla="*/ 686 h 722"/>
                  <a:gd name="T46" fmla="*/ 5 w 326"/>
                  <a:gd name="T47" fmla="*/ 656 h 722"/>
                  <a:gd name="T48" fmla="*/ 21 w 326"/>
                  <a:gd name="T49" fmla="*/ 642 h 722"/>
                  <a:gd name="T50" fmla="*/ 28 w 326"/>
                  <a:gd name="T51" fmla="*/ 626 h 722"/>
                  <a:gd name="T52" fmla="*/ 44 w 326"/>
                  <a:gd name="T53" fmla="*/ 629 h 722"/>
                  <a:gd name="T54" fmla="*/ 47 w 326"/>
                  <a:gd name="T55" fmla="*/ 608 h 722"/>
                  <a:gd name="T56" fmla="*/ 49 w 326"/>
                  <a:gd name="T57" fmla="*/ 586 h 722"/>
                  <a:gd name="T58" fmla="*/ 49 w 326"/>
                  <a:gd name="T59" fmla="*/ 562 h 722"/>
                  <a:gd name="T60" fmla="*/ 51 w 326"/>
                  <a:gd name="T61" fmla="*/ 540 h 722"/>
                  <a:gd name="T62" fmla="*/ 51 w 326"/>
                  <a:gd name="T63" fmla="*/ 517 h 722"/>
                  <a:gd name="T64" fmla="*/ 51 w 326"/>
                  <a:gd name="T65" fmla="*/ 493 h 722"/>
                  <a:gd name="T66" fmla="*/ 51 w 326"/>
                  <a:gd name="T67" fmla="*/ 469 h 722"/>
                  <a:gd name="T68" fmla="*/ 52 w 326"/>
                  <a:gd name="T69" fmla="*/ 440 h 722"/>
                  <a:gd name="T70" fmla="*/ 52 w 326"/>
                  <a:gd name="T71" fmla="*/ 417 h 722"/>
                  <a:gd name="T72" fmla="*/ 52 w 326"/>
                  <a:gd name="T73" fmla="*/ 387 h 722"/>
                  <a:gd name="T74" fmla="*/ 68 w 326"/>
                  <a:gd name="T75" fmla="*/ 396 h 722"/>
                  <a:gd name="T76" fmla="*/ 81 w 326"/>
                  <a:gd name="T77" fmla="*/ 410 h 722"/>
                  <a:gd name="T78" fmla="*/ 97 w 326"/>
                  <a:gd name="T79" fmla="*/ 417 h 722"/>
                  <a:gd name="T80" fmla="*/ 114 w 326"/>
                  <a:gd name="T81" fmla="*/ 404 h 722"/>
                  <a:gd name="T82" fmla="*/ 128 w 326"/>
                  <a:gd name="T83" fmla="*/ 393 h 722"/>
                  <a:gd name="T84" fmla="*/ 135 w 326"/>
                  <a:gd name="T85" fmla="*/ 374 h 722"/>
                  <a:gd name="T86" fmla="*/ 139 w 326"/>
                  <a:gd name="T87" fmla="*/ 352 h 722"/>
                  <a:gd name="T88" fmla="*/ 144 w 326"/>
                  <a:gd name="T89" fmla="*/ 331 h 722"/>
                  <a:gd name="T90" fmla="*/ 149 w 326"/>
                  <a:gd name="T91" fmla="*/ 309 h 722"/>
                  <a:gd name="T92" fmla="*/ 152 w 326"/>
                  <a:gd name="T93" fmla="*/ 287 h 722"/>
                  <a:gd name="T94" fmla="*/ 150 w 326"/>
                  <a:gd name="T95" fmla="*/ 260 h 722"/>
                  <a:gd name="T96" fmla="*/ 182 w 326"/>
                  <a:gd name="T97" fmla="*/ 214 h 722"/>
                  <a:gd name="T98" fmla="*/ 190 w 326"/>
                  <a:gd name="T99" fmla="*/ 195 h 722"/>
                  <a:gd name="T100" fmla="*/ 196 w 326"/>
                  <a:gd name="T101" fmla="*/ 174 h 722"/>
                  <a:gd name="T102" fmla="*/ 188 w 326"/>
                  <a:gd name="T103" fmla="*/ 160 h 722"/>
                  <a:gd name="T104" fmla="*/ 168 w 326"/>
                  <a:gd name="T105" fmla="*/ 154 h 722"/>
                  <a:gd name="T106" fmla="*/ 158 w 326"/>
                  <a:gd name="T107" fmla="*/ 138 h 722"/>
                  <a:gd name="T108" fmla="*/ 157 w 326"/>
                  <a:gd name="T109" fmla="*/ 116 h 722"/>
                  <a:gd name="T110" fmla="*/ 155 w 326"/>
                  <a:gd name="T111" fmla="*/ 94 h 722"/>
                  <a:gd name="T112" fmla="*/ 158 w 326"/>
                  <a:gd name="T113" fmla="*/ 73 h 722"/>
                  <a:gd name="T114" fmla="*/ 160 w 326"/>
                  <a:gd name="T115" fmla="*/ 51 h 722"/>
                  <a:gd name="T116" fmla="*/ 163 w 326"/>
                  <a:gd name="T117" fmla="*/ 29 h 722"/>
                  <a:gd name="T118" fmla="*/ 165 w 326"/>
                  <a:gd name="T119" fmla="*/ 6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722">
                    <a:moveTo>
                      <a:pt x="326" y="610"/>
                    </a:moveTo>
                    <a:lnTo>
                      <a:pt x="326" y="612"/>
                    </a:lnTo>
                    <a:lnTo>
                      <a:pt x="325" y="612"/>
                    </a:lnTo>
                    <a:lnTo>
                      <a:pt x="323" y="610"/>
                    </a:lnTo>
                    <a:lnTo>
                      <a:pt x="321" y="610"/>
                    </a:lnTo>
                    <a:lnTo>
                      <a:pt x="320" y="610"/>
                    </a:lnTo>
                    <a:lnTo>
                      <a:pt x="320" y="608"/>
                    </a:lnTo>
                    <a:lnTo>
                      <a:pt x="320" y="607"/>
                    </a:lnTo>
                    <a:lnTo>
                      <a:pt x="318" y="607"/>
                    </a:lnTo>
                    <a:lnTo>
                      <a:pt x="317" y="607"/>
                    </a:lnTo>
                    <a:lnTo>
                      <a:pt x="317" y="608"/>
                    </a:lnTo>
                    <a:lnTo>
                      <a:pt x="317" y="610"/>
                    </a:lnTo>
                    <a:lnTo>
                      <a:pt x="315" y="610"/>
                    </a:lnTo>
                    <a:lnTo>
                      <a:pt x="315" y="612"/>
                    </a:lnTo>
                    <a:lnTo>
                      <a:pt x="315" y="613"/>
                    </a:lnTo>
                    <a:lnTo>
                      <a:pt x="315" y="615"/>
                    </a:lnTo>
                    <a:lnTo>
                      <a:pt x="317" y="616"/>
                    </a:lnTo>
                    <a:lnTo>
                      <a:pt x="317" y="618"/>
                    </a:lnTo>
                    <a:lnTo>
                      <a:pt x="318" y="619"/>
                    </a:lnTo>
                    <a:lnTo>
                      <a:pt x="318" y="621"/>
                    </a:lnTo>
                    <a:lnTo>
                      <a:pt x="318" y="623"/>
                    </a:lnTo>
                    <a:lnTo>
                      <a:pt x="320" y="624"/>
                    </a:lnTo>
                    <a:lnTo>
                      <a:pt x="320" y="626"/>
                    </a:lnTo>
                    <a:lnTo>
                      <a:pt x="321" y="627"/>
                    </a:lnTo>
                    <a:lnTo>
                      <a:pt x="321" y="629"/>
                    </a:lnTo>
                    <a:lnTo>
                      <a:pt x="320" y="631"/>
                    </a:lnTo>
                    <a:lnTo>
                      <a:pt x="320" y="632"/>
                    </a:lnTo>
                    <a:lnTo>
                      <a:pt x="320" y="634"/>
                    </a:lnTo>
                    <a:lnTo>
                      <a:pt x="318" y="635"/>
                    </a:lnTo>
                    <a:lnTo>
                      <a:pt x="318" y="637"/>
                    </a:lnTo>
                    <a:lnTo>
                      <a:pt x="317" y="637"/>
                    </a:lnTo>
                    <a:lnTo>
                      <a:pt x="317" y="638"/>
                    </a:lnTo>
                    <a:lnTo>
                      <a:pt x="315" y="640"/>
                    </a:lnTo>
                    <a:lnTo>
                      <a:pt x="315" y="642"/>
                    </a:lnTo>
                    <a:lnTo>
                      <a:pt x="315" y="643"/>
                    </a:lnTo>
                    <a:lnTo>
                      <a:pt x="315" y="645"/>
                    </a:lnTo>
                    <a:lnTo>
                      <a:pt x="315" y="646"/>
                    </a:lnTo>
                    <a:lnTo>
                      <a:pt x="315" y="648"/>
                    </a:lnTo>
                    <a:lnTo>
                      <a:pt x="315" y="650"/>
                    </a:lnTo>
                    <a:lnTo>
                      <a:pt x="315" y="651"/>
                    </a:lnTo>
                    <a:lnTo>
                      <a:pt x="315" y="653"/>
                    </a:lnTo>
                    <a:lnTo>
                      <a:pt x="314" y="654"/>
                    </a:lnTo>
                    <a:lnTo>
                      <a:pt x="312" y="654"/>
                    </a:lnTo>
                    <a:lnTo>
                      <a:pt x="310" y="653"/>
                    </a:lnTo>
                    <a:lnTo>
                      <a:pt x="309" y="653"/>
                    </a:lnTo>
                    <a:lnTo>
                      <a:pt x="307" y="653"/>
                    </a:lnTo>
                    <a:lnTo>
                      <a:pt x="306" y="653"/>
                    </a:lnTo>
                    <a:lnTo>
                      <a:pt x="304" y="653"/>
                    </a:lnTo>
                    <a:lnTo>
                      <a:pt x="302" y="653"/>
                    </a:lnTo>
                    <a:lnTo>
                      <a:pt x="301" y="653"/>
                    </a:lnTo>
                    <a:lnTo>
                      <a:pt x="299" y="653"/>
                    </a:lnTo>
                    <a:lnTo>
                      <a:pt x="298" y="653"/>
                    </a:lnTo>
                    <a:lnTo>
                      <a:pt x="296" y="653"/>
                    </a:lnTo>
                    <a:lnTo>
                      <a:pt x="295" y="653"/>
                    </a:lnTo>
                    <a:lnTo>
                      <a:pt x="293" y="653"/>
                    </a:lnTo>
                    <a:lnTo>
                      <a:pt x="291" y="653"/>
                    </a:lnTo>
                    <a:lnTo>
                      <a:pt x="290" y="653"/>
                    </a:lnTo>
                    <a:lnTo>
                      <a:pt x="288" y="653"/>
                    </a:lnTo>
                    <a:lnTo>
                      <a:pt x="287" y="653"/>
                    </a:lnTo>
                    <a:lnTo>
                      <a:pt x="285" y="653"/>
                    </a:lnTo>
                    <a:lnTo>
                      <a:pt x="283" y="653"/>
                    </a:lnTo>
                    <a:lnTo>
                      <a:pt x="282" y="653"/>
                    </a:lnTo>
                    <a:lnTo>
                      <a:pt x="280" y="653"/>
                    </a:lnTo>
                    <a:lnTo>
                      <a:pt x="279" y="653"/>
                    </a:lnTo>
                    <a:lnTo>
                      <a:pt x="277" y="653"/>
                    </a:lnTo>
                    <a:lnTo>
                      <a:pt x="276" y="653"/>
                    </a:lnTo>
                    <a:lnTo>
                      <a:pt x="274" y="653"/>
                    </a:lnTo>
                    <a:lnTo>
                      <a:pt x="272" y="653"/>
                    </a:lnTo>
                    <a:lnTo>
                      <a:pt x="271" y="651"/>
                    </a:lnTo>
                    <a:lnTo>
                      <a:pt x="269" y="651"/>
                    </a:lnTo>
                    <a:lnTo>
                      <a:pt x="269" y="653"/>
                    </a:lnTo>
                    <a:lnTo>
                      <a:pt x="269" y="654"/>
                    </a:lnTo>
                    <a:lnTo>
                      <a:pt x="271" y="654"/>
                    </a:lnTo>
                    <a:lnTo>
                      <a:pt x="271" y="656"/>
                    </a:lnTo>
                    <a:lnTo>
                      <a:pt x="271" y="658"/>
                    </a:lnTo>
                    <a:lnTo>
                      <a:pt x="271" y="659"/>
                    </a:lnTo>
                    <a:lnTo>
                      <a:pt x="271" y="661"/>
                    </a:lnTo>
                    <a:lnTo>
                      <a:pt x="272" y="662"/>
                    </a:lnTo>
                    <a:lnTo>
                      <a:pt x="272" y="664"/>
                    </a:lnTo>
                    <a:lnTo>
                      <a:pt x="272" y="665"/>
                    </a:lnTo>
                    <a:lnTo>
                      <a:pt x="274" y="665"/>
                    </a:lnTo>
                    <a:lnTo>
                      <a:pt x="274" y="667"/>
                    </a:lnTo>
                    <a:lnTo>
                      <a:pt x="272" y="667"/>
                    </a:lnTo>
                    <a:lnTo>
                      <a:pt x="272" y="669"/>
                    </a:lnTo>
                    <a:lnTo>
                      <a:pt x="272" y="670"/>
                    </a:lnTo>
                    <a:lnTo>
                      <a:pt x="274" y="672"/>
                    </a:lnTo>
                    <a:lnTo>
                      <a:pt x="274" y="673"/>
                    </a:lnTo>
                    <a:lnTo>
                      <a:pt x="274" y="675"/>
                    </a:lnTo>
                    <a:lnTo>
                      <a:pt x="272" y="675"/>
                    </a:lnTo>
                    <a:lnTo>
                      <a:pt x="271" y="675"/>
                    </a:lnTo>
                    <a:lnTo>
                      <a:pt x="269" y="675"/>
                    </a:lnTo>
                    <a:lnTo>
                      <a:pt x="268" y="675"/>
                    </a:lnTo>
                    <a:lnTo>
                      <a:pt x="266" y="675"/>
                    </a:lnTo>
                    <a:lnTo>
                      <a:pt x="264" y="675"/>
                    </a:lnTo>
                    <a:lnTo>
                      <a:pt x="263" y="675"/>
                    </a:lnTo>
                    <a:lnTo>
                      <a:pt x="261" y="675"/>
                    </a:lnTo>
                    <a:lnTo>
                      <a:pt x="260" y="675"/>
                    </a:lnTo>
                    <a:lnTo>
                      <a:pt x="258" y="675"/>
                    </a:lnTo>
                    <a:lnTo>
                      <a:pt x="257" y="675"/>
                    </a:lnTo>
                    <a:lnTo>
                      <a:pt x="255" y="675"/>
                    </a:lnTo>
                    <a:lnTo>
                      <a:pt x="253" y="675"/>
                    </a:lnTo>
                    <a:lnTo>
                      <a:pt x="253" y="673"/>
                    </a:lnTo>
                    <a:lnTo>
                      <a:pt x="252" y="673"/>
                    </a:lnTo>
                    <a:lnTo>
                      <a:pt x="250" y="672"/>
                    </a:lnTo>
                    <a:lnTo>
                      <a:pt x="249" y="672"/>
                    </a:lnTo>
                    <a:lnTo>
                      <a:pt x="247" y="670"/>
                    </a:lnTo>
                    <a:lnTo>
                      <a:pt x="245" y="669"/>
                    </a:lnTo>
                    <a:lnTo>
                      <a:pt x="244" y="669"/>
                    </a:lnTo>
                    <a:lnTo>
                      <a:pt x="244" y="667"/>
                    </a:lnTo>
                    <a:lnTo>
                      <a:pt x="242" y="667"/>
                    </a:lnTo>
                    <a:lnTo>
                      <a:pt x="242" y="665"/>
                    </a:lnTo>
                    <a:lnTo>
                      <a:pt x="241" y="665"/>
                    </a:lnTo>
                    <a:lnTo>
                      <a:pt x="241" y="664"/>
                    </a:lnTo>
                    <a:lnTo>
                      <a:pt x="241" y="662"/>
                    </a:lnTo>
                    <a:lnTo>
                      <a:pt x="241" y="661"/>
                    </a:lnTo>
                    <a:lnTo>
                      <a:pt x="242" y="659"/>
                    </a:lnTo>
                    <a:lnTo>
                      <a:pt x="242" y="658"/>
                    </a:lnTo>
                    <a:lnTo>
                      <a:pt x="242" y="656"/>
                    </a:lnTo>
                    <a:lnTo>
                      <a:pt x="244" y="656"/>
                    </a:lnTo>
                    <a:lnTo>
                      <a:pt x="244" y="654"/>
                    </a:lnTo>
                    <a:lnTo>
                      <a:pt x="245" y="653"/>
                    </a:lnTo>
                    <a:lnTo>
                      <a:pt x="247" y="653"/>
                    </a:lnTo>
                    <a:lnTo>
                      <a:pt x="249" y="651"/>
                    </a:lnTo>
                    <a:lnTo>
                      <a:pt x="250" y="651"/>
                    </a:lnTo>
                    <a:lnTo>
                      <a:pt x="250" y="650"/>
                    </a:lnTo>
                    <a:lnTo>
                      <a:pt x="252" y="650"/>
                    </a:lnTo>
                    <a:lnTo>
                      <a:pt x="253" y="648"/>
                    </a:lnTo>
                    <a:lnTo>
                      <a:pt x="255" y="648"/>
                    </a:lnTo>
                    <a:lnTo>
                      <a:pt x="255" y="646"/>
                    </a:lnTo>
                    <a:lnTo>
                      <a:pt x="257" y="646"/>
                    </a:lnTo>
                    <a:lnTo>
                      <a:pt x="257" y="645"/>
                    </a:lnTo>
                    <a:lnTo>
                      <a:pt x="258" y="645"/>
                    </a:lnTo>
                    <a:lnTo>
                      <a:pt x="258" y="643"/>
                    </a:lnTo>
                    <a:lnTo>
                      <a:pt x="257" y="643"/>
                    </a:lnTo>
                    <a:lnTo>
                      <a:pt x="257" y="642"/>
                    </a:lnTo>
                    <a:lnTo>
                      <a:pt x="255" y="642"/>
                    </a:lnTo>
                    <a:lnTo>
                      <a:pt x="255" y="640"/>
                    </a:lnTo>
                    <a:lnTo>
                      <a:pt x="253" y="640"/>
                    </a:lnTo>
                    <a:lnTo>
                      <a:pt x="252" y="640"/>
                    </a:lnTo>
                    <a:lnTo>
                      <a:pt x="250" y="640"/>
                    </a:lnTo>
                    <a:lnTo>
                      <a:pt x="249" y="640"/>
                    </a:lnTo>
                    <a:lnTo>
                      <a:pt x="247" y="640"/>
                    </a:lnTo>
                    <a:lnTo>
                      <a:pt x="245" y="642"/>
                    </a:lnTo>
                    <a:lnTo>
                      <a:pt x="244" y="640"/>
                    </a:lnTo>
                    <a:lnTo>
                      <a:pt x="242" y="640"/>
                    </a:lnTo>
                    <a:lnTo>
                      <a:pt x="241" y="640"/>
                    </a:lnTo>
                    <a:lnTo>
                      <a:pt x="239" y="638"/>
                    </a:lnTo>
                    <a:lnTo>
                      <a:pt x="238" y="638"/>
                    </a:lnTo>
                    <a:lnTo>
                      <a:pt x="236" y="638"/>
                    </a:lnTo>
                    <a:lnTo>
                      <a:pt x="236" y="637"/>
                    </a:lnTo>
                    <a:lnTo>
                      <a:pt x="234" y="637"/>
                    </a:lnTo>
                    <a:lnTo>
                      <a:pt x="233" y="637"/>
                    </a:lnTo>
                    <a:lnTo>
                      <a:pt x="233" y="635"/>
                    </a:lnTo>
                    <a:lnTo>
                      <a:pt x="231" y="635"/>
                    </a:lnTo>
                    <a:lnTo>
                      <a:pt x="230" y="635"/>
                    </a:lnTo>
                    <a:lnTo>
                      <a:pt x="230" y="634"/>
                    </a:lnTo>
                    <a:lnTo>
                      <a:pt x="228" y="634"/>
                    </a:lnTo>
                    <a:lnTo>
                      <a:pt x="226" y="634"/>
                    </a:lnTo>
                    <a:lnTo>
                      <a:pt x="226" y="632"/>
                    </a:lnTo>
                    <a:lnTo>
                      <a:pt x="225" y="632"/>
                    </a:lnTo>
                    <a:lnTo>
                      <a:pt x="223" y="632"/>
                    </a:lnTo>
                    <a:lnTo>
                      <a:pt x="223" y="631"/>
                    </a:lnTo>
                    <a:lnTo>
                      <a:pt x="222" y="631"/>
                    </a:lnTo>
                    <a:lnTo>
                      <a:pt x="220" y="629"/>
                    </a:lnTo>
                    <a:lnTo>
                      <a:pt x="219" y="627"/>
                    </a:lnTo>
                    <a:lnTo>
                      <a:pt x="217" y="627"/>
                    </a:lnTo>
                    <a:lnTo>
                      <a:pt x="217" y="626"/>
                    </a:lnTo>
                    <a:lnTo>
                      <a:pt x="215" y="626"/>
                    </a:lnTo>
                    <a:lnTo>
                      <a:pt x="214" y="626"/>
                    </a:lnTo>
                    <a:lnTo>
                      <a:pt x="214" y="627"/>
                    </a:lnTo>
                    <a:lnTo>
                      <a:pt x="212" y="627"/>
                    </a:lnTo>
                    <a:lnTo>
                      <a:pt x="211" y="629"/>
                    </a:lnTo>
                    <a:lnTo>
                      <a:pt x="209" y="629"/>
                    </a:lnTo>
                    <a:lnTo>
                      <a:pt x="207" y="629"/>
                    </a:lnTo>
                    <a:lnTo>
                      <a:pt x="207" y="631"/>
                    </a:lnTo>
                    <a:lnTo>
                      <a:pt x="206" y="631"/>
                    </a:lnTo>
                    <a:lnTo>
                      <a:pt x="204" y="631"/>
                    </a:lnTo>
                    <a:lnTo>
                      <a:pt x="203" y="632"/>
                    </a:lnTo>
                    <a:lnTo>
                      <a:pt x="201" y="632"/>
                    </a:lnTo>
                    <a:lnTo>
                      <a:pt x="200" y="632"/>
                    </a:lnTo>
                    <a:lnTo>
                      <a:pt x="200" y="634"/>
                    </a:lnTo>
                    <a:lnTo>
                      <a:pt x="198" y="634"/>
                    </a:lnTo>
                    <a:lnTo>
                      <a:pt x="196" y="634"/>
                    </a:lnTo>
                    <a:lnTo>
                      <a:pt x="196" y="635"/>
                    </a:lnTo>
                    <a:lnTo>
                      <a:pt x="196" y="637"/>
                    </a:lnTo>
                    <a:lnTo>
                      <a:pt x="196" y="638"/>
                    </a:lnTo>
                    <a:lnTo>
                      <a:pt x="195" y="638"/>
                    </a:lnTo>
                    <a:lnTo>
                      <a:pt x="195" y="640"/>
                    </a:lnTo>
                    <a:lnTo>
                      <a:pt x="195" y="642"/>
                    </a:lnTo>
                    <a:lnTo>
                      <a:pt x="193" y="643"/>
                    </a:lnTo>
                    <a:lnTo>
                      <a:pt x="193" y="645"/>
                    </a:lnTo>
                    <a:lnTo>
                      <a:pt x="193" y="646"/>
                    </a:lnTo>
                    <a:lnTo>
                      <a:pt x="192" y="646"/>
                    </a:lnTo>
                    <a:lnTo>
                      <a:pt x="192" y="648"/>
                    </a:lnTo>
                    <a:lnTo>
                      <a:pt x="190" y="648"/>
                    </a:lnTo>
                    <a:lnTo>
                      <a:pt x="190" y="650"/>
                    </a:lnTo>
                    <a:lnTo>
                      <a:pt x="188" y="650"/>
                    </a:lnTo>
                    <a:lnTo>
                      <a:pt x="187" y="651"/>
                    </a:lnTo>
                    <a:lnTo>
                      <a:pt x="185" y="651"/>
                    </a:lnTo>
                    <a:lnTo>
                      <a:pt x="184" y="653"/>
                    </a:lnTo>
                    <a:lnTo>
                      <a:pt x="182" y="653"/>
                    </a:lnTo>
                    <a:lnTo>
                      <a:pt x="180" y="653"/>
                    </a:lnTo>
                    <a:lnTo>
                      <a:pt x="179" y="653"/>
                    </a:lnTo>
                    <a:lnTo>
                      <a:pt x="177" y="653"/>
                    </a:lnTo>
                    <a:lnTo>
                      <a:pt x="177" y="654"/>
                    </a:lnTo>
                    <a:lnTo>
                      <a:pt x="176" y="654"/>
                    </a:lnTo>
                    <a:lnTo>
                      <a:pt x="174" y="654"/>
                    </a:lnTo>
                    <a:lnTo>
                      <a:pt x="173" y="654"/>
                    </a:lnTo>
                    <a:lnTo>
                      <a:pt x="173" y="656"/>
                    </a:lnTo>
                    <a:lnTo>
                      <a:pt x="171" y="656"/>
                    </a:lnTo>
                    <a:lnTo>
                      <a:pt x="169" y="656"/>
                    </a:lnTo>
                    <a:lnTo>
                      <a:pt x="168" y="658"/>
                    </a:lnTo>
                    <a:lnTo>
                      <a:pt x="166" y="658"/>
                    </a:lnTo>
                    <a:lnTo>
                      <a:pt x="166" y="659"/>
                    </a:lnTo>
                    <a:lnTo>
                      <a:pt x="165" y="659"/>
                    </a:lnTo>
                    <a:lnTo>
                      <a:pt x="154" y="672"/>
                    </a:lnTo>
                    <a:lnTo>
                      <a:pt x="152" y="670"/>
                    </a:lnTo>
                    <a:lnTo>
                      <a:pt x="152" y="669"/>
                    </a:lnTo>
                    <a:lnTo>
                      <a:pt x="150" y="667"/>
                    </a:lnTo>
                    <a:lnTo>
                      <a:pt x="149" y="667"/>
                    </a:lnTo>
                    <a:lnTo>
                      <a:pt x="147" y="667"/>
                    </a:lnTo>
                    <a:lnTo>
                      <a:pt x="146" y="665"/>
                    </a:lnTo>
                    <a:lnTo>
                      <a:pt x="144" y="664"/>
                    </a:lnTo>
                    <a:lnTo>
                      <a:pt x="144" y="665"/>
                    </a:lnTo>
                    <a:lnTo>
                      <a:pt x="142" y="665"/>
                    </a:lnTo>
                    <a:lnTo>
                      <a:pt x="141" y="667"/>
                    </a:lnTo>
                    <a:lnTo>
                      <a:pt x="139" y="667"/>
                    </a:lnTo>
                    <a:lnTo>
                      <a:pt x="139" y="669"/>
                    </a:lnTo>
                    <a:lnTo>
                      <a:pt x="138" y="669"/>
                    </a:lnTo>
                    <a:lnTo>
                      <a:pt x="136" y="670"/>
                    </a:lnTo>
                    <a:lnTo>
                      <a:pt x="135" y="670"/>
                    </a:lnTo>
                    <a:lnTo>
                      <a:pt x="135" y="672"/>
                    </a:lnTo>
                    <a:lnTo>
                      <a:pt x="133" y="672"/>
                    </a:lnTo>
                    <a:lnTo>
                      <a:pt x="131" y="673"/>
                    </a:lnTo>
                    <a:lnTo>
                      <a:pt x="130" y="673"/>
                    </a:lnTo>
                    <a:lnTo>
                      <a:pt x="128" y="675"/>
                    </a:lnTo>
                    <a:lnTo>
                      <a:pt x="127" y="675"/>
                    </a:lnTo>
                    <a:lnTo>
                      <a:pt x="127" y="677"/>
                    </a:lnTo>
                    <a:lnTo>
                      <a:pt x="125" y="677"/>
                    </a:lnTo>
                    <a:lnTo>
                      <a:pt x="123" y="678"/>
                    </a:lnTo>
                    <a:lnTo>
                      <a:pt x="122" y="678"/>
                    </a:lnTo>
                    <a:lnTo>
                      <a:pt x="122" y="680"/>
                    </a:lnTo>
                    <a:lnTo>
                      <a:pt x="120" y="680"/>
                    </a:lnTo>
                    <a:lnTo>
                      <a:pt x="119" y="680"/>
                    </a:lnTo>
                    <a:lnTo>
                      <a:pt x="119" y="681"/>
                    </a:lnTo>
                    <a:lnTo>
                      <a:pt x="117" y="681"/>
                    </a:lnTo>
                    <a:lnTo>
                      <a:pt x="117" y="683"/>
                    </a:lnTo>
                    <a:lnTo>
                      <a:pt x="116" y="683"/>
                    </a:lnTo>
                    <a:lnTo>
                      <a:pt x="114" y="683"/>
                    </a:lnTo>
                    <a:lnTo>
                      <a:pt x="114" y="684"/>
                    </a:lnTo>
                    <a:lnTo>
                      <a:pt x="112" y="684"/>
                    </a:lnTo>
                    <a:lnTo>
                      <a:pt x="112" y="686"/>
                    </a:lnTo>
                    <a:lnTo>
                      <a:pt x="111" y="686"/>
                    </a:lnTo>
                    <a:lnTo>
                      <a:pt x="109" y="686"/>
                    </a:lnTo>
                    <a:lnTo>
                      <a:pt x="109" y="688"/>
                    </a:lnTo>
                    <a:lnTo>
                      <a:pt x="108" y="688"/>
                    </a:lnTo>
                    <a:lnTo>
                      <a:pt x="108" y="689"/>
                    </a:lnTo>
                    <a:lnTo>
                      <a:pt x="106" y="689"/>
                    </a:lnTo>
                    <a:lnTo>
                      <a:pt x="106" y="691"/>
                    </a:lnTo>
                    <a:lnTo>
                      <a:pt x="106" y="692"/>
                    </a:lnTo>
                    <a:lnTo>
                      <a:pt x="106" y="694"/>
                    </a:lnTo>
                    <a:lnTo>
                      <a:pt x="108" y="694"/>
                    </a:lnTo>
                    <a:lnTo>
                      <a:pt x="108" y="696"/>
                    </a:lnTo>
                    <a:lnTo>
                      <a:pt x="108" y="697"/>
                    </a:lnTo>
                    <a:lnTo>
                      <a:pt x="108" y="699"/>
                    </a:lnTo>
                    <a:lnTo>
                      <a:pt x="106" y="699"/>
                    </a:lnTo>
                    <a:lnTo>
                      <a:pt x="104" y="699"/>
                    </a:lnTo>
                    <a:lnTo>
                      <a:pt x="103" y="699"/>
                    </a:lnTo>
                    <a:lnTo>
                      <a:pt x="101" y="700"/>
                    </a:lnTo>
                    <a:lnTo>
                      <a:pt x="100" y="700"/>
                    </a:lnTo>
                    <a:lnTo>
                      <a:pt x="98" y="700"/>
                    </a:lnTo>
                    <a:lnTo>
                      <a:pt x="97" y="700"/>
                    </a:lnTo>
                    <a:lnTo>
                      <a:pt x="97" y="702"/>
                    </a:lnTo>
                    <a:lnTo>
                      <a:pt x="95" y="702"/>
                    </a:lnTo>
                    <a:lnTo>
                      <a:pt x="93" y="702"/>
                    </a:lnTo>
                    <a:lnTo>
                      <a:pt x="92" y="702"/>
                    </a:lnTo>
                    <a:lnTo>
                      <a:pt x="90" y="702"/>
                    </a:lnTo>
                    <a:lnTo>
                      <a:pt x="90" y="703"/>
                    </a:lnTo>
                    <a:lnTo>
                      <a:pt x="89" y="703"/>
                    </a:lnTo>
                    <a:lnTo>
                      <a:pt x="87" y="703"/>
                    </a:lnTo>
                    <a:lnTo>
                      <a:pt x="85" y="703"/>
                    </a:lnTo>
                    <a:lnTo>
                      <a:pt x="84" y="705"/>
                    </a:lnTo>
                    <a:lnTo>
                      <a:pt x="82" y="705"/>
                    </a:lnTo>
                    <a:lnTo>
                      <a:pt x="81" y="705"/>
                    </a:lnTo>
                    <a:lnTo>
                      <a:pt x="79" y="707"/>
                    </a:lnTo>
                    <a:lnTo>
                      <a:pt x="78" y="708"/>
                    </a:lnTo>
                    <a:lnTo>
                      <a:pt x="74" y="711"/>
                    </a:lnTo>
                    <a:lnTo>
                      <a:pt x="73" y="711"/>
                    </a:lnTo>
                    <a:lnTo>
                      <a:pt x="71" y="713"/>
                    </a:lnTo>
                    <a:lnTo>
                      <a:pt x="70" y="713"/>
                    </a:lnTo>
                    <a:lnTo>
                      <a:pt x="68" y="715"/>
                    </a:lnTo>
                    <a:lnTo>
                      <a:pt x="66" y="715"/>
                    </a:lnTo>
                    <a:lnTo>
                      <a:pt x="65" y="716"/>
                    </a:lnTo>
                    <a:lnTo>
                      <a:pt x="63" y="716"/>
                    </a:lnTo>
                    <a:lnTo>
                      <a:pt x="62" y="716"/>
                    </a:lnTo>
                    <a:lnTo>
                      <a:pt x="60" y="718"/>
                    </a:lnTo>
                    <a:lnTo>
                      <a:pt x="59" y="718"/>
                    </a:lnTo>
                    <a:lnTo>
                      <a:pt x="57" y="718"/>
                    </a:lnTo>
                    <a:lnTo>
                      <a:pt x="57" y="719"/>
                    </a:lnTo>
                    <a:lnTo>
                      <a:pt x="55" y="719"/>
                    </a:lnTo>
                    <a:lnTo>
                      <a:pt x="54" y="719"/>
                    </a:lnTo>
                    <a:lnTo>
                      <a:pt x="52" y="719"/>
                    </a:lnTo>
                    <a:lnTo>
                      <a:pt x="51" y="719"/>
                    </a:lnTo>
                    <a:lnTo>
                      <a:pt x="51" y="721"/>
                    </a:lnTo>
                    <a:lnTo>
                      <a:pt x="49" y="721"/>
                    </a:lnTo>
                    <a:lnTo>
                      <a:pt x="49" y="722"/>
                    </a:lnTo>
                    <a:lnTo>
                      <a:pt x="47" y="721"/>
                    </a:lnTo>
                    <a:lnTo>
                      <a:pt x="46" y="721"/>
                    </a:lnTo>
                    <a:lnTo>
                      <a:pt x="44" y="719"/>
                    </a:lnTo>
                    <a:lnTo>
                      <a:pt x="43" y="718"/>
                    </a:lnTo>
                    <a:lnTo>
                      <a:pt x="41" y="718"/>
                    </a:lnTo>
                    <a:lnTo>
                      <a:pt x="41" y="716"/>
                    </a:lnTo>
                    <a:lnTo>
                      <a:pt x="40" y="715"/>
                    </a:lnTo>
                    <a:lnTo>
                      <a:pt x="38" y="715"/>
                    </a:lnTo>
                    <a:lnTo>
                      <a:pt x="38" y="713"/>
                    </a:lnTo>
                    <a:lnTo>
                      <a:pt x="36" y="713"/>
                    </a:lnTo>
                    <a:lnTo>
                      <a:pt x="35" y="711"/>
                    </a:lnTo>
                    <a:lnTo>
                      <a:pt x="33" y="710"/>
                    </a:lnTo>
                    <a:lnTo>
                      <a:pt x="32" y="708"/>
                    </a:lnTo>
                    <a:lnTo>
                      <a:pt x="30" y="708"/>
                    </a:lnTo>
                    <a:lnTo>
                      <a:pt x="30" y="707"/>
                    </a:lnTo>
                    <a:lnTo>
                      <a:pt x="28" y="707"/>
                    </a:lnTo>
                    <a:lnTo>
                      <a:pt x="28" y="705"/>
                    </a:lnTo>
                    <a:lnTo>
                      <a:pt x="27" y="705"/>
                    </a:lnTo>
                    <a:lnTo>
                      <a:pt x="25" y="703"/>
                    </a:lnTo>
                    <a:lnTo>
                      <a:pt x="25" y="702"/>
                    </a:lnTo>
                    <a:lnTo>
                      <a:pt x="24" y="702"/>
                    </a:lnTo>
                    <a:lnTo>
                      <a:pt x="24" y="700"/>
                    </a:lnTo>
                    <a:lnTo>
                      <a:pt x="22" y="700"/>
                    </a:lnTo>
                    <a:lnTo>
                      <a:pt x="21" y="699"/>
                    </a:lnTo>
                    <a:lnTo>
                      <a:pt x="19" y="697"/>
                    </a:lnTo>
                    <a:lnTo>
                      <a:pt x="17" y="697"/>
                    </a:lnTo>
                    <a:lnTo>
                      <a:pt x="17" y="696"/>
                    </a:lnTo>
                    <a:lnTo>
                      <a:pt x="16" y="696"/>
                    </a:lnTo>
                    <a:lnTo>
                      <a:pt x="16" y="694"/>
                    </a:lnTo>
                    <a:lnTo>
                      <a:pt x="14" y="694"/>
                    </a:lnTo>
                    <a:lnTo>
                      <a:pt x="14" y="692"/>
                    </a:lnTo>
                    <a:lnTo>
                      <a:pt x="13" y="692"/>
                    </a:lnTo>
                    <a:lnTo>
                      <a:pt x="11" y="692"/>
                    </a:lnTo>
                    <a:lnTo>
                      <a:pt x="11" y="691"/>
                    </a:lnTo>
                    <a:lnTo>
                      <a:pt x="9" y="691"/>
                    </a:lnTo>
                    <a:lnTo>
                      <a:pt x="9" y="689"/>
                    </a:lnTo>
                    <a:lnTo>
                      <a:pt x="8" y="689"/>
                    </a:lnTo>
                    <a:lnTo>
                      <a:pt x="6" y="688"/>
                    </a:lnTo>
                    <a:lnTo>
                      <a:pt x="6" y="686"/>
                    </a:lnTo>
                    <a:lnTo>
                      <a:pt x="5" y="686"/>
                    </a:lnTo>
                    <a:lnTo>
                      <a:pt x="5" y="684"/>
                    </a:lnTo>
                    <a:lnTo>
                      <a:pt x="5" y="683"/>
                    </a:lnTo>
                    <a:lnTo>
                      <a:pt x="3" y="681"/>
                    </a:lnTo>
                    <a:lnTo>
                      <a:pt x="3" y="680"/>
                    </a:lnTo>
                    <a:lnTo>
                      <a:pt x="1" y="678"/>
                    </a:lnTo>
                    <a:lnTo>
                      <a:pt x="1" y="677"/>
                    </a:lnTo>
                    <a:lnTo>
                      <a:pt x="0" y="677"/>
                    </a:lnTo>
                    <a:lnTo>
                      <a:pt x="0" y="675"/>
                    </a:lnTo>
                    <a:lnTo>
                      <a:pt x="0" y="673"/>
                    </a:lnTo>
                    <a:lnTo>
                      <a:pt x="0" y="672"/>
                    </a:lnTo>
                    <a:lnTo>
                      <a:pt x="1" y="672"/>
                    </a:lnTo>
                    <a:lnTo>
                      <a:pt x="1" y="670"/>
                    </a:lnTo>
                    <a:lnTo>
                      <a:pt x="5" y="658"/>
                    </a:lnTo>
                    <a:lnTo>
                      <a:pt x="5" y="656"/>
                    </a:lnTo>
                    <a:lnTo>
                      <a:pt x="6" y="656"/>
                    </a:lnTo>
                    <a:lnTo>
                      <a:pt x="6" y="654"/>
                    </a:lnTo>
                    <a:lnTo>
                      <a:pt x="8" y="653"/>
                    </a:lnTo>
                    <a:lnTo>
                      <a:pt x="9" y="653"/>
                    </a:lnTo>
                    <a:lnTo>
                      <a:pt x="9" y="651"/>
                    </a:lnTo>
                    <a:lnTo>
                      <a:pt x="11" y="651"/>
                    </a:lnTo>
                    <a:lnTo>
                      <a:pt x="11" y="650"/>
                    </a:lnTo>
                    <a:lnTo>
                      <a:pt x="13" y="650"/>
                    </a:lnTo>
                    <a:lnTo>
                      <a:pt x="13" y="648"/>
                    </a:lnTo>
                    <a:lnTo>
                      <a:pt x="14" y="646"/>
                    </a:lnTo>
                    <a:lnTo>
                      <a:pt x="16" y="645"/>
                    </a:lnTo>
                    <a:lnTo>
                      <a:pt x="17" y="645"/>
                    </a:lnTo>
                    <a:lnTo>
                      <a:pt x="17" y="643"/>
                    </a:lnTo>
                    <a:lnTo>
                      <a:pt x="19" y="643"/>
                    </a:lnTo>
                    <a:lnTo>
                      <a:pt x="21" y="642"/>
                    </a:lnTo>
                    <a:lnTo>
                      <a:pt x="21" y="640"/>
                    </a:lnTo>
                    <a:lnTo>
                      <a:pt x="22" y="642"/>
                    </a:lnTo>
                    <a:lnTo>
                      <a:pt x="22" y="640"/>
                    </a:lnTo>
                    <a:lnTo>
                      <a:pt x="24" y="640"/>
                    </a:lnTo>
                    <a:lnTo>
                      <a:pt x="24" y="638"/>
                    </a:lnTo>
                    <a:lnTo>
                      <a:pt x="25" y="638"/>
                    </a:lnTo>
                    <a:lnTo>
                      <a:pt x="25" y="637"/>
                    </a:lnTo>
                    <a:lnTo>
                      <a:pt x="25" y="635"/>
                    </a:lnTo>
                    <a:lnTo>
                      <a:pt x="25" y="634"/>
                    </a:lnTo>
                    <a:lnTo>
                      <a:pt x="25" y="632"/>
                    </a:lnTo>
                    <a:lnTo>
                      <a:pt x="25" y="631"/>
                    </a:lnTo>
                    <a:lnTo>
                      <a:pt x="25" y="629"/>
                    </a:lnTo>
                    <a:lnTo>
                      <a:pt x="27" y="627"/>
                    </a:lnTo>
                    <a:lnTo>
                      <a:pt x="28" y="627"/>
                    </a:lnTo>
                    <a:lnTo>
                      <a:pt x="28" y="626"/>
                    </a:lnTo>
                    <a:lnTo>
                      <a:pt x="30" y="626"/>
                    </a:lnTo>
                    <a:lnTo>
                      <a:pt x="32" y="626"/>
                    </a:lnTo>
                    <a:lnTo>
                      <a:pt x="32" y="627"/>
                    </a:lnTo>
                    <a:lnTo>
                      <a:pt x="33" y="627"/>
                    </a:lnTo>
                    <a:lnTo>
                      <a:pt x="35" y="627"/>
                    </a:lnTo>
                    <a:lnTo>
                      <a:pt x="36" y="627"/>
                    </a:lnTo>
                    <a:lnTo>
                      <a:pt x="38" y="629"/>
                    </a:lnTo>
                    <a:lnTo>
                      <a:pt x="36" y="629"/>
                    </a:lnTo>
                    <a:lnTo>
                      <a:pt x="38" y="631"/>
                    </a:lnTo>
                    <a:lnTo>
                      <a:pt x="40" y="631"/>
                    </a:lnTo>
                    <a:lnTo>
                      <a:pt x="41" y="629"/>
                    </a:lnTo>
                    <a:lnTo>
                      <a:pt x="41" y="631"/>
                    </a:lnTo>
                    <a:lnTo>
                      <a:pt x="43" y="631"/>
                    </a:lnTo>
                    <a:lnTo>
                      <a:pt x="43" y="629"/>
                    </a:lnTo>
                    <a:lnTo>
                      <a:pt x="44" y="629"/>
                    </a:lnTo>
                    <a:lnTo>
                      <a:pt x="46" y="629"/>
                    </a:lnTo>
                    <a:lnTo>
                      <a:pt x="47" y="629"/>
                    </a:lnTo>
                    <a:lnTo>
                      <a:pt x="47" y="627"/>
                    </a:lnTo>
                    <a:lnTo>
                      <a:pt x="47" y="626"/>
                    </a:lnTo>
                    <a:lnTo>
                      <a:pt x="47" y="624"/>
                    </a:lnTo>
                    <a:lnTo>
                      <a:pt x="47" y="623"/>
                    </a:lnTo>
                    <a:lnTo>
                      <a:pt x="47" y="621"/>
                    </a:lnTo>
                    <a:lnTo>
                      <a:pt x="47" y="619"/>
                    </a:lnTo>
                    <a:lnTo>
                      <a:pt x="47" y="618"/>
                    </a:lnTo>
                    <a:lnTo>
                      <a:pt x="47" y="616"/>
                    </a:lnTo>
                    <a:lnTo>
                      <a:pt x="47" y="615"/>
                    </a:lnTo>
                    <a:lnTo>
                      <a:pt x="47" y="613"/>
                    </a:lnTo>
                    <a:lnTo>
                      <a:pt x="47" y="612"/>
                    </a:lnTo>
                    <a:lnTo>
                      <a:pt x="47" y="610"/>
                    </a:lnTo>
                    <a:lnTo>
                      <a:pt x="47" y="608"/>
                    </a:lnTo>
                    <a:lnTo>
                      <a:pt x="47" y="607"/>
                    </a:lnTo>
                    <a:lnTo>
                      <a:pt x="47" y="605"/>
                    </a:lnTo>
                    <a:lnTo>
                      <a:pt x="47" y="604"/>
                    </a:lnTo>
                    <a:lnTo>
                      <a:pt x="47" y="602"/>
                    </a:lnTo>
                    <a:lnTo>
                      <a:pt x="47" y="600"/>
                    </a:lnTo>
                    <a:lnTo>
                      <a:pt x="47" y="599"/>
                    </a:lnTo>
                    <a:lnTo>
                      <a:pt x="47" y="597"/>
                    </a:lnTo>
                    <a:lnTo>
                      <a:pt x="47" y="596"/>
                    </a:lnTo>
                    <a:lnTo>
                      <a:pt x="47" y="594"/>
                    </a:lnTo>
                    <a:lnTo>
                      <a:pt x="47" y="593"/>
                    </a:lnTo>
                    <a:lnTo>
                      <a:pt x="47" y="591"/>
                    </a:lnTo>
                    <a:lnTo>
                      <a:pt x="47" y="589"/>
                    </a:lnTo>
                    <a:lnTo>
                      <a:pt x="47" y="588"/>
                    </a:lnTo>
                    <a:lnTo>
                      <a:pt x="47" y="586"/>
                    </a:lnTo>
                    <a:lnTo>
                      <a:pt x="49" y="586"/>
                    </a:lnTo>
                    <a:lnTo>
                      <a:pt x="49" y="585"/>
                    </a:lnTo>
                    <a:lnTo>
                      <a:pt x="49" y="583"/>
                    </a:lnTo>
                    <a:lnTo>
                      <a:pt x="49" y="581"/>
                    </a:lnTo>
                    <a:lnTo>
                      <a:pt x="49" y="580"/>
                    </a:lnTo>
                    <a:lnTo>
                      <a:pt x="49" y="578"/>
                    </a:lnTo>
                    <a:lnTo>
                      <a:pt x="49" y="577"/>
                    </a:lnTo>
                    <a:lnTo>
                      <a:pt x="49" y="575"/>
                    </a:lnTo>
                    <a:lnTo>
                      <a:pt x="49" y="574"/>
                    </a:lnTo>
                    <a:lnTo>
                      <a:pt x="49" y="572"/>
                    </a:lnTo>
                    <a:lnTo>
                      <a:pt x="49" y="570"/>
                    </a:lnTo>
                    <a:lnTo>
                      <a:pt x="49" y="569"/>
                    </a:lnTo>
                    <a:lnTo>
                      <a:pt x="49" y="567"/>
                    </a:lnTo>
                    <a:lnTo>
                      <a:pt x="49" y="566"/>
                    </a:lnTo>
                    <a:lnTo>
                      <a:pt x="49" y="564"/>
                    </a:lnTo>
                    <a:lnTo>
                      <a:pt x="49" y="562"/>
                    </a:lnTo>
                    <a:lnTo>
                      <a:pt x="49" y="561"/>
                    </a:lnTo>
                    <a:lnTo>
                      <a:pt x="49" y="559"/>
                    </a:lnTo>
                    <a:lnTo>
                      <a:pt x="49" y="558"/>
                    </a:lnTo>
                    <a:lnTo>
                      <a:pt x="49" y="556"/>
                    </a:lnTo>
                    <a:lnTo>
                      <a:pt x="49" y="555"/>
                    </a:lnTo>
                    <a:lnTo>
                      <a:pt x="49" y="553"/>
                    </a:lnTo>
                    <a:lnTo>
                      <a:pt x="49" y="551"/>
                    </a:lnTo>
                    <a:lnTo>
                      <a:pt x="49" y="550"/>
                    </a:lnTo>
                    <a:lnTo>
                      <a:pt x="49" y="548"/>
                    </a:lnTo>
                    <a:lnTo>
                      <a:pt x="49" y="547"/>
                    </a:lnTo>
                    <a:lnTo>
                      <a:pt x="49" y="545"/>
                    </a:lnTo>
                    <a:lnTo>
                      <a:pt x="51" y="545"/>
                    </a:lnTo>
                    <a:lnTo>
                      <a:pt x="51" y="543"/>
                    </a:lnTo>
                    <a:lnTo>
                      <a:pt x="51" y="542"/>
                    </a:lnTo>
                    <a:lnTo>
                      <a:pt x="51" y="540"/>
                    </a:lnTo>
                    <a:lnTo>
                      <a:pt x="51" y="539"/>
                    </a:lnTo>
                    <a:lnTo>
                      <a:pt x="51" y="537"/>
                    </a:lnTo>
                    <a:lnTo>
                      <a:pt x="51" y="536"/>
                    </a:lnTo>
                    <a:lnTo>
                      <a:pt x="51" y="534"/>
                    </a:lnTo>
                    <a:lnTo>
                      <a:pt x="51" y="532"/>
                    </a:lnTo>
                    <a:lnTo>
                      <a:pt x="51" y="531"/>
                    </a:lnTo>
                    <a:lnTo>
                      <a:pt x="51" y="529"/>
                    </a:lnTo>
                    <a:lnTo>
                      <a:pt x="51" y="528"/>
                    </a:lnTo>
                    <a:lnTo>
                      <a:pt x="51" y="526"/>
                    </a:lnTo>
                    <a:lnTo>
                      <a:pt x="51" y="524"/>
                    </a:lnTo>
                    <a:lnTo>
                      <a:pt x="51" y="523"/>
                    </a:lnTo>
                    <a:lnTo>
                      <a:pt x="51" y="521"/>
                    </a:lnTo>
                    <a:lnTo>
                      <a:pt x="51" y="520"/>
                    </a:lnTo>
                    <a:lnTo>
                      <a:pt x="51" y="518"/>
                    </a:lnTo>
                    <a:lnTo>
                      <a:pt x="51" y="517"/>
                    </a:lnTo>
                    <a:lnTo>
                      <a:pt x="51" y="515"/>
                    </a:lnTo>
                    <a:lnTo>
                      <a:pt x="51" y="513"/>
                    </a:lnTo>
                    <a:lnTo>
                      <a:pt x="51" y="512"/>
                    </a:lnTo>
                    <a:lnTo>
                      <a:pt x="51" y="510"/>
                    </a:lnTo>
                    <a:lnTo>
                      <a:pt x="51" y="509"/>
                    </a:lnTo>
                    <a:lnTo>
                      <a:pt x="51" y="507"/>
                    </a:lnTo>
                    <a:lnTo>
                      <a:pt x="51" y="505"/>
                    </a:lnTo>
                    <a:lnTo>
                      <a:pt x="51" y="504"/>
                    </a:lnTo>
                    <a:lnTo>
                      <a:pt x="51" y="502"/>
                    </a:lnTo>
                    <a:lnTo>
                      <a:pt x="51" y="501"/>
                    </a:lnTo>
                    <a:lnTo>
                      <a:pt x="51" y="499"/>
                    </a:lnTo>
                    <a:lnTo>
                      <a:pt x="51" y="498"/>
                    </a:lnTo>
                    <a:lnTo>
                      <a:pt x="51" y="496"/>
                    </a:lnTo>
                    <a:lnTo>
                      <a:pt x="51" y="494"/>
                    </a:lnTo>
                    <a:lnTo>
                      <a:pt x="51" y="493"/>
                    </a:lnTo>
                    <a:lnTo>
                      <a:pt x="51" y="491"/>
                    </a:lnTo>
                    <a:lnTo>
                      <a:pt x="51" y="490"/>
                    </a:lnTo>
                    <a:lnTo>
                      <a:pt x="51" y="488"/>
                    </a:lnTo>
                    <a:lnTo>
                      <a:pt x="51" y="486"/>
                    </a:lnTo>
                    <a:lnTo>
                      <a:pt x="51" y="485"/>
                    </a:lnTo>
                    <a:lnTo>
                      <a:pt x="51" y="483"/>
                    </a:lnTo>
                    <a:lnTo>
                      <a:pt x="51" y="482"/>
                    </a:lnTo>
                    <a:lnTo>
                      <a:pt x="51" y="480"/>
                    </a:lnTo>
                    <a:lnTo>
                      <a:pt x="51" y="479"/>
                    </a:lnTo>
                    <a:lnTo>
                      <a:pt x="51" y="477"/>
                    </a:lnTo>
                    <a:lnTo>
                      <a:pt x="51" y="475"/>
                    </a:lnTo>
                    <a:lnTo>
                      <a:pt x="51" y="474"/>
                    </a:lnTo>
                    <a:lnTo>
                      <a:pt x="51" y="472"/>
                    </a:lnTo>
                    <a:lnTo>
                      <a:pt x="51" y="471"/>
                    </a:lnTo>
                    <a:lnTo>
                      <a:pt x="51" y="469"/>
                    </a:lnTo>
                    <a:lnTo>
                      <a:pt x="51" y="467"/>
                    </a:lnTo>
                    <a:lnTo>
                      <a:pt x="51" y="466"/>
                    </a:lnTo>
                    <a:lnTo>
                      <a:pt x="51" y="464"/>
                    </a:lnTo>
                    <a:lnTo>
                      <a:pt x="51" y="463"/>
                    </a:lnTo>
                    <a:lnTo>
                      <a:pt x="51" y="461"/>
                    </a:lnTo>
                    <a:lnTo>
                      <a:pt x="52" y="459"/>
                    </a:lnTo>
                    <a:lnTo>
                      <a:pt x="52" y="458"/>
                    </a:lnTo>
                    <a:lnTo>
                      <a:pt x="52" y="456"/>
                    </a:lnTo>
                    <a:lnTo>
                      <a:pt x="52" y="455"/>
                    </a:lnTo>
                    <a:lnTo>
                      <a:pt x="52" y="453"/>
                    </a:lnTo>
                    <a:lnTo>
                      <a:pt x="52" y="452"/>
                    </a:lnTo>
                    <a:lnTo>
                      <a:pt x="52" y="450"/>
                    </a:lnTo>
                    <a:lnTo>
                      <a:pt x="54" y="444"/>
                    </a:lnTo>
                    <a:lnTo>
                      <a:pt x="52" y="442"/>
                    </a:lnTo>
                    <a:lnTo>
                      <a:pt x="52" y="440"/>
                    </a:lnTo>
                    <a:lnTo>
                      <a:pt x="52" y="439"/>
                    </a:lnTo>
                    <a:lnTo>
                      <a:pt x="52" y="437"/>
                    </a:lnTo>
                    <a:lnTo>
                      <a:pt x="52" y="436"/>
                    </a:lnTo>
                    <a:lnTo>
                      <a:pt x="52" y="434"/>
                    </a:lnTo>
                    <a:lnTo>
                      <a:pt x="52" y="433"/>
                    </a:lnTo>
                    <a:lnTo>
                      <a:pt x="52" y="431"/>
                    </a:lnTo>
                    <a:lnTo>
                      <a:pt x="52" y="429"/>
                    </a:lnTo>
                    <a:lnTo>
                      <a:pt x="52" y="428"/>
                    </a:lnTo>
                    <a:lnTo>
                      <a:pt x="52" y="426"/>
                    </a:lnTo>
                    <a:lnTo>
                      <a:pt x="52" y="425"/>
                    </a:lnTo>
                    <a:lnTo>
                      <a:pt x="52" y="423"/>
                    </a:lnTo>
                    <a:lnTo>
                      <a:pt x="52" y="421"/>
                    </a:lnTo>
                    <a:lnTo>
                      <a:pt x="52" y="420"/>
                    </a:lnTo>
                    <a:lnTo>
                      <a:pt x="52" y="418"/>
                    </a:lnTo>
                    <a:lnTo>
                      <a:pt x="52" y="417"/>
                    </a:lnTo>
                    <a:lnTo>
                      <a:pt x="52" y="415"/>
                    </a:lnTo>
                    <a:lnTo>
                      <a:pt x="52" y="414"/>
                    </a:lnTo>
                    <a:lnTo>
                      <a:pt x="52" y="412"/>
                    </a:lnTo>
                    <a:lnTo>
                      <a:pt x="52" y="410"/>
                    </a:lnTo>
                    <a:lnTo>
                      <a:pt x="52" y="409"/>
                    </a:lnTo>
                    <a:lnTo>
                      <a:pt x="52" y="407"/>
                    </a:lnTo>
                    <a:lnTo>
                      <a:pt x="52" y="406"/>
                    </a:lnTo>
                    <a:lnTo>
                      <a:pt x="52" y="404"/>
                    </a:lnTo>
                    <a:lnTo>
                      <a:pt x="52" y="402"/>
                    </a:lnTo>
                    <a:lnTo>
                      <a:pt x="51" y="395"/>
                    </a:lnTo>
                    <a:lnTo>
                      <a:pt x="52" y="393"/>
                    </a:lnTo>
                    <a:lnTo>
                      <a:pt x="52" y="391"/>
                    </a:lnTo>
                    <a:lnTo>
                      <a:pt x="52" y="390"/>
                    </a:lnTo>
                    <a:lnTo>
                      <a:pt x="52" y="388"/>
                    </a:lnTo>
                    <a:lnTo>
                      <a:pt x="52" y="387"/>
                    </a:lnTo>
                    <a:lnTo>
                      <a:pt x="52" y="385"/>
                    </a:lnTo>
                    <a:lnTo>
                      <a:pt x="52" y="383"/>
                    </a:lnTo>
                    <a:lnTo>
                      <a:pt x="54" y="382"/>
                    </a:lnTo>
                    <a:lnTo>
                      <a:pt x="54" y="383"/>
                    </a:lnTo>
                    <a:lnTo>
                      <a:pt x="55" y="383"/>
                    </a:lnTo>
                    <a:lnTo>
                      <a:pt x="55" y="385"/>
                    </a:lnTo>
                    <a:lnTo>
                      <a:pt x="57" y="387"/>
                    </a:lnTo>
                    <a:lnTo>
                      <a:pt x="59" y="388"/>
                    </a:lnTo>
                    <a:lnTo>
                      <a:pt x="60" y="390"/>
                    </a:lnTo>
                    <a:lnTo>
                      <a:pt x="62" y="391"/>
                    </a:lnTo>
                    <a:lnTo>
                      <a:pt x="63" y="393"/>
                    </a:lnTo>
                    <a:lnTo>
                      <a:pt x="65" y="395"/>
                    </a:lnTo>
                    <a:lnTo>
                      <a:pt x="66" y="395"/>
                    </a:lnTo>
                    <a:lnTo>
                      <a:pt x="66" y="396"/>
                    </a:lnTo>
                    <a:lnTo>
                      <a:pt x="68" y="396"/>
                    </a:lnTo>
                    <a:lnTo>
                      <a:pt x="70" y="396"/>
                    </a:lnTo>
                    <a:lnTo>
                      <a:pt x="70" y="398"/>
                    </a:lnTo>
                    <a:lnTo>
                      <a:pt x="71" y="398"/>
                    </a:lnTo>
                    <a:lnTo>
                      <a:pt x="73" y="398"/>
                    </a:lnTo>
                    <a:lnTo>
                      <a:pt x="73" y="399"/>
                    </a:lnTo>
                    <a:lnTo>
                      <a:pt x="74" y="399"/>
                    </a:lnTo>
                    <a:lnTo>
                      <a:pt x="76" y="401"/>
                    </a:lnTo>
                    <a:lnTo>
                      <a:pt x="78" y="401"/>
                    </a:lnTo>
                    <a:lnTo>
                      <a:pt x="78" y="402"/>
                    </a:lnTo>
                    <a:lnTo>
                      <a:pt x="79" y="402"/>
                    </a:lnTo>
                    <a:lnTo>
                      <a:pt x="79" y="404"/>
                    </a:lnTo>
                    <a:lnTo>
                      <a:pt x="81" y="406"/>
                    </a:lnTo>
                    <a:lnTo>
                      <a:pt x="81" y="407"/>
                    </a:lnTo>
                    <a:lnTo>
                      <a:pt x="81" y="409"/>
                    </a:lnTo>
                    <a:lnTo>
                      <a:pt x="81" y="410"/>
                    </a:lnTo>
                    <a:lnTo>
                      <a:pt x="81" y="412"/>
                    </a:lnTo>
                    <a:lnTo>
                      <a:pt x="81" y="414"/>
                    </a:lnTo>
                    <a:lnTo>
                      <a:pt x="82" y="414"/>
                    </a:lnTo>
                    <a:lnTo>
                      <a:pt x="82" y="415"/>
                    </a:lnTo>
                    <a:lnTo>
                      <a:pt x="84" y="415"/>
                    </a:lnTo>
                    <a:lnTo>
                      <a:pt x="84" y="417"/>
                    </a:lnTo>
                    <a:lnTo>
                      <a:pt x="85" y="417"/>
                    </a:lnTo>
                    <a:lnTo>
                      <a:pt x="87" y="418"/>
                    </a:lnTo>
                    <a:lnTo>
                      <a:pt x="87" y="417"/>
                    </a:lnTo>
                    <a:lnTo>
                      <a:pt x="89" y="417"/>
                    </a:lnTo>
                    <a:lnTo>
                      <a:pt x="90" y="417"/>
                    </a:lnTo>
                    <a:lnTo>
                      <a:pt x="92" y="417"/>
                    </a:lnTo>
                    <a:lnTo>
                      <a:pt x="93" y="417"/>
                    </a:lnTo>
                    <a:lnTo>
                      <a:pt x="95" y="417"/>
                    </a:lnTo>
                    <a:lnTo>
                      <a:pt x="97" y="417"/>
                    </a:lnTo>
                    <a:lnTo>
                      <a:pt x="97" y="415"/>
                    </a:lnTo>
                    <a:lnTo>
                      <a:pt x="98" y="415"/>
                    </a:lnTo>
                    <a:lnTo>
                      <a:pt x="98" y="414"/>
                    </a:lnTo>
                    <a:lnTo>
                      <a:pt x="100" y="414"/>
                    </a:lnTo>
                    <a:lnTo>
                      <a:pt x="101" y="414"/>
                    </a:lnTo>
                    <a:lnTo>
                      <a:pt x="103" y="412"/>
                    </a:lnTo>
                    <a:lnTo>
                      <a:pt x="103" y="410"/>
                    </a:lnTo>
                    <a:lnTo>
                      <a:pt x="104" y="410"/>
                    </a:lnTo>
                    <a:lnTo>
                      <a:pt x="104" y="409"/>
                    </a:lnTo>
                    <a:lnTo>
                      <a:pt x="106" y="409"/>
                    </a:lnTo>
                    <a:lnTo>
                      <a:pt x="108" y="407"/>
                    </a:lnTo>
                    <a:lnTo>
                      <a:pt x="109" y="407"/>
                    </a:lnTo>
                    <a:lnTo>
                      <a:pt x="111" y="406"/>
                    </a:lnTo>
                    <a:lnTo>
                      <a:pt x="112" y="406"/>
                    </a:lnTo>
                    <a:lnTo>
                      <a:pt x="114" y="404"/>
                    </a:lnTo>
                    <a:lnTo>
                      <a:pt x="116" y="404"/>
                    </a:lnTo>
                    <a:lnTo>
                      <a:pt x="117" y="404"/>
                    </a:lnTo>
                    <a:lnTo>
                      <a:pt x="117" y="402"/>
                    </a:lnTo>
                    <a:lnTo>
                      <a:pt x="119" y="402"/>
                    </a:lnTo>
                    <a:lnTo>
                      <a:pt x="120" y="402"/>
                    </a:lnTo>
                    <a:lnTo>
                      <a:pt x="120" y="401"/>
                    </a:lnTo>
                    <a:lnTo>
                      <a:pt x="122" y="401"/>
                    </a:lnTo>
                    <a:lnTo>
                      <a:pt x="123" y="401"/>
                    </a:lnTo>
                    <a:lnTo>
                      <a:pt x="125" y="399"/>
                    </a:lnTo>
                    <a:lnTo>
                      <a:pt x="127" y="399"/>
                    </a:lnTo>
                    <a:lnTo>
                      <a:pt x="127" y="398"/>
                    </a:lnTo>
                    <a:lnTo>
                      <a:pt x="128" y="398"/>
                    </a:lnTo>
                    <a:lnTo>
                      <a:pt x="128" y="396"/>
                    </a:lnTo>
                    <a:lnTo>
                      <a:pt x="128" y="395"/>
                    </a:lnTo>
                    <a:lnTo>
                      <a:pt x="128" y="393"/>
                    </a:lnTo>
                    <a:lnTo>
                      <a:pt x="130" y="393"/>
                    </a:lnTo>
                    <a:lnTo>
                      <a:pt x="130" y="391"/>
                    </a:lnTo>
                    <a:lnTo>
                      <a:pt x="130" y="390"/>
                    </a:lnTo>
                    <a:lnTo>
                      <a:pt x="130" y="388"/>
                    </a:lnTo>
                    <a:lnTo>
                      <a:pt x="131" y="387"/>
                    </a:lnTo>
                    <a:lnTo>
                      <a:pt x="131" y="385"/>
                    </a:lnTo>
                    <a:lnTo>
                      <a:pt x="131" y="383"/>
                    </a:lnTo>
                    <a:lnTo>
                      <a:pt x="131" y="382"/>
                    </a:lnTo>
                    <a:lnTo>
                      <a:pt x="133" y="382"/>
                    </a:lnTo>
                    <a:lnTo>
                      <a:pt x="133" y="380"/>
                    </a:lnTo>
                    <a:lnTo>
                      <a:pt x="133" y="379"/>
                    </a:lnTo>
                    <a:lnTo>
                      <a:pt x="133" y="377"/>
                    </a:lnTo>
                    <a:lnTo>
                      <a:pt x="133" y="376"/>
                    </a:lnTo>
                    <a:lnTo>
                      <a:pt x="135" y="376"/>
                    </a:lnTo>
                    <a:lnTo>
                      <a:pt x="135" y="374"/>
                    </a:lnTo>
                    <a:lnTo>
                      <a:pt x="135" y="372"/>
                    </a:lnTo>
                    <a:lnTo>
                      <a:pt x="135" y="371"/>
                    </a:lnTo>
                    <a:lnTo>
                      <a:pt x="135" y="369"/>
                    </a:lnTo>
                    <a:lnTo>
                      <a:pt x="135" y="368"/>
                    </a:lnTo>
                    <a:lnTo>
                      <a:pt x="136" y="368"/>
                    </a:lnTo>
                    <a:lnTo>
                      <a:pt x="136" y="366"/>
                    </a:lnTo>
                    <a:lnTo>
                      <a:pt x="136" y="364"/>
                    </a:lnTo>
                    <a:lnTo>
                      <a:pt x="136" y="363"/>
                    </a:lnTo>
                    <a:lnTo>
                      <a:pt x="138" y="361"/>
                    </a:lnTo>
                    <a:lnTo>
                      <a:pt x="138" y="360"/>
                    </a:lnTo>
                    <a:lnTo>
                      <a:pt x="138" y="358"/>
                    </a:lnTo>
                    <a:lnTo>
                      <a:pt x="138" y="357"/>
                    </a:lnTo>
                    <a:lnTo>
                      <a:pt x="139" y="355"/>
                    </a:lnTo>
                    <a:lnTo>
                      <a:pt x="139" y="353"/>
                    </a:lnTo>
                    <a:lnTo>
                      <a:pt x="139" y="352"/>
                    </a:lnTo>
                    <a:lnTo>
                      <a:pt x="139" y="350"/>
                    </a:lnTo>
                    <a:lnTo>
                      <a:pt x="141" y="350"/>
                    </a:lnTo>
                    <a:lnTo>
                      <a:pt x="141" y="349"/>
                    </a:lnTo>
                    <a:lnTo>
                      <a:pt x="141" y="347"/>
                    </a:lnTo>
                    <a:lnTo>
                      <a:pt x="141" y="345"/>
                    </a:lnTo>
                    <a:lnTo>
                      <a:pt x="141" y="344"/>
                    </a:lnTo>
                    <a:lnTo>
                      <a:pt x="142" y="342"/>
                    </a:lnTo>
                    <a:lnTo>
                      <a:pt x="142" y="341"/>
                    </a:lnTo>
                    <a:lnTo>
                      <a:pt x="142" y="339"/>
                    </a:lnTo>
                    <a:lnTo>
                      <a:pt x="142" y="338"/>
                    </a:lnTo>
                    <a:lnTo>
                      <a:pt x="142" y="336"/>
                    </a:lnTo>
                    <a:lnTo>
                      <a:pt x="144" y="336"/>
                    </a:lnTo>
                    <a:lnTo>
                      <a:pt x="144" y="334"/>
                    </a:lnTo>
                    <a:lnTo>
                      <a:pt x="144" y="333"/>
                    </a:lnTo>
                    <a:lnTo>
                      <a:pt x="144" y="331"/>
                    </a:lnTo>
                    <a:lnTo>
                      <a:pt x="144" y="330"/>
                    </a:lnTo>
                    <a:lnTo>
                      <a:pt x="146" y="330"/>
                    </a:lnTo>
                    <a:lnTo>
                      <a:pt x="146" y="328"/>
                    </a:lnTo>
                    <a:lnTo>
                      <a:pt x="146" y="326"/>
                    </a:lnTo>
                    <a:lnTo>
                      <a:pt x="146" y="325"/>
                    </a:lnTo>
                    <a:lnTo>
                      <a:pt x="146" y="323"/>
                    </a:lnTo>
                    <a:lnTo>
                      <a:pt x="147" y="322"/>
                    </a:lnTo>
                    <a:lnTo>
                      <a:pt x="147" y="320"/>
                    </a:lnTo>
                    <a:lnTo>
                      <a:pt x="147" y="319"/>
                    </a:lnTo>
                    <a:lnTo>
                      <a:pt x="147" y="317"/>
                    </a:lnTo>
                    <a:lnTo>
                      <a:pt x="147" y="315"/>
                    </a:lnTo>
                    <a:lnTo>
                      <a:pt x="147" y="314"/>
                    </a:lnTo>
                    <a:lnTo>
                      <a:pt x="149" y="312"/>
                    </a:lnTo>
                    <a:lnTo>
                      <a:pt x="149" y="311"/>
                    </a:lnTo>
                    <a:lnTo>
                      <a:pt x="149" y="309"/>
                    </a:lnTo>
                    <a:lnTo>
                      <a:pt x="149" y="307"/>
                    </a:lnTo>
                    <a:lnTo>
                      <a:pt x="149" y="306"/>
                    </a:lnTo>
                    <a:lnTo>
                      <a:pt x="149" y="304"/>
                    </a:lnTo>
                    <a:lnTo>
                      <a:pt x="150" y="304"/>
                    </a:lnTo>
                    <a:lnTo>
                      <a:pt x="150" y="303"/>
                    </a:lnTo>
                    <a:lnTo>
                      <a:pt x="150" y="301"/>
                    </a:lnTo>
                    <a:lnTo>
                      <a:pt x="150" y="300"/>
                    </a:lnTo>
                    <a:lnTo>
                      <a:pt x="150" y="298"/>
                    </a:lnTo>
                    <a:lnTo>
                      <a:pt x="150" y="296"/>
                    </a:lnTo>
                    <a:lnTo>
                      <a:pt x="150" y="295"/>
                    </a:lnTo>
                    <a:lnTo>
                      <a:pt x="150" y="293"/>
                    </a:lnTo>
                    <a:lnTo>
                      <a:pt x="152" y="292"/>
                    </a:lnTo>
                    <a:lnTo>
                      <a:pt x="152" y="290"/>
                    </a:lnTo>
                    <a:lnTo>
                      <a:pt x="152" y="288"/>
                    </a:lnTo>
                    <a:lnTo>
                      <a:pt x="152" y="287"/>
                    </a:lnTo>
                    <a:lnTo>
                      <a:pt x="152" y="285"/>
                    </a:lnTo>
                    <a:lnTo>
                      <a:pt x="152" y="284"/>
                    </a:lnTo>
                    <a:lnTo>
                      <a:pt x="152" y="282"/>
                    </a:lnTo>
                    <a:lnTo>
                      <a:pt x="154" y="281"/>
                    </a:lnTo>
                    <a:lnTo>
                      <a:pt x="154" y="279"/>
                    </a:lnTo>
                    <a:lnTo>
                      <a:pt x="154" y="277"/>
                    </a:lnTo>
                    <a:lnTo>
                      <a:pt x="154" y="276"/>
                    </a:lnTo>
                    <a:lnTo>
                      <a:pt x="154" y="274"/>
                    </a:lnTo>
                    <a:lnTo>
                      <a:pt x="154" y="273"/>
                    </a:lnTo>
                    <a:lnTo>
                      <a:pt x="155" y="271"/>
                    </a:lnTo>
                    <a:lnTo>
                      <a:pt x="155" y="269"/>
                    </a:lnTo>
                    <a:lnTo>
                      <a:pt x="155" y="268"/>
                    </a:lnTo>
                    <a:lnTo>
                      <a:pt x="155" y="266"/>
                    </a:lnTo>
                    <a:lnTo>
                      <a:pt x="155" y="265"/>
                    </a:lnTo>
                    <a:lnTo>
                      <a:pt x="150" y="260"/>
                    </a:lnTo>
                    <a:lnTo>
                      <a:pt x="165" y="219"/>
                    </a:lnTo>
                    <a:lnTo>
                      <a:pt x="166" y="219"/>
                    </a:lnTo>
                    <a:lnTo>
                      <a:pt x="168" y="219"/>
                    </a:lnTo>
                    <a:lnTo>
                      <a:pt x="169" y="219"/>
                    </a:lnTo>
                    <a:lnTo>
                      <a:pt x="171" y="219"/>
                    </a:lnTo>
                    <a:lnTo>
                      <a:pt x="173" y="219"/>
                    </a:lnTo>
                    <a:lnTo>
                      <a:pt x="174" y="219"/>
                    </a:lnTo>
                    <a:lnTo>
                      <a:pt x="176" y="219"/>
                    </a:lnTo>
                    <a:lnTo>
                      <a:pt x="177" y="219"/>
                    </a:lnTo>
                    <a:lnTo>
                      <a:pt x="179" y="219"/>
                    </a:lnTo>
                    <a:lnTo>
                      <a:pt x="180" y="219"/>
                    </a:lnTo>
                    <a:lnTo>
                      <a:pt x="180" y="217"/>
                    </a:lnTo>
                    <a:lnTo>
                      <a:pt x="180" y="216"/>
                    </a:lnTo>
                    <a:lnTo>
                      <a:pt x="182" y="216"/>
                    </a:lnTo>
                    <a:lnTo>
                      <a:pt x="182" y="214"/>
                    </a:lnTo>
                    <a:lnTo>
                      <a:pt x="182" y="212"/>
                    </a:lnTo>
                    <a:lnTo>
                      <a:pt x="184" y="212"/>
                    </a:lnTo>
                    <a:lnTo>
                      <a:pt x="184" y="211"/>
                    </a:lnTo>
                    <a:lnTo>
                      <a:pt x="184" y="209"/>
                    </a:lnTo>
                    <a:lnTo>
                      <a:pt x="185" y="208"/>
                    </a:lnTo>
                    <a:lnTo>
                      <a:pt x="185" y="206"/>
                    </a:lnTo>
                    <a:lnTo>
                      <a:pt x="185" y="204"/>
                    </a:lnTo>
                    <a:lnTo>
                      <a:pt x="187" y="204"/>
                    </a:lnTo>
                    <a:lnTo>
                      <a:pt x="187" y="203"/>
                    </a:lnTo>
                    <a:lnTo>
                      <a:pt x="187" y="201"/>
                    </a:lnTo>
                    <a:lnTo>
                      <a:pt x="188" y="200"/>
                    </a:lnTo>
                    <a:lnTo>
                      <a:pt x="188" y="198"/>
                    </a:lnTo>
                    <a:lnTo>
                      <a:pt x="188" y="197"/>
                    </a:lnTo>
                    <a:lnTo>
                      <a:pt x="190" y="197"/>
                    </a:lnTo>
                    <a:lnTo>
                      <a:pt x="190" y="195"/>
                    </a:lnTo>
                    <a:lnTo>
                      <a:pt x="190" y="193"/>
                    </a:lnTo>
                    <a:lnTo>
                      <a:pt x="192" y="192"/>
                    </a:lnTo>
                    <a:lnTo>
                      <a:pt x="192" y="190"/>
                    </a:lnTo>
                    <a:lnTo>
                      <a:pt x="192" y="189"/>
                    </a:lnTo>
                    <a:lnTo>
                      <a:pt x="193" y="189"/>
                    </a:lnTo>
                    <a:lnTo>
                      <a:pt x="193" y="187"/>
                    </a:lnTo>
                    <a:lnTo>
                      <a:pt x="193" y="185"/>
                    </a:lnTo>
                    <a:lnTo>
                      <a:pt x="195" y="184"/>
                    </a:lnTo>
                    <a:lnTo>
                      <a:pt x="195" y="182"/>
                    </a:lnTo>
                    <a:lnTo>
                      <a:pt x="195" y="181"/>
                    </a:lnTo>
                    <a:lnTo>
                      <a:pt x="195" y="179"/>
                    </a:lnTo>
                    <a:lnTo>
                      <a:pt x="195" y="178"/>
                    </a:lnTo>
                    <a:lnTo>
                      <a:pt x="195" y="176"/>
                    </a:lnTo>
                    <a:lnTo>
                      <a:pt x="196" y="176"/>
                    </a:lnTo>
                    <a:lnTo>
                      <a:pt x="196" y="174"/>
                    </a:lnTo>
                    <a:lnTo>
                      <a:pt x="196" y="173"/>
                    </a:lnTo>
                    <a:lnTo>
                      <a:pt x="196" y="171"/>
                    </a:lnTo>
                    <a:lnTo>
                      <a:pt x="196" y="170"/>
                    </a:lnTo>
                    <a:lnTo>
                      <a:pt x="196" y="168"/>
                    </a:lnTo>
                    <a:lnTo>
                      <a:pt x="198" y="168"/>
                    </a:lnTo>
                    <a:lnTo>
                      <a:pt x="198" y="166"/>
                    </a:lnTo>
                    <a:lnTo>
                      <a:pt x="198" y="165"/>
                    </a:lnTo>
                    <a:lnTo>
                      <a:pt x="198" y="163"/>
                    </a:lnTo>
                    <a:lnTo>
                      <a:pt x="196" y="162"/>
                    </a:lnTo>
                    <a:lnTo>
                      <a:pt x="195" y="162"/>
                    </a:lnTo>
                    <a:lnTo>
                      <a:pt x="193" y="162"/>
                    </a:lnTo>
                    <a:lnTo>
                      <a:pt x="192" y="162"/>
                    </a:lnTo>
                    <a:lnTo>
                      <a:pt x="190" y="162"/>
                    </a:lnTo>
                    <a:lnTo>
                      <a:pt x="190" y="160"/>
                    </a:lnTo>
                    <a:lnTo>
                      <a:pt x="188" y="160"/>
                    </a:lnTo>
                    <a:lnTo>
                      <a:pt x="187" y="160"/>
                    </a:lnTo>
                    <a:lnTo>
                      <a:pt x="185" y="160"/>
                    </a:lnTo>
                    <a:lnTo>
                      <a:pt x="184" y="160"/>
                    </a:lnTo>
                    <a:lnTo>
                      <a:pt x="182" y="159"/>
                    </a:lnTo>
                    <a:lnTo>
                      <a:pt x="180" y="159"/>
                    </a:lnTo>
                    <a:lnTo>
                      <a:pt x="179" y="159"/>
                    </a:lnTo>
                    <a:lnTo>
                      <a:pt x="177" y="157"/>
                    </a:lnTo>
                    <a:lnTo>
                      <a:pt x="176" y="157"/>
                    </a:lnTo>
                    <a:lnTo>
                      <a:pt x="174" y="157"/>
                    </a:lnTo>
                    <a:lnTo>
                      <a:pt x="174" y="155"/>
                    </a:lnTo>
                    <a:lnTo>
                      <a:pt x="173" y="155"/>
                    </a:lnTo>
                    <a:lnTo>
                      <a:pt x="171" y="155"/>
                    </a:lnTo>
                    <a:lnTo>
                      <a:pt x="169" y="155"/>
                    </a:lnTo>
                    <a:lnTo>
                      <a:pt x="169" y="154"/>
                    </a:lnTo>
                    <a:lnTo>
                      <a:pt x="168" y="154"/>
                    </a:lnTo>
                    <a:lnTo>
                      <a:pt x="166" y="154"/>
                    </a:lnTo>
                    <a:lnTo>
                      <a:pt x="165" y="154"/>
                    </a:lnTo>
                    <a:lnTo>
                      <a:pt x="165" y="152"/>
                    </a:lnTo>
                    <a:lnTo>
                      <a:pt x="163" y="152"/>
                    </a:lnTo>
                    <a:lnTo>
                      <a:pt x="161" y="152"/>
                    </a:lnTo>
                    <a:lnTo>
                      <a:pt x="160" y="151"/>
                    </a:lnTo>
                    <a:lnTo>
                      <a:pt x="158" y="151"/>
                    </a:lnTo>
                    <a:lnTo>
                      <a:pt x="158" y="149"/>
                    </a:lnTo>
                    <a:lnTo>
                      <a:pt x="158" y="147"/>
                    </a:lnTo>
                    <a:lnTo>
                      <a:pt x="158" y="146"/>
                    </a:lnTo>
                    <a:lnTo>
                      <a:pt x="158" y="144"/>
                    </a:lnTo>
                    <a:lnTo>
                      <a:pt x="158" y="143"/>
                    </a:lnTo>
                    <a:lnTo>
                      <a:pt x="158" y="141"/>
                    </a:lnTo>
                    <a:lnTo>
                      <a:pt x="158" y="140"/>
                    </a:lnTo>
                    <a:lnTo>
                      <a:pt x="158" y="138"/>
                    </a:lnTo>
                    <a:lnTo>
                      <a:pt x="158" y="136"/>
                    </a:lnTo>
                    <a:lnTo>
                      <a:pt x="158" y="135"/>
                    </a:lnTo>
                    <a:lnTo>
                      <a:pt x="158" y="133"/>
                    </a:lnTo>
                    <a:lnTo>
                      <a:pt x="158" y="132"/>
                    </a:lnTo>
                    <a:lnTo>
                      <a:pt x="158" y="130"/>
                    </a:lnTo>
                    <a:lnTo>
                      <a:pt x="158" y="128"/>
                    </a:lnTo>
                    <a:lnTo>
                      <a:pt x="158" y="127"/>
                    </a:lnTo>
                    <a:lnTo>
                      <a:pt x="157" y="127"/>
                    </a:lnTo>
                    <a:lnTo>
                      <a:pt x="157" y="125"/>
                    </a:lnTo>
                    <a:lnTo>
                      <a:pt x="157" y="124"/>
                    </a:lnTo>
                    <a:lnTo>
                      <a:pt x="157" y="122"/>
                    </a:lnTo>
                    <a:lnTo>
                      <a:pt x="157" y="121"/>
                    </a:lnTo>
                    <a:lnTo>
                      <a:pt x="157" y="119"/>
                    </a:lnTo>
                    <a:lnTo>
                      <a:pt x="157" y="117"/>
                    </a:lnTo>
                    <a:lnTo>
                      <a:pt x="157" y="116"/>
                    </a:lnTo>
                    <a:lnTo>
                      <a:pt x="157" y="114"/>
                    </a:lnTo>
                    <a:lnTo>
                      <a:pt x="157" y="113"/>
                    </a:lnTo>
                    <a:lnTo>
                      <a:pt x="157" y="111"/>
                    </a:lnTo>
                    <a:lnTo>
                      <a:pt x="157" y="109"/>
                    </a:lnTo>
                    <a:lnTo>
                      <a:pt x="157" y="108"/>
                    </a:lnTo>
                    <a:lnTo>
                      <a:pt x="157" y="106"/>
                    </a:lnTo>
                    <a:lnTo>
                      <a:pt x="157" y="105"/>
                    </a:lnTo>
                    <a:lnTo>
                      <a:pt x="157" y="103"/>
                    </a:lnTo>
                    <a:lnTo>
                      <a:pt x="157" y="102"/>
                    </a:lnTo>
                    <a:lnTo>
                      <a:pt x="155" y="102"/>
                    </a:lnTo>
                    <a:lnTo>
                      <a:pt x="155" y="100"/>
                    </a:lnTo>
                    <a:lnTo>
                      <a:pt x="155" y="98"/>
                    </a:lnTo>
                    <a:lnTo>
                      <a:pt x="155" y="97"/>
                    </a:lnTo>
                    <a:lnTo>
                      <a:pt x="155" y="95"/>
                    </a:lnTo>
                    <a:lnTo>
                      <a:pt x="155" y="94"/>
                    </a:lnTo>
                    <a:lnTo>
                      <a:pt x="155" y="92"/>
                    </a:lnTo>
                    <a:lnTo>
                      <a:pt x="155" y="90"/>
                    </a:lnTo>
                    <a:lnTo>
                      <a:pt x="155" y="89"/>
                    </a:lnTo>
                    <a:lnTo>
                      <a:pt x="157" y="89"/>
                    </a:lnTo>
                    <a:lnTo>
                      <a:pt x="157" y="87"/>
                    </a:lnTo>
                    <a:lnTo>
                      <a:pt x="157" y="86"/>
                    </a:lnTo>
                    <a:lnTo>
                      <a:pt x="157" y="84"/>
                    </a:lnTo>
                    <a:lnTo>
                      <a:pt x="157" y="82"/>
                    </a:lnTo>
                    <a:lnTo>
                      <a:pt x="157" y="81"/>
                    </a:lnTo>
                    <a:lnTo>
                      <a:pt x="157" y="79"/>
                    </a:lnTo>
                    <a:lnTo>
                      <a:pt x="157" y="78"/>
                    </a:lnTo>
                    <a:lnTo>
                      <a:pt x="157" y="76"/>
                    </a:lnTo>
                    <a:lnTo>
                      <a:pt x="157" y="75"/>
                    </a:lnTo>
                    <a:lnTo>
                      <a:pt x="158" y="75"/>
                    </a:lnTo>
                    <a:lnTo>
                      <a:pt x="158" y="73"/>
                    </a:lnTo>
                    <a:lnTo>
                      <a:pt x="158" y="71"/>
                    </a:lnTo>
                    <a:lnTo>
                      <a:pt x="158" y="70"/>
                    </a:lnTo>
                    <a:lnTo>
                      <a:pt x="158" y="68"/>
                    </a:lnTo>
                    <a:lnTo>
                      <a:pt x="158" y="67"/>
                    </a:lnTo>
                    <a:lnTo>
                      <a:pt x="158" y="65"/>
                    </a:lnTo>
                    <a:lnTo>
                      <a:pt x="158" y="63"/>
                    </a:lnTo>
                    <a:lnTo>
                      <a:pt x="158" y="62"/>
                    </a:lnTo>
                    <a:lnTo>
                      <a:pt x="160" y="62"/>
                    </a:lnTo>
                    <a:lnTo>
                      <a:pt x="160" y="60"/>
                    </a:lnTo>
                    <a:lnTo>
                      <a:pt x="160" y="59"/>
                    </a:lnTo>
                    <a:lnTo>
                      <a:pt x="160" y="57"/>
                    </a:lnTo>
                    <a:lnTo>
                      <a:pt x="160" y="56"/>
                    </a:lnTo>
                    <a:lnTo>
                      <a:pt x="160" y="54"/>
                    </a:lnTo>
                    <a:lnTo>
                      <a:pt x="160" y="52"/>
                    </a:lnTo>
                    <a:lnTo>
                      <a:pt x="160" y="51"/>
                    </a:lnTo>
                    <a:lnTo>
                      <a:pt x="160" y="49"/>
                    </a:lnTo>
                    <a:lnTo>
                      <a:pt x="161" y="49"/>
                    </a:lnTo>
                    <a:lnTo>
                      <a:pt x="161" y="48"/>
                    </a:lnTo>
                    <a:lnTo>
                      <a:pt x="161" y="46"/>
                    </a:lnTo>
                    <a:lnTo>
                      <a:pt x="161" y="44"/>
                    </a:lnTo>
                    <a:lnTo>
                      <a:pt x="161" y="43"/>
                    </a:lnTo>
                    <a:lnTo>
                      <a:pt x="161" y="41"/>
                    </a:lnTo>
                    <a:lnTo>
                      <a:pt x="161" y="40"/>
                    </a:lnTo>
                    <a:lnTo>
                      <a:pt x="161" y="38"/>
                    </a:lnTo>
                    <a:lnTo>
                      <a:pt x="163" y="37"/>
                    </a:lnTo>
                    <a:lnTo>
                      <a:pt x="163" y="35"/>
                    </a:lnTo>
                    <a:lnTo>
                      <a:pt x="163" y="33"/>
                    </a:lnTo>
                    <a:lnTo>
                      <a:pt x="163" y="32"/>
                    </a:lnTo>
                    <a:lnTo>
                      <a:pt x="163" y="30"/>
                    </a:lnTo>
                    <a:lnTo>
                      <a:pt x="163" y="29"/>
                    </a:lnTo>
                    <a:lnTo>
                      <a:pt x="163" y="27"/>
                    </a:lnTo>
                    <a:lnTo>
                      <a:pt x="163" y="25"/>
                    </a:lnTo>
                    <a:lnTo>
                      <a:pt x="163" y="24"/>
                    </a:lnTo>
                    <a:lnTo>
                      <a:pt x="163" y="22"/>
                    </a:lnTo>
                    <a:lnTo>
                      <a:pt x="163" y="21"/>
                    </a:lnTo>
                    <a:lnTo>
                      <a:pt x="165" y="21"/>
                    </a:lnTo>
                    <a:lnTo>
                      <a:pt x="165" y="19"/>
                    </a:lnTo>
                    <a:lnTo>
                      <a:pt x="165" y="18"/>
                    </a:lnTo>
                    <a:lnTo>
                      <a:pt x="165" y="16"/>
                    </a:lnTo>
                    <a:lnTo>
                      <a:pt x="165" y="14"/>
                    </a:lnTo>
                    <a:lnTo>
                      <a:pt x="165" y="13"/>
                    </a:lnTo>
                    <a:lnTo>
                      <a:pt x="165" y="11"/>
                    </a:lnTo>
                    <a:lnTo>
                      <a:pt x="165" y="10"/>
                    </a:lnTo>
                    <a:lnTo>
                      <a:pt x="165" y="8"/>
                    </a:lnTo>
                    <a:lnTo>
                      <a:pt x="165" y="6"/>
                    </a:lnTo>
                    <a:lnTo>
                      <a:pt x="165" y="5"/>
                    </a:lnTo>
                    <a:lnTo>
                      <a:pt x="165" y="3"/>
                    </a:lnTo>
                    <a:lnTo>
                      <a:pt x="165" y="2"/>
                    </a:lnTo>
                    <a:lnTo>
                      <a:pt x="165"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28" name="Freeform 8"/>
              <p:cNvSpPr>
                <a:spLocks noEditPoints="1"/>
              </p:cNvSpPr>
              <p:nvPr/>
            </p:nvSpPr>
            <p:spPr bwMode="auto">
              <a:xfrm>
                <a:off x="5015" y="2351"/>
                <a:ext cx="299" cy="203"/>
              </a:xfrm>
              <a:custGeom>
                <a:avLst/>
                <a:gdLst>
                  <a:gd name="T0" fmla="*/ 299 w 299"/>
                  <a:gd name="T1" fmla="*/ 109 h 203"/>
                  <a:gd name="T2" fmla="*/ 112 w 299"/>
                  <a:gd name="T3" fmla="*/ 82 h 203"/>
                  <a:gd name="T4" fmla="*/ 127 w 299"/>
                  <a:gd name="T5" fmla="*/ 81 h 203"/>
                  <a:gd name="T6" fmla="*/ 87 w 299"/>
                  <a:gd name="T7" fmla="*/ 44 h 203"/>
                  <a:gd name="T8" fmla="*/ 74 w 299"/>
                  <a:gd name="T9" fmla="*/ 35 h 203"/>
                  <a:gd name="T10" fmla="*/ 38 w 299"/>
                  <a:gd name="T11" fmla="*/ 0 h 203"/>
                  <a:gd name="T12" fmla="*/ 49 w 299"/>
                  <a:gd name="T13" fmla="*/ 6 h 203"/>
                  <a:gd name="T14" fmla="*/ 57 w 299"/>
                  <a:gd name="T15" fmla="*/ 19 h 203"/>
                  <a:gd name="T16" fmla="*/ 65 w 299"/>
                  <a:gd name="T17" fmla="*/ 25 h 203"/>
                  <a:gd name="T18" fmla="*/ 70 w 299"/>
                  <a:gd name="T19" fmla="*/ 38 h 203"/>
                  <a:gd name="T20" fmla="*/ 74 w 299"/>
                  <a:gd name="T21" fmla="*/ 50 h 203"/>
                  <a:gd name="T22" fmla="*/ 82 w 299"/>
                  <a:gd name="T23" fmla="*/ 63 h 203"/>
                  <a:gd name="T24" fmla="*/ 90 w 299"/>
                  <a:gd name="T25" fmla="*/ 57 h 203"/>
                  <a:gd name="T26" fmla="*/ 90 w 299"/>
                  <a:gd name="T27" fmla="*/ 71 h 203"/>
                  <a:gd name="T28" fmla="*/ 93 w 299"/>
                  <a:gd name="T29" fmla="*/ 82 h 203"/>
                  <a:gd name="T30" fmla="*/ 95 w 299"/>
                  <a:gd name="T31" fmla="*/ 92 h 203"/>
                  <a:gd name="T32" fmla="*/ 93 w 299"/>
                  <a:gd name="T33" fmla="*/ 98 h 203"/>
                  <a:gd name="T34" fmla="*/ 93 w 299"/>
                  <a:gd name="T35" fmla="*/ 84 h 203"/>
                  <a:gd name="T36" fmla="*/ 106 w 299"/>
                  <a:gd name="T37" fmla="*/ 85 h 203"/>
                  <a:gd name="T38" fmla="*/ 119 w 299"/>
                  <a:gd name="T39" fmla="*/ 93 h 203"/>
                  <a:gd name="T40" fmla="*/ 133 w 299"/>
                  <a:gd name="T41" fmla="*/ 96 h 203"/>
                  <a:gd name="T42" fmla="*/ 146 w 299"/>
                  <a:gd name="T43" fmla="*/ 98 h 203"/>
                  <a:gd name="T44" fmla="*/ 155 w 299"/>
                  <a:gd name="T45" fmla="*/ 103 h 203"/>
                  <a:gd name="T46" fmla="*/ 160 w 299"/>
                  <a:gd name="T47" fmla="*/ 119 h 203"/>
                  <a:gd name="T48" fmla="*/ 168 w 299"/>
                  <a:gd name="T49" fmla="*/ 131 h 203"/>
                  <a:gd name="T50" fmla="*/ 176 w 299"/>
                  <a:gd name="T51" fmla="*/ 141 h 203"/>
                  <a:gd name="T52" fmla="*/ 174 w 299"/>
                  <a:gd name="T53" fmla="*/ 150 h 203"/>
                  <a:gd name="T54" fmla="*/ 176 w 299"/>
                  <a:gd name="T55" fmla="*/ 163 h 203"/>
                  <a:gd name="T56" fmla="*/ 176 w 299"/>
                  <a:gd name="T57" fmla="*/ 174 h 203"/>
                  <a:gd name="T58" fmla="*/ 176 w 299"/>
                  <a:gd name="T59" fmla="*/ 182 h 203"/>
                  <a:gd name="T60" fmla="*/ 165 w 299"/>
                  <a:gd name="T61" fmla="*/ 188 h 203"/>
                  <a:gd name="T62" fmla="*/ 160 w 299"/>
                  <a:gd name="T63" fmla="*/ 201 h 203"/>
                  <a:gd name="T64" fmla="*/ 147 w 299"/>
                  <a:gd name="T65" fmla="*/ 196 h 203"/>
                  <a:gd name="T66" fmla="*/ 136 w 299"/>
                  <a:gd name="T67" fmla="*/ 193 h 203"/>
                  <a:gd name="T68" fmla="*/ 128 w 299"/>
                  <a:gd name="T69" fmla="*/ 190 h 203"/>
                  <a:gd name="T70" fmla="*/ 130 w 299"/>
                  <a:gd name="T71" fmla="*/ 176 h 203"/>
                  <a:gd name="T72" fmla="*/ 133 w 299"/>
                  <a:gd name="T73" fmla="*/ 161 h 203"/>
                  <a:gd name="T74" fmla="*/ 128 w 299"/>
                  <a:gd name="T75" fmla="*/ 150 h 203"/>
                  <a:gd name="T76" fmla="*/ 123 w 299"/>
                  <a:gd name="T77" fmla="*/ 136 h 203"/>
                  <a:gd name="T78" fmla="*/ 112 w 299"/>
                  <a:gd name="T79" fmla="*/ 126 h 203"/>
                  <a:gd name="T80" fmla="*/ 97 w 299"/>
                  <a:gd name="T81" fmla="*/ 123 h 203"/>
                  <a:gd name="T82" fmla="*/ 82 w 299"/>
                  <a:gd name="T83" fmla="*/ 122 h 203"/>
                  <a:gd name="T84" fmla="*/ 70 w 299"/>
                  <a:gd name="T85" fmla="*/ 136 h 203"/>
                  <a:gd name="T86" fmla="*/ 57 w 299"/>
                  <a:gd name="T87" fmla="*/ 142 h 203"/>
                  <a:gd name="T88" fmla="*/ 43 w 299"/>
                  <a:gd name="T89" fmla="*/ 141 h 203"/>
                  <a:gd name="T90" fmla="*/ 32 w 299"/>
                  <a:gd name="T91" fmla="*/ 153 h 203"/>
                  <a:gd name="T92" fmla="*/ 17 w 299"/>
                  <a:gd name="T93" fmla="*/ 153 h 203"/>
                  <a:gd name="T94" fmla="*/ 8 w 299"/>
                  <a:gd name="T95" fmla="*/ 147 h 203"/>
                  <a:gd name="T96" fmla="*/ 17 w 299"/>
                  <a:gd name="T97" fmla="*/ 128 h 203"/>
                  <a:gd name="T98" fmla="*/ 32 w 299"/>
                  <a:gd name="T99" fmla="*/ 114 h 203"/>
                  <a:gd name="T100" fmla="*/ 28 w 299"/>
                  <a:gd name="T101" fmla="*/ 101 h 203"/>
                  <a:gd name="T102" fmla="*/ 17 w 299"/>
                  <a:gd name="T103" fmla="*/ 90 h 203"/>
                  <a:gd name="T104" fmla="*/ 16 w 299"/>
                  <a:gd name="T105" fmla="*/ 74 h 203"/>
                  <a:gd name="T106" fmla="*/ 0 w 299"/>
                  <a:gd name="T107" fmla="*/ 71 h 203"/>
                  <a:gd name="T108" fmla="*/ 9 w 299"/>
                  <a:gd name="T109" fmla="*/ 58 h 203"/>
                  <a:gd name="T110" fmla="*/ 17 w 299"/>
                  <a:gd name="T111" fmla="*/ 44 h 203"/>
                  <a:gd name="T112" fmla="*/ 19 w 299"/>
                  <a:gd name="T113" fmla="*/ 27 h 203"/>
                  <a:gd name="T114" fmla="*/ 24 w 299"/>
                  <a:gd name="T115" fmla="*/ 9 h 203"/>
                  <a:gd name="T116" fmla="*/ 33 w 299"/>
                  <a:gd name="T117" fmla="*/ 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9" h="203">
                    <a:moveTo>
                      <a:pt x="158" y="201"/>
                    </a:moveTo>
                    <a:lnTo>
                      <a:pt x="158" y="203"/>
                    </a:lnTo>
                    <a:lnTo>
                      <a:pt x="160" y="203"/>
                    </a:lnTo>
                    <a:lnTo>
                      <a:pt x="160" y="201"/>
                    </a:lnTo>
                    <a:lnTo>
                      <a:pt x="160" y="203"/>
                    </a:lnTo>
                    <a:lnTo>
                      <a:pt x="162" y="203"/>
                    </a:lnTo>
                    <a:lnTo>
                      <a:pt x="160" y="203"/>
                    </a:lnTo>
                    <a:lnTo>
                      <a:pt x="158" y="203"/>
                    </a:lnTo>
                    <a:lnTo>
                      <a:pt x="158" y="201"/>
                    </a:lnTo>
                    <a:close/>
                    <a:moveTo>
                      <a:pt x="168" y="188"/>
                    </a:moveTo>
                    <a:lnTo>
                      <a:pt x="166" y="188"/>
                    </a:lnTo>
                    <a:lnTo>
                      <a:pt x="168" y="188"/>
                    </a:lnTo>
                    <a:close/>
                    <a:moveTo>
                      <a:pt x="299" y="109"/>
                    </a:moveTo>
                    <a:lnTo>
                      <a:pt x="299" y="111"/>
                    </a:lnTo>
                    <a:lnTo>
                      <a:pt x="299" y="109"/>
                    </a:lnTo>
                    <a:lnTo>
                      <a:pt x="298" y="109"/>
                    </a:lnTo>
                    <a:lnTo>
                      <a:pt x="299" y="109"/>
                    </a:lnTo>
                    <a:close/>
                    <a:moveTo>
                      <a:pt x="125" y="82"/>
                    </a:moveTo>
                    <a:lnTo>
                      <a:pt x="127" y="82"/>
                    </a:lnTo>
                    <a:lnTo>
                      <a:pt x="127" y="84"/>
                    </a:lnTo>
                    <a:lnTo>
                      <a:pt x="125" y="84"/>
                    </a:lnTo>
                    <a:lnTo>
                      <a:pt x="125" y="85"/>
                    </a:lnTo>
                    <a:lnTo>
                      <a:pt x="125" y="84"/>
                    </a:lnTo>
                    <a:lnTo>
                      <a:pt x="125" y="82"/>
                    </a:lnTo>
                    <a:close/>
                    <a:moveTo>
                      <a:pt x="112" y="81"/>
                    </a:moveTo>
                    <a:lnTo>
                      <a:pt x="112" y="82"/>
                    </a:lnTo>
                    <a:lnTo>
                      <a:pt x="114" y="82"/>
                    </a:lnTo>
                    <a:lnTo>
                      <a:pt x="112" y="82"/>
                    </a:lnTo>
                    <a:lnTo>
                      <a:pt x="112" y="84"/>
                    </a:lnTo>
                    <a:lnTo>
                      <a:pt x="112" y="82"/>
                    </a:lnTo>
                    <a:lnTo>
                      <a:pt x="111" y="82"/>
                    </a:lnTo>
                    <a:lnTo>
                      <a:pt x="111" y="81"/>
                    </a:lnTo>
                    <a:lnTo>
                      <a:pt x="112" y="81"/>
                    </a:lnTo>
                    <a:close/>
                    <a:moveTo>
                      <a:pt x="127" y="79"/>
                    </a:moveTo>
                    <a:lnTo>
                      <a:pt x="128" y="79"/>
                    </a:lnTo>
                    <a:lnTo>
                      <a:pt x="128" y="81"/>
                    </a:lnTo>
                    <a:lnTo>
                      <a:pt x="128" y="82"/>
                    </a:lnTo>
                    <a:lnTo>
                      <a:pt x="127" y="82"/>
                    </a:lnTo>
                    <a:lnTo>
                      <a:pt x="127" y="81"/>
                    </a:lnTo>
                    <a:lnTo>
                      <a:pt x="127" y="79"/>
                    </a:lnTo>
                    <a:close/>
                    <a:moveTo>
                      <a:pt x="104" y="74"/>
                    </a:moveTo>
                    <a:lnTo>
                      <a:pt x="106" y="74"/>
                    </a:lnTo>
                    <a:lnTo>
                      <a:pt x="106" y="76"/>
                    </a:lnTo>
                    <a:lnTo>
                      <a:pt x="104" y="76"/>
                    </a:lnTo>
                    <a:lnTo>
                      <a:pt x="104" y="74"/>
                    </a:lnTo>
                    <a:close/>
                    <a:moveTo>
                      <a:pt x="82" y="39"/>
                    </a:moveTo>
                    <a:lnTo>
                      <a:pt x="82" y="41"/>
                    </a:lnTo>
                    <a:lnTo>
                      <a:pt x="84" y="41"/>
                    </a:lnTo>
                    <a:lnTo>
                      <a:pt x="84" y="43"/>
                    </a:lnTo>
                    <a:lnTo>
                      <a:pt x="85" y="43"/>
                    </a:lnTo>
                    <a:lnTo>
                      <a:pt x="85" y="44"/>
                    </a:lnTo>
                    <a:lnTo>
                      <a:pt x="87" y="44"/>
                    </a:lnTo>
                    <a:lnTo>
                      <a:pt x="87" y="46"/>
                    </a:lnTo>
                    <a:lnTo>
                      <a:pt x="85" y="46"/>
                    </a:lnTo>
                    <a:lnTo>
                      <a:pt x="85" y="44"/>
                    </a:lnTo>
                    <a:lnTo>
                      <a:pt x="84" y="44"/>
                    </a:lnTo>
                    <a:lnTo>
                      <a:pt x="84" y="43"/>
                    </a:lnTo>
                    <a:lnTo>
                      <a:pt x="82" y="43"/>
                    </a:lnTo>
                    <a:lnTo>
                      <a:pt x="82" y="41"/>
                    </a:lnTo>
                    <a:lnTo>
                      <a:pt x="81" y="41"/>
                    </a:lnTo>
                    <a:lnTo>
                      <a:pt x="81" y="39"/>
                    </a:lnTo>
                    <a:lnTo>
                      <a:pt x="82" y="39"/>
                    </a:lnTo>
                    <a:close/>
                    <a:moveTo>
                      <a:pt x="74" y="35"/>
                    </a:moveTo>
                    <a:lnTo>
                      <a:pt x="76" y="35"/>
                    </a:lnTo>
                    <a:lnTo>
                      <a:pt x="74" y="35"/>
                    </a:lnTo>
                    <a:close/>
                    <a:moveTo>
                      <a:pt x="79" y="27"/>
                    </a:moveTo>
                    <a:lnTo>
                      <a:pt x="79" y="28"/>
                    </a:lnTo>
                    <a:lnTo>
                      <a:pt x="79" y="30"/>
                    </a:lnTo>
                    <a:lnTo>
                      <a:pt x="81" y="30"/>
                    </a:lnTo>
                    <a:lnTo>
                      <a:pt x="81" y="31"/>
                    </a:lnTo>
                    <a:lnTo>
                      <a:pt x="79" y="31"/>
                    </a:lnTo>
                    <a:lnTo>
                      <a:pt x="79" y="30"/>
                    </a:lnTo>
                    <a:lnTo>
                      <a:pt x="78" y="30"/>
                    </a:lnTo>
                    <a:lnTo>
                      <a:pt x="78" y="28"/>
                    </a:lnTo>
                    <a:lnTo>
                      <a:pt x="78" y="27"/>
                    </a:lnTo>
                    <a:lnTo>
                      <a:pt x="79" y="27"/>
                    </a:lnTo>
                    <a:close/>
                    <a:moveTo>
                      <a:pt x="36" y="0"/>
                    </a:moveTo>
                    <a:lnTo>
                      <a:pt x="38" y="0"/>
                    </a:lnTo>
                    <a:lnTo>
                      <a:pt x="40" y="0"/>
                    </a:lnTo>
                    <a:lnTo>
                      <a:pt x="40" y="1"/>
                    </a:lnTo>
                    <a:lnTo>
                      <a:pt x="41" y="1"/>
                    </a:lnTo>
                    <a:lnTo>
                      <a:pt x="41" y="3"/>
                    </a:lnTo>
                    <a:lnTo>
                      <a:pt x="43" y="3"/>
                    </a:lnTo>
                    <a:lnTo>
                      <a:pt x="43" y="1"/>
                    </a:lnTo>
                    <a:lnTo>
                      <a:pt x="44" y="1"/>
                    </a:lnTo>
                    <a:lnTo>
                      <a:pt x="44" y="3"/>
                    </a:lnTo>
                    <a:lnTo>
                      <a:pt x="46" y="3"/>
                    </a:lnTo>
                    <a:lnTo>
                      <a:pt x="46" y="5"/>
                    </a:lnTo>
                    <a:lnTo>
                      <a:pt x="47" y="5"/>
                    </a:lnTo>
                    <a:lnTo>
                      <a:pt x="47" y="6"/>
                    </a:lnTo>
                    <a:lnTo>
                      <a:pt x="49" y="6"/>
                    </a:lnTo>
                    <a:lnTo>
                      <a:pt x="49" y="8"/>
                    </a:lnTo>
                    <a:lnTo>
                      <a:pt x="51" y="8"/>
                    </a:lnTo>
                    <a:lnTo>
                      <a:pt x="51" y="9"/>
                    </a:lnTo>
                    <a:lnTo>
                      <a:pt x="51" y="11"/>
                    </a:lnTo>
                    <a:lnTo>
                      <a:pt x="51" y="12"/>
                    </a:lnTo>
                    <a:lnTo>
                      <a:pt x="52" y="12"/>
                    </a:lnTo>
                    <a:lnTo>
                      <a:pt x="52" y="14"/>
                    </a:lnTo>
                    <a:lnTo>
                      <a:pt x="52" y="16"/>
                    </a:lnTo>
                    <a:lnTo>
                      <a:pt x="54" y="16"/>
                    </a:lnTo>
                    <a:lnTo>
                      <a:pt x="54" y="17"/>
                    </a:lnTo>
                    <a:lnTo>
                      <a:pt x="54" y="19"/>
                    </a:lnTo>
                    <a:lnTo>
                      <a:pt x="55" y="19"/>
                    </a:lnTo>
                    <a:lnTo>
                      <a:pt x="57" y="19"/>
                    </a:lnTo>
                    <a:lnTo>
                      <a:pt x="57" y="20"/>
                    </a:lnTo>
                    <a:lnTo>
                      <a:pt x="59" y="20"/>
                    </a:lnTo>
                    <a:lnTo>
                      <a:pt x="60" y="20"/>
                    </a:lnTo>
                    <a:lnTo>
                      <a:pt x="60" y="19"/>
                    </a:lnTo>
                    <a:lnTo>
                      <a:pt x="59" y="19"/>
                    </a:lnTo>
                    <a:lnTo>
                      <a:pt x="60" y="19"/>
                    </a:lnTo>
                    <a:lnTo>
                      <a:pt x="60" y="20"/>
                    </a:lnTo>
                    <a:lnTo>
                      <a:pt x="62" y="20"/>
                    </a:lnTo>
                    <a:lnTo>
                      <a:pt x="62" y="22"/>
                    </a:lnTo>
                    <a:lnTo>
                      <a:pt x="63" y="22"/>
                    </a:lnTo>
                    <a:lnTo>
                      <a:pt x="63" y="24"/>
                    </a:lnTo>
                    <a:lnTo>
                      <a:pt x="63" y="25"/>
                    </a:lnTo>
                    <a:lnTo>
                      <a:pt x="65" y="25"/>
                    </a:lnTo>
                    <a:lnTo>
                      <a:pt x="65" y="27"/>
                    </a:lnTo>
                    <a:lnTo>
                      <a:pt x="66" y="27"/>
                    </a:lnTo>
                    <a:lnTo>
                      <a:pt x="66" y="28"/>
                    </a:lnTo>
                    <a:lnTo>
                      <a:pt x="66" y="30"/>
                    </a:lnTo>
                    <a:lnTo>
                      <a:pt x="68" y="30"/>
                    </a:lnTo>
                    <a:lnTo>
                      <a:pt x="68" y="31"/>
                    </a:lnTo>
                    <a:lnTo>
                      <a:pt x="70" y="31"/>
                    </a:lnTo>
                    <a:lnTo>
                      <a:pt x="70" y="33"/>
                    </a:lnTo>
                    <a:lnTo>
                      <a:pt x="68" y="33"/>
                    </a:lnTo>
                    <a:lnTo>
                      <a:pt x="68" y="35"/>
                    </a:lnTo>
                    <a:lnTo>
                      <a:pt x="70" y="35"/>
                    </a:lnTo>
                    <a:lnTo>
                      <a:pt x="70" y="36"/>
                    </a:lnTo>
                    <a:lnTo>
                      <a:pt x="70" y="38"/>
                    </a:lnTo>
                    <a:lnTo>
                      <a:pt x="70" y="39"/>
                    </a:lnTo>
                    <a:lnTo>
                      <a:pt x="71" y="39"/>
                    </a:lnTo>
                    <a:lnTo>
                      <a:pt x="71" y="41"/>
                    </a:lnTo>
                    <a:lnTo>
                      <a:pt x="71" y="43"/>
                    </a:lnTo>
                    <a:lnTo>
                      <a:pt x="71" y="44"/>
                    </a:lnTo>
                    <a:lnTo>
                      <a:pt x="73" y="44"/>
                    </a:lnTo>
                    <a:lnTo>
                      <a:pt x="73" y="46"/>
                    </a:lnTo>
                    <a:lnTo>
                      <a:pt x="73" y="47"/>
                    </a:lnTo>
                    <a:lnTo>
                      <a:pt x="73" y="49"/>
                    </a:lnTo>
                    <a:lnTo>
                      <a:pt x="74" y="49"/>
                    </a:lnTo>
                    <a:lnTo>
                      <a:pt x="73" y="49"/>
                    </a:lnTo>
                    <a:lnTo>
                      <a:pt x="73" y="50"/>
                    </a:lnTo>
                    <a:lnTo>
                      <a:pt x="74" y="50"/>
                    </a:lnTo>
                    <a:lnTo>
                      <a:pt x="74" y="52"/>
                    </a:lnTo>
                    <a:lnTo>
                      <a:pt x="74" y="54"/>
                    </a:lnTo>
                    <a:lnTo>
                      <a:pt x="74" y="55"/>
                    </a:lnTo>
                    <a:lnTo>
                      <a:pt x="76" y="55"/>
                    </a:lnTo>
                    <a:lnTo>
                      <a:pt x="76" y="57"/>
                    </a:lnTo>
                    <a:lnTo>
                      <a:pt x="76" y="58"/>
                    </a:lnTo>
                    <a:lnTo>
                      <a:pt x="78" y="58"/>
                    </a:lnTo>
                    <a:lnTo>
                      <a:pt x="78" y="60"/>
                    </a:lnTo>
                    <a:lnTo>
                      <a:pt x="79" y="60"/>
                    </a:lnTo>
                    <a:lnTo>
                      <a:pt x="79" y="62"/>
                    </a:lnTo>
                    <a:lnTo>
                      <a:pt x="81" y="62"/>
                    </a:lnTo>
                    <a:lnTo>
                      <a:pt x="82" y="62"/>
                    </a:lnTo>
                    <a:lnTo>
                      <a:pt x="82" y="63"/>
                    </a:lnTo>
                    <a:lnTo>
                      <a:pt x="84" y="63"/>
                    </a:lnTo>
                    <a:lnTo>
                      <a:pt x="84" y="62"/>
                    </a:lnTo>
                    <a:lnTo>
                      <a:pt x="85" y="62"/>
                    </a:lnTo>
                    <a:lnTo>
                      <a:pt x="85" y="60"/>
                    </a:lnTo>
                    <a:lnTo>
                      <a:pt x="85" y="58"/>
                    </a:lnTo>
                    <a:lnTo>
                      <a:pt x="85" y="57"/>
                    </a:lnTo>
                    <a:lnTo>
                      <a:pt x="87" y="57"/>
                    </a:lnTo>
                    <a:lnTo>
                      <a:pt x="87" y="55"/>
                    </a:lnTo>
                    <a:lnTo>
                      <a:pt x="87" y="54"/>
                    </a:lnTo>
                    <a:lnTo>
                      <a:pt x="89" y="54"/>
                    </a:lnTo>
                    <a:lnTo>
                      <a:pt x="89" y="55"/>
                    </a:lnTo>
                    <a:lnTo>
                      <a:pt x="90" y="55"/>
                    </a:lnTo>
                    <a:lnTo>
                      <a:pt x="90" y="57"/>
                    </a:lnTo>
                    <a:lnTo>
                      <a:pt x="90" y="58"/>
                    </a:lnTo>
                    <a:lnTo>
                      <a:pt x="92" y="58"/>
                    </a:lnTo>
                    <a:lnTo>
                      <a:pt x="92" y="60"/>
                    </a:lnTo>
                    <a:lnTo>
                      <a:pt x="92" y="62"/>
                    </a:lnTo>
                    <a:lnTo>
                      <a:pt x="90" y="62"/>
                    </a:lnTo>
                    <a:lnTo>
                      <a:pt x="90" y="63"/>
                    </a:lnTo>
                    <a:lnTo>
                      <a:pt x="89" y="63"/>
                    </a:lnTo>
                    <a:lnTo>
                      <a:pt x="89" y="65"/>
                    </a:lnTo>
                    <a:lnTo>
                      <a:pt x="89" y="66"/>
                    </a:lnTo>
                    <a:lnTo>
                      <a:pt x="89" y="68"/>
                    </a:lnTo>
                    <a:lnTo>
                      <a:pt x="90" y="68"/>
                    </a:lnTo>
                    <a:lnTo>
                      <a:pt x="90" y="69"/>
                    </a:lnTo>
                    <a:lnTo>
                      <a:pt x="90" y="71"/>
                    </a:lnTo>
                    <a:lnTo>
                      <a:pt x="89" y="71"/>
                    </a:lnTo>
                    <a:lnTo>
                      <a:pt x="89" y="73"/>
                    </a:lnTo>
                    <a:lnTo>
                      <a:pt x="89" y="74"/>
                    </a:lnTo>
                    <a:lnTo>
                      <a:pt x="90" y="74"/>
                    </a:lnTo>
                    <a:lnTo>
                      <a:pt x="90" y="76"/>
                    </a:lnTo>
                    <a:lnTo>
                      <a:pt x="92" y="76"/>
                    </a:lnTo>
                    <a:lnTo>
                      <a:pt x="92" y="77"/>
                    </a:lnTo>
                    <a:lnTo>
                      <a:pt x="93" y="77"/>
                    </a:lnTo>
                    <a:lnTo>
                      <a:pt x="93" y="79"/>
                    </a:lnTo>
                    <a:lnTo>
                      <a:pt x="95" y="79"/>
                    </a:lnTo>
                    <a:lnTo>
                      <a:pt x="95" y="81"/>
                    </a:lnTo>
                    <a:lnTo>
                      <a:pt x="95" y="82"/>
                    </a:lnTo>
                    <a:lnTo>
                      <a:pt x="93" y="82"/>
                    </a:lnTo>
                    <a:lnTo>
                      <a:pt x="92" y="82"/>
                    </a:lnTo>
                    <a:lnTo>
                      <a:pt x="90" y="82"/>
                    </a:lnTo>
                    <a:lnTo>
                      <a:pt x="90" y="84"/>
                    </a:lnTo>
                    <a:lnTo>
                      <a:pt x="90" y="85"/>
                    </a:lnTo>
                    <a:lnTo>
                      <a:pt x="92" y="85"/>
                    </a:lnTo>
                    <a:lnTo>
                      <a:pt x="93" y="85"/>
                    </a:lnTo>
                    <a:lnTo>
                      <a:pt x="93" y="87"/>
                    </a:lnTo>
                    <a:lnTo>
                      <a:pt x="93" y="88"/>
                    </a:lnTo>
                    <a:lnTo>
                      <a:pt x="95" y="88"/>
                    </a:lnTo>
                    <a:lnTo>
                      <a:pt x="95" y="90"/>
                    </a:lnTo>
                    <a:lnTo>
                      <a:pt x="97" y="90"/>
                    </a:lnTo>
                    <a:lnTo>
                      <a:pt x="97" y="92"/>
                    </a:lnTo>
                    <a:lnTo>
                      <a:pt x="95" y="92"/>
                    </a:lnTo>
                    <a:lnTo>
                      <a:pt x="95" y="90"/>
                    </a:lnTo>
                    <a:lnTo>
                      <a:pt x="93" y="90"/>
                    </a:lnTo>
                    <a:lnTo>
                      <a:pt x="95" y="90"/>
                    </a:lnTo>
                    <a:lnTo>
                      <a:pt x="95" y="92"/>
                    </a:lnTo>
                    <a:lnTo>
                      <a:pt x="95" y="93"/>
                    </a:lnTo>
                    <a:lnTo>
                      <a:pt x="93" y="93"/>
                    </a:lnTo>
                    <a:lnTo>
                      <a:pt x="93" y="95"/>
                    </a:lnTo>
                    <a:lnTo>
                      <a:pt x="92" y="95"/>
                    </a:lnTo>
                    <a:lnTo>
                      <a:pt x="92" y="96"/>
                    </a:lnTo>
                    <a:lnTo>
                      <a:pt x="90" y="96"/>
                    </a:lnTo>
                    <a:lnTo>
                      <a:pt x="90" y="98"/>
                    </a:lnTo>
                    <a:lnTo>
                      <a:pt x="92" y="98"/>
                    </a:lnTo>
                    <a:lnTo>
                      <a:pt x="93" y="98"/>
                    </a:lnTo>
                    <a:lnTo>
                      <a:pt x="93" y="96"/>
                    </a:lnTo>
                    <a:lnTo>
                      <a:pt x="95" y="96"/>
                    </a:lnTo>
                    <a:lnTo>
                      <a:pt x="95" y="95"/>
                    </a:lnTo>
                    <a:lnTo>
                      <a:pt x="97" y="95"/>
                    </a:lnTo>
                    <a:lnTo>
                      <a:pt x="97" y="93"/>
                    </a:lnTo>
                    <a:lnTo>
                      <a:pt x="97" y="92"/>
                    </a:lnTo>
                    <a:lnTo>
                      <a:pt x="97" y="90"/>
                    </a:lnTo>
                    <a:lnTo>
                      <a:pt x="95" y="90"/>
                    </a:lnTo>
                    <a:lnTo>
                      <a:pt x="95" y="88"/>
                    </a:lnTo>
                    <a:lnTo>
                      <a:pt x="95" y="87"/>
                    </a:lnTo>
                    <a:lnTo>
                      <a:pt x="95" y="85"/>
                    </a:lnTo>
                    <a:lnTo>
                      <a:pt x="93" y="85"/>
                    </a:lnTo>
                    <a:lnTo>
                      <a:pt x="93" y="84"/>
                    </a:lnTo>
                    <a:lnTo>
                      <a:pt x="95" y="84"/>
                    </a:lnTo>
                    <a:lnTo>
                      <a:pt x="95" y="82"/>
                    </a:lnTo>
                    <a:lnTo>
                      <a:pt x="97" y="82"/>
                    </a:lnTo>
                    <a:lnTo>
                      <a:pt x="98" y="82"/>
                    </a:lnTo>
                    <a:lnTo>
                      <a:pt x="98" y="81"/>
                    </a:lnTo>
                    <a:lnTo>
                      <a:pt x="100" y="81"/>
                    </a:lnTo>
                    <a:lnTo>
                      <a:pt x="101" y="81"/>
                    </a:lnTo>
                    <a:lnTo>
                      <a:pt x="101" y="82"/>
                    </a:lnTo>
                    <a:lnTo>
                      <a:pt x="103" y="82"/>
                    </a:lnTo>
                    <a:lnTo>
                      <a:pt x="103" y="84"/>
                    </a:lnTo>
                    <a:lnTo>
                      <a:pt x="104" y="84"/>
                    </a:lnTo>
                    <a:lnTo>
                      <a:pt x="106" y="84"/>
                    </a:lnTo>
                    <a:lnTo>
                      <a:pt x="106" y="85"/>
                    </a:lnTo>
                    <a:lnTo>
                      <a:pt x="108" y="85"/>
                    </a:lnTo>
                    <a:lnTo>
                      <a:pt x="109" y="85"/>
                    </a:lnTo>
                    <a:lnTo>
                      <a:pt x="111" y="85"/>
                    </a:lnTo>
                    <a:lnTo>
                      <a:pt x="111" y="87"/>
                    </a:lnTo>
                    <a:lnTo>
                      <a:pt x="112" y="87"/>
                    </a:lnTo>
                    <a:lnTo>
                      <a:pt x="112" y="88"/>
                    </a:lnTo>
                    <a:lnTo>
                      <a:pt x="112" y="90"/>
                    </a:lnTo>
                    <a:lnTo>
                      <a:pt x="114" y="90"/>
                    </a:lnTo>
                    <a:lnTo>
                      <a:pt x="114" y="92"/>
                    </a:lnTo>
                    <a:lnTo>
                      <a:pt x="116" y="92"/>
                    </a:lnTo>
                    <a:lnTo>
                      <a:pt x="116" y="93"/>
                    </a:lnTo>
                    <a:lnTo>
                      <a:pt x="117" y="93"/>
                    </a:lnTo>
                    <a:lnTo>
                      <a:pt x="119" y="93"/>
                    </a:lnTo>
                    <a:lnTo>
                      <a:pt x="120" y="93"/>
                    </a:lnTo>
                    <a:lnTo>
                      <a:pt x="122" y="93"/>
                    </a:lnTo>
                    <a:lnTo>
                      <a:pt x="123" y="93"/>
                    </a:lnTo>
                    <a:lnTo>
                      <a:pt x="123" y="92"/>
                    </a:lnTo>
                    <a:lnTo>
                      <a:pt x="125" y="92"/>
                    </a:lnTo>
                    <a:lnTo>
                      <a:pt x="125" y="93"/>
                    </a:lnTo>
                    <a:lnTo>
                      <a:pt x="127" y="93"/>
                    </a:lnTo>
                    <a:lnTo>
                      <a:pt x="127" y="95"/>
                    </a:lnTo>
                    <a:lnTo>
                      <a:pt x="128" y="95"/>
                    </a:lnTo>
                    <a:lnTo>
                      <a:pt x="130" y="95"/>
                    </a:lnTo>
                    <a:lnTo>
                      <a:pt x="130" y="96"/>
                    </a:lnTo>
                    <a:lnTo>
                      <a:pt x="131" y="96"/>
                    </a:lnTo>
                    <a:lnTo>
                      <a:pt x="133" y="96"/>
                    </a:lnTo>
                    <a:lnTo>
                      <a:pt x="135" y="96"/>
                    </a:lnTo>
                    <a:lnTo>
                      <a:pt x="136" y="96"/>
                    </a:lnTo>
                    <a:lnTo>
                      <a:pt x="138" y="96"/>
                    </a:lnTo>
                    <a:lnTo>
                      <a:pt x="138" y="98"/>
                    </a:lnTo>
                    <a:lnTo>
                      <a:pt x="138" y="96"/>
                    </a:lnTo>
                    <a:lnTo>
                      <a:pt x="138" y="98"/>
                    </a:lnTo>
                    <a:lnTo>
                      <a:pt x="139" y="98"/>
                    </a:lnTo>
                    <a:lnTo>
                      <a:pt x="141" y="98"/>
                    </a:lnTo>
                    <a:lnTo>
                      <a:pt x="143" y="98"/>
                    </a:lnTo>
                    <a:lnTo>
                      <a:pt x="143" y="96"/>
                    </a:lnTo>
                    <a:lnTo>
                      <a:pt x="144" y="96"/>
                    </a:lnTo>
                    <a:lnTo>
                      <a:pt x="144" y="98"/>
                    </a:lnTo>
                    <a:lnTo>
                      <a:pt x="146" y="98"/>
                    </a:lnTo>
                    <a:lnTo>
                      <a:pt x="147" y="98"/>
                    </a:lnTo>
                    <a:lnTo>
                      <a:pt x="147" y="100"/>
                    </a:lnTo>
                    <a:lnTo>
                      <a:pt x="149" y="100"/>
                    </a:lnTo>
                    <a:lnTo>
                      <a:pt x="150" y="100"/>
                    </a:lnTo>
                    <a:lnTo>
                      <a:pt x="150" y="98"/>
                    </a:lnTo>
                    <a:lnTo>
                      <a:pt x="150" y="96"/>
                    </a:lnTo>
                    <a:lnTo>
                      <a:pt x="152" y="96"/>
                    </a:lnTo>
                    <a:lnTo>
                      <a:pt x="152" y="98"/>
                    </a:lnTo>
                    <a:lnTo>
                      <a:pt x="154" y="98"/>
                    </a:lnTo>
                    <a:lnTo>
                      <a:pt x="154" y="100"/>
                    </a:lnTo>
                    <a:lnTo>
                      <a:pt x="154" y="101"/>
                    </a:lnTo>
                    <a:lnTo>
                      <a:pt x="154" y="103"/>
                    </a:lnTo>
                    <a:lnTo>
                      <a:pt x="155" y="103"/>
                    </a:lnTo>
                    <a:lnTo>
                      <a:pt x="157" y="103"/>
                    </a:lnTo>
                    <a:lnTo>
                      <a:pt x="157" y="104"/>
                    </a:lnTo>
                    <a:lnTo>
                      <a:pt x="158" y="104"/>
                    </a:lnTo>
                    <a:lnTo>
                      <a:pt x="158" y="106"/>
                    </a:lnTo>
                    <a:lnTo>
                      <a:pt x="158" y="107"/>
                    </a:lnTo>
                    <a:lnTo>
                      <a:pt x="158" y="109"/>
                    </a:lnTo>
                    <a:lnTo>
                      <a:pt x="158" y="111"/>
                    </a:lnTo>
                    <a:lnTo>
                      <a:pt x="158" y="112"/>
                    </a:lnTo>
                    <a:lnTo>
                      <a:pt x="160" y="112"/>
                    </a:lnTo>
                    <a:lnTo>
                      <a:pt x="160" y="114"/>
                    </a:lnTo>
                    <a:lnTo>
                      <a:pt x="160" y="115"/>
                    </a:lnTo>
                    <a:lnTo>
                      <a:pt x="160" y="117"/>
                    </a:lnTo>
                    <a:lnTo>
                      <a:pt x="160" y="119"/>
                    </a:lnTo>
                    <a:lnTo>
                      <a:pt x="162" y="119"/>
                    </a:lnTo>
                    <a:lnTo>
                      <a:pt x="162" y="120"/>
                    </a:lnTo>
                    <a:lnTo>
                      <a:pt x="162" y="122"/>
                    </a:lnTo>
                    <a:lnTo>
                      <a:pt x="163" y="122"/>
                    </a:lnTo>
                    <a:lnTo>
                      <a:pt x="163" y="123"/>
                    </a:lnTo>
                    <a:lnTo>
                      <a:pt x="163" y="125"/>
                    </a:lnTo>
                    <a:lnTo>
                      <a:pt x="163" y="126"/>
                    </a:lnTo>
                    <a:lnTo>
                      <a:pt x="165" y="126"/>
                    </a:lnTo>
                    <a:lnTo>
                      <a:pt x="165" y="128"/>
                    </a:lnTo>
                    <a:lnTo>
                      <a:pt x="166" y="128"/>
                    </a:lnTo>
                    <a:lnTo>
                      <a:pt x="166" y="130"/>
                    </a:lnTo>
                    <a:lnTo>
                      <a:pt x="166" y="131"/>
                    </a:lnTo>
                    <a:lnTo>
                      <a:pt x="168" y="131"/>
                    </a:lnTo>
                    <a:lnTo>
                      <a:pt x="168" y="133"/>
                    </a:lnTo>
                    <a:lnTo>
                      <a:pt x="169" y="133"/>
                    </a:lnTo>
                    <a:lnTo>
                      <a:pt x="169" y="134"/>
                    </a:lnTo>
                    <a:lnTo>
                      <a:pt x="171" y="134"/>
                    </a:lnTo>
                    <a:lnTo>
                      <a:pt x="171" y="136"/>
                    </a:lnTo>
                    <a:lnTo>
                      <a:pt x="173" y="136"/>
                    </a:lnTo>
                    <a:lnTo>
                      <a:pt x="174" y="136"/>
                    </a:lnTo>
                    <a:lnTo>
                      <a:pt x="176" y="136"/>
                    </a:lnTo>
                    <a:lnTo>
                      <a:pt x="176" y="138"/>
                    </a:lnTo>
                    <a:lnTo>
                      <a:pt x="174" y="138"/>
                    </a:lnTo>
                    <a:lnTo>
                      <a:pt x="174" y="139"/>
                    </a:lnTo>
                    <a:lnTo>
                      <a:pt x="176" y="139"/>
                    </a:lnTo>
                    <a:lnTo>
                      <a:pt x="176" y="141"/>
                    </a:lnTo>
                    <a:lnTo>
                      <a:pt x="174" y="141"/>
                    </a:lnTo>
                    <a:lnTo>
                      <a:pt x="174" y="139"/>
                    </a:lnTo>
                    <a:lnTo>
                      <a:pt x="174" y="141"/>
                    </a:lnTo>
                    <a:lnTo>
                      <a:pt x="174" y="142"/>
                    </a:lnTo>
                    <a:lnTo>
                      <a:pt x="174" y="144"/>
                    </a:lnTo>
                    <a:lnTo>
                      <a:pt x="176" y="144"/>
                    </a:lnTo>
                    <a:lnTo>
                      <a:pt x="176" y="145"/>
                    </a:lnTo>
                    <a:lnTo>
                      <a:pt x="177" y="145"/>
                    </a:lnTo>
                    <a:lnTo>
                      <a:pt x="177" y="147"/>
                    </a:lnTo>
                    <a:lnTo>
                      <a:pt x="176" y="147"/>
                    </a:lnTo>
                    <a:lnTo>
                      <a:pt x="176" y="149"/>
                    </a:lnTo>
                    <a:lnTo>
                      <a:pt x="176" y="150"/>
                    </a:lnTo>
                    <a:lnTo>
                      <a:pt x="174" y="150"/>
                    </a:lnTo>
                    <a:lnTo>
                      <a:pt x="174" y="152"/>
                    </a:lnTo>
                    <a:lnTo>
                      <a:pt x="174" y="153"/>
                    </a:lnTo>
                    <a:lnTo>
                      <a:pt x="174" y="155"/>
                    </a:lnTo>
                    <a:lnTo>
                      <a:pt x="174" y="157"/>
                    </a:lnTo>
                    <a:lnTo>
                      <a:pt x="176" y="157"/>
                    </a:lnTo>
                    <a:lnTo>
                      <a:pt x="174" y="157"/>
                    </a:lnTo>
                    <a:lnTo>
                      <a:pt x="174" y="158"/>
                    </a:lnTo>
                    <a:lnTo>
                      <a:pt x="176" y="158"/>
                    </a:lnTo>
                    <a:lnTo>
                      <a:pt x="174" y="158"/>
                    </a:lnTo>
                    <a:lnTo>
                      <a:pt x="174" y="160"/>
                    </a:lnTo>
                    <a:lnTo>
                      <a:pt x="174" y="161"/>
                    </a:lnTo>
                    <a:lnTo>
                      <a:pt x="174" y="163"/>
                    </a:lnTo>
                    <a:lnTo>
                      <a:pt x="176" y="163"/>
                    </a:lnTo>
                    <a:lnTo>
                      <a:pt x="176" y="164"/>
                    </a:lnTo>
                    <a:lnTo>
                      <a:pt x="174" y="164"/>
                    </a:lnTo>
                    <a:lnTo>
                      <a:pt x="173" y="164"/>
                    </a:lnTo>
                    <a:lnTo>
                      <a:pt x="173" y="166"/>
                    </a:lnTo>
                    <a:lnTo>
                      <a:pt x="174" y="166"/>
                    </a:lnTo>
                    <a:lnTo>
                      <a:pt x="174" y="168"/>
                    </a:lnTo>
                    <a:lnTo>
                      <a:pt x="174" y="169"/>
                    </a:lnTo>
                    <a:lnTo>
                      <a:pt x="174" y="171"/>
                    </a:lnTo>
                    <a:lnTo>
                      <a:pt x="176" y="171"/>
                    </a:lnTo>
                    <a:lnTo>
                      <a:pt x="174" y="171"/>
                    </a:lnTo>
                    <a:lnTo>
                      <a:pt x="176" y="171"/>
                    </a:lnTo>
                    <a:lnTo>
                      <a:pt x="176" y="172"/>
                    </a:lnTo>
                    <a:lnTo>
                      <a:pt x="176" y="174"/>
                    </a:lnTo>
                    <a:lnTo>
                      <a:pt x="176" y="176"/>
                    </a:lnTo>
                    <a:lnTo>
                      <a:pt x="177" y="176"/>
                    </a:lnTo>
                    <a:lnTo>
                      <a:pt x="176" y="176"/>
                    </a:lnTo>
                    <a:lnTo>
                      <a:pt x="176" y="177"/>
                    </a:lnTo>
                    <a:lnTo>
                      <a:pt x="177" y="177"/>
                    </a:lnTo>
                    <a:lnTo>
                      <a:pt x="177" y="179"/>
                    </a:lnTo>
                    <a:lnTo>
                      <a:pt x="177" y="180"/>
                    </a:lnTo>
                    <a:lnTo>
                      <a:pt x="179" y="180"/>
                    </a:lnTo>
                    <a:lnTo>
                      <a:pt x="177" y="180"/>
                    </a:lnTo>
                    <a:lnTo>
                      <a:pt x="177" y="182"/>
                    </a:lnTo>
                    <a:lnTo>
                      <a:pt x="177" y="183"/>
                    </a:lnTo>
                    <a:lnTo>
                      <a:pt x="176" y="183"/>
                    </a:lnTo>
                    <a:lnTo>
                      <a:pt x="176" y="182"/>
                    </a:lnTo>
                    <a:lnTo>
                      <a:pt x="174" y="182"/>
                    </a:lnTo>
                    <a:lnTo>
                      <a:pt x="174" y="180"/>
                    </a:lnTo>
                    <a:lnTo>
                      <a:pt x="173" y="180"/>
                    </a:lnTo>
                    <a:lnTo>
                      <a:pt x="171" y="180"/>
                    </a:lnTo>
                    <a:lnTo>
                      <a:pt x="169" y="180"/>
                    </a:lnTo>
                    <a:lnTo>
                      <a:pt x="169" y="182"/>
                    </a:lnTo>
                    <a:lnTo>
                      <a:pt x="168" y="182"/>
                    </a:lnTo>
                    <a:lnTo>
                      <a:pt x="168" y="183"/>
                    </a:lnTo>
                    <a:lnTo>
                      <a:pt x="168" y="185"/>
                    </a:lnTo>
                    <a:lnTo>
                      <a:pt x="168" y="187"/>
                    </a:lnTo>
                    <a:lnTo>
                      <a:pt x="166" y="187"/>
                    </a:lnTo>
                    <a:lnTo>
                      <a:pt x="166" y="188"/>
                    </a:lnTo>
                    <a:lnTo>
                      <a:pt x="165" y="188"/>
                    </a:lnTo>
                    <a:lnTo>
                      <a:pt x="165" y="190"/>
                    </a:lnTo>
                    <a:lnTo>
                      <a:pt x="165" y="191"/>
                    </a:lnTo>
                    <a:lnTo>
                      <a:pt x="166" y="191"/>
                    </a:lnTo>
                    <a:lnTo>
                      <a:pt x="166" y="193"/>
                    </a:lnTo>
                    <a:lnTo>
                      <a:pt x="166" y="195"/>
                    </a:lnTo>
                    <a:lnTo>
                      <a:pt x="166" y="196"/>
                    </a:lnTo>
                    <a:lnTo>
                      <a:pt x="166" y="198"/>
                    </a:lnTo>
                    <a:lnTo>
                      <a:pt x="165" y="198"/>
                    </a:lnTo>
                    <a:lnTo>
                      <a:pt x="163" y="198"/>
                    </a:lnTo>
                    <a:lnTo>
                      <a:pt x="163" y="199"/>
                    </a:lnTo>
                    <a:lnTo>
                      <a:pt x="163" y="201"/>
                    </a:lnTo>
                    <a:lnTo>
                      <a:pt x="162" y="201"/>
                    </a:lnTo>
                    <a:lnTo>
                      <a:pt x="160" y="201"/>
                    </a:lnTo>
                    <a:lnTo>
                      <a:pt x="158" y="201"/>
                    </a:lnTo>
                    <a:lnTo>
                      <a:pt x="158" y="199"/>
                    </a:lnTo>
                    <a:lnTo>
                      <a:pt x="157" y="199"/>
                    </a:lnTo>
                    <a:lnTo>
                      <a:pt x="157" y="198"/>
                    </a:lnTo>
                    <a:lnTo>
                      <a:pt x="157" y="196"/>
                    </a:lnTo>
                    <a:lnTo>
                      <a:pt x="157" y="195"/>
                    </a:lnTo>
                    <a:lnTo>
                      <a:pt x="155" y="195"/>
                    </a:lnTo>
                    <a:lnTo>
                      <a:pt x="154" y="195"/>
                    </a:lnTo>
                    <a:lnTo>
                      <a:pt x="152" y="195"/>
                    </a:lnTo>
                    <a:lnTo>
                      <a:pt x="150" y="195"/>
                    </a:lnTo>
                    <a:lnTo>
                      <a:pt x="149" y="195"/>
                    </a:lnTo>
                    <a:lnTo>
                      <a:pt x="149" y="196"/>
                    </a:lnTo>
                    <a:lnTo>
                      <a:pt x="147" y="196"/>
                    </a:lnTo>
                    <a:lnTo>
                      <a:pt x="147" y="198"/>
                    </a:lnTo>
                    <a:lnTo>
                      <a:pt x="146" y="198"/>
                    </a:lnTo>
                    <a:lnTo>
                      <a:pt x="144" y="198"/>
                    </a:lnTo>
                    <a:lnTo>
                      <a:pt x="144" y="199"/>
                    </a:lnTo>
                    <a:lnTo>
                      <a:pt x="143" y="199"/>
                    </a:lnTo>
                    <a:lnTo>
                      <a:pt x="141" y="199"/>
                    </a:lnTo>
                    <a:lnTo>
                      <a:pt x="139" y="199"/>
                    </a:lnTo>
                    <a:lnTo>
                      <a:pt x="138" y="199"/>
                    </a:lnTo>
                    <a:lnTo>
                      <a:pt x="138" y="198"/>
                    </a:lnTo>
                    <a:lnTo>
                      <a:pt x="138" y="196"/>
                    </a:lnTo>
                    <a:lnTo>
                      <a:pt x="136" y="196"/>
                    </a:lnTo>
                    <a:lnTo>
                      <a:pt x="136" y="195"/>
                    </a:lnTo>
                    <a:lnTo>
                      <a:pt x="136" y="193"/>
                    </a:lnTo>
                    <a:lnTo>
                      <a:pt x="136" y="191"/>
                    </a:lnTo>
                    <a:lnTo>
                      <a:pt x="135" y="191"/>
                    </a:lnTo>
                    <a:lnTo>
                      <a:pt x="133" y="191"/>
                    </a:lnTo>
                    <a:lnTo>
                      <a:pt x="133" y="193"/>
                    </a:lnTo>
                    <a:lnTo>
                      <a:pt x="133" y="195"/>
                    </a:lnTo>
                    <a:lnTo>
                      <a:pt x="131" y="195"/>
                    </a:lnTo>
                    <a:lnTo>
                      <a:pt x="131" y="196"/>
                    </a:lnTo>
                    <a:lnTo>
                      <a:pt x="130" y="196"/>
                    </a:lnTo>
                    <a:lnTo>
                      <a:pt x="128" y="196"/>
                    </a:lnTo>
                    <a:lnTo>
                      <a:pt x="128" y="195"/>
                    </a:lnTo>
                    <a:lnTo>
                      <a:pt x="128" y="193"/>
                    </a:lnTo>
                    <a:lnTo>
                      <a:pt x="128" y="191"/>
                    </a:lnTo>
                    <a:lnTo>
                      <a:pt x="128" y="190"/>
                    </a:lnTo>
                    <a:lnTo>
                      <a:pt x="128" y="188"/>
                    </a:lnTo>
                    <a:lnTo>
                      <a:pt x="128" y="187"/>
                    </a:lnTo>
                    <a:lnTo>
                      <a:pt x="128" y="185"/>
                    </a:lnTo>
                    <a:lnTo>
                      <a:pt x="130" y="185"/>
                    </a:lnTo>
                    <a:lnTo>
                      <a:pt x="130" y="183"/>
                    </a:lnTo>
                    <a:lnTo>
                      <a:pt x="131" y="183"/>
                    </a:lnTo>
                    <a:lnTo>
                      <a:pt x="131" y="182"/>
                    </a:lnTo>
                    <a:lnTo>
                      <a:pt x="133" y="182"/>
                    </a:lnTo>
                    <a:lnTo>
                      <a:pt x="133" y="180"/>
                    </a:lnTo>
                    <a:lnTo>
                      <a:pt x="131" y="179"/>
                    </a:lnTo>
                    <a:lnTo>
                      <a:pt x="131" y="177"/>
                    </a:lnTo>
                    <a:lnTo>
                      <a:pt x="130" y="177"/>
                    </a:lnTo>
                    <a:lnTo>
                      <a:pt x="130" y="176"/>
                    </a:lnTo>
                    <a:lnTo>
                      <a:pt x="130" y="174"/>
                    </a:lnTo>
                    <a:lnTo>
                      <a:pt x="128" y="174"/>
                    </a:lnTo>
                    <a:lnTo>
                      <a:pt x="130" y="172"/>
                    </a:lnTo>
                    <a:lnTo>
                      <a:pt x="130" y="171"/>
                    </a:lnTo>
                    <a:lnTo>
                      <a:pt x="131" y="171"/>
                    </a:lnTo>
                    <a:lnTo>
                      <a:pt x="133" y="169"/>
                    </a:lnTo>
                    <a:lnTo>
                      <a:pt x="133" y="168"/>
                    </a:lnTo>
                    <a:lnTo>
                      <a:pt x="135" y="168"/>
                    </a:lnTo>
                    <a:lnTo>
                      <a:pt x="133" y="166"/>
                    </a:lnTo>
                    <a:lnTo>
                      <a:pt x="133" y="164"/>
                    </a:lnTo>
                    <a:lnTo>
                      <a:pt x="135" y="164"/>
                    </a:lnTo>
                    <a:lnTo>
                      <a:pt x="133" y="163"/>
                    </a:lnTo>
                    <a:lnTo>
                      <a:pt x="133" y="161"/>
                    </a:lnTo>
                    <a:lnTo>
                      <a:pt x="133" y="160"/>
                    </a:lnTo>
                    <a:lnTo>
                      <a:pt x="131" y="160"/>
                    </a:lnTo>
                    <a:lnTo>
                      <a:pt x="131" y="158"/>
                    </a:lnTo>
                    <a:lnTo>
                      <a:pt x="131" y="157"/>
                    </a:lnTo>
                    <a:lnTo>
                      <a:pt x="133" y="157"/>
                    </a:lnTo>
                    <a:lnTo>
                      <a:pt x="133" y="155"/>
                    </a:lnTo>
                    <a:lnTo>
                      <a:pt x="131" y="155"/>
                    </a:lnTo>
                    <a:lnTo>
                      <a:pt x="133" y="153"/>
                    </a:lnTo>
                    <a:lnTo>
                      <a:pt x="133" y="152"/>
                    </a:lnTo>
                    <a:lnTo>
                      <a:pt x="133" y="150"/>
                    </a:lnTo>
                    <a:lnTo>
                      <a:pt x="131" y="150"/>
                    </a:lnTo>
                    <a:lnTo>
                      <a:pt x="130" y="150"/>
                    </a:lnTo>
                    <a:lnTo>
                      <a:pt x="128" y="150"/>
                    </a:lnTo>
                    <a:lnTo>
                      <a:pt x="128" y="149"/>
                    </a:lnTo>
                    <a:lnTo>
                      <a:pt x="128" y="147"/>
                    </a:lnTo>
                    <a:lnTo>
                      <a:pt x="128" y="145"/>
                    </a:lnTo>
                    <a:lnTo>
                      <a:pt x="128" y="144"/>
                    </a:lnTo>
                    <a:lnTo>
                      <a:pt x="127" y="144"/>
                    </a:lnTo>
                    <a:lnTo>
                      <a:pt x="125" y="144"/>
                    </a:lnTo>
                    <a:lnTo>
                      <a:pt x="125" y="142"/>
                    </a:lnTo>
                    <a:lnTo>
                      <a:pt x="123" y="142"/>
                    </a:lnTo>
                    <a:lnTo>
                      <a:pt x="122" y="142"/>
                    </a:lnTo>
                    <a:lnTo>
                      <a:pt x="122" y="141"/>
                    </a:lnTo>
                    <a:lnTo>
                      <a:pt x="122" y="139"/>
                    </a:lnTo>
                    <a:lnTo>
                      <a:pt x="123" y="138"/>
                    </a:lnTo>
                    <a:lnTo>
                      <a:pt x="123" y="136"/>
                    </a:lnTo>
                    <a:lnTo>
                      <a:pt x="123" y="134"/>
                    </a:lnTo>
                    <a:lnTo>
                      <a:pt x="123" y="133"/>
                    </a:lnTo>
                    <a:lnTo>
                      <a:pt x="123" y="131"/>
                    </a:lnTo>
                    <a:lnTo>
                      <a:pt x="123" y="130"/>
                    </a:lnTo>
                    <a:lnTo>
                      <a:pt x="122" y="131"/>
                    </a:lnTo>
                    <a:lnTo>
                      <a:pt x="120" y="131"/>
                    </a:lnTo>
                    <a:lnTo>
                      <a:pt x="119" y="131"/>
                    </a:lnTo>
                    <a:lnTo>
                      <a:pt x="117" y="131"/>
                    </a:lnTo>
                    <a:lnTo>
                      <a:pt x="117" y="130"/>
                    </a:lnTo>
                    <a:lnTo>
                      <a:pt x="116" y="130"/>
                    </a:lnTo>
                    <a:lnTo>
                      <a:pt x="114" y="128"/>
                    </a:lnTo>
                    <a:lnTo>
                      <a:pt x="114" y="126"/>
                    </a:lnTo>
                    <a:lnTo>
                      <a:pt x="112" y="126"/>
                    </a:lnTo>
                    <a:lnTo>
                      <a:pt x="112" y="125"/>
                    </a:lnTo>
                    <a:lnTo>
                      <a:pt x="111" y="125"/>
                    </a:lnTo>
                    <a:lnTo>
                      <a:pt x="109" y="125"/>
                    </a:lnTo>
                    <a:lnTo>
                      <a:pt x="108" y="125"/>
                    </a:lnTo>
                    <a:lnTo>
                      <a:pt x="106" y="125"/>
                    </a:lnTo>
                    <a:lnTo>
                      <a:pt x="104" y="123"/>
                    </a:lnTo>
                    <a:lnTo>
                      <a:pt x="103" y="123"/>
                    </a:lnTo>
                    <a:lnTo>
                      <a:pt x="101" y="123"/>
                    </a:lnTo>
                    <a:lnTo>
                      <a:pt x="100" y="123"/>
                    </a:lnTo>
                    <a:lnTo>
                      <a:pt x="100" y="125"/>
                    </a:lnTo>
                    <a:lnTo>
                      <a:pt x="98" y="125"/>
                    </a:lnTo>
                    <a:lnTo>
                      <a:pt x="98" y="123"/>
                    </a:lnTo>
                    <a:lnTo>
                      <a:pt x="97" y="123"/>
                    </a:lnTo>
                    <a:lnTo>
                      <a:pt x="95" y="123"/>
                    </a:lnTo>
                    <a:lnTo>
                      <a:pt x="93" y="123"/>
                    </a:lnTo>
                    <a:lnTo>
                      <a:pt x="92" y="123"/>
                    </a:lnTo>
                    <a:lnTo>
                      <a:pt x="92" y="125"/>
                    </a:lnTo>
                    <a:lnTo>
                      <a:pt x="90" y="125"/>
                    </a:lnTo>
                    <a:lnTo>
                      <a:pt x="89" y="125"/>
                    </a:lnTo>
                    <a:lnTo>
                      <a:pt x="87" y="126"/>
                    </a:lnTo>
                    <a:lnTo>
                      <a:pt x="87" y="125"/>
                    </a:lnTo>
                    <a:lnTo>
                      <a:pt x="87" y="123"/>
                    </a:lnTo>
                    <a:lnTo>
                      <a:pt x="87" y="122"/>
                    </a:lnTo>
                    <a:lnTo>
                      <a:pt x="85" y="122"/>
                    </a:lnTo>
                    <a:lnTo>
                      <a:pt x="84" y="122"/>
                    </a:lnTo>
                    <a:lnTo>
                      <a:pt x="82" y="122"/>
                    </a:lnTo>
                    <a:lnTo>
                      <a:pt x="81" y="123"/>
                    </a:lnTo>
                    <a:lnTo>
                      <a:pt x="79" y="123"/>
                    </a:lnTo>
                    <a:lnTo>
                      <a:pt x="78" y="123"/>
                    </a:lnTo>
                    <a:lnTo>
                      <a:pt x="76" y="125"/>
                    </a:lnTo>
                    <a:lnTo>
                      <a:pt x="74" y="125"/>
                    </a:lnTo>
                    <a:lnTo>
                      <a:pt x="74" y="126"/>
                    </a:lnTo>
                    <a:lnTo>
                      <a:pt x="74" y="128"/>
                    </a:lnTo>
                    <a:lnTo>
                      <a:pt x="73" y="130"/>
                    </a:lnTo>
                    <a:lnTo>
                      <a:pt x="73" y="131"/>
                    </a:lnTo>
                    <a:lnTo>
                      <a:pt x="71" y="131"/>
                    </a:lnTo>
                    <a:lnTo>
                      <a:pt x="70" y="133"/>
                    </a:lnTo>
                    <a:lnTo>
                      <a:pt x="70" y="134"/>
                    </a:lnTo>
                    <a:lnTo>
                      <a:pt x="70" y="136"/>
                    </a:lnTo>
                    <a:lnTo>
                      <a:pt x="70" y="138"/>
                    </a:lnTo>
                    <a:lnTo>
                      <a:pt x="68" y="138"/>
                    </a:lnTo>
                    <a:lnTo>
                      <a:pt x="66" y="138"/>
                    </a:lnTo>
                    <a:lnTo>
                      <a:pt x="65" y="136"/>
                    </a:lnTo>
                    <a:lnTo>
                      <a:pt x="63" y="136"/>
                    </a:lnTo>
                    <a:lnTo>
                      <a:pt x="62" y="134"/>
                    </a:lnTo>
                    <a:lnTo>
                      <a:pt x="60" y="134"/>
                    </a:lnTo>
                    <a:lnTo>
                      <a:pt x="59" y="134"/>
                    </a:lnTo>
                    <a:lnTo>
                      <a:pt x="59" y="136"/>
                    </a:lnTo>
                    <a:lnTo>
                      <a:pt x="59" y="138"/>
                    </a:lnTo>
                    <a:lnTo>
                      <a:pt x="59" y="139"/>
                    </a:lnTo>
                    <a:lnTo>
                      <a:pt x="59" y="141"/>
                    </a:lnTo>
                    <a:lnTo>
                      <a:pt x="57" y="142"/>
                    </a:lnTo>
                    <a:lnTo>
                      <a:pt x="55" y="144"/>
                    </a:lnTo>
                    <a:lnTo>
                      <a:pt x="54" y="145"/>
                    </a:lnTo>
                    <a:lnTo>
                      <a:pt x="52" y="145"/>
                    </a:lnTo>
                    <a:lnTo>
                      <a:pt x="51" y="145"/>
                    </a:lnTo>
                    <a:lnTo>
                      <a:pt x="51" y="147"/>
                    </a:lnTo>
                    <a:lnTo>
                      <a:pt x="49" y="147"/>
                    </a:lnTo>
                    <a:lnTo>
                      <a:pt x="47" y="147"/>
                    </a:lnTo>
                    <a:lnTo>
                      <a:pt x="46" y="145"/>
                    </a:lnTo>
                    <a:lnTo>
                      <a:pt x="46" y="144"/>
                    </a:lnTo>
                    <a:lnTo>
                      <a:pt x="44" y="144"/>
                    </a:lnTo>
                    <a:lnTo>
                      <a:pt x="44" y="142"/>
                    </a:lnTo>
                    <a:lnTo>
                      <a:pt x="44" y="141"/>
                    </a:lnTo>
                    <a:lnTo>
                      <a:pt x="43" y="141"/>
                    </a:lnTo>
                    <a:lnTo>
                      <a:pt x="41" y="142"/>
                    </a:lnTo>
                    <a:lnTo>
                      <a:pt x="40" y="142"/>
                    </a:lnTo>
                    <a:lnTo>
                      <a:pt x="38" y="142"/>
                    </a:lnTo>
                    <a:lnTo>
                      <a:pt x="36" y="142"/>
                    </a:lnTo>
                    <a:lnTo>
                      <a:pt x="36" y="144"/>
                    </a:lnTo>
                    <a:lnTo>
                      <a:pt x="36" y="145"/>
                    </a:lnTo>
                    <a:lnTo>
                      <a:pt x="35" y="145"/>
                    </a:lnTo>
                    <a:lnTo>
                      <a:pt x="35" y="147"/>
                    </a:lnTo>
                    <a:lnTo>
                      <a:pt x="35" y="149"/>
                    </a:lnTo>
                    <a:lnTo>
                      <a:pt x="33" y="149"/>
                    </a:lnTo>
                    <a:lnTo>
                      <a:pt x="32" y="150"/>
                    </a:lnTo>
                    <a:lnTo>
                      <a:pt x="32" y="152"/>
                    </a:lnTo>
                    <a:lnTo>
                      <a:pt x="32" y="153"/>
                    </a:lnTo>
                    <a:lnTo>
                      <a:pt x="32" y="155"/>
                    </a:lnTo>
                    <a:lnTo>
                      <a:pt x="30" y="155"/>
                    </a:lnTo>
                    <a:lnTo>
                      <a:pt x="30" y="157"/>
                    </a:lnTo>
                    <a:lnTo>
                      <a:pt x="28" y="158"/>
                    </a:lnTo>
                    <a:lnTo>
                      <a:pt x="27" y="160"/>
                    </a:lnTo>
                    <a:lnTo>
                      <a:pt x="25" y="160"/>
                    </a:lnTo>
                    <a:lnTo>
                      <a:pt x="24" y="161"/>
                    </a:lnTo>
                    <a:lnTo>
                      <a:pt x="22" y="160"/>
                    </a:lnTo>
                    <a:lnTo>
                      <a:pt x="21" y="158"/>
                    </a:lnTo>
                    <a:lnTo>
                      <a:pt x="21" y="157"/>
                    </a:lnTo>
                    <a:lnTo>
                      <a:pt x="19" y="155"/>
                    </a:lnTo>
                    <a:lnTo>
                      <a:pt x="19" y="153"/>
                    </a:lnTo>
                    <a:lnTo>
                      <a:pt x="17" y="153"/>
                    </a:lnTo>
                    <a:lnTo>
                      <a:pt x="17" y="150"/>
                    </a:lnTo>
                    <a:lnTo>
                      <a:pt x="16" y="152"/>
                    </a:lnTo>
                    <a:lnTo>
                      <a:pt x="14" y="152"/>
                    </a:lnTo>
                    <a:lnTo>
                      <a:pt x="14" y="153"/>
                    </a:lnTo>
                    <a:lnTo>
                      <a:pt x="11" y="153"/>
                    </a:lnTo>
                    <a:lnTo>
                      <a:pt x="11" y="155"/>
                    </a:lnTo>
                    <a:lnTo>
                      <a:pt x="9" y="155"/>
                    </a:lnTo>
                    <a:lnTo>
                      <a:pt x="8" y="155"/>
                    </a:lnTo>
                    <a:lnTo>
                      <a:pt x="6" y="153"/>
                    </a:lnTo>
                    <a:lnTo>
                      <a:pt x="6" y="152"/>
                    </a:lnTo>
                    <a:lnTo>
                      <a:pt x="6" y="150"/>
                    </a:lnTo>
                    <a:lnTo>
                      <a:pt x="6" y="149"/>
                    </a:lnTo>
                    <a:lnTo>
                      <a:pt x="8" y="147"/>
                    </a:lnTo>
                    <a:lnTo>
                      <a:pt x="9" y="145"/>
                    </a:lnTo>
                    <a:lnTo>
                      <a:pt x="9" y="144"/>
                    </a:lnTo>
                    <a:lnTo>
                      <a:pt x="11" y="142"/>
                    </a:lnTo>
                    <a:lnTo>
                      <a:pt x="13" y="141"/>
                    </a:lnTo>
                    <a:lnTo>
                      <a:pt x="14" y="139"/>
                    </a:lnTo>
                    <a:lnTo>
                      <a:pt x="14" y="138"/>
                    </a:lnTo>
                    <a:lnTo>
                      <a:pt x="16" y="138"/>
                    </a:lnTo>
                    <a:lnTo>
                      <a:pt x="16" y="136"/>
                    </a:lnTo>
                    <a:lnTo>
                      <a:pt x="17" y="134"/>
                    </a:lnTo>
                    <a:lnTo>
                      <a:pt x="17" y="133"/>
                    </a:lnTo>
                    <a:lnTo>
                      <a:pt x="17" y="131"/>
                    </a:lnTo>
                    <a:lnTo>
                      <a:pt x="17" y="130"/>
                    </a:lnTo>
                    <a:lnTo>
                      <a:pt x="17" y="128"/>
                    </a:lnTo>
                    <a:lnTo>
                      <a:pt x="17" y="126"/>
                    </a:lnTo>
                    <a:lnTo>
                      <a:pt x="17" y="125"/>
                    </a:lnTo>
                    <a:lnTo>
                      <a:pt x="19" y="125"/>
                    </a:lnTo>
                    <a:lnTo>
                      <a:pt x="19" y="123"/>
                    </a:lnTo>
                    <a:lnTo>
                      <a:pt x="21" y="123"/>
                    </a:lnTo>
                    <a:lnTo>
                      <a:pt x="22" y="122"/>
                    </a:lnTo>
                    <a:lnTo>
                      <a:pt x="24" y="122"/>
                    </a:lnTo>
                    <a:lnTo>
                      <a:pt x="25" y="120"/>
                    </a:lnTo>
                    <a:lnTo>
                      <a:pt x="25" y="119"/>
                    </a:lnTo>
                    <a:lnTo>
                      <a:pt x="27" y="119"/>
                    </a:lnTo>
                    <a:lnTo>
                      <a:pt x="28" y="117"/>
                    </a:lnTo>
                    <a:lnTo>
                      <a:pt x="30" y="115"/>
                    </a:lnTo>
                    <a:lnTo>
                      <a:pt x="32" y="114"/>
                    </a:lnTo>
                    <a:lnTo>
                      <a:pt x="33" y="114"/>
                    </a:lnTo>
                    <a:lnTo>
                      <a:pt x="33" y="112"/>
                    </a:lnTo>
                    <a:lnTo>
                      <a:pt x="32" y="112"/>
                    </a:lnTo>
                    <a:lnTo>
                      <a:pt x="32" y="111"/>
                    </a:lnTo>
                    <a:lnTo>
                      <a:pt x="30" y="111"/>
                    </a:lnTo>
                    <a:lnTo>
                      <a:pt x="28" y="111"/>
                    </a:lnTo>
                    <a:lnTo>
                      <a:pt x="27" y="109"/>
                    </a:lnTo>
                    <a:lnTo>
                      <a:pt x="27" y="107"/>
                    </a:lnTo>
                    <a:lnTo>
                      <a:pt x="27" y="106"/>
                    </a:lnTo>
                    <a:lnTo>
                      <a:pt x="27" y="104"/>
                    </a:lnTo>
                    <a:lnTo>
                      <a:pt x="27" y="103"/>
                    </a:lnTo>
                    <a:lnTo>
                      <a:pt x="28" y="103"/>
                    </a:lnTo>
                    <a:lnTo>
                      <a:pt x="28" y="101"/>
                    </a:lnTo>
                    <a:lnTo>
                      <a:pt x="28" y="100"/>
                    </a:lnTo>
                    <a:lnTo>
                      <a:pt x="27" y="100"/>
                    </a:lnTo>
                    <a:lnTo>
                      <a:pt x="25" y="100"/>
                    </a:lnTo>
                    <a:lnTo>
                      <a:pt x="25" y="98"/>
                    </a:lnTo>
                    <a:lnTo>
                      <a:pt x="24" y="98"/>
                    </a:lnTo>
                    <a:lnTo>
                      <a:pt x="22" y="98"/>
                    </a:lnTo>
                    <a:lnTo>
                      <a:pt x="21" y="96"/>
                    </a:lnTo>
                    <a:lnTo>
                      <a:pt x="21" y="95"/>
                    </a:lnTo>
                    <a:lnTo>
                      <a:pt x="19" y="95"/>
                    </a:lnTo>
                    <a:lnTo>
                      <a:pt x="19" y="93"/>
                    </a:lnTo>
                    <a:lnTo>
                      <a:pt x="19" y="92"/>
                    </a:lnTo>
                    <a:lnTo>
                      <a:pt x="17" y="92"/>
                    </a:lnTo>
                    <a:lnTo>
                      <a:pt x="17" y="90"/>
                    </a:lnTo>
                    <a:lnTo>
                      <a:pt x="16" y="90"/>
                    </a:lnTo>
                    <a:lnTo>
                      <a:pt x="16" y="88"/>
                    </a:lnTo>
                    <a:lnTo>
                      <a:pt x="16" y="87"/>
                    </a:lnTo>
                    <a:lnTo>
                      <a:pt x="14" y="87"/>
                    </a:lnTo>
                    <a:lnTo>
                      <a:pt x="14" y="85"/>
                    </a:lnTo>
                    <a:lnTo>
                      <a:pt x="14" y="84"/>
                    </a:lnTo>
                    <a:lnTo>
                      <a:pt x="16" y="82"/>
                    </a:lnTo>
                    <a:lnTo>
                      <a:pt x="17" y="81"/>
                    </a:lnTo>
                    <a:lnTo>
                      <a:pt x="17" y="79"/>
                    </a:lnTo>
                    <a:lnTo>
                      <a:pt x="17" y="77"/>
                    </a:lnTo>
                    <a:lnTo>
                      <a:pt x="16" y="77"/>
                    </a:lnTo>
                    <a:lnTo>
                      <a:pt x="16" y="76"/>
                    </a:lnTo>
                    <a:lnTo>
                      <a:pt x="16" y="74"/>
                    </a:lnTo>
                    <a:lnTo>
                      <a:pt x="16" y="73"/>
                    </a:lnTo>
                    <a:lnTo>
                      <a:pt x="16" y="71"/>
                    </a:lnTo>
                    <a:lnTo>
                      <a:pt x="14" y="71"/>
                    </a:lnTo>
                    <a:lnTo>
                      <a:pt x="13" y="71"/>
                    </a:lnTo>
                    <a:lnTo>
                      <a:pt x="11" y="71"/>
                    </a:lnTo>
                    <a:lnTo>
                      <a:pt x="9" y="71"/>
                    </a:lnTo>
                    <a:lnTo>
                      <a:pt x="8" y="71"/>
                    </a:lnTo>
                    <a:lnTo>
                      <a:pt x="6" y="71"/>
                    </a:lnTo>
                    <a:lnTo>
                      <a:pt x="6" y="73"/>
                    </a:lnTo>
                    <a:lnTo>
                      <a:pt x="5" y="71"/>
                    </a:lnTo>
                    <a:lnTo>
                      <a:pt x="3" y="71"/>
                    </a:lnTo>
                    <a:lnTo>
                      <a:pt x="2" y="71"/>
                    </a:lnTo>
                    <a:lnTo>
                      <a:pt x="0" y="71"/>
                    </a:lnTo>
                    <a:lnTo>
                      <a:pt x="0" y="69"/>
                    </a:lnTo>
                    <a:lnTo>
                      <a:pt x="2" y="69"/>
                    </a:lnTo>
                    <a:lnTo>
                      <a:pt x="0" y="68"/>
                    </a:lnTo>
                    <a:lnTo>
                      <a:pt x="2" y="68"/>
                    </a:lnTo>
                    <a:lnTo>
                      <a:pt x="3" y="66"/>
                    </a:lnTo>
                    <a:lnTo>
                      <a:pt x="5" y="66"/>
                    </a:lnTo>
                    <a:lnTo>
                      <a:pt x="6" y="65"/>
                    </a:lnTo>
                    <a:lnTo>
                      <a:pt x="6" y="63"/>
                    </a:lnTo>
                    <a:lnTo>
                      <a:pt x="6" y="62"/>
                    </a:lnTo>
                    <a:lnTo>
                      <a:pt x="6" y="60"/>
                    </a:lnTo>
                    <a:lnTo>
                      <a:pt x="8" y="60"/>
                    </a:lnTo>
                    <a:lnTo>
                      <a:pt x="8" y="58"/>
                    </a:lnTo>
                    <a:lnTo>
                      <a:pt x="9" y="58"/>
                    </a:lnTo>
                    <a:lnTo>
                      <a:pt x="9" y="57"/>
                    </a:lnTo>
                    <a:lnTo>
                      <a:pt x="11" y="57"/>
                    </a:lnTo>
                    <a:lnTo>
                      <a:pt x="11" y="55"/>
                    </a:lnTo>
                    <a:lnTo>
                      <a:pt x="13" y="55"/>
                    </a:lnTo>
                    <a:lnTo>
                      <a:pt x="13" y="54"/>
                    </a:lnTo>
                    <a:lnTo>
                      <a:pt x="14" y="52"/>
                    </a:lnTo>
                    <a:lnTo>
                      <a:pt x="14" y="50"/>
                    </a:lnTo>
                    <a:lnTo>
                      <a:pt x="16" y="49"/>
                    </a:lnTo>
                    <a:lnTo>
                      <a:pt x="17" y="49"/>
                    </a:lnTo>
                    <a:lnTo>
                      <a:pt x="16" y="47"/>
                    </a:lnTo>
                    <a:lnTo>
                      <a:pt x="16" y="46"/>
                    </a:lnTo>
                    <a:lnTo>
                      <a:pt x="17" y="46"/>
                    </a:lnTo>
                    <a:lnTo>
                      <a:pt x="17" y="44"/>
                    </a:lnTo>
                    <a:lnTo>
                      <a:pt x="17" y="43"/>
                    </a:lnTo>
                    <a:lnTo>
                      <a:pt x="16" y="43"/>
                    </a:lnTo>
                    <a:lnTo>
                      <a:pt x="17" y="41"/>
                    </a:lnTo>
                    <a:lnTo>
                      <a:pt x="17" y="39"/>
                    </a:lnTo>
                    <a:lnTo>
                      <a:pt x="17" y="38"/>
                    </a:lnTo>
                    <a:lnTo>
                      <a:pt x="16" y="38"/>
                    </a:lnTo>
                    <a:lnTo>
                      <a:pt x="17" y="36"/>
                    </a:lnTo>
                    <a:lnTo>
                      <a:pt x="17" y="35"/>
                    </a:lnTo>
                    <a:lnTo>
                      <a:pt x="17" y="33"/>
                    </a:lnTo>
                    <a:lnTo>
                      <a:pt x="17" y="31"/>
                    </a:lnTo>
                    <a:lnTo>
                      <a:pt x="19" y="30"/>
                    </a:lnTo>
                    <a:lnTo>
                      <a:pt x="19" y="28"/>
                    </a:lnTo>
                    <a:lnTo>
                      <a:pt x="19" y="27"/>
                    </a:lnTo>
                    <a:lnTo>
                      <a:pt x="21" y="25"/>
                    </a:lnTo>
                    <a:lnTo>
                      <a:pt x="21" y="24"/>
                    </a:lnTo>
                    <a:lnTo>
                      <a:pt x="21" y="22"/>
                    </a:lnTo>
                    <a:lnTo>
                      <a:pt x="21" y="20"/>
                    </a:lnTo>
                    <a:lnTo>
                      <a:pt x="21" y="19"/>
                    </a:lnTo>
                    <a:lnTo>
                      <a:pt x="22" y="19"/>
                    </a:lnTo>
                    <a:lnTo>
                      <a:pt x="22" y="17"/>
                    </a:lnTo>
                    <a:lnTo>
                      <a:pt x="22" y="16"/>
                    </a:lnTo>
                    <a:lnTo>
                      <a:pt x="22" y="14"/>
                    </a:lnTo>
                    <a:lnTo>
                      <a:pt x="22" y="12"/>
                    </a:lnTo>
                    <a:lnTo>
                      <a:pt x="24" y="12"/>
                    </a:lnTo>
                    <a:lnTo>
                      <a:pt x="24" y="11"/>
                    </a:lnTo>
                    <a:lnTo>
                      <a:pt x="24" y="9"/>
                    </a:lnTo>
                    <a:lnTo>
                      <a:pt x="25" y="11"/>
                    </a:lnTo>
                    <a:lnTo>
                      <a:pt x="25" y="9"/>
                    </a:lnTo>
                    <a:lnTo>
                      <a:pt x="25" y="8"/>
                    </a:lnTo>
                    <a:lnTo>
                      <a:pt x="27" y="8"/>
                    </a:lnTo>
                    <a:lnTo>
                      <a:pt x="27" y="9"/>
                    </a:lnTo>
                    <a:lnTo>
                      <a:pt x="28" y="9"/>
                    </a:lnTo>
                    <a:lnTo>
                      <a:pt x="28" y="8"/>
                    </a:lnTo>
                    <a:lnTo>
                      <a:pt x="30" y="8"/>
                    </a:lnTo>
                    <a:lnTo>
                      <a:pt x="30" y="6"/>
                    </a:lnTo>
                    <a:lnTo>
                      <a:pt x="32" y="6"/>
                    </a:lnTo>
                    <a:lnTo>
                      <a:pt x="32" y="5"/>
                    </a:lnTo>
                    <a:lnTo>
                      <a:pt x="32" y="3"/>
                    </a:lnTo>
                    <a:lnTo>
                      <a:pt x="33" y="1"/>
                    </a:lnTo>
                    <a:lnTo>
                      <a:pt x="33" y="3"/>
                    </a:lnTo>
                    <a:lnTo>
                      <a:pt x="35" y="3"/>
                    </a:lnTo>
                    <a:lnTo>
                      <a:pt x="35" y="1"/>
                    </a:lnTo>
                    <a:lnTo>
                      <a:pt x="36" y="1"/>
                    </a:lnTo>
                    <a:lnTo>
                      <a:pt x="36" y="0"/>
                    </a:lnTo>
                    <a:close/>
                  </a:path>
                </a:pathLst>
              </a:custGeom>
              <a:solidFill>
                <a:srgbClr val="E1E1E1"/>
              </a:solidFill>
              <a:ln w="4763">
                <a:solidFill>
                  <a:srgbClr val="6E6E6E"/>
                </a:solidFill>
                <a:prstDash val="solid"/>
                <a:round/>
                <a:headEnd/>
                <a:tailEnd/>
              </a:ln>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29" name="Freeform 9"/>
              <p:cNvSpPr>
                <a:spLocks/>
              </p:cNvSpPr>
              <p:nvPr/>
            </p:nvSpPr>
            <p:spPr bwMode="auto">
              <a:xfrm>
                <a:off x="3729" y="1576"/>
                <a:ext cx="589" cy="1035"/>
              </a:xfrm>
              <a:custGeom>
                <a:avLst/>
                <a:gdLst>
                  <a:gd name="T0" fmla="*/ 408 w 589"/>
                  <a:gd name="T1" fmla="*/ 111 h 1035"/>
                  <a:gd name="T2" fmla="*/ 426 w 589"/>
                  <a:gd name="T3" fmla="*/ 173 h 1035"/>
                  <a:gd name="T4" fmla="*/ 423 w 589"/>
                  <a:gd name="T5" fmla="*/ 220 h 1035"/>
                  <a:gd name="T6" fmla="*/ 418 w 589"/>
                  <a:gd name="T7" fmla="*/ 265 h 1035"/>
                  <a:gd name="T8" fmla="*/ 408 w 589"/>
                  <a:gd name="T9" fmla="*/ 314 h 1035"/>
                  <a:gd name="T10" fmla="*/ 388 w 589"/>
                  <a:gd name="T11" fmla="*/ 349 h 1035"/>
                  <a:gd name="T12" fmla="*/ 389 w 589"/>
                  <a:gd name="T13" fmla="*/ 395 h 1035"/>
                  <a:gd name="T14" fmla="*/ 427 w 589"/>
                  <a:gd name="T15" fmla="*/ 448 h 1035"/>
                  <a:gd name="T16" fmla="*/ 515 w 589"/>
                  <a:gd name="T17" fmla="*/ 539 h 1035"/>
                  <a:gd name="T18" fmla="*/ 578 w 589"/>
                  <a:gd name="T19" fmla="*/ 605 h 1035"/>
                  <a:gd name="T20" fmla="*/ 586 w 589"/>
                  <a:gd name="T21" fmla="*/ 699 h 1035"/>
                  <a:gd name="T22" fmla="*/ 551 w 589"/>
                  <a:gd name="T23" fmla="*/ 756 h 1035"/>
                  <a:gd name="T24" fmla="*/ 530 w 589"/>
                  <a:gd name="T25" fmla="*/ 806 h 1035"/>
                  <a:gd name="T26" fmla="*/ 518 w 589"/>
                  <a:gd name="T27" fmla="*/ 840 h 1035"/>
                  <a:gd name="T28" fmla="*/ 516 w 589"/>
                  <a:gd name="T29" fmla="*/ 882 h 1035"/>
                  <a:gd name="T30" fmla="*/ 513 w 589"/>
                  <a:gd name="T31" fmla="*/ 920 h 1035"/>
                  <a:gd name="T32" fmla="*/ 484 w 589"/>
                  <a:gd name="T33" fmla="*/ 944 h 1035"/>
                  <a:gd name="T34" fmla="*/ 472 w 589"/>
                  <a:gd name="T35" fmla="*/ 982 h 1035"/>
                  <a:gd name="T36" fmla="*/ 480 w 589"/>
                  <a:gd name="T37" fmla="*/ 1022 h 1035"/>
                  <a:gd name="T38" fmla="*/ 435 w 589"/>
                  <a:gd name="T39" fmla="*/ 1017 h 1035"/>
                  <a:gd name="T40" fmla="*/ 413 w 589"/>
                  <a:gd name="T41" fmla="*/ 1011 h 1035"/>
                  <a:gd name="T42" fmla="*/ 394 w 589"/>
                  <a:gd name="T43" fmla="*/ 982 h 1035"/>
                  <a:gd name="T44" fmla="*/ 364 w 589"/>
                  <a:gd name="T45" fmla="*/ 965 h 1035"/>
                  <a:gd name="T46" fmla="*/ 331 w 589"/>
                  <a:gd name="T47" fmla="*/ 955 h 1035"/>
                  <a:gd name="T48" fmla="*/ 293 w 589"/>
                  <a:gd name="T49" fmla="*/ 951 h 1035"/>
                  <a:gd name="T50" fmla="*/ 258 w 589"/>
                  <a:gd name="T51" fmla="*/ 939 h 1035"/>
                  <a:gd name="T52" fmla="*/ 228 w 589"/>
                  <a:gd name="T53" fmla="*/ 938 h 1035"/>
                  <a:gd name="T54" fmla="*/ 191 w 589"/>
                  <a:gd name="T55" fmla="*/ 925 h 1035"/>
                  <a:gd name="T56" fmla="*/ 153 w 589"/>
                  <a:gd name="T57" fmla="*/ 914 h 1035"/>
                  <a:gd name="T58" fmla="*/ 119 w 589"/>
                  <a:gd name="T59" fmla="*/ 892 h 1035"/>
                  <a:gd name="T60" fmla="*/ 76 w 589"/>
                  <a:gd name="T61" fmla="*/ 901 h 1035"/>
                  <a:gd name="T62" fmla="*/ 41 w 589"/>
                  <a:gd name="T63" fmla="*/ 909 h 1035"/>
                  <a:gd name="T64" fmla="*/ 9 w 589"/>
                  <a:gd name="T65" fmla="*/ 889 h 1035"/>
                  <a:gd name="T66" fmla="*/ 8 w 589"/>
                  <a:gd name="T67" fmla="*/ 844 h 1035"/>
                  <a:gd name="T68" fmla="*/ 16 w 589"/>
                  <a:gd name="T69" fmla="*/ 824 h 1035"/>
                  <a:gd name="T70" fmla="*/ 52 w 589"/>
                  <a:gd name="T71" fmla="*/ 813 h 1035"/>
                  <a:gd name="T72" fmla="*/ 50 w 589"/>
                  <a:gd name="T73" fmla="*/ 770 h 1035"/>
                  <a:gd name="T74" fmla="*/ 49 w 589"/>
                  <a:gd name="T75" fmla="*/ 729 h 1035"/>
                  <a:gd name="T76" fmla="*/ 57 w 589"/>
                  <a:gd name="T77" fmla="*/ 694 h 1035"/>
                  <a:gd name="T78" fmla="*/ 41 w 589"/>
                  <a:gd name="T79" fmla="*/ 659 h 1035"/>
                  <a:gd name="T80" fmla="*/ 49 w 589"/>
                  <a:gd name="T81" fmla="*/ 620 h 1035"/>
                  <a:gd name="T82" fmla="*/ 52 w 589"/>
                  <a:gd name="T83" fmla="*/ 580 h 1035"/>
                  <a:gd name="T84" fmla="*/ 66 w 589"/>
                  <a:gd name="T85" fmla="*/ 539 h 1035"/>
                  <a:gd name="T86" fmla="*/ 77 w 589"/>
                  <a:gd name="T87" fmla="*/ 510 h 1035"/>
                  <a:gd name="T88" fmla="*/ 90 w 589"/>
                  <a:gd name="T89" fmla="*/ 485 h 1035"/>
                  <a:gd name="T90" fmla="*/ 71 w 589"/>
                  <a:gd name="T91" fmla="*/ 452 h 1035"/>
                  <a:gd name="T92" fmla="*/ 47 w 589"/>
                  <a:gd name="T93" fmla="*/ 422 h 1035"/>
                  <a:gd name="T94" fmla="*/ 25 w 589"/>
                  <a:gd name="T95" fmla="*/ 387 h 1035"/>
                  <a:gd name="T96" fmla="*/ 14 w 589"/>
                  <a:gd name="T97" fmla="*/ 355 h 1035"/>
                  <a:gd name="T98" fmla="*/ 9 w 589"/>
                  <a:gd name="T99" fmla="*/ 319 h 1035"/>
                  <a:gd name="T100" fmla="*/ 28 w 589"/>
                  <a:gd name="T101" fmla="*/ 288 h 1035"/>
                  <a:gd name="T102" fmla="*/ 61 w 589"/>
                  <a:gd name="T103" fmla="*/ 268 h 1035"/>
                  <a:gd name="T104" fmla="*/ 96 w 589"/>
                  <a:gd name="T105" fmla="*/ 225 h 1035"/>
                  <a:gd name="T106" fmla="*/ 133 w 589"/>
                  <a:gd name="T107" fmla="*/ 220 h 1035"/>
                  <a:gd name="T108" fmla="*/ 177 w 589"/>
                  <a:gd name="T109" fmla="*/ 166 h 1035"/>
                  <a:gd name="T110" fmla="*/ 193 w 589"/>
                  <a:gd name="T111" fmla="*/ 113 h 1035"/>
                  <a:gd name="T112" fmla="*/ 210 w 589"/>
                  <a:gd name="T113" fmla="*/ 94 h 1035"/>
                  <a:gd name="T114" fmla="*/ 242 w 589"/>
                  <a:gd name="T115" fmla="*/ 71 h 1035"/>
                  <a:gd name="T116" fmla="*/ 271 w 589"/>
                  <a:gd name="T117" fmla="*/ 60 h 1035"/>
                  <a:gd name="T118" fmla="*/ 301 w 589"/>
                  <a:gd name="T119" fmla="*/ 38 h 1035"/>
                  <a:gd name="T120" fmla="*/ 358 w 589"/>
                  <a:gd name="T121" fmla="*/ 16 h 1035"/>
                  <a:gd name="T122" fmla="*/ 405 w 589"/>
                  <a:gd name="T123" fmla="*/ 6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9" h="1035">
                    <a:moveTo>
                      <a:pt x="407" y="13"/>
                    </a:moveTo>
                    <a:lnTo>
                      <a:pt x="407" y="14"/>
                    </a:lnTo>
                    <a:lnTo>
                      <a:pt x="407" y="18"/>
                    </a:lnTo>
                    <a:lnTo>
                      <a:pt x="407" y="19"/>
                    </a:lnTo>
                    <a:lnTo>
                      <a:pt x="407" y="21"/>
                    </a:lnTo>
                    <a:lnTo>
                      <a:pt x="407" y="22"/>
                    </a:lnTo>
                    <a:lnTo>
                      <a:pt x="407" y="33"/>
                    </a:lnTo>
                    <a:lnTo>
                      <a:pt x="407" y="41"/>
                    </a:lnTo>
                    <a:lnTo>
                      <a:pt x="407" y="51"/>
                    </a:lnTo>
                    <a:lnTo>
                      <a:pt x="407" y="57"/>
                    </a:lnTo>
                    <a:lnTo>
                      <a:pt x="407" y="65"/>
                    </a:lnTo>
                    <a:lnTo>
                      <a:pt x="407" y="70"/>
                    </a:lnTo>
                    <a:lnTo>
                      <a:pt x="408" y="83"/>
                    </a:lnTo>
                    <a:lnTo>
                      <a:pt x="408" y="84"/>
                    </a:lnTo>
                    <a:lnTo>
                      <a:pt x="408" y="86"/>
                    </a:lnTo>
                    <a:lnTo>
                      <a:pt x="408" y="87"/>
                    </a:lnTo>
                    <a:lnTo>
                      <a:pt x="408" y="89"/>
                    </a:lnTo>
                    <a:lnTo>
                      <a:pt x="408" y="90"/>
                    </a:lnTo>
                    <a:lnTo>
                      <a:pt x="408" y="92"/>
                    </a:lnTo>
                    <a:lnTo>
                      <a:pt x="408" y="94"/>
                    </a:lnTo>
                    <a:lnTo>
                      <a:pt x="408" y="97"/>
                    </a:lnTo>
                    <a:lnTo>
                      <a:pt x="408" y="98"/>
                    </a:lnTo>
                    <a:lnTo>
                      <a:pt x="408" y="100"/>
                    </a:lnTo>
                    <a:lnTo>
                      <a:pt x="408" y="102"/>
                    </a:lnTo>
                    <a:lnTo>
                      <a:pt x="408" y="103"/>
                    </a:lnTo>
                    <a:lnTo>
                      <a:pt x="408" y="106"/>
                    </a:lnTo>
                    <a:lnTo>
                      <a:pt x="408" y="108"/>
                    </a:lnTo>
                    <a:lnTo>
                      <a:pt x="408" y="109"/>
                    </a:lnTo>
                    <a:lnTo>
                      <a:pt x="408" y="111"/>
                    </a:lnTo>
                    <a:lnTo>
                      <a:pt x="410" y="113"/>
                    </a:lnTo>
                    <a:lnTo>
                      <a:pt x="410" y="116"/>
                    </a:lnTo>
                    <a:lnTo>
                      <a:pt x="412" y="117"/>
                    </a:lnTo>
                    <a:lnTo>
                      <a:pt x="412" y="121"/>
                    </a:lnTo>
                    <a:lnTo>
                      <a:pt x="413" y="122"/>
                    </a:lnTo>
                    <a:lnTo>
                      <a:pt x="413" y="125"/>
                    </a:lnTo>
                    <a:lnTo>
                      <a:pt x="415" y="128"/>
                    </a:lnTo>
                    <a:lnTo>
                      <a:pt x="416" y="132"/>
                    </a:lnTo>
                    <a:lnTo>
                      <a:pt x="416" y="135"/>
                    </a:lnTo>
                    <a:lnTo>
                      <a:pt x="418" y="138"/>
                    </a:lnTo>
                    <a:lnTo>
                      <a:pt x="418" y="140"/>
                    </a:lnTo>
                    <a:lnTo>
                      <a:pt x="419" y="141"/>
                    </a:lnTo>
                    <a:lnTo>
                      <a:pt x="421" y="144"/>
                    </a:lnTo>
                    <a:lnTo>
                      <a:pt x="421" y="146"/>
                    </a:lnTo>
                    <a:lnTo>
                      <a:pt x="423" y="147"/>
                    </a:lnTo>
                    <a:lnTo>
                      <a:pt x="423" y="149"/>
                    </a:lnTo>
                    <a:lnTo>
                      <a:pt x="424" y="152"/>
                    </a:lnTo>
                    <a:lnTo>
                      <a:pt x="424" y="154"/>
                    </a:lnTo>
                    <a:lnTo>
                      <a:pt x="426" y="155"/>
                    </a:lnTo>
                    <a:lnTo>
                      <a:pt x="426" y="157"/>
                    </a:lnTo>
                    <a:lnTo>
                      <a:pt x="426" y="159"/>
                    </a:lnTo>
                    <a:lnTo>
                      <a:pt x="426" y="160"/>
                    </a:lnTo>
                    <a:lnTo>
                      <a:pt x="426" y="162"/>
                    </a:lnTo>
                    <a:lnTo>
                      <a:pt x="426" y="163"/>
                    </a:lnTo>
                    <a:lnTo>
                      <a:pt x="426" y="165"/>
                    </a:lnTo>
                    <a:lnTo>
                      <a:pt x="426" y="166"/>
                    </a:lnTo>
                    <a:lnTo>
                      <a:pt x="426" y="170"/>
                    </a:lnTo>
                    <a:lnTo>
                      <a:pt x="426" y="171"/>
                    </a:lnTo>
                    <a:lnTo>
                      <a:pt x="426" y="173"/>
                    </a:lnTo>
                    <a:lnTo>
                      <a:pt x="424" y="176"/>
                    </a:lnTo>
                    <a:lnTo>
                      <a:pt x="424" y="178"/>
                    </a:lnTo>
                    <a:lnTo>
                      <a:pt x="424" y="179"/>
                    </a:lnTo>
                    <a:lnTo>
                      <a:pt x="424" y="181"/>
                    </a:lnTo>
                    <a:lnTo>
                      <a:pt x="424" y="182"/>
                    </a:lnTo>
                    <a:lnTo>
                      <a:pt x="424" y="184"/>
                    </a:lnTo>
                    <a:lnTo>
                      <a:pt x="424" y="185"/>
                    </a:lnTo>
                    <a:lnTo>
                      <a:pt x="424" y="187"/>
                    </a:lnTo>
                    <a:lnTo>
                      <a:pt x="424" y="189"/>
                    </a:lnTo>
                    <a:lnTo>
                      <a:pt x="424" y="190"/>
                    </a:lnTo>
                    <a:lnTo>
                      <a:pt x="424" y="192"/>
                    </a:lnTo>
                    <a:lnTo>
                      <a:pt x="424" y="193"/>
                    </a:lnTo>
                    <a:lnTo>
                      <a:pt x="424" y="195"/>
                    </a:lnTo>
                    <a:lnTo>
                      <a:pt x="424" y="197"/>
                    </a:lnTo>
                    <a:lnTo>
                      <a:pt x="424" y="198"/>
                    </a:lnTo>
                    <a:lnTo>
                      <a:pt x="424" y="200"/>
                    </a:lnTo>
                    <a:lnTo>
                      <a:pt x="424" y="201"/>
                    </a:lnTo>
                    <a:lnTo>
                      <a:pt x="424" y="203"/>
                    </a:lnTo>
                    <a:lnTo>
                      <a:pt x="424" y="204"/>
                    </a:lnTo>
                    <a:lnTo>
                      <a:pt x="424" y="206"/>
                    </a:lnTo>
                    <a:lnTo>
                      <a:pt x="424" y="208"/>
                    </a:lnTo>
                    <a:lnTo>
                      <a:pt x="424" y="209"/>
                    </a:lnTo>
                    <a:lnTo>
                      <a:pt x="424" y="211"/>
                    </a:lnTo>
                    <a:lnTo>
                      <a:pt x="424" y="212"/>
                    </a:lnTo>
                    <a:lnTo>
                      <a:pt x="423" y="214"/>
                    </a:lnTo>
                    <a:lnTo>
                      <a:pt x="423" y="216"/>
                    </a:lnTo>
                    <a:lnTo>
                      <a:pt x="423" y="217"/>
                    </a:lnTo>
                    <a:lnTo>
                      <a:pt x="423" y="219"/>
                    </a:lnTo>
                    <a:lnTo>
                      <a:pt x="423" y="220"/>
                    </a:lnTo>
                    <a:lnTo>
                      <a:pt x="423" y="222"/>
                    </a:lnTo>
                    <a:lnTo>
                      <a:pt x="423" y="224"/>
                    </a:lnTo>
                    <a:lnTo>
                      <a:pt x="423" y="225"/>
                    </a:lnTo>
                    <a:lnTo>
                      <a:pt x="423" y="227"/>
                    </a:lnTo>
                    <a:lnTo>
                      <a:pt x="423" y="228"/>
                    </a:lnTo>
                    <a:lnTo>
                      <a:pt x="423" y="230"/>
                    </a:lnTo>
                    <a:lnTo>
                      <a:pt x="423" y="231"/>
                    </a:lnTo>
                    <a:lnTo>
                      <a:pt x="423" y="233"/>
                    </a:lnTo>
                    <a:lnTo>
                      <a:pt x="421" y="235"/>
                    </a:lnTo>
                    <a:lnTo>
                      <a:pt x="421" y="236"/>
                    </a:lnTo>
                    <a:lnTo>
                      <a:pt x="421" y="238"/>
                    </a:lnTo>
                    <a:lnTo>
                      <a:pt x="421" y="239"/>
                    </a:lnTo>
                    <a:lnTo>
                      <a:pt x="421" y="241"/>
                    </a:lnTo>
                    <a:lnTo>
                      <a:pt x="421" y="243"/>
                    </a:lnTo>
                    <a:lnTo>
                      <a:pt x="421" y="244"/>
                    </a:lnTo>
                    <a:lnTo>
                      <a:pt x="419" y="244"/>
                    </a:lnTo>
                    <a:lnTo>
                      <a:pt x="419" y="246"/>
                    </a:lnTo>
                    <a:lnTo>
                      <a:pt x="419" y="247"/>
                    </a:lnTo>
                    <a:lnTo>
                      <a:pt x="419" y="249"/>
                    </a:lnTo>
                    <a:lnTo>
                      <a:pt x="419" y="250"/>
                    </a:lnTo>
                    <a:lnTo>
                      <a:pt x="419" y="252"/>
                    </a:lnTo>
                    <a:lnTo>
                      <a:pt x="419" y="254"/>
                    </a:lnTo>
                    <a:lnTo>
                      <a:pt x="418" y="255"/>
                    </a:lnTo>
                    <a:lnTo>
                      <a:pt x="418" y="257"/>
                    </a:lnTo>
                    <a:lnTo>
                      <a:pt x="418" y="258"/>
                    </a:lnTo>
                    <a:lnTo>
                      <a:pt x="418" y="260"/>
                    </a:lnTo>
                    <a:lnTo>
                      <a:pt x="418" y="262"/>
                    </a:lnTo>
                    <a:lnTo>
                      <a:pt x="418" y="263"/>
                    </a:lnTo>
                    <a:lnTo>
                      <a:pt x="418" y="265"/>
                    </a:lnTo>
                    <a:lnTo>
                      <a:pt x="418" y="266"/>
                    </a:lnTo>
                    <a:lnTo>
                      <a:pt x="418" y="268"/>
                    </a:lnTo>
                    <a:lnTo>
                      <a:pt x="416" y="268"/>
                    </a:lnTo>
                    <a:lnTo>
                      <a:pt x="416" y="269"/>
                    </a:lnTo>
                    <a:lnTo>
                      <a:pt x="416" y="271"/>
                    </a:lnTo>
                    <a:lnTo>
                      <a:pt x="416" y="273"/>
                    </a:lnTo>
                    <a:lnTo>
                      <a:pt x="415" y="274"/>
                    </a:lnTo>
                    <a:lnTo>
                      <a:pt x="415" y="276"/>
                    </a:lnTo>
                    <a:lnTo>
                      <a:pt x="415" y="277"/>
                    </a:lnTo>
                    <a:lnTo>
                      <a:pt x="415" y="279"/>
                    </a:lnTo>
                    <a:lnTo>
                      <a:pt x="415" y="281"/>
                    </a:lnTo>
                    <a:lnTo>
                      <a:pt x="413" y="282"/>
                    </a:lnTo>
                    <a:lnTo>
                      <a:pt x="413" y="285"/>
                    </a:lnTo>
                    <a:lnTo>
                      <a:pt x="413" y="287"/>
                    </a:lnTo>
                    <a:lnTo>
                      <a:pt x="413" y="288"/>
                    </a:lnTo>
                    <a:lnTo>
                      <a:pt x="412" y="292"/>
                    </a:lnTo>
                    <a:lnTo>
                      <a:pt x="412" y="293"/>
                    </a:lnTo>
                    <a:lnTo>
                      <a:pt x="412" y="296"/>
                    </a:lnTo>
                    <a:lnTo>
                      <a:pt x="410" y="298"/>
                    </a:lnTo>
                    <a:lnTo>
                      <a:pt x="410" y="300"/>
                    </a:lnTo>
                    <a:lnTo>
                      <a:pt x="410" y="301"/>
                    </a:lnTo>
                    <a:lnTo>
                      <a:pt x="410" y="303"/>
                    </a:lnTo>
                    <a:lnTo>
                      <a:pt x="410" y="304"/>
                    </a:lnTo>
                    <a:lnTo>
                      <a:pt x="408" y="306"/>
                    </a:lnTo>
                    <a:lnTo>
                      <a:pt x="408" y="307"/>
                    </a:lnTo>
                    <a:lnTo>
                      <a:pt x="408" y="309"/>
                    </a:lnTo>
                    <a:lnTo>
                      <a:pt x="408" y="311"/>
                    </a:lnTo>
                    <a:lnTo>
                      <a:pt x="408" y="312"/>
                    </a:lnTo>
                    <a:lnTo>
                      <a:pt x="408" y="314"/>
                    </a:lnTo>
                    <a:lnTo>
                      <a:pt x="407" y="315"/>
                    </a:lnTo>
                    <a:lnTo>
                      <a:pt x="407" y="317"/>
                    </a:lnTo>
                    <a:lnTo>
                      <a:pt x="405" y="319"/>
                    </a:lnTo>
                    <a:lnTo>
                      <a:pt x="405" y="320"/>
                    </a:lnTo>
                    <a:lnTo>
                      <a:pt x="405" y="322"/>
                    </a:lnTo>
                    <a:lnTo>
                      <a:pt x="404" y="323"/>
                    </a:lnTo>
                    <a:lnTo>
                      <a:pt x="404" y="325"/>
                    </a:lnTo>
                    <a:lnTo>
                      <a:pt x="404" y="326"/>
                    </a:lnTo>
                    <a:lnTo>
                      <a:pt x="402" y="328"/>
                    </a:lnTo>
                    <a:lnTo>
                      <a:pt x="402" y="330"/>
                    </a:lnTo>
                    <a:lnTo>
                      <a:pt x="402" y="331"/>
                    </a:lnTo>
                    <a:lnTo>
                      <a:pt x="402" y="333"/>
                    </a:lnTo>
                    <a:lnTo>
                      <a:pt x="400" y="333"/>
                    </a:lnTo>
                    <a:lnTo>
                      <a:pt x="400" y="334"/>
                    </a:lnTo>
                    <a:lnTo>
                      <a:pt x="400" y="336"/>
                    </a:lnTo>
                    <a:lnTo>
                      <a:pt x="399" y="336"/>
                    </a:lnTo>
                    <a:lnTo>
                      <a:pt x="399" y="338"/>
                    </a:lnTo>
                    <a:lnTo>
                      <a:pt x="397" y="338"/>
                    </a:lnTo>
                    <a:lnTo>
                      <a:pt x="396" y="339"/>
                    </a:lnTo>
                    <a:lnTo>
                      <a:pt x="394" y="339"/>
                    </a:lnTo>
                    <a:lnTo>
                      <a:pt x="394" y="341"/>
                    </a:lnTo>
                    <a:lnTo>
                      <a:pt x="393" y="341"/>
                    </a:lnTo>
                    <a:lnTo>
                      <a:pt x="393" y="342"/>
                    </a:lnTo>
                    <a:lnTo>
                      <a:pt x="391" y="342"/>
                    </a:lnTo>
                    <a:lnTo>
                      <a:pt x="391" y="344"/>
                    </a:lnTo>
                    <a:lnTo>
                      <a:pt x="391" y="345"/>
                    </a:lnTo>
                    <a:lnTo>
                      <a:pt x="389" y="345"/>
                    </a:lnTo>
                    <a:lnTo>
                      <a:pt x="389" y="347"/>
                    </a:lnTo>
                    <a:lnTo>
                      <a:pt x="388" y="349"/>
                    </a:lnTo>
                    <a:lnTo>
                      <a:pt x="388" y="350"/>
                    </a:lnTo>
                    <a:lnTo>
                      <a:pt x="388" y="352"/>
                    </a:lnTo>
                    <a:lnTo>
                      <a:pt x="388" y="353"/>
                    </a:lnTo>
                    <a:lnTo>
                      <a:pt x="386" y="355"/>
                    </a:lnTo>
                    <a:lnTo>
                      <a:pt x="386" y="357"/>
                    </a:lnTo>
                    <a:lnTo>
                      <a:pt x="386" y="358"/>
                    </a:lnTo>
                    <a:lnTo>
                      <a:pt x="386" y="360"/>
                    </a:lnTo>
                    <a:lnTo>
                      <a:pt x="386" y="361"/>
                    </a:lnTo>
                    <a:lnTo>
                      <a:pt x="386" y="363"/>
                    </a:lnTo>
                    <a:lnTo>
                      <a:pt x="386" y="364"/>
                    </a:lnTo>
                    <a:lnTo>
                      <a:pt x="386" y="366"/>
                    </a:lnTo>
                    <a:lnTo>
                      <a:pt x="388" y="368"/>
                    </a:lnTo>
                    <a:lnTo>
                      <a:pt x="388" y="369"/>
                    </a:lnTo>
                    <a:lnTo>
                      <a:pt x="388" y="371"/>
                    </a:lnTo>
                    <a:lnTo>
                      <a:pt x="388" y="372"/>
                    </a:lnTo>
                    <a:lnTo>
                      <a:pt x="388" y="374"/>
                    </a:lnTo>
                    <a:lnTo>
                      <a:pt x="389" y="376"/>
                    </a:lnTo>
                    <a:lnTo>
                      <a:pt x="389" y="377"/>
                    </a:lnTo>
                    <a:lnTo>
                      <a:pt x="389" y="379"/>
                    </a:lnTo>
                    <a:lnTo>
                      <a:pt x="389" y="380"/>
                    </a:lnTo>
                    <a:lnTo>
                      <a:pt x="389" y="382"/>
                    </a:lnTo>
                    <a:lnTo>
                      <a:pt x="389" y="383"/>
                    </a:lnTo>
                    <a:lnTo>
                      <a:pt x="389" y="385"/>
                    </a:lnTo>
                    <a:lnTo>
                      <a:pt x="389" y="387"/>
                    </a:lnTo>
                    <a:lnTo>
                      <a:pt x="389" y="388"/>
                    </a:lnTo>
                    <a:lnTo>
                      <a:pt x="389" y="390"/>
                    </a:lnTo>
                    <a:lnTo>
                      <a:pt x="389" y="391"/>
                    </a:lnTo>
                    <a:lnTo>
                      <a:pt x="389" y="393"/>
                    </a:lnTo>
                    <a:lnTo>
                      <a:pt x="389" y="395"/>
                    </a:lnTo>
                    <a:lnTo>
                      <a:pt x="388" y="395"/>
                    </a:lnTo>
                    <a:lnTo>
                      <a:pt x="388" y="396"/>
                    </a:lnTo>
                    <a:lnTo>
                      <a:pt x="386" y="396"/>
                    </a:lnTo>
                    <a:lnTo>
                      <a:pt x="386" y="398"/>
                    </a:lnTo>
                    <a:lnTo>
                      <a:pt x="385" y="398"/>
                    </a:lnTo>
                    <a:lnTo>
                      <a:pt x="383" y="398"/>
                    </a:lnTo>
                    <a:lnTo>
                      <a:pt x="383" y="399"/>
                    </a:lnTo>
                    <a:lnTo>
                      <a:pt x="381" y="399"/>
                    </a:lnTo>
                    <a:lnTo>
                      <a:pt x="381" y="402"/>
                    </a:lnTo>
                    <a:lnTo>
                      <a:pt x="383" y="404"/>
                    </a:lnTo>
                    <a:lnTo>
                      <a:pt x="383" y="406"/>
                    </a:lnTo>
                    <a:lnTo>
                      <a:pt x="385" y="407"/>
                    </a:lnTo>
                    <a:lnTo>
                      <a:pt x="388" y="412"/>
                    </a:lnTo>
                    <a:lnTo>
                      <a:pt x="389" y="415"/>
                    </a:lnTo>
                    <a:lnTo>
                      <a:pt x="393" y="418"/>
                    </a:lnTo>
                    <a:lnTo>
                      <a:pt x="394" y="420"/>
                    </a:lnTo>
                    <a:lnTo>
                      <a:pt x="396" y="423"/>
                    </a:lnTo>
                    <a:lnTo>
                      <a:pt x="397" y="423"/>
                    </a:lnTo>
                    <a:lnTo>
                      <a:pt x="400" y="428"/>
                    </a:lnTo>
                    <a:lnTo>
                      <a:pt x="402" y="429"/>
                    </a:lnTo>
                    <a:lnTo>
                      <a:pt x="402" y="431"/>
                    </a:lnTo>
                    <a:lnTo>
                      <a:pt x="404" y="431"/>
                    </a:lnTo>
                    <a:lnTo>
                      <a:pt x="407" y="434"/>
                    </a:lnTo>
                    <a:lnTo>
                      <a:pt x="408" y="436"/>
                    </a:lnTo>
                    <a:lnTo>
                      <a:pt x="412" y="437"/>
                    </a:lnTo>
                    <a:lnTo>
                      <a:pt x="416" y="441"/>
                    </a:lnTo>
                    <a:lnTo>
                      <a:pt x="419" y="442"/>
                    </a:lnTo>
                    <a:lnTo>
                      <a:pt x="421" y="444"/>
                    </a:lnTo>
                    <a:lnTo>
                      <a:pt x="427" y="448"/>
                    </a:lnTo>
                    <a:lnTo>
                      <a:pt x="429" y="450"/>
                    </a:lnTo>
                    <a:lnTo>
                      <a:pt x="432" y="452"/>
                    </a:lnTo>
                    <a:lnTo>
                      <a:pt x="435" y="458"/>
                    </a:lnTo>
                    <a:lnTo>
                      <a:pt x="437" y="460"/>
                    </a:lnTo>
                    <a:lnTo>
                      <a:pt x="437" y="463"/>
                    </a:lnTo>
                    <a:lnTo>
                      <a:pt x="438" y="463"/>
                    </a:lnTo>
                    <a:lnTo>
                      <a:pt x="440" y="469"/>
                    </a:lnTo>
                    <a:lnTo>
                      <a:pt x="440" y="471"/>
                    </a:lnTo>
                    <a:lnTo>
                      <a:pt x="442" y="472"/>
                    </a:lnTo>
                    <a:lnTo>
                      <a:pt x="443" y="475"/>
                    </a:lnTo>
                    <a:lnTo>
                      <a:pt x="445" y="477"/>
                    </a:lnTo>
                    <a:lnTo>
                      <a:pt x="451" y="483"/>
                    </a:lnTo>
                    <a:lnTo>
                      <a:pt x="456" y="488"/>
                    </a:lnTo>
                    <a:lnTo>
                      <a:pt x="464" y="496"/>
                    </a:lnTo>
                    <a:lnTo>
                      <a:pt x="469" y="499"/>
                    </a:lnTo>
                    <a:lnTo>
                      <a:pt x="470" y="499"/>
                    </a:lnTo>
                    <a:lnTo>
                      <a:pt x="473" y="501"/>
                    </a:lnTo>
                    <a:lnTo>
                      <a:pt x="480" y="502"/>
                    </a:lnTo>
                    <a:lnTo>
                      <a:pt x="481" y="504"/>
                    </a:lnTo>
                    <a:lnTo>
                      <a:pt x="484" y="505"/>
                    </a:lnTo>
                    <a:lnTo>
                      <a:pt x="489" y="507"/>
                    </a:lnTo>
                    <a:lnTo>
                      <a:pt x="496" y="510"/>
                    </a:lnTo>
                    <a:lnTo>
                      <a:pt x="497" y="510"/>
                    </a:lnTo>
                    <a:lnTo>
                      <a:pt x="499" y="510"/>
                    </a:lnTo>
                    <a:lnTo>
                      <a:pt x="500" y="512"/>
                    </a:lnTo>
                    <a:lnTo>
                      <a:pt x="503" y="521"/>
                    </a:lnTo>
                    <a:lnTo>
                      <a:pt x="505" y="523"/>
                    </a:lnTo>
                    <a:lnTo>
                      <a:pt x="510" y="532"/>
                    </a:lnTo>
                    <a:lnTo>
                      <a:pt x="515" y="539"/>
                    </a:lnTo>
                    <a:lnTo>
                      <a:pt x="516" y="543"/>
                    </a:lnTo>
                    <a:lnTo>
                      <a:pt x="518" y="543"/>
                    </a:lnTo>
                    <a:lnTo>
                      <a:pt x="522" y="553"/>
                    </a:lnTo>
                    <a:lnTo>
                      <a:pt x="526" y="558"/>
                    </a:lnTo>
                    <a:lnTo>
                      <a:pt x="527" y="561"/>
                    </a:lnTo>
                    <a:lnTo>
                      <a:pt x="529" y="562"/>
                    </a:lnTo>
                    <a:lnTo>
                      <a:pt x="532" y="569"/>
                    </a:lnTo>
                    <a:lnTo>
                      <a:pt x="534" y="570"/>
                    </a:lnTo>
                    <a:lnTo>
                      <a:pt x="535" y="572"/>
                    </a:lnTo>
                    <a:lnTo>
                      <a:pt x="537" y="572"/>
                    </a:lnTo>
                    <a:lnTo>
                      <a:pt x="537" y="574"/>
                    </a:lnTo>
                    <a:lnTo>
                      <a:pt x="538" y="574"/>
                    </a:lnTo>
                    <a:lnTo>
                      <a:pt x="546" y="577"/>
                    </a:lnTo>
                    <a:lnTo>
                      <a:pt x="548" y="578"/>
                    </a:lnTo>
                    <a:lnTo>
                      <a:pt x="551" y="580"/>
                    </a:lnTo>
                    <a:lnTo>
                      <a:pt x="553" y="581"/>
                    </a:lnTo>
                    <a:lnTo>
                      <a:pt x="556" y="581"/>
                    </a:lnTo>
                    <a:lnTo>
                      <a:pt x="559" y="583"/>
                    </a:lnTo>
                    <a:lnTo>
                      <a:pt x="565" y="585"/>
                    </a:lnTo>
                    <a:lnTo>
                      <a:pt x="568" y="586"/>
                    </a:lnTo>
                    <a:lnTo>
                      <a:pt x="572" y="586"/>
                    </a:lnTo>
                    <a:lnTo>
                      <a:pt x="573" y="588"/>
                    </a:lnTo>
                    <a:lnTo>
                      <a:pt x="576" y="588"/>
                    </a:lnTo>
                    <a:lnTo>
                      <a:pt x="584" y="589"/>
                    </a:lnTo>
                    <a:lnTo>
                      <a:pt x="586" y="589"/>
                    </a:lnTo>
                    <a:lnTo>
                      <a:pt x="587" y="591"/>
                    </a:lnTo>
                    <a:lnTo>
                      <a:pt x="589" y="591"/>
                    </a:lnTo>
                    <a:lnTo>
                      <a:pt x="578" y="604"/>
                    </a:lnTo>
                    <a:lnTo>
                      <a:pt x="578" y="605"/>
                    </a:lnTo>
                    <a:lnTo>
                      <a:pt x="578" y="608"/>
                    </a:lnTo>
                    <a:lnTo>
                      <a:pt x="578" y="612"/>
                    </a:lnTo>
                    <a:lnTo>
                      <a:pt x="578" y="615"/>
                    </a:lnTo>
                    <a:lnTo>
                      <a:pt x="578" y="618"/>
                    </a:lnTo>
                    <a:lnTo>
                      <a:pt x="578" y="623"/>
                    </a:lnTo>
                    <a:lnTo>
                      <a:pt x="579" y="627"/>
                    </a:lnTo>
                    <a:lnTo>
                      <a:pt x="579" y="632"/>
                    </a:lnTo>
                    <a:lnTo>
                      <a:pt x="579" y="634"/>
                    </a:lnTo>
                    <a:lnTo>
                      <a:pt x="579" y="637"/>
                    </a:lnTo>
                    <a:lnTo>
                      <a:pt x="579" y="643"/>
                    </a:lnTo>
                    <a:lnTo>
                      <a:pt x="581" y="650"/>
                    </a:lnTo>
                    <a:lnTo>
                      <a:pt x="581" y="651"/>
                    </a:lnTo>
                    <a:lnTo>
                      <a:pt x="581" y="656"/>
                    </a:lnTo>
                    <a:lnTo>
                      <a:pt x="581" y="658"/>
                    </a:lnTo>
                    <a:lnTo>
                      <a:pt x="581" y="661"/>
                    </a:lnTo>
                    <a:lnTo>
                      <a:pt x="583" y="664"/>
                    </a:lnTo>
                    <a:lnTo>
                      <a:pt x="583" y="665"/>
                    </a:lnTo>
                    <a:lnTo>
                      <a:pt x="583" y="669"/>
                    </a:lnTo>
                    <a:lnTo>
                      <a:pt x="584" y="672"/>
                    </a:lnTo>
                    <a:lnTo>
                      <a:pt x="584" y="673"/>
                    </a:lnTo>
                    <a:lnTo>
                      <a:pt x="584" y="675"/>
                    </a:lnTo>
                    <a:lnTo>
                      <a:pt x="584" y="678"/>
                    </a:lnTo>
                    <a:lnTo>
                      <a:pt x="586" y="681"/>
                    </a:lnTo>
                    <a:lnTo>
                      <a:pt x="586" y="683"/>
                    </a:lnTo>
                    <a:lnTo>
                      <a:pt x="586" y="684"/>
                    </a:lnTo>
                    <a:lnTo>
                      <a:pt x="586" y="686"/>
                    </a:lnTo>
                    <a:lnTo>
                      <a:pt x="586" y="689"/>
                    </a:lnTo>
                    <a:lnTo>
                      <a:pt x="586" y="694"/>
                    </a:lnTo>
                    <a:lnTo>
                      <a:pt x="586" y="699"/>
                    </a:lnTo>
                    <a:lnTo>
                      <a:pt x="586" y="700"/>
                    </a:lnTo>
                    <a:lnTo>
                      <a:pt x="587" y="705"/>
                    </a:lnTo>
                    <a:lnTo>
                      <a:pt x="586" y="707"/>
                    </a:lnTo>
                    <a:lnTo>
                      <a:pt x="586" y="710"/>
                    </a:lnTo>
                    <a:lnTo>
                      <a:pt x="586" y="711"/>
                    </a:lnTo>
                    <a:lnTo>
                      <a:pt x="584" y="715"/>
                    </a:lnTo>
                    <a:lnTo>
                      <a:pt x="584" y="718"/>
                    </a:lnTo>
                    <a:lnTo>
                      <a:pt x="583" y="718"/>
                    </a:lnTo>
                    <a:lnTo>
                      <a:pt x="581" y="721"/>
                    </a:lnTo>
                    <a:lnTo>
                      <a:pt x="579" y="722"/>
                    </a:lnTo>
                    <a:lnTo>
                      <a:pt x="578" y="724"/>
                    </a:lnTo>
                    <a:lnTo>
                      <a:pt x="576" y="726"/>
                    </a:lnTo>
                    <a:lnTo>
                      <a:pt x="573" y="727"/>
                    </a:lnTo>
                    <a:lnTo>
                      <a:pt x="572" y="727"/>
                    </a:lnTo>
                    <a:lnTo>
                      <a:pt x="568" y="727"/>
                    </a:lnTo>
                    <a:lnTo>
                      <a:pt x="565" y="727"/>
                    </a:lnTo>
                    <a:lnTo>
                      <a:pt x="564" y="729"/>
                    </a:lnTo>
                    <a:lnTo>
                      <a:pt x="562" y="729"/>
                    </a:lnTo>
                    <a:lnTo>
                      <a:pt x="562" y="730"/>
                    </a:lnTo>
                    <a:lnTo>
                      <a:pt x="559" y="732"/>
                    </a:lnTo>
                    <a:lnTo>
                      <a:pt x="557" y="734"/>
                    </a:lnTo>
                    <a:lnTo>
                      <a:pt x="556" y="734"/>
                    </a:lnTo>
                    <a:lnTo>
                      <a:pt x="554" y="735"/>
                    </a:lnTo>
                    <a:lnTo>
                      <a:pt x="554" y="737"/>
                    </a:lnTo>
                    <a:lnTo>
                      <a:pt x="554" y="738"/>
                    </a:lnTo>
                    <a:lnTo>
                      <a:pt x="553" y="738"/>
                    </a:lnTo>
                    <a:lnTo>
                      <a:pt x="553" y="743"/>
                    </a:lnTo>
                    <a:lnTo>
                      <a:pt x="553" y="753"/>
                    </a:lnTo>
                    <a:lnTo>
                      <a:pt x="551" y="756"/>
                    </a:lnTo>
                    <a:lnTo>
                      <a:pt x="551" y="759"/>
                    </a:lnTo>
                    <a:lnTo>
                      <a:pt x="551" y="765"/>
                    </a:lnTo>
                    <a:lnTo>
                      <a:pt x="549" y="768"/>
                    </a:lnTo>
                    <a:lnTo>
                      <a:pt x="549" y="770"/>
                    </a:lnTo>
                    <a:lnTo>
                      <a:pt x="548" y="773"/>
                    </a:lnTo>
                    <a:lnTo>
                      <a:pt x="545" y="776"/>
                    </a:lnTo>
                    <a:lnTo>
                      <a:pt x="543" y="778"/>
                    </a:lnTo>
                    <a:lnTo>
                      <a:pt x="543" y="780"/>
                    </a:lnTo>
                    <a:lnTo>
                      <a:pt x="541" y="781"/>
                    </a:lnTo>
                    <a:lnTo>
                      <a:pt x="537" y="794"/>
                    </a:lnTo>
                    <a:lnTo>
                      <a:pt x="535" y="795"/>
                    </a:lnTo>
                    <a:lnTo>
                      <a:pt x="535" y="797"/>
                    </a:lnTo>
                    <a:lnTo>
                      <a:pt x="534" y="797"/>
                    </a:lnTo>
                    <a:lnTo>
                      <a:pt x="534" y="795"/>
                    </a:lnTo>
                    <a:lnTo>
                      <a:pt x="532" y="795"/>
                    </a:lnTo>
                    <a:lnTo>
                      <a:pt x="530" y="795"/>
                    </a:lnTo>
                    <a:lnTo>
                      <a:pt x="529" y="794"/>
                    </a:lnTo>
                    <a:lnTo>
                      <a:pt x="527" y="794"/>
                    </a:lnTo>
                    <a:lnTo>
                      <a:pt x="526" y="794"/>
                    </a:lnTo>
                    <a:lnTo>
                      <a:pt x="524" y="794"/>
                    </a:lnTo>
                    <a:lnTo>
                      <a:pt x="524" y="795"/>
                    </a:lnTo>
                    <a:lnTo>
                      <a:pt x="526" y="797"/>
                    </a:lnTo>
                    <a:lnTo>
                      <a:pt x="526" y="799"/>
                    </a:lnTo>
                    <a:lnTo>
                      <a:pt x="527" y="800"/>
                    </a:lnTo>
                    <a:lnTo>
                      <a:pt x="527" y="802"/>
                    </a:lnTo>
                    <a:lnTo>
                      <a:pt x="527" y="803"/>
                    </a:lnTo>
                    <a:lnTo>
                      <a:pt x="529" y="803"/>
                    </a:lnTo>
                    <a:lnTo>
                      <a:pt x="529" y="805"/>
                    </a:lnTo>
                    <a:lnTo>
                      <a:pt x="530" y="806"/>
                    </a:lnTo>
                    <a:lnTo>
                      <a:pt x="529" y="808"/>
                    </a:lnTo>
                    <a:lnTo>
                      <a:pt x="530" y="808"/>
                    </a:lnTo>
                    <a:lnTo>
                      <a:pt x="530" y="810"/>
                    </a:lnTo>
                    <a:lnTo>
                      <a:pt x="529" y="811"/>
                    </a:lnTo>
                    <a:lnTo>
                      <a:pt x="529" y="813"/>
                    </a:lnTo>
                    <a:lnTo>
                      <a:pt x="527" y="813"/>
                    </a:lnTo>
                    <a:lnTo>
                      <a:pt x="527" y="814"/>
                    </a:lnTo>
                    <a:lnTo>
                      <a:pt x="527" y="816"/>
                    </a:lnTo>
                    <a:lnTo>
                      <a:pt x="526" y="816"/>
                    </a:lnTo>
                    <a:lnTo>
                      <a:pt x="526" y="818"/>
                    </a:lnTo>
                    <a:lnTo>
                      <a:pt x="524" y="819"/>
                    </a:lnTo>
                    <a:lnTo>
                      <a:pt x="524" y="821"/>
                    </a:lnTo>
                    <a:lnTo>
                      <a:pt x="522" y="821"/>
                    </a:lnTo>
                    <a:lnTo>
                      <a:pt x="522" y="822"/>
                    </a:lnTo>
                    <a:lnTo>
                      <a:pt x="521" y="824"/>
                    </a:lnTo>
                    <a:lnTo>
                      <a:pt x="521" y="825"/>
                    </a:lnTo>
                    <a:lnTo>
                      <a:pt x="519" y="827"/>
                    </a:lnTo>
                    <a:lnTo>
                      <a:pt x="519" y="829"/>
                    </a:lnTo>
                    <a:lnTo>
                      <a:pt x="518" y="829"/>
                    </a:lnTo>
                    <a:lnTo>
                      <a:pt x="518" y="830"/>
                    </a:lnTo>
                    <a:lnTo>
                      <a:pt x="516" y="832"/>
                    </a:lnTo>
                    <a:lnTo>
                      <a:pt x="516" y="833"/>
                    </a:lnTo>
                    <a:lnTo>
                      <a:pt x="515" y="833"/>
                    </a:lnTo>
                    <a:lnTo>
                      <a:pt x="515" y="835"/>
                    </a:lnTo>
                    <a:lnTo>
                      <a:pt x="516" y="835"/>
                    </a:lnTo>
                    <a:lnTo>
                      <a:pt x="516" y="837"/>
                    </a:lnTo>
                    <a:lnTo>
                      <a:pt x="516" y="838"/>
                    </a:lnTo>
                    <a:lnTo>
                      <a:pt x="518" y="838"/>
                    </a:lnTo>
                    <a:lnTo>
                      <a:pt x="518" y="840"/>
                    </a:lnTo>
                    <a:lnTo>
                      <a:pt x="518" y="841"/>
                    </a:lnTo>
                    <a:lnTo>
                      <a:pt x="518" y="843"/>
                    </a:lnTo>
                    <a:lnTo>
                      <a:pt x="518" y="844"/>
                    </a:lnTo>
                    <a:lnTo>
                      <a:pt x="516" y="846"/>
                    </a:lnTo>
                    <a:lnTo>
                      <a:pt x="516" y="848"/>
                    </a:lnTo>
                    <a:lnTo>
                      <a:pt x="516" y="849"/>
                    </a:lnTo>
                    <a:lnTo>
                      <a:pt x="516" y="851"/>
                    </a:lnTo>
                    <a:lnTo>
                      <a:pt x="516" y="852"/>
                    </a:lnTo>
                    <a:lnTo>
                      <a:pt x="516" y="854"/>
                    </a:lnTo>
                    <a:lnTo>
                      <a:pt x="518" y="854"/>
                    </a:lnTo>
                    <a:lnTo>
                      <a:pt x="518" y="856"/>
                    </a:lnTo>
                    <a:lnTo>
                      <a:pt x="518" y="857"/>
                    </a:lnTo>
                    <a:lnTo>
                      <a:pt x="518" y="859"/>
                    </a:lnTo>
                    <a:lnTo>
                      <a:pt x="518" y="860"/>
                    </a:lnTo>
                    <a:lnTo>
                      <a:pt x="516" y="860"/>
                    </a:lnTo>
                    <a:lnTo>
                      <a:pt x="516" y="862"/>
                    </a:lnTo>
                    <a:lnTo>
                      <a:pt x="516" y="863"/>
                    </a:lnTo>
                    <a:lnTo>
                      <a:pt x="516" y="865"/>
                    </a:lnTo>
                    <a:lnTo>
                      <a:pt x="516" y="867"/>
                    </a:lnTo>
                    <a:lnTo>
                      <a:pt x="518" y="868"/>
                    </a:lnTo>
                    <a:lnTo>
                      <a:pt x="518" y="870"/>
                    </a:lnTo>
                    <a:lnTo>
                      <a:pt x="518" y="871"/>
                    </a:lnTo>
                    <a:lnTo>
                      <a:pt x="518" y="873"/>
                    </a:lnTo>
                    <a:lnTo>
                      <a:pt x="518" y="875"/>
                    </a:lnTo>
                    <a:lnTo>
                      <a:pt x="518" y="876"/>
                    </a:lnTo>
                    <a:lnTo>
                      <a:pt x="518" y="878"/>
                    </a:lnTo>
                    <a:lnTo>
                      <a:pt x="518" y="879"/>
                    </a:lnTo>
                    <a:lnTo>
                      <a:pt x="518" y="881"/>
                    </a:lnTo>
                    <a:lnTo>
                      <a:pt x="516" y="882"/>
                    </a:lnTo>
                    <a:lnTo>
                      <a:pt x="516" y="884"/>
                    </a:lnTo>
                    <a:lnTo>
                      <a:pt x="516" y="886"/>
                    </a:lnTo>
                    <a:lnTo>
                      <a:pt x="516" y="887"/>
                    </a:lnTo>
                    <a:lnTo>
                      <a:pt x="516" y="889"/>
                    </a:lnTo>
                    <a:lnTo>
                      <a:pt x="516" y="890"/>
                    </a:lnTo>
                    <a:lnTo>
                      <a:pt x="516" y="892"/>
                    </a:lnTo>
                    <a:lnTo>
                      <a:pt x="516" y="894"/>
                    </a:lnTo>
                    <a:lnTo>
                      <a:pt x="518" y="894"/>
                    </a:lnTo>
                    <a:lnTo>
                      <a:pt x="518" y="895"/>
                    </a:lnTo>
                    <a:lnTo>
                      <a:pt x="519" y="895"/>
                    </a:lnTo>
                    <a:lnTo>
                      <a:pt x="519" y="897"/>
                    </a:lnTo>
                    <a:lnTo>
                      <a:pt x="518" y="898"/>
                    </a:lnTo>
                    <a:lnTo>
                      <a:pt x="518" y="900"/>
                    </a:lnTo>
                    <a:lnTo>
                      <a:pt x="518" y="901"/>
                    </a:lnTo>
                    <a:lnTo>
                      <a:pt x="518" y="903"/>
                    </a:lnTo>
                    <a:lnTo>
                      <a:pt x="518" y="905"/>
                    </a:lnTo>
                    <a:lnTo>
                      <a:pt x="518" y="906"/>
                    </a:lnTo>
                    <a:lnTo>
                      <a:pt x="519" y="908"/>
                    </a:lnTo>
                    <a:lnTo>
                      <a:pt x="519" y="909"/>
                    </a:lnTo>
                    <a:lnTo>
                      <a:pt x="519" y="911"/>
                    </a:lnTo>
                    <a:lnTo>
                      <a:pt x="519" y="913"/>
                    </a:lnTo>
                    <a:lnTo>
                      <a:pt x="518" y="914"/>
                    </a:lnTo>
                    <a:lnTo>
                      <a:pt x="518" y="916"/>
                    </a:lnTo>
                    <a:lnTo>
                      <a:pt x="518" y="917"/>
                    </a:lnTo>
                    <a:lnTo>
                      <a:pt x="518" y="919"/>
                    </a:lnTo>
                    <a:lnTo>
                      <a:pt x="518" y="920"/>
                    </a:lnTo>
                    <a:lnTo>
                      <a:pt x="516" y="920"/>
                    </a:lnTo>
                    <a:lnTo>
                      <a:pt x="515" y="920"/>
                    </a:lnTo>
                    <a:lnTo>
                      <a:pt x="513" y="920"/>
                    </a:lnTo>
                    <a:lnTo>
                      <a:pt x="511" y="920"/>
                    </a:lnTo>
                    <a:lnTo>
                      <a:pt x="510" y="920"/>
                    </a:lnTo>
                    <a:lnTo>
                      <a:pt x="508" y="922"/>
                    </a:lnTo>
                    <a:lnTo>
                      <a:pt x="507" y="922"/>
                    </a:lnTo>
                    <a:lnTo>
                      <a:pt x="505" y="922"/>
                    </a:lnTo>
                    <a:lnTo>
                      <a:pt x="505" y="924"/>
                    </a:lnTo>
                    <a:lnTo>
                      <a:pt x="503" y="924"/>
                    </a:lnTo>
                    <a:lnTo>
                      <a:pt x="502" y="924"/>
                    </a:lnTo>
                    <a:lnTo>
                      <a:pt x="502" y="925"/>
                    </a:lnTo>
                    <a:lnTo>
                      <a:pt x="500" y="925"/>
                    </a:lnTo>
                    <a:lnTo>
                      <a:pt x="499" y="927"/>
                    </a:lnTo>
                    <a:lnTo>
                      <a:pt x="497" y="927"/>
                    </a:lnTo>
                    <a:lnTo>
                      <a:pt x="496" y="927"/>
                    </a:lnTo>
                    <a:lnTo>
                      <a:pt x="496" y="928"/>
                    </a:lnTo>
                    <a:lnTo>
                      <a:pt x="494" y="928"/>
                    </a:lnTo>
                    <a:lnTo>
                      <a:pt x="492" y="928"/>
                    </a:lnTo>
                    <a:lnTo>
                      <a:pt x="492" y="930"/>
                    </a:lnTo>
                    <a:lnTo>
                      <a:pt x="491" y="932"/>
                    </a:lnTo>
                    <a:lnTo>
                      <a:pt x="491" y="933"/>
                    </a:lnTo>
                    <a:lnTo>
                      <a:pt x="489" y="933"/>
                    </a:lnTo>
                    <a:lnTo>
                      <a:pt x="489" y="935"/>
                    </a:lnTo>
                    <a:lnTo>
                      <a:pt x="488" y="936"/>
                    </a:lnTo>
                    <a:lnTo>
                      <a:pt x="488" y="938"/>
                    </a:lnTo>
                    <a:lnTo>
                      <a:pt x="486" y="938"/>
                    </a:lnTo>
                    <a:lnTo>
                      <a:pt x="486" y="939"/>
                    </a:lnTo>
                    <a:lnTo>
                      <a:pt x="486" y="941"/>
                    </a:lnTo>
                    <a:lnTo>
                      <a:pt x="486" y="943"/>
                    </a:lnTo>
                    <a:lnTo>
                      <a:pt x="484" y="943"/>
                    </a:lnTo>
                    <a:lnTo>
                      <a:pt x="484" y="944"/>
                    </a:lnTo>
                    <a:lnTo>
                      <a:pt x="483" y="946"/>
                    </a:lnTo>
                    <a:lnTo>
                      <a:pt x="483" y="947"/>
                    </a:lnTo>
                    <a:lnTo>
                      <a:pt x="483" y="949"/>
                    </a:lnTo>
                    <a:lnTo>
                      <a:pt x="481" y="949"/>
                    </a:lnTo>
                    <a:lnTo>
                      <a:pt x="481" y="951"/>
                    </a:lnTo>
                    <a:lnTo>
                      <a:pt x="481" y="952"/>
                    </a:lnTo>
                    <a:lnTo>
                      <a:pt x="481" y="954"/>
                    </a:lnTo>
                    <a:lnTo>
                      <a:pt x="481" y="955"/>
                    </a:lnTo>
                    <a:lnTo>
                      <a:pt x="480" y="955"/>
                    </a:lnTo>
                    <a:lnTo>
                      <a:pt x="480" y="957"/>
                    </a:lnTo>
                    <a:lnTo>
                      <a:pt x="478" y="957"/>
                    </a:lnTo>
                    <a:lnTo>
                      <a:pt x="478" y="958"/>
                    </a:lnTo>
                    <a:lnTo>
                      <a:pt x="478" y="960"/>
                    </a:lnTo>
                    <a:lnTo>
                      <a:pt x="477" y="960"/>
                    </a:lnTo>
                    <a:lnTo>
                      <a:pt x="477" y="962"/>
                    </a:lnTo>
                    <a:lnTo>
                      <a:pt x="475" y="963"/>
                    </a:lnTo>
                    <a:lnTo>
                      <a:pt x="473" y="965"/>
                    </a:lnTo>
                    <a:lnTo>
                      <a:pt x="473" y="966"/>
                    </a:lnTo>
                    <a:lnTo>
                      <a:pt x="473" y="968"/>
                    </a:lnTo>
                    <a:lnTo>
                      <a:pt x="473" y="970"/>
                    </a:lnTo>
                    <a:lnTo>
                      <a:pt x="473" y="971"/>
                    </a:lnTo>
                    <a:lnTo>
                      <a:pt x="472" y="971"/>
                    </a:lnTo>
                    <a:lnTo>
                      <a:pt x="472" y="973"/>
                    </a:lnTo>
                    <a:lnTo>
                      <a:pt x="472" y="974"/>
                    </a:lnTo>
                    <a:lnTo>
                      <a:pt x="472" y="976"/>
                    </a:lnTo>
                    <a:lnTo>
                      <a:pt x="472" y="978"/>
                    </a:lnTo>
                    <a:lnTo>
                      <a:pt x="472" y="979"/>
                    </a:lnTo>
                    <a:lnTo>
                      <a:pt x="472" y="981"/>
                    </a:lnTo>
                    <a:lnTo>
                      <a:pt x="472" y="982"/>
                    </a:lnTo>
                    <a:lnTo>
                      <a:pt x="472" y="984"/>
                    </a:lnTo>
                    <a:lnTo>
                      <a:pt x="473" y="985"/>
                    </a:lnTo>
                    <a:lnTo>
                      <a:pt x="472" y="985"/>
                    </a:lnTo>
                    <a:lnTo>
                      <a:pt x="472" y="987"/>
                    </a:lnTo>
                    <a:lnTo>
                      <a:pt x="473" y="989"/>
                    </a:lnTo>
                    <a:lnTo>
                      <a:pt x="473" y="990"/>
                    </a:lnTo>
                    <a:lnTo>
                      <a:pt x="473" y="992"/>
                    </a:lnTo>
                    <a:lnTo>
                      <a:pt x="475" y="992"/>
                    </a:lnTo>
                    <a:lnTo>
                      <a:pt x="475" y="993"/>
                    </a:lnTo>
                    <a:lnTo>
                      <a:pt x="475" y="995"/>
                    </a:lnTo>
                    <a:lnTo>
                      <a:pt x="475" y="997"/>
                    </a:lnTo>
                    <a:lnTo>
                      <a:pt x="475" y="998"/>
                    </a:lnTo>
                    <a:lnTo>
                      <a:pt x="475" y="1000"/>
                    </a:lnTo>
                    <a:lnTo>
                      <a:pt x="477" y="1000"/>
                    </a:lnTo>
                    <a:lnTo>
                      <a:pt x="477" y="1001"/>
                    </a:lnTo>
                    <a:lnTo>
                      <a:pt x="477" y="1003"/>
                    </a:lnTo>
                    <a:lnTo>
                      <a:pt x="478" y="1003"/>
                    </a:lnTo>
                    <a:lnTo>
                      <a:pt x="478" y="1004"/>
                    </a:lnTo>
                    <a:lnTo>
                      <a:pt x="478" y="1006"/>
                    </a:lnTo>
                    <a:lnTo>
                      <a:pt x="478" y="1008"/>
                    </a:lnTo>
                    <a:lnTo>
                      <a:pt x="478" y="1009"/>
                    </a:lnTo>
                    <a:lnTo>
                      <a:pt x="478" y="1011"/>
                    </a:lnTo>
                    <a:lnTo>
                      <a:pt x="478" y="1012"/>
                    </a:lnTo>
                    <a:lnTo>
                      <a:pt x="478" y="1014"/>
                    </a:lnTo>
                    <a:lnTo>
                      <a:pt x="478" y="1016"/>
                    </a:lnTo>
                    <a:lnTo>
                      <a:pt x="480" y="1017"/>
                    </a:lnTo>
                    <a:lnTo>
                      <a:pt x="480" y="1019"/>
                    </a:lnTo>
                    <a:lnTo>
                      <a:pt x="480" y="1020"/>
                    </a:lnTo>
                    <a:lnTo>
                      <a:pt x="480" y="1022"/>
                    </a:lnTo>
                    <a:lnTo>
                      <a:pt x="478" y="1022"/>
                    </a:lnTo>
                    <a:lnTo>
                      <a:pt x="478" y="1023"/>
                    </a:lnTo>
                    <a:lnTo>
                      <a:pt x="477" y="1023"/>
                    </a:lnTo>
                    <a:lnTo>
                      <a:pt x="477" y="1025"/>
                    </a:lnTo>
                    <a:lnTo>
                      <a:pt x="475" y="1027"/>
                    </a:lnTo>
                    <a:lnTo>
                      <a:pt x="473" y="1028"/>
                    </a:lnTo>
                    <a:lnTo>
                      <a:pt x="469" y="1031"/>
                    </a:lnTo>
                    <a:lnTo>
                      <a:pt x="465" y="1035"/>
                    </a:lnTo>
                    <a:lnTo>
                      <a:pt x="464" y="1033"/>
                    </a:lnTo>
                    <a:lnTo>
                      <a:pt x="462" y="1031"/>
                    </a:lnTo>
                    <a:lnTo>
                      <a:pt x="461" y="1030"/>
                    </a:lnTo>
                    <a:lnTo>
                      <a:pt x="459" y="1028"/>
                    </a:lnTo>
                    <a:lnTo>
                      <a:pt x="457" y="1028"/>
                    </a:lnTo>
                    <a:lnTo>
                      <a:pt x="456" y="1028"/>
                    </a:lnTo>
                    <a:lnTo>
                      <a:pt x="454" y="1027"/>
                    </a:lnTo>
                    <a:lnTo>
                      <a:pt x="453" y="1025"/>
                    </a:lnTo>
                    <a:lnTo>
                      <a:pt x="451" y="1027"/>
                    </a:lnTo>
                    <a:lnTo>
                      <a:pt x="450" y="1025"/>
                    </a:lnTo>
                    <a:lnTo>
                      <a:pt x="448" y="1025"/>
                    </a:lnTo>
                    <a:lnTo>
                      <a:pt x="448" y="1023"/>
                    </a:lnTo>
                    <a:lnTo>
                      <a:pt x="446" y="1022"/>
                    </a:lnTo>
                    <a:lnTo>
                      <a:pt x="446" y="1023"/>
                    </a:lnTo>
                    <a:lnTo>
                      <a:pt x="445" y="1022"/>
                    </a:lnTo>
                    <a:lnTo>
                      <a:pt x="443" y="1022"/>
                    </a:lnTo>
                    <a:lnTo>
                      <a:pt x="442" y="1022"/>
                    </a:lnTo>
                    <a:lnTo>
                      <a:pt x="438" y="1020"/>
                    </a:lnTo>
                    <a:lnTo>
                      <a:pt x="437" y="1019"/>
                    </a:lnTo>
                    <a:lnTo>
                      <a:pt x="437" y="1017"/>
                    </a:lnTo>
                    <a:lnTo>
                      <a:pt x="435" y="1017"/>
                    </a:lnTo>
                    <a:lnTo>
                      <a:pt x="435" y="1019"/>
                    </a:lnTo>
                    <a:lnTo>
                      <a:pt x="434" y="1019"/>
                    </a:lnTo>
                    <a:lnTo>
                      <a:pt x="432" y="1020"/>
                    </a:lnTo>
                    <a:lnTo>
                      <a:pt x="431" y="1019"/>
                    </a:lnTo>
                    <a:lnTo>
                      <a:pt x="431" y="1020"/>
                    </a:lnTo>
                    <a:lnTo>
                      <a:pt x="429" y="1020"/>
                    </a:lnTo>
                    <a:lnTo>
                      <a:pt x="429" y="1022"/>
                    </a:lnTo>
                    <a:lnTo>
                      <a:pt x="427" y="1022"/>
                    </a:lnTo>
                    <a:lnTo>
                      <a:pt x="426" y="1022"/>
                    </a:lnTo>
                    <a:lnTo>
                      <a:pt x="424" y="1022"/>
                    </a:lnTo>
                    <a:lnTo>
                      <a:pt x="423" y="1022"/>
                    </a:lnTo>
                    <a:lnTo>
                      <a:pt x="421" y="1022"/>
                    </a:lnTo>
                    <a:lnTo>
                      <a:pt x="419" y="1023"/>
                    </a:lnTo>
                    <a:lnTo>
                      <a:pt x="418" y="1023"/>
                    </a:lnTo>
                    <a:lnTo>
                      <a:pt x="418" y="1025"/>
                    </a:lnTo>
                    <a:lnTo>
                      <a:pt x="416" y="1025"/>
                    </a:lnTo>
                    <a:lnTo>
                      <a:pt x="415" y="1023"/>
                    </a:lnTo>
                    <a:lnTo>
                      <a:pt x="415" y="1022"/>
                    </a:lnTo>
                    <a:lnTo>
                      <a:pt x="413" y="1022"/>
                    </a:lnTo>
                    <a:lnTo>
                      <a:pt x="413" y="1020"/>
                    </a:lnTo>
                    <a:lnTo>
                      <a:pt x="412" y="1020"/>
                    </a:lnTo>
                    <a:lnTo>
                      <a:pt x="412" y="1019"/>
                    </a:lnTo>
                    <a:lnTo>
                      <a:pt x="412" y="1017"/>
                    </a:lnTo>
                    <a:lnTo>
                      <a:pt x="413" y="1016"/>
                    </a:lnTo>
                    <a:lnTo>
                      <a:pt x="412" y="1016"/>
                    </a:lnTo>
                    <a:lnTo>
                      <a:pt x="412" y="1014"/>
                    </a:lnTo>
                    <a:lnTo>
                      <a:pt x="410" y="1014"/>
                    </a:lnTo>
                    <a:lnTo>
                      <a:pt x="412" y="1012"/>
                    </a:lnTo>
                    <a:lnTo>
                      <a:pt x="413" y="1011"/>
                    </a:lnTo>
                    <a:lnTo>
                      <a:pt x="413" y="1009"/>
                    </a:lnTo>
                    <a:lnTo>
                      <a:pt x="413" y="1008"/>
                    </a:lnTo>
                    <a:lnTo>
                      <a:pt x="413" y="1006"/>
                    </a:lnTo>
                    <a:lnTo>
                      <a:pt x="412" y="1006"/>
                    </a:lnTo>
                    <a:lnTo>
                      <a:pt x="412" y="1004"/>
                    </a:lnTo>
                    <a:lnTo>
                      <a:pt x="412" y="1003"/>
                    </a:lnTo>
                    <a:lnTo>
                      <a:pt x="410" y="1003"/>
                    </a:lnTo>
                    <a:lnTo>
                      <a:pt x="410" y="1001"/>
                    </a:lnTo>
                    <a:lnTo>
                      <a:pt x="410" y="1000"/>
                    </a:lnTo>
                    <a:lnTo>
                      <a:pt x="408" y="1000"/>
                    </a:lnTo>
                    <a:lnTo>
                      <a:pt x="408" y="998"/>
                    </a:lnTo>
                    <a:lnTo>
                      <a:pt x="407" y="998"/>
                    </a:lnTo>
                    <a:lnTo>
                      <a:pt x="407" y="997"/>
                    </a:lnTo>
                    <a:lnTo>
                      <a:pt x="407" y="995"/>
                    </a:lnTo>
                    <a:lnTo>
                      <a:pt x="407" y="993"/>
                    </a:lnTo>
                    <a:lnTo>
                      <a:pt x="405" y="993"/>
                    </a:lnTo>
                    <a:lnTo>
                      <a:pt x="404" y="993"/>
                    </a:lnTo>
                    <a:lnTo>
                      <a:pt x="402" y="993"/>
                    </a:lnTo>
                    <a:lnTo>
                      <a:pt x="402" y="992"/>
                    </a:lnTo>
                    <a:lnTo>
                      <a:pt x="400" y="992"/>
                    </a:lnTo>
                    <a:lnTo>
                      <a:pt x="400" y="990"/>
                    </a:lnTo>
                    <a:lnTo>
                      <a:pt x="399" y="990"/>
                    </a:lnTo>
                    <a:lnTo>
                      <a:pt x="399" y="989"/>
                    </a:lnTo>
                    <a:lnTo>
                      <a:pt x="399" y="987"/>
                    </a:lnTo>
                    <a:lnTo>
                      <a:pt x="397" y="987"/>
                    </a:lnTo>
                    <a:lnTo>
                      <a:pt x="397" y="985"/>
                    </a:lnTo>
                    <a:lnTo>
                      <a:pt x="396" y="984"/>
                    </a:lnTo>
                    <a:lnTo>
                      <a:pt x="394" y="984"/>
                    </a:lnTo>
                    <a:lnTo>
                      <a:pt x="394" y="982"/>
                    </a:lnTo>
                    <a:lnTo>
                      <a:pt x="394" y="981"/>
                    </a:lnTo>
                    <a:lnTo>
                      <a:pt x="393" y="979"/>
                    </a:lnTo>
                    <a:lnTo>
                      <a:pt x="393" y="978"/>
                    </a:lnTo>
                    <a:lnTo>
                      <a:pt x="393" y="976"/>
                    </a:lnTo>
                    <a:lnTo>
                      <a:pt x="391" y="974"/>
                    </a:lnTo>
                    <a:lnTo>
                      <a:pt x="391" y="973"/>
                    </a:lnTo>
                    <a:lnTo>
                      <a:pt x="391" y="971"/>
                    </a:lnTo>
                    <a:lnTo>
                      <a:pt x="389" y="971"/>
                    </a:lnTo>
                    <a:lnTo>
                      <a:pt x="388" y="971"/>
                    </a:lnTo>
                    <a:lnTo>
                      <a:pt x="386" y="971"/>
                    </a:lnTo>
                    <a:lnTo>
                      <a:pt x="385" y="971"/>
                    </a:lnTo>
                    <a:lnTo>
                      <a:pt x="385" y="970"/>
                    </a:lnTo>
                    <a:lnTo>
                      <a:pt x="383" y="970"/>
                    </a:lnTo>
                    <a:lnTo>
                      <a:pt x="381" y="970"/>
                    </a:lnTo>
                    <a:lnTo>
                      <a:pt x="380" y="970"/>
                    </a:lnTo>
                    <a:lnTo>
                      <a:pt x="378" y="970"/>
                    </a:lnTo>
                    <a:lnTo>
                      <a:pt x="377" y="970"/>
                    </a:lnTo>
                    <a:lnTo>
                      <a:pt x="375" y="970"/>
                    </a:lnTo>
                    <a:lnTo>
                      <a:pt x="374" y="970"/>
                    </a:lnTo>
                    <a:lnTo>
                      <a:pt x="374" y="968"/>
                    </a:lnTo>
                    <a:lnTo>
                      <a:pt x="372" y="968"/>
                    </a:lnTo>
                    <a:lnTo>
                      <a:pt x="372" y="966"/>
                    </a:lnTo>
                    <a:lnTo>
                      <a:pt x="372" y="965"/>
                    </a:lnTo>
                    <a:lnTo>
                      <a:pt x="370" y="965"/>
                    </a:lnTo>
                    <a:lnTo>
                      <a:pt x="370" y="963"/>
                    </a:lnTo>
                    <a:lnTo>
                      <a:pt x="369" y="963"/>
                    </a:lnTo>
                    <a:lnTo>
                      <a:pt x="367" y="963"/>
                    </a:lnTo>
                    <a:lnTo>
                      <a:pt x="366" y="965"/>
                    </a:lnTo>
                    <a:lnTo>
                      <a:pt x="364" y="965"/>
                    </a:lnTo>
                    <a:lnTo>
                      <a:pt x="362" y="965"/>
                    </a:lnTo>
                    <a:lnTo>
                      <a:pt x="361" y="965"/>
                    </a:lnTo>
                    <a:lnTo>
                      <a:pt x="361" y="963"/>
                    </a:lnTo>
                    <a:lnTo>
                      <a:pt x="359" y="963"/>
                    </a:lnTo>
                    <a:lnTo>
                      <a:pt x="358" y="963"/>
                    </a:lnTo>
                    <a:lnTo>
                      <a:pt x="356" y="962"/>
                    </a:lnTo>
                    <a:lnTo>
                      <a:pt x="356" y="960"/>
                    </a:lnTo>
                    <a:lnTo>
                      <a:pt x="356" y="958"/>
                    </a:lnTo>
                    <a:lnTo>
                      <a:pt x="355" y="958"/>
                    </a:lnTo>
                    <a:lnTo>
                      <a:pt x="353" y="958"/>
                    </a:lnTo>
                    <a:lnTo>
                      <a:pt x="351" y="958"/>
                    </a:lnTo>
                    <a:lnTo>
                      <a:pt x="350" y="958"/>
                    </a:lnTo>
                    <a:lnTo>
                      <a:pt x="350" y="957"/>
                    </a:lnTo>
                    <a:lnTo>
                      <a:pt x="348" y="957"/>
                    </a:lnTo>
                    <a:lnTo>
                      <a:pt x="347" y="957"/>
                    </a:lnTo>
                    <a:lnTo>
                      <a:pt x="345" y="957"/>
                    </a:lnTo>
                    <a:lnTo>
                      <a:pt x="343" y="957"/>
                    </a:lnTo>
                    <a:lnTo>
                      <a:pt x="342" y="957"/>
                    </a:lnTo>
                    <a:lnTo>
                      <a:pt x="340" y="957"/>
                    </a:lnTo>
                    <a:lnTo>
                      <a:pt x="340" y="955"/>
                    </a:lnTo>
                    <a:lnTo>
                      <a:pt x="339" y="955"/>
                    </a:lnTo>
                    <a:lnTo>
                      <a:pt x="337" y="955"/>
                    </a:lnTo>
                    <a:lnTo>
                      <a:pt x="336" y="955"/>
                    </a:lnTo>
                    <a:lnTo>
                      <a:pt x="334" y="955"/>
                    </a:lnTo>
                    <a:lnTo>
                      <a:pt x="334" y="957"/>
                    </a:lnTo>
                    <a:lnTo>
                      <a:pt x="332" y="957"/>
                    </a:lnTo>
                    <a:lnTo>
                      <a:pt x="332" y="958"/>
                    </a:lnTo>
                    <a:lnTo>
                      <a:pt x="331" y="957"/>
                    </a:lnTo>
                    <a:lnTo>
                      <a:pt x="331" y="955"/>
                    </a:lnTo>
                    <a:lnTo>
                      <a:pt x="329" y="955"/>
                    </a:lnTo>
                    <a:lnTo>
                      <a:pt x="328" y="955"/>
                    </a:lnTo>
                    <a:lnTo>
                      <a:pt x="328" y="954"/>
                    </a:lnTo>
                    <a:lnTo>
                      <a:pt x="326" y="954"/>
                    </a:lnTo>
                    <a:lnTo>
                      <a:pt x="324" y="954"/>
                    </a:lnTo>
                    <a:lnTo>
                      <a:pt x="323" y="954"/>
                    </a:lnTo>
                    <a:lnTo>
                      <a:pt x="321" y="954"/>
                    </a:lnTo>
                    <a:lnTo>
                      <a:pt x="320" y="954"/>
                    </a:lnTo>
                    <a:lnTo>
                      <a:pt x="318" y="954"/>
                    </a:lnTo>
                    <a:lnTo>
                      <a:pt x="317" y="954"/>
                    </a:lnTo>
                    <a:lnTo>
                      <a:pt x="317" y="955"/>
                    </a:lnTo>
                    <a:lnTo>
                      <a:pt x="315" y="955"/>
                    </a:lnTo>
                    <a:lnTo>
                      <a:pt x="313" y="955"/>
                    </a:lnTo>
                    <a:lnTo>
                      <a:pt x="312" y="955"/>
                    </a:lnTo>
                    <a:lnTo>
                      <a:pt x="310" y="955"/>
                    </a:lnTo>
                    <a:lnTo>
                      <a:pt x="310" y="957"/>
                    </a:lnTo>
                    <a:lnTo>
                      <a:pt x="309" y="957"/>
                    </a:lnTo>
                    <a:lnTo>
                      <a:pt x="307" y="957"/>
                    </a:lnTo>
                    <a:lnTo>
                      <a:pt x="307" y="955"/>
                    </a:lnTo>
                    <a:lnTo>
                      <a:pt x="305" y="955"/>
                    </a:lnTo>
                    <a:lnTo>
                      <a:pt x="304" y="955"/>
                    </a:lnTo>
                    <a:lnTo>
                      <a:pt x="302" y="954"/>
                    </a:lnTo>
                    <a:lnTo>
                      <a:pt x="301" y="954"/>
                    </a:lnTo>
                    <a:lnTo>
                      <a:pt x="299" y="954"/>
                    </a:lnTo>
                    <a:lnTo>
                      <a:pt x="298" y="952"/>
                    </a:lnTo>
                    <a:lnTo>
                      <a:pt x="296" y="952"/>
                    </a:lnTo>
                    <a:lnTo>
                      <a:pt x="294" y="952"/>
                    </a:lnTo>
                    <a:lnTo>
                      <a:pt x="293" y="952"/>
                    </a:lnTo>
                    <a:lnTo>
                      <a:pt x="293" y="951"/>
                    </a:lnTo>
                    <a:lnTo>
                      <a:pt x="291" y="952"/>
                    </a:lnTo>
                    <a:lnTo>
                      <a:pt x="290" y="952"/>
                    </a:lnTo>
                    <a:lnTo>
                      <a:pt x="288" y="952"/>
                    </a:lnTo>
                    <a:lnTo>
                      <a:pt x="288" y="951"/>
                    </a:lnTo>
                    <a:lnTo>
                      <a:pt x="286" y="951"/>
                    </a:lnTo>
                    <a:lnTo>
                      <a:pt x="285" y="951"/>
                    </a:lnTo>
                    <a:lnTo>
                      <a:pt x="285" y="949"/>
                    </a:lnTo>
                    <a:lnTo>
                      <a:pt x="283" y="949"/>
                    </a:lnTo>
                    <a:lnTo>
                      <a:pt x="283" y="947"/>
                    </a:lnTo>
                    <a:lnTo>
                      <a:pt x="282" y="947"/>
                    </a:lnTo>
                    <a:lnTo>
                      <a:pt x="280" y="946"/>
                    </a:lnTo>
                    <a:lnTo>
                      <a:pt x="278" y="946"/>
                    </a:lnTo>
                    <a:lnTo>
                      <a:pt x="277" y="946"/>
                    </a:lnTo>
                    <a:lnTo>
                      <a:pt x="275" y="946"/>
                    </a:lnTo>
                    <a:lnTo>
                      <a:pt x="274" y="946"/>
                    </a:lnTo>
                    <a:lnTo>
                      <a:pt x="272" y="946"/>
                    </a:lnTo>
                    <a:lnTo>
                      <a:pt x="271" y="946"/>
                    </a:lnTo>
                    <a:lnTo>
                      <a:pt x="271" y="944"/>
                    </a:lnTo>
                    <a:lnTo>
                      <a:pt x="269" y="944"/>
                    </a:lnTo>
                    <a:lnTo>
                      <a:pt x="267" y="943"/>
                    </a:lnTo>
                    <a:lnTo>
                      <a:pt x="266" y="943"/>
                    </a:lnTo>
                    <a:lnTo>
                      <a:pt x="264" y="943"/>
                    </a:lnTo>
                    <a:lnTo>
                      <a:pt x="263" y="943"/>
                    </a:lnTo>
                    <a:lnTo>
                      <a:pt x="263" y="944"/>
                    </a:lnTo>
                    <a:lnTo>
                      <a:pt x="261" y="944"/>
                    </a:lnTo>
                    <a:lnTo>
                      <a:pt x="261" y="943"/>
                    </a:lnTo>
                    <a:lnTo>
                      <a:pt x="259" y="943"/>
                    </a:lnTo>
                    <a:lnTo>
                      <a:pt x="258" y="941"/>
                    </a:lnTo>
                    <a:lnTo>
                      <a:pt x="258" y="939"/>
                    </a:lnTo>
                    <a:lnTo>
                      <a:pt x="256" y="939"/>
                    </a:lnTo>
                    <a:lnTo>
                      <a:pt x="256" y="938"/>
                    </a:lnTo>
                    <a:lnTo>
                      <a:pt x="255" y="938"/>
                    </a:lnTo>
                    <a:lnTo>
                      <a:pt x="253" y="938"/>
                    </a:lnTo>
                    <a:lnTo>
                      <a:pt x="252" y="938"/>
                    </a:lnTo>
                    <a:lnTo>
                      <a:pt x="250" y="936"/>
                    </a:lnTo>
                    <a:lnTo>
                      <a:pt x="250" y="938"/>
                    </a:lnTo>
                    <a:lnTo>
                      <a:pt x="248" y="938"/>
                    </a:lnTo>
                    <a:lnTo>
                      <a:pt x="247" y="938"/>
                    </a:lnTo>
                    <a:lnTo>
                      <a:pt x="247" y="936"/>
                    </a:lnTo>
                    <a:lnTo>
                      <a:pt x="245" y="936"/>
                    </a:lnTo>
                    <a:lnTo>
                      <a:pt x="244" y="936"/>
                    </a:lnTo>
                    <a:lnTo>
                      <a:pt x="242" y="938"/>
                    </a:lnTo>
                    <a:lnTo>
                      <a:pt x="240" y="938"/>
                    </a:lnTo>
                    <a:lnTo>
                      <a:pt x="239" y="939"/>
                    </a:lnTo>
                    <a:lnTo>
                      <a:pt x="237" y="939"/>
                    </a:lnTo>
                    <a:lnTo>
                      <a:pt x="236" y="938"/>
                    </a:lnTo>
                    <a:lnTo>
                      <a:pt x="236" y="939"/>
                    </a:lnTo>
                    <a:lnTo>
                      <a:pt x="234" y="939"/>
                    </a:lnTo>
                    <a:lnTo>
                      <a:pt x="236" y="938"/>
                    </a:lnTo>
                    <a:lnTo>
                      <a:pt x="236" y="936"/>
                    </a:lnTo>
                    <a:lnTo>
                      <a:pt x="234" y="936"/>
                    </a:lnTo>
                    <a:lnTo>
                      <a:pt x="234" y="938"/>
                    </a:lnTo>
                    <a:lnTo>
                      <a:pt x="234" y="939"/>
                    </a:lnTo>
                    <a:lnTo>
                      <a:pt x="233" y="939"/>
                    </a:lnTo>
                    <a:lnTo>
                      <a:pt x="233" y="938"/>
                    </a:lnTo>
                    <a:lnTo>
                      <a:pt x="231" y="939"/>
                    </a:lnTo>
                    <a:lnTo>
                      <a:pt x="229" y="938"/>
                    </a:lnTo>
                    <a:lnTo>
                      <a:pt x="228" y="938"/>
                    </a:lnTo>
                    <a:lnTo>
                      <a:pt x="228" y="936"/>
                    </a:lnTo>
                    <a:lnTo>
                      <a:pt x="226" y="938"/>
                    </a:lnTo>
                    <a:lnTo>
                      <a:pt x="225" y="938"/>
                    </a:lnTo>
                    <a:lnTo>
                      <a:pt x="223" y="938"/>
                    </a:lnTo>
                    <a:lnTo>
                      <a:pt x="221" y="938"/>
                    </a:lnTo>
                    <a:lnTo>
                      <a:pt x="220" y="938"/>
                    </a:lnTo>
                    <a:lnTo>
                      <a:pt x="218" y="936"/>
                    </a:lnTo>
                    <a:lnTo>
                      <a:pt x="218" y="938"/>
                    </a:lnTo>
                    <a:lnTo>
                      <a:pt x="217" y="938"/>
                    </a:lnTo>
                    <a:lnTo>
                      <a:pt x="215" y="938"/>
                    </a:lnTo>
                    <a:lnTo>
                      <a:pt x="214" y="936"/>
                    </a:lnTo>
                    <a:lnTo>
                      <a:pt x="212" y="938"/>
                    </a:lnTo>
                    <a:lnTo>
                      <a:pt x="210" y="936"/>
                    </a:lnTo>
                    <a:lnTo>
                      <a:pt x="210" y="935"/>
                    </a:lnTo>
                    <a:lnTo>
                      <a:pt x="209" y="935"/>
                    </a:lnTo>
                    <a:lnTo>
                      <a:pt x="207" y="935"/>
                    </a:lnTo>
                    <a:lnTo>
                      <a:pt x="206" y="935"/>
                    </a:lnTo>
                    <a:lnTo>
                      <a:pt x="204" y="935"/>
                    </a:lnTo>
                    <a:lnTo>
                      <a:pt x="204" y="933"/>
                    </a:lnTo>
                    <a:lnTo>
                      <a:pt x="202" y="933"/>
                    </a:lnTo>
                    <a:lnTo>
                      <a:pt x="201" y="932"/>
                    </a:lnTo>
                    <a:lnTo>
                      <a:pt x="199" y="930"/>
                    </a:lnTo>
                    <a:lnTo>
                      <a:pt x="198" y="928"/>
                    </a:lnTo>
                    <a:lnTo>
                      <a:pt x="198" y="927"/>
                    </a:lnTo>
                    <a:lnTo>
                      <a:pt x="196" y="927"/>
                    </a:lnTo>
                    <a:lnTo>
                      <a:pt x="196" y="925"/>
                    </a:lnTo>
                    <a:lnTo>
                      <a:pt x="195" y="925"/>
                    </a:lnTo>
                    <a:lnTo>
                      <a:pt x="193" y="925"/>
                    </a:lnTo>
                    <a:lnTo>
                      <a:pt x="191" y="925"/>
                    </a:lnTo>
                    <a:lnTo>
                      <a:pt x="190" y="925"/>
                    </a:lnTo>
                    <a:lnTo>
                      <a:pt x="190" y="924"/>
                    </a:lnTo>
                    <a:lnTo>
                      <a:pt x="188" y="925"/>
                    </a:lnTo>
                    <a:lnTo>
                      <a:pt x="187" y="925"/>
                    </a:lnTo>
                    <a:lnTo>
                      <a:pt x="185" y="925"/>
                    </a:lnTo>
                    <a:lnTo>
                      <a:pt x="185" y="924"/>
                    </a:lnTo>
                    <a:lnTo>
                      <a:pt x="183" y="922"/>
                    </a:lnTo>
                    <a:lnTo>
                      <a:pt x="182" y="922"/>
                    </a:lnTo>
                    <a:lnTo>
                      <a:pt x="180" y="922"/>
                    </a:lnTo>
                    <a:lnTo>
                      <a:pt x="179" y="922"/>
                    </a:lnTo>
                    <a:lnTo>
                      <a:pt x="177" y="920"/>
                    </a:lnTo>
                    <a:lnTo>
                      <a:pt x="176" y="919"/>
                    </a:lnTo>
                    <a:lnTo>
                      <a:pt x="174" y="917"/>
                    </a:lnTo>
                    <a:lnTo>
                      <a:pt x="172" y="917"/>
                    </a:lnTo>
                    <a:lnTo>
                      <a:pt x="171" y="916"/>
                    </a:lnTo>
                    <a:lnTo>
                      <a:pt x="169" y="916"/>
                    </a:lnTo>
                    <a:lnTo>
                      <a:pt x="169" y="917"/>
                    </a:lnTo>
                    <a:lnTo>
                      <a:pt x="168" y="916"/>
                    </a:lnTo>
                    <a:lnTo>
                      <a:pt x="168" y="917"/>
                    </a:lnTo>
                    <a:lnTo>
                      <a:pt x="166" y="917"/>
                    </a:lnTo>
                    <a:lnTo>
                      <a:pt x="164" y="917"/>
                    </a:lnTo>
                    <a:lnTo>
                      <a:pt x="163" y="919"/>
                    </a:lnTo>
                    <a:lnTo>
                      <a:pt x="161" y="919"/>
                    </a:lnTo>
                    <a:lnTo>
                      <a:pt x="160" y="919"/>
                    </a:lnTo>
                    <a:lnTo>
                      <a:pt x="158" y="919"/>
                    </a:lnTo>
                    <a:lnTo>
                      <a:pt x="158" y="917"/>
                    </a:lnTo>
                    <a:lnTo>
                      <a:pt x="158" y="916"/>
                    </a:lnTo>
                    <a:lnTo>
                      <a:pt x="157" y="916"/>
                    </a:lnTo>
                    <a:lnTo>
                      <a:pt x="153" y="914"/>
                    </a:lnTo>
                    <a:lnTo>
                      <a:pt x="152" y="913"/>
                    </a:lnTo>
                    <a:lnTo>
                      <a:pt x="152" y="911"/>
                    </a:lnTo>
                    <a:lnTo>
                      <a:pt x="153" y="911"/>
                    </a:lnTo>
                    <a:lnTo>
                      <a:pt x="155" y="908"/>
                    </a:lnTo>
                    <a:lnTo>
                      <a:pt x="153" y="906"/>
                    </a:lnTo>
                    <a:lnTo>
                      <a:pt x="152" y="906"/>
                    </a:lnTo>
                    <a:lnTo>
                      <a:pt x="150" y="905"/>
                    </a:lnTo>
                    <a:lnTo>
                      <a:pt x="149" y="903"/>
                    </a:lnTo>
                    <a:lnTo>
                      <a:pt x="147" y="901"/>
                    </a:lnTo>
                    <a:lnTo>
                      <a:pt x="145" y="900"/>
                    </a:lnTo>
                    <a:lnTo>
                      <a:pt x="144" y="898"/>
                    </a:lnTo>
                    <a:lnTo>
                      <a:pt x="142" y="898"/>
                    </a:lnTo>
                    <a:lnTo>
                      <a:pt x="139" y="897"/>
                    </a:lnTo>
                    <a:lnTo>
                      <a:pt x="138" y="898"/>
                    </a:lnTo>
                    <a:lnTo>
                      <a:pt x="136" y="898"/>
                    </a:lnTo>
                    <a:lnTo>
                      <a:pt x="136" y="900"/>
                    </a:lnTo>
                    <a:lnTo>
                      <a:pt x="134" y="898"/>
                    </a:lnTo>
                    <a:lnTo>
                      <a:pt x="134" y="897"/>
                    </a:lnTo>
                    <a:lnTo>
                      <a:pt x="133" y="895"/>
                    </a:lnTo>
                    <a:lnTo>
                      <a:pt x="131" y="895"/>
                    </a:lnTo>
                    <a:lnTo>
                      <a:pt x="130" y="895"/>
                    </a:lnTo>
                    <a:lnTo>
                      <a:pt x="130" y="894"/>
                    </a:lnTo>
                    <a:lnTo>
                      <a:pt x="128" y="894"/>
                    </a:lnTo>
                    <a:lnTo>
                      <a:pt x="125" y="892"/>
                    </a:lnTo>
                    <a:lnTo>
                      <a:pt x="125" y="894"/>
                    </a:lnTo>
                    <a:lnTo>
                      <a:pt x="123" y="894"/>
                    </a:lnTo>
                    <a:lnTo>
                      <a:pt x="122" y="894"/>
                    </a:lnTo>
                    <a:lnTo>
                      <a:pt x="120" y="892"/>
                    </a:lnTo>
                    <a:lnTo>
                      <a:pt x="119" y="892"/>
                    </a:lnTo>
                    <a:lnTo>
                      <a:pt x="117" y="892"/>
                    </a:lnTo>
                    <a:lnTo>
                      <a:pt x="115" y="892"/>
                    </a:lnTo>
                    <a:lnTo>
                      <a:pt x="114" y="892"/>
                    </a:lnTo>
                    <a:lnTo>
                      <a:pt x="112" y="892"/>
                    </a:lnTo>
                    <a:lnTo>
                      <a:pt x="111" y="894"/>
                    </a:lnTo>
                    <a:lnTo>
                      <a:pt x="107" y="894"/>
                    </a:lnTo>
                    <a:lnTo>
                      <a:pt x="106" y="894"/>
                    </a:lnTo>
                    <a:lnTo>
                      <a:pt x="104" y="895"/>
                    </a:lnTo>
                    <a:lnTo>
                      <a:pt x="103" y="895"/>
                    </a:lnTo>
                    <a:lnTo>
                      <a:pt x="101" y="895"/>
                    </a:lnTo>
                    <a:lnTo>
                      <a:pt x="100" y="895"/>
                    </a:lnTo>
                    <a:lnTo>
                      <a:pt x="98" y="894"/>
                    </a:lnTo>
                    <a:lnTo>
                      <a:pt x="96" y="894"/>
                    </a:lnTo>
                    <a:lnTo>
                      <a:pt x="93" y="894"/>
                    </a:lnTo>
                    <a:lnTo>
                      <a:pt x="90" y="894"/>
                    </a:lnTo>
                    <a:lnTo>
                      <a:pt x="88" y="895"/>
                    </a:lnTo>
                    <a:lnTo>
                      <a:pt x="87" y="895"/>
                    </a:lnTo>
                    <a:lnTo>
                      <a:pt x="87" y="894"/>
                    </a:lnTo>
                    <a:lnTo>
                      <a:pt x="85" y="894"/>
                    </a:lnTo>
                    <a:lnTo>
                      <a:pt x="82" y="894"/>
                    </a:lnTo>
                    <a:lnTo>
                      <a:pt x="82" y="895"/>
                    </a:lnTo>
                    <a:lnTo>
                      <a:pt x="80" y="895"/>
                    </a:lnTo>
                    <a:lnTo>
                      <a:pt x="80" y="897"/>
                    </a:lnTo>
                    <a:lnTo>
                      <a:pt x="79" y="897"/>
                    </a:lnTo>
                    <a:lnTo>
                      <a:pt x="79" y="898"/>
                    </a:lnTo>
                    <a:lnTo>
                      <a:pt x="77" y="898"/>
                    </a:lnTo>
                    <a:lnTo>
                      <a:pt x="77" y="900"/>
                    </a:lnTo>
                    <a:lnTo>
                      <a:pt x="77" y="901"/>
                    </a:lnTo>
                    <a:lnTo>
                      <a:pt x="76" y="901"/>
                    </a:lnTo>
                    <a:lnTo>
                      <a:pt x="76" y="903"/>
                    </a:lnTo>
                    <a:lnTo>
                      <a:pt x="74" y="903"/>
                    </a:lnTo>
                    <a:lnTo>
                      <a:pt x="73" y="905"/>
                    </a:lnTo>
                    <a:lnTo>
                      <a:pt x="73" y="906"/>
                    </a:lnTo>
                    <a:lnTo>
                      <a:pt x="71" y="906"/>
                    </a:lnTo>
                    <a:lnTo>
                      <a:pt x="71" y="908"/>
                    </a:lnTo>
                    <a:lnTo>
                      <a:pt x="69" y="908"/>
                    </a:lnTo>
                    <a:lnTo>
                      <a:pt x="68" y="909"/>
                    </a:lnTo>
                    <a:lnTo>
                      <a:pt x="66" y="909"/>
                    </a:lnTo>
                    <a:lnTo>
                      <a:pt x="66" y="911"/>
                    </a:lnTo>
                    <a:lnTo>
                      <a:pt x="65" y="913"/>
                    </a:lnTo>
                    <a:lnTo>
                      <a:pt x="63" y="913"/>
                    </a:lnTo>
                    <a:lnTo>
                      <a:pt x="63" y="914"/>
                    </a:lnTo>
                    <a:lnTo>
                      <a:pt x="61" y="913"/>
                    </a:lnTo>
                    <a:lnTo>
                      <a:pt x="60" y="913"/>
                    </a:lnTo>
                    <a:lnTo>
                      <a:pt x="58" y="913"/>
                    </a:lnTo>
                    <a:lnTo>
                      <a:pt x="57" y="911"/>
                    </a:lnTo>
                    <a:lnTo>
                      <a:pt x="55" y="913"/>
                    </a:lnTo>
                    <a:lnTo>
                      <a:pt x="54" y="913"/>
                    </a:lnTo>
                    <a:lnTo>
                      <a:pt x="54" y="911"/>
                    </a:lnTo>
                    <a:lnTo>
                      <a:pt x="52" y="911"/>
                    </a:lnTo>
                    <a:lnTo>
                      <a:pt x="50" y="911"/>
                    </a:lnTo>
                    <a:lnTo>
                      <a:pt x="49" y="911"/>
                    </a:lnTo>
                    <a:lnTo>
                      <a:pt x="47" y="911"/>
                    </a:lnTo>
                    <a:lnTo>
                      <a:pt x="47" y="909"/>
                    </a:lnTo>
                    <a:lnTo>
                      <a:pt x="46" y="909"/>
                    </a:lnTo>
                    <a:lnTo>
                      <a:pt x="44" y="909"/>
                    </a:lnTo>
                    <a:lnTo>
                      <a:pt x="42" y="909"/>
                    </a:lnTo>
                    <a:lnTo>
                      <a:pt x="41" y="909"/>
                    </a:lnTo>
                    <a:lnTo>
                      <a:pt x="39" y="909"/>
                    </a:lnTo>
                    <a:lnTo>
                      <a:pt x="39" y="908"/>
                    </a:lnTo>
                    <a:lnTo>
                      <a:pt x="38" y="908"/>
                    </a:lnTo>
                    <a:lnTo>
                      <a:pt x="36" y="908"/>
                    </a:lnTo>
                    <a:lnTo>
                      <a:pt x="36" y="906"/>
                    </a:lnTo>
                    <a:lnTo>
                      <a:pt x="35" y="906"/>
                    </a:lnTo>
                    <a:lnTo>
                      <a:pt x="35" y="905"/>
                    </a:lnTo>
                    <a:lnTo>
                      <a:pt x="33" y="903"/>
                    </a:lnTo>
                    <a:lnTo>
                      <a:pt x="31" y="903"/>
                    </a:lnTo>
                    <a:lnTo>
                      <a:pt x="31" y="901"/>
                    </a:lnTo>
                    <a:lnTo>
                      <a:pt x="30" y="901"/>
                    </a:lnTo>
                    <a:lnTo>
                      <a:pt x="28" y="901"/>
                    </a:lnTo>
                    <a:lnTo>
                      <a:pt x="28" y="900"/>
                    </a:lnTo>
                    <a:lnTo>
                      <a:pt x="27" y="900"/>
                    </a:lnTo>
                    <a:lnTo>
                      <a:pt x="25" y="900"/>
                    </a:lnTo>
                    <a:lnTo>
                      <a:pt x="25" y="898"/>
                    </a:lnTo>
                    <a:lnTo>
                      <a:pt x="23" y="898"/>
                    </a:lnTo>
                    <a:lnTo>
                      <a:pt x="22" y="897"/>
                    </a:lnTo>
                    <a:lnTo>
                      <a:pt x="20" y="897"/>
                    </a:lnTo>
                    <a:lnTo>
                      <a:pt x="20" y="895"/>
                    </a:lnTo>
                    <a:lnTo>
                      <a:pt x="19" y="895"/>
                    </a:lnTo>
                    <a:lnTo>
                      <a:pt x="17" y="895"/>
                    </a:lnTo>
                    <a:lnTo>
                      <a:pt x="17" y="894"/>
                    </a:lnTo>
                    <a:lnTo>
                      <a:pt x="16" y="894"/>
                    </a:lnTo>
                    <a:lnTo>
                      <a:pt x="14" y="892"/>
                    </a:lnTo>
                    <a:lnTo>
                      <a:pt x="12" y="892"/>
                    </a:lnTo>
                    <a:lnTo>
                      <a:pt x="12" y="890"/>
                    </a:lnTo>
                    <a:lnTo>
                      <a:pt x="11" y="890"/>
                    </a:lnTo>
                    <a:lnTo>
                      <a:pt x="9" y="889"/>
                    </a:lnTo>
                    <a:lnTo>
                      <a:pt x="9" y="887"/>
                    </a:lnTo>
                    <a:lnTo>
                      <a:pt x="9" y="886"/>
                    </a:lnTo>
                    <a:lnTo>
                      <a:pt x="11" y="884"/>
                    </a:lnTo>
                    <a:lnTo>
                      <a:pt x="11" y="882"/>
                    </a:lnTo>
                    <a:lnTo>
                      <a:pt x="11" y="881"/>
                    </a:lnTo>
                    <a:lnTo>
                      <a:pt x="11" y="879"/>
                    </a:lnTo>
                    <a:lnTo>
                      <a:pt x="11" y="878"/>
                    </a:lnTo>
                    <a:lnTo>
                      <a:pt x="11" y="876"/>
                    </a:lnTo>
                    <a:lnTo>
                      <a:pt x="11" y="875"/>
                    </a:lnTo>
                    <a:lnTo>
                      <a:pt x="11" y="873"/>
                    </a:lnTo>
                    <a:lnTo>
                      <a:pt x="11" y="871"/>
                    </a:lnTo>
                    <a:lnTo>
                      <a:pt x="11" y="870"/>
                    </a:lnTo>
                    <a:lnTo>
                      <a:pt x="11" y="868"/>
                    </a:lnTo>
                    <a:lnTo>
                      <a:pt x="11" y="867"/>
                    </a:lnTo>
                    <a:lnTo>
                      <a:pt x="11" y="865"/>
                    </a:lnTo>
                    <a:lnTo>
                      <a:pt x="11" y="863"/>
                    </a:lnTo>
                    <a:lnTo>
                      <a:pt x="11" y="862"/>
                    </a:lnTo>
                    <a:lnTo>
                      <a:pt x="9" y="862"/>
                    </a:lnTo>
                    <a:lnTo>
                      <a:pt x="9" y="860"/>
                    </a:lnTo>
                    <a:lnTo>
                      <a:pt x="9" y="859"/>
                    </a:lnTo>
                    <a:lnTo>
                      <a:pt x="9" y="857"/>
                    </a:lnTo>
                    <a:lnTo>
                      <a:pt x="9" y="856"/>
                    </a:lnTo>
                    <a:lnTo>
                      <a:pt x="9" y="854"/>
                    </a:lnTo>
                    <a:lnTo>
                      <a:pt x="9" y="852"/>
                    </a:lnTo>
                    <a:lnTo>
                      <a:pt x="9" y="851"/>
                    </a:lnTo>
                    <a:lnTo>
                      <a:pt x="8" y="849"/>
                    </a:lnTo>
                    <a:lnTo>
                      <a:pt x="8" y="848"/>
                    </a:lnTo>
                    <a:lnTo>
                      <a:pt x="8" y="846"/>
                    </a:lnTo>
                    <a:lnTo>
                      <a:pt x="8" y="844"/>
                    </a:lnTo>
                    <a:lnTo>
                      <a:pt x="8" y="843"/>
                    </a:lnTo>
                    <a:lnTo>
                      <a:pt x="6" y="843"/>
                    </a:lnTo>
                    <a:lnTo>
                      <a:pt x="6" y="841"/>
                    </a:lnTo>
                    <a:lnTo>
                      <a:pt x="6" y="840"/>
                    </a:lnTo>
                    <a:lnTo>
                      <a:pt x="6" y="838"/>
                    </a:lnTo>
                    <a:lnTo>
                      <a:pt x="4" y="838"/>
                    </a:lnTo>
                    <a:lnTo>
                      <a:pt x="4" y="837"/>
                    </a:lnTo>
                    <a:lnTo>
                      <a:pt x="4" y="835"/>
                    </a:lnTo>
                    <a:lnTo>
                      <a:pt x="4" y="833"/>
                    </a:lnTo>
                    <a:lnTo>
                      <a:pt x="3" y="833"/>
                    </a:lnTo>
                    <a:lnTo>
                      <a:pt x="3" y="832"/>
                    </a:lnTo>
                    <a:lnTo>
                      <a:pt x="3" y="830"/>
                    </a:lnTo>
                    <a:lnTo>
                      <a:pt x="1" y="829"/>
                    </a:lnTo>
                    <a:lnTo>
                      <a:pt x="1" y="827"/>
                    </a:lnTo>
                    <a:lnTo>
                      <a:pt x="1" y="825"/>
                    </a:lnTo>
                    <a:lnTo>
                      <a:pt x="1" y="824"/>
                    </a:lnTo>
                    <a:lnTo>
                      <a:pt x="1" y="822"/>
                    </a:lnTo>
                    <a:lnTo>
                      <a:pt x="0" y="822"/>
                    </a:lnTo>
                    <a:lnTo>
                      <a:pt x="0" y="821"/>
                    </a:lnTo>
                    <a:lnTo>
                      <a:pt x="1" y="821"/>
                    </a:lnTo>
                    <a:lnTo>
                      <a:pt x="3" y="822"/>
                    </a:lnTo>
                    <a:lnTo>
                      <a:pt x="4" y="822"/>
                    </a:lnTo>
                    <a:lnTo>
                      <a:pt x="6" y="822"/>
                    </a:lnTo>
                    <a:lnTo>
                      <a:pt x="8" y="822"/>
                    </a:lnTo>
                    <a:lnTo>
                      <a:pt x="9" y="822"/>
                    </a:lnTo>
                    <a:lnTo>
                      <a:pt x="11" y="822"/>
                    </a:lnTo>
                    <a:lnTo>
                      <a:pt x="12" y="824"/>
                    </a:lnTo>
                    <a:lnTo>
                      <a:pt x="14" y="824"/>
                    </a:lnTo>
                    <a:lnTo>
                      <a:pt x="16" y="824"/>
                    </a:lnTo>
                    <a:lnTo>
                      <a:pt x="17" y="824"/>
                    </a:lnTo>
                    <a:lnTo>
                      <a:pt x="19" y="824"/>
                    </a:lnTo>
                    <a:lnTo>
                      <a:pt x="19" y="825"/>
                    </a:lnTo>
                    <a:lnTo>
                      <a:pt x="20" y="825"/>
                    </a:lnTo>
                    <a:lnTo>
                      <a:pt x="22" y="825"/>
                    </a:lnTo>
                    <a:lnTo>
                      <a:pt x="23" y="825"/>
                    </a:lnTo>
                    <a:lnTo>
                      <a:pt x="25" y="825"/>
                    </a:lnTo>
                    <a:lnTo>
                      <a:pt x="27" y="825"/>
                    </a:lnTo>
                    <a:lnTo>
                      <a:pt x="28" y="825"/>
                    </a:lnTo>
                    <a:lnTo>
                      <a:pt x="30" y="825"/>
                    </a:lnTo>
                    <a:lnTo>
                      <a:pt x="31" y="825"/>
                    </a:lnTo>
                    <a:lnTo>
                      <a:pt x="33" y="825"/>
                    </a:lnTo>
                    <a:lnTo>
                      <a:pt x="35" y="825"/>
                    </a:lnTo>
                    <a:lnTo>
                      <a:pt x="36" y="825"/>
                    </a:lnTo>
                    <a:lnTo>
                      <a:pt x="38" y="825"/>
                    </a:lnTo>
                    <a:lnTo>
                      <a:pt x="39" y="825"/>
                    </a:lnTo>
                    <a:lnTo>
                      <a:pt x="41" y="825"/>
                    </a:lnTo>
                    <a:lnTo>
                      <a:pt x="42" y="824"/>
                    </a:lnTo>
                    <a:lnTo>
                      <a:pt x="44" y="824"/>
                    </a:lnTo>
                    <a:lnTo>
                      <a:pt x="44" y="822"/>
                    </a:lnTo>
                    <a:lnTo>
                      <a:pt x="46" y="822"/>
                    </a:lnTo>
                    <a:lnTo>
                      <a:pt x="46" y="821"/>
                    </a:lnTo>
                    <a:lnTo>
                      <a:pt x="47" y="821"/>
                    </a:lnTo>
                    <a:lnTo>
                      <a:pt x="47" y="819"/>
                    </a:lnTo>
                    <a:lnTo>
                      <a:pt x="49" y="819"/>
                    </a:lnTo>
                    <a:lnTo>
                      <a:pt x="49" y="818"/>
                    </a:lnTo>
                    <a:lnTo>
                      <a:pt x="50" y="816"/>
                    </a:lnTo>
                    <a:lnTo>
                      <a:pt x="50" y="814"/>
                    </a:lnTo>
                    <a:lnTo>
                      <a:pt x="52" y="813"/>
                    </a:lnTo>
                    <a:lnTo>
                      <a:pt x="52" y="811"/>
                    </a:lnTo>
                    <a:lnTo>
                      <a:pt x="52" y="810"/>
                    </a:lnTo>
                    <a:lnTo>
                      <a:pt x="54" y="810"/>
                    </a:lnTo>
                    <a:lnTo>
                      <a:pt x="54" y="808"/>
                    </a:lnTo>
                    <a:lnTo>
                      <a:pt x="54" y="806"/>
                    </a:lnTo>
                    <a:lnTo>
                      <a:pt x="52" y="806"/>
                    </a:lnTo>
                    <a:lnTo>
                      <a:pt x="52" y="805"/>
                    </a:lnTo>
                    <a:lnTo>
                      <a:pt x="52" y="803"/>
                    </a:lnTo>
                    <a:lnTo>
                      <a:pt x="52" y="802"/>
                    </a:lnTo>
                    <a:lnTo>
                      <a:pt x="52" y="800"/>
                    </a:lnTo>
                    <a:lnTo>
                      <a:pt x="52" y="799"/>
                    </a:lnTo>
                    <a:lnTo>
                      <a:pt x="52" y="797"/>
                    </a:lnTo>
                    <a:lnTo>
                      <a:pt x="50" y="795"/>
                    </a:lnTo>
                    <a:lnTo>
                      <a:pt x="50" y="794"/>
                    </a:lnTo>
                    <a:lnTo>
                      <a:pt x="50" y="792"/>
                    </a:lnTo>
                    <a:lnTo>
                      <a:pt x="50" y="791"/>
                    </a:lnTo>
                    <a:lnTo>
                      <a:pt x="50" y="789"/>
                    </a:lnTo>
                    <a:lnTo>
                      <a:pt x="50" y="787"/>
                    </a:lnTo>
                    <a:lnTo>
                      <a:pt x="50" y="786"/>
                    </a:lnTo>
                    <a:lnTo>
                      <a:pt x="50" y="784"/>
                    </a:lnTo>
                    <a:lnTo>
                      <a:pt x="50" y="783"/>
                    </a:lnTo>
                    <a:lnTo>
                      <a:pt x="50" y="781"/>
                    </a:lnTo>
                    <a:lnTo>
                      <a:pt x="50" y="780"/>
                    </a:lnTo>
                    <a:lnTo>
                      <a:pt x="50" y="778"/>
                    </a:lnTo>
                    <a:lnTo>
                      <a:pt x="50" y="776"/>
                    </a:lnTo>
                    <a:lnTo>
                      <a:pt x="50" y="775"/>
                    </a:lnTo>
                    <a:lnTo>
                      <a:pt x="50" y="773"/>
                    </a:lnTo>
                    <a:lnTo>
                      <a:pt x="50" y="772"/>
                    </a:lnTo>
                    <a:lnTo>
                      <a:pt x="50" y="770"/>
                    </a:lnTo>
                    <a:lnTo>
                      <a:pt x="50" y="768"/>
                    </a:lnTo>
                    <a:lnTo>
                      <a:pt x="50" y="767"/>
                    </a:lnTo>
                    <a:lnTo>
                      <a:pt x="50" y="765"/>
                    </a:lnTo>
                    <a:lnTo>
                      <a:pt x="50" y="764"/>
                    </a:lnTo>
                    <a:lnTo>
                      <a:pt x="50" y="762"/>
                    </a:lnTo>
                    <a:lnTo>
                      <a:pt x="50" y="760"/>
                    </a:lnTo>
                    <a:lnTo>
                      <a:pt x="50" y="759"/>
                    </a:lnTo>
                    <a:lnTo>
                      <a:pt x="50" y="757"/>
                    </a:lnTo>
                    <a:lnTo>
                      <a:pt x="50" y="756"/>
                    </a:lnTo>
                    <a:lnTo>
                      <a:pt x="50" y="754"/>
                    </a:lnTo>
                    <a:lnTo>
                      <a:pt x="50" y="753"/>
                    </a:lnTo>
                    <a:lnTo>
                      <a:pt x="49" y="753"/>
                    </a:lnTo>
                    <a:lnTo>
                      <a:pt x="49" y="751"/>
                    </a:lnTo>
                    <a:lnTo>
                      <a:pt x="49" y="749"/>
                    </a:lnTo>
                    <a:lnTo>
                      <a:pt x="49" y="748"/>
                    </a:lnTo>
                    <a:lnTo>
                      <a:pt x="49" y="746"/>
                    </a:lnTo>
                    <a:lnTo>
                      <a:pt x="49" y="745"/>
                    </a:lnTo>
                    <a:lnTo>
                      <a:pt x="49" y="743"/>
                    </a:lnTo>
                    <a:lnTo>
                      <a:pt x="49" y="741"/>
                    </a:lnTo>
                    <a:lnTo>
                      <a:pt x="49" y="740"/>
                    </a:lnTo>
                    <a:lnTo>
                      <a:pt x="49" y="738"/>
                    </a:lnTo>
                    <a:lnTo>
                      <a:pt x="49" y="737"/>
                    </a:lnTo>
                    <a:lnTo>
                      <a:pt x="49" y="735"/>
                    </a:lnTo>
                    <a:lnTo>
                      <a:pt x="49" y="734"/>
                    </a:lnTo>
                    <a:lnTo>
                      <a:pt x="49" y="732"/>
                    </a:lnTo>
                    <a:lnTo>
                      <a:pt x="47" y="732"/>
                    </a:lnTo>
                    <a:lnTo>
                      <a:pt x="47" y="730"/>
                    </a:lnTo>
                    <a:lnTo>
                      <a:pt x="49" y="730"/>
                    </a:lnTo>
                    <a:lnTo>
                      <a:pt x="49" y="729"/>
                    </a:lnTo>
                    <a:lnTo>
                      <a:pt x="49" y="727"/>
                    </a:lnTo>
                    <a:lnTo>
                      <a:pt x="47" y="727"/>
                    </a:lnTo>
                    <a:lnTo>
                      <a:pt x="47" y="726"/>
                    </a:lnTo>
                    <a:lnTo>
                      <a:pt x="47" y="724"/>
                    </a:lnTo>
                    <a:lnTo>
                      <a:pt x="47" y="722"/>
                    </a:lnTo>
                    <a:lnTo>
                      <a:pt x="47" y="721"/>
                    </a:lnTo>
                    <a:lnTo>
                      <a:pt x="49" y="721"/>
                    </a:lnTo>
                    <a:lnTo>
                      <a:pt x="49" y="719"/>
                    </a:lnTo>
                    <a:lnTo>
                      <a:pt x="49" y="718"/>
                    </a:lnTo>
                    <a:lnTo>
                      <a:pt x="49" y="716"/>
                    </a:lnTo>
                    <a:lnTo>
                      <a:pt x="50" y="716"/>
                    </a:lnTo>
                    <a:lnTo>
                      <a:pt x="50" y="715"/>
                    </a:lnTo>
                    <a:lnTo>
                      <a:pt x="52" y="713"/>
                    </a:lnTo>
                    <a:lnTo>
                      <a:pt x="54" y="711"/>
                    </a:lnTo>
                    <a:lnTo>
                      <a:pt x="55" y="711"/>
                    </a:lnTo>
                    <a:lnTo>
                      <a:pt x="57" y="710"/>
                    </a:lnTo>
                    <a:lnTo>
                      <a:pt x="58" y="710"/>
                    </a:lnTo>
                    <a:lnTo>
                      <a:pt x="60" y="708"/>
                    </a:lnTo>
                    <a:lnTo>
                      <a:pt x="61" y="708"/>
                    </a:lnTo>
                    <a:lnTo>
                      <a:pt x="60" y="707"/>
                    </a:lnTo>
                    <a:lnTo>
                      <a:pt x="60" y="705"/>
                    </a:lnTo>
                    <a:lnTo>
                      <a:pt x="58" y="705"/>
                    </a:lnTo>
                    <a:lnTo>
                      <a:pt x="58" y="703"/>
                    </a:lnTo>
                    <a:lnTo>
                      <a:pt x="57" y="702"/>
                    </a:lnTo>
                    <a:lnTo>
                      <a:pt x="57" y="700"/>
                    </a:lnTo>
                    <a:lnTo>
                      <a:pt x="57" y="699"/>
                    </a:lnTo>
                    <a:lnTo>
                      <a:pt x="57" y="697"/>
                    </a:lnTo>
                    <a:lnTo>
                      <a:pt x="57" y="696"/>
                    </a:lnTo>
                    <a:lnTo>
                      <a:pt x="57" y="694"/>
                    </a:lnTo>
                    <a:lnTo>
                      <a:pt x="57" y="692"/>
                    </a:lnTo>
                    <a:lnTo>
                      <a:pt x="57" y="691"/>
                    </a:lnTo>
                    <a:lnTo>
                      <a:pt x="57" y="689"/>
                    </a:lnTo>
                    <a:lnTo>
                      <a:pt x="57" y="688"/>
                    </a:lnTo>
                    <a:lnTo>
                      <a:pt x="55" y="686"/>
                    </a:lnTo>
                    <a:lnTo>
                      <a:pt x="55" y="684"/>
                    </a:lnTo>
                    <a:lnTo>
                      <a:pt x="55" y="683"/>
                    </a:lnTo>
                    <a:lnTo>
                      <a:pt x="54" y="681"/>
                    </a:lnTo>
                    <a:lnTo>
                      <a:pt x="54" y="680"/>
                    </a:lnTo>
                    <a:lnTo>
                      <a:pt x="52" y="678"/>
                    </a:lnTo>
                    <a:lnTo>
                      <a:pt x="52" y="677"/>
                    </a:lnTo>
                    <a:lnTo>
                      <a:pt x="50" y="677"/>
                    </a:lnTo>
                    <a:lnTo>
                      <a:pt x="50" y="675"/>
                    </a:lnTo>
                    <a:lnTo>
                      <a:pt x="49" y="675"/>
                    </a:lnTo>
                    <a:lnTo>
                      <a:pt x="49" y="673"/>
                    </a:lnTo>
                    <a:lnTo>
                      <a:pt x="47" y="673"/>
                    </a:lnTo>
                    <a:lnTo>
                      <a:pt x="47" y="672"/>
                    </a:lnTo>
                    <a:lnTo>
                      <a:pt x="46" y="672"/>
                    </a:lnTo>
                    <a:lnTo>
                      <a:pt x="46" y="670"/>
                    </a:lnTo>
                    <a:lnTo>
                      <a:pt x="44" y="670"/>
                    </a:lnTo>
                    <a:lnTo>
                      <a:pt x="44" y="669"/>
                    </a:lnTo>
                    <a:lnTo>
                      <a:pt x="44" y="667"/>
                    </a:lnTo>
                    <a:lnTo>
                      <a:pt x="42" y="667"/>
                    </a:lnTo>
                    <a:lnTo>
                      <a:pt x="42" y="665"/>
                    </a:lnTo>
                    <a:lnTo>
                      <a:pt x="42" y="664"/>
                    </a:lnTo>
                    <a:lnTo>
                      <a:pt x="42" y="662"/>
                    </a:lnTo>
                    <a:lnTo>
                      <a:pt x="41" y="662"/>
                    </a:lnTo>
                    <a:lnTo>
                      <a:pt x="41" y="661"/>
                    </a:lnTo>
                    <a:lnTo>
                      <a:pt x="41" y="659"/>
                    </a:lnTo>
                    <a:lnTo>
                      <a:pt x="42" y="659"/>
                    </a:lnTo>
                    <a:lnTo>
                      <a:pt x="42" y="658"/>
                    </a:lnTo>
                    <a:lnTo>
                      <a:pt x="42" y="656"/>
                    </a:lnTo>
                    <a:lnTo>
                      <a:pt x="42" y="654"/>
                    </a:lnTo>
                    <a:lnTo>
                      <a:pt x="42" y="653"/>
                    </a:lnTo>
                    <a:lnTo>
                      <a:pt x="42" y="651"/>
                    </a:lnTo>
                    <a:lnTo>
                      <a:pt x="44" y="650"/>
                    </a:lnTo>
                    <a:lnTo>
                      <a:pt x="44" y="648"/>
                    </a:lnTo>
                    <a:lnTo>
                      <a:pt x="44" y="646"/>
                    </a:lnTo>
                    <a:lnTo>
                      <a:pt x="44" y="645"/>
                    </a:lnTo>
                    <a:lnTo>
                      <a:pt x="44" y="643"/>
                    </a:lnTo>
                    <a:lnTo>
                      <a:pt x="46" y="643"/>
                    </a:lnTo>
                    <a:lnTo>
                      <a:pt x="46" y="642"/>
                    </a:lnTo>
                    <a:lnTo>
                      <a:pt x="46" y="640"/>
                    </a:lnTo>
                    <a:lnTo>
                      <a:pt x="46" y="639"/>
                    </a:lnTo>
                    <a:lnTo>
                      <a:pt x="46" y="637"/>
                    </a:lnTo>
                    <a:lnTo>
                      <a:pt x="47" y="637"/>
                    </a:lnTo>
                    <a:lnTo>
                      <a:pt x="47" y="635"/>
                    </a:lnTo>
                    <a:lnTo>
                      <a:pt x="47" y="634"/>
                    </a:lnTo>
                    <a:lnTo>
                      <a:pt x="47" y="632"/>
                    </a:lnTo>
                    <a:lnTo>
                      <a:pt x="47" y="631"/>
                    </a:lnTo>
                    <a:lnTo>
                      <a:pt x="47" y="629"/>
                    </a:lnTo>
                    <a:lnTo>
                      <a:pt x="47" y="627"/>
                    </a:lnTo>
                    <a:lnTo>
                      <a:pt x="49" y="627"/>
                    </a:lnTo>
                    <a:lnTo>
                      <a:pt x="49" y="626"/>
                    </a:lnTo>
                    <a:lnTo>
                      <a:pt x="49" y="624"/>
                    </a:lnTo>
                    <a:lnTo>
                      <a:pt x="49" y="623"/>
                    </a:lnTo>
                    <a:lnTo>
                      <a:pt x="49" y="621"/>
                    </a:lnTo>
                    <a:lnTo>
                      <a:pt x="49" y="620"/>
                    </a:lnTo>
                    <a:lnTo>
                      <a:pt x="50" y="620"/>
                    </a:lnTo>
                    <a:lnTo>
                      <a:pt x="50" y="618"/>
                    </a:lnTo>
                    <a:lnTo>
                      <a:pt x="50" y="616"/>
                    </a:lnTo>
                    <a:lnTo>
                      <a:pt x="50" y="615"/>
                    </a:lnTo>
                    <a:lnTo>
                      <a:pt x="50" y="613"/>
                    </a:lnTo>
                    <a:lnTo>
                      <a:pt x="52" y="613"/>
                    </a:lnTo>
                    <a:lnTo>
                      <a:pt x="52" y="612"/>
                    </a:lnTo>
                    <a:lnTo>
                      <a:pt x="52" y="610"/>
                    </a:lnTo>
                    <a:lnTo>
                      <a:pt x="52" y="608"/>
                    </a:lnTo>
                    <a:lnTo>
                      <a:pt x="52" y="607"/>
                    </a:lnTo>
                    <a:lnTo>
                      <a:pt x="52" y="605"/>
                    </a:lnTo>
                    <a:lnTo>
                      <a:pt x="52" y="604"/>
                    </a:lnTo>
                    <a:lnTo>
                      <a:pt x="54" y="604"/>
                    </a:lnTo>
                    <a:lnTo>
                      <a:pt x="54" y="602"/>
                    </a:lnTo>
                    <a:lnTo>
                      <a:pt x="54" y="601"/>
                    </a:lnTo>
                    <a:lnTo>
                      <a:pt x="54" y="599"/>
                    </a:lnTo>
                    <a:lnTo>
                      <a:pt x="54" y="597"/>
                    </a:lnTo>
                    <a:lnTo>
                      <a:pt x="54" y="596"/>
                    </a:lnTo>
                    <a:lnTo>
                      <a:pt x="54" y="594"/>
                    </a:lnTo>
                    <a:lnTo>
                      <a:pt x="54" y="593"/>
                    </a:lnTo>
                    <a:lnTo>
                      <a:pt x="54" y="591"/>
                    </a:lnTo>
                    <a:lnTo>
                      <a:pt x="52" y="591"/>
                    </a:lnTo>
                    <a:lnTo>
                      <a:pt x="52" y="589"/>
                    </a:lnTo>
                    <a:lnTo>
                      <a:pt x="52" y="588"/>
                    </a:lnTo>
                    <a:lnTo>
                      <a:pt x="52" y="586"/>
                    </a:lnTo>
                    <a:lnTo>
                      <a:pt x="52" y="585"/>
                    </a:lnTo>
                    <a:lnTo>
                      <a:pt x="52" y="583"/>
                    </a:lnTo>
                    <a:lnTo>
                      <a:pt x="52" y="581"/>
                    </a:lnTo>
                    <a:lnTo>
                      <a:pt x="52" y="580"/>
                    </a:lnTo>
                    <a:lnTo>
                      <a:pt x="52" y="578"/>
                    </a:lnTo>
                    <a:lnTo>
                      <a:pt x="52" y="577"/>
                    </a:lnTo>
                    <a:lnTo>
                      <a:pt x="54" y="575"/>
                    </a:lnTo>
                    <a:lnTo>
                      <a:pt x="54" y="574"/>
                    </a:lnTo>
                    <a:lnTo>
                      <a:pt x="54" y="572"/>
                    </a:lnTo>
                    <a:lnTo>
                      <a:pt x="54" y="570"/>
                    </a:lnTo>
                    <a:lnTo>
                      <a:pt x="54" y="569"/>
                    </a:lnTo>
                    <a:lnTo>
                      <a:pt x="54" y="567"/>
                    </a:lnTo>
                    <a:lnTo>
                      <a:pt x="54" y="566"/>
                    </a:lnTo>
                    <a:lnTo>
                      <a:pt x="55" y="564"/>
                    </a:lnTo>
                    <a:lnTo>
                      <a:pt x="55" y="562"/>
                    </a:lnTo>
                    <a:lnTo>
                      <a:pt x="57" y="562"/>
                    </a:lnTo>
                    <a:lnTo>
                      <a:pt x="57" y="561"/>
                    </a:lnTo>
                    <a:lnTo>
                      <a:pt x="57" y="559"/>
                    </a:lnTo>
                    <a:lnTo>
                      <a:pt x="58" y="559"/>
                    </a:lnTo>
                    <a:lnTo>
                      <a:pt x="58" y="558"/>
                    </a:lnTo>
                    <a:lnTo>
                      <a:pt x="60" y="558"/>
                    </a:lnTo>
                    <a:lnTo>
                      <a:pt x="60" y="556"/>
                    </a:lnTo>
                    <a:lnTo>
                      <a:pt x="61" y="555"/>
                    </a:lnTo>
                    <a:lnTo>
                      <a:pt x="61" y="553"/>
                    </a:lnTo>
                    <a:lnTo>
                      <a:pt x="61" y="551"/>
                    </a:lnTo>
                    <a:lnTo>
                      <a:pt x="63" y="550"/>
                    </a:lnTo>
                    <a:lnTo>
                      <a:pt x="63" y="548"/>
                    </a:lnTo>
                    <a:lnTo>
                      <a:pt x="65" y="547"/>
                    </a:lnTo>
                    <a:lnTo>
                      <a:pt x="65" y="545"/>
                    </a:lnTo>
                    <a:lnTo>
                      <a:pt x="66" y="543"/>
                    </a:lnTo>
                    <a:lnTo>
                      <a:pt x="66" y="542"/>
                    </a:lnTo>
                    <a:lnTo>
                      <a:pt x="66" y="540"/>
                    </a:lnTo>
                    <a:lnTo>
                      <a:pt x="66" y="539"/>
                    </a:lnTo>
                    <a:lnTo>
                      <a:pt x="66" y="537"/>
                    </a:lnTo>
                    <a:lnTo>
                      <a:pt x="68" y="537"/>
                    </a:lnTo>
                    <a:lnTo>
                      <a:pt x="68" y="536"/>
                    </a:lnTo>
                    <a:lnTo>
                      <a:pt x="69" y="536"/>
                    </a:lnTo>
                    <a:lnTo>
                      <a:pt x="71" y="536"/>
                    </a:lnTo>
                    <a:lnTo>
                      <a:pt x="73" y="536"/>
                    </a:lnTo>
                    <a:lnTo>
                      <a:pt x="74" y="536"/>
                    </a:lnTo>
                    <a:lnTo>
                      <a:pt x="76" y="536"/>
                    </a:lnTo>
                    <a:lnTo>
                      <a:pt x="76" y="534"/>
                    </a:lnTo>
                    <a:lnTo>
                      <a:pt x="77" y="534"/>
                    </a:lnTo>
                    <a:lnTo>
                      <a:pt x="77" y="532"/>
                    </a:lnTo>
                    <a:lnTo>
                      <a:pt x="76" y="531"/>
                    </a:lnTo>
                    <a:lnTo>
                      <a:pt x="76" y="529"/>
                    </a:lnTo>
                    <a:lnTo>
                      <a:pt x="76" y="528"/>
                    </a:lnTo>
                    <a:lnTo>
                      <a:pt x="76" y="526"/>
                    </a:lnTo>
                    <a:lnTo>
                      <a:pt x="76" y="524"/>
                    </a:lnTo>
                    <a:lnTo>
                      <a:pt x="76" y="523"/>
                    </a:lnTo>
                    <a:lnTo>
                      <a:pt x="76" y="521"/>
                    </a:lnTo>
                    <a:lnTo>
                      <a:pt x="74" y="521"/>
                    </a:lnTo>
                    <a:lnTo>
                      <a:pt x="76" y="521"/>
                    </a:lnTo>
                    <a:lnTo>
                      <a:pt x="76" y="520"/>
                    </a:lnTo>
                    <a:lnTo>
                      <a:pt x="74" y="518"/>
                    </a:lnTo>
                    <a:lnTo>
                      <a:pt x="74" y="517"/>
                    </a:lnTo>
                    <a:lnTo>
                      <a:pt x="74" y="515"/>
                    </a:lnTo>
                    <a:lnTo>
                      <a:pt x="74" y="513"/>
                    </a:lnTo>
                    <a:lnTo>
                      <a:pt x="74" y="512"/>
                    </a:lnTo>
                    <a:lnTo>
                      <a:pt x="76" y="512"/>
                    </a:lnTo>
                    <a:lnTo>
                      <a:pt x="76" y="510"/>
                    </a:lnTo>
                    <a:lnTo>
                      <a:pt x="77" y="510"/>
                    </a:lnTo>
                    <a:lnTo>
                      <a:pt x="77" y="509"/>
                    </a:lnTo>
                    <a:lnTo>
                      <a:pt x="79" y="509"/>
                    </a:lnTo>
                    <a:lnTo>
                      <a:pt x="79" y="507"/>
                    </a:lnTo>
                    <a:lnTo>
                      <a:pt x="79" y="505"/>
                    </a:lnTo>
                    <a:lnTo>
                      <a:pt x="80" y="505"/>
                    </a:lnTo>
                    <a:lnTo>
                      <a:pt x="82" y="505"/>
                    </a:lnTo>
                    <a:lnTo>
                      <a:pt x="84" y="505"/>
                    </a:lnTo>
                    <a:lnTo>
                      <a:pt x="84" y="504"/>
                    </a:lnTo>
                    <a:lnTo>
                      <a:pt x="85" y="504"/>
                    </a:lnTo>
                    <a:lnTo>
                      <a:pt x="85" y="502"/>
                    </a:lnTo>
                    <a:lnTo>
                      <a:pt x="87" y="502"/>
                    </a:lnTo>
                    <a:lnTo>
                      <a:pt x="88" y="501"/>
                    </a:lnTo>
                    <a:lnTo>
                      <a:pt x="90" y="501"/>
                    </a:lnTo>
                    <a:lnTo>
                      <a:pt x="90" y="499"/>
                    </a:lnTo>
                    <a:lnTo>
                      <a:pt x="92" y="498"/>
                    </a:lnTo>
                    <a:lnTo>
                      <a:pt x="93" y="498"/>
                    </a:lnTo>
                    <a:lnTo>
                      <a:pt x="93" y="496"/>
                    </a:lnTo>
                    <a:lnTo>
                      <a:pt x="93" y="494"/>
                    </a:lnTo>
                    <a:lnTo>
                      <a:pt x="93" y="493"/>
                    </a:lnTo>
                    <a:lnTo>
                      <a:pt x="95" y="493"/>
                    </a:lnTo>
                    <a:lnTo>
                      <a:pt x="95" y="491"/>
                    </a:lnTo>
                    <a:lnTo>
                      <a:pt x="95" y="490"/>
                    </a:lnTo>
                    <a:lnTo>
                      <a:pt x="96" y="490"/>
                    </a:lnTo>
                    <a:lnTo>
                      <a:pt x="95" y="490"/>
                    </a:lnTo>
                    <a:lnTo>
                      <a:pt x="95" y="488"/>
                    </a:lnTo>
                    <a:lnTo>
                      <a:pt x="93" y="486"/>
                    </a:lnTo>
                    <a:lnTo>
                      <a:pt x="92" y="486"/>
                    </a:lnTo>
                    <a:lnTo>
                      <a:pt x="92" y="485"/>
                    </a:lnTo>
                    <a:lnTo>
                      <a:pt x="90" y="485"/>
                    </a:lnTo>
                    <a:lnTo>
                      <a:pt x="90" y="483"/>
                    </a:lnTo>
                    <a:lnTo>
                      <a:pt x="88" y="483"/>
                    </a:lnTo>
                    <a:lnTo>
                      <a:pt x="88" y="482"/>
                    </a:lnTo>
                    <a:lnTo>
                      <a:pt x="87" y="482"/>
                    </a:lnTo>
                    <a:lnTo>
                      <a:pt x="87" y="480"/>
                    </a:lnTo>
                    <a:lnTo>
                      <a:pt x="85" y="479"/>
                    </a:lnTo>
                    <a:lnTo>
                      <a:pt x="85" y="477"/>
                    </a:lnTo>
                    <a:lnTo>
                      <a:pt x="84" y="477"/>
                    </a:lnTo>
                    <a:lnTo>
                      <a:pt x="84" y="475"/>
                    </a:lnTo>
                    <a:lnTo>
                      <a:pt x="82" y="475"/>
                    </a:lnTo>
                    <a:lnTo>
                      <a:pt x="82" y="474"/>
                    </a:lnTo>
                    <a:lnTo>
                      <a:pt x="80" y="472"/>
                    </a:lnTo>
                    <a:lnTo>
                      <a:pt x="80" y="471"/>
                    </a:lnTo>
                    <a:lnTo>
                      <a:pt x="79" y="471"/>
                    </a:lnTo>
                    <a:lnTo>
                      <a:pt x="79" y="469"/>
                    </a:lnTo>
                    <a:lnTo>
                      <a:pt x="77" y="469"/>
                    </a:lnTo>
                    <a:lnTo>
                      <a:pt x="77" y="467"/>
                    </a:lnTo>
                    <a:lnTo>
                      <a:pt x="76" y="466"/>
                    </a:lnTo>
                    <a:lnTo>
                      <a:pt x="74" y="464"/>
                    </a:lnTo>
                    <a:lnTo>
                      <a:pt x="74" y="463"/>
                    </a:lnTo>
                    <a:lnTo>
                      <a:pt x="73" y="463"/>
                    </a:lnTo>
                    <a:lnTo>
                      <a:pt x="73" y="461"/>
                    </a:lnTo>
                    <a:lnTo>
                      <a:pt x="71" y="460"/>
                    </a:lnTo>
                    <a:lnTo>
                      <a:pt x="69" y="458"/>
                    </a:lnTo>
                    <a:lnTo>
                      <a:pt x="69" y="456"/>
                    </a:lnTo>
                    <a:lnTo>
                      <a:pt x="69" y="455"/>
                    </a:lnTo>
                    <a:lnTo>
                      <a:pt x="69" y="453"/>
                    </a:lnTo>
                    <a:lnTo>
                      <a:pt x="71" y="453"/>
                    </a:lnTo>
                    <a:lnTo>
                      <a:pt x="71" y="452"/>
                    </a:lnTo>
                    <a:lnTo>
                      <a:pt x="71" y="450"/>
                    </a:lnTo>
                    <a:lnTo>
                      <a:pt x="73" y="448"/>
                    </a:lnTo>
                    <a:lnTo>
                      <a:pt x="71" y="447"/>
                    </a:lnTo>
                    <a:lnTo>
                      <a:pt x="69" y="447"/>
                    </a:lnTo>
                    <a:lnTo>
                      <a:pt x="68" y="447"/>
                    </a:lnTo>
                    <a:lnTo>
                      <a:pt x="66" y="447"/>
                    </a:lnTo>
                    <a:lnTo>
                      <a:pt x="65" y="447"/>
                    </a:lnTo>
                    <a:lnTo>
                      <a:pt x="63" y="445"/>
                    </a:lnTo>
                    <a:lnTo>
                      <a:pt x="63" y="444"/>
                    </a:lnTo>
                    <a:lnTo>
                      <a:pt x="63" y="442"/>
                    </a:lnTo>
                    <a:lnTo>
                      <a:pt x="61" y="441"/>
                    </a:lnTo>
                    <a:lnTo>
                      <a:pt x="60" y="441"/>
                    </a:lnTo>
                    <a:lnTo>
                      <a:pt x="60" y="439"/>
                    </a:lnTo>
                    <a:lnTo>
                      <a:pt x="58" y="439"/>
                    </a:lnTo>
                    <a:lnTo>
                      <a:pt x="57" y="439"/>
                    </a:lnTo>
                    <a:lnTo>
                      <a:pt x="55" y="437"/>
                    </a:lnTo>
                    <a:lnTo>
                      <a:pt x="54" y="436"/>
                    </a:lnTo>
                    <a:lnTo>
                      <a:pt x="52" y="436"/>
                    </a:lnTo>
                    <a:lnTo>
                      <a:pt x="52" y="434"/>
                    </a:lnTo>
                    <a:lnTo>
                      <a:pt x="50" y="434"/>
                    </a:lnTo>
                    <a:lnTo>
                      <a:pt x="50" y="433"/>
                    </a:lnTo>
                    <a:lnTo>
                      <a:pt x="49" y="431"/>
                    </a:lnTo>
                    <a:lnTo>
                      <a:pt x="49" y="429"/>
                    </a:lnTo>
                    <a:lnTo>
                      <a:pt x="47" y="429"/>
                    </a:lnTo>
                    <a:lnTo>
                      <a:pt x="47" y="428"/>
                    </a:lnTo>
                    <a:lnTo>
                      <a:pt x="47" y="426"/>
                    </a:lnTo>
                    <a:lnTo>
                      <a:pt x="47" y="425"/>
                    </a:lnTo>
                    <a:lnTo>
                      <a:pt x="47" y="423"/>
                    </a:lnTo>
                    <a:lnTo>
                      <a:pt x="47" y="422"/>
                    </a:lnTo>
                    <a:lnTo>
                      <a:pt x="47" y="420"/>
                    </a:lnTo>
                    <a:lnTo>
                      <a:pt x="46" y="418"/>
                    </a:lnTo>
                    <a:lnTo>
                      <a:pt x="46" y="417"/>
                    </a:lnTo>
                    <a:lnTo>
                      <a:pt x="44" y="417"/>
                    </a:lnTo>
                    <a:lnTo>
                      <a:pt x="44" y="415"/>
                    </a:lnTo>
                    <a:lnTo>
                      <a:pt x="44" y="414"/>
                    </a:lnTo>
                    <a:lnTo>
                      <a:pt x="42" y="414"/>
                    </a:lnTo>
                    <a:lnTo>
                      <a:pt x="41" y="412"/>
                    </a:lnTo>
                    <a:lnTo>
                      <a:pt x="39" y="410"/>
                    </a:lnTo>
                    <a:lnTo>
                      <a:pt x="38" y="410"/>
                    </a:lnTo>
                    <a:lnTo>
                      <a:pt x="38" y="409"/>
                    </a:lnTo>
                    <a:lnTo>
                      <a:pt x="36" y="409"/>
                    </a:lnTo>
                    <a:lnTo>
                      <a:pt x="35" y="407"/>
                    </a:lnTo>
                    <a:lnTo>
                      <a:pt x="33" y="406"/>
                    </a:lnTo>
                    <a:lnTo>
                      <a:pt x="33" y="404"/>
                    </a:lnTo>
                    <a:lnTo>
                      <a:pt x="33" y="402"/>
                    </a:lnTo>
                    <a:lnTo>
                      <a:pt x="31" y="401"/>
                    </a:lnTo>
                    <a:lnTo>
                      <a:pt x="31" y="399"/>
                    </a:lnTo>
                    <a:lnTo>
                      <a:pt x="30" y="399"/>
                    </a:lnTo>
                    <a:lnTo>
                      <a:pt x="28" y="399"/>
                    </a:lnTo>
                    <a:lnTo>
                      <a:pt x="28" y="398"/>
                    </a:lnTo>
                    <a:lnTo>
                      <a:pt x="28" y="396"/>
                    </a:lnTo>
                    <a:lnTo>
                      <a:pt x="28" y="395"/>
                    </a:lnTo>
                    <a:lnTo>
                      <a:pt x="27" y="393"/>
                    </a:lnTo>
                    <a:lnTo>
                      <a:pt x="27" y="391"/>
                    </a:lnTo>
                    <a:lnTo>
                      <a:pt x="27" y="390"/>
                    </a:lnTo>
                    <a:lnTo>
                      <a:pt x="25" y="390"/>
                    </a:lnTo>
                    <a:lnTo>
                      <a:pt x="25" y="388"/>
                    </a:lnTo>
                    <a:lnTo>
                      <a:pt x="25" y="387"/>
                    </a:lnTo>
                    <a:lnTo>
                      <a:pt x="23" y="385"/>
                    </a:lnTo>
                    <a:lnTo>
                      <a:pt x="25" y="385"/>
                    </a:lnTo>
                    <a:lnTo>
                      <a:pt x="25" y="383"/>
                    </a:lnTo>
                    <a:lnTo>
                      <a:pt x="25" y="382"/>
                    </a:lnTo>
                    <a:lnTo>
                      <a:pt x="23" y="382"/>
                    </a:lnTo>
                    <a:lnTo>
                      <a:pt x="23" y="380"/>
                    </a:lnTo>
                    <a:lnTo>
                      <a:pt x="23" y="379"/>
                    </a:lnTo>
                    <a:lnTo>
                      <a:pt x="25" y="379"/>
                    </a:lnTo>
                    <a:lnTo>
                      <a:pt x="25" y="377"/>
                    </a:lnTo>
                    <a:lnTo>
                      <a:pt x="25" y="376"/>
                    </a:lnTo>
                    <a:lnTo>
                      <a:pt x="23" y="376"/>
                    </a:lnTo>
                    <a:lnTo>
                      <a:pt x="23" y="374"/>
                    </a:lnTo>
                    <a:lnTo>
                      <a:pt x="22" y="374"/>
                    </a:lnTo>
                    <a:lnTo>
                      <a:pt x="22" y="372"/>
                    </a:lnTo>
                    <a:lnTo>
                      <a:pt x="20" y="371"/>
                    </a:lnTo>
                    <a:lnTo>
                      <a:pt x="20" y="369"/>
                    </a:lnTo>
                    <a:lnTo>
                      <a:pt x="20" y="368"/>
                    </a:lnTo>
                    <a:lnTo>
                      <a:pt x="20" y="366"/>
                    </a:lnTo>
                    <a:lnTo>
                      <a:pt x="19" y="364"/>
                    </a:lnTo>
                    <a:lnTo>
                      <a:pt x="20" y="364"/>
                    </a:lnTo>
                    <a:lnTo>
                      <a:pt x="20" y="363"/>
                    </a:lnTo>
                    <a:lnTo>
                      <a:pt x="19" y="361"/>
                    </a:lnTo>
                    <a:lnTo>
                      <a:pt x="17" y="361"/>
                    </a:lnTo>
                    <a:lnTo>
                      <a:pt x="17" y="360"/>
                    </a:lnTo>
                    <a:lnTo>
                      <a:pt x="17" y="358"/>
                    </a:lnTo>
                    <a:lnTo>
                      <a:pt x="16" y="358"/>
                    </a:lnTo>
                    <a:lnTo>
                      <a:pt x="16" y="357"/>
                    </a:lnTo>
                    <a:lnTo>
                      <a:pt x="14" y="357"/>
                    </a:lnTo>
                    <a:lnTo>
                      <a:pt x="14" y="355"/>
                    </a:lnTo>
                    <a:lnTo>
                      <a:pt x="14" y="353"/>
                    </a:lnTo>
                    <a:lnTo>
                      <a:pt x="14" y="352"/>
                    </a:lnTo>
                    <a:lnTo>
                      <a:pt x="12" y="352"/>
                    </a:lnTo>
                    <a:lnTo>
                      <a:pt x="12" y="350"/>
                    </a:lnTo>
                    <a:lnTo>
                      <a:pt x="12" y="349"/>
                    </a:lnTo>
                    <a:lnTo>
                      <a:pt x="12" y="347"/>
                    </a:lnTo>
                    <a:lnTo>
                      <a:pt x="12" y="345"/>
                    </a:lnTo>
                    <a:lnTo>
                      <a:pt x="14" y="345"/>
                    </a:lnTo>
                    <a:lnTo>
                      <a:pt x="14" y="344"/>
                    </a:lnTo>
                    <a:lnTo>
                      <a:pt x="14" y="342"/>
                    </a:lnTo>
                    <a:lnTo>
                      <a:pt x="14" y="341"/>
                    </a:lnTo>
                    <a:lnTo>
                      <a:pt x="14" y="339"/>
                    </a:lnTo>
                    <a:lnTo>
                      <a:pt x="14" y="338"/>
                    </a:lnTo>
                    <a:lnTo>
                      <a:pt x="14" y="336"/>
                    </a:lnTo>
                    <a:lnTo>
                      <a:pt x="14" y="334"/>
                    </a:lnTo>
                    <a:lnTo>
                      <a:pt x="14" y="333"/>
                    </a:lnTo>
                    <a:lnTo>
                      <a:pt x="12" y="331"/>
                    </a:lnTo>
                    <a:lnTo>
                      <a:pt x="12" y="330"/>
                    </a:lnTo>
                    <a:lnTo>
                      <a:pt x="12" y="328"/>
                    </a:lnTo>
                    <a:lnTo>
                      <a:pt x="12" y="326"/>
                    </a:lnTo>
                    <a:lnTo>
                      <a:pt x="14" y="326"/>
                    </a:lnTo>
                    <a:lnTo>
                      <a:pt x="14" y="325"/>
                    </a:lnTo>
                    <a:lnTo>
                      <a:pt x="14" y="323"/>
                    </a:lnTo>
                    <a:lnTo>
                      <a:pt x="14" y="322"/>
                    </a:lnTo>
                    <a:lnTo>
                      <a:pt x="12" y="322"/>
                    </a:lnTo>
                    <a:lnTo>
                      <a:pt x="12" y="320"/>
                    </a:lnTo>
                    <a:lnTo>
                      <a:pt x="11" y="320"/>
                    </a:lnTo>
                    <a:lnTo>
                      <a:pt x="9" y="320"/>
                    </a:lnTo>
                    <a:lnTo>
                      <a:pt x="9" y="319"/>
                    </a:lnTo>
                    <a:lnTo>
                      <a:pt x="8" y="319"/>
                    </a:lnTo>
                    <a:lnTo>
                      <a:pt x="8" y="317"/>
                    </a:lnTo>
                    <a:lnTo>
                      <a:pt x="6" y="315"/>
                    </a:lnTo>
                    <a:lnTo>
                      <a:pt x="6" y="314"/>
                    </a:lnTo>
                    <a:lnTo>
                      <a:pt x="6" y="312"/>
                    </a:lnTo>
                    <a:lnTo>
                      <a:pt x="6" y="311"/>
                    </a:lnTo>
                    <a:lnTo>
                      <a:pt x="6" y="309"/>
                    </a:lnTo>
                    <a:lnTo>
                      <a:pt x="4" y="309"/>
                    </a:lnTo>
                    <a:lnTo>
                      <a:pt x="4" y="307"/>
                    </a:lnTo>
                    <a:lnTo>
                      <a:pt x="4" y="306"/>
                    </a:lnTo>
                    <a:lnTo>
                      <a:pt x="6" y="306"/>
                    </a:lnTo>
                    <a:lnTo>
                      <a:pt x="8" y="304"/>
                    </a:lnTo>
                    <a:lnTo>
                      <a:pt x="9" y="304"/>
                    </a:lnTo>
                    <a:lnTo>
                      <a:pt x="11" y="303"/>
                    </a:lnTo>
                    <a:lnTo>
                      <a:pt x="12" y="301"/>
                    </a:lnTo>
                    <a:lnTo>
                      <a:pt x="14" y="301"/>
                    </a:lnTo>
                    <a:lnTo>
                      <a:pt x="14" y="300"/>
                    </a:lnTo>
                    <a:lnTo>
                      <a:pt x="16" y="300"/>
                    </a:lnTo>
                    <a:lnTo>
                      <a:pt x="16" y="298"/>
                    </a:lnTo>
                    <a:lnTo>
                      <a:pt x="17" y="298"/>
                    </a:lnTo>
                    <a:lnTo>
                      <a:pt x="19" y="296"/>
                    </a:lnTo>
                    <a:lnTo>
                      <a:pt x="20" y="295"/>
                    </a:lnTo>
                    <a:lnTo>
                      <a:pt x="22" y="293"/>
                    </a:lnTo>
                    <a:lnTo>
                      <a:pt x="23" y="292"/>
                    </a:lnTo>
                    <a:lnTo>
                      <a:pt x="25" y="292"/>
                    </a:lnTo>
                    <a:lnTo>
                      <a:pt x="25" y="290"/>
                    </a:lnTo>
                    <a:lnTo>
                      <a:pt x="27" y="290"/>
                    </a:lnTo>
                    <a:lnTo>
                      <a:pt x="27" y="288"/>
                    </a:lnTo>
                    <a:lnTo>
                      <a:pt x="28" y="288"/>
                    </a:lnTo>
                    <a:lnTo>
                      <a:pt x="30" y="287"/>
                    </a:lnTo>
                    <a:lnTo>
                      <a:pt x="31" y="285"/>
                    </a:lnTo>
                    <a:lnTo>
                      <a:pt x="33" y="285"/>
                    </a:lnTo>
                    <a:lnTo>
                      <a:pt x="33" y="284"/>
                    </a:lnTo>
                    <a:lnTo>
                      <a:pt x="35" y="284"/>
                    </a:lnTo>
                    <a:lnTo>
                      <a:pt x="35" y="282"/>
                    </a:lnTo>
                    <a:lnTo>
                      <a:pt x="36" y="282"/>
                    </a:lnTo>
                    <a:lnTo>
                      <a:pt x="36" y="281"/>
                    </a:lnTo>
                    <a:lnTo>
                      <a:pt x="38" y="281"/>
                    </a:lnTo>
                    <a:lnTo>
                      <a:pt x="39" y="279"/>
                    </a:lnTo>
                    <a:lnTo>
                      <a:pt x="41" y="279"/>
                    </a:lnTo>
                    <a:lnTo>
                      <a:pt x="41" y="277"/>
                    </a:lnTo>
                    <a:lnTo>
                      <a:pt x="42" y="277"/>
                    </a:lnTo>
                    <a:lnTo>
                      <a:pt x="44" y="277"/>
                    </a:lnTo>
                    <a:lnTo>
                      <a:pt x="44" y="276"/>
                    </a:lnTo>
                    <a:lnTo>
                      <a:pt x="46" y="276"/>
                    </a:lnTo>
                    <a:lnTo>
                      <a:pt x="47" y="276"/>
                    </a:lnTo>
                    <a:lnTo>
                      <a:pt x="47" y="274"/>
                    </a:lnTo>
                    <a:lnTo>
                      <a:pt x="49" y="274"/>
                    </a:lnTo>
                    <a:lnTo>
                      <a:pt x="50" y="274"/>
                    </a:lnTo>
                    <a:lnTo>
                      <a:pt x="52" y="273"/>
                    </a:lnTo>
                    <a:lnTo>
                      <a:pt x="54" y="273"/>
                    </a:lnTo>
                    <a:lnTo>
                      <a:pt x="54" y="271"/>
                    </a:lnTo>
                    <a:lnTo>
                      <a:pt x="55" y="271"/>
                    </a:lnTo>
                    <a:lnTo>
                      <a:pt x="57" y="269"/>
                    </a:lnTo>
                    <a:lnTo>
                      <a:pt x="58" y="269"/>
                    </a:lnTo>
                    <a:lnTo>
                      <a:pt x="58" y="268"/>
                    </a:lnTo>
                    <a:lnTo>
                      <a:pt x="60" y="268"/>
                    </a:lnTo>
                    <a:lnTo>
                      <a:pt x="61" y="268"/>
                    </a:lnTo>
                    <a:lnTo>
                      <a:pt x="61" y="266"/>
                    </a:lnTo>
                    <a:lnTo>
                      <a:pt x="63" y="266"/>
                    </a:lnTo>
                    <a:lnTo>
                      <a:pt x="65" y="266"/>
                    </a:lnTo>
                    <a:lnTo>
                      <a:pt x="68" y="263"/>
                    </a:lnTo>
                    <a:lnTo>
                      <a:pt x="73" y="258"/>
                    </a:lnTo>
                    <a:lnTo>
                      <a:pt x="79" y="255"/>
                    </a:lnTo>
                    <a:lnTo>
                      <a:pt x="84" y="252"/>
                    </a:lnTo>
                    <a:lnTo>
                      <a:pt x="84" y="250"/>
                    </a:lnTo>
                    <a:lnTo>
                      <a:pt x="87" y="250"/>
                    </a:lnTo>
                    <a:lnTo>
                      <a:pt x="87" y="249"/>
                    </a:lnTo>
                    <a:lnTo>
                      <a:pt x="87" y="247"/>
                    </a:lnTo>
                    <a:lnTo>
                      <a:pt x="87" y="246"/>
                    </a:lnTo>
                    <a:lnTo>
                      <a:pt x="88" y="246"/>
                    </a:lnTo>
                    <a:lnTo>
                      <a:pt x="88" y="244"/>
                    </a:lnTo>
                    <a:lnTo>
                      <a:pt x="88" y="243"/>
                    </a:lnTo>
                    <a:lnTo>
                      <a:pt x="88" y="241"/>
                    </a:lnTo>
                    <a:lnTo>
                      <a:pt x="90" y="241"/>
                    </a:lnTo>
                    <a:lnTo>
                      <a:pt x="90" y="239"/>
                    </a:lnTo>
                    <a:lnTo>
                      <a:pt x="92" y="239"/>
                    </a:lnTo>
                    <a:lnTo>
                      <a:pt x="92" y="238"/>
                    </a:lnTo>
                    <a:lnTo>
                      <a:pt x="93" y="236"/>
                    </a:lnTo>
                    <a:lnTo>
                      <a:pt x="93" y="235"/>
                    </a:lnTo>
                    <a:lnTo>
                      <a:pt x="93" y="233"/>
                    </a:lnTo>
                    <a:lnTo>
                      <a:pt x="95" y="233"/>
                    </a:lnTo>
                    <a:lnTo>
                      <a:pt x="95" y="231"/>
                    </a:lnTo>
                    <a:lnTo>
                      <a:pt x="95" y="230"/>
                    </a:lnTo>
                    <a:lnTo>
                      <a:pt x="96" y="228"/>
                    </a:lnTo>
                    <a:lnTo>
                      <a:pt x="96" y="227"/>
                    </a:lnTo>
                    <a:lnTo>
                      <a:pt x="96" y="225"/>
                    </a:lnTo>
                    <a:lnTo>
                      <a:pt x="96" y="224"/>
                    </a:lnTo>
                    <a:lnTo>
                      <a:pt x="96" y="222"/>
                    </a:lnTo>
                    <a:lnTo>
                      <a:pt x="96" y="220"/>
                    </a:lnTo>
                    <a:lnTo>
                      <a:pt x="95" y="219"/>
                    </a:lnTo>
                    <a:lnTo>
                      <a:pt x="96" y="219"/>
                    </a:lnTo>
                    <a:lnTo>
                      <a:pt x="98" y="219"/>
                    </a:lnTo>
                    <a:lnTo>
                      <a:pt x="100" y="219"/>
                    </a:lnTo>
                    <a:lnTo>
                      <a:pt x="101" y="219"/>
                    </a:lnTo>
                    <a:lnTo>
                      <a:pt x="103" y="220"/>
                    </a:lnTo>
                    <a:lnTo>
                      <a:pt x="104" y="222"/>
                    </a:lnTo>
                    <a:lnTo>
                      <a:pt x="106" y="222"/>
                    </a:lnTo>
                    <a:lnTo>
                      <a:pt x="107" y="222"/>
                    </a:lnTo>
                    <a:lnTo>
                      <a:pt x="109" y="222"/>
                    </a:lnTo>
                    <a:lnTo>
                      <a:pt x="111" y="222"/>
                    </a:lnTo>
                    <a:lnTo>
                      <a:pt x="112" y="220"/>
                    </a:lnTo>
                    <a:lnTo>
                      <a:pt x="114" y="220"/>
                    </a:lnTo>
                    <a:lnTo>
                      <a:pt x="115" y="220"/>
                    </a:lnTo>
                    <a:lnTo>
                      <a:pt x="115" y="222"/>
                    </a:lnTo>
                    <a:lnTo>
                      <a:pt x="117" y="222"/>
                    </a:lnTo>
                    <a:lnTo>
                      <a:pt x="119" y="224"/>
                    </a:lnTo>
                    <a:lnTo>
                      <a:pt x="120" y="222"/>
                    </a:lnTo>
                    <a:lnTo>
                      <a:pt x="122" y="222"/>
                    </a:lnTo>
                    <a:lnTo>
                      <a:pt x="123" y="220"/>
                    </a:lnTo>
                    <a:lnTo>
                      <a:pt x="125" y="220"/>
                    </a:lnTo>
                    <a:lnTo>
                      <a:pt x="126" y="220"/>
                    </a:lnTo>
                    <a:lnTo>
                      <a:pt x="128" y="220"/>
                    </a:lnTo>
                    <a:lnTo>
                      <a:pt x="130" y="220"/>
                    </a:lnTo>
                    <a:lnTo>
                      <a:pt x="131" y="220"/>
                    </a:lnTo>
                    <a:lnTo>
                      <a:pt x="133" y="220"/>
                    </a:lnTo>
                    <a:lnTo>
                      <a:pt x="134" y="220"/>
                    </a:lnTo>
                    <a:lnTo>
                      <a:pt x="136" y="220"/>
                    </a:lnTo>
                    <a:lnTo>
                      <a:pt x="138" y="222"/>
                    </a:lnTo>
                    <a:lnTo>
                      <a:pt x="139" y="222"/>
                    </a:lnTo>
                    <a:lnTo>
                      <a:pt x="141" y="222"/>
                    </a:lnTo>
                    <a:lnTo>
                      <a:pt x="142" y="222"/>
                    </a:lnTo>
                    <a:lnTo>
                      <a:pt x="144" y="222"/>
                    </a:lnTo>
                    <a:lnTo>
                      <a:pt x="145" y="222"/>
                    </a:lnTo>
                    <a:lnTo>
                      <a:pt x="147" y="222"/>
                    </a:lnTo>
                    <a:lnTo>
                      <a:pt x="149" y="222"/>
                    </a:lnTo>
                    <a:lnTo>
                      <a:pt x="150" y="222"/>
                    </a:lnTo>
                    <a:lnTo>
                      <a:pt x="155" y="211"/>
                    </a:lnTo>
                    <a:lnTo>
                      <a:pt x="157" y="208"/>
                    </a:lnTo>
                    <a:lnTo>
                      <a:pt x="158" y="203"/>
                    </a:lnTo>
                    <a:lnTo>
                      <a:pt x="161" y="198"/>
                    </a:lnTo>
                    <a:lnTo>
                      <a:pt x="163" y="193"/>
                    </a:lnTo>
                    <a:lnTo>
                      <a:pt x="166" y="189"/>
                    </a:lnTo>
                    <a:lnTo>
                      <a:pt x="168" y="184"/>
                    </a:lnTo>
                    <a:lnTo>
                      <a:pt x="169" y="181"/>
                    </a:lnTo>
                    <a:lnTo>
                      <a:pt x="171" y="179"/>
                    </a:lnTo>
                    <a:lnTo>
                      <a:pt x="172" y="178"/>
                    </a:lnTo>
                    <a:lnTo>
                      <a:pt x="172" y="176"/>
                    </a:lnTo>
                    <a:lnTo>
                      <a:pt x="174" y="174"/>
                    </a:lnTo>
                    <a:lnTo>
                      <a:pt x="174" y="173"/>
                    </a:lnTo>
                    <a:lnTo>
                      <a:pt x="174" y="171"/>
                    </a:lnTo>
                    <a:lnTo>
                      <a:pt x="176" y="171"/>
                    </a:lnTo>
                    <a:lnTo>
                      <a:pt x="176" y="170"/>
                    </a:lnTo>
                    <a:lnTo>
                      <a:pt x="177" y="168"/>
                    </a:lnTo>
                    <a:lnTo>
                      <a:pt x="177" y="166"/>
                    </a:lnTo>
                    <a:lnTo>
                      <a:pt x="177" y="165"/>
                    </a:lnTo>
                    <a:lnTo>
                      <a:pt x="179" y="165"/>
                    </a:lnTo>
                    <a:lnTo>
                      <a:pt x="179" y="163"/>
                    </a:lnTo>
                    <a:lnTo>
                      <a:pt x="179" y="162"/>
                    </a:lnTo>
                    <a:lnTo>
                      <a:pt x="180" y="162"/>
                    </a:lnTo>
                    <a:lnTo>
                      <a:pt x="180" y="160"/>
                    </a:lnTo>
                    <a:lnTo>
                      <a:pt x="182" y="160"/>
                    </a:lnTo>
                    <a:lnTo>
                      <a:pt x="185" y="155"/>
                    </a:lnTo>
                    <a:lnTo>
                      <a:pt x="187" y="151"/>
                    </a:lnTo>
                    <a:lnTo>
                      <a:pt x="190" y="147"/>
                    </a:lnTo>
                    <a:lnTo>
                      <a:pt x="191" y="143"/>
                    </a:lnTo>
                    <a:lnTo>
                      <a:pt x="195" y="138"/>
                    </a:lnTo>
                    <a:lnTo>
                      <a:pt x="196" y="133"/>
                    </a:lnTo>
                    <a:lnTo>
                      <a:pt x="198" y="130"/>
                    </a:lnTo>
                    <a:lnTo>
                      <a:pt x="199" y="128"/>
                    </a:lnTo>
                    <a:lnTo>
                      <a:pt x="201" y="127"/>
                    </a:lnTo>
                    <a:lnTo>
                      <a:pt x="201" y="125"/>
                    </a:lnTo>
                    <a:lnTo>
                      <a:pt x="199" y="125"/>
                    </a:lnTo>
                    <a:lnTo>
                      <a:pt x="199" y="124"/>
                    </a:lnTo>
                    <a:lnTo>
                      <a:pt x="199" y="122"/>
                    </a:lnTo>
                    <a:lnTo>
                      <a:pt x="199" y="121"/>
                    </a:lnTo>
                    <a:lnTo>
                      <a:pt x="198" y="119"/>
                    </a:lnTo>
                    <a:lnTo>
                      <a:pt x="198" y="117"/>
                    </a:lnTo>
                    <a:lnTo>
                      <a:pt x="196" y="119"/>
                    </a:lnTo>
                    <a:lnTo>
                      <a:pt x="195" y="117"/>
                    </a:lnTo>
                    <a:lnTo>
                      <a:pt x="195" y="116"/>
                    </a:lnTo>
                    <a:lnTo>
                      <a:pt x="193" y="116"/>
                    </a:lnTo>
                    <a:lnTo>
                      <a:pt x="193" y="114"/>
                    </a:lnTo>
                    <a:lnTo>
                      <a:pt x="193" y="113"/>
                    </a:lnTo>
                    <a:lnTo>
                      <a:pt x="191" y="111"/>
                    </a:lnTo>
                    <a:lnTo>
                      <a:pt x="193" y="111"/>
                    </a:lnTo>
                    <a:lnTo>
                      <a:pt x="191" y="109"/>
                    </a:lnTo>
                    <a:lnTo>
                      <a:pt x="191" y="108"/>
                    </a:lnTo>
                    <a:lnTo>
                      <a:pt x="191" y="106"/>
                    </a:lnTo>
                    <a:lnTo>
                      <a:pt x="190" y="106"/>
                    </a:lnTo>
                    <a:lnTo>
                      <a:pt x="190" y="105"/>
                    </a:lnTo>
                    <a:lnTo>
                      <a:pt x="190" y="103"/>
                    </a:lnTo>
                    <a:lnTo>
                      <a:pt x="190" y="102"/>
                    </a:lnTo>
                    <a:lnTo>
                      <a:pt x="191" y="102"/>
                    </a:lnTo>
                    <a:lnTo>
                      <a:pt x="191" y="100"/>
                    </a:lnTo>
                    <a:lnTo>
                      <a:pt x="193" y="95"/>
                    </a:lnTo>
                    <a:lnTo>
                      <a:pt x="195" y="95"/>
                    </a:lnTo>
                    <a:lnTo>
                      <a:pt x="195" y="97"/>
                    </a:lnTo>
                    <a:lnTo>
                      <a:pt x="195" y="98"/>
                    </a:lnTo>
                    <a:lnTo>
                      <a:pt x="195" y="100"/>
                    </a:lnTo>
                    <a:lnTo>
                      <a:pt x="196" y="102"/>
                    </a:lnTo>
                    <a:lnTo>
                      <a:pt x="198" y="102"/>
                    </a:lnTo>
                    <a:lnTo>
                      <a:pt x="198" y="100"/>
                    </a:lnTo>
                    <a:lnTo>
                      <a:pt x="198" y="98"/>
                    </a:lnTo>
                    <a:lnTo>
                      <a:pt x="199" y="98"/>
                    </a:lnTo>
                    <a:lnTo>
                      <a:pt x="201" y="98"/>
                    </a:lnTo>
                    <a:lnTo>
                      <a:pt x="202" y="98"/>
                    </a:lnTo>
                    <a:lnTo>
                      <a:pt x="202" y="97"/>
                    </a:lnTo>
                    <a:lnTo>
                      <a:pt x="204" y="97"/>
                    </a:lnTo>
                    <a:lnTo>
                      <a:pt x="206" y="95"/>
                    </a:lnTo>
                    <a:lnTo>
                      <a:pt x="207" y="95"/>
                    </a:lnTo>
                    <a:lnTo>
                      <a:pt x="209" y="94"/>
                    </a:lnTo>
                    <a:lnTo>
                      <a:pt x="210" y="94"/>
                    </a:lnTo>
                    <a:lnTo>
                      <a:pt x="210" y="92"/>
                    </a:lnTo>
                    <a:lnTo>
                      <a:pt x="212" y="92"/>
                    </a:lnTo>
                    <a:lnTo>
                      <a:pt x="212" y="90"/>
                    </a:lnTo>
                    <a:lnTo>
                      <a:pt x="214" y="90"/>
                    </a:lnTo>
                    <a:lnTo>
                      <a:pt x="214" y="89"/>
                    </a:lnTo>
                    <a:lnTo>
                      <a:pt x="215" y="89"/>
                    </a:lnTo>
                    <a:lnTo>
                      <a:pt x="215" y="87"/>
                    </a:lnTo>
                    <a:lnTo>
                      <a:pt x="217" y="87"/>
                    </a:lnTo>
                    <a:lnTo>
                      <a:pt x="218" y="87"/>
                    </a:lnTo>
                    <a:lnTo>
                      <a:pt x="218" y="86"/>
                    </a:lnTo>
                    <a:lnTo>
                      <a:pt x="220" y="86"/>
                    </a:lnTo>
                    <a:lnTo>
                      <a:pt x="221" y="84"/>
                    </a:lnTo>
                    <a:lnTo>
                      <a:pt x="223" y="84"/>
                    </a:lnTo>
                    <a:lnTo>
                      <a:pt x="223" y="83"/>
                    </a:lnTo>
                    <a:lnTo>
                      <a:pt x="225" y="83"/>
                    </a:lnTo>
                    <a:lnTo>
                      <a:pt x="225" y="81"/>
                    </a:lnTo>
                    <a:lnTo>
                      <a:pt x="226" y="81"/>
                    </a:lnTo>
                    <a:lnTo>
                      <a:pt x="226" y="79"/>
                    </a:lnTo>
                    <a:lnTo>
                      <a:pt x="228" y="78"/>
                    </a:lnTo>
                    <a:lnTo>
                      <a:pt x="228" y="76"/>
                    </a:lnTo>
                    <a:lnTo>
                      <a:pt x="229" y="76"/>
                    </a:lnTo>
                    <a:lnTo>
                      <a:pt x="231" y="76"/>
                    </a:lnTo>
                    <a:lnTo>
                      <a:pt x="233" y="75"/>
                    </a:lnTo>
                    <a:lnTo>
                      <a:pt x="234" y="75"/>
                    </a:lnTo>
                    <a:lnTo>
                      <a:pt x="236" y="75"/>
                    </a:lnTo>
                    <a:lnTo>
                      <a:pt x="237" y="75"/>
                    </a:lnTo>
                    <a:lnTo>
                      <a:pt x="239" y="73"/>
                    </a:lnTo>
                    <a:lnTo>
                      <a:pt x="240" y="71"/>
                    </a:lnTo>
                    <a:lnTo>
                      <a:pt x="242" y="71"/>
                    </a:lnTo>
                    <a:lnTo>
                      <a:pt x="242" y="70"/>
                    </a:lnTo>
                    <a:lnTo>
                      <a:pt x="242" y="68"/>
                    </a:lnTo>
                    <a:lnTo>
                      <a:pt x="244" y="67"/>
                    </a:lnTo>
                    <a:lnTo>
                      <a:pt x="244" y="65"/>
                    </a:lnTo>
                    <a:lnTo>
                      <a:pt x="244" y="64"/>
                    </a:lnTo>
                    <a:lnTo>
                      <a:pt x="245" y="64"/>
                    </a:lnTo>
                    <a:lnTo>
                      <a:pt x="245" y="62"/>
                    </a:lnTo>
                    <a:lnTo>
                      <a:pt x="247" y="60"/>
                    </a:lnTo>
                    <a:lnTo>
                      <a:pt x="247" y="59"/>
                    </a:lnTo>
                    <a:lnTo>
                      <a:pt x="248" y="59"/>
                    </a:lnTo>
                    <a:lnTo>
                      <a:pt x="250" y="59"/>
                    </a:lnTo>
                    <a:lnTo>
                      <a:pt x="252" y="57"/>
                    </a:lnTo>
                    <a:lnTo>
                      <a:pt x="253" y="59"/>
                    </a:lnTo>
                    <a:lnTo>
                      <a:pt x="255" y="59"/>
                    </a:lnTo>
                    <a:lnTo>
                      <a:pt x="256" y="60"/>
                    </a:lnTo>
                    <a:lnTo>
                      <a:pt x="258" y="60"/>
                    </a:lnTo>
                    <a:lnTo>
                      <a:pt x="259" y="60"/>
                    </a:lnTo>
                    <a:lnTo>
                      <a:pt x="259" y="62"/>
                    </a:lnTo>
                    <a:lnTo>
                      <a:pt x="259" y="64"/>
                    </a:lnTo>
                    <a:lnTo>
                      <a:pt x="261" y="64"/>
                    </a:lnTo>
                    <a:lnTo>
                      <a:pt x="263" y="64"/>
                    </a:lnTo>
                    <a:lnTo>
                      <a:pt x="264" y="64"/>
                    </a:lnTo>
                    <a:lnTo>
                      <a:pt x="266" y="64"/>
                    </a:lnTo>
                    <a:lnTo>
                      <a:pt x="267" y="64"/>
                    </a:lnTo>
                    <a:lnTo>
                      <a:pt x="267" y="62"/>
                    </a:lnTo>
                    <a:lnTo>
                      <a:pt x="267" y="60"/>
                    </a:lnTo>
                    <a:lnTo>
                      <a:pt x="269" y="60"/>
                    </a:lnTo>
                    <a:lnTo>
                      <a:pt x="269" y="59"/>
                    </a:lnTo>
                    <a:lnTo>
                      <a:pt x="271" y="60"/>
                    </a:lnTo>
                    <a:lnTo>
                      <a:pt x="271" y="59"/>
                    </a:lnTo>
                    <a:lnTo>
                      <a:pt x="271" y="57"/>
                    </a:lnTo>
                    <a:lnTo>
                      <a:pt x="272" y="57"/>
                    </a:lnTo>
                    <a:lnTo>
                      <a:pt x="272" y="56"/>
                    </a:lnTo>
                    <a:lnTo>
                      <a:pt x="274" y="56"/>
                    </a:lnTo>
                    <a:lnTo>
                      <a:pt x="274" y="54"/>
                    </a:lnTo>
                    <a:lnTo>
                      <a:pt x="275" y="54"/>
                    </a:lnTo>
                    <a:lnTo>
                      <a:pt x="275" y="56"/>
                    </a:lnTo>
                    <a:lnTo>
                      <a:pt x="277" y="56"/>
                    </a:lnTo>
                    <a:lnTo>
                      <a:pt x="277" y="54"/>
                    </a:lnTo>
                    <a:lnTo>
                      <a:pt x="278" y="54"/>
                    </a:lnTo>
                    <a:lnTo>
                      <a:pt x="278" y="52"/>
                    </a:lnTo>
                    <a:lnTo>
                      <a:pt x="280" y="54"/>
                    </a:lnTo>
                    <a:lnTo>
                      <a:pt x="282" y="52"/>
                    </a:lnTo>
                    <a:lnTo>
                      <a:pt x="283" y="54"/>
                    </a:lnTo>
                    <a:lnTo>
                      <a:pt x="285" y="54"/>
                    </a:lnTo>
                    <a:lnTo>
                      <a:pt x="288" y="54"/>
                    </a:lnTo>
                    <a:lnTo>
                      <a:pt x="291" y="56"/>
                    </a:lnTo>
                    <a:lnTo>
                      <a:pt x="296" y="57"/>
                    </a:lnTo>
                    <a:lnTo>
                      <a:pt x="299" y="57"/>
                    </a:lnTo>
                    <a:lnTo>
                      <a:pt x="299" y="56"/>
                    </a:lnTo>
                    <a:lnTo>
                      <a:pt x="299" y="52"/>
                    </a:lnTo>
                    <a:lnTo>
                      <a:pt x="299" y="51"/>
                    </a:lnTo>
                    <a:lnTo>
                      <a:pt x="299" y="48"/>
                    </a:lnTo>
                    <a:lnTo>
                      <a:pt x="299" y="46"/>
                    </a:lnTo>
                    <a:lnTo>
                      <a:pt x="299" y="45"/>
                    </a:lnTo>
                    <a:lnTo>
                      <a:pt x="299" y="41"/>
                    </a:lnTo>
                    <a:lnTo>
                      <a:pt x="299" y="38"/>
                    </a:lnTo>
                    <a:lnTo>
                      <a:pt x="301" y="38"/>
                    </a:lnTo>
                    <a:lnTo>
                      <a:pt x="302" y="38"/>
                    </a:lnTo>
                    <a:lnTo>
                      <a:pt x="304" y="37"/>
                    </a:lnTo>
                    <a:lnTo>
                      <a:pt x="305" y="37"/>
                    </a:lnTo>
                    <a:lnTo>
                      <a:pt x="305" y="38"/>
                    </a:lnTo>
                    <a:lnTo>
                      <a:pt x="305" y="37"/>
                    </a:lnTo>
                    <a:lnTo>
                      <a:pt x="305" y="35"/>
                    </a:lnTo>
                    <a:lnTo>
                      <a:pt x="307" y="35"/>
                    </a:lnTo>
                    <a:lnTo>
                      <a:pt x="307" y="37"/>
                    </a:lnTo>
                    <a:lnTo>
                      <a:pt x="309" y="37"/>
                    </a:lnTo>
                    <a:lnTo>
                      <a:pt x="310" y="35"/>
                    </a:lnTo>
                    <a:lnTo>
                      <a:pt x="312" y="33"/>
                    </a:lnTo>
                    <a:lnTo>
                      <a:pt x="313" y="33"/>
                    </a:lnTo>
                    <a:lnTo>
                      <a:pt x="313" y="32"/>
                    </a:lnTo>
                    <a:lnTo>
                      <a:pt x="315" y="32"/>
                    </a:lnTo>
                    <a:lnTo>
                      <a:pt x="315" y="30"/>
                    </a:lnTo>
                    <a:lnTo>
                      <a:pt x="317" y="30"/>
                    </a:lnTo>
                    <a:lnTo>
                      <a:pt x="317" y="29"/>
                    </a:lnTo>
                    <a:lnTo>
                      <a:pt x="318" y="29"/>
                    </a:lnTo>
                    <a:lnTo>
                      <a:pt x="318" y="27"/>
                    </a:lnTo>
                    <a:lnTo>
                      <a:pt x="320" y="27"/>
                    </a:lnTo>
                    <a:lnTo>
                      <a:pt x="320" y="25"/>
                    </a:lnTo>
                    <a:lnTo>
                      <a:pt x="321" y="25"/>
                    </a:lnTo>
                    <a:lnTo>
                      <a:pt x="321" y="24"/>
                    </a:lnTo>
                    <a:lnTo>
                      <a:pt x="323" y="24"/>
                    </a:lnTo>
                    <a:lnTo>
                      <a:pt x="324" y="22"/>
                    </a:lnTo>
                    <a:lnTo>
                      <a:pt x="342" y="21"/>
                    </a:lnTo>
                    <a:lnTo>
                      <a:pt x="343" y="21"/>
                    </a:lnTo>
                    <a:lnTo>
                      <a:pt x="343" y="19"/>
                    </a:lnTo>
                    <a:lnTo>
                      <a:pt x="358" y="16"/>
                    </a:lnTo>
                    <a:lnTo>
                      <a:pt x="362" y="13"/>
                    </a:lnTo>
                    <a:lnTo>
                      <a:pt x="362" y="14"/>
                    </a:lnTo>
                    <a:lnTo>
                      <a:pt x="364" y="14"/>
                    </a:lnTo>
                    <a:lnTo>
                      <a:pt x="367" y="13"/>
                    </a:lnTo>
                    <a:lnTo>
                      <a:pt x="369" y="11"/>
                    </a:lnTo>
                    <a:lnTo>
                      <a:pt x="372" y="11"/>
                    </a:lnTo>
                    <a:lnTo>
                      <a:pt x="374" y="11"/>
                    </a:lnTo>
                    <a:lnTo>
                      <a:pt x="378" y="10"/>
                    </a:lnTo>
                    <a:lnTo>
                      <a:pt x="380" y="8"/>
                    </a:lnTo>
                    <a:lnTo>
                      <a:pt x="383" y="8"/>
                    </a:lnTo>
                    <a:lnTo>
                      <a:pt x="385" y="6"/>
                    </a:lnTo>
                    <a:lnTo>
                      <a:pt x="388" y="6"/>
                    </a:lnTo>
                    <a:lnTo>
                      <a:pt x="389" y="6"/>
                    </a:lnTo>
                    <a:lnTo>
                      <a:pt x="391" y="5"/>
                    </a:lnTo>
                    <a:lnTo>
                      <a:pt x="393" y="5"/>
                    </a:lnTo>
                    <a:lnTo>
                      <a:pt x="394" y="5"/>
                    </a:lnTo>
                    <a:lnTo>
                      <a:pt x="394" y="3"/>
                    </a:lnTo>
                    <a:lnTo>
                      <a:pt x="396" y="3"/>
                    </a:lnTo>
                    <a:lnTo>
                      <a:pt x="397" y="3"/>
                    </a:lnTo>
                    <a:lnTo>
                      <a:pt x="399" y="3"/>
                    </a:lnTo>
                    <a:lnTo>
                      <a:pt x="400" y="3"/>
                    </a:lnTo>
                    <a:lnTo>
                      <a:pt x="400" y="2"/>
                    </a:lnTo>
                    <a:lnTo>
                      <a:pt x="402" y="2"/>
                    </a:lnTo>
                    <a:lnTo>
                      <a:pt x="404" y="2"/>
                    </a:lnTo>
                    <a:lnTo>
                      <a:pt x="405" y="0"/>
                    </a:lnTo>
                    <a:lnTo>
                      <a:pt x="405" y="2"/>
                    </a:lnTo>
                    <a:lnTo>
                      <a:pt x="405" y="3"/>
                    </a:lnTo>
                    <a:lnTo>
                      <a:pt x="405" y="5"/>
                    </a:lnTo>
                    <a:lnTo>
                      <a:pt x="405" y="6"/>
                    </a:lnTo>
                    <a:lnTo>
                      <a:pt x="407" y="10"/>
                    </a:lnTo>
                    <a:lnTo>
                      <a:pt x="407" y="13"/>
                    </a:lnTo>
                    <a:close/>
                  </a:path>
                </a:pathLst>
              </a:custGeom>
              <a:solidFill>
                <a:srgbClr val="D3FF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30" name="Freeform 10"/>
              <p:cNvSpPr>
                <a:spLocks/>
              </p:cNvSpPr>
              <p:nvPr/>
            </p:nvSpPr>
            <p:spPr bwMode="auto">
              <a:xfrm>
                <a:off x="3729" y="1589"/>
                <a:ext cx="589" cy="1022"/>
              </a:xfrm>
              <a:custGeom>
                <a:avLst/>
                <a:gdLst>
                  <a:gd name="T0" fmla="*/ 408 w 589"/>
                  <a:gd name="T1" fmla="*/ 76 h 1022"/>
                  <a:gd name="T2" fmla="*/ 413 w 589"/>
                  <a:gd name="T3" fmla="*/ 109 h 1022"/>
                  <a:gd name="T4" fmla="*/ 426 w 589"/>
                  <a:gd name="T5" fmla="*/ 147 h 1022"/>
                  <a:gd name="T6" fmla="*/ 424 w 589"/>
                  <a:gd name="T7" fmla="*/ 177 h 1022"/>
                  <a:gd name="T8" fmla="*/ 423 w 589"/>
                  <a:gd name="T9" fmla="*/ 204 h 1022"/>
                  <a:gd name="T10" fmla="*/ 421 w 589"/>
                  <a:gd name="T11" fmla="*/ 231 h 1022"/>
                  <a:gd name="T12" fmla="*/ 416 w 589"/>
                  <a:gd name="T13" fmla="*/ 255 h 1022"/>
                  <a:gd name="T14" fmla="*/ 410 w 589"/>
                  <a:gd name="T15" fmla="*/ 287 h 1022"/>
                  <a:gd name="T16" fmla="*/ 404 w 589"/>
                  <a:gd name="T17" fmla="*/ 313 h 1022"/>
                  <a:gd name="T18" fmla="*/ 391 w 589"/>
                  <a:gd name="T19" fmla="*/ 331 h 1022"/>
                  <a:gd name="T20" fmla="*/ 388 w 589"/>
                  <a:gd name="T21" fmla="*/ 356 h 1022"/>
                  <a:gd name="T22" fmla="*/ 388 w 589"/>
                  <a:gd name="T23" fmla="*/ 382 h 1022"/>
                  <a:gd name="T24" fmla="*/ 397 w 589"/>
                  <a:gd name="T25" fmla="*/ 410 h 1022"/>
                  <a:gd name="T26" fmla="*/ 438 w 589"/>
                  <a:gd name="T27" fmla="*/ 450 h 1022"/>
                  <a:gd name="T28" fmla="*/ 497 w 589"/>
                  <a:gd name="T29" fmla="*/ 497 h 1022"/>
                  <a:gd name="T30" fmla="*/ 537 w 589"/>
                  <a:gd name="T31" fmla="*/ 561 h 1022"/>
                  <a:gd name="T32" fmla="*/ 578 w 589"/>
                  <a:gd name="T33" fmla="*/ 591 h 1022"/>
                  <a:gd name="T34" fmla="*/ 583 w 589"/>
                  <a:gd name="T35" fmla="*/ 651 h 1022"/>
                  <a:gd name="T36" fmla="*/ 586 w 589"/>
                  <a:gd name="T37" fmla="*/ 697 h 1022"/>
                  <a:gd name="T38" fmla="*/ 557 w 589"/>
                  <a:gd name="T39" fmla="*/ 721 h 1022"/>
                  <a:gd name="T40" fmla="*/ 541 w 589"/>
                  <a:gd name="T41" fmla="*/ 768 h 1022"/>
                  <a:gd name="T42" fmla="*/ 527 w 589"/>
                  <a:gd name="T43" fmla="*/ 790 h 1022"/>
                  <a:gd name="T44" fmla="*/ 522 w 589"/>
                  <a:gd name="T45" fmla="*/ 809 h 1022"/>
                  <a:gd name="T46" fmla="*/ 518 w 589"/>
                  <a:gd name="T47" fmla="*/ 830 h 1022"/>
                  <a:gd name="T48" fmla="*/ 516 w 589"/>
                  <a:gd name="T49" fmla="*/ 854 h 1022"/>
                  <a:gd name="T50" fmla="*/ 516 w 589"/>
                  <a:gd name="T51" fmla="*/ 881 h 1022"/>
                  <a:gd name="T52" fmla="*/ 518 w 589"/>
                  <a:gd name="T53" fmla="*/ 904 h 1022"/>
                  <a:gd name="T54" fmla="*/ 497 w 589"/>
                  <a:gd name="T55" fmla="*/ 914 h 1022"/>
                  <a:gd name="T56" fmla="*/ 484 w 589"/>
                  <a:gd name="T57" fmla="*/ 931 h 1022"/>
                  <a:gd name="T58" fmla="*/ 473 w 589"/>
                  <a:gd name="T59" fmla="*/ 952 h 1022"/>
                  <a:gd name="T60" fmla="*/ 473 w 589"/>
                  <a:gd name="T61" fmla="*/ 976 h 1022"/>
                  <a:gd name="T62" fmla="*/ 478 w 589"/>
                  <a:gd name="T63" fmla="*/ 998 h 1022"/>
                  <a:gd name="T64" fmla="*/ 462 w 589"/>
                  <a:gd name="T65" fmla="*/ 1018 h 1022"/>
                  <a:gd name="T66" fmla="*/ 437 w 589"/>
                  <a:gd name="T67" fmla="*/ 1006 h 1022"/>
                  <a:gd name="T68" fmla="*/ 418 w 589"/>
                  <a:gd name="T69" fmla="*/ 1012 h 1022"/>
                  <a:gd name="T70" fmla="*/ 413 w 589"/>
                  <a:gd name="T71" fmla="*/ 993 h 1022"/>
                  <a:gd name="T72" fmla="*/ 400 w 589"/>
                  <a:gd name="T73" fmla="*/ 979 h 1022"/>
                  <a:gd name="T74" fmla="*/ 389 w 589"/>
                  <a:gd name="T75" fmla="*/ 958 h 1022"/>
                  <a:gd name="T76" fmla="*/ 370 w 589"/>
                  <a:gd name="T77" fmla="*/ 950 h 1022"/>
                  <a:gd name="T78" fmla="*/ 350 w 589"/>
                  <a:gd name="T79" fmla="*/ 944 h 1022"/>
                  <a:gd name="T80" fmla="*/ 329 w 589"/>
                  <a:gd name="T81" fmla="*/ 942 h 1022"/>
                  <a:gd name="T82" fmla="*/ 307 w 589"/>
                  <a:gd name="T83" fmla="*/ 944 h 1022"/>
                  <a:gd name="T84" fmla="*/ 285 w 589"/>
                  <a:gd name="T85" fmla="*/ 938 h 1022"/>
                  <a:gd name="T86" fmla="*/ 263 w 589"/>
                  <a:gd name="T87" fmla="*/ 930 h 1022"/>
                  <a:gd name="T88" fmla="*/ 245 w 589"/>
                  <a:gd name="T89" fmla="*/ 923 h 1022"/>
                  <a:gd name="T90" fmla="*/ 229 w 589"/>
                  <a:gd name="T91" fmla="*/ 925 h 1022"/>
                  <a:gd name="T92" fmla="*/ 207 w 589"/>
                  <a:gd name="T93" fmla="*/ 922 h 1022"/>
                  <a:gd name="T94" fmla="*/ 187 w 589"/>
                  <a:gd name="T95" fmla="*/ 912 h 1022"/>
                  <a:gd name="T96" fmla="*/ 164 w 589"/>
                  <a:gd name="T97" fmla="*/ 904 h 1022"/>
                  <a:gd name="T98" fmla="*/ 147 w 589"/>
                  <a:gd name="T99" fmla="*/ 888 h 1022"/>
                  <a:gd name="T100" fmla="*/ 123 w 589"/>
                  <a:gd name="T101" fmla="*/ 881 h 1022"/>
                  <a:gd name="T102" fmla="*/ 93 w 589"/>
                  <a:gd name="T103" fmla="*/ 881 h 1022"/>
                  <a:gd name="T104" fmla="*/ 74 w 589"/>
                  <a:gd name="T105" fmla="*/ 890 h 1022"/>
                  <a:gd name="T106" fmla="*/ 54 w 589"/>
                  <a:gd name="T107" fmla="*/ 900 h 1022"/>
                  <a:gd name="T108" fmla="*/ 35 w 589"/>
                  <a:gd name="T109" fmla="*/ 892 h 1022"/>
                  <a:gd name="T110" fmla="*/ 16 w 589"/>
                  <a:gd name="T111" fmla="*/ 881 h 1022"/>
                  <a:gd name="T112" fmla="*/ 11 w 589"/>
                  <a:gd name="T113" fmla="*/ 857 h 1022"/>
                  <a:gd name="T114" fmla="*/ 8 w 589"/>
                  <a:gd name="T115" fmla="*/ 831 h 1022"/>
                  <a:gd name="T116" fmla="*/ 1 w 589"/>
                  <a:gd name="T117" fmla="*/ 809 h 1022"/>
                  <a:gd name="T118" fmla="*/ 22 w 589"/>
                  <a:gd name="T119" fmla="*/ 812 h 1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9" h="1022">
                    <a:moveTo>
                      <a:pt x="407" y="0"/>
                    </a:moveTo>
                    <a:lnTo>
                      <a:pt x="407" y="1"/>
                    </a:lnTo>
                    <a:lnTo>
                      <a:pt x="407" y="5"/>
                    </a:lnTo>
                    <a:lnTo>
                      <a:pt x="407" y="6"/>
                    </a:lnTo>
                    <a:lnTo>
                      <a:pt x="407" y="8"/>
                    </a:lnTo>
                    <a:lnTo>
                      <a:pt x="407" y="9"/>
                    </a:lnTo>
                    <a:lnTo>
                      <a:pt x="407" y="20"/>
                    </a:lnTo>
                    <a:lnTo>
                      <a:pt x="407" y="28"/>
                    </a:lnTo>
                    <a:lnTo>
                      <a:pt x="407" y="38"/>
                    </a:lnTo>
                    <a:lnTo>
                      <a:pt x="407" y="44"/>
                    </a:lnTo>
                    <a:lnTo>
                      <a:pt x="407" y="52"/>
                    </a:lnTo>
                    <a:lnTo>
                      <a:pt x="407" y="57"/>
                    </a:lnTo>
                    <a:lnTo>
                      <a:pt x="408" y="70"/>
                    </a:lnTo>
                    <a:lnTo>
                      <a:pt x="408" y="71"/>
                    </a:lnTo>
                    <a:lnTo>
                      <a:pt x="408" y="73"/>
                    </a:lnTo>
                    <a:lnTo>
                      <a:pt x="408" y="74"/>
                    </a:lnTo>
                    <a:lnTo>
                      <a:pt x="408" y="76"/>
                    </a:lnTo>
                    <a:lnTo>
                      <a:pt x="408" y="77"/>
                    </a:lnTo>
                    <a:lnTo>
                      <a:pt x="408" y="79"/>
                    </a:lnTo>
                    <a:lnTo>
                      <a:pt x="408" y="81"/>
                    </a:lnTo>
                    <a:lnTo>
                      <a:pt x="408" y="84"/>
                    </a:lnTo>
                    <a:lnTo>
                      <a:pt x="408" y="85"/>
                    </a:lnTo>
                    <a:lnTo>
                      <a:pt x="408" y="87"/>
                    </a:lnTo>
                    <a:lnTo>
                      <a:pt x="408" y="89"/>
                    </a:lnTo>
                    <a:lnTo>
                      <a:pt x="408" y="90"/>
                    </a:lnTo>
                    <a:lnTo>
                      <a:pt x="408" y="93"/>
                    </a:lnTo>
                    <a:lnTo>
                      <a:pt x="408" y="95"/>
                    </a:lnTo>
                    <a:lnTo>
                      <a:pt x="408" y="96"/>
                    </a:lnTo>
                    <a:lnTo>
                      <a:pt x="408" y="98"/>
                    </a:lnTo>
                    <a:lnTo>
                      <a:pt x="410" y="100"/>
                    </a:lnTo>
                    <a:lnTo>
                      <a:pt x="410" y="103"/>
                    </a:lnTo>
                    <a:lnTo>
                      <a:pt x="412" y="104"/>
                    </a:lnTo>
                    <a:lnTo>
                      <a:pt x="412" y="108"/>
                    </a:lnTo>
                    <a:lnTo>
                      <a:pt x="413" y="109"/>
                    </a:lnTo>
                    <a:lnTo>
                      <a:pt x="413" y="112"/>
                    </a:lnTo>
                    <a:lnTo>
                      <a:pt x="415" y="115"/>
                    </a:lnTo>
                    <a:lnTo>
                      <a:pt x="416" y="119"/>
                    </a:lnTo>
                    <a:lnTo>
                      <a:pt x="416" y="122"/>
                    </a:lnTo>
                    <a:lnTo>
                      <a:pt x="418" y="125"/>
                    </a:lnTo>
                    <a:lnTo>
                      <a:pt x="418" y="127"/>
                    </a:lnTo>
                    <a:lnTo>
                      <a:pt x="419" y="128"/>
                    </a:lnTo>
                    <a:lnTo>
                      <a:pt x="421" y="131"/>
                    </a:lnTo>
                    <a:lnTo>
                      <a:pt x="421" y="133"/>
                    </a:lnTo>
                    <a:lnTo>
                      <a:pt x="423" y="134"/>
                    </a:lnTo>
                    <a:lnTo>
                      <a:pt x="423" y="136"/>
                    </a:lnTo>
                    <a:lnTo>
                      <a:pt x="424" y="139"/>
                    </a:lnTo>
                    <a:lnTo>
                      <a:pt x="424" y="141"/>
                    </a:lnTo>
                    <a:lnTo>
                      <a:pt x="426" y="142"/>
                    </a:lnTo>
                    <a:lnTo>
                      <a:pt x="426" y="144"/>
                    </a:lnTo>
                    <a:lnTo>
                      <a:pt x="426" y="146"/>
                    </a:lnTo>
                    <a:lnTo>
                      <a:pt x="426" y="147"/>
                    </a:lnTo>
                    <a:lnTo>
                      <a:pt x="426" y="149"/>
                    </a:lnTo>
                    <a:lnTo>
                      <a:pt x="426" y="150"/>
                    </a:lnTo>
                    <a:lnTo>
                      <a:pt x="426" y="152"/>
                    </a:lnTo>
                    <a:lnTo>
                      <a:pt x="426" y="153"/>
                    </a:lnTo>
                    <a:lnTo>
                      <a:pt x="426" y="157"/>
                    </a:lnTo>
                    <a:lnTo>
                      <a:pt x="426" y="158"/>
                    </a:lnTo>
                    <a:lnTo>
                      <a:pt x="426" y="160"/>
                    </a:lnTo>
                    <a:lnTo>
                      <a:pt x="424" y="163"/>
                    </a:lnTo>
                    <a:lnTo>
                      <a:pt x="424" y="165"/>
                    </a:lnTo>
                    <a:lnTo>
                      <a:pt x="424" y="166"/>
                    </a:lnTo>
                    <a:lnTo>
                      <a:pt x="424" y="168"/>
                    </a:lnTo>
                    <a:lnTo>
                      <a:pt x="424" y="169"/>
                    </a:lnTo>
                    <a:lnTo>
                      <a:pt x="424" y="171"/>
                    </a:lnTo>
                    <a:lnTo>
                      <a:pt x="424" y="172"/>
                    </a:lnTo>
                    <a:lnTo>
                      <a:pt x="424" y="174"/>
                    </a:lnTo>
                    <a:lnTo>
                      <a:pt x="424" y="176"/>
                    </a:lnTo>
                    <a:lnTo>
                      <a:pt x="424" y="177"/>
                    </a:lnTo>
                    <a:lnTo>
                      <a:pt x="424" y="179"/>
                    </a:lnTo>
                    <a:lnTo>
                      <a:pt x="424" y="180"/>
                    </a:lnTo>
                    <a:lnTo>
                      <a:pt x="424" y="182"/>
                    </a:lnTo>
                    <a:lnTo>
                      <a:pt x="424" y="184"/>
                    </a:lnTo>
                    <a:lnTo>
                      <a:pt x="424" y="185"/>
                    </a:lnTo>
                    <a:lnTo>
                      <a:pt x="424" y="187"/>
                    </a:lnTo>
                    <a:lnTo>
                      <a:pt x="424" y="188"/>
                    </a:lnTo>
                    <a:lnTo>
                      <a:pt x="424" y="190"/>
                    </a:lnTo>
                    <a:lnTo>
                      <a:pt x="424" y="191"/>
                    </a:lnTo>
                    <a:lnTo>
                      <a:pt x="424" y="193"/>
                    </a:lnTo>
                    <a:lnTo>
                      <a:pt x="424" y="195"/>
                    </a:lnTo>
                    <a:lnTo>
                      <a:pt x="424" y="196"/>
                    </a:lnTo>
                    <a:lnTo>
                      <a:pt x="424" y="198"/>
                    </a:lnTo>
                    <a:lnTo>
                      <a:pt x="424" y="199"/>
                    </a:lnTo>
                    <a:lnTo>
                      <a:pt x="423" y="201"/>
                    </a:lnTo>
                    <a:lnTo>
                      <a:pt x="423" y="203"/>
                    </a:lnTo>
                    <a:lnTo>
                      <a:pt x="423" y="204"/>
                    </a:lnTo>
                    <a:lnTo>
                      <a:pt x="423" y="206"/>
                    </a:lnTo>
                    <a:lnTo>
                      <a:pt x="423" y="207"/>
                    </a:lnTo>
                    <a:lnTo>
                      <a:pt x="423" y="209"/>
                    </a:lnTo>
                    <a:lnTo>
                      <a:pt x="423" y="211"/>
                    </a:lnTo>
                    <a:lnTo>
                      <a:pt x="423" y="212"/>
                    </a:lnTo>
                    <a:lnTo>
                      <a:pt x="423" y="214"/>
                    </a:lnTo>
                    <a:lnTo>
                      <a:pt x="423" y="215"/>
                    </a:lnTo>
                    <a:lnTo>
                      <a:pt x="423" y="217"/>
                    </a:lnTo>
                    <a:lnTo>
                      <a:pt x="423" y="218"/>
                    </a:lnTo>
                    <a:lnTo>
                      <a:pt x="423" y="220"/>
                    </a:lnTo>
                    <a:lnTo>
                      <a:pt x="421" y="222"/>
                    </a:lnTo>
                    <a:lnTo>
                      <a:pt x="421" y="223"/>
                    </a:lnTo>
                    <a:lnTo>
                      <a:pt x="421" y="225"/>
                    </a:lnTo>
                    <a:lnTo>
                      <a:pt x="421" y="226"/>
                    </a:lnTo>
                    <a:lnTo>
                      <a:pt x="421" y="228"/>
                    </a:lnTo>
                    <a:lnTo>
                      <a:pt x="421" y="230"/>
                    </a:lnTo>
                    <a:lnTo>
                      <a:pt x="421" y="231"/>
                    </a:lnTo>
                    <a:lnTo>
                      <a:pt x="419" y="231"/>
                    </a:lnTo>
                    <a:lnTo>
                      <a:pt x="419" y="233"/>
                    </a:lnTo>
                    <a:lnTo>
                      <a:pt x="419" y="234"/>
                    </a:lnTo>
                    <a:lnTo>
                      <a:pt x="419" y="236"/>
                    </a:lnTo>
                    <a:lnTo>
                      <a:pt x="419" y="237"/>
                    </a:lnTo>
                    <a:lnTo>
                      <a:pt x="419" y="239"/>
                    </a:lnTo>
                    <a:lnTo>
                      <a:pt x="419" y="241"/>
                    </a:lnTo>
                    <a:lnTo>
                      <a:pt x="418" y="242"/>
                    </a:lnTo>
                    <a:lnTo>
                      <a:pt x="418" y="244"/>
                    </a:lnTo>
                    <a:lnTo>
                      <a:pt x="418" y="245"/>
                    </a:lnTo>
                    <a:lnTo>
                      <a:pt x="418" y="247"/>
                    </a:lnTo>
                    <a:lnTo>
                      <a:pt x="418" y="249"/>
                    </a:lnTo>
                    <a:lnTo>
                      <a:pt x="418" y="250"/>
                    </a:lnTo>
                    <a:lnTo>
                      <a:pt x="418" y="252"/>
                    </a:lnTo>
                    <a:lnTo>
                      <a:pt x="418" y="253"/>
                    </a:lnTo>
                    <a:lnTo>
                      <a:pt x="418" y="255"/>
                    </a:lnTo>
                    <a:lnTo>
                      <a:pt x="416" y="255"/>
                    </a:lnTo>
                    <a:lnTo>
                      <a:pt x="416" y="256"/>
                    </a:lnTo>
                    <a:lnTo>
                      <a:pt x="416" y="258"/>
                    </a:lnTo>
                    <a:lnTo>
                      <a:pt x="416" y="260"/>
                    </a:lnTo>
                    <a:lnTo>
                      <a:pt x="415" y="261"/>
                    </a:lnTo>
                    <a:lnTo>
                      <a:pt x="415" y="263"/>
                    </a:lnTo>
                    <a:lnTo>
                      <a:pt x="415" y="264"/>
                    </a:lnTo>
                    <a:lnTo>
                      <a:pt x="415" y="266"/>
                    </a:lnTo>
                    <a:lnTo>
                      <a:pt x="415" y="268"/>
                    </a:lnTo>
                    <a:lnTo>
                      <a:pt x="413" y="269"/>
                    </a:lnTo>
                    <a:lnTo>
                      <a:pt x="413" y="272"/>
                    </a:lnTo>
                    <a:lnTo>
                      <a:pt x="413" y="274"/>
                    </a:lnTo>
                    <a:lnTo>
                      <a:pt x="413" y="275"/>
                    </a:lnTo>
                    <a:lnTo>
                      <a:pt x="412" y="279"/>
                    </a:lnTo>
                    <a:lnTo>
                      <a:pt x="412" y="280"/>
                    </a:lnTo>
                    <a:lnTo>
                      <a:pt x="412" y="283"/>
                    </a:lnTo>
                    <a:lnTo>
                      <a:pt x="410" y="285"/>
                    </a:lnTo>
                    <a:lnTo>
                      <a:pt x="410" y="287"/>
                    </a:lnTo>
                    <a:lnTo>
                      <a:pt x="410" y="288"/>
                    </a:lnTo>
                    <a:lnTo>
                      <a:pt x="410" y="290"/>
                    </a:lnTo>
                    <a:lnTo>
                      <a:pt x="410" y="291"/>
                    </a:lnTo>
                    <a:lnTo>
                      <a:pt x="408" y="293"/>
                    </a:lnTo>
                    <a:lnTo>
                      <a:pt x="408" y="294"/>
                    </a:lnTo>
                    <a:lnTo>
                      <a:pt x="408" y="296"/>
                    </a:lnTo>
                    <a:lnTo>
                      <a:pt x="408" y="298"/>
                    </a:lnTo>
                    <a:lnTo>
                      <a:pt x="408" y="299"/>
                    </a:lnTo>
                    <a:lnTo>
                      <a:pt x="408" y="301"/>
                    </a:lnTo>
                    <a:lnTo>
                      <a:pt x="407" y="302"/>
                    </a:lnTo>
                    <a:lnTo>
                      <a:pt x="407" y="304"/>
                    </a:lnTo>
                    <a:lnTo>
                      <a:pt x="405" y="306"/>
                    </a:lnTo>
                    <a:lnTo>
                      <a:pt x="405" y="307"/>
                    </a:lnTo>
                    <a:lnTo>
                      <a:pt x="405" y="309"/>
                    </a:lnTo>
                    <a:lnTo>
                      <a:pt x="404" y="310"/>
                    </a:lnTo>
                    <a:lnTo>
                      <a:pt x="404" y="312"/>
                    </a:lnTo>
                    <a:lnTo>
                      <a:pt x="404" y="313"/>
                    </a:lnTo>
                    <a:lnTo>
                      <a:pt x="402" y="315"/>
                    </a:lnTo>
                    <a:lnTo>
                      <a:pt x="402" y="317"/>
                    </a:lnTo>
                    <a:lnTo>
                      <a:pt x="402" y="318"/>
                    </a:lnTo>
                    <a:lnTo>
                      <a:pt x="402" y="320"/>
                    </a:lnTo>
                    <a:lnTo>
                      <a:pt x="400" y="320"/>
                    </a:lnTo>
                    <a:lnTo>
                      <a:pt x="400" y="321"/>
                    </a:lnTo>
                    <a:lnTo>
                      <a:pt x="400" y="323"/>
                    </a:lnTo>
                    <a:lnTo>
                      <a:pt x="399" y="323"/>
                    </a:lnTo>
                    <a:lnTo>
                      <a:pt x="399" y="325"/>
                    </a:lnTo>
                    <a:lnTo>
                      <a:pt x="397" y="325"/>
                    </a:lnTo>
                    <a:lnTo>
                      <a:pt x="396" y="326"/>
                    </a:lnTo>
                    <a:lnTo>
                      <a:pt x="394" y="326"/>
                    </a:lnTo>
                    <a:lnTo>
                      <a:pt x="394" y="328"/>
                    </a:lnTo>
                    <a:lnTo>
                      <a:pt x="393" y="328"/>
                    </a:lnTo>
                    <a:lnTo>
                      <a:pt x="393" y="329"/>
                    </a:lnTo>
                    <a:lnTo>
                      <a:pt x="391" y="329"/>
                    </a:lnTo>
                    <a:lnTo>
                      <a:pt x="391" y="331"/>
                    </a:lnTo>
                    <a:lnTo>
                      <a:pt x="391" y="332"/>
                    </a:lnTo>
                    <a:lnTo>
                      <a:pt x="389" y="332"/>
                    </a:lnTo>
                    <a:lnTo>
                      <a:pt x="389" y="334"/>
                    </a:lnTo>
                    <a:lnTo>
                      <a:pt x="388" y="336"/>
                    </a:lnTo>
                    <a:lnTo>
                      <a:pt x="388" y="337"/>
                    </a:lnTo>
                    <a:lnTo>
                      <a:pt x="388" y="339"/>
                    </a:lnTo>
                    <a:lnTo>
                      <a:pt x="388" y="340"/>
                    </a:lnTo>
                    <a:lnTo>
                      <a:pt x="386" y="342"/>
                    </a:lnTo>
                    <a:lnTo>
                      <a:pt x="386" y="344"/>
                    </a:lnTo>
                    <a:lnTo>
                      <a:pt x="386" y="345"/>
                    </a:lnTo>
                    <a:lnTo>
                      <a:pt x="386" y="347"/>
                    </a:lnTo>
                    <a:lnTo>
                      <a:pt x="386" y="348"/>
                    </a:lnTo>
                    <a:lnTo>
                      <a:pt x="386" y="350"/>
                    </a:lnTo>
                    <a:lnTo>
                      <a:pt x="386" y="351"/>
                    </a:lnTo>
                    <a:lnTo>
                      <a:pt x="386" y="353"/>
                    </a:lnTo>
                    <a:lnTo>
                      <a:pt x="388" y="355"/>
                    </a:lnTo>
                    <a:lnTo>
                      <a:pt x="388" y="356"/>
                    </a:lnTo>
                    <a:lnTo>
                      <a:pt x="388" y="358"/>
                    </a:lnTo>
                    <a:lnTo>
                      <a:pt x="388" y="359"/>
                    </a:lnTo>
                    <a:lnTo>
                      <a:pt x="388" y="361"/>
                    </a:lnTo>
                    <a:lnTo>
                      <a:pt x="389" y="363"/>
                    </a:lnTo>
                    <a:lnTo>
                      <a:pt x="389" y="364"/>
                    </a:lnTo>
                    <a:lnTo>
                      <a:pt x="389" y="366"/>
                    </a:lnTo>
                    <a:lnTo>
                      <a:pt x="389" y="367"/>
                    </a:lnTo>
                    <a:lnTo>
                      <a:pt x="389" y="369"/>
                    </a:lnTo>
                    <a:lnTo>
                      <a:pt x="389" y="370"/>
                    </a:lnTo>
                    <a:lnTo>
                      <a:pt x="389" y="372"/>
                    </a:lnTo>
                    <a:lnTo>
                      <a:pt x="389" y="374"/>
                    </a:lnTo>
                    <a:lnTo>
                      <a:pt x="389" y="375"/>
                    </a:lnTo>
                    <a:lnTo>
                      <a:pt x="389" y="377"/>
                    </a:lnTo>
                    <a:lnTo>
                      <a:pt x="389" y="378"/>
                    </a:lnTo>
                    <a:lnTo>
                      <a:pt x="389" y="380"/>
                    </a:lnTo>
                    <a:lnTo>
                      <a:pt x="389" y="382"/>
                    </a:lnTo>
                    <a:lnTo>
                      <a:pt x="388" y="382"/>
                    </a:lnTo>
                    <a:lnTo>
                      <a:pt x="388" y="383"/>
                    </a:lnTo>
                    <a:lnTo>
                      <a:pt x="386" y="383"/>
                    </a:lnTo>
                    <a:lnTo>
                      <a:pt x="386" y="385"/>
                    </a:lnTo>
                    <a:lnTo>
                      <a:pt x="385" y="385"/>
                    </a:lnTo>
                    <a:lnTo>
                      <a:pt x="383" y="385"/>
                    </a:lnTo>
                    <a:lnTo>
                      <a:pt x="383" y="386"/>
                    </a:lnTo>
                    <a:lnTo>
                      <a:pt x="381" y="386"/>
                    </a:lnTo>
                    <a:lnTo>
                      <a:pt x="381" y="389"/>
                    </a:lnTo>
                    <a:lnTo>
                      <a:pt x="383" y="391"/>
                    </a:lnTo>
                    <a:lnTo>
                      <a:pt x="383" y="393"/>
                    </a:lnTo>
                    <a:lnTo>
                      <a:pt x="385" y="394"/>
                    </a:lnTo>
                    <a:lnTo>
                      <a:pt x="388" y="399"/>
                    </a:lnTo>
                    <a:lnTo>
                      <a:pt x="389" y="402"/>
                    </a:lnTo>
                    <a:lnTo>
                      <a:pt x="393" y="405"/>
                    </a:lnTo>
                    <a:lnTo>
                      <a:pt x="394" y="407"/>
                    </a:lnTo>
                    <a:lnTo>
                      <a:pt x="396" y="410"/>
                    </a:lnTo>
                    <a:lnTo>
                      <a:pt x="397" y="410"/>
                    </a:lnTo>
                    <a:lnTo>
                      <a:pt x="400" y="415"/>
                    </a:lnTo>
                    <a:lnTo>
                      <a:pt x="402" y="416"/>
                    </a:lnTo>
                    <a:lnTo>
                      <a:pt x="402" y="418"/>
                    </a:lnTo>
                    <a:lnTo>
                      <a:pt x="404" y="418"/>
                    </a:lnTo>
                    <a:lnTo>
                      <a:pt x="407" y="421"/>
                    </a:lnTo>
                    <a:lnTo>
                      <a:pt x="408" y="423"/>
                    </a:lnTo>
                    <a:lnTo>
                      <a:pt x="412" y="424"/>
                    </a:lnTo>
                    <a:lnTo>
                      <a:pt x="416" y="428"/>
                    </a:lnTo>
                    <a:lnTo>
                      <a:pt x="419" y="429"/>
                    </a:lnTo>
                    <a:lnTo>
                      <a:pt x="421" y="431"/>
                    </a:lnTo>
                    <a:lnTo>
                      <a:pt x="427" y="435"/>
                    </a:lnTo>
                    <a:lnTo>
                      <a:pt x="429" y="437"/>
                    </a:lnTo>
                    <a:lnTo>
                      <a:pt x="432" y="439"/>
                    </a:lnTo>
                    <a:lnTo>
                      <a:pt x="435" y="445"/>
                    </a:lnTo>
                    <a:lnTo>
                      <a:pt x="437" y="447"/>
                    </a:lnTo>
                    <a:lnTo>
                      <a:pt x="437" y="450"/>
                    </a:lnTo>
                    <a:lnTo>
                      <a:pt x="438" y="450"/>
                    </a:lnTo>
                    <a:lnTo>
                      <a:pt x="440" y="456"/>
                    </a:lnTo>
                    <a:lnTo>
                      <a:pt x="440" y="458"/>
                    </a:lnTo>
                    <a:lnTo>
                      <a:pt x="442" y="459"/>
                    </a:lnTo>
                    <a:lnTo>
                      <a:pt x="443" y="462"/>
                    </a:lnTo>
                    <a:lnTo>
                      <a:pt x="445" y="464"/>
                    </a:lnTo>
                    <a:lnTo>
                      <a:pt x="451" y="470"/>
                    </a:lnTo>
                    <a:lnTo>
                      <a:pt x="456" y="475"/>
                    </a:lnTo>
                    <a:lnTo>
                      <a:pt x="464" y="483"/>
                    </a:lnTo>
                    <a:lnTo>
                      <a:pt x="469" y="486"/>
                    </a:lnTo>
                    <a:lnTo>
                      <a:pt x="470" y="486"/>
                    </a:lnTo>
                    <a:lnTo>
                      <a:pt x="473" y="488"/>
                    </a:lnTo>
                    <a:lnTo>
                      <a:pt x="480" y="489"/>
                    </a:lnTo>
                    <a:lnTo>
                      <a:pt x="481" y="491"/>
                    </a:lnTo>
                    <a:lnTo>
                      <a:pt x="484" y="492"/>
                    </a:lnTo>
                    <a:lnTo>
                      <a:pt x="489" y="494"/>
                    </a:lnTo>
                    <a:lnTo>
                      <a:pt x="496" y="497"/>
                    </a:lnTo>
                    <a:lnTo>
                      <a:pt x="497" y="497"/>
                    </a:lnTo>
                    <a:lnTo>
                      <a:pt x="499" y="497"/>
                    </a:lnTo>
                    <a:lnTo>
                      <a:pt x="500" y="499"/>
                    </a:lnTo>
                    <a:lnTo>
                      <a:pt x="503" y="508"/>
                    </a:lnTo>
                    <a:lnTo>
                      <a:pt x="505" y="510"/>
                    </a:lnTo>
                    <a:lnTo>
                      <a:pt x="510" y="519"/>
                    </a:lnTo>
                    <a:lnTo>
                      <a:pt x="515" y="526"/>
                    </a:lnTo>
                    <a:lnTo>
                      <a:pt x="516" y="530"/>
                    </a:lnTo>
                    <a:lnTo>
                      <a:pt x="518" y="530"/>
                    </a:lnTo>
                    <a:lnTo>
                      <a:pt x="522" y="540"/>
                    </a:lnTo>
                    <a:lnTo>
                      <a:pt x="526" y="545"/>
                    </a:lnTo>
                    <a:lnTo>
                      <a:pt x="527" y="548"/>
                    </a:lnTo>
                    <a:lnTo>
                      <a:pt x="529" y="549"/>
                    </a:lnTo>
                    <a:lnTo>
                      <a:pt x="532" y="556"/>
                    </a:lnTo>
                    <a:lnTo>
                      <a:pt x="534" y="557"/>
                    </a:lnTo>
                    <a:lnTo>
                      <a:pt x="535" y="559"/>
                    </a:lnTo>
                    <a:lnTo>
                      <a:pt x="537" y="559"/>
                    </a:lnTo>
                    <a:lnTo>
                      <a:pt x="537" y="561"/>
                    </a:lnTo>
                    <a:lnTo>
                      <a:pt x="538" y="561"/>
                    </a:lnTo>
                    <a:lnTo>
                      <a:pt x="546" y="564"/>
                    </a:lnTo>
                    <a:lnTo>
                      <a:pt x="548" y="565"/>
                    </a:lnTo>
                    <a:lnTo>
                      <a:pt x="551" y="567"/>
                    </a:lnTo>
                    <a:lnTo>
                      <a:pt x="553" y="568"/>
                    </a:lnTo>
                    <a:lnTo>
                      <a:pt x="556" y="568"/>
                    </a:lnTo>
                    <a:lnTo>
                      <a:pt x="559" y="570"/>
                    </a:lnTo>
                    <a:lnTo>
                      <a:pt x="565" y="572"/>
                    </a:lnTo>
                    <a:lnTo>
                      <a:pt x="568" y="573"/>
                    </a:lnTo>
                    <a:lnTo>
                      <a:pt x="572" y="573"/>
                    </a:lnTo>
                    <a:lnTo>
                      <a:pt x="573" y="575"/>
                    </a:lnTo>
                    <a:lnTo>
                      <a:pt x="576" y="575"/>
                    </a:lnTo>
                    <a:lnTo>
                      <a:pt x="584" y="576"/>
                    </a:lnTo>
                    <a:lnTo>
                      <a:pt x="586" y="576"/>
                    </a:lnTo>
                    <a:lnTo>
                      <a:pt x="587" y="578"/>
                    </a:lnTo>
                    <a:lnTo>
                      <a:pt x="589" y="578"/>
                    </a:lnTo>
                    <a:lnTo>
                      <a:pt x="578" y="591"/>
                    </a:lnTo>
                    <a:lnTo>
                      <a:pt x="578" y="592"/>
                    </a:lnTo>
                    <a:lnTo>
                      <a:pt x="578" y="595"/>
                    </a:lnTo>
                    <a:lnTo>
                      <a:pt x="578" y="599"/>
                    </a:lnTo>
                    <a:lnTo>
                      <a:pt x="578" y="602"/>
                    </a:lnTo>
                    <a:lnTo>
                      <a:pt x="578" y="605"/>
                    </a:lnTo>
                    <a:lnTo>
                      <a:pt x="578" y="610"/>
                    </a:lnTo>
                    <a:lnTo>
                      <a:pt x="579" y="614"/>
                    </a:lnTo>
                    <a:lnTo>
                      <a:pt x="579" y="619"/>
                    </a:lnTo>
                    <a:lnTo>
                      <a:pt x="579" y="621"/>
                    </a:lnTo>
                    <a:lnTo>
                      <a:pt x="579" y="624"/>
                    </a:lnTo>
                    <a:lnTo>
                      <a:pt x="579" y="630"/>
                    </a:lnTo>
                    <a:lnTo>
                      <a:pt x="581" y="637"/>
                    </a:lnTo>
                    <a:lnTo>
                      <a:pt x="581" y="638"/>
                    </a:lnTo>
                    <a:lnTo>
                      <a:pt x="581" y="643"/>
                    </a:lnTo>
                    <a:lnTo>
                      <a:pt x="581" y="645"/>
                    </a:lnTo>
                    <a:lnTo>
                      <a:pt x="581" y="648"/>
                    </a:lnTo>
                    <a:lnTo>
                      <a:pt x="583" y="651"/>
                    </a:lnTo>
                    <a:lnTo>
                      <a:pt x="583" y="652"/>
                    </a:lnTo>
                    <a:lnTo>
                      <a:pt x="583" y="656"/>
                    </a:lnTo>
                    <a:lnTo>
                      <a:pt x="584" y="659"/>
                    </a:lnTo>
                    <a:lnTo>
                      <a:pt x="584" y="660"/>
                    </a:lnTo>
                    <a:lnTo>
                      <a:pt x="584" y="662"/>
                    </a:lnTo>
                    <a:lnTo>
                      <a:pt x="584" y="665"/>
                    </a:lnTo>
                    <a:lnTo>
                      <a:pt x="586" y="668"/>
                    </a:lnTo>
                    <a:lnTo>
                      <a:pt x="586" y="670"/>
                    </a:lnTo>
                    <a:lnTo>
                      <a:pt x="586" y="671"/>
                    </a:lnTo>
                    <a:lnTo>
                      <a:pt x="586" y="673"/>
                    </a:lnTo>
                    <a:lnTo>
                      <a:pt x="586" y="676"/>
                    </a:lnTo>
                    <a:lnTo>
                      <a:pt x="586" y="681"/>
                    </a:lnTo>
                    <a:lnTo>
                      <a:pt x="586" y="686"/>
                    </a:lnTo>
                    <a:lnTo>
                      <a:pt x="586" y="687"/>
                    </a:lnTo>
                    <a:lnTo>
                      <a:pt x="587" y="692"/>
                    </a:lnTo>
                    <a:lnTo>
                      <a:pt x="586" y="694"/>
                    </a:lnTo>
                    <a:lnTo>
                      <a:pt x="586" y="697"/>
                    </a:lnTo>
                    <a:lnTo>
                      <a:pt x="586" y="698"/>
                    </a:lnTo>
                    <a:lnTo>
                      <a:pt x="584" y="702"/>
                    </a:lnTo>
                    <a:lnTo>
                      <a:pt x="584" y="705"/>
                    </a:lnTo>
                    <a:lnTo>
                      <a:pt x="583" y="705"/>
                    </a:lnTo>
                    <a:lnTo>
                      <a:pt x="581" y="708"/>
                    </a:lnTo>
                    <a:lnTo>
                      <a:pt x="579" y="709"/>
                    </a:lnTo>
                    <a:lnTo>
                      <a:pt x="578" y="711"/>
                    </a:lnTo>
                    <a:lnTo>
                      <a:pt x="576" y="713"/>
                    </a:lnTo>
                    <a:lnTo>
                      <a:pt x="573" y="714"/>
                    </a:lnTo>
                    <a:lnTo>
                      <a:pt x="572" y="714"/>
                    </a:lnTo>
                    <a:lnTo>
                      <a:pt x="568" y="714"/>
                    </a:lnTo>
                    <a:lnTo>
                      <a:pt x="565" y="714"/>
                    </a:lnTo>
                    <a:lnTo>
                      <a:pt x="564" y="716"/>
                    </a:lnTo>
                    <a:lnTo>
                      <a:pt x="562" y="716"/>
                    </a:lnTo>
                    <a:lnTo>
                      <a:pt x="562" y="717"/>
                    </a:lnTo>
                    <a:lnTo>
                      <a:pt x="559" y="719"/>
                    </a:lnTo>
                    <a:lnTo>
                      <a:pt x="557" y="721"/>
                    </a:lnTo>
                    <a:lnTo>
                      <a:pt x="556" y="721"/>
                    </a:lnTo>
                    <a:lnTo>
                      <a:pt x="554" y="722"/>
                    </a:lnTo>
                    <a:lnTo>
                      <a:pt x="554" y="724"/>
                    </a:lnTo>
                    <a:lnTo>
                      <a:pt x="554" y="725"/>
                    </a:lnTo>
                    <a:lnTo>
                      <a:pt x="553" y="725"/>
                    </a:lnTo>
                    <a:lnTo>
                      <a:pt x="553" y="730"/>
                    </a:lnTo>
                    <a:lnTo>
                      <a:pt x="553" y="740"/>
                    </a:lnTo>
                    <a:lnTo>
                      <a:pt x="551" y="743"/>
                    </a:lnTo>
                    <a:lnTo>
                      <a:pt x="551" y="746"/>
                    </a:lnTo>
                    <a:lnTo>
                      <a:pt x="551" y="752"/>
                    </a:lnTo>
                    <a:lnTo>
                      <a:pt x="549" y="755"/>
                    </a:lnTo>
                    <a:lnTo>
                      <a:pt x="549" y="757"/>
                    </a:lnTo>
                    <a:lnTo>
                      <a:pt x="548" y="760"/>
                    </a:lnTo>
                    <a:lnTo>
                      <a:pt x="545" y="763"/>
                    </a:lnTo>
                    <a:lnTo>
                      <a:pt x="543" y="765"/>
                    </a:lnTo>
                    <a:lnTo>
                      <a:pt x="543" y="767"/>
                    </a:lnTo>
                    <a:lnTo>
                      <a:pt x="541" y="768"/>
                    </a:lnTo>
                    <a:lnTo>
                      <a:pt x="537" y="781"/>
                    </a:lnTo>
                    <a:lnTo>
                      <a:pt x="535" y="782"/>
                    </a:lnTo>
                    <a:lnTo>
                      <a:pt x="535" y="784"/>
                    </a:lnTo>
                    <a:lnTo>
                      <a:pt x="534" y="784"/>
                    </a:lnTo>
                    <a:lnTo>
                      <a:pt x="534" y="782"/>
                    </a:lnTo>
                    <a:lnTo>
                      <a:pt x="532" y="782"/>
                    </a:lnTo>
                    <a:lnTo>
                      <a:pt x="530" y="782"/>
                    </a:lnTo>
                    <a:lnTo>
                      <a:pt x="529" y="781"/>
                    </a:lnTo>
                    <a:lnTo>
                      <a:pt x="527" y="781"/>
                    </a:lnTo>
                    <a:lnTo>
                      <a:pt x="526" y="781"/>
                    </a:lnTo>
                    <a:lnTo>
                      <a:pt x="524" y="781"/>
                    </a:lnTo>
                    <a:lnTo>
                      <a:pt x="524" y="782"/>
                    </a:lnTo>
                    <a:lnTo>
                      <a:pt x="526" y="784"/>
                    </a:lnTo>
                    <a:lnTo>
                      <a:pt x="526" y="786"/>
                    </a:lnTo>
                    <a:lnTo>
                      <a:pt x="527" y="787"/>
                    </a:lnTo>
                    <a:lnTo>
                      <a:pt x="527" y="789"/>
                    </a:lnTo>
                    <a:lnTo>
                      <a:pt x="527" y="790"/>
                    </a:lnTo>
                    <a:lnTo>
                      <a:pt x="529" y="790"/>
                    </a:lnTo>
                    <a:lnTo>
                      <a:pt x="529" y="792"/>
                    </a:lnTo>
                    <a:lnTo>
                      <a:pt x="530" y="793"/>
                    </a:lnTo>
                    <a:lnTo>
                      <a:pt x="529" y="795"/>
                    </a:lnTo>
                    <a:lnTo>
                      <a:pt x="530" y="795"/>
                    </a:lnTo>
                    <a:lnTo>
                      <a:pt x="530" y="797"/>
                    </a:lnTo>
                    <a:lnTo>
                      <a:pt x="529" y="798"/>
                    </a:lnTo>
                    <a:lnTo>
                      <a:pt x="529" y="800"/>
                    </a:lnTo>
                    <a:lnTo>
                      <a:pt x="527" y="800"/>
                    </a:lnTo>
                    <a:lnTo>
                      <a:pt x="527" y="801"/>
                    </a:lnTo>
                    <a:lnTo>
                      <a:pt x="527" y="803"/>
                    </a:lnTo>
                    <a:lnTo>
                      <a:pt x="526" y="803"/>
                    </a:lnTo>
                    <a:lnTo>
                      <a:pt x="526" y="805"/>
                    </a:lnTo>
                    <a:lnTo>
                      <a:pt x="524" y="806"/>
                    </a:lnTo>
                    <a:lnTo>
                      <a:pt x="524" y="808"/>
                    </a:lnTo>
                    <a:lnTo>
                      <a:pt x="522" y="808"/>
                    </a:lnTo>
                    <a:lnTo>
                      <a:pt x="522" y="809"/>
                    </a:lnTo>
                    <a:lnTo>
                      <a:pt x="521" y="811"/>
                    </a:lnTo>
                    <a:lnTo>
                      <a:pt x="521" y="812"/>
                    </a:lnTo>
                    <a:lnTo>
                      <a:pt x="519" y="814"/>
                    </a:lnTo>
                    <a:lnTo>
                      <a:pt x="519" y="816"/>
                    </a:lnTo>
                    <a:lnTo>
                      <a:pt x="518" y="816"/>
                    </a:lnTo>
                    <a:lnTo>
                      <a:pt x="518" y="817"/>
                    </a:lnTo>
                    <a:lnTo>
                      <a:pt x="516" y="819"/>
                    </a:lnTo>
                    <a:lnTo>
                      <a:pt x="516" y="820"/>
                    </a:lnTo>
                    <a:lnTo>
                      <a:pt x="515" y="820"/>
                    </a:lnTo>
                    <a:lnTo>
                      <a:pt x="515" y="822"/>
                    </a:lnTo>
                    <a:lnTo>
                      <a:pt x="516" y="822"/>
                    </a:lnTo>
                    <a:lnTo>
                      <a:pt x="516" y="824"/>
                    </a:lnTo>
                    <a:lnTo>
                      <a:pt x="516" y="825"/>
                    </a:lnTo>
                    <a:lnTo>
                      <a:pt x="518" y="825"/>
                    </a:lnTo>
                    <a:lnTo>
                      <a:pt x="518" y="827"/>
                    </a:lnTo>
                    <a:lnTo>
                      <a:pt x="518" y="828"/>
                    </a:lnTo>
                    <a:lnTo>
                      <a:pt x="518" y="830"/>
                    </a:lnTo>
                    <a:lnTo>
                      <a:pt x="518" y="831"/>
                    </a:lnTo>
                    <a:lnTo>
                      <a:pt x="516" y="833"/>
                    </a:lnTo>
                    <a:lnTo>
                      <a:pt x="516" y="835"/>
                    </a:lnTo>
                    <a:lnTo>
                      <a:pt x="516" y="836"/>
                    </a:lnTo>
                    <a:lnTo>
                      <a:pt x="516" y="838"/>
                    </a:lnTo>
                    <a:lnTo>
                      <a:pt x="516" y="839"/>
                    </a:lnTo>
                    <a:lnTo>
                      <a:pt x="516" y="841"/>
                    </a:lnTo>
                    <a:lnTo>
                      <a:pt x="518" y="841"/>
                    </a:lnTo>
                    <a:lnTo>
                      <a:pt x="518" y="843"/>
                    </a:lnTo>
                    <a:lnTo>
                      <a:pt x="518" y="844"/>
                    </a:lnTo>
                    <a:lnTo>
                      <a:pt x="518" y="846"/>
                    </a:lnTo>
                    <a:lnTo>
                      <a:pt x="518" y="847"/>
                    </a:lnTo>
                    <a:lnTo>
                      <a:pt x="516" y="847"/>
                    </a:lnTo>
                    <a:lnTo>
                      <a:pt x="516" y="849"/>
                    </a:lnTo>
                    <a:lnTo>
                      <a:pt x="516" y="850"/>
                    </a:lnTo>
                    <a:lnTo>
                      <a:pt x="516" y="852"/>
                    </a:lnTo>
                    <a:lnTo>
                      <a:pt x="516" y="854"/>
                    </a:lnTo>
                    <a:lnTo>
                      <a:pt x="518" y="855"/>
                    </a:lnTo>
                    <a:lnTo>
                      <a:pt x="518" y="857"/>
                    </a:lnTo>
                    <a:lnTo>
                      <a:pt x="518" y="858"/>
                    </a:lnTo>
                    <a:lnTo>
                      <a:pt x="518" y="860"/>
                    </a:lnTo>
                    <a:lnTo>
                      <a:pt x="518" y="862"/>
                    </a:lnTo>
                    <a:lnTo>
                      <a:pt x="518" y="863"/>
                    </a:lnTo>
                    <a:lnTo>
                      <a:pt x="518" y="865"/>
                    </a:lnTo>
                    <a:lnTo>
                      <a:pt x="518" y="866"/>
                    </a:lnTo>
                    <a:lnTo>
                      <a:pt x="518" y="868"/>
                    </a:lnTo>
                    <a:lnTo>
                      <a:pt x="516" y="869"/>
                    </a:lnTo>
                    <a:lnTo>
                      <a:pt x="516" y="871"/>
                    </a:lnTo>
                    <a:lnTo>
                      <a:pt x="516" y="873"/>
                    </a:lnTo>
                    <a:lnTo>
                      <a:pt x="516" y="874"/>
                    </a:lnTo>
                    <a:lnTo>
                      <a:pt x="516" y="876"/>
                    </a:lnTo>
                    <a:lnTo>
                      <a:pt x="516" y="877"/>
                    </a:lnTo>
                    <a:lnTo>
                      <a:pt x="516" y="879"/>
                    </a:lnTo>
                    <a:lnTo>
                      <a:pt x="516" y="881"/>
                    </a:lnTo>
                    <a:lnTo>
                      <a:pt x="518" y="881"/>
                    </a:lnTo>
                    <a:lnTo>
                      <a:pt x="518" y="882"/>
                    </a:lnTo>
                    <a:lnTo>
                      <a:pt x="519" y="882"/>
                    </a:lnTo>
                    <a:lnTo>
                      <a:pt x="519" y="884"/>
                    </a:lnTo>
                    <a:lnTo>
                      <a:pt x="518" y="885"/>
                    </a:lnTo>
                    <a:lnTo>
                      <a:pt x="518" y="887"/>
                    </a:lnTo>
                    <a:lnTo>
                      <a:pt x="518" y="888"/>
                    </a:lnTo>
                    <a:lnTo>
                      <a:pt x="518" y="890"/>
                    </a:lnTo>
                    <a:lnTo>
                      <a:pt x="518" y="892"/>
                    </a:lnTo>
                    <a:lnTo>
                      <a:pt x="518" y="893"/>
                    </a:lnTo>
                    <a:lnTo>
                      <a:pt x="519" y="895"/>
                    </a:lnTo>
                    <a:lnTo>
                      <a:pt x="519" y="896"/>
                    </a:lnTo>
                    <a:lnTo>
                      <a:pt x="519" y="898"/>
                    </a:lnTo>
                    <a:lnTo>
                      <a:pt x="519" y="900"/>
                    </a:lnTo>
                    <a:lnTo>
                      <a:pt x="518" y="901"/>
                    </a:lnTo>
                    <a:lnTo>
                      <a:pt x="518" y="903"/>
                    </a:lnTo>
                    <a:lnTo>
                      <a:pt x="518" y="904"/>
                    </a:lnTo>
                    <a:lnTo>
                      <a:pt x="518" y="906"/>
                    </a:lnTo>
                    <a:lnTo>
                      <a:pt x="518" y="907"/>
                    </a:lnTo>
                    <a:lnTo>
                      <a:pt x="516" y="907"/>
                    </a:lnTo>
                    <a:lnTo>
                      <a:pt x="515" y="907"/>
                    </a:lnTo>
                    <a:lnTo>
                      <a:pt x="513" y="907"/>
                    </a:lnTo>
                    <a:lnTo>
                      <a:pt x="511" y="907"/>
                    </a:lnTo>
                    <a:lnTo>
                      <a:pt x="510" y="907"/>
                    </a:lnTo>
                    <a:lnTo>
                      <a:pt x="508" y="909"/>
                    </a:lnTo>
                    <a:lnTo>
                      <a:pt x="507" y="909"/>
                    </a:lnTo>
                    <a:lnTo>
                      <a:pt x="505" y="909"/>
                    </a:lnTo>
                    <a:lnTo>
                      <a:pt x="505" y="911"/>
                    </a:lnTo>
                    <a:lnTo>
                      <a:pt x="503" y="911"/>
                    </a:lnTo>
                    <a:lnTo>
                      <a:pt x="502" y="911"/>
                    </a:lnTo>
                    <a:lnTo>
                      <a:pt x="502" y="912"/>
                    </a:lnTo>
                    <a:lnTo>
                      <a:pt x="500" y="912"/>
                    </a:lnTo>
                    <a:lnTo>
                      <a:pt x="499" y="914"/>
                    </a:lnTo>
                    <a:lnTo>
                      <a:pt x="497" y="914"/>
                    </a:lnTo>
                    <a:lnTo>
                      <a:pt x="496" y="914"/>
                    </a:lnTo>
                    <a:lnTo>
                      <a:pt x="496" y="915"/>
                    </a:lnTo>
                    <a:lnTo>
                      <a:pt x="494" y="915"/>
                    </a:lnTo>
                    <a:lnTo>
                      <a:pt x="492" y="915"/>
                    </a:lnTo>
                    <a:lnTo>
                      <a:pt x="492" y="917"/>
                    </a:lnTo>
                    <a:lnTo>
                      <a:pt x="491" y="919"/>
                    </a:lnTo>
                    <a:lnTo>
                      <a:pt x="491" y="920"/>
                    </a:lnTo>
                    <a:lnTo>
                      <a:pt x="489" y="920"/>
                    </a:lnTo>
                    <a:lnTo>
                      <a:pt x="489" y="922"/>
                    </a:lnTo>
                    <a:lnTo>
                      <a:pt x="488" y="923"/>
                    </a:lnTo>
                    <a:lnTo>
                      <a:pt x="488" y="925"/>
                    </a:lnTo>
                    <a:lnTo>
                      <a:pt x="486" y="925"/>
                    </a:lnTo>
                    <a:lnTo>
                      <a:pt x="486" y="926"/>
                    </a:lnTo>
                    <a:lnTo>
                      <a:pt x="486" y="928"/>
                    </a:lnTo>
                    <a:lnTo>
                      <a:pt x="486" y="930"/>
                    </a:lnTo>
                    <a:lnTo>
                      <a:pt x="484" y="930"/>
                    </a:lnTo>
                    <a:lnTo>
                      <a:pt x="484" y="931"/>
                    </a:lnTo>
                    <a:lnTo>
                      <a:pt x="483" y="933"/>
                    </a:lnTo>
                    <a:lnTo>
                      <a:pt x="483" y="934"/>
                    </a:lnTo>
                    <a:lnTo>
                      <a:pt x="483" y="936"/>
                    </a:lnTo>
                    <a:lnTo>
                      <a:pt x="481" y="936"/>
                    </a:lnTo>
                    <a:lnTo>
                      <a:pt x="481" y="938"/>
                    </a:lnTo>
                    <a:lnTo>
                      <a:pt x="481" y="939"/>
                    </a:lnTo>
                    <a:lnTo>
                      <a:pt x="481" y="941"/>
                    </a:lnTo>
                    <a:lnTo>
                      <a:pt x="481" y="942"/>
                    </a:lnTo>
                    <a:lnTo>
                      <a:pt x="480" y="942"/>
                    </a:lnTo>
                    <a:lnTo>
                      <a:pt x="480" y="944"/>
                    </a:lnTo>
                    <a:lnTo>
                      <a:pt x="478" y="944"/>
                    </a:lnTo>
                    <a:lnTo>
                      <a:pt x="478" y="945"/>
                    </a:lnTo>
                    <a:lnTo>
                      <a:pt x="478" y="947"/>
                    </a:lnTo>
                    <a:lnTo>
                      <a:pt x="477" y="947"/>
                    </a:lnTo>
                    <a:lnTo>
                      <a:pt x="477" y="949"/>
                    </a:lnTo>
                    <a:lnTo>
                      <a:pt x="475" y="950"/>
                    </a:lnTo>
                    <a:lnTo>
                      <a:pt x="473" y="952"/>
                    </a:lnTo>
                    <a:lnTo>
                      <a:pt x="473" y="953"/>
                    </a:lnTo>
                    <a:lnTo>
                      <a:pt x="473" y="955"/>
                    </a:lnTo>
                    <a:lnTo>
                      <a:pt x="473" y="957"/>
                    </a:lnTo>
                    <a:lnTo>
                      <a:pt x="473" y="958"/>
                    </a:lnTo>
                    <a:lnTo>
                      <a:pt x="472" y="958"/>
                    </a:lnTo>
                    <a:lnTo>
                      <a:pt x="472" y="960"/>
                    </a:lnTo>
                    <a:lnTo>
                      <a:pt x="472" y="961"/>
                    </a:lnTo>
                    <a:lnTo>
                      <a:pt x="472" y="963"/>
                    </a:lnTo>
                    <a:lnTo>
                      <a:pt x="472" y="965"/>
                    </a:lnTo>
                    <a:lnTo>
                      <a:pt x="472" y="966"/>
                    </a:lnTo>
                    <a:lnTo>
                      <a:pt x="472" y="968"/>
                    </a:lnTo>
                    <a:lnTo>
                      <a:pt x="472" y="969"/>
                    </a:lnTo>
                    <a:lnTo>
                      <a:pt x="472" y="971"/>
                    </a:lnTo>
                    <a:lnTo>
                      <a:pt x="473" y="972"/>
                    </a:lnTo>
                    <a:lnTo>
                      <a:pt x="472" y="972"/>
                    </a:lnTo>
                    <a:lnTo>
                      <a:pt x="472" y="974"/>
                    </a:lnTo>
                    <a:lnTo>
                      <a:pt x="473" y="976"/>
                    </a:lnTo>
                    <a:lnTo>
                      <a:pt x="473" y="977"/>
                    </a:lnTo>
                    <a:lnTo>
                      <a:pt x="473" y="979"/>
                    </a:lnTo>
                    <a:lnTo>
                      <a:pt x="475" y="979"/>
                    </a:lnTo>
                    <a:lnTo>
                      <a:pt x="475" y="980"/>
                    </a:lnTo>
                    <a:lnTo>
                      <a:pt x="475" y="982"/>
                    </a:lnTo>
                    <a:lnTo>
                      <a:pt x="475" y="984"/>
                    </a:lnTo>
                    <a:lnTo>
                      <a:pt x="475" y="985"/>
                    </a:lnTo>
                    <a:lnTo>
                      <a:pt x="475" y="987"/>
                    </a:lnTo>
                    <a:lnTo>
                      <a:pt x="477" y="987"/>
                    </a:lnTo>
                    <a:lnTo>
                      <a:pt x="477" y="988"/>
                    </a:lnTo>
                    <a:lnTo>
                      <a:pt x="477" y="990"/>
                    </a:lnTo>
                    <a:lnTo>
                      <a:pt x="478" y="990"/>
                    </a:lnTo>
                    <a:lnTo>
                      <a:pt x="478" y="991"/>
                    </a:lnTo>
                    <a:lnTo>
                      <a:pt x="478" y="993"/>
                    </a:lnTo>
                    <a:lnTo>
                      <a:pt x="478" y="995"/>
                    </a:lnTo>
                    <a:lnTo>
                      <a:pt x="478" y="996"/>
                    </a:lnTo>
                    <a:lnTo>
                      <a:pt x="478" y="998"/>
                    </a:lnTo>
                    <a:lnTo>
                      <a:pt x="478" y="999"/>
                    </a:lnTo>
                    <a:lnTo>
                      <a:pt x="478" y="1001"/>
                    </a:lnTo>
                    <a:lnTo>
                      <a:pt x="478" y="1003"/>
                    </a:lnTo>
                    <a:lnTo>
                      <a:pt x="480" y="1004"/>
                    </a:lnTo>
                    <a:lnTo>
                      <a:pt x="480" y="1006"/>
                    </a:lnTo>
                    <a:lnTo>
                      <a:pt x="480" y="1007"/>
                    </a:lnTo>
                    <a:lnTo>
                      <a:pt x="480" y="1009"/>
                    </a:lnTo>
                    <a:lnTo>
                      <a:pt x="478" y="1009"/>
                    </a:lnTo>
                    <a:lnTo>
                      <a:pt x="478" y="1010"/>
                    </a:lnTo>
                    <a:lnTo>
                      <a:pt x="477" y="1010"/>
                    </a:lnTo>
                    <a:lnTo>
                      <a:pt x="477" y="1012"/>
                    </a:lnTo>
                    <a:lnTo>
                      <a:pt x="475" y="1014"/>
                    </a:lnTo>
                    <a:lnTo>
                      <a:pt x="473" y="1015"/>
                    </a:lnTo>
                    <a:lnTo>
                      <a:pt x="469" y="1018"/>
                    </a:lnTo>
                    <a:lnTo>
                      <a:pt x="465" y="1022"/>
                    </a:lnTo>
                    <a:lnTo>
                      <a:pt x="464" y="1020"/>
                    </a:lnTo>
                    <a:lnTo>
                      <a:pt x="462" y="1018"/>
                    </a:lnTo>
                    <a:lnTo>
                      <a:pt x="461" y="1017"/>
                    </a:lnTo>
                    <a:lnTo>
                      <a:pt x="459" y="1015"/>
                    </a:lnTo>
                    <a:lnTo>
                      <a:pt x="457" y="1015"/>
                    </a:lnTo>
                    <a:lnTo>
                      <a:pt x="456" y="1015"/>
                    </a:lnTo>
                    <a:lnTo>
                      <a:pt x="454" y="1014"/>
                    </a:lnTo>
                    <a:lnTo>
                      <a:pt x="453" y="1012"/>
                    </a:lnTo>
                    <a:lnTo>
                      <a:pt x="451" y="1014"/>
                    </a:lnTo>
                    <a:lnTo>
                      <a:pt x="450" y="1012"/>
                    </a:lnTo>
                    <a:lnTo>
                      <a:pt x="448" y="1012"/>
                    </a:lnTo>
                    <a:lnTo>
                      <a:pt x="448" y="1010"/>
                    </a:lnTo>
                    <a:lnTo>
                      <a:pt x="446" y="1009"/>
                    </a:lnTo>
                    <a:lnTo>
                      <a:pt x="446" y="1010"/>
                    </a:lnTo>
                    <a:lnTo>
                      <a:pt x="445" y="1009"/>
                    </a:lnTo>
                    <a:lnTo>
                      <a:pt x="443" y="1009"/>
                    </a:lnTo>
                    <a:lnTo>
                      <a:pt x="442" y="1009"/>
                    </a:lnTo>
                    <a:lnTo>
                      <a:pt x="438" y="1007"/>
                    </a:lnTo>
                    <a:lnTo>
                      <a:pt x="437" y="1006"/>
                    </a:lnTo>
                    <a:lnTo>
                      <a:pt x="437" y="1004"/>
                    </a:lnTo>
                    <a:lnTo>
                      <a:pt x="435" y="1004"/>
                    </a:lnTo>
                    <a:lnTo>
                      <a:pt x="435" y="1006"/>
                    </a:lnTo>
                    <a:lnTo>
                      <a:pt x="434" y="1006"/>
                    </a:lnTo>
                    <a:lnTo>
                      <a:pt x="432" y="1007"/>
                    </a:lnTo>
                    <a:lnTo>
                      <a:pt x="431" y="1006"/>
                    </a:lnTo>
                    <a:lnTo>
                      <a:pt x="431" y="1007"/>
                    </a:lnTo>
                    <a:lnTo>
                      <a:pt x="429" y="1007"/>
                    </a:lnTo>
                    <a:lnTo>
                      <a:pt x="429" y="1009"/>
                    </a:lnTo>
                    <a:lnTo>
                      <a:pt x="427" y="1009"/>
                    </a:lnTo>
                    <a:lnTo>
                      <a:pt x="426" y="1009"/>
                    </a:lnTo>
                    <a:lnTo>
                      <a:pt x="424" y="1009"/>
                    </a:lnTo>
                    <a:lnTo>
                      <a:pt x="423" y="1009"/>
                    </a:lnTo>
                    <a:lnTo>
                      <a:pt x="421" y="1009"/>
                    </a:lnTo>
                    <a:lnTo>
                      <a:pt x="419" y="1010"/>
                    </a:lnTo>
                    <a:lnTo>
                      <a:pt x="418" y="1010"/>
                    </a:lnTo>
                    <a:lnTo>
                      <a:pt x="418" y="1012"/>
                    </a:lnTo>
                    <a:lnTo>
                      <a:pt x="416" y="1012"/>
                    </a:lnTo>
                    <a:lnTo>
                      <a:pt x="415" y="1010"/>
                    </a:lnTo>
                    <a:lnTo>
                      <a:pt x="415" y="1009"/>
                    </a:lnTo>
                    <a:lnTo>
                      <a:pt x="413" y="1009"/>
                    </a:lnTo>
                    <a:lnTo>
                      <a:pt x="413" y="1007"/>
                    </a:lnTo>
                    <a:lnTo>
                      <a:pt x="412" y="1007"/>
                    </a:lnTo>
                    <a:lnTo>
                      <a:pt x="412" y="1006"/>
                    </a:lnTo>
                    <a:lnTo>
                      <a:pt x="412" y="1004"/>
                    </a:lnTo>
                    <a:lnTo>
                      <a:pt x="413" y="1003"/>
                    </a:lnTo>
                    <a:lnTo>
                      <a:pt x="412" y="1003"/>
                    </a:lnTo>
                    <a:lnTo>
                      <a:pt x="412" y="1001"/>
                    </a:lnTo>
                    <a:lnTo>
                      <a:pt x="410" y="1001"/>
                    </a:lnTo>
                    <a:lnTo>
                      <a:pt x="412" y="999"/>
                    </a:lnTo>
                    <a:lnTo>
                      <a:pt x="413" y="998"/>
                    </a:lnTo>
                    <a:lnTo>
                      <a:pt x="413" y="996"/>
                    </a:lnTo>
                    <a:lnTo>
                      <a:pt x="413" y="995"/>
                    </a:lnTo>
                    <a:lnTo>
                      <a:pt x="413" y="993"/>
                    </a:lnTo>
                    <a:lnTo>
                      <a:pt x="412" y="993"/>
                    </a:lnTo>
                    <a:lnTo>
                      <a:pt x="412" y="991"/>
                    </a:lnTo>
                    <a:lnTo>
                      <a:pt x="412" y="990"/>
                    </a:lnTo>
                    <a:lnTo>
                      <a:pt x="410" y="990"/>
                    </a:lnTo>
                    <a:lnTo>
                      <a:pt x="410" y="988"/>
                    </a:lnTo>
                    <a:lnTo>
                      <a:pt x="410" y="987"/>
                    </a:lnTo>
                    <a:lnTo>
                      <a:pt x="408" y="987"/>
                    </a:lnTo>
                    <a:lnTo>
                      <a:pt x="408" y="985"/>
                    </a:lnTo>
                    <a:lnTo>
                      <a:pt x="407" y="985"/>
                    </a:lnTo>
                    <a:lnTo>
                      <a:pt x="407" y="984"/>
                    </a:lnTo>
                    <a:lnTo>
                      <a:pt x="407" y="982"/>
                    </a:lnTo>
                    <a:lnTo>
                      <a:pt x="407" y="980"/>
                    </a:lnTo>
                    <a:lnTo>
                      <a:pt x="405" y="980"/>
                    </a:lnTo>
                    <a:lnTo>
                      <a:pt x="404" y="980"/>
                    </a:lnTo>
                    <a:lnTo>
                      <a:pt x="402" y="980"/>
                    </a:lnTo>
                    <a:lnTo>
                      <a:pt x="402" y="979"/>
                    </a:lnTo>
                    <a:lnTo>
                      <a:pt x="400" y="979"/>
                    </a:lnTo>
                    <a:lnTo>
                      <a:pt x="400" y="977"/>
                    </a:lnTo>
                    <a:lnTo>
                      <a:pt x="399" y="977"/>
                    </a:lnTo>
                    <a:lnTo>
                      <a:pt x="399" y="976"/>
                    </a:lnTo>
                    <a:lnTo>
                      <a:pt x="399" y="974"/>
                    </a:lnTo>
                    <a:lnTo>
                      <a:pt x="397" y="974"/>
                    </a:lnTo>
                    <a:lnTo>
                      <a:pt x="397" y="972"/>
                    </a:lnTo>
                    <a:lnTo>
                      <a:pt x="396" y="971"/>
                    </a:lnTo>
                    <a:lnTo>
                      <a:pt x="394" y="971"/>
                    </a:lnTo>
                    <a:lnTo>
                      <a:pt x="394" y="969"/>
                    </a:lnTo>
                    <a:lnTo>
                      <a:pt x="394" y="968"/>
                    </a:lnTo>
                    <a:lnTo>
                      <a:pt x="393" y="966"/>
                    </a:lnTo>
                    <a:lnTo>
                      <a:pt x="393" y="965"/>
                    </a:lnTo>
                    <a:lnTo>
                      <a:pt x="393" y="963"/>
                    </a:lnTo>
                    <a:lnTo>
                      <a:pt x="391" y="961"/>
                    </a:lnTo>
                    <a:lnTo>
                      <a:pt x="391" y="960"/>
                    </a:lnTo>
                    <a:lnTo>
                      <a:pt x="391" y="958"/>
                    </a:lnTo>
                    <a:lnTo>
                      <a:pt x="389" y="958"/>
                    </a:lnTo>
                    <a:lnTo>
                      <a:pt x="388" y="958"/>
                    </a:lnTo>
                    <a:lnTo>
                      <a:pt x="386" y="958"/>
                    </a:lnTo>
                    <a:lnTo>
                      <a:pt x="385" y="958"/>
                    </a:lnTo>
                    <a:lnTo>
                      <a:pt x="385" y="957"/>
                    </a:lnTo>
                    <a:lnTo>
                      <a:pt x="383" y="957"/>
                    </a:lnTo>
                    <a:lnTo>
                      <a:pt x="381" y="957"/>
                    </a:lnTo>
                    <a:lnTo>
                      <a:pt x="380" y="957"/>
                    </a:lnTo>
                    <a:lnTo>
                      <a:pt x="378" y="957"/>
                    </a:lnTo>
                    <a:lnTo>
                      <a:pt x="377" y="957"/>
                    </a:lnTo>
                    <a:lnTo>
                      <a:pt x="375" y="957"/>
                    </a:lnTo>
                    <a:lnTo>
                      <a:pt x="374" y="957"/>
                    </a:lnTo>
                    <a:lnTo>
                      <a:pt x="374" y="955"/>
                    </a:lnTo>
                    <a:lnTo>
                      <a:pt x="372" y="955"/>
                    </a:lnTo>
                    <a:lnTo>
                      <a:pt x="372" y="953"/>
                    </a:lnTo>
                    <a:lnTo>
                      <a:pt x="372" y="952"/>
                    </a:lnTo>
                    <a:lnTo>
                      <a:pt x="370" y="952"/>
                    </a:lnTo>
                    <a:lnTo>
                      <a:pt x="370" y="950"/>
                    </a:lnTo>
                    <a:lnTo>
                      <a:pt x="369" y="950"/>
                    </a:lnTo>
                    <a:lnTo>
                      <a:pt x="367" y="950"/>
                    </a:lnTo>
                    <a:lnTo>
                      <a:pt x="366" y="952"/>
                    </a:lnTo>
                    <a:lnTo>
                      <a:pt x="364" y="952"/>
                    </a:lnTo>
                    <a:lnTo>
                      <a:pt x="362" y="952"/>
                    </a:lnTo>
                    <a:lnTo>
                      <a:pt x="361" y="952"/>
                    </a:lnTo>
                    <a:lnTo>
                      <a:pt x="361" y="950"/>
                    </a:lnTo>
                    <a:lnTo>
                      <a:pt x="359" y="950"/>
                    </a:lnTo>
                    <a:lnTo>
                      <a:pt x="358" y="950"/>
                    </a:lnTo>
                    <a:lnTo>
                      <a:pt x="356" y="949"/>
                    </a:lnTo>
                    <a:lnTo>
                      <a:pt x="356" y="947"/>
                    </a:lnTo>
                    <a:lnTo>
                      <a:pt x="356" y="945"/>
                    </a:lnTo>
                    <a:lnTo>
                      <a:pt x="355" y="945"/>
                    </a:lnTo>
                    <a:lnTo>
                      <a:pt x="353" y="945"/>
                    </a:lnTo>
                    <a:lnTo>
                      <a:pt x="351" y="945"/>
                    </a:lnTo>
                    <a:lnTo>
                      <a:pt x="350" y="945"/>
                    </a:lnTo>
                    <a:lnTo>
                      <a:pt x="350" y="944"/>
                    </a:lnTo>
                    <a:lnTo>
                      <a:pt x="348" y="944"/>
                    </a:lnTo>
                    <a:lnTo>
                      <a:pt x="347" y="944"/>
                    </a:lnTo>
                    <a:lnTo>
                      <a:pt x="345" y="944"/>
                    </a:lnTo>
                    <a:lnTo>
                      <a:pt x="343" y="944"/>
                    </a:lnTo>
                    <a:lnTo>
                      <a:pt x="342" y="944"/>
                    </a:lnTo>
                    <a:lnTo>
                      <a:pt x="340" y="944"/>
                    </a:lnTo>
                    <a:lnTo>
                      <a:pt x="340" y="942"/>
                    </a:lnTo>
                    <a:lnTo>
                      <a:pt x="339" y="942"/>
                    </a:lnTo>
                    <a:lnTo>
                      <a:pt x="337" y="942"/>
                    </a:lnTo>
                    <a:lnTo>
                      <a:pt x="336" y="942"/>
                    </a:lnTo>
                    <a:lnTo>
                      <a:pt x="334" y="942"/>
                    </a:lnTo>
                    <a:lnTo>
                      <a:pt x="334" y="944"/>
                    </a:lnTo>
                    <a:lnTo>
                      <a:pt x="332" y="944"/>
                    </a:lnTo>
                    <a:lnTo>
                      <a:pt x="332" y="945"/>
                    </a:lnTo>
                    <a:lnTo>
                      <a:pt x="331" y="944"/>
                    </a:lnTo>
                    <a:lnTo>
                      <a:pt x="331" y="942"/>
                    </a:lnTo>
                    <a:lnTo>
                      <a:pt x="329" y="942"/>
                    </a:lnTo>
                    <a:lnTo>
                      <a:pt x="328" y="942"/>
                    </a:lnTo>
                    <a:lnTo>
                      <a:pt x="328" y="941"/>
                    </a:lnTo>
                    <a:lnTo>
                      <a:pt x="326" y="941"/>
                    </a:lnTo>
                    <a:lnTo>
                      <a:pt x="324" y="941"/>
                    </a:lnTo>
                    <a:lnTo>
                      <a:pt x="323" y="941"/>
                    </a:lnTo>
                    <a:lnTo>
                      <a:pt x="321" y="941"/>
                    </a:lnTo>
                    <a:lnTo>
                      <a:pt x="320" y="941"/>
                    </a:lnTo>
                    <a:lnTo>
                      <a:pt x="318" y="941"/>
                    </a:lnTo>
                    <a:lnTo>
                      <a:pt x="317" y="941"/>
                    </a:lnTo>
                    <a:lnTo>
                      <a:pt x="317" y="942"/>
                    </a:lnTo>
                    <a:lnTo>
                      <a:pt x="315" y="942"/>
                    </a:lnTo>
                    <a:lnTo>
                      <a:pt x="313" y="942"/>
                    </a:lnTo>
                    <a:lnTo>
                      <a:pt x="312" y="942"/>
                    </a:lnTo>
                    <a:lnTo>
                      <a:pt x="310" y="942"/>
                    </a:lnTo>
                    <a:lnTo>
                      <a:pt x="310" y="944"/>
                    </a:lnTo>
                    <a:lnTo>
                      <a:pt x="309" y="944"/>
                    </a:lnTo>
                    <a:lnTo>
                      <a:pt x="307" y="944"/>
                    </a:lnTo>
                    <a:lnTo>
                      <a:pt x="307" y="942"/>
                    </a:lnTo>
                    <a:lnTo>
                      <a:pt x="305" y="942"/>
                    </a:lnTo>
                    <a:lnTo>
                      <a:pt x="304" y="942"/>
                    </a:lnTo>
                    <a:lnTo>
                      <a:pt x="302" y="941"/>
                    </a:lnTo>
                    <a:lnTo>
                      <a:pt x="301" y="941"/>
                    </a:lnTo>
                    <a:lnTo>
                      <a:pt x="299" y="941"/>
                    </a:lnTo>
                    <a:lnTo>
                      <a:pt x="298" y="939"/>
                    </a:lnTo>
                    <a:lnTo>
                      <a:pt x="296" y="939"/>
                    </a:lnTo>
                    <a:lnTo>
                      <a:pt x="294" y="939"/>
                    </a:lnTo>
                    <a:lnTo>
                      <a:pt x="293" y="939"/>
                    </a:lnTo>
                    <a:lnTo>
                      <a:pt x="293" y="938"/>
                    </a:lnTo>
                    <a:lnTo>
                      <a:pt x="291" y="939"/>
                    </a:lnTo>
                    <a:lnTo>
                      <a:pt x="290" y="939"/>
                    </a:lnTo>
                    <a:lnTo>
                      <a:pt x="288" y="939"/>
                    </a:lnTo>
                    <a:lnTo>
                      <a:pt x="288" y="938"/>
                    </a:lnTo>
                    <a:lnTo>
                      <a:pt x="286" y="938"/>
                    </a:lnTo>
                    <a:lnTo>
                      <a:pt x="285" y="938"/>
                    </a:lnTo>
                    <a:lnTo>
                      <a:pt x="285" y="936"/>
                    </a:lnTo>
                    <a:lnTo>
                      <a:pt x="283" y="936"/>
                    </a:lnTo>
                    <a:lnTo>
                      <a:pt x="283" y="934"/>
                    </a:lnTo>
                    <a:lnTo>
                      <a:pt x="282" y="934"/>
                    </a:lnTo>
                    <a:lnTo>
                      <a:pt x="280" y="933"/>
                    </a:lnTo>
                    <a:lnTo>
                      <a:pt x="278" y="933"/>
                    </a:lnTo>
                    <a:lnTo>
                      <a:pt x="277" y="933"/>
                    </a:lnTo>
                    <a:lnTo>
                      <a:pt x="275" y="933"/>
                    </a:lnTo>
                    <a:lnTo>
                      <a:pt x="274" y="933"/>
                    </a:lnTo>
                    <a:lnTo>
                      <a:pt x="272" y="933"/>
                    </a:lnTo>
                    <a:lnTo>
                      <a:pt x="271" y="933"/>
                    </a:lnTo>
                    <a:lnTo>
                      <a:pt x="271" y="931"/>
                    </a:lnTo>
                    <a:lnTo>
                      <a:pt x="269" y="931"/>
                    </a:lnTo>
                    <a:lnTo>
                      <a:pt x="267" y="930"/>
                    </a:lnTo>
                    <a:lnTo>
                      <a:pt x="266" y="930"/>
                    </a:lnTo>
                    <a:lnTo>
                      <a:pt x="264" y="930"/>
                    </a:lnTo>
                    <a:lnTo>
                      <a:pt x="263" y="930"/>
                    </a:lnTo>
                    <a:lnTo>
                      <a:pt x="263" y="931"/>
                    </a:lnTo>
                    <a:lnTo>
                      <a:pt x="261" y="931"/>
                    </a:lnTo>
                    <a:lnTo>
                      <a:pt x="261" y="930"/>
                    </a:lnTo>
                    <a:lnTo>
                      <a:pt x="259" y="930"/>
                    </a:lnTo>
                    <a:lnTo>
                      <a:pt x="258" y="928"/>
                    </a:lnTo>
                    <a:lnTo>
                      <a:pt x="258" y="926"/>
                    </a:lnTo>
                    <a:lnTo>
                      <a:pt x="256" y="926"/>
                    </a:lnTo>
                    <a:lnTo>
                      <a:pt x="256" y="925"/>
                    </a:lnTo>
                    <a:lnTo>
                      <a:pt x="255" y="925"/>
                    </a:lnTo>
                    <a:lnTo>
                      <a:pt x="253" y="925"/>
                    </a:lnTo>
                    <a:lnTo>
                      <a:pt x="252" y="925"/>
                    </a:lnTo>
                    <a:lnTo>
                      <a:pt x="250" y="923"/>
                    </a:lnTo>
                    <a:lnTo>
                      <a:pt x="250" y="925"/>
                    </a:lnTo>
                    <a:lnTo>
                      <a:pt x="248" y="925"/>
                    </a:lnTo>
                    <a:lnTo>
                      <a:pt x="247" y="925"/>
                    </a:lnTo>
                    <a:lnTo>
                      <a:pt x="247" y="923"/>
                    </a:lnTo>
                    <a:lnTo>
                      <a:pt x="245" y="923"/>
                    </a:lnTo>
                    <a:lnTo>
                      <a:pt x="244" y="923"/>
                    </a:lnTo>
                    <a:lnTo>
                      <a:pt x="242" y="925"/>
                    </a:lnTo>
                    <a:lnTo>
                      <a:pt x="240" y="925"/>
                    </a:lnTo>
                    <a:lnTo>
                      <a:pt x="239" y="926"/>
                    </a:lnTo>
                    <a:lnTo>
                      <a:pt x="237" y="926"/>
                    </a:lnTo>
                    <a:lnTo>
                      <a:pt x="236" y="925"/>
                    </a:lnTo>
                    <a:lnTo>
                      <a:pt x="236" y="926"/>
                    </a:lnTo>
                    <a:lnTo>
                      <a:pt x="234" y="926"/>
                    </a:lnTo>
                    <a:lnTo>
                      <a:pt x="236" y="925"/>
                    </a:lnTo>
                    <a:lnTo>
                      <a:pt x="236" y="923"/>
                    </a:lnTo>
                    <a:lnTo>
                      <a:pt x="234" y="923"/>
                    </a:lnTo>
                    <a:lnTo>
                      <a:pt x="234" y="925"/>
                    </a:lnTo>
                    <a:lnTo>
                      <a:pt x="234" y="926"/>
                    </a:lnTo>
                    <a:lnTo>
                      <a:pt x="233" y="926"/>
                    </a:lnTo>
                    <a:lnTo>
                      <a:pt x="233" y="925"/>
                    </a:lnTo>
                    <a:lnTo>
                      <a:pt x="231" y="926"/>
                    </a:lnTo>
                    <a:lnTo>
                      <a:pt x="229" y="925"/>
                    </a:lnTo>
                    <a:lnTo>
                      <a:pt x="228" y="925"/>
                    </a:lnTo>
                    <a:lnTo>
                      <a:pt x="228" y="923"/>
                    </a:lnTo>
                    <a:lnTo>
                      <a:pt x="226" y="925"/>
                    </a:lnTo>
                    <a:lnTo>
                      <a:pt x="225" y="925"/>
                    </a:lnTo>
                    <a:lnTo>
                      <a:pt x="223" y="925"/>
                    </a:lnTo>
                    <a:lnTo>
                      <a:pt x="221" y="925"/>
                    </a:lnTo>
                    <a:lnTo>
                      <a:pt x="220" y="925"/>
                    </a:lnTo>
                    <a:lnTo>
                      <a:pt x="218" y="923"/>
                    </a:lnTo>
                    <a:lnTo>
                      <a:pt x="218" y="925"/>
                    </a:lnTo>
                    <a:lnTo>
                      <a:pt x="217" y="925"/>
                    </a:lnTo>
                    <a:lnTo>
                      <a:pt x="215" y="925"/>
                    </a:lnTo>
                    <a:lnTo>
                      <a:pt x="214" y="923"/>
                    </a:lnTo>
                    <a:lnTo>
                      <a:pt x="212" y="925"/>
                    </a:lnTo>
                    <a:lnTo>
                      <a:pt x="210" y="923"/>
                    </a:lnTo>
                    <a:lnTo>
                      <a:pt x="210" y="922"/>
                    </a:lnTo>
                    <a:lnTo>
                      <a:pt x="209" y="922"/>
                    </a:lnTo>
                    <a:lnTo>
                      <a:pt x="207" y="922"/>
                    </a:lnTo>
                    <a:lnTo>
                      <a:pt x="206" y="922"/>
                    </a:lnTo>
                    <a:lnTo>
                      <a:pt x="204" y="922"/>
                    </a:lnTo>
                    <a:lnTo>
                      <a:pt x="204" y="920"/>
                    </a:lnTo>
                    <a:lnTo>
                      <a:pt x="202" y="920"/>
                    </a:lnTo>
                    <a:lnTo>
                      <a:pt x="201" y="919"/>
                    </a:lnTo>
                    <a:lnTo>
                      <a:pt x="199" y="917"/>
                    </a:lnTo>
                    <a:lnTo>
                      <a:pt x="198" y="915"/>
                    </a:lnTo>
                    <a:lnTo>
                      <a:pt x="198" y="914"/>
                    </a:lnTo>
                    <a:lnTo>
                      <a:pt x="196" y="914"/>
                    </a:lnTo>
                    <a:lnTo>
                      <a:pt x="196" y="912"/>
                    </a:lnTo>
                    <a:lnTo>
                      <a:pt x="195" y="912"/>
                    </a:lnTo>
                    <a:lnTo>
                      <a:pt x="193" y="912"/>
                    </a:lnTo>
                    <a:lnTo>
                      <a:pt x="191" y="912"/>
                    </a:lnTo>
                    <a:lnTo>
                      <a:pt x="190" y="912"/>
                    </a:lnTo>
                    <a:lnTo>
                      <a:pt x="190" y="911"/>
                    </a:lnTo>
                    <a:lnTo>
                      <a:pt x="188" y="912"/>
                    </a:lnTo>
                    <a:lnTo>
                      <a:pt x="187" y="912"/>
                    </a:lnTo>
                    <a:lnTo>
                      <a:pt x="185" y="912"/>
                    </a:lnTo>
                    <a:lnTo>
                      <a:pt x="185" y="911"/>
                    </a:lnTo>
                    <a:lnTo>
                      <a:pt x="183" y="909"/>
                    </a:lnTo>
                    <a:lnTo>
                      <a:pt x="182" y="909"/>
                    </a:lnTo>
                    <a:lnTo>
                      <a:pt x="180" y="909"/>
                    </a:lnTo>
                    <a:lnTo>
                      <a:pt x="179" y="909"/>
                    </a:lnTo>
                    <a:lnTo>
                      <a:pt x="177" y="907"/>
                    </a:lnTo>
                    <a:lnTo>
                      <a:pt x="176" y="906"/>
                    </a:lnTo>
                    <a:lnTo>
                      <a:pt x="174" y="904"/>
                    </a:lnTo>
                    <a:lnTo>
                      <a:pt x="172" y="904"/>
                    </a:lnTo>
                    <a:lnTo>
                      <a:pt x="171" y="903"/>
                    </a:lnTo>
                    <a:lnTo>
                      <a:pt x="169" y="903"/>
                    </a:lnTo>
                    <a:lnTo>
                      <a:pt x="169" y="904"/>
                    </a:lnTo>
                    <a:lnTo>
                      <a:pt x="168" y="903"/>
                    </a:lnTo>
                    <a:lnTo>
                      <a:pt x="168" y="904"/>
                    </a:lnTo>
                    <a:lnTo>
                      <a:pt x="166" y="904"/>
                    </a:lnTo>
                    <a:lnTo>
                      <a:pt x="164" y="904"/>
                    </a:lnTo>
                    <a:lnTo>
                      <a:pt x="163" y="906"/>
                    </a:lnTo>
                    <a:lnTo>
                      <a:pt x="161" y="906"/>
                    </a:lnTo>
                    <a:lnTo>
                      <a:pt x="160" y="906"/>
                    </a:lnTo>
                    <a:lnTo>
                      <a:pt x="158" y="906"/>
                    </a:lnTo>
                    <a:lnTo>
                      <a:pt x="158" y="904"/>
                    </a:lnTo>
                    <a:lnTo>
                      <a:pt x="158" y="903"/>
                    </a:lnTo>
                    <a:lnTo>
                      <a:pt x="157" y="903"/>
                    </a:lnTo>
                    <a:lnTo>
                      <a:pt x="153" y="901"/>
                    </a:lnTo>
                    <a:lnTo>
                      <a:pt x="152" y="900"/>
                    </a:lnTo>
                    <a:lnTo>
                      <a:pt x="152" y="898"/>
                    </a:lnTo>
                    <a:lnTo>
                      <a:pt x="153" y="898"/>
                    </a:lnTo>
                    <a:lnTo>
                      <a:pt x="155" y="895"/>
                    </a:lnTo>
                    <a:lnTo>
                      <a:pt x="153" y="893"/>
                    </a:lnTo>
                    <a:lnTo>
                      <a:pt x="152" y="893"/>
                    </a:lnTo>
                    <a:lnTo>
                      <a:pt x="150" y="892"/>
                    </a:lnTo>
                    <a:lnTo>
                      <a:pt x="149" y="890"/>
                    </a:lnTo>
                    <a:lnTo>
                      <a:pt x="147" y="888"/>
                    </a:lnTo>
                    <a:lnTo>
                      <a:pt x="145" y="887"/>
                    </a:lnTo>
                    <a:lnTo>
                      <a:pt x="144" y="885"/>
                    </a:lnTo>
                    <a:lnTo>
                      <a:pt x="142" y="885"/>
                    </a:lnTo>
                    <a:lnTo>
                      <a:pt x="139" y="884"/>
                    </a:lnTo>
                    <a:lnTo>
                      <a:pt x="138" y="885"/>
                    </a:lnTo>
                    <a:lnTo>
                      <a:pt x="136" y="885"/>
                    </a:lnTo>
                    <a:lnTo>
                      <a:pt x="136" y="887"/>
                    </a:lnTo>
                    <a:lnTo>
                      <a:pt x="134" y="885"/>
                    </a:lnTo>
                    <a:lnTo>
                      <a:pt x="134" y="884"/>
                    </a:lnTo>
                    <a:lnTo>
                      <a:pt x="133" y="882"/>
                    </a:lnTo>
                    <a:lnTo>
                      <a:pt x="131" y="882"/>
                    </a:lnTo>
                    <a:lnTo>
                      <a:pt x="130" y="882"/>
                    </a:lnTo>
                    <a:lnTo>
                      <a:pt x="130" y="881"/>
                    </a:lnTo>
                    <a:lnTo>
                      <a:pt x="128" y="881"/>
                    </a:lnTo>
                    <a:lnTo>
                      <a:pt x="125" y="879"/>
                    </a:lnTo>
                    <a:lnTo>
                      <a:pt x="125" y="881"/>
                    </a:lnTo>
                    <a:lnTo>
                      <a:pt x="123" y="881"/>
                    </a:lnTo>
                    <a:lnTo>
                      <a:pt x="122" y="881"/>
                    </a:lnTo>
                    <a:lnTo>
                      <a:pt x="120" y="879"/>
                    </a:lnTo>
                    <a:lnTo>
                      <a:pt x="119" y="879"/>
                    </a:lnTo>
                    <a:lnTo>
                      <a:pt x="117" y="879"/>
                    </a:lnTo>
                    <a:lnTo>
                      <a:pt x="115" y="879"/>
                    </a:lnTo>
                    <a:lnTo>
                      <a:pt x="114" y="879"/>
                    </a:lnTo>
                    <a:lnTo>
                      <a:pt x="112" y="879"/>
                    </a:lnTo>
                    <a:lnTo>
                      <a:pt x="111" y="881"/>
                    </a:lnTo>
                    <a:lnTo>
                      <a:pt x="107" y="881"/>
                    </a:lnTo>
                    <a:lnTo>
                      <a:pt x="106" y="881"/>
                    </a:lnTo>
                    <a:lnTo>
                      <a:pt x="104" y="882"/>
                    </a:lnTo>
                    <a:lnTo>
                      <a:pt x="103" y="882"/>
                    </a:lnTo>
                    <a:lnTo>
                      <a:pt x="101" y="882"/>
                    </a:lnTo>
                    <a:lnTo>
                      <a:pt x="100" y="882"/>
                    </a:lnTo>
                    <a:lnTo>
                      <a:pt x="98" y="881"/>
                    </a:lnTo>
                    <a:lnTo>
                      <a:pt x="96" y="881"/>
                    </a:lnTo>
                    <a:lnTo>
                      <a:pt x="93" y="881"/>
                    </a:lnTo>
                    <a:lnTo>
                      <a:pt x="90" y="881"/>
                    </a:lnTo>
                    <a:lnTo>
                      <a:pt x="88" y="882"/>
                    </a:lnTo>
                    <a:lnTo>
                      <a:pt x="87" y="882"/>
                    </a:lnTo>
                    <a:lnTo>
                      <a:pt x="87" y="881"/>
                    </a:lnTo>
                    <a:lnTo>
                      <a:pt x="85" y="881"/>
                    </a:lnTo>
                    <a:lnTo>
                      <a:pt x="82" y="881"/>
                    </a:lnTo>
                    <a:lnTo>
                      <a:pt x="82" y="882"/>
                    </a:lnTo>
                    <a:lnTo>
                      <a:pt x="80" y="882"/>
                    </a:lnTo>
                    <a:lnTo>
                      <a:pt x="80" y="884"/>
                    </a:lnTo>
                    <a:lnTo>
                      <a:pt x="79" y="884"/>
                    </a:lnTo>
                    <a:lnTo>
                      <a:pt x="79" y="885"/>
                    </a:lnTo>
                    <a:lnTo>
                      <a:pt x="77" y="885"/>
                    </a:lnTo>
                    <a:lnTo>
                      <a:pt x="77" y="887"/>
                    </a:lnTo>
                    <a:lnTo>
                      <a:pt x="77" y="888"/>
                    </a:lnTo>
                    <a:lnTo>
                      <a:pt x="76" y="888"/>
                    </a:lnTo>
                    <a:lnTo>
                      <a:pt x="76" y="890"/>
                    </a:lnTo>
                    <a:lnTo>
                      <a:pt x="74" y="890"/>
                    </a:lnTo>
                    <a:lnTo>
                      <a:pt x="73" y="892"/>
                    </a:lnTo>
                    <a:lnTo>
                      <a:pt x="73" y="893"/>
                    </a:lnTo>
                    <a:lnTo>
                      <a:pt x="71" y="893"/>
                    </a:lnTo>
                    <a:lnTo>
                      <a:pt x="71" y="895"/>
                    </a:lnTo>
                    <a:lnTo>
                      <a:pt x="69" y="895"/>
                    </a:lnTo>
                    <a:lnTo>
                      <a:pt x="68" y="896"/>
                    </a:lnTo>
                    <a:lnTo>
                      <a:pt x="66" y="896"/>
                    </a:lnTo>
                    <a:lnTo>
                      <a:pt x="66" y="898"/>
                    </a:lnTo>
                    <a:lnTo>
                      <a:pt x="65" y="900"/>
                    </a:lnTo>
                    <a:lnTo>
                      <a:pt x="63" y="900"/>
                    </a:lnTo>
                    <a:lnTo>
                      <a:pt x="63" y="901"/>
                    </a:lnTo>
                    <a:lnTo>
                      <a:pt x="61" y="900"/>
                    </a:lnTo>
                    <a:lnTo>
                      <a:pt x="60" y="900"/>
                    </a:lnTo>
                    <a:lnTo>
                      <a:pt x="58" y="900"/>
                    </a:lnTo>
                    <a:lnTo>
                      <a:pt x="57" y="898"/>
                    </a:lnTo>
                    <a:lnTo>
                      <a:pt x="55" y="900"/>
                    </a:lnTo>
                    <a:lnTo>
                      <a:pt x="54" y="900"/>
                    </a:lnTo>
                    <a:lnTo>
                      <a:pt x="54" y="898"/>
                    </a:lnTo>
                    <a:lnTo>
                      <a:pt x="52" y="898"/>
                    </a:lnTo>
                    <a:lnTo>
                      <a:pt x="50" y="898"/>
                    </a:lnTo>
                    <a:lnTo>
                      <a:pt x="49" y="898"/>
                    </a:lnTo>
                    <a:lnTo>
                      <a:pt x="47" y="898"/>
                    </a:lnTo>
                    <a:lnTo>
                      <a:pt x="47" y="896"/>
                    </a:lnTo>
                    <a:lnTo>
                      <a:pt x="46" y="896"/>
                    </a:lnTo>
                    <a:lnTo>
                      <a:pt x="44" y="896"/>
                    </a:lnTo>
                    <a:lnTo>
                      <a:pt x="42" y="896"/>
                    </a:lnTo>
                    <a:lnTo>
                      <a:pt x="41" y="896"/>
                    </a:lnTo>
                    <a:lnTo>
                      <a:pt x="39" y="896"/>
                    </a:lnTo>
                    <a:lnTo>
                      <a:pt x="39" y="895"/>
                    </a:lnTo>
                    <a:lnTo>
                      <a:pt x="38" y="895"/>
                    </a:lnTo>
                    <a:lnTo>
                      <a:pt x="36" y="895"/>
                    </a:lnTo>
                    <a:lnTo>
                      <a:pt x="36" y="893"/>
                    </a:lnTo>
                    <a:lnTo>
                      <a:pt x="35" y="893"/>
                    </a:lnTo>
                    <a:lnTo>
                      <a:pt x="35" y="892"/>
                    </a:lnTo>
                    <a:lnTo>
                      <a:pt x="33" y="890"/>
                    </a:lnTo>
                    <a:lnTo>
                      <a:pt x="31" y="890"/>
                    </a:lnTo>
                    <a:lnTo>
                      <a:pt x="31" y="888"/>
                    </a:lnTo>
                    <a:lnTo>
                      <a:pt x="30" y="888"/>
                    </a:lnTo>
                    <a:lnTo>
                      <a:pt x="28" y="888"/>
                    </a:lnTo>
                    <a:lnTo>
                      <a:pt x="28" y="887"/>
                    </a:lnTo>
                    <a:lnTo>
                      <a:pt x="27" y="887"/>
                    </a:lnTo>
                    <a:lnTo>
                      <a:pt x="25" y="887"/>
                    </a:lnTo>
                    <a:lnTo>
                      <a:pt x="25" y="885"/>
                    </a:lnTo>
                    <a:lnTo>
                      <a:pt x="23" y="885"/>
                    </a:lnTo>
                    <a:lnTo>
                      <a:pt x="22" y="884"/>
                    </a:lnTo>
                    <a:lnTo>
                      <a:pt x="20" y="884"/>
                    </a:lnTo>
                    <a:lnTo>
                      <a:pt x="20" y="882"/>
                    </a:lnTo>
                    <a:lnTo>
                      <a:pt x="19" y="882"/>
                    </a:lnTo>
                    <a:lnTo>
                      <a:pt x="17" y="882"/>
                    </a:lnTo>
                    <a:lnTo>
                      <a:pt x="17" y="881"/>
                    </a:lnTo>
                    <a:lnTo>
                      <a:pt x="16" y="881"/>
                    </a:lnTo>
                    <a:lnTo>
                      <a:pt x="14" y="879"/>
                    </a:lnTo>
                    <a:lnTo>
                      <a:pt x="12" y="879"/>
                    </a:lnTo>
                    <a:lnTo>
                      <a:pt x="12" y="877"/>
                    </a:lnTo>
                    <a:lnTo>
                      <a:pt x="11" y="877"/>
                    </a:lnTo>
                    <a:lnTo>
                      <a:pt x="9" y="876"/>
                    </a:lnTo>
                    <a:lnTo>
                      <a:pt x="9" y="874"/>
                    </a:lnTo>
                    <a:lnTo>
                      <a:pt x="9" y="873"/>
                    </a:lnTo>
                    <a:lnTo>
                      <a:pt x="11" y="871"/>
                    </a:lnTo>
                    <a:lnTo>
                      <a:pt x="11" y="869"/>
                    </a:lnTo>
                    <a:lnTo>
                      <a:pt x="11" y="868"/>
                    </a:lnTo>
                    <a:lnTo>
                      <a:pt x="11" y="866"/>
                    </a:lnTo>
                    <a:lnTo>
                      <a:pt x="11" y="865"/>
                    </a:lnTo>
                    <a:lnTo>
                      <a:pt x="11" y="863"/>
                    </a:lnTo>
                    <a:lnTo>
                      <a:pt x="11" y="862"/>
                    </a:lnTo>
                    <a:lnTo>
                      <a:pt x="11" y="860"/>
                    </a:lnTo>
                    <a:lnTo>
                      <a:pt x="11" y="858"/>
                    </a:lnTo>
                    <a:lnTo>
                      <a:pt x="11" y="857"/>
                    </a:lnTo>
                    <a:lnTo>
                      <a:pt x="11" y="855"/>
                    </a:lnTo>
                    <a:lnTo>
                      <a:pt x="11" y="854"/>
                    </a:lnTo>
                    <a:lnTo>
                      <a:pt x="11" y="852"/>
                    </a:lnTo>
                    <a:lnTo>
                      <a:pt x="11" y="850"/>
                    </a:lnTo>
                    <a:lnTo>
                      <a:pt x="11" y="849"/>
                    </a:lnTo>
                    <a:lnTo>
                      <a:pt x="9" y="849"/>
                    </a:lnTo>
                    <a:lnTo>
                      <a:pt x="9" y="847"/>
                    </a:lnTo>
                    <a:lnTo>
                      <a:pt x="9" y="846"/>
                    </a:lnTo>
                    <a:lnTo>
                      <a:pt x="9" y="844"/>
                    </a:lnTo>
                    <a:lnTo>
                      <a:pt x="9" y="843"/>
                    </a:lnTo>
                    <a:lnTo>
                      <a:pt x="9" y="841"/>
                    </a:lnTo>
                    <a:lnTo>
                      <a:pt x="9" y="839"/>
                    </a:lnTo>
                    <a:lnTo>
                      <a:pt x="9" y="838"/>
                    </a:lnTo>
                    <a:lnTo>
                      <a:pt x="8" y="836"/>
                    </a:lnTo>
                    <a:lnTo>
                      <a:pt x="8" y="835"/>
                    </a:lnTo>
                    <a:lnTo>
                      <a:pt x="8" y="833"/>
                    </a:lnTo>
                    <a:lnTo>
                      <a:pt x="8" y="831"/>
                    </a:lnTo>
                    <a:lnTo>
                      <a:pt x="8" y="830"/>
                    </a:lnTo>
                    <a:lnTo>
                      <a:pt x="6" y="830"/>
                    </a:lnTo>
                    <a:lnTo>
                      <a:pt x="6" y="828"/>
                    </a:lnTo>
                    <a:lnTo>
                      <a:pt x="6" y="827"/>
                    </a:lnTo>
                    <a:lnTo>
                      <a:pt x="6" y="825"/>
                    </a:lnTo>
                    <a:lnTo>
                      <a:pt x="4" y="825"/>
                    </a:lnTo>
                    <a:lnTo>
                      <a:pt x="4" y="824"/>
                    </a:lnTo>
                    <a:lnTo>
                      <a:pt x="4" y="822"/>
                    </a:lnTo>
                    <a:lnTo>
                      <a:pt x="4" y="820"/>
                    </a:lnTo>
                    <a:lnTo>
                      <a:pt x="3" y="820"/>
                    </a:lnTo>
                    <a:lnTo>
                      <a:pt x="3" y="819"/>
                    </a:lnTo>
                    <a:lnTo>
                      <a:pt x="3" y="817"/>
                    </a:lnTo>
                    <a:lnTo>
                      <a:pt x="1" y="816"/>
                    </a:lnTo>
                    <a:lnTo>
                      <a:pt x="1" y="814"/>
                    </a:lnTo>
                    <a:lnTo>
                      <a:pt x="1" y="812"/>
                    </a:lnTo>
                    <a:lnTo>
                      <a:pt x="1" y="811"/>
                    </a:lnTo>
                    <a:lnTo>
                      <a:pt x="1" y="809"/>
                    </a:lnTo>
                    <a:lnTo>
                      <a:pt x="0" y="809"/>
                    </a:lnTo>
                    <a:lnTo>
                      <a:pt x="0" y="808"/>
                    </a:lnTo>
                    <a:lnTo>
                      <a:pt x="1" y="808"/>
                    </a:lnTo>
                    <a:lnTo>
                      <a:pt x="3" y="809"/>
                    </a:lnTo>
                    <a:lnTo>
                      <a:pt x="4" y="809"/>
                    </a:lnTo>
                    <a:lnTo>
                      <a:pt x="6" y="809"/>
                    </a:lnTo>
                    <a:lnTo>
                      <a:pt x="8" y="809"/>
                    </a:lnTo>
                    <a:lnTo>
                      <a:pt x="9" y="809"/>
                    </a:lnTo>
                    <a:lnTo>
                      <a:pt x="11" y="809"/>
                    </a:lnTo>
                    <a:lnTo>
                      <a:pt x="12" y="811"/>
                    </a:lnTo>
                    <a:lnTo>
                      <a:pt x="14" y="811"/>
                    </a:lnTo>
                    <a:lnTo>
                      <a:pt x="16" y="811"/>
                    </a:lnTo>
                    <a:lnTo>
                      <a:pt x="17" y="811"/>
                    </a:lnTo>
                    <a:lnTo>
                      <a:pt x="19" y="811"/>
                    </a:lnTo>
                    <a:lnTo>
                      <a:pt x="19" y="812"/>
                    </a:lnTo>
                    <a:lnTo>
                      <a:pt x="20" y="812"/>
                    </a:lnTo>
                    <a:lnTo>
                      <a:pt x="22" y="812"/>
                    </a:lnTo>
                    <a:lnTo>
                      <a:pt x="23" y="812"/>
                    </a:lnTo>
                    <a:lnTo>
                      <a:pt x="25" y="812"/>
                    </a:lnTo>
                    <a:lnTo>
                      <a:pt x="27" y="812"/>
                    </a:lnTo>
                    <a:lnTo>
                      <a:pt x="28" y="812"/>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31" name="Freeform 11"/>
              <p:cNvSpPr>
                <a:spLocks/>
              </p:cNvSpPr>
              <p:nvPr/>
            </p:nvSpPr>
            <p:spPr bwMode="auto">
              <a:xfrm>
                <a:off x="3733" y="1576"/>
                <a:ext cx="403" cy="825"/>
              </a:xfrm>
              <a:custGeom>
                <a:avLst/>
                <a:gdLst>
                  <a:gd name="T0" fmla="*/ 42 w 403"/>
                  <a:gd name="T1" fmla="*/ 822 h 825"/>
                  <a:gd name="T2" fmla="*/ 50 w 403"/>
                  <a:gd name="T3" fmla="*/ 806 h 825"/>
                  <a:gd name="T4" fmla="*/ 46 w 403"/>
                  <a:gd name="T5" fmla="*/ 787 h 825"/>
                  <a:gd name="T6" fmla="*/ 46 w 403"/>
                  <a:gd name="T7" fmla="*/ 767 h 825"/>
                  <a:gd name="T8" fmla="*/ 45 w 403"/>
                  <a:gd name="T9" fmla="*/ 748 h 825"/>
                  <a:gd name="T10" fmla="*/ 45 w 403"/>
                  <a:gd name="T11" fmla="*/ 730 h 825"/>
                  <a:gd name="T12" fmla="*/ 46 w 403"/>
                  <a:gd name="T13" fmla="*/ 715 h 825"/>
                  <a:gd name="T14" fmla="*/ 53 w 403"/>
                  <a:gd name="T15" fmla="*/ 700 h 825"/>
                  <a:gd name="T16" fmla="*/ 50 w 403"/>
                  <a:gd name="T17" fmla="*/ 680 h 825"/>
                  <a:gd name="T18" fmla="*/ 40 w 403"/>
                  <a:gd name="T19" fmla="*/ 667 h 825"/>
                  <a:gd name="T20" fmla="*/ 38 w 403"/>
                  <a:gd name="T21" fmla="*/ 651 h 825"/>
                  <a:gd name="T22" fmla="*/ 43 w 403"/>
                  <a:gd name="T23" fmla="*/ 634 h 825"/>
                  <a:gd name="T24" fmla="*/ 46 w 403"/>
                  <a:gd name="T25" fmla="*/ 616 h 825"/>
                  <a:gd name="T26" fmla="*/ 50 w 403"/>
                  <a:gd name="T27" fmla="*/ 599 h 825"/>
                  <a:gd name="T28" fmla="*/ 48 w 403"/>
                  <a:gd name="T29" fmla="*/ 580 h 825"/>
                  <a:gd name="T30" fmla="*/ 53 w 403"/>
                  <a:gd name="T31" fmla="*/ 561 h 825"/>
                  <a:gd name="T32" fmla="*/ 62 w 403"/>
                  <a:gd name="T33" fmla="*/ 543 h 825"/>
                  <a:gd name="T34" fmla="*/ 73 w 403"/>
                  <a:gd name="T35" fmla="*/ 534 h 825"/>
                  <a:gd name="T36" fmla="*/ 70 w 403"/>
                  <a:gd name="T37" fmla="*/ 517 h 825"/>
                  <a:gd name="T38" fmla="*/ 80 w 403"/>
                  <a:gd name="T39" fmla="*/ 505 h 825"/>
                  <a:gd name="T40" fmla="*/ 91 w 403"/>
                  <a:gd name="T41" fmla="*/ 493 h 825"/>
                  <a:gd name="T42" fmla="*/ 83 w 403"/>
                  <a:gd name="T43" fmla="*/ 482 h 825"/>
                  <a:gd name="T44" fmla="*/ 73 w 403"/>
                  <a:gd name="T45" fmla="*/ 467 h 825"/>
                  <a:gd name="T46" fmla="*/ 67 w 403"/>
                  <a:gd name="T47" fmla="*/ 450 h 825"/>
                  <a:gd name="T48" fmla="*/ 54 w 403"/>
                  <a:gd name="T49" fmla="*/ 439 h 825"/>
                  <a:gd name="T50" fmla="*/ 43 w 403"/>
                  <a:gd name="T51" fmla="*/ 425 h 825"/>
                  <a:gd name="T52" fmla="*/ 34 w 403"/>
                  <a:gd name="T53" fmla="*/ 409 h 825"/>
                  <a:gd name="T54" fmla="*/ 23 w 403"/>
                  <a:gd name="T55" fmla="*/ 393 h 825"/>
                  <a:gd name="T56" fmla="*/ 21 w 403"/>
                  <a:gd name="T57" fmla="*/ 379 h 825"/>
                  <a:gd name="T58" fmla="*/ 16 w 403"/>
                  <a:gd name="T59" fmla="*/ 363 h 825"/>
                  <a:gd name="T60" fmla="*/ 8 w 403"/>
                  <a:gd name="T61" fmla="*/ 349 h 825"/>
                  <a:gd name="T62" fmla="*/ 8 w 403"/>
                  <a:gd name="T63" fmla="*/ 330 h 825"/>
                  <a:gd name="T64" fmla="*/ 4 w 403"/>
                  <a:gd name="T65" fmla="*/ 317 h 825"/>
                  <a:gd name="T66" fmla="*/ 8 w 403"/>
                  <a:gd name="T67" fmla="*/ 301 h 825"/>
                  <a:gd name="T68" fmla="*/ 23 w 403"/>
                  <a:gd name="T69" fmla="*/ 288 h 825"/>
                  <a:gd name="T70" fmla="*/ 37 w 403"/>
                  <a:gd name="T71" fmla="*/ 277 h 825"/>
                  <a:gd name="T72" fmla="*/ 53 w 403"/>
                  <a:gd name="T73" fmla="*/ 269 h 825"/>
                  <a:gd name="T74" fmla="*/ 83 w 403"/>
                  <a:gd name="T75" fmla="*/ 250 h 825"/>
                  <a:gd name="T76" fmla="*/ 89 w 403"/>
                  <a:gd name="T77" fmla="*/ 235 h 825"/>
                  <a:gd name="T78" fmla="*/ 94 w 403"/>
                  <a:gd name="T79" fmla="*/ 219 h 825"/>
                  <a:gd name="T80" fmla="*/ 113 w 403"/>
                  <a:gd name="T81" fmla="*/ 222 h 825"/>
                  <a:gd name="T82" fmla="*/ 134 w 403"/>
                  <a:gd name="T83" fmla="*/ 222 h 825"/>
                  <a:gd name="T84" fmla="*/ 159 w 403"/>
                  <a:gd name="T85" fmla="*/ 193 h 825"/>
                  <a:gd name="T86" fmla="*/ 173 w 403"/>
                  <a:gd name="T87" fmla="*/ 166 h 825"/>
                  <a:gd name="T88" fmla="*/ 192 w 403"/>
                  <a:gd name="T89" fmla="*/ 133 h 825"/>
                  <a:gd name="T90" fmla="*/ 191 w 403"/>
                  <a:gd name="T91" fmla="*/ 116 h 825"/>
                  <a:gd name="T92" fmla="*/ 187 w 403"/>
                  <a:gd name="T93" fmla="*/ 102 h 825"/>
                  <a:gd name="T94" fmla="*/ 198 w 403"/>
                  <a:gd name="T95" fmla="*/ 98 h 825"/>
                  <a:gd name="T96" fmla="*/ 211 w 403"/>
                  <a:gd name="T97" fmla="*/ 87 h 825"/>
                  <a:gd name="T98" fmla="*/ 224 w 403"/>
                  <a:gd name="T99" fmla="*/ 76 h 825"/>
                  <a:gd name="T100" fmla="*/ 240 w 403"/>
                  <a:gd name="T101" fmla="*/ 65 h 825"/>
                  <a:gd name="T102" fmla="*/ 255 w 403"/>
                  <a:gd name="T103" fmla="*/ 60 h 825"/>
                  <a:gd name="T104" fmla="*/ 267 w 403"/>
                  <a:gd name="T105" fmla="*/ 59 h 825"/>
                  <a:gd name="T106" fmla="*/ 278 w 403"/>
                  <a:gd name="T107" fmla="*/ 52 h 825"/>
                  <a:gd name="T108" fmla="*/ 295 w 403"/>
                  <a:gd name="T109" fmla="*/ 41 h 825"/>
                  <a:gd name="T110" fmla="*/ 308 w 403"/>
                  <a:gd name="T111" fmla="*/ 33 h 825"/>
                  <a:gd name="T112" fmla="*/ 319 w 403"/>
                  <a:gd name="T113" fmla="*/ 24 h 825"/>
                  <a:gd name="T114" fmla="*/ 374 w 403"/>
                  <a:gd name="T115" fmla="*/ 10 h 825"/>
                  <a:gd name="T116" fmla="*/ 396 w 403"/>
                  <a:gd name="T117" fmla="*/ 3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3" h="825">
                    <a:moveTo>
                      <a:pt x="24" y="825"/>
                    </a:moveTo>
                    <a:lnTo>
                      <a:pt x="26" y="825"/>
                    </a:lnTo>
                    <a:lnTo>
                      <a:pt x="27" y="825"/>
                    </a:lnTo>
                    <a:lnTo>
                      <a:pt x="29" y="825"/>
                    </a:lnTo>
                    <a:lnTo>
                      <a:pt x="31" y="825"/>
                    </a:lnTo>
                    <a:lnTo>
                      <a:pt x="32" y="825"/>
                    </a:lnTo>
                    <a:lnTo>
                      <a:pt x="34" y="825"/>
                    </a:lnTo>
                    <a:lnTo>
                      <a:pt x="35" y="825"/>
                    </a:lnTo>
                    <a:lnTo>
                      <a:pt x="37" y="825"/>
                    </a:lnTo>
                    <a:lnTo>
                      <a:pt x="38" y="824"/>
                    </a:lnTo>
                    <a:lnTo>
                      <a:pt x="40" y="824"/>
                    </a:lnTo>
                    <a:lnTo>
                      <a:pt x="40" y="822"/>
                    </a:lnTo>
                    <a:lnTo>
                      <a:pt x="42" y="822"/>
                    </a:lnTo>
                    <a:lnTo>
                      <a:pt x="42" y="821"/>
                    </a:lnTo>
                    <a:lnTo>
                      <a:pt x="43" y="821"/>
                    </a:lnTo>
                    <a:lnTo>
                      <a:pt x="43" y="819"/>
                    </a:lnTo>
                    <a:lnTo>
                      <a:pt x="45" y="819"/>
                    </a:lnTo>
                    <a:lnTo>
                      <a:pt x="45" y="818"/>
                    </a:lnTo>
                    <a:lnTo>
                      <a:pt x="46" y="816"/>
                    </a:lnTo>
                    <a:lnTo>
                      <a:pt x="46" y="814"/>
                    </a:lnTo>
                    <a:lnTo>
                      <a:pt x="48" y="813"/>
                    </a:lnTo>
                    <a:lnTo>
                      <a:pt x="48" y="811"/>
                    </a:lnTo>
                    <a:lnTo>
                      <a:pt x="48" y="810"/>
                    </a:lnTo>
                    <a:lnTo>
                      <a:pt x="50" y="810"/>
                    </a:lnTo>
                    <a:lnTo>
                      <a:pt x="50" y="808"/>
                    </a:lnTo>
                    <a:lnTo>
                      <a:pt x="50" y="806"/>
                    </a:lnTo>
                    <a:lnTo>
                      <a:pt x="48" y="806"/>
                    </a:lnTo>
                    <a:lnTo>
                      <a:pt x="48" y="805"/>
                    </a:lnTo>
                    <a:lnTo>
                      <a:pt x="48" y="803"/>
                    </a:lnTo>
                    <a:lnTo>
                      <a:pt x="48" y="802"/>
                    </a:lnTo>
                    <a:lnTo>
                      <a:pt x="48" y="800"/>
                    </a:lnTo>
                    <a:lnTo>
                      <a:pt x="48" y="799"/>
                    </a:lnTo>
                    <a:lnTo>
                      <a:pt x="48" y="797"/>
                    </a:lnTo>
                    <a:lnTo>
                      <a:pt x="46" y="795"/>
                    </a:lnTo>
                    <a:lnTo>
                      <a:pt x="46" y="794"/>
                    </a:lnTo>
                    <a:lnTo>
                      <a:pt x="46" y="792"/>
                    </a:lnTo>
                    <a:lnTo>
                      <a:pt x="46" y="791"/>
                    </a:lnTo>
                    <a:lnTo>
                      <a:pt x="46" y="789"/>
                    </a:lnTo>
                    <a:lnTo>
                      <a:pt x="46" y="787"/>
                    </a:lnTo>
                    <a:lnTo>
                      <a:pt x="46" y="786"/>
                    </a:lnTo>
                    <a:lnTo>
                      <a:pt x="46" y="784"/>
                    </a:lnTo>
                    <a:lnTo>
                      <a:pt x="46" y="783"/>
                    </a:lnTo>
                    <a:lnTo>
                      <a:pt x="46" y="781"/>
                    </a:lnTo>
                    <a:lnTo>
                      <a:pt x="46" y="780"/>
                    </a:lnTo>
                    <a:lnTo>
                      <a:pt x="46" y="778"/>
                    </a:lnTo>
                    <a:lnTo>
                      <a:pt x="46" y="776"/>
                    </a:lnTo>
                    <a:lnTo>
                      <a:pt x="46" y="775"/>
                    </a:lnTo>
                    <a:lnTo>
                      <a:pt x="46" y="773"/>
                    </a:lnTo>
                    <a:lnTo>
                      <a:pt x="46" y="772"/>
                    </a:lnTo>
                    <a:lnTo>
                      <a:pt x="46" y="770"/>
                    </a:lnTo>
                    <a:lnTo>
                      <a:pt x="46" y="768"/>
                    </a:lnTo>
                    <a:lnTo>
                      <a:pt x="46" y="767"/>
                    </a:lnTo>
                    <a:lnTo>
                      <a:pt x="46" y="765"/>
                    </a:lnTo>
                    <a:lnTo>
                      <a:pt x="46" y="764"/>
                    </a:lnTo>
                    <a:lnTo>
                      <a:pt x="46" y="762"/>
                    </a:lnTo>
                    <a:lnTo>
                      <a:pt x="46" y="760"/>
                    </a:lnTo>
                    <a:lnTo>
                      <a:pt x="46" y="759"/>
                    </a:lnTo>
                    <a:lnTo>
                      <a:pt x="46" y="757"/>
                    </a:lnTo>
                    <a:lnTo>
                      <a:pt x="46" y="756"/>
                    </a:lnTo>
                    <a:lnTo>
                      <a:pt x="46" y="754"/>
                    </a:lnTo>
                    <a:lnTo>
                      <a:pt x="46" y="753"/>
                    </a:lnTo>
                    <a:lnTo>
                      <a:pt x="45" y="753"/>
                    </a:lnTo>
                    <a:lnTo>
                      <a:pt x="45" y="751"/>
                    </a:lnTo>
                    <a:lnTo>
                      <a:pt x="45" y="749"/>
                    </a:lnTo>
                    <a:lnTo>
                      <a:pt x="45" y="748"/>
                    </a:lnTo>
                    <a:lnTo>
                      <a:pt x="45" y="746"/>
                    </a:lnTo>
                    <a:lnTo>
                      <a:pt x="45" y="745"/>
                    </a:lnTo>
                    <a:lnTo>
                      <a:pt x="45" y="743"/>
                    </a:lnTo>
                    <a:lnTo>
                      <a:pt x="45" y="741"/>
                    </a:lnTo>
                    <a:lnTo>
                      <a:pt x="45" y="740"/>
                    </a:lnTo>
                    <a:lnTo>
                      <a:pt x="45" y="738"/>
                    </a:lnTo>
                    <a:lnTo>
                      <a:pt x="45" y="737"/>
                    </a:lnTo>
                    <a:lnTo>
                      <a:pt x="45" y="735"/>
                    </a:lnTo>
                    <a:lnTo>
                      <a:pt x="45" y="734"/>
                    </a:lnTo>
                    <a:lnTo>
                      <a:pt x="45" y="732"/>
                    </a:lnTo>
                    <a:lnTo>
                      <a:pt x="43" y="732"/>
                    </a:lnTo>
                    <a:lnTo>
                      <a:pt x="43" y="730"/>
                    </a:lnTo>
                    <a:lnTo>
                      <a:pt x="45" y="730"/>
                    </a:lnTo>
                    <a:lnTo>
                      <a:pt x="45" y="729"/>
                    </a:lnTo>
                    <a:lnTo>
                      <a:pt x="45" y="727"/>
                    </a:lnTo>
                    <a:lnTo>
                      <a:pt x="43" y="727"/>
                    </a:lnTo>
                    <a:lnTo>
                      <a:pt x="43" y="726"/>
                    </a:lnTo>
                    <a:lnTo>
                      <a:pt x="43" y="724"/>
                    </a:lnTo>
                    <a:lnTo>
                      <a:pt x="43" y="722"/>
                    </a:lnTo>
                    <a:lnTo>
                      <a:pt x="43" y="721"/>
                    </a:lnTo>
                    <a:lnTo>
                      <a:pt x="45" y="721"/>
                    </a:lnTo>
                    <a:lnTo>
                      <a:pt x="45" y="719"/>
                    </a:lnTo>
                    <a:lnTo>
                      <a:pt x="45" y="718"/>
                    </a:lnTo>
                    <a:lnTo>
                      <a:pt x="45" y="716"/>
                    </a:lnTo>
                    <a:lnTo>
                      <a:pt x="46" y="716"/>
                    </a:lnTo>
                    <a:lnTo>
                      <a:pt x="46" y="715"/>
                    </a:lnTo>
                    <a:lnTo>
                      <a:pt x="48" y="713"/>
                    </a:lnTo>
                    <a:lnTo>
                      <a:pt x="50" y="711"/>
                    </a:lnTo>
                    <a:lnTo>
                      <a:pt x="51" y="711"/>
                    </a:lnTo>
                    <a:lnTo>
                      <a:pt x="53" y="710"/>
                    </a:lnTo>
                    <a:lnTo>
                      <a:pt x="54" y="710"/>
                    </a:lnTo>
                    <a:lnTo>
                      <a:pt x="56" y="708"/>
                    </a:lnTo>
                    <a:lnTo>
                      <a:pt x="57" y="708"/>
                    </a:lnTo>
                    <a:lnTo>
                      <a:pt x="56" y="707"/>
                    </a:lnTo>
                    <a:lnTo>
                      <a:pt x="56" y="705"/>
                    </a:lnTo>
                    <a:lnTo>
                      <a:pt x="54" y="705"/>
                    </a:lnTo>
                    <a:lnTo>
                      <a:pt x="54" y="703"/>
                    </a:lnTo>
                    <a:lnTo>
                      <a:pt x="53" y="702"/>
                    </a:lnTo>
                    <a:lnTo>
                      <a:pt x="53" y="700"/>
                    </a:lnTo>
                    <a:lnTo>
                      <a:pt x="53" y="699"/>
                    </a:lnTo>
                    <a:lnTo>
                      <a:pt x="53" y="697"/>
                    </a:lnTo>
                    <a:lnTo>
                      <a:pt x="53" y="696"/>
                    </a:lnTo>
                    <a:lnTo>
                      <a:pt x="53" y="694"/>
                    </a:lnTo>
                    <a:lnTo>
                      <a:pt x="53" y="692"/>
                    </a:lnTo>
                    <a:lnTo>
                      <a:pt x="53" y="691"/>
                    </a:lnTo>
                    <a:lnTo>
                      <a:pt x="53" y="689"/>
                    </a:lnTo>
                    <a:lnTo>
                      <a:pt x="53" y="688"/>
                    </a:lnTo>
                    <a:lnTo>
                      <a:pt x="51" y="686"/>
                    </a:lnTo>
                    <a:lnTo>
                      <a:pt x="51" y="684"/>
                    </a:lnTo>
                    <a:lnTo>
                      <a:pt x="51" y="683"/>
                    </a:lnTo>
                    <a:lnTo>
                      <a:pt x="50" y="681"/>
                    </a:lnTo>
                    <a:lnTo>
                      <a:pt x="50" y="680"/>
                    </a:lnTo>
                    <a:lnTo>
                      <a:pt x="48" y="678"/>
                    </a:lnTo>
                    <a:lnTo>
                      <a:pt x="48" y="677"/>
                    </a:lnTo>
                    <a:lnTo>
                      <a:pt x="46" y="677"/>
                    </a:lnTo>
                    <a:lnTo>
                      <a:pt x="46" y="675"/>
                    </a:lnTo>
                    <a:lnTo>
                      <a:pt x="45" y="675"/>
                    </a:lnTo>
                    <a:lnTo>
                      <a:pt x="45" y="673"/>
                    </a:lnTo>
                    <a:lnTo>
                      <a:pt x="43" y="673"/>
                    </a:lnTo>
                    <a:lnTo>
                      <a:pt x="43" y="672"/>
                    </a:lnTo>
                    <a:lnTo>
                      <a:pt x="42" y="672"/>
                    </a:lnTo>
                    <a:lnTo>
                      <a:pt x="42" y="670"/>
                    </a:lnTo>
                    <a:lnTo>
                      <a:pt x="40" y="670"/>
                    </a:lnTo>
                    <a:lnTo>
                      <a:pt x="40" y="669"/>
                    </a:lnTo>
                    <a:lnTo>
                      <a:pt x="40" y="667"/>
                    </a:lnTo>
                    <a:lnTo>
                      <a:pt x="38" y="667"/>
                    </a:lnTo>
                    <a:lnTo>
                      <a:pt x="38" y="665"/>
                    </a:lnTo>
                    <a:lnTo>
                      <a:pt x="38" y="664"/>
                    </a:lnTo>
                    <a:lnTo>
                      <a:pt x="38" y="662"/>
                    </a:lnTo>
                    <a:lnTo>
                      <a:pt x="37" y="662"/>
                    </a:lnTo>
                    <a:lnTo>
                      <a:pt x="37" y="661"/>
                    </a:lnTo>
                    <a:lnTo>
                      <a:pt x="37" y="659"/>
                    </a:lnTo>
                    <a:lnTo>
                      <a:pt x="38" y="659"/>
                    </a:lnTo>
                    <a:lnTo>
                      <a:pt x="38" y="658"/>
                    </a:lnTo>
                    <a:lnTo>
                      <a:pt x="38" y="656"/>
                    </a:lnTo>
                    <a:lnTo>
                      <a:pt x="38" y="654"/>
                    </a:lnTo>
                    <a:lnTo>
                      <a:pt x="38" y="653"/>
                    </a:lnTo>
                    <a:lnTo>
                      <a:pt x="38" y="651"/>
                    </a:lnTo>
                    <a:lnTo>
                      <a:pt x="40" y="650"/>
                    </a:lnTo>
                    <a:lnTo>
                      <a:pt x="40" y="648"/>
                    </a:lnTo>
                    <a:lnTo>
                      <a:pt x="40" y="646"/>
                    </a:lnTo>
                    <a:lnTo>
                      <a:pt x="40" y="645"/>
                    </a:lnTo>
                    <a:lnTo>
                      <a:pt x="40" y="643"/>
                    </a:lnTo>
                    <a:lnTo>
                      <a:pt x="42" y="643"/>
                    </a:lnTo>
                    <a:lnTo>
                      <a:pt x="42" y="642"/>
                    </a:lnTo>
                    <a:lnTo>
                      <a:pt x="42" y="640"/>
                    </a:lnTo>
                    <a:lnTo>
                      <a:pt x="42" y="639"/>
                    </a:lnTo>
                    <a:lnTo>
                      <a:pt x="42" y="637"/>
                    </a:lnTo>
                    <a:lnTo>
                      <a:pt x="43" y="637"/>
                    </a:lnTo>
                    <a:lnTo>
                      <a:pt x="43" y="635"/>
                    </a:lnTo>
                    <a:lnTo>
                      <a:pt x="43" y="634"/>
                    </a:lnTo>
                    <a:lnTo>
                      <a:pt x="43" y="632"/>
                    </a:lnTo>
                    <a:lnTo>
                      <a:pt x="43" y="631"/>
                    </a:lnTo>
                    <a:lnTo>
                      <a:pt x="43" y="629"/>
                    </a:lnTo>
                    <a:lnTo>
                      <a:pt x="43" y="627"/>
                    </a:lnTo>
                    <a:lnTo>
                      <a:pt x="45" y="627"/>
                    </a:lnTo>
                    <a:lnTo>
                      <a:pt x="45" y="626"/>
                    </a:lnTo>
                    <a:lnTo>
                      <a:pt x="45" y="624"/>
                    </a:lnTo>
                    <a:lnTo>
                      <a:pt x="45" y="623"/>
                    </a:lnTo>
                    <a:lnTo>
                      <a:pt x="45" y="621"/>
                    </a:lnTo>
                    <a:lnTo>
                      <a:pt x="45" y="620"/>
                    </a:lnTo>
                    <a:lnTo>
                      <a:pt x="46" y="620"/>
                    </a:lnTo>
                    <a:lnTo>
                      <a:pt x="46" y="618"/>
                    </a:lnTo>
                    <a:lnTo>
                      <a:pt x="46" y="616"/>
                    </a:lnTo>
                    <a:lnTo>
                      <a:pt x="46" y="615"/>
                    </a:lnTo>
                    <a:lnTo>
                      <a:pt x="46" y="613"/>
                    </a:lnTo>
                    <a:lnTo>
                      <a:pt x="48" y="613"/>
                    </a:lnTo>
                    <a:lnTo>
                      <a:pt x="48" y="612"/>
                    </a:lnTo>
                    <a:lnTo>
                      <a:pt x="48" y="610"/>
                    </a:lnTo>
                    <a:lnTo>
                      <a:pt x="48" y="608"/>
                    </a:lnTo>
                    <a:lnTo>
                      <a:pt x="48" y="607"/>
                    </a:lnTo>
                    <a:lnTo>
                      <a:pt x="48" y="605"/>
                    </a:lnTo>
                    <a:lnTo>
                      <a:pt x="48" y="604"/>
                    </a:lnTo>
                    <a:lnTo>
                      <a:pt x="50" y="604"/>
                    </a:lnTo>
                    <a:lnTo>
                      <a:pt x="50" y="602"/>
                    </a:lnTo>
                    <a:lnTo>
                      <a:pt x="50" y="601"/>
                    </a:lnTo>
                    <a:lnTo>
                      <a:pt x="50" y="599"/>
                    </a:lnTo>
                    <a:lnTo>
                      <a:pt x="50" y="597"/>
                    </a:lnTo>
                    <a:lnTo>
                      <a:pt x="50" y="596"/>
                    </a:lnTo>
                    <a:lnTo>
                      <a:pt x="50" y="594"/>
                    </a:lnTo>
                    <a:lnTo>
                      <a:pt x="50" y="593"/>
                    </a:lnTo>
                    <a:lnTo>
                      <a:pt x="50" y="591"/>
                    </a:lnTo>
                    <a:lnTo>
                      <a:pt x="48" y="591"/>
                    </a:lnTo>
                    <a:lnTo>
                      <a:pt x="48" y="589"/>
                    </a:lnTo>
                    <a:lnTo>
                      <a:pt x="48" y="588"/>
                    </a:lnTo>
                    <a:lnTo>
                      <a:pt x="48" y="586"/>
                    </a:lnTo>
                    <a:lnTo>
                      <a:pt x="48" y="585"/>
                    </a:lnTo>
                    <a:lnTo>
                      <a:pt x="48" y="583"/>
                    </a:lnTo>
                    <a:lnTo>
                      <a:pt x="48" y="581"/>
                    </a:lnTo>
                    <a:lnTo>
                      <a:pt x="48" y="580"/>
                    </a:lnTo>
                    <a:lnTo>
                      <a:pt x="48" y="578"/>
                    </a:lnTo>
                    <a:lnTo>
                      <a:pt x="48" y="577"/>
                    </a:lnTo>
                    <a:lnTo>
                      <a:pt x="50" y="575"/>
                    </a:lnTo>
                    <a:lnTo>
                      <a:pt x="50" y="574"/>
                    </a:lnTo>
                    <a:lnTo>
                      <a:pt x="50" y="572"/>
                    </a:lnTo>
                    <a:lnTo>
                      <a:pt x="50" y="570"/>
                    </a:lnTo>
                    <a:lnTo>
                      <a:pt x="50" y="569"/>
                    </a:lnTo>
                    <a:lnTo>
                      <a:pt x="50" y="567"/>
                    </a:lnTo>
                    <a:lnTo>
                      <a:pt x="50" y="566"/>
                    </a:lnTo>
                    <a:lnTo>
                      <a:pt x="51" y="564"/>
                    </a:lnTo>
                    <a:lnTo>
                      <a:pt x="51" y="562"/>
                    </a:lnTo>
                    <a:lnTo>
                      <a:pt x="53" y="562"/>
                    </a:lnTo>
                    <a:lnTo>
                      <a:pt x="53" y="561"/>
                    </a:lnTo>
                    <a:lnTo>
                      <a:pt x="53" y="559"/>
                    </a:lnTo>
                    <a:lnTo>
                      <a:pt x="54" y="559"/>
                    </a:lnTo>
                    <a:lnTo>
                      <a:pt x="54" y="558"/>
                    </a:lnTo>
                    <a:lnTo>
                      <a:pt x="56" y="558"/>
                    </a:lnTo>
                    <a:lnTo>
                      <a:pt x="56" y="556"/>
                    </a:lnTo>
                    <a:lnTo>
                      <a:pt x="57" y="555"/>
                    </a:lnTo>
                    <a:lnTo>
                      <a:pt x="57" y="553"/>
                    </a:lnTo>
                    <a:lnTo>
                      <a:pt x="57" y="551"/>
                    </a:lnTo>
                    <a:lnTo>
                      <a:pt x="59" y="550"/>
                    </a:lnTo>
                    <a:lnTo>
                      <a:pt x="59" y="548"/>
                    </a:lnTo>
                    <a:lnTo>
                      <a:pt x="61" y="547"/>
                    </a:lnTo>
                    <a:lnTo>
                      <a:pt x="61" y="545"/>
                    </a:lnTo>
                    <a:lnTo>
                      <a:pt x="62" y="543"/>
                    </a:lnTo>
                    <a:lnTo>
                      <a:pt x="62" y="542"/>
                    </a:lnTo>
                    <a:lnTo>
                      <a:pt x="62" y="540"/>
                    </a:lnTo>
                    <a:lnTo>
                      <a:pt x="62" y="539"/>
                    </a:lnTo>
                    <a:lnTo>
                      <a:pt x="62" y="537"/>
                    </a:lnTo>
                    <a:lnTo>
                      <a:pt x="64" y="537"/>
                    </a:lnTo>
                    <a:lnTo>
                      <a:pt x="64" y="536"/>
                    </a:lnTo>
                    <a:lnTo>
                      <a:pt x="65" y="536"/>
                    </a:lnTo>
                    <a:lnTo>
                      <a:pt x="67" y="536"/>
                    </a:lnTo>
                    <a:lnTo>
                      <a:pt x="69" y="536"/>
                    </a:lnTo>
                    <a:lnTo>
                      <a:pt x="70" y="536"/>
                    </a:lnTo>
                    <a:lnTo>
                      <a:pt x="72" y="536"/>
                    </a:lnTo>
                    <a:lnTo>
                      <a:pt x="72" y="534"/>
                    </a:lnTo>
                    <a:lnTo>
                      <a:pt x="73" y="534"/>
                    </a:lnTo>
                    <a:lnTo>
                      <a:pt x="73" y="532"/>
                    </a:lnTo>
                    <a:lnTo>
                      <a:pt x="72" y="531"/>
                    </a:lnTo>
                    <a:lnTo>
                      <a:pt x="72" y="529"/>
                    </a:lnTo>
                    <a:lnTo>
                      <a:pt x="72" y="528"/>
                    </a:lnTo>
                    <a:lnTo>
                      <a:pt x="72" y="526"/>
                    </a:lnTo>
                    <a:lnTo>
                      <a:pt x="72" y="524"/>
                    </a:lnTo>
                    <a:lnTo>
                      <a:pt x="72" y="523"/>
                    </a:lnTo>
                    <a:lnTo>
                      <a:pt x="72" y="521"/>
                    </a:lnTo>
                    <a:lnTo>
                      <a:pt x="70" y="521"/>
                    </a:lnTo>
                    <a:lnTo>
                      <a:pt x="72" y="521"/>
                    </a:lnTo>
                    <a:lnTo>
                      <a:pt x="72" y="520"/>
                    </a:lnTo>
                    <a:lnTo>
                      <a:pt x="70" y="518"/>
                    </a:lnTo>
                    <a:lnTo>
                      <a:pt x="70" y="517"/>
                    </a:lnTo>
                    <a:lnTo>
                      <a:pt x="70" y="515"/>
                    </a:lnTo>
                    <a:lnTo>
                      <a:pt x="70" y="513"/>
                    </a:lnTo>
                    <a:lnTo>
                      <a:pt x="70" y="512"/>
                    </a:lnTo>
                    <a:lnTo>
                      <a:pt x="72" y="512"/>
                    </a:lnTo>
                    <a:lnTo>
                      <a:pt x="72" y="510"/>
                    </a:lnTo>
                    <a:lnTo>
                      <a:pt x="73" y="510"/>
                    </a:lnTo>
                    <a:lnTo>
                      <a:pt x="73" y="509"/>
                    </a:lnTo>
                    <a:lnTo>
                      <a:pt x="75" y="509"/>
                    </a:lnTo>
                    <a:lnTo>
                      <a:pt x="75" y="507"/>
                    </a:lnTo>
                    <a:lnTo>
                      <a:pt x="75" y="505"/>
                    </a:lnTo>
                    <a:lnTo>
                      <a:pt x="76" y="505"/>
                    </a:lnTo>
                    <a:lnTo>
                      <a:pt x="78" y="505"/>
                    </a:lnTo>
                    <a:lnTo>
                      <a:pt x="80" y="505"/>
                    </a:lnTo>
                    <a:lnTo>
                      <a:pt x="80" y="504"/>
                    </a:lnTo>
                    <a:lnTo>
                      <a:pt x="81" y="504"/>
                    </a:lnTo>
                    <a:lnTo>
                      <a:pt x="81" y="502"/>
                    </a:lnTo>
                    <a:lnTo>
                      <a:pt x="83" y="502"/>
                    </a:lnTo>
                    <a:lnTo>
                      <a:pt x="84" y="501"/>
                    </a:lnTo>
                    <a:lnTo>
                      <a:pt x="86" y="501"/>
                    </a:lnTo>
                    <a:lnTo>
                      <a:pt x="86" y="499"/>
                    </a:lnTo>
                    <a:lnTo>
                      <a:pt x="88" y="498"/>
                    </a:lnTo>
                    <a:lnTo>
                      <a:pt x="89" y="498"/>
                    </a:lnTo>
                    <a:lnTo>
                      <a:pt x="89" y="496"/>
                    </a:lnTo>
                    <a:lnTo>
                      <a:pt x="89" y="494"/>
                    </a:lnTo>
                    <a:lnTo>
                      <a:pt x="89" y="493"/>
                    </a:lnTo>
                    <a:lnTo>
                      <a:pt x="91" y="493"/>
                    </a:lnTo>
                    <a:lnTo>
                      <a:pt x="91" y="491"/>
                    </a:lnTo>
                    <a:lnTo>
                      <a:pt x="91" y="490"/>
                    </a:lnTo>
                    <a:lnTo>
                      <a:pt x="92" y="490"/>
                    </a:lnTo>
                    <a:lnTo>
                      <a:pt x="91" y="490"/>
                    </a:lnTo>
                    <a:lnTo>
                      <a:pt x="91" y="488"/>
                    </a:lnTo>
                    <a:lnTo>
                      <a:pt x="89" y="486"/>
                    </a:lnTo>
                    <a:lnTo>
                      <a:pt x="88" y="486"/>
                    </a:lnTo>
                    <a:lnTo>
                      <a:pt x="88" y="485"/>
                    </a:lnTo>
                    <a:lnTo>
                      <a:pt x="86" y="485"/>
                    </a:lnTo>
                    <a:lnTo>
                      <a:pt x="86" y="483"/>
                    </a:lnTo>
                    <a:lnTo>
                      <a:pt x="84" y="483"/>
                    </a:lnTo>
                    <a:lnTo>
                      <a:pt x="84" y="482"/>
                    </a:lnTo>
                    <a:lnTo>
                      <a:pt x="83" y="482"/>
                    </a:lnTo>
                    <a:lnTo>
                      <a:pt x="83" y="480"/>
                    </a:lnTo>
                    <a:lnTo>
                      <a:pt x="81" y="479"/>
                    </a:lnTo>
                    <a:lnTo>
                      <a:pt x="81" y="477"/>
                    </a:lnTo>
                    <a:lnTo>
                      <a:pt x="80" y="477"/>
                    </a:lnTo>
                    <a:lnTo>
                      <a:pt x="80" y="475"/>
                    </a:lnTo>
                    <a:lnTo>
                      <a:pt x="78" y="475"/>
                    </a:lnTo>
                    <a:lnTo>
                      <a:pt x="78" y="474"/>
                    </a:lnTo>
                    <a:lnTo>
                      <a:pt x="76" y="472"/>
                    </a:lnTo>
                    <a:lnTo>
                      <a:pt x="76" y="471"/>
                    </a:lnTo>
                    <a:lnTo>
                      <a:pt x="75" y="471"/>
                    </a:lnTo>
                    <a:lnTo>
                      <a:pt x="75" y="469"/>
                    </a:lnTo>
                    <a:lnTo>
                      <a:pt x="73" y="469"/>
                    </a:lnTo>
                    <a:lnTo>
                      <a:pt x="73" y="467"/>
                    </a:lnTo>
                    <a:lnTo>
                      <a:pt x="72" y="466"/>
                    </a:lnTo>
                    <a:lnTo>
                      <a:pt x="70" y="464"/>
                    </a:lnTo>
                    <a:lnTo>
                      <a:pt x="70" y="463"/>
                    </a:lnTo>
                    <a:lnTo>
                      <a:pt x="69" y="463"/>
                    </a:lnTo>
                    <a:lnTo>
                      <a:pt x="69" y="461"/>
                    </a:lnTo>
                    <a:lnTo>
                      <a:pt x="67" y="460"/>
                    </a:lnTo>
                    <a:lnTo>
                      <a:pt x="65" y="458"/>
                    </a:lnTo>
                    <a:lnTo>
                      <a:pt x="65" y="456"/>
                    </a:lnTo>
                    <a:lnTo>
                      <a:pt x="65" y="455"/>
                    </a:lnTo>
                    <a:lnTo>
                      <a:pt x="65" y="453"/>
                    </a:lnTo>
                    <a:lnTo>
                      <a:pt x="67" y="453"/>
                    </a:lnTo>
                    <a:lnTo>
                      <a:pt x="67" y="452"/>
                    </a:lnTo>
                    <a:lnTo>
                      <a:pt x="67" y="450"/>
                    </a:lnTo>
                    <a:lnTo>
                      <a:pt x="69" y="448"/>
                    </a:lnTo>
                    <a:lnTo>
                      <a:pt x="67" y="447"/>
                    </a:lnTo>
                    <a:lnTo>
                      <a:pt x="65" y="447"/>
                    </a:lnTo>
                    <a:lnTo>
                      <a:pt x="64" y="447"/>
                    </a:lnTo>
                    <a:lnTo>
                      <a:pt x="62" y="447"/>
                    </a:lnTo>
                    <a:lnTo>
                      <a:pt x="61" y="447"/>
                    </a:lnTo>
                    <a:lnTo>
                      <a:pt x="59" y="445"/>
                    </a:lnTo>
                    <a:lnTo>
                      <a:pt x="59" y="444"/>
                    </a:lnTo>
                    <a:lnTo>
                      <a:pt x="59" y="442"/>
                    </a:lnTo>
                    <a:lnTo>
                      <a:pt x="57" y="441"/>
                    </a:lnTo>
                    <a:lnTo>
                      <a:pt x="56" y="441"/>
                    </a:lnTo>
                    <a:lnTo>
                      <a:pt x="56" y="439"/>
                    </a:lnTo>
                    <a:lnTo>
                      <a:pt x="54" y="439"/>
                    </a:lnTo>
                    <a:lnTo>
                      <a:pt x="53" y="439"/>
                    </a:lnTo>
                    <a:lnTo>
                      <a:pt x="51" y="437"/>
                    </a:lnTo>
                    <a:lnTo>
                      <a:pt x="50" y="436"/>
                    </a:lnTo>
                    <a:lnTo>
                      <a:pt x="48" y="436"/>
                    </a:lnTo>
                    <a:lnTo>
                      <a:pt x="48" y="434"/>
                    </a:lnTo>
                    <a:lnTo>
                      <a:pt x="46" y="434"/>
                    </a:lnTo>
                    <a:lnTo>
                      <a:pt x="46" y="433"/>
                    </a:lnTo>
                    <a:lnTo>
                      <a:pt x="45" y="431"/>
                    </a:lnTo>
                    <a:lnTo>
                      <a:pt x="45" y="429"/>
                    </a:lnTo>
                    <a:lnTo>
                      <a:pt x="43" y="429"/>
                    </a:lnTo>
                    <a:lnTo>
                      <a:pt x="43" y="428"/>
                    </a:lnTo>
                    <a:lnTo>
                      <a:pt x="43" y="426"/>
                    </a:lnTo>
                    <a:lnTo>
                      <a:pt x="43" y="425"/>
                    </a:lnTo>
                    <a:lnTo>
                      <a:pt x="43" y="423"/>
                    </a:lnTo>
                    <a:lnTo>
                      <a:pt x="43" y="422"/>
                    </a:lnTo>
                    <a:lnTo>
                      <a:pt x="43" y="420"/>
                    </a:lnTo>
                    <a:lnTo>
                      <a:pt x="42" y="418"/>
                    </a:lnTo>
                    <a:lnTo>
                      <a:pt x="42" y="417"/>
                    </a:lnTo>
                    <a:lnTo>
                      <a:pt x="40" y="417"/>
                    </a:lnTo>
                    <a:lnTo>
                      <a:pt x="40" y="415"/>
                    </a:lnTo>
                    <a:lnTo>
                      <a:pt x="40" y="414"/>
                    </a:lnTo>
                    <a:lnTo>
                      <a:pt x="38" y="414"/>
                    </a:lnTo>
                    <a:lnTo>
                      <a:pt x="37" y="412"/>
                    </a:lnTo>
                    <a:lnTo>
                      <a:pt x="35" y="410"/>
                    </a:lnTo>
                    <a:lnTo>
                      <a:pt x="34" y="410"/>
                    </a:lnTo>
                    <a:lnTo>
                      <a:pt x="34" y="409"/>
                    </a:lnTo>
                    <a:lnTo>
                      <a:pt x="32" y="409"/>
                    </a:lnTo>
                    <a:lnTo>
                      <a:pt x="31" y="407"/>
                    </a:lnTo>
                    <a:lnTo>
                      <a:pt x="29" y="406"/>
                    </a:lnTo>
                    <a:lnTo>
                      <a:pt x="29" y="404"/>
                    </a:lnTo>
                    <a:lnTo>
                      <a:pt x="29" y="402"/>
                    </a:lnTo>
                    <a:lnTo>
                      <a:pt x="27" y="401"/>
                    </a:lnTo>
                    <a:lnTo>
                      <a:pt x="27" y="399"/>
                    </a:lnTo>
                    <a:lnTo>
                      <a:pt x="26" y="399"/>
                    </a:lnTo>
                    <a:lnTo>
                      <a:pt x="24" y="399"/>
                    </a:lnTo>
                    <a:lnTo>
                      <a:pt x="24" y="398"/>
                    </a:lnTo>
                    <a:lnTo>
                      <a:pt x="24" y="396"/>
                    </a:lnTo>
                    <a:lnTo>
                      <a:pt x="24" y="395"/>
                    </a:lnTo>
                    <a:lnTo>
                      <a:pt x="23" y="393"/>
                    </a:lnTo>
                    <a:lnTo>
                      <a:pt x="23" y="391"/>
                    </a:lnTo>
                    <a:lnTo>
                      <a:pt x="23" y="390"/>
                    </a:lnTo>
                    <a:lnTo>
                      <a:pt x="21" y="390"/>
                    </a:lnTo>
                    <a:lnTo>
                      <a:pt x="21" y="388"/>
                    </a:lnTo>
                    <a:lnTo>
                      <a:pt x="21" y="387"/>
                    </a:lnTo>
                    <a:lnTo>
                      <a:pt x="19" y="385"/>
                    </a:lnTo>
                    <a:lnTo>
                      <a:pt x="21" y="385"/>
                    </a:lnTo>
                    <a:lnTo>
                      <a:pt x="21" y="383"/>
                    </a:lnTo>
                    <a:lnTo>
                      <a:pt x="21" y="382"/>
                    </a:lnTo>
                    <a:lnTo>
                      <a:pt x="19" y="382"/>
                    </a:lnTo>
                    <a:lnTo>
                      <a:pt x="19" y="380"/>
                    </a:lnTo>
                    <a:lnTo>
                      <a:pt x="19" y="379"/>
                    </a:lnTo>
                    <a:lnTo>
                      <a:pt x="21" y="379"/>
                    </a:lnTo>
                    <a:lnTo>
                      <a:pt x="21" y="377"/>
                    </a:lnTo>
                    <a:lnTo>
                      <a:pt x="21" y="376"/>
                    </a:lnTo>
                    <a:lnTo>
                      <a:pt x="19" y="376"/>
                    </a:lnTo>
                    <a:lnTo>
                      <a:pt x="19" y="374"/>
                    </a:lnTo>
                    <a:lnTo>
                      <a:pt x="18" y="374"/>
                    </a:lnTo>
                    <a:lnTo>
                      <a:pt x="18" y="372"/>
                    </a:lnTo>
                    <a:lnTo>
                      <a:pt x="16" y="371"/>
                    </a:lnTo>
                    <a:lnTo>
                      <a:pt x="16" y="369"/>
                    </a:lnTo>
                    <a:lnTo>
                      <a:pt x="16" y="368"/>
                    </a:lnTo>
                    <a:lnTo>
                      <a:pt x="16" y="366"/>
                    </a:lnTo>
                    <a:lnTo>
                      <a:pt x="15" y="364"/>
                    </a:lnTo>
                    <a:lnTo>
                      <a:pt x="16" y="364"/>
                    </a:lnTo>
                    <a:lnTo>
                      <a:pt x="16" y="363"/>
                    </a:lnTo>
                    <a:lnTo>
                      <a:pt x="15" y="361"/>
                    </a:lnTo>
                    <a:lnTo>
                      <a:pt x="13" y="361"/>
                    </a:lnTo>
                    <a:lnTo>
                      <a:pt x="13" y="360"/>
                    </a:lnTo>
                    <a:lnTo>
                      <a:pt x="13" y="358"/>
                    </a:lnTo>
                    <a:lnTo>
                      <a:pt x="12" y="358"/>
                    </a:lnTo>
                    <a:lnTo>
                      <a:pt x="12" y="357"/>
                    </a:lnTo>
                    <a:lnTo>
                      <a:pt x="10" y="357"/>
                    </a:lnTo>
                    <a:lnTo>
                      <a:pt x="10" y="355"/>
                    </a:lnTo>
                    <a:lnTo>
                      <a:pt x="10" y="353"/>
                    </a:lnTo>
                    <a:lnTo>
                      <a:pt x="10" y="352"/>
                    </a:lnTo>
                    <a:lnTo>
                      <a:pt x="8" y="352"/>
                    </a:lnTo>
                    <a:lnTo>
                      <a:pt x="8" y="350"/>
                    </a:lnTo>
                    <a:lnTo>
                      <a:pt x="8" y="349"/>
                    </a:lnTo>
                    <a:lnTo>
                      <a:pt x="8" y="347"/>
                    </a:lnTo>
                    <a:lnTo>
                      <a:pt x="8" y="345"/>
                    </a:lnTo>
                    <a:lnTo>
                      <a:pt x="10" y="345"/>
                    </a:lnTo>
                    <a:lnTo>
                      <a:pt x="10" y="344"/>
                    </a:lnTo>
                    <a:lnTo>
                      <a:pt x="10" y="342"/>
                    </a:lnTo>
                    <a:lnTo>
                      <a:pt x="10" y="341"/>
                    </a:lnTo>
                    <a:lnTo>
                      <a:pt x="10" y="339"/>
                    </a:lnTo>
                    <a:lnTo>
                      <a:pt x="10" y="338"/>
                    </a:lnTo>
                    <a:lnTo>
                      <a:pt x="10" y="336"/>
                    </a:lnTo>
                    <a:lnTo>
                      <a:pt x="10" y="334"/>
                    </a:lnTo>
                    <a:lnTo>
                      <a:pt x="10" y="333"/>
                    </a:lnTo>
                    <a:lnTo>
                      <a:pt x="8" y="331"/>
                    </a:lnTo>
                    <a:lnTo>
                      <a:pt x="8" y="330"/>
                    </a:lnTo>
                    <a:lnTo>
                      <a:pt x="8" y="328"/>
                    </a:lnTo>
                    <a:lnTo>
                      <a:pt x="8" y="326"/>
                    </a:lnTo>
                    <a:lnTo>
                      <a:pt x="10" y="326"/>
                    </a:lnTo>
                    <a:lnTo>
                      <a:pt x="10" y="325"/>
                    </a:lnTo>
                    <a:lnTo>
                      <a:pt x="10" y="323"/>
                    </a:lnTo>
                    <a:lnTo>
                      <a:pt x="10" y="322"/>
                    </a:lnTo>
                    <a:lnTo>
                      <a:pt x="8" y="322"/>
                    </a:lnTo>
                    <a:lnTo>
                      <a:pt x="8" y="320"/>
                    </a:lnTo>
                    <a:lnTo>
                      <a:pt x="7" y="320"/>
                    </a:lnTo>
                    <a:lnTo>
                      <a:pt x="5" y="320"/>
                    </a:lnTo>
                    <a:lnTo>
                      <a:pt x="5" y="319"/>
                    </a:lnTo>
                    <a:lnTo>
                      <a:pt x="4" y="319"/>
                    </a:lnTo>
                    <a:lnTo>
                      <a:pt x="4" y="317"/>
                    </a:lnTo>
                    <a:lnTo>
                      <a:pt x="2" y="315"/>
                    </a:lnTo>
                    <a:lnTo>
                      <a:pt x="2" y="314"/>
                    </a:lnTo>
                    <a:lnTo>
                      <a:pt x="2" y="312"/>
                    </a:lnTo>
                    <a:lnTo>
                      <a:pt x="2" y="311"/>
                    </a:lnTo>
                    <a:lnTo>
                      <a:pt x="2" y="309"/>
                    </a:lnTo>
                    <a:lnTo>
                      <a:pt x="0" y="309"/>
                    </a:lnTo>
                    <a:lnTo>
                      <a:pt x="0" y="307"/>
                    </a:lnTo>
                    <a:lnTo>
                      <a:pt x="0" y="306"/>
                    </a:lnTo>
                    <a:lnTo>
                      <a:pt x="2" y="306"/>
                    </a:lnTo>
                    <a:lnTo>
                      <a:pt x="4" y="304"/>
                    </a:lnTo>
                    <a:lnTo>
                      <a:pt x="5" y="304"/>
                    </a:lnTo>
                    <a:lnTo>
                      <a:pt x="7" y="303"/>
                    </a:lnTo>
                    <a:lnTo>
                      <a:pt x="8" y="301"/>
                    </a:lnTo>
                    <a:lnTo>
                      <a:pt x="10" y="301"/>
                    </a:lnTo>
                    <a:lnTo>
                      <a:pt x="10" y="300"/>
                    </a:lnTo>
                    <a:lnTo>
                      <a:pt x="12" y="300"/>
                    </a:lnTo>
                    <a:lnTo>
                      <a:pt x="12" y="298"/>
                    </a:lnTo>
                    <a:lnTo>
                      <a:pt x="13" y="298"/>
                    </a:lnTo>
                    <a:lnTo>
                      <a:pt x="15" y="296"/>
                    </a:lnTo>
                    <a:lnTo>
                      <a:pt x="16" y="295"/>
                    </a:lnTo>
                    <a:lnTo>
                      <a:pt x="18" y="293"/>
                    </a:lnTo>
                    <a:lnTo>
                      <a:pt x="19" y="292"/>
                    </a:lnTo>
                    <a:lnTo>
                      <a:pt x="21" y="292"/>
                    </a:lnTo>
                    <a:lnTo>
                      <a:pt x="21" y="290"/>
                    </a:lnTo>
                    <a:lnTo>
                      <a:pt x="23" y="290"/>
                    </a:lnTo>
                    <a:lnTo>
                      <a:pt x="23" y="288"/>
                    </a:lnTo>
                    <a:lnTo>
                      <a:pt x="24" y="288"/>
                    </a:lnTo>
                    <a:lnTo>
                      <a:pt x="26" y="287"/>
                    </a:lnTo>
                    <a:lnTo>
                      <a:pt x="27" y="285"/>
                    </a:lnTo>
                    <a:lnTo>
                      <a:pt x="29" y="285"/>
                    </a:lnTo>
                    <a:lnTo>
                      <a:pt x="29" y="284"/>
                    </a:lnTo>
                    <a:lnTo>
                      <a:pt x="31" y="284"/>
                    </a:lnTo>
                    <a:lnTo>
                      <a:pt x="31" y="282"/>
                    </a:lnTo>
                    <a:lnTo>
                      <a:pt x="32" y="282"/>
                    </a:lnTo>
                    <a:lnTo>
                      <a:pt x="32" y="281"/>
                    </a:lnTo>
                    <a:lnTo>
                      <a:pt x="34" y="281"/>
                    </a:lnTo>
                    <a:lnTo>
                      <a:pt x="35" y="279"/>
                    </a:lnTo>
                    <a:lnTo>
                      <a:pt x="37" y="279"/>
                    </a:lnTo>
                    <a:lnTo>
                      <a:pt x="37" y="277"/>
                    </a:lnTo>
                    <a:lnTo>
                      <a:pt x="38" y="277"/>
                    </a:lnTo>
                    <a:lnTo>
                      <a:pt x="40" y="277"/>
                    </a:lnTo>
                    <a:lnTo>
                      <a:pt x="40" y="276"/>
                    </a:lnTo>
                    <a:lnTo>
                      <a:pt x="42" y="276"/>
                    </a:lnTo>
                    <a:lnTo>
                      <a:pt x="43" y="276"/>
                    </a:lnTo>
                    <a:lnTo>
                      <a:pt x="43" y="274"/>
                    </a:lnTo>
                    <a:lnTo>
                      <a:pt x="45" y="274"/>
                    </a:lnTo>
                    <a:lnTo>
                      <a:pt x="46" y="274"/>
                    </a:lnTo>
                    <a:lnTo>
                      <a:pt x="48" y="273"/>
                    </a:lnTo>
                    <a:lnTo>
                      <a:pt x="50" y="273"/>
                    </a:lnTo>
                    <a:lnTo>
                      <a:pt x="50" y="271"/>
                    </a:lnTo>
                    <a:lnTo>
                      <a:pt x="51" y="271"/>
                    </a:lnTo>
                    <a:lnTo>
                      <a:pt x="53" y="269"/>
                    </a:lnTo>
                    <a:lnTo>
                      <a:pt x="54" y="269"/>
                    </a:lnTo>
                    <a:lnTo>
                      <a:pt x="54" y="268"/>
                    </a:lnTo>
                    <a:lnTo>
                      <a:pt x="56" y="268"/>
                    </a:lnTo>
                    <a:lnTo>
                      <a:pt x="57" y="268"/>
                    </a:lnTo>
                    <a:lnTo>
                      <a:pt x="57" y="266"/>
                    </a:lnTo>
                    <a:lnTo>
                      <a:pt x="59" y="266"/>
                    </a:lnTo>
                    <a:lnTo>
                      <a:pt x="61" y="266"/>
                    </a:lnTo>
                    <a:lnTo>
                      <a:pt x="64" y="263"/>
                    </a:lnTo>
                    <a:lnTo>
                      <a:pt x="69" y="258"/>
                    </a:lnTo>
                    <a:lnTo>
                      <a:pt x="75" y="255"/>
                    </a:lnTo>
                    <a:lnTo>
                      <a:pt x="80" y="252"/>
                    </a:lnTo>
                    <a:lnTo>
                      <a:pt x="80" y="250"/>
                    </a:lnTo>
                    <a:lnTo>
                      <a:pt x="83" y="250"/>
                    </a:lnTo>
                    <a:lnTo>
                      <a:pt x="83" y="249"/>
                    </a:lnTo>
                    <a:lnTo>
                      <a:pt x="83" y="247"/>
                    </a:lnTo>
                    <a:lnTo>
                      <a:pt x="83" y="246"/>
                    </a:lnTo>
                    <a:lnTo>
                      <a:pt x="84" y="246"/>
                    </a:lnTo>
                    <a:lnTo>
                      <a:pt x="84" y="244"/>
                    </a:lnTo>
                    <a:lnTo>
                      <a:pt x="84" y="243"/>
                    </a:lnTo>
                    <a:lnTo>
                      <a:pt x="84" y="241"/>
                    </a:lnTo>
                    <a:lnTo>
                      <a:pt x="86" y="241"/>
                    </a:lnTo>
                    <a:lnTo>
                      <a:pt x="86" y="239"/>
                    </a:lnTo>
                    <a:lnTo>
                      <a:pt x="88" y="239"/>
                    </a:lnTo>
                    <a:lnTo>
                      <a:pt x="88" y="238"/>
                    </a:lnTo>
                    <a:lnTo>
                      <a:pt x="89" y="236"/>
                    </a:lnTo>
                    <a:lnTo>
                      <a:pt x="89" y="235"/>
                    </a:lnTo>
                    <a:lnTo>
                      <a:pt x="89" y="233"/>
                    </a:lnTo>
                    <a:lnTo>
                      <a:pt x="91" y="233"/>
                    </a:lnTo>
                    <a:lnTo>
                      <a:pt x="91" y="231"/>
                    </a:lnTo>
                    <a:lnTo>
                      <a:pt x="91" y="230"/>
                    </a:lnTo>
                    <a:lnTo>
                      <a:pt x="92" y="228"/>
                    </a:lnTo>
                    <a:lnTo>
                      <a:pt x="92" y="227"/>
                    </a:lnTo>
                    <a:lnTo>
                      <a:pt x="92" y="225"/>
                    </a:lnTo>
                    <a:lnTo>
                      <a:pt x="92" y="224"/>
                    </a:lnTo>
                    <a:lnTo>
                      <a:pt x="92" y="222"/>
                    </a:lnTo>
                    <a:lnTo>
                      <a:pt x="92" y="220"/>
                    </a:lnTo>
                    <a:lnTo>
                      <a:pt x="91" y="219"/>
                    </a:lnTo>
                    <a:lnTo>
                      <a:pt x="92" y="219"/>
                    </a:lnTo>
                    <a:lnTo>
                      <a:pt x="94" y="219"/>
                    </a:lnTo>
                    <a:lnTo>
                      <a:pt x="96" y="219"/>
                    </a:lnTo>
                    <a:lnTo>
                      <a:pt x="97" y="219"/>
                    </a:lnTo>
                    <a:lnTo>
                      <a:pt x="99" y="220"/>
                    </a:lnTo>
                    <a:lnTo>
                      <a:pt x="100" y="222"/>
                    </a:lnTo>
                    <a:lnTo>
                      <a:pt x="102" y="222"/>
                    </a:lnTo>
                    <a:lnTo>
                      <a:pt x="103" y="222"/>
                    </a:lnTo>
                    <a:lnTo>
                      <a:pt x="105" y="222"/>
                    </a:lnTo>
                    <a:lnTo>
                      <a:pt x="107" y="222"/>
                    </a:lnTo>
                    <a:lnTo>
                      <a:pt x="108" y="220"/>
                    </a:lnTo>
                    <a:lnTo>
                      <a:pt x="110" y="220"/>
                    </a:lnTo>
                    <a:lnTo>
                      <a:pt x="111" y="220"/>
                    </a:lnTo>
                    <a:lnTo>
                      <a:pt x="111" y="222"/>
                    </a:lnTo>
                    <a:lnTo>
                      <a:pt x="113" y="222"/>
                    </a:lnTo>
                    <a:lnTo>
                      <a:pt x="115" y="224"/>
                    </a:lnTo>
                    <a:lnTo>
                      <a:pt x="116" y="222"/>
                    </a:lnTo>
                    <a:lnTo>
                      <a:pt x="118" y="222"/>
                    </a:lnTo>
                    <a:lnTo>
                      <a:pt x="119" y="220"/>
                    </a:lnTo>
                    <a:lnTo>
                      <a:pt x="121" y="220"/>
                    </a:lnTo>
                    <a:lnTo>
                      <a:pt x="122" y="220"/>
                    </a:lnTo>
                    <a:lnTo>
                      <a:pt x="124" y="220"/>
                    </a:lnTo>
                    <a:lnTo>
                      <a:pt x="126" y="220"/>
                    </a:lnTo>
                    <a:lnTo>
                      <a:pt x="127" y="220"/>
                    </a:lnTo>
                    <a:lnTo>
                      <a:pt x="129" y="220"/>
                    </a:lnTo>
                    <a:lnTo>
                      <a:pt x="130" y="220"/>
                    </a:lnTo>
                    <a:lnTo>
                      <a:pt x="132" y="220"/>
                    </a:lnTo>
                    <a:lnTo>
                      <a:pt x="134" y="222"/>
                    </a:lnTo>
                    <a:lnTo>
                      <a:pt x="135" y="222"/>
                    </a:lnTo>
                    <a:lnTo>
                      <a:pt x="137" y="222"/>
                    </a:lnTo>
                    <a:lnTo>
                      <a:pt x="138" y="222"/>
                    </a:lnTo>
                    <a:lnTo>
                      <a:pt x="140" y="222"/>
                    </a:lnTo>
                    <a:lnTo>
                      <a:pt x="141" y="222"/>
                    </a:lnTo>
                    <a:lnTo>
                      <a:pt x="143" y="222"/>
                    </a:lnTo>
                    <a:lnTo>
                      <a:pt x="145" y="222"/>
                    </a:lnTo>
                    <a:lnTo>
                      <a:pt x="146" y="222"/>
                    </a:lnTo>
                    <a:lnTo>
                      <a:pt x="151" y="211"/>
                    </a:lnTo>
                    <a:lnTo>
                      <a:pt x="153" y="208"/>
                    </a:lnTo>
                    <a:lnTo>
                      <a:pt x="154" y="203"/>
                    </a:lnTo>
                    <a:lnTo>
                      <a:pt x="157" y="198"/>
                    </a:lnTo>
                    <a:lnTo>
                      <a:pt x="159" y="193"/>
                    </a:lnTo>
                    <a:lnTo>
                      <a:pt x="162" y="189"/>
                    </a:lnTo>
                    <a:lnTo>
                      <a:pt x="164" y="184"/>
                    </a:lnTo>
                    <a:lnTo>
                      <a:pt x="165" y="181"/>
                    </a:lnTo>
                    <a:lnTo>
                      <a:pt x="167" y="179"/>
                    </a:lnTo>
                    <a:lnTo>
                      <a:pt x="168" y="178"/>
                    </a:lnTo>
                    <a:lnTo>
                      <a:pt x="168" y="176"/>
                    </a:lnTo>
                    <a:lnTo>
                      <a:pt x="170" y="174"/>
                    </a:lnTo>
                    <a:lnTo>
                      <a:pt x="170" y="173"/>
                    </a:lnTo>
                    <a:lnTo>
                      <a:pt x="170" y="171"/>
                    </a:lnTo>
                    <a:lnTo>
                      <a:pt x="172" y="171"/>
                    </a:lnTo>
                    <a:lnTo>
                      <a:pt x="172" y="170"/>
                    </a:lnTo>
                    <a:lnTo>
                      <a:pt x="173" y="168"/>
                    </a:lnTo>
                    <a:lnTo>
                      <a:pt x="173" y="166"/>
                    </a:lnTo>
                    <a:lnTo>
                      <a:pt x="173" y="165"/>
                    </a:lnTo>
                    <a:lnTo>
                      <a:pt x="175" y="165"/>
                    </a:lnTo>
                    <a:lnTo>
                      <a:pt x="175" y="163"/>
                    </a:lnTo>
                    <a:lnTo>
                      <a:pt x="175" y="162"/>
                    </a:lnTo>
                    <a:lnTo>
                      <a:pt x="176" y="162"/>
                    </a:lnTo>
                    <a:lnTo>
                      <a:pt x="176" y="160"/>
                    </a:lnTo>
                    <a:lnTo>
                      <a:pt x="178" y="160"/>
                    </a:lnTo>
                    <a:lnTo>
                      <a:pt x="181" y="155"/>
                    </a:lnTo>
                    <a:lnTo>
                      <a:pt x="183" y="151"/>
                    </a:lnTo>
                    <a:lnTo>
                      <a:pt x="186" y="147"/>
                    </a:lnTo>
                    <a:lnTo>
                      <a:pt x="187" y="143"/>
                    </a:lnTo>
                    <a:lnTo>
                      <a:pt x="191" y="138"/>
                    </a:lnTo>
                    <a:lnTo>
                      <a:pt x="192" y="133"/>
                    </a:lnTo>
                    <a:lnTo>
                      <a:pt x="194" y="130"/>
                    </a:lnTo>
                    <a:lnTo>
                      <a:pt x="195" y="128"/>
                    </a:lnTo>
                    <a:lnTo>
                      <a:pt x="197" y="127"/>
                    </a:lnTo>
                    <a:lnTo>
                      <a:pt x="197" y="125"/>
                    </a:lnTo>
                    <a:lnTo>
                      <a:pt x="195" y="125"/>
                    </a:lnTo>
                    <a:lnTo>
                      <a:pt x="195" y="124"/>
                    </a:lnTo>
                    <a:lnTo>
                      <a:pt x="195" y="122"/>
                    </a:lnTo>
                    <a:lnTo>
                      <a:pt x="195" y="121"/>
                    </a:lnTo>
                    <a:lnTo>
                      <a:pt x="194" y="119"/>
                    </a:lnTo>
                    <a:lnTo>
                      <a:pt x="194" y="117"/>
                    </a:lnTo>
                    <a:lnTo>
                      <a:pt x="192" y="119"/>
                    </a:lnTo>
                    <a:lnTo>
                      <a:pt x="191" y="117"/>
                    </a:lnTo>
                    <a:lnTo>
                      <a:pt x="191" y="116"/>
                    </a:lnTo>
                    <a:lnTo>
                      <a:pt x="189" y="116"/>
                    </a:lnTo>
                    <a:lnTo>
                      <a:pt x="189" y="114"/>
                    </a:lnTo>
                    <a:lnTo>
                      <a:pt x="189" y="113"/>
                    </a:lnTo>
                    <a:lnTo>
                      <a:pt x="187" y="111"/>
                    </a:lnTo>
                    <a:lnTo>
                      <a:pt x="189" y="111"/>
                    </a:lnTo>
                    <a:lnTo>
                      <a:pt x="187" y="109"/>
                    </a:lnTo>
                    <a:lnTo>
                      <a:pt x="187" y="108"/>
                    </a:lnTo>
                    <a:lnTo>
                      <a:pt x="187" y="106"/>
                    </a:lnTo>
                    <a:lnTo>
                      <a:pt x="186" y="106"/>
                    </a:lnTo>
                    <a:lnTo>
                      <a:pt x="186" y="105"/>
                    </a:lnTo>
                    <a:lnTo>
                      <a:pt x="186" y="103"/>
                    </a:lnTo>
                    <a:lnTo>
                      <a:pt x="186" y="102"/>
                    </a:lnTo>
                    <a:lnTo>
                      <a:pt x="187" y="102"/>
                    </a:lnTo>
                    <a:lnTo>
                      <a:pt x="187" y="100"/>
                    </a:lnTo>
                    <a:lnTo>
                      <a:pt x="189" y="95"/>
                    </a:lnTo>
                    <a:lnTo>
                      <a:pt x="191" y="95"/>
                    </a:lnTo>
                    <a:lnTo>
                      <a:pt x="191" y="97"/>
                    </a:lnTo>
                    <a:lnTo>
                      <a:pt x="191" y="98"/>
                    </a:lnTo>
                    <a:lnTo>
                      <a:pt x="191" y="100"/>
                    </a:lnTo>
                    <a:lnTo>
                      <a:pt x="192" y="102"/>
                    </a:lnTo>
                    <a:lnTo>
                      <a:pt x="194" y="102"/>
                    </a:lnTo>
                    <a:lnTo>
                      <a:pt x="194" y="100"/>
                    </a:lnTo>
                    <a:lnTo>
                      <a:pt x="194" y="98"/>
                    </a:lnTo>
                    <a:lnTo>
                      <a:pt x="195" y="98"/>
                    </a:lnTo>
                    <a:lnTo>
                      <a:pt x="197" y="98"/>
                    </a:lnTo>
                    <a:lnTo>
                      <a:pt x="198" y="98"/>
                    </a:lnTo>
                    <a:lnTo>
                      <a:pt x="198" y="97"/>
                    </a:lnTo>
                    <a:lnTo>
                      <a:pt x="200" y="97"/>
                    </a:lnTo>
                    <a:lnTo>
                      <a:pt x="202" y="95"/>
                    </a:lnTo>
                    <a:lnTo>
                      <a:pt x="203" y="95"/>
                    </a:lnTo>
                    <a:lnTo>
                      <a:pt x="205" y="94"/>
                    </a:lnTo>
                    <a:lnTo>
                      <a:pt x="206" y="94"/>
                    </a:lnTo>
                    <a:lnTo>
                      <a:pt x="206" y="92"/>
                    </a:lnTo>
                    <a:lnTo>
                      <a:pt x="208" y="92"/>
                    </a:lnTo>
                    <a:lnTo>
                      <a:pt x="208" y="90"/>
                    </a:lnTo>
                    <a:lnTo>
                      <a:pt x="210" y="90"/>
                    </a:lnTo>
                    <a:lnTo>
                      <a:pt x="210" y="89"/>
                    </a:lnTo>
                    <a:lnTo>
                      <a:pt x="211" y="89"/>
                    </a:lnTo>
                    <a:lnTo>
                      <a:pt x="211" y="87"/>
                    </a:lnTo>
                    <a:lnTo>
                      <a:pt x="213" y="87"/>
                    </a:lnTo>
                    <a:lnTo>
                      <a:pt x="214" y="87"/>
                    </a:lnTo>
                    <a:lnTo>
                      <a:pt x="214" y="86"/>
                    </a:lnTo>
                    <a:lnTo>
                      <a:pt x="216" y="86"/>
                    </a:lnTo>
                    <a:lnTo>
                      <a:pt x="217" y="84"/>
                    </a:lnTo>
                    <a:lnTo>
                      <a:pt x="219" y="84"/>
                    </a:lnTo>
                    <a:lnTo>
                      <a:pt x="219" y="83"/>
                    </a:lnTo>
                    <a:lnTo>
                      <a:pt x="221" y="83"/>
                    </a:lnTo>
                    <a:lnTo>
                      <a:pt x="221" y="81"/>
                    </a:lnTo>
                    <a:lnTo>
                      <a:pt x="222" y="81"/>
                    </a:lnTo>
                    <a:lnTo>
                      <a:pt x="222" y="79"/>
                    </a:lnTo>
                    <a:lnTo>
                      <a:pt x="224" y="78"/>
                    </a:lnTo>
                    <a:lnTo>
                      <a:pt x="224" y="76"/>
                    </a:lnTo>
                    <a:lnTo>
                      <a:pt x="225" y="76"/>
                    </a:lnTo>
                    <a:lnTo>
                      <a:pt x="227" y="76"/>
                    </a:lnTo>
                    <a:lnTo>
                      <a:pt x="229" y="75"/>
                    </a:lnTo>
                    <a:lnTo>
                      <a:pt x="230" y="75"/>
                    </a:lnTo>
                    <a:lnTo>
                      <a:pt x="232" y="75"/>
                    </a:lnTo>
                    <a:lnTo>
                      <a:pt x="233" y="75"/>
                    </a:lnTo>
                    <a:lnTo>
                      <a:pt x="235" y="73"/>
                    </a:lnTo>
                    <a:lnTo>
                      <a:pt x="236" y="71"/>
                    </a:lnTo>
                    <a:lnTo>
                      <a:pt x="238" y="71"/>
                    </a:lnTo>
                    <a:lnTo>
                      <a:pt x="238" y="70"/>
                    </a:lnTo>
                    <a:lnTo>
                      <a:pt x="238" y="68"/>
                    </a:lnTo>
                    <a:lnTo>
                      <a:pt x="240" y="67"/>
                    </a:lnTo>
                    <a:lnTo>
                      <a:pt x="240" y="65"/>
                    </a:lnTo>
                    <a:lnTo>
                      <a:pt x="240" y="64"/>
                    </a:lnTo>
                    <a:lnTo>
                      <a:pt x="241" y="64"/>
                    </a:lnTo>
                    <a:lnTo>
                      <a:pt x="241" y="62"/>
                    </a:lnTo>
                    <a:lnTo>
                      <a:pt x="243" y="60"/>
                    </a:lnTo>
                    <a:lnTo>
                      <a:pt x="243" y="59"/>
                    </a:lnTo>
                    <a:lnTo>
                      <a:pt x="244" y="59"/>
                    </a:lnTo>
                    <a:lnTo>
                      <a:pt x="246" y="59"/>
                    </a:lnTo>
                    <a:lnTo>
                      <a:pt x="248" y="57"/>
                    </a:lnTo>
                    <a:lnTo>
                      <a:pt x="249" y="59"/>
                    </a:lnTo>
                    <a:lnTo>
                      <a:pt x="251" y="59"/>
                    </a:lnTo>
                    <a:lnTo>
                      <a:pt x="252" y="60"/>
                    </a:lnTo>
                    <a:lnTo>
                      <a:pt x="254" y="60"/>
                    </a:lnTo>
                    <a:lnTo>
                      <a:pt x="255" y="60"/>
                    </a:lnTo>
                    <a:lnTo>
                      <a:pt x="255" y="62"/>
                    </a:lnTo>
                    <a:lnTo>
                      <a:pt x="255" y="64"/>
                    </a:lnTo>
                    <a:lnTo>
                      <a:pt x="257" y="64"/>
                    </a:lnTo>
                    <a:lnTo>
                      <a:pt x="259" y="64"/>
                    </a:lnTo>
                    <a:lnTo>
                      <a:pt x="260" y="64"/>
                    </a:lnTo>
                    <a:lnTo>
                      <a:pt x="262" y="64"/>
                    </a:lnTo>
                    <a:lnTo>
                      <a:pt x="263" y="64"/>
                    </a:lnTo>
                    <a:lnTo>
                      <a:pt x="263" y="62"/>
                    </a:lnTo>
                    <a:lnTo>
                      <a:pt x="263" y="60"/>
                    </a:lnTo>
                    <a:lnTo>
                      <a:pt x="265" y="60"/>
                    </a:lnTo>
                    <a:lnTo>
                      <a:pt x="265" y="59"/>
                    </a:lnTo>
                    <a:lnTo>
                      <a:pt x="267" y="60"/>
                    </a:lnTo>
                    <a:lnTo>
                      <a:pt x="267" y="59"/>
                    </a:lnTo>
                    <a:lnTo>
                      <a:pt x="267" y="57"/>
                    </a:lnTo>
                    <a:lnTo>
                      <a:pt x="268" y="57"/>
                    </a:lnTo>
                    <a:lnTo>
                      <a:pt x="268" y="56"/>
                    </a:lnTo>
                    <a:lnTo>
                      <a:pt x="270" y="56"/>
                    </a:lnTo>
                    <a:lnTo>
                      <a:pt x="270" y="54"/>
                    </a:lnTo>
                    <a:lnTo>
                      <a:pt x="271" y="54"/>
                    </a:lnTo>
                    <a:lnTo>
                      <a:pt x="271" y="56"/>
                    </a:lnTo>
                    <a:lnTo>
                      <a:pt x="273" y="56"/>
                    </a:lnTo>
                    <a:lnTo>
                      <a:pt x="273" y="54"/>
                    </a:lnTo>
                    <a:lnTo>
                      <a:pt x="274" y="54"/>
                    </a:lnTo>
                    <a:lnTo>
                      <a:pt x="274" y="52"/>
                    </a:lnTo>
                    <a:lnTo>
                      <a:pt x="276" y="54"/>
                    </a:lnTo>
                    <a:lnTo>
                      <a:pt x="278" y="52"/>
                    </a:lnTo>
                    <a:lnTo>
                      <a:pt x="279" y="54"/>
                    </a:lnTo>
                    <a:lnTo>
                      <a:pt x="281" y="54"/>
                    </a:lnTo>
                    <a:lnTo>
                      <a:pt x="284" y="54"/>
                    </a:lnTo>
                    <a:lnTo>
                      <a:pt x="287" y="56"/>
                    </a:lnTo>
                    <a:lnTo>
                      <a:pt x="292" y="57"/>
                    </a:lnTo>
                    <a:lnTo>
                      <a:pt x="295" y="57"/>
                    </a:lnTo>
                    <a:lnTo>
                      <a:pt x="295" y="56"/>
                    </a:lnTo>
                    <a:lnTo>
                      <a:pt x="295" y="52"/>
                    </a:lnTo>
                    <a:lnTo>
                      <a:pt x="295" y="51"/>
                    </a:lnTo>
                    <a:lnTo>
                      <a:pt x="295" y="48"/>
                    </a:lnTo>
                    <a:lnTo>
                      <a:pt x="295" y="46"/>
                    </a:lnTo>
                    <a:lnTo>
                      <a:pt x="295" y="45"/>
                    </a:lnTo>
                    <a:lnTo>
                      <a:pt x="295" y="41"/>
                    </a:lnTo>
                    <a:lnTo>
                      <a:pt x="295" y="38"/>
                    </a:lnTo>
                    <a:lnTo>
                      <a:pt x="297" y="38"/>
                    </a:lnTo>
                    <a:lnTo>
                      <a:pt x="298" y="38"/>
                    </a:lnTo>
                    <a:lnTo>
                      <a:pt x="300" y="37"/>
                    </a:lnTo>
                    <a:lnTo>
                      <a:pt x="301" y="37"/>
                    </a:lnTo>
                    <a:lnTo>
                      <a:pt x="301" y="38"/>
                    </a:lnTo>
                    <a:lnTo>
                      <a:pt x="301" y="37"/>
                    </a:lnTo>
                    <a:lnTo>
                      <a:pt x="301" y="35"/>
                    </a:lnTo>
                    <a:lnTo>
                      <a:pt x="303" y="35"/>
                    </a:lnTo>
                    <a:lnTo>
                      <a:pt x="303" y="37"/>
                    </a:lnTo>
                    <a:lnTo>
                      <a:pt x="305" y="37"/>
                    </a:lnTo>
                    <a:lnTo>
                      <a:pt x="306" y="35"/>
                    </a:lnTo>
                    <a:lnTo>
                      <a:pt x="308" y="33"/>
                    </a:lnTo>
                    <a:lnTo>
                      <a:pt x="309" y="33"/>
                    </a:lnTo>
                    <a:lnTo>
                      <a:pt x="309" y="32"/>
                    </a:lnTo>
                    <a:lnTo>
                      <a:pt x="311" y="32"/>
                    </a:lnTo>
                    <a:lnTo>
                      <a:pt x="311" y="30"/>
                    </a:lnTo>
                    <a:lnTo>
                      <a:pt x="313" y="30"/>
                    </a:lnTo>
                    <a:lnTo>
                      <a:pt x="313" y="29"/>
                    </a:lnTo>
                    <a:lnTo>
                      <a:pt x="314" y="29"/>
                    </a:lnTo>
                    <a:lnTo>
                      <a:pt x="314" y="27"/>
                    </a:lnTo>
                    <a:lnTo>
                      <a:pt x="316" y="27"/>
                    </a:lnTo>
                    <a:lnTo>
                      <a:pt x="316" y="25"/>
                    </a:lnTo>
                    <a:lnTo>
                      <a:pt x="317" y="25"/>
                    </a:lnTo>
                    <a:lnTo>
                      <a:pt x="317" y="24"/>
                    </a:lnTo>
                    <a:lnTo>
                      <a:pt x="319" y="24"/>
                    </a:lnTo>
                    <a:lnTo>
                      <a:pt x="320" y="22"/>
                    </a:lnTo>
                    <a:lnTo>
                      <a:pt x="338" y="21"/>
                    </a:lnTo>
                    <a:lnTo>
                      <a:pt x="339" y="21"/>
                    </a:lnTo>
                    <a:lnTo>
                      <a:pt x="339" y="19"/>
                    </a:lnTo>
                    <a:lnTo>
                      <a:pt x="354" y="16"/>
                    </a:lnTo>
                    <a:lnTo>
                      <a:pt x="358" y="13"/>
                    </a:lnTo>
                    <a:lnTo>
                      <a:pt x="358" y="14"/>
                    </a:lnTo>
                    <a:lnTo>
                      <a:pt x="360" y="14"/>
                    </a:lnTo>
                    <a:lnTo>
                      <a:pt x="363" y="13"/>
                    </a:lnTo>
                    <a:lnTo>
                      <a:pt x="365" y="11"/>
                    </a:lnTo>
                    <a:lnTo>
                      <a:pt x="368" y="11"/>
                    </a:lnTo>
                    <a:lnTo>
                      <a:pt x="370" y="11"/>
                    </a:lnTo>
                    <a:lnTo>
                      <a:pt x="374" y="10"/>
                    </a:lnTo>
                    <a:lnTo>
                      <a:pt x="376" y="8"/>
                    </a:lnTo>
                    <a:lnTo>
                      <a:pt x="379" y="8"/>
                    </a:lnTo>
                    <a:lnTo>
                      <a:pt x="381" y="6"/>
                    </a:lnTo>
                    <a:lnTo>
                      <a:pt x="384" y="6"/>
                    </a:lnTo>
                    <a:lnTo>
                      <a:pt x="385" y="6"/>
                    </a:lnTo>
                    <a:lnTo>
                      <a:pt x="387" y="5"/>
                    </a:lnTo>
                    <a:lnTo>
                      <a:pt x="389" y="5"/>
                    </a:lnTo>
                    <a:lnTo>
                      <a:pt x="390" y="5"/>
                    </a:lnTo>
                    <a:lnTo>
                      <a:pt x="390" y="3"/>
                    </a:lnTo>
                    <a:lnTo>
                      <a:pt x="392" y="3"/>
                    </a:lnTo>
                    <a:lnTo>
                      <a:pt x="393" y="3"/>
                    </a:lnTo>
                    <a:lnTo>
                      <a:pt x="395" y="3"/>
                    </a:lnTo>
                    <a:lnTo>
                      <a:pt x="396" y="3"/>
                    </a:lnTo>
                    <a:lnTo>
                      <a:pt x="396" y="2"/>
                    </a:lnTo>
                    <a:lnTo>
                      <a:pt x="398" y="2"/>
                    </a:lnTo>
                    <a:lnTo>
                      <a:pt x="400" y="2"/>
                    </a:lnTo>
                    <a:lnTo>
                      <a:pt x="401" y="0"/>
                    </a:lnTo>
                    <a:lnTo>
                      <a:pt x="401" y="2"/>
                    </a:lnTo>
                    <a:lnTo>
                      <a:pt x="401" y="3"/>
                    </a:lnTo>
                    <a:lnTo>
                      <a:pt x="401" y="5"/>
                    </a:lnTo>
                    <a:lnTo>
                      <a:pt x="401" y="6"/>
                    </a:lnTo>
                    <a:lnTo>
                      <a:pt x="403" y="10"/>
                    </a:lnTo>
                    <a:lnTo>
                      <a:pt x="403" y="1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32" name="Freeform 12"/>
              <p:cNvSpPr>
                <a:spLocks noEditPoints="1"/>
              </p:cNvSpPr>
              <p:nvPr/>
            </p:nvSpPr>
            <p:spPr bwMode="auto">
              <a:xfrm>
                <a:off x="3318" y="2454"/>
                <a:ext cx="1144" cy="1186"/>
              </a:xfrm>
              <a:custGeom>
                <a:avLst/>
                <a:gdLst>
                  <a:gd name="T0" fmla="*/ 952 w 1144"/>
                  <a:gd name="T1" fmla="*/ 180 h 1186"/>
                  <a:gd name="T2" fmla="*/ 1028 w 1144"/>
                  <a:gd name="T3" fmla="*/ 128 h 1186"/>
                  <a:gd name="T4" fmla="*/ 377 w 1144"/>
                  <a:gd name="T5" fmla="*/ 1 h 1186"/>
                  <a:gd name="T6" fmla="*/ 438 w 1144"/>
                  <a:gd name="T7" fmla="*/ 22 h 1186"/>
                  <a:gd name="T8" fmla="*/ 490 w 1144"/>
                  <a:gd name="T9" fmla="*/ 19 h 1186"/>
                  <a:gd name="T10" fmla="*/ 564 w 1144"/>
                  <a:gd name="T11" fmla="*/ 28 h 1186"/>
                  <a:gd name="T12" fmla="*/ 620 w 1144"/>
                  <a:gd name="T13" fmla="*/ 57 h 1186"/>
                  <a:gd name="T14" fmla="*/ 672 w 1144"/>
                  <a:gd name="T15" fmla="*/ 66 h 1186"/>
                  <a:gd name="T16" fmla="*/ 734 w 1144"/>
                  <a:gd name="T17" fmla="*/ 76 h 1186"/>
                  <a:gd name="T18" fmla="*/ 789 w 1144"/>
                  <a:gd name="T19" fmla="*/ 92 h 1186"/>
                  <a:gd name="T20" fmla="*/ 823 w 1144"/>
                  <a:gd name="T21" fmla="*/ 136 h 1186"/>
                  <a:gd name="T22" fmla="*/ 876 w 1144"/>
                  <a:gd name="T23" fmla="*/ 160 h 1186"/>
                  <a:gd name="T24" fmla="*/ 910 w 1144"/>
                  <a:gd name="T25" fmla="*/ 202 h 1186"/>
                  <a:gd name="T26" fmla="*/ 970 w 1144"/>
                  <a:gd name="T27" fmla="*/ 226 h 1186"/>
                  <a:gd name="T28" fmla="*/ 1032 w 1144"/>
                  <a:gd name="T29" fmla="*/ 250 h 1186"/>
                  <a:gd name="T30" fmla="*/ 970 w 1144"/>
                  <a:gd name="T31" fmla="*/ 347 h 1186"/>
                  <a:gd name="T32" fmla="*/ 838 w 1144"/>
                  <a:gd name="T33" fmla="*/ 369 h 1186"/>
                  <a:gd name="T34" fmla="*/ 819 w 1144"/>
                  <a:gd name="T35" fmla="*/ 421 h 1186"/>
                  <a:gd name="T36" fmla="*/ 740 w 1144"/>
                  <a:gd name="T37" fmla="*/ 453 h 1186"/>
                  <a:gd name="T38" fmla="*/ 699 w 1144"/>
                  <a:gd name="T39" fmla="*/ 502 h 1186"/>
                  <a:gd name="T40" fmla="*/ 615 w 1144"/>
                  <a:gd name="T41" fmla="*/ 614 h 1186"/>
                  <a:gd name="T42" fmla="*/ 523 w 1144"/>
                  <a:gd name="T43" fmla="*/ 584 h 1186"/>
                  <a:gd name="T44" fmla="*/ 509 w 1144"/>
                  <a:gd name="T45" fmla="*/ 671 h 1186"/>
                  <a:gd name="T46" fmla="*/ 547 w 1144"/>
                  <a:gd name="T47" fmla="*/ 709 h 1186"/>
                  <a:gd name="T48" fmla="*/ 598 w 1144"/>
                  <a:gd name="T49" fmla="*/ 754 h 1186"/>
                  <a:gd name="T50" fmla="*/ 610 w 1144"/>
                  <a:gd name="T51" fmla="*/ 806 h 1186"/>
                  <a:gd name="T52" fmla="*/ 555 w 1144"/>
                  <a:gd name="T53" fmla="*/ 844 h 1186"/>
                  <a:gd name="T54" fmla="*/ 499 w 1144"/>
                  <a:gd name="T55" fmla="*/ 887 h 1186"/>
                  <a:gd name="T56" fmla="*/ 452 w 1144"/>
                  <a:gd name="T57" fmla="*/ 926 h 1186"/>
                  <a:gd name="T58" fmla="*/ 449 w 1144"/>
                  <a:gd name="T59" fmla="*/ 971 h 1186"/>
                  <a:gd name="T60" fmla="*/ 465 w 1144"/>
                  <a:gd name="T61" fmla="*/ 1010 h 1186"/>
                  <a:gd name="T62" fmla="*/ 438 w 1144"/>
                  <a:gd name="T63" fmla="*/ 1064 h 1186"/>
                  <a:gd name="T64" fmla="*/ 401 w 1144"/>
                  <a:gd name="T65" fmla="*/ 1078 h 1186"/>
                  <a:gd name="T66" fmla="*/ 390 w 1144"/>
                  <a:gd name="T67" fmla="*/ 1113 h 1186"/>
                  <a:gd name="T68" fmla="*/ 338 w 1144"/>
                  <a:gd name="T69" fmla="*/ 1148 h 1186"/>
                  <a:gd name="T70" fmla="*/ 297 w 1144"/>
                  <a:gd name="T71" fmla="*/ 1183 h 1186"/>
                  <a:gd name="T72" fmla="*/ 255 w 1144"/>
                  <a:gd name="T73" fmla="*/ 1162 h 1186"/>
                  <a:gd name="T74" fmla="*/ 235 w 1144"/>
                  <a:gd name="T75" fmla="*/ 1007 h 1186"/>
                  <a:gd name="T76" fmla="*/ 95 w 1144"/>
                  <a:gd name="T77" fmla="*/ 844 h 1186"/>
                  <a:gd name="T78" fmla="*/ 51 w 1144"/>
                  <a:gd name="T79" fmla="*/ 798 h 1186"/>
                  <a:gd name="T80" fmla="*/ 23 w 1144"/>
                  <a:gd name="T81" fmla="*/ 749 h 1186"/>
                  <a:gd name="T82" fmla="*/ 4 w 1144"/>
                  <a:gd name="T83" fmla="*/ 703 h 1186"/>
                  <a:gd name="T84" fmla="*/ 31 w 1144"/>
                  <a:gd name="T85" fmla="*/ 651 h 1186"/>
                  <a:gd name="T86" fmla="*/ 89 w 1144"/>
                  <a:gd name="T87" fmla="*/ 646 h 1186"/>
                  <a:gd name="T88" fmla="*/ 181 w 1144"/>
                  <a:gd name="T89" fmla="*/ 625 h 1186"/>
                  <a:gd name="T90" fmla="*/ 252 w 1144"/>
                  <a:gd name="T91" fmla="*/ 611 h 1186"/>
                  <a:gd name="T92" fmla="*/ 300 w 1144"/>
                  <a:gd name="T93" fmla="*/ 583 h 1186"/>
                  <a:gd name="T94" fmla="*/ 297 w 1144"/>
                  <a:gd name="T95" fmla="*/ 497 h 1186"/>
                  <a:gd name="T96" fmla="*/ 400 w 1144"/>
                  <a:gd name="T97" fmla="*/ 389 h 1186"/>
                  <a:gd name="T98" fmla="*/ 384 w 1144"/>
                  <a:gd name="T99" fmla="*/ 359 h 1186"/>
                  <a:gd name="T100" fmla="*/ 339 w 1144"/>
                  <a:gd name="T101" fmla="*/ 337 h 1186"/>
                  <a:gd name="T102" fmla="*/ 268 w 1144"/>
                  <a:gd name="T103" fmla="*/ 326 h 1186"/>
                  <a:gd name="T104" fmla="*/ 211 w 1144"/>
                  <a:gd name="T105" fmla="*/ 305 h 1186"/>
                  <a:gd name="T106" fmla="*/ 138 w 1144"/>
                  <a:gd name="T107" fmla="*/ 302 h 1186"/>
                  <a:gd name="T108" fmla="*/ 16 w 1144"/>
                  <a:gd name="T109" fmla="*/ 305 h 1186"/>
                  <a:gd name="T110" fmla="*/ 54 w 1144"/>
                  <a:gd name="T111" fmla="*/ 225 h 1186"/>
                  <a:gd name="T112" fmla="*/ 73 w 1144"/>
                  <a:gd name="T113" fmla="*/ 185 h 1186"/>
                  <a:gd name="T114" fmla="*/ 118 w 1144"/>
                  <a:gd name="T115" fmla="*/ 147 h 1186"/>
                  <a:gd name="T116" fmla="*/ 179 w 1144"/>
                  <a:gd name="T117" fmla="*/ 145 h 1186"/>
                  <a:gd name="T118" fmla="*/ 221 w 1144"/>
                  <a:gd name="T119" fmla="*/ 106 h 1186"/>
                  <a:gd name="T120" fmla="*/ 284 w 1144"/>
                  <a:gd name="T121" fmla="*/ 92 h 1186"/>
                  <a:gd name="T122" fmla="*/ 317 w 1144"/>
                  <a:gd name="T123" fmla="*/ 44 h 1186"/>
                  <a:gd name="T124" fmla="*/ 366 w 1144"/>
                  <a:gd name="T125" fmla="*/ 3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4" h="1186">
                    <a:moveTo>
                      <a:pt x="1139" y="126"/>
                    </a:moveTo>
                    <a:lnTo>
                      <a:pt x="1139" y="130"/>
                    </a:lnTo>
                    <a:lnTo>
                      <a:pt x="1141" y="131"/>
                    </a:lnTo>
                    <a:lnTo>
                      <a:pt x="1141" y="134"/>
                    </a:lnTo>
                    <a:lnTo>
                      <a:pt x="1141" y="138"/>
                    </a:lnTo>
                    <a:lnTo>
                      <a:pt x="1141" y="139"/>
                    </a:lnTo>
                    <a:lnTo>
                      <a:pt x="1143" y="145"/>
                    </a:lnTo>
                    <a:lnTo>
                      <a:pt x="1143" y="150"/>
                    </a:lnTo>
                    <a:lnTo>
                      <a:pt x="1143" y="153"/>
                    </a:lnTo>
                    <a:lnTo>
                      <a:pt x="1143" y="158"/>
                    </a:lnTo>
                    <a:lnTo>
                      <a:pt x="1143" y="161"/>
                    </a:lnTo>
                    <a:lnTo>
                      <a:pt x="1144" y="163"/>
                    </a:lnTo>
                    <a:lnTo>
                      <a:pt x="1144" y="168"/>
                    </a:lnTo>
                    <a:lnTo>
                      <a:pt x="1144" y="171"/>
                    </a:lnTo>
                    <a:lnTo>
                      <a:pt x="1144" y="172"/>
                    </a:lnTo>
                    <a:lnTo>
                      <a:pt x="1144" y="174"/>
                    </a:lnTo>
                    <a:lnTo>
                      <a:pt x="1143" y="174"/>
                    </a:lnTo>
                    <a:lnTo>
                      <a:pt x="1141" y="174"/>
                    </a:lnTo>
                    <a:lnTo>
                      <a:pt x="1139" y="174"/>
                    </a:lnTo>
                    <a:lnTo>
                      <a:pt x="1136" y="174"/>
                    </a:lnTo>
                    <a:lnTo>
                      <a:pt x="1133" y="174"/>
                    </a:lnTo>
                    <a:lnTo>
                      <a:pt x="1131" y="174"/>
                    </a:lnTo>
                    <a:lnTo>
                      <a:pt x="1128" y="174"/>
                    </a:lnTo>
                    <a:lnTo>
                      <a:pt x="1081" y="179"/>
                    </a:lnTo>
                    <a:lnTo>
                      <a:pt x="1079" y="177"/>
                    </a:lnTo>
                    <a:lnTo>
                      <a:pt x="1068" y="179"/>
                    </a:lnTo>
                    <a:lnTo>
                      <a:pt x="1059" y="180"/>
                    </a:lnTo>
                    <a:lnTo>
                      <a:pt x="1047" y="188"/>
                    </a:lnTo>
                    <a:lnTo>
                      <a:pt x="1043" y="187"/>
                    </a:lnTo>
                    <a:lnTo>
                      <a:pt x="1036" y="190"/>
                    </a:lnTo>
                    <a:lnTo>
                      <a:pt x="1033" y="191"/>
                    </a:lnTo>
                    <a:lnTo>
                      <a:pt x="1025" y="190"/>
                    </a:lnTo>
                    <a:lnTo>
                      <a:pt x="1016" y="188"/>
                    </a:lnTo>
                    <a:lnTo>
                      <a:pt x="1006" y="190"/>
                    </a:lnTo>
                    <a:lnTo>
                      <a:pt x="998" y="190"/>
                    </a:lnTo>
                    <a:lnTo>
                      <a:pt x="992" y="190"/>
                    </a:lnTo>
                    <a:lnTo>
                      <a:pt x="987" y="195"/>
                    </a:lnTo>
                    <a:lnTo>
                      <a:pt x="987" y="198"/>
                    </a:lnTo>
                    <a:lnTo>
                      <a:pt x="984" y="202"/>
                    </a:lnTo>
                    <a:lnTo>
                      <a:pt x="979" y="209"/>
                    </a:lnTo>
                    <a:lnTo>
                      <a:pt x="979" y="214"/>
                    </a:lnTo>
                    <a:lnTo>
                      <a:pt x="978" y="218"/>
                    </a:lnTo>
                    <a:lnTo>
                      <a:pt x="975" y="225"/>
                    </a:lnTo>
                    <a:lnTo>
                      <a:pt x="971" y="218"/>
                    </a:lnTo>
                    <a:lnTo>
                      <a:pt x="967" y="210"/>
                    </a:lnTo>
                    <a:lnTo>
                      <a:pt x="962" y="196"/>
                    </a:lnTo>
                    <a:lnTo>
                      <a:pt x="956" y="187"/>
                    </a:lnTo>
                    <a:lnTo>
                      <a:pt x="952" y="180"/>
                    </a:lnTo>
                    <a:lnTo>
                      <a:pt x="954" y="180"/>
                    </a:lnTo>
                    <a:lnTo>
                      <a:pt x="956" y="180"/>
                    </a:lnTo>
                    <a:lnTo>
                      <a:pt x="957" y="179"/>
                    </a:lnTo>
                    <a:lnTo>
                      <a:pt x="959" y="179"/>
                    </a:lnTo>
                    <a:lnTo>
                      <a:pt x="962" y="179"/>
                    </a:lnTo>
                    <a:lnTo>
                      <a:pt x="962" y="177"/>
                    </a:lnTo>
                    <a:lnTo>
                      <a:pt x="965" y="174"/>
                    </a:lnTo>
                    <a:lnTo>
                      <a:pt x="968" y="172"/>
                    </a:lnTo>
                    <a:lnTo>
                      <a:pt x="973" y="171"/>
                    </a:lnTo>
                    <a:lnTo>
                      <a:pt x="975" y="169"/>
                    </a:lnTo>
                    <a:lnTo>
                      <a:pt x="976" y="169"/>
                    </a:lnTo>
                    <a:lnTo>
                      <a:pt x="978" y="169"/>
                    </a:lnTo>
                    <a:lnTo>
                      <a:pt x="979" y="169"/>
                    </a:lnTo>
                    <a:lnTo>
                      <a:pt x="981" y="166"/>
                    </a:lnTo>
                    <a:lnTo>
                      <a:pt x="983" y="164"/>
                    </a:lnTo>
                    <a:lnTo>
                      <a:pt x="984" y="163"/>
                    </a:lnTo>
                    <a:lnTo>
                      <a:pt x="984" y="161"/>
                    </a:lnTo>
                    <a:lnTo>
                      <a:pt x="986" y="160"/>
                    </a:lnTo>
                    <a:lnTo>
                      <a:pt x="986" y="158"/>
                    </a:lnTo>
                    <a:lnTo>
                      <a:pt x="986" y="157"/>
                    </a:lnTo>
                    <a:lnTo>
                      <a:pt x="986" y="155"/>
                    </a:lnTo>
                    <a:lnTo>
                      <a:pt x="986" y="149"/>
                    </a:lnTo>
                    <a:lnTo>
                      <a:pt x="986" y="145"/>
                    </a:lnTo>
                    <a:lnTo>
                      <a:pt x="986" y="144"/>
                    </a:lnTo>
                    <a:lnTo>
                      <a:pt x="986" y="141"/>
                    </a:lnTo>
                    <a:lnTo>
                      <a:pt x="984" y="134"/>
                    </a:lnTo>
                    <a:lnTo>
                      <a:pt x="983" y="130"/>
                    </a:lnTo>
                    <a:lnTo>
                      <a:pt x="983" y="126"/>
                    </a:lnTo>
                    <a:lnTo>
                      <a:pt x="983" y="123"/>
                    </a:lnTo>
                    <a:lnTo>
                      <a:pt x="986" y="123"/>
                    </a:lnTo>
                    <a:lnTo>
                      <a:pt x="989" y="125"/>
                    </a:lnTo>
                    <a:lnTo>
                      <a:pt x="992" y="125"/>
                    </a:lnTo>
                    <a:lnTo>
                      <a:pt x="995" y="125"/>
                    </a:lnTo>
                    <a:lnTo>
                      <a:pt x="997" y="125"/>
                    </a:lnTo>
                    <a:lnTo>
                      <a:pt x="998" y="125"/>
                    </a:lnTo>
                    <a:lnTo>
                      <a:pt x="1000" y="125"/>
                    </a:lnTo>
                    <a:lnTo>
                      <a:pt x="1003" y="125"/>
                    </a:lnTo>
                    <a:lnTo>
                      <a:pt x="1008" y="125"/>
                    </a:lnTo>
                    <a:lnTo>
                      <a:pt x="1011" y="126"/>
                    </a:lnTo>
                    <a:lnTo>
                      <a:pt x="1013" y="128"/>
                    </a:lnTo>
                    <a:lnTo>
                      <a:pt x="1014" y="128"/>
                    </a:lnTo>
                    <a:lnTo>
                      <a:pt x="1016" y="128"/>
                    </a:lnTo>
                    <a:lnTo>
                      <a:pt x="1019" y="128"/>
                    </a:lnTo>
                    <a:lnTo>
                      <a:pt x="1022" y="128"/>
                    </a:lnTo>
                    <a:lnTo>
                      <a:pt x="1024" y="130"/>
                    </a:lnTo>
                    <a:lnTo>
                      <a:pt x="1025" y="130"/>
                    </a:lnTo>
                    <a:lnTo>
                      <a:pt x="1027" y="128"/>
                    </a:lnTo>
                    <a:lnTo>
                      <a:pt x="1028" y="128"/>
                    </a:lnTo>
                    <a:lnTo>
                      <a:pt x="1030" y="126"/>
                    </a:lnTo>
                    <a:lnTo>
                      <a:pt x="1032" y="126"/>
                    </a:lnTo>
                    <a:lnTo>
                      <a:pt x="1033" y="125"/>
                    </a:lnTo>
                    <a:lnTo>
                      <a:pt x="1036" y="123"/>
                    </a:lnTo>
                    <a:lnTo>
                      <a:pt x="1038" y="122"/>
                    </a:lnTo>
                    <a:lnTo>
                      <a:pt x="1040" y="120"/>
                    </a:lnTo>
                    <a:lnTo>
                      <a:pt x="1041" y="120"/>
                    </a:lnTo>
                    <a:lnTo>
                      <a:pt x="1043" y="120"/>
                    </a:lnTo>
                    <a:lnTo>
                      <a:pt x="1044" y="119"/>
                    </a:lnTo>
                    <a:lnTo>
                      <a:pt x="1046" y="117"/>
                    </a:lnTo>
                    <a:lnTo>
                      <a:pt x="1049" y="117"/>
                    </a:lnTo>
                    <a:lnTo>
                      <a:pt x="1051" y="117"/>
                    </a:lnTo>
                    <a:lnTo>
                      <a:pt x="1054" y="117"/>
                    </a:lnTo>
                    <a:lnTo>
                      <a:pt x="1055" y="117"/>
                    </a:lnTo>
                    <a:lnTo>
                      <a:pt x="1060" y="115"/>
                    </a:lnTo>
                    <a:lnTo>
                      <a:pt x="1062" y="115"/>
                    </a:lnTo>
                    <a:lnTo>
                      <a:pt x="1065" y="115"/>
                    </a:lnTo>
                    <a:lnTo>
                      <a:pt x="1068" y="115"/>
                    </a:lnTo>
                    <a:lnTo>
                      <a:pt x="1071" y="114"/>
                    </a:lnTo>
                    <a:lnTo>
                      <a:pt x="1073" y="114"/>
                    </a:lnTo>
                    <a:lnTo>
                      <a:pt x="1078" y="114"/>
                    </a:lnTo>
                    <a:lnTo>
                      <a:pt x="1079" y="114"/>
                    </a:lnTo>
                    <a:lnTo>
                      <a:pt x="1082" y="114"/>
                    </a:lnTo>
                    <a:lnTo>
                      <a:pt x="1084" y="112"/>
                    </a:lnTo>
                    <a:lnTo>
                      <a:pt x="1087" y="112"/>
                    </a:lnTo>
                    <a:lnTo>
                      <a:pt x="1089" y="112"/>
                    </a:lnTo>
                    <a:lnTo>
                      <a:pt x="1090" y="112"/>
                    </a:lnTo>
                    <a:lnTo>
                      <a:pt x="1092" y="112"/>
                    </a:lnTo>
                    <a:lnTo>
                      <a:pt x="1097" y="111"/>
                    </a:lnTo>
                    <a:lnTo>
                      <a:pt x="1098" y="111"/>
                    </a:lnTo>
                    <a:lnTo>
                      <a:pt x="1100" y="109"/>
                    </a:lnTo>
                    <a:lnTo>
                      <a:pt x="1105" y="109"/>
                    </a:lnTo>
                    <a:lnTo>
                      <a:pt x="1106" y="107"/>
                    </a:lnTo>
                    <a:lnTo>
                      <a:pt x="1108" y="107"/>
                    </a:lnTo>
                    <a:lnTo>
                      <a:pt x="1111" y="106"/>
                    </a:lnTo>
                    <a:lnTo>
                      <a:pt x="1114" y="104"/>
                    </a:lnTo>
                    <a:lnTo>
                      <a:pt x="1117" y="103"/>
                    </a:lnTo>
                    <a:lnTo>
                      <a:pt x="1119" y="103"/>
                    </a:lnTo>
                    <a:lnTo>
                      <a:pt x="1120" y="103"/>
                    </a:lnTo>
                    <a:lnTo>
                      <a:pt x="1122" y="104"/>
                    </a:lnTo>
                    <a:lnTo>
                      <a:pt x="1124" y="104"/>
                    </a:lnTo>
                    <a:lnTo>
                      <a:pt x="1125" y="104"/>
                    </a:lnTo>
                    <a:lnTo>
                      <a:pt x="1139" y="120"/>
                    </a:lnTo>
                    <a:lnTo>
                      <a:pt x="1139" y="123"/>
                    </a:lnTo>
                    <a:lnTo>
                      <a:pt x="1139" y="126"/>
                    </a:lnTo>
                    <a:close/>
                    <a:moveTo>
                      <a:pt x="374" y="1"/>
                    </a:moveTo>
                    <a:lnTo>
                      <a:pt x="376" y="1"/>
                    </a:lnTo>
                    <a:lnTo>
                      <a:pt x="377" y="1"/>
                    </a:lnTo>
                    <a:lnTo>
                      <a:pt x="379" y="1"/>
                    </a:lnTo>
                    <a:lnTo>
                      <a:pt x="379" y="3"/>
                    </a:lnTo>
                    <a:lnTo>
                      <a:pt x="381" y="3"/>
                    </a:lnTo>
                    <a:lnTo>
                      <a:pt x="382" y="4"/>
                    </a:lnTo>
                    <a:lnTo>
                      <a:pt x="384" y="4"/>
                    </a:lnTo>
                    <a:lnTo>
                      <a:pt x="384" y="6"/>
                    </a:lnTo>
                    <a:lnTo>
                      <a:pt x="385" y="6"/>
                    </a:lnTo>
                    <a:lnTo>
                      <a:pt x="387" y="6"/>
                    </a:lnTo>
                    <a:lnTo>
                      <a:pt x="389" y="6"/>
                    </a:lnTo>
                    <a:lnTo>
                      <a:pt x="390" y="6"/>
                    </a:lnTo>
                    <a:lnTo>
                      <a:pt x="390" y="4"/>
                    </a:lnTo>
                    <a:lnTo>
                      <a:pt x="392" y="4"/>
                    </a:lnTo>
                    <a:lnTo>
                      <a:pt x="393" y="4"/>
                    </a:lnTo>
                    <a:lnTo>
                      <a:pt x="395" y="4"/>
                    </a:lnTo>
                    <a:lnTo>
                      <a:pt x="396" y="4"/>
                    </a:lnTo>
                    <a:lnTo>
                      <a:pt x="398" y="6"/>
                    </a:lnTo>
                    <a:lnTo>
                      <a:pt x="400" y="6"/>
                    </a:lnTo>
                    <a:lnTo>
                      <a:pt x="401" y="6"/>
                    </a:lnTo>
                    <a:lnTo>
                      <a:pt x="403" y="6"/>
                    </a:lnTo>
                    <a:lnTo>
                      <a:pt x="404" y="6"/>
                    </a:lnTo>
                    <a:lnTo>
                      <a:pt x="406" y="6"/>
                    </a:lnTo>
                    <a:lnTo>
                      <a:pt x="408" y="4"/>
                    </a:lnTo>
                    <a:lnTo>
                      <a:pt x="408" y="6"/>
                    </a:lnTo>
                    <a:lnTo>
                      <a:pt x="409" y="6"/>
                    </a:lnTo>
                    <a:lnTo>
                      <a:pt x="411" y="6"/>
                    </a:lnTo>
                    <a:lnTo>
                      <a:pt x="411" y="8"/>
                    </a:lnTo>
                    <a:lnTo>
                      <a:pt x="412" y="8"/>
                    </a:lnTo>
                    <a:lnTo>
                      <a:pt x="412" y="9"/>
                    </a:lnTo>
                    <a:lnTo>
                      <a:pt x="414" y="9"/>
                    </a:lnTo>
                    <a:lnTo>
                      <a:pt x="415" y="9"/>
                    </a:lnTo>
                    <a:lnTo>
                      <a:pt x="417" y="11"/>
                    </a:lnTo>
                    <a:lnTo>
                      <a:pt x="419" y="11"/>
                    </a:lnTo>
                    <a:lnTo>
                      <a:pt x="420" y="11"/>
                    </a:lnTo>
                    <a:lnTo>
                      <a:pt x="422" y="12"/>
                    </a:lnTo>
                    <a:lnTo>
                      <a:pt x="423" y="12"/>
                    </a:lnTo>
                    <a:lnTo>
                      <a:pt x="423" y="14"/>
                    </a:lnTo>
                    <a:lnTo>
                      <a:pt x="425" y="14"/>
                    </a:lnTo>
                    <a:lnTo>
                      <a:pt x="427" y="16"/>
                    </a:lnTo>
                    <a:lnTo>
                      <a:pt x="428" y="16"/>
                    </a:lnTo>
                    <a:lnTo>
                      <a:pt x="428" y="17"/>
                    </a:lnTo>
                    <a:lnTo>
                      <a:pt x="430" y="17"/>
                    </a:lnTo>
                    <a:lnTo>
                      <a:pt x="431" y="17"/>
                    </a:lnTo>
                    <a:lnTo>
                      <a:pt x="431" y="19"/>
                    </a:lnTo>
                    <a:lnTo>
                      <a:pt x="433" y="19"/>
                    </a:lnTo>
                    <a:lnTo>
                      <a:pt x="434" y="20"/>
                    </a:lnTo>
                    <a:lnTo>
                      <a:pt x="436" y="20"/>
                    </a:lnTo>
                    <a:lnTo>
                      <a:pt x="436" y="22"/>
                    </a:lnTo>
                    <a:lnTo>
                      <a:pt x="438" y="22"/>
                    </a:lnTo>
                    <a:lnTo>
                      <a:pt x="439" y="22"/>
                    </a:lnTo>
                    <a:lnTo>
                      <a:pt x="439" y="23"/>
                    </a:lnTo>
                    <a:lnTo>
                      <a:pt x="441" y="23"/>
                    </a:lnTo>
                    <a:lnTo>
                      <a:pt x="442" y="23"/>
                    </a:lnTo>
                    <a:lnTo>
                      <a:pt x="442" y="25"/>
                    </a:lnTo>
                    <a:lnTo>
                      <a:pt x="444" y="25"/>
                    </a:lnTo>
                    <a:lnTo>
                      <a:pt x="446" y="27"/>
                    </a:lnTo>
                    <a:lnTo>
                      <a:pt x="446" y="28"/>
                    </a:lnTo>
                    <a:lnTo>
                      <a:pt x="447" y="28"/>
                    </a:lnTo>
                    <a:lnTo>
                      <a:pt x="447" y="30"/>
                    </a:lnTo>
                    <a:lnTo>
                      <a:pt x="449" y="30"/>
                    </a:lnTo>
                    <a:lnTo>
                      <a:pt x="450" y="30"/>
                    </a:lnTo>
                    <a:lnTo>
                      <a:pt x="450" y="31"/>
                    </a:lnTo>
                    <a:lnTo>
                      <a:pt x="452" y="31"/>
                    </a:lnTo>
                    <a:lnTo>
                      <a:pt x="453" y="31"/>
                    </a:lnTo>
                    <a:lnTo>
                      <a:pt x="455" y="31"/>
                    </a:lnTo>
                    <a:lnTo>
                      <a:pt x="457" y="31"/>
                    </a:lnTo>
                    <a:lnTo>
                      <a:pt x="458" y="31"/>
                    </a:lnTo>
                    <a:lnTo>
                      <a:pt x="458" y="33"/>
                    </a:lnTo>
                    <a:lnTo>
                      <a:pt x="460" y="33"/>
                    </a:lnTo>
                    <a:lnTo>
                      <a:pt x="461" y="33"/>
                    </a:lnTo>
                    <a:lnTo>
                      <a:pt x="463" y="33"/>
                    </a:lnTo>
                    <a:lnTo>
                      <a:pt x="465" y="33"/>
                    </a:lnTo>
                    <a:lnTo>
                      <a:pt x="465" y="35"/>
                    </a:lnTo>
                    <a:lnTo>
                      <a:pt x="466" y="35"/>
                    </a:lnTo>
                    <a:lnTo>
                      <a:pt x="468" y="33"/>
                    </a:lnTo>
                    <a:lnTo>
                      <a:pt x="469" y="35"/>
                    </a:lnTo>
                    <a:lnTo>
                      <a:pt x="471" y="35"/>
                    </a:lnTo>
                    <a:lnTo>
                      <a:pt x="472" y="35"/>
                    </a:lnTo>
                    <a:lnTo>
                      <a:pt x="474" y="36"/>
                    </a:lnTo>
                    <a:lnTo>
                      <a:pt x="474" y="35"/>
                    </a:lnTo>
                    <a:lnTo>
                      <a:pt x="476" y="35"/>
                    </a:lnTo>
                    <a:lnTo>
                      <a:pt x="477" y="33"/>
                    </a:lnTo>
                    <a:lnTo>
                      <a:pt x="477" y="31"/>
                    </a:lnTo>
                    <a:lnTo>
                      <a:pt x="479" y="31"/>
                    </a:lnTo>
                    <a:lnTo>
                      <a:pt x="480" y="30"/>
                    </a:lnTo>
                    <a:lnTo>
                      <a:pt x="482" y="30"/>
                    </a:lnTo>
                    <a:lnTo>
                      <a:pt x="482" y="28"/>
                    </a:lnTo>
                    <a:lnTo>
                      <a:pt x="484" y="28"/>
                    </a:lnTo>
                    <a:lnTo>
                      <a:pt x="484" y="27"/>
                    </a:lnTo>
                    <a:lnTo>
                      <a:pt x="485" y="25"/>
                    </a:lnTo>
                    <a:lnTo>
                      <a:pt x="487" y="25"/>
                    </a:lnTo>
                    <a:lnTo>
                      <a:pt x="487" y="23"/>
                    </a:lnTo>
                    <a:lnTo>
                      <a:pt x="488" y="23"/>
                    </a:lnTo>
                    <a:lnTo>
                      <a:pt x="488" y="22"/>
                    </a:lnTo>
                    <a:lnTo>
                      <a:pt x="488" y="20"/>
                    </a:lnTo>
                    <a:lnTo>
                      <a:pt x="490" y="20"/>
                    </a:lnTo>
                    <a:lnTo>
                      <a:pt x="490" y="19"/>
                    </a:lnTo>
                    <a:lnTo>
                      <a:pt x="491" y="19"/>
                    </a:lnTo>
                    <a:lnTo>
                      <a:pt x="491" y="17"/>
                    </a:lnTo>
                    <a:lnTo>
                      <a:pt x="493" y="17"/>
                    </a:lnTo>
                    <a:lnTo>
                      <a:pt x="493" y="16"/>
                    </a:lnTo>
                    <a:lnTo>
                      <a:pt x="496" y="16"/>
                    </a:lnTo>
                    <a:lnTo>
                      <a:pt x="498" y="16"/>
                    </a:lnTo>
                    <a:lnTo>
                      <a:pt x="498" y="17"/>
                    </a:lnTo>
                    <a:lnTo>
                      <a:pt x="499" y="17"/>
                    </a:lnTo>
                    <a:lnTo>
                      <a:pt x="501" y="16"/>
                    </a:lnTo>
                    <a:lnTo>
                      <a:pt x="504" y="16"/>
                    </a:lnTo>
                    <a:lnTo>
                      <a:pt x="507" y="16"/>
                    </a:lnTo>
                    <a:lnTo>
                      <a:pt x="509" y="16"/>
                    </a:lnTo>
                    <a:lnTo>
                      <a:pt x="511" y="17"/>
                    </a:lnTo>
                    <a:lnTo>
                      <a:pt x="512" y="17"/>
                    </a:lnTo>
                    <a:lnTo>
                      <a:pt x="514" y="17"/>
                    </a:lnTo>
                    <a:lnTo>
                      <a:pt x="515" y="17"/>
                    </a:lnTo>
                    <a:lnTo>
                      <a:pt x="517" y="16"/>
                    </a:lnTo>
                    <a:lnTo>
                      <a:pt x="518" y="16"/>
                    </a:lnTo>
                    <a:lnTo>
                      <a:pt x="522" y="16"/>
                    </a:lnTo>
                    <a:lnTo>
                      <a:pt x="523" y="14"/>
                    </a:lnTo>
                    <a:lnTo>
                      <a:pt x="525" y="14"/>
                    </a:lnTo>
                    <a:lnTo>
                      <a:pt x="526" y="14"/>
                    </a:lnTo>
                    <a:lnTo>
                      <a:pt x="528" y="14"/>
                    </a:lnTo>
                    <a:lnTo>
                      <a:pt x="530" y="14"/>
                    </a:lnTo>
                    <a:lnTo>
                      <a:pt x="531" y="14"/>
                    </a:lnTo>
                    <a:lnTo>
                      <a:pt x="533" y="16"/>
                    </a:lnTo>
                    <a:lnTo>
                      <a:pt x="534" y="16"/>
                    </a:lnTo>
                    <a:lnTo>
                      <a:pt x="536" y="16"/>
                    </a:lnTo>
                    <a:lnTo>
                      <a:pt x="536" y="14"/>
                    </a:lnTo>
                    <a:lnTo>
                      <a:pt x="539" y="16"/>
                    </a:lnTo>
                    <a:lnTo>
                      <a:pt x="541" y="16"/>
                    </a:lnTo>
                    <a:lnTo>
                      <a:pt x="541" y="17"/>
                    </a:lnTo>
                    <a:lnTo>
                      <a:pt x="542" y="17"/>
                    </a:lnTo>
                    <a:lnTo>
                      <a:pt x="544" y="17"/>
                    </a:lnTo>
                    <a:lnTo>
                      <a:pt x="545" y="19"/>
                    </a:lnTo>
                    <a:lnTo>
                      <a:pt x="545" y="20"/>
                    </a:lnTo>
                    <a:lnTo>
                      <a:pt x="547" y="22"/>
                    </a:lnTo>
                    <a:lnTo>
                      <a:pt x="547" y="20"/>
                    </a:lnTo>
                    <a:lnTo>
                      <a:pt x="549" y="20"/>
                    </a:lnTo>
                    <a:lnTo>
                      <a:pt x="550" y="19"/>
                    </a:lnTo>
                    <a:lnTo>
                      <a:pt x="553" y="20"/>
                    </a:lnTo>
                    <a:lnTo>
                      <a:pt x="555" y="20"/>
                    </a:lnTo>
                    <a:lnTo>
                      <a:pt x="556" y="22"/>
                    </a:lnTo>
                    <a:lnTo>
                      <a:pt x="558" y="23"/>
                    </a:lnTo>
                    <a:lnTo>
                      <a:pt x="560" y="25"/>
                    </a:lnTo>
                    <a:lnTo>
                      <a:pt x="561" y="27"/>
                    </a:lnTo>
                    <a:lnTo>
                      <a:pt x="563" y="28"/>
                    </a:lnTo>
                    <a:lnTo>
                      <a:pt x="564" y="28"/>
                    </a:lnTo>
                    <a:lnTo>
                      <a:pt x="566" y="30"/>
                    </a:lnTo>
                    <a:lnTo>
                      <a:pt x="564" y="33"/>
                    </a:lnTo>
                    <a:lnTo>
                      <a:pt x="563" y="33"/>
                    </a:lnTo>
                    <a:lnTo>
                      <a:pt x="563" y="35"/>
                    </a:lnTo>
                    <a:lnTo>
                      <a:pt x="564" y="36"/>
                    </a:lnTo>
                    <a:lnTo>
                      <a:pt x="568" y="38"/>
                    </a:lnTo>
                    <a:lnTo>
                      <a:pt x="569" y="38"/>
                    </a:lnTo>
                    <a:lnTo>
                      <a:pt x="569" y="39"/>
                    </a:lnTo>
                    <a:lnTo>
                      <a:pt x="569" y="41"/>
                    </a:lnTo>
                    <a:lnTo>
                      <a:pt x="571" y="41"/>
                    </a:lnTo>
                    <a:lnTo>
                      <a:pt x="572" y="41"/>
                    </a:lnTo>
                    <a:lnTo>
                      <a:pt x="574" y="41"/>
                    </a:lnTo>
                    <a:lnTo>
                      <a:pt x="575" y="39"/>
                    </a:lnTo>
                    <a:lnTo>
                      <a:pt x="577" y="39"/>
                    </a:lnTo>
                    <a:lnTo>
                      <a:pt x="579" y="39"/>
                    </a:lnTo>
                    <a:lnTo>
                      <a:pt x="579" y="38"/>
                    </a:lnTo>
                    <a:lnTo>
                      <a:pt x="580" y="39"/>
                    </a:lnTo>
                    <a:lnTo>
                      <a:pt x="580" y="38"/>
                    </a:lnTo>
                    <a:lnTo>
                      <a:pt x="582" y="38"/>
                    </a:lnTo>
                    <a:lnTo>
                      <a:pt x="583" y="39"/>
                    </a:lnTo>
                    <a:lnTo>
                      <a:pt x="585" y="39"/>
                    </a:lnTo>
                    <a:lnTo>
                      <a:pt x="587" y="41"/>
                    </a:lnTo>
                    <a:lnTo>
                      <a:pt x="588" y="42"/>
                    </a:lnTo>
                    <a:lnTo>
                      <a:pt x="590" y="44"/>
                    </a:lnTo>
                    <a:lnTo>
                      <a:pt x="591" y="44"/>
                    </a:lnTo>
                    <a:lnTo>
                      <a:pt x="593" y="44"/>
                    </a:lnTo>
                    <a:lnTo>
                      <a:pt x="594" y="44"/>
                    </a:lnTo>
                    <a:lnTo>
                      <a:pt x="596" y="46"/>
                    </a:lnTo>
                    <a:lnTo>
                      <a:pt x="596" y="47"/>
                    </a:lnTo>
                    <a:lnTo>
                      <a:pt x="598" y="47"/>
                    </a:lnTo>
                    <a:lnTo>
                      <a:pt x="599" y="47"/>
                    </a:lnTo>
                    <a:lnTo>
                      <a:pt x="601" y="46"/>
                    </a:lnTo>
                    <a:lnTo>
                      <a:pt x="601" y="47"/>
                    </a:lnTo>
                    <a:lnTo>
                      <a:pt x="602" y="47"/>
                    </a:lnTo>
                    <a:lnTo>
                      <a:pt x="604" y="47"/>
                    </a:lnTo>
                    <a:lnTo>
                      <a:pt x="606" y="47"/>
                    </a:lnTo>
                    <a:lnTo>
                      <a:pt x="607" y="47"/>
                    </a:lnTo>
                    <a:lnTo>
                      <a:pt x="607" y="49"/>
                    </a:lnTo>
                    <a:lnTo>
                      <a:pt x="609" y="49"/>
                    </a:lnTo>
                    <a:lnTo>
                      <a:pt x="609" y="50"/>
                    </a:lnTo>
                    <a:lnTo>
                      <a:pt x="610" y="52"/>
                    </a:lnTo>
                    <a:lnTo>
                      <a:pt x="612" y="54"/>
                    </a:lnTo>
                    <a:lnTo>
                      <a:pt x="613" y="55"/>
                    </a:lnTo>
                    <a:lnTo>
                      <a:pt x="615" y="55"/>
                    </a:lnTo>
                    <a:lnTo>
                      <a:pt x="615" y="57"/>
                    </a:lnTo>
                    <a:lnTo>
                      <a:pt x="617" y="57"/>
                    </a:lnTo>
                    <a:lnTo>
                      <a:pt x="618" y="57"/>
                    </a:lnTo>
                    <a:lnTo>
                      <a:pt x="620" y="57"/>
                    </a:lnTo>
                    <a:lnTo>
                      <a:pt x="621" y="57"/>
                    </a:lnTo>
                    <a:lnTo>
                      <a:pt x="621" y="58"/>
                    </a:lnTo>
                    <a:lnTo>
                      <a:pt x="623" y="60"/>
                    </a:lnTo>
                    <a:lnTo>
                      <a:pt x="625" y="58"/>
                    </a:lnTo>
                    <a:lnTo>
                      <a:pt x="626" y="60"/>
                    </a:lnTo>
                    <a:lnTo>
                      <a:pt x="628" y="60"/>
                    </a:lnTo>
                    <a:lnTo>
                      <a:pt x="629" y="60"/>
                    </a:lnTo>
                    <a:lnTo>
                      <a:pt x="629" y="58"/>
                    </a:lnTo>
                    <a:lnTo>
                      <a:pt x="631" y="60"/>
                    </a:lnTo>
                    <a:lnTo>
                      <a:pt x="632" y="60"/>
                    </a:lnTo>
                    <a:lnTo>
                      <a:pt x="634" y="60"/>
                    </a:lnTo>
                    <a:lnTo>
                      <a:pt x="636" y="60"/>
                    </a:lnTo>
                    <a:lnTo>
                      <a:pt x="637" y="60"/>
                    </a:lnTo>
                    <a:lnTo>
                      <a:pt x="639" y="58"/>
                    </a:lnTo>
                    <a:lnTo>
                      <a:pt x="639" y="60"/>
                    </a:lnTo>
                    <a:lnTo>
                      <a:pt x="640" y="60"/>
                    </a:lnTo>
                    <a:lnTo>
                      <a:pt x="642" y="61"/>
                    </a:lnTo>
                    <a:lnTo>
                      <a:pt x="644" y="60"/>
                    </a:lnTo>
                    <a:lnTo>
                      <a:pt x="644" y="61"/>
                    </a:lnTo>
                    <a:lnTo>
                      <a:pt x="645" y="61"/>
                    </a:lnTo>
                    <a:lnTo>
                      <a:pt x="645" y="60"/>
                    </a:lnTo>
                    <a:lnTo>
                      <a:pt x="645" y="58"/>
                    </a:lnTo>
                    <a:lnTo>
                      <a:pt x="647" y="58"/>
                    </a:lnTo>
                    <a:lnTo>
                      <a:pt x="647" y="60"/>
                    </a:lnTo>
                    <a:lnTo>
                      <a:pt x="645" y="61"/>
                    </a:lnTo>
                    <a:lnTo>
                      <a:pt x="647" y="61"/>
                    </a:lnTo>
                    <a:lnTo>
                      <a:pt x="647" y="60"/>
                    </a:lnTo>
                    <a:lnTo>
                      <a:pt x="648" y="61"/>
                    </a:lnTo>
                    <a:lnTo>
                      <a:pt x="650" y="61"/>
                    </a:lnTo>
                    <a:lnTo>
                      <a:pt x="651" y="60"/>
                    </a:lnTo>
                    <a:lnTo>
                      <a:pt x="653" y="60"/>
                    </a:lnTo>
                    <a:lnTo>
                      <a:pt x="655" y="58"/>
                    </a:lnTo>
                    <a:lnTo>
                      <a:pt x="656" y="58"/>
                    </a:lnTo>
                    <a:lnTo>
                      <a:pt x="658" y="58"/>
                    </a:lnTo>
                    <a:lnTo>
                      <a:pt x="658" y="60"/>
                    </a:lnTo>
                    <a:lnTo>
                      <a:pt x="659" y="60"/>
                    </a:lnTo>
                    <a:lnTo>
                      <a:pt x="661" y="60"/>
                    </a:lnTo>
                    <a:lnTo>
                      <a:pt x="661" y="58"/>
                    </a:lnTo>
                    <a:lnTo>
                      <a:pt x="663" y="60"/>
                    </a:lnTo>
                    <a:lnTo>
                      <a:pt x="664" y="60"/>
                    </a:lnTo>
                    <a:lnTo>
                      <a:pt x="666" y="60"/>
                    </a:lnTo>
                    <a:lnTo>
                      <a:pt x="667" y="60"/>
                    </a:lnTo>
                    <a:lnTo>
                      <a:pt x="667" y="61"/>
                    </a:lnTo>
                    <a:lnTo>
                      <a:pt x="669" y="61"/>
                    </a:lnTo>
                    <a:lnTo>
                      <a:pt x="669" y="63"/>
                    </a:lnTo>
                    <a:lnTo>
                      <a:pt x="670" y="65"/>
                    </a:lnTo>
                    <a:lnTo>
                      <a:pt x="672" y="65"/>
                    </a:lnTo>
                    <a:lnTo>
                      <a:pt x="672" y="66"/>
                    </a:lnTo>
                    <a:lnTo>
                      <a:pt x="674" y="66"/>
                    </a:lnTo>
                    <a:lnTo>
                      <a:pt x="674" y="65"/>
                    </a:lnTo>
                    <a:lnTo>
                      <a:pt x="675" y="65"/>
                    </a:lnTo>
                    <a:lnTo>
                      <a:pt x="677" y="65"/>
                    </a:lnTo>
                    <a:lnTo>
                      <a:pt x="678" y="65"/>
                    </a:lnTo>
                    <a:lnTo>
                      <a:pt x="680" y="66"/>
                    </a:lnTo>
                    <a:lnTo>
                      <a:pt x="682" y="66"/>
                    </a:lnTo>
                    <a:lnTo>
                      <a:pt x="682" y="68"/>
                    </a:lnTo>
                    <a:lnTo>
                      <a:pt x="683" y="68"/>
                    </a:lnTo>
                    <a:lnTo>
                      <a:pt x="685" y="68"/>
                    </a:lnTo>
                    <a:lnTo>
                      <a:pt x="686" y="68"/>
                    </a:lnTo>
                    <a:lnTo>
                      <a:pt x="688" y="68"/>
                    </a:lnTo>
                    <a:lnTo>
                      <a:pt x="689" y="68"/>
                    </a:lnTo>
                    <a:lnTo>
                      <a:pt x="691" y="68"/>
                    </a:lnTo>
                    <a:lnTo>
                      <a:pt x="693" y="69"/>
                    </a:lnTo>
                    <a:lnTo>
                      <a:pt x="694" y="69"/>
                    </a:lnTo>
                    <a:lnTo>
                      <a:pt x="694" y="71"/>
                    </a:lnTo>
                    <a:lnTo>
                      <a:pt x="696" y="71"/>
                    </a:lnTo>
                    <a:lnTo>
                      <a:pt x="696" y="73"/>
                    </a:lnTo>
                    <a:lnTo>
                      <a:pt x="697" y="73"/>
                    </a:lnTo>
                    <a:lnTo>
                      <a:pt x="699" y="73"/>
                    </a:lnTo>
                    <a:lnTo>
                      <a:pt x="699" y="74"/>
                    </a:lnTo>
                    <a:lnTo>
                      <a:pt x="701" y="74"/>
                    </a:lnTo>
                    <a:lnTo>
                      <a:pt x="702" y="74"/>
                    </a:lnTo>
                    <a:lnTo>
                      <a:pt x="704" y="73"/>
                    </a:lnTo>
                    <a:lnTo>
                      <a:pt x="704" y="74"/>
                    </a:lnTo>
                    <a:lnTo>
                      <a:pt x="705" y="74"/>
                    </a:lnTo>
                    <a:lnTo>
                      <a:pt x="707" y="74"/>
                    </a:lnTo>
                    <a:lnTo>
                      <a:pt x="709" y="74"/>
                    </a:lnTo>
                    <a:lnTo>
                      <a:pt x="710" y="76"/>
                    </a:lnTo>
                    <a:lnTo>
                      <a:pt x="712" y="76"/>
                    </a:lnTo>
                    <a:lnTo>
                      <a:pt x="713" y="76"/>
                    </a:lnTo>
                    <a:lnTo>
                      <a:pt x="715" y="77"/>
                    </a:lnTo>
                    <a:lnTo>
                      <a:pt x="716" y="77"/>
                    </a:lnTo>
                    <a:lnTo>
                      <a:pt x="718" y="77"/>
                    </a:lnTo>
                    <a:lnTo>
                      <a:pt x="718" y="79"/>
                    </a:lnTo>
                    <a:lnTo>
                      <a:pt x="720" y="79"/>
                    </a:lnTo>
                    <a:lnTo>
                      <a:pt x="721" y="79"/>
                    </a:lnTo>
                    <a:lnTo>
                      <a:pt x="721" y="77"/>
                    </a:lnTo>
                    <a:lnTo>
                      <a:pt x="723" y="77"/>
                    </a:lnTo>
                    <a:lnTo>
                      <a:pt x="724" y="77"/>
                    </a:lnTo>
                    <a:lnTo>
                      <a:pt x="726" y="77"/>
                    </a:lnTo>
                    <a:lnTo>
                      <a:pt x="728" y="77"/>
                    </a:lnTo>
                    <a:lnTo>
                      <a:pt x="728" y="76"/>
                    </a:lnTo>
                    <a:lnTo>
                      <a:pt x="729" y="76"/>
                    </a:lnTo>
                    <a:lnTo>
                      <a:pt x="731" y="76"/>
                    </a:lnTo>
                    <a:lnTo>
                      <a:pt x="732" y="76"/>
                    </a:lnTo>
                    <a:lnTo>
                      <a:pt x="734" y="76"/>
                    </a:lnTo>
                    <a:lnTo>
                      <a:pt x="735" y="76"/>
                    </a:lnTo>
                    <a:lnTo>
                      <a:pt x="737" y="76"/>
                    </a:lnTo>
                    <a:lnTo>
                      <a:pt x="739" y="76"/>
                    </a:lnTo>
                    <a:lnTo>
                      <a:pt x="739" y="77"/>
                    </a:lnTo>
                    <a:lnTo>
                      <a:pt x="740" y="77"/>
                    </a:lnTo>
                    <a:lnTo>
                      <a:pt x="742" y="77"/>
                    </a:lnTo>
                    <a:lnTo>
                      <a:pt x="742" y="79"/>
                    </a:lnTo>
                    <a:lnTo>
                      <a:pt x="743" y="80"/>
                    </a:lnTo>
                    <a:lnTo>
                      <a:pt x="743" y="79"/>
                    </a:lnTo>
                    <a:lnTo>
                      <a:pt x="745" y="79"/>
                    </a:lnTo>
                    <a:lnTo>
                      <a:pt x="745" y="77"/>
                    </a:lnTo>
                    <a:lnTo>
                      <a:pt x="747" y="77"/>
                    </a:lnTo>
                    <a:lnTo>
                      <a:pt x="748" y="77"/>
                    </a:lnTo>
                    <a:lnTo>
                      <a:pt x="750" y="77"/>
                    </a:lnTo>
                    <a:lnTo>
                      <a:pt x="751" y="77"/>
                    </a:lnTo>
                    <a:lnTo>
                      <a:pt x="751" y="79"/>
                    </a:lnTo>
                    <a:lnTo>
                      <a:pt x="753" y="79"/>
                    </a:lnTo>
                    <a:lnTo>
                      <a:pt x="754" y="79"/>
                    </a:lnTo>
                    <a:lnTo>
                      <a:pt x="756" y="79"/>
                    </a:lnTo>
                    <a:lnTo>
                      <a:pt x="758" y="79"/>
                    </a:lnTo>
                    <a:lnTo>
                      <a:pt x="759" y="79"/>
                    </a:lnTo>
                    <a:lnTo>
                      <a:pt x="761" y="79"/>
                    </a:lnTo>
                    <a:lnTo>
                      <a:pt x="761" y="80"/>
                    </a:lnTo>
                    <a:lnTo>
                      <a:pt x="762" y="80"/>
                    </a:lnTo>
                    <a:lnTo>
                      <a:pt x="764" y="80"/>
                    </a:lnTo>
                    <a:lnTo>
                      <a:pt x="766" y="80"/>
                    </a:lnTo>
                    <a:lnTo>
                      <a:pt x="767" y="80"/>
                    </a:lnTo>
                    <a:lnTo>
                      <a:pt x="767" y="82"/>
                    </a:lnTo>
                    <a:lnTo>
                      <a:pt x="767" y="84"/>
                    </a:lnTo>
                    <a:lnTo>
                      <a:pt x="769" y="85"/>
                    </a:lnTo>
                    <a:lnTo>
                      <a:pt x="770" y="85"/>
                    </a:lnTo>
                    <a:lnTo>
                      <a:pt x="772" y="85"/>
                    </a:lnTo>
                    <a:lnTo>
                      <a:pt x="772" y="87"/>
                    </a:lnTo>
                    <a:lnTo>
                      <a:pt x="773" y="87"/>
                    </a:lnTo>
                    <a:lnTo>
                      <a:pt x="775" y="87"/>
                    </a:lnTo>
                    <a:lnTo>
                      <a:pt x="777" y="87"/>
                    </a:lnTo>
                    <a:lnTo>
                      <a:pt x="778" y="85"/>
                    </a:lnTo>
                    <a:lnTo>
                      <a:pt x="780" y="85"/>
                    </a:lnTo>
                    <a:lnTo>
                      <a:pt x="781" y="85"/>
                    </a:lnTo>
                    <a:lnTo>
                      <a:pt x="781" y="87"/>
                    </a:lnTo>
                    <a:lnTo>
                      <a:pt x="783" y="87"/>
                    </a:lnTo>
                    <a:lnTo>
                      <a:pt x="783" y="88"/>
                    </a:lnTo>
                    <a:lnTo>
                      <a:pt x="783" y="90"/>
                    </a:lnTo>
                    <a:lnTo>
                      <a:pt x="785" y="90"/>
                    </a:lnTo>
                    <a:lnTo>
                      <a:pt x="785" y="92"/>
                    </a:lnTo>
                    <a:lnTo>
                      <a:pt x="786" y="92"/>
                    </a:lnTo>
                    <a:lnTo>
                      <a:pt x="788" y="92"/>
                    </a:lnTo>
                    <a:lnTo>
                      <a:pt x="789" y="92"/>
                    </a:lnTo>
                    <a:lnTo>
                      <a:pt x="791" y="92"/>
                    </a:lnTo>
                    <a:lnTo>
                      <a:pt x="792" y="92"/>
                    </a:lnTo>
                    <a:lnTo>
                      <a:pt x="794" y="92"/>
                    </a:lnTo>
                    <a:lnTo>
                      <a:pt x="796" y="92"/>
                    </a:lnTo>
                    <a:lnTo>
                      <a:pt x="796" y="93"/>
                    </a:lnTo>
                    <a:lnTo>
                      <a:pt x="797" y="93"/>
                    </a:lnTo>
                    <a:lnTo>
                      <a:pt x="799" y="93"/>
                    </a:lnTo>
                    <a:lnTo>
                      <a:pt x="800" y="93"/>
                    </a:lnTo>
                    <a:lnTo>
                      <a:pt x="802" y="93"/>
                    </a:lnTo>
                    <a:lnTo>
                      <a:pt x="802" y="95"/>
                    </a:lnTo>
                    <a:lnTo>
                      <a:pt x="802" y="96"/>
                    </a:lnTo>
                    <a:lnTo>
                      <a:pt x="804" y="98"/>
                    </a:lnTo>
                    <a:lnTo>
                      <a:pt x="804" y="100"/>
                    </a:lnTo>
                    <a:lnTo>
                      <a:pt x="804" y="101"/>
                    </a:lnTo>
                    <a:lnTo>
                      <a:pt x="805" y="103"/>
                    </a:lnTo>
                    <a:lnTo>
                      <a:pt x="805" y="104"/>
                    </a:lnTo>
                    <a:lnTo>
                      <a:pt x="805" y="106"/>
                    </a:lnTo>
                    <a:lnTo>
                      <a:pt x="807" y="106"/>
                    </a:lnTo>
                    <a:lnTo>
                      <a:pt x="808" y="107"/>
                    </a:lnTo>
                    <a:lnTo>
                      <a:pt x="808" y="109"/>
                    </a:lnTo>
                    <a:lnTo>
                      <a:pt x="810" y="109"/>
                    </a:lnTo>
                    <a:lnTo>
                      <a:pt x="810" y="111"/>
                    </a:lnTo>
                    <a:lnTo>
                      <a:pt x="810" y="112"/>
                    </a:lnTo>
                    <a:lnTo>
                      <a:pt x="811" y="112"/>
                    </a:lnTo>
                    <a:lnTo>
                      <a:pt x="811" y="114"/>
                    </a:lnTo>
                    <a:lnTo>
                      <a:pt x="813" y="114"/>
                    </a:lnTo>
                    <a:lnTo>
                      <a:pt x="813" y="115"/>
                    </a:lnTo>
                    <a:lnTo>
                      <a:pt x="815" y="115"/>
                    </a:lnTo>
                    <a:lnTo>
                      <a:pt x="816" y="115"/>
                    </a:lnTo>
                    <a:lnTo>
                      <a:pt x="818" y="115"/>
                    </a:lnTo>
                    <a:lnTo>
                      <a:pt x="818" y="117"/>
                    </a:lnTo>
                    <a:lnTo>
                      <a:pt x="818" y="119"/>
                    </a:lnTo>
                    <a:lnTo>
                      <a:pt x="818" y="120"/>
                    </a:lnTo>
                    <a:lnTo>
                      <a:pt x="819" y="120"/>
                    </a:lnTo>
                    <a:lnTo>
                      <a:pt x="819" y="122"/>
                    </a:lnTo>
                    <a:lnTo>
                      <a:pt x="821" y="122"/>
                    </a:lnTo>
                    <a:lnTo>
                      <a:pt x="821" y="123"/>
                    </a:lnTo>
                    <a:lnTo>
                      <a:pt x="821" y="125"/>
                    </a:lnTo>
                    <a:lnTo>
                      <a:pt x="823" y="125"/>
                    </a:lnTo>
                    <a:lnTo>
                      <a:pt x="823" y="126"/>
                    </a:lnTo>
                    <a:lnTo>
                      <a:pt x="823" y="128"/>
                    </a:lnTo>
                    <a:lnTo>
                      <a:pt x="824" y="128"/>
                    </a:lnTo>
                    <a:lnTo>
                      <a:pt x="824" y="130"/>
                    </a:lnTo>
                    <a:lnTo>
                      <a:pt x="824" y="131"/>
                    </a:lnTo>
                    <a:lnTo>
                      <a:pt x="824" y="133"/>
                    </a:lnTo>
                    <a:lnTo>
                      <a:pt x="823" y="134"/>
                    </a:lnTo>
                    <a:lnTo>
                      <a:pt x="821" y="136"/>
                    </a:lnTo>
                    <a:lnTo>
                      <a:pt x="823" y="136"/>
                    </a:lnTo>
                    <a:lnTo>
                      <a:pt x="823" y="138"/>
                    </a:lnTo>
                    <a:lnTo>
                      <a:pt x="824" y="138"/>
                    </a:lnTo>
                    <a:lnTo>
                      <a:pt x="823" y="139"/>
                    </a:lnTo>
                    <a:lnTo>
                      <a:pt x="823" y="141"/>
                    </a:lnTo>
                    <a:lnTo>
                      <a:pt x="823" y="142"/>
                    </a:lnTo>
                    <a:lnTo>
                      <a:pt x="824" y="142"/>
                    </a:lnTo>
                    <a:lnTo>
                      <a:pt x="824" y="144"/>
                    </a:lnTo>
                    <a:lnTo>
                      <a:pt x="826" y="144"/>
                    </a:lnTo>
                    <a:lnTo>
                      <a:pt x="826" y="145"/>
                    </a:lnTo>
                    <a:lnTo>
                      <a:pt x="827" y="147"/>
                    </a:lnTo>
                    <a:lnTo>
                      <a:pt x="829" y="147"/>
                    </a:lnTo>
                    <a:lnTo>
                      <a:pt x="829" y="145"/>
                    </a:lnTo>
                    <a:lnTo>
                      <a:pt x="830" y="145"/>
                    </a:lnTo>
                    <a:lnTo>
                      <a:pt x="832" y="144"/>
                    </a:lnTo>
                    <a:lnTo>
                      <a:pt x="834" y="144"/>
                    </a:lnTo>
                    <a:lnTo>
                      <a:pt x="835" y="144"/>
                    </a:lnTo>
                    <a:lnTo>
                      <a:pt x="837" y="144"/>
                    </a:lnTo>
                    <a:lnTo>
                      <a:pt x="838" y="144"/>
                    </a:lnTo>
                    <a:lnTo>
                      <a:pt x="840" y="144"/>
                    </a:lnTo>
                    <a:lnTo>
                      <a:pt x="840" y="142"/>
                    </a:lnTo>
                    <a:lnTo>
                      <a:pt x="842" y="142"/>
                    </a:lnTo>
                    <a:lnTo>
                      <a:pt x="842" y="141"/>
                    </a:lnTo>
                    <a:lnTo>
                      <a:pt x="843" y="142"/>
                    </a:lnTo>
                    <a:lnTo>
                      <a:pt x="845" y="141"/>
                    </a:lnTo>
                    <a:lnTo>
                      <a:pt x="846" y="141"/>
                    </a:lnTo>
                    <a:lnTo>
                      <a:pt x="846" y="139"/>
                    </a:lnTo>
                    <a:lnTo>
                      <a:pt x="848" y="139"/>
                    </a:lnTo>
                    <a:lnTo>
                      <a:pt x="848" y="141"/>
                    </a:lnTo>
                    <a:lnTo>
                      <a:pt x="849" y="142"/>
                    </a:lnTo>
                    <a:lnTo>
                      <a:pt x="853" y="144"/>
                    </a:lnTo>
                    <a:lnTo>
                      <a:pt x="854" y="144"/>
                    </a:lnTo>
                    <a:lnTo>
                      <a:pt x="856" y="144"/>
                    </a:lnTo>
                    <a:lnTo>
                      <a:pt x="857" y="145"/>
                    </a:lnTo>
                    <a:lnTo>
                      <a:pt x="857" y="144"/>
                    </a:lnTo>
                    <a:lnTo>
                      <a:pt x="859" y="145"/>
                    </a:lnTo>
                    <a:lnTo>
                      <a:pt x="859" y="147"/>
                    </a:lnTo>
                    <a:lnTo>
                      <a:pt x="861" y="147"/>
                    </a:lnTo>
                    <a:lnTo>
                      <a:pt x="862" y="149"/>
                    </a:lnTo>
                    <a:lnTo>
                      <a:pt x="864" y="147"/>
                    </a:lnTo>
                    <a:lnTo>
                      <a:pt x="865" y="149"/>
                    </a:lnTo>
                    <a:lnTo>
                      <a:pt x="867" y="150"/>
                    </a:lnTo>
                    <a:lnTo>
                      <a:pt x="868" y="150"/>
                    </a:lnTo>
                    <a:lnTo>
                      <a:pt x="870" y="150"/>
                    </a:lnTo>
                    <a:lnTo>
                      <a:pt x="872" y="152"/>
                    </a:lnTo>
                    <a:lnTo>
                      <a:pt x="873" y="153"/>
                    </a:lnTo>
                    <a:lnTo>
                      <a:pt x="875" y="155"/>
                    </a:lnTo>
                    <a:lnTo>
                      <a:pt x="876" y="157"/>
                    </a:lnTo>
                    <a:lnTo>
                      <a:pt x="876" y="160"/>
                    </a:lnTo>
                    <a:lnTo>
                      <a:pt x="876" y="161"/>
                    </a:lnTo>
                    <a:lnTo>
                      <a:pt x="875" y="161"/>
                    </a:lnTo>
                    <a:lnTo>
                      <a:pt x="875" y="163"/>
                    </a:lnTo>
                    <a:lnTo>
                      <a:pt x="875" y="164"/>
                    </a:lnTo>
                    <a:lnTo>
                      <a:pt x="875" y="166"/>
                    </a:lnTo>
                    <a:lnTo>
                      <a:pt x="875" y="168"/>
                    </a:lnTo>
                    <a:lnTo>
                      <a:pt x="873" y="168"/>
                    </a:lnTo>
                    <a:lnTo>
                      <a:pt x="873" y="169"/>
                    </a:lnTo>
                    <a:lnTo>
                      <a:pt x="875" y="171"/>
                    </a:lnTo>
                    <a:lnTo>
                      <a:pt x="876" y="171"/>
                    </a:lnTo>
                    <a:lnTo>
                      <a:pt x="878" y="171"/>
                    </a:lnTo>
                    <a:lnTo>
                      <a:pt x="881" y="176"/>
                    </a:lnTo>
                    <a:lnTo>
                      <a:pt x="883" y="177"/>
                    </a:lnTo>
                    <a:lnTo>
                      <a:pt x="883" y="179"/>
                    </a:lnTo>
                    <a:lnTo>
                      <a:pt x="883" y="180"/>
                    </a:lnTo>
                    <a:lnTo>
                      <a:pt x="883" y="182"/>
                    </a:lnTo>
                    <a:lnTo>
                      <a:pt x="883" y="183"/>
                    </a:lnTo>
                    <a:lnTo>
                      <a:pt x="883" y="185"/>
                    </a:lnTo>
                    <a:lnTo>
                      <a:pt x="884" y="187"/>
                    </a:lnTo>
                    <a:lnTo>
                      <a:pt x="886" y="187"/>
                    </a:lnTo>
                    <a:lnTo>
                      <a:pt x="886" y="188"/>
                    </a:lnTo>
                    <a:lnTo>
                      <a:pt x="888" y="188"/>
                    </a:lnTo>
                    <a:lnTo>
                      <a:pt x="888" y="190"/>
                    </a:lnTo>
                    <a:lnTo>
                      <a:pt x="888" y="191"/>
                    </a:lnTo>
                    <a:lnTo>
                      <a:pt x="888" y="193"/>
                    </a:lnTo>
                    <a:lnTo>
                      <a:pt x="888" y="195"/>
                    </a:lnTo>
                    <a:lnTo>
                      <a:pt x="889" y="196"/>
                    </a:lnTo>
                    <a:lnTo>
                      <a:pt x="891" y="196"/>
                    </a:lnTo>
                    <a:lnTo>
                      <a:pt x="891" y="198"/>
                    </a:lnTo>
                    <a:lnTo>
                      <a:pt x="889" y="198"/>
                    </a:lnTo>
                    <a:lnTo>
                      <a:pt x="889" y="199"/>
                    </a:lnTo>
                    <a:lnTo>
                      <a:pt x="889" y="201"/>
                    </a:lnTo>
                    <a:lnTo>
                      <a:pt x="891" y="202"/>
                    </a:lnTo>
                    <a:lnTo>
                      <a:pt x="892" y="202"/>
                    </a:lnTo>
                    <a:lnTo>
                      <a:pt x="894" y="202"/>
                    </a:lnTo>
                    <a:lnTo>
                      <a:pt x="895" y="202"/>
                    </a:lnTo>
                    <a:lnTo>
                      <a:pt x="895" y="201"/>
                    </a:lnTo>
                    <a:lnTo>
                      <a:pt x="897" y="201"/>
                    </a:lnTo>
                    <a:lnTo>
                      <a:pt x="899" y="201"/>
                    </a:lnTo>
                    <a:lnTo>
                      <a:pt x="900" y="201"/>
                    </a:lnTo>
                    <a:lnTo>
                      <a:pt x="902" y="201"/>
                    </a:lnTo>
                    <a:lnTo>
                      <a:pt x="903" y="201"/>
                    </a:lnTo>
                    <a:lnTo>
                      <a:pt x="905" y="201"/>
                    </a:lnTo>
                    <a:lnTo>
                      <a:pt x="907" y="201"/>
                    </a:lnTo>
                    <a:lnTo>
                      <a:pt x="908" y="201"/>
                    </a:lnTo>
                    <a:lnTo>
                      <a:pt x="908" y="199"/>
                    </a:lnTo>
                    <a:lnTo>
                      <a:pt x="910" y="201"/>
                    </a:lnTo>
                    <a:lnTo>
                      <a:pt x="910" y="202"/>
                    </a:lnTo>
                    <a:lnTo>
                      <a:pt x="911" y="202"/>
                    </a:lnTo>
                    <a:lnTo>
                      <a:pt x="911" y="204"/>
                    </a:lnTo>
                    <a:lnTo>
                      <a:pt x="913" y="204"/>
                    </a:lnTo>
                    <a:lnTo>
                      <a:pt x="913" y="206"/>
                    </a:lnTo>
                    <a:lnTo>
                      <a:pt x="914" y="206"/>
                    </a:lnTo>
                    <a:lnTo>
                      <a:pt x="916" y="206"/>
                    </a:lnTo>
                    <a:lnTo>
                      <a:pt x="918" y="206"/>
                    </a:lnTo>
                    <a:lnTo>
                      <a:pt x="919" y="206"/>
                    </a:lnTo>
                    <a:lnTo>
                      <a:pt x="921" y="206"/>
                    </a:lnTo>
                    <a:lnTo>
                      <a:pt x="922" y="206"/>
                    </a:lnTo>
                    <a:lnTo>
                      <a:pt x="922" y="204"/>
                    </a:lnTo>
                    <a:lnTo>
                      <a:pt x="924" y="204"/>
                    </a:lnTo>
                    <a:lnTo>
                      <a:pt x="926" y="204"/>
                    </a:lnTo>
                    <a:lnTo>
                      <a:pt x="927" y="204"/>
                    </a:lnTo>
                    <a:lnTo>
                      <a:pt x="929" y="204"/>
                    </a:lnTo>
                    <a:lnTo>
                      <a:pt x="929" y="206"/>
                    </a:lnTo>
                    <a:lnTo>
                      <a:pt x="930" y="206"/>
                    </a:lnTo>
                    <a:lnTo>
                      <a:pt x="932" y="206"/>
                    </a:lnTo>
                    <a:lnTo>
                      <a:pt x="932" y="207"/>
                    </a:lnTo>
                    <a:lnTo>
                      <a:pt x="933" y="207"/>
                    </a:lnTo>
                    <a:lnTo>
                      <a:pt x="933" y="209"/>
                    </a:lnTo>
                    <a:lnTo>
                      <a:pt x="935" y="209"/>
                    </a:lnTo>
                    <a:lnTo>
                      <a:pt x="935" y="210"/>
                    </a:lnTo>
                    <a:lnTo>
                      <a:pt x="937" y="210"/>
                    </a:lnTo>
                    <a:lnTo>
                      <a:pt x="937" y="212"/>
                    </a:lnTo>
                    <a:lnTo>
                      <a:pt x="938" y="212"/>
                    </a:lnTo>
                    <a:lnTo>
                      <a:pt x="938" y="214"/>
                    </a:lnTo>
                    <a:lnTo>
                      <a:pt x="938" y="215"/>
                    </a:lnTo>
                    <a:lnTo>
                      <a:pt x="940" y="215"/>
                    </a:lnTo>
                    <a:lnTo>
                      <a:pt x="940" y="217"/>
                    </a:lnTo>
                    <a:lnTo>
                      <a:pt x="940" y="218"/>
                    </a:lnTo>
                    <a:lnTo>
                      <a:pt x="941" y="218"/>
                    </a:lnTo>
                    <a:lnTo>
                      <a:pt x="941" y="220"/>
                    </a:lnTo>
                    <a:lnTo>
                      <a:pt x="943" y="220"/>
                    </a:lnTo>
                    <a:lnTo>
                      <a:pt x="945" y="221"/>
                    </a:lnTo>
                    <a:lnTo>
                      <a:pt x="946" y="221"/>
                    </a:lnTo>
                    <a:lnTo>
                      <a:pt x="948" y="221"/>
                    </a:lnTo>
                    <a:lnTo>
                      <a:pt x="951" y="221"/>
                    </a:lnTo>
                    <a:lnTo>
                      <a:pt x="954" y="221"/>
                    </a:lnTo>
                    <a:lnTo>
                      <a:pt x="957" y="221"/>
                    </a:lnTo>
                    <a:lnTo>
                      <a:pt x="957" y="223"/>
                    </a:lnTo>
                    <a:lnTo>
                      <a:pt x="960" y="223"/>
                    </a:lnTo>
                    <a:lnTo>
                      <a:pt x="962" y="225"/>
                    </a:lnTo>
                    <a:lnTo>
                      <a:pt x="964" y="223"/>
                    </a:lnTo>
                    <a:lnTo>
                      <a:pt x="965" y="225"/>
                    </a:lnTo>
                    <a:lnTo>
                      <a:pt x="967" y="226"/>
                    </a:lnTo>
                    <a:lnTo>
                      <a:pt x="968" y="226"/>
                    </a:lnTo>
                    <a:lnTo>
                      <a:pt x="970" y="226"/>
                    </a:lnTo>
                    <a:lnTo>
                      <a:pt x="973" y="226"/>
                    </a:lnTo>
                    <a:lnTo>
                      <a:pt x="975" y="226"/>
                    </a:lnTo>
                    <a:lnTo>
                      <a:pt x="976" y="226"/>
                    </a:lnTo>
                    <a:lnTo>
                      <a:pt x="976" y="228"/>
                    </a:lnTo>
                    <a:lnTo>
                      <a:pt x="976" y="229"/>
                    </a:lnTo>
                    <a:lnTo>
                      <a:pt x="976" y="231"/>
                    </a:lnTo>
                    <a:lnTo>
                      <a:pt x="976" y="233"/>
                    </a:lnTo>
                    <a:lnTo>
                      <a:pt x="976" y="234"/>
                    </a:lnTo>
                    <a:lnTo>
                      <a:pt x="975" y="236"/>
                    </a:lnTo>
                    <a:lnTo>
                      <a:pt x="975" y="237"/>
                    </a:lnTo>
                    <a:lnTo>
                      <a:pt x="975" y="239"/>
                    </a:lnTo>
                    <a:lnTo>
                      <a:pt x="973" y="240"/>
                    </a:lnTo>
                    <a:lnTo>
                      <a:pt x="973" y="242"/>
                    </a:lnTo>
                    <a:lnTo>
                      <a:pt x="971" y="244"/>
                    </a:lnTo>
                    <a:lnTo>
                      <a:pt x="971" y="245"/>
                    </a:lnTo>
                    <a:lnTo>
                      <a:pt x="973" y="245"/>
                    </a:lnTo>
                    <a:lnTo>
                      <a:pt x="973" y="247"/>
                    </a:lnTo>
                    <a:lnTo>
                      <a:pt x="976" y="247"/>
                    </a:lnTo>
                    <a:lnTo>
                      <a:pt x="978" y="247"/>
                    </a:lnTo>
                    <a:lnTo>
                      <a:pt x="981" y="247"/>
                    </a:lnTo>
                    <a:lnTo>
                      <a:pt x="983" y="247"/>
                    </a:lnTo>
                    <a:lnTo>
                      <a:pt x="984" y="247"/>
                    </a:lnTo>
                    <a:lnTo>
                      <a:pt x="986" y="248"/>
                    </a:lnTo>
                    <a:lnTo>
                      <a:pt x="989" y="248"/>
                    </a:lnTo>
                    <a:lnTo>
                      <a:pt x="990" y="247"/>
                    </a:lnTo>
                    <a:lnTo>
                      <a:pt x="992" y="245"/>
                    </a:lnTo>
                    <a:lnTo>
                      <a:pt x="992" y="244"/>
                    </a:lnTo>
                    <a:lnTo>
                      <a:pt x="994" y="244"/>
                    </a:lnTo>
                    <a:lnTo>
                      <a:pt x="997" y="244"/>
                    </a:lnTo>
                    <a:lnTo>
                      <a:pt x="998" y="244"/>
                    </a:lnTo>
                    <a:lnTo>
                      <a:pt x="1000" y="244"/>
                    </a:lnTo>
                    <a:lnTo>
                      <a:pt x="1002" y="244"/>
                    </a:lnTo>
                    <a:lnTo>
                      <a:pt x="1003" y="245"/>
                    </a:lnTo>
                    <a:lnTo>
                      <a:pt x="1005" y="245"/>
                    </a:lnTo>
                    <a:lnTo>
                      <a:pt x="1005" y="244"/>
                    </a:lnTo>
                    <a:lnTo>
                      <a:pt x="1009" y="242"/>
                    </a:lnTo>
                    <a:lnTo>
                      <a:pt x="1011" y="244"/>
                    </a:lnTo>
                    <a:lnTo>
                      <a:pt x="1013" y="245"/>
                    </a:lnTo>
                    <a:lnTo>
                      <a:pt x="1014" y="245"/>
                    </a:lnTo>
                    <a:lnTo>
                      <a:pt x="1014" y="244"/>
                    </a:lnTo>
                    <a:lnTo>
                      <a:pt x="1017" y="244"/>
                    </a:lnTo>
                    <a:lnTo>
                      <a:pt x="1019" y="244"/>
                    </a:lnTo>
                    <a:lnTo>
                      <a:pt x="1021" y="244"/>
                    </a:lnTo>
                    <a:lnTo>
                      <a:pt x="1024" y="245"/>
                    </a:lnTo>
                    <a:lnTo>
                      <a:pt x="1025" y="248"/>
                    </a:lnTo>
                    <a:lnTo>
                      <a:pt x="1027" y="250"/>
                    </a:lnTo>
                    <a:lnTo>
                      <a:pt x="1030" y="250"/>
                    </a:lnTo>
                    <a:lnTo>
                      <a:pt x="1032" y="250"/>
                    </a:lnTo>
                    <a:lnTo>
                      <a:pt x="1035" y="250"/>
                    </a:lnTo>
                    <a:lnTo>
                      <a:pt x="1036" y="252"/>
                    </a:lnTo>
                    <a:lnTo>
                      <a:pt x="1038" y="253"/>
                    </a:lnTo>
                    <a:lnTo>
                      <a:pt x="1035" y="255"/>
                    </a:lnTo>
                    <a:lnTo>
                      <a:pt x="1033" y="256"/>
                    </a:lnTo>
                    <a:lnTo>
                      <a:pt x="1032" y="259"/>
                    </a:lnTo>
                    <a:lnTo>
                      <a:pt x="1028" y="263"/>
                    </a:lnTo>
                    <a:lnTo>
                      <a:pt x="1027" y="266"/>
                    </a:lnTo>
                    <a:lnTo>
                      <a:pt x="1022" y="267"/>
                    </a:lnTo>
                    <a:lnTo>
                      <a:pt x="1021" y="269"/>
                    </a:lnTo>
                    <a:lnTo>
                      <a:pt x="1019" y="271"/>
                    </a:lnTo>
                    <a:lnTo>
                      <a:pt x="1014" y="275"/>
                    </a:lnTo>
                    <a:lnTo>
                      <a:pt x="1006" y="283"/>
                    </a:lnTo>
                    <a:lnTo>
                      <a:pt x="1002" y="285"/>
                    </a:lnTo>
                    <a:lnTo>
                      <a:pt x="1000" y="285"/>
                    </a:lnTo>
                    <a:lnTo>
                      <a:pt x="998" y="286"/>
                    </a:lnTo>
                    <a:lnTo>
                      <a:pt x="997" y="288"/>
                    </a:lnTo>
                    <a:lnTo>
                      <a:pt x="997" y="290"/>
                    </a:lnTo>
                    <a:lnTo>
                      <a:pt x="995" y="290"/>
                    </a:lnTo>
                    <a:lnTo>
                      <a:pt x="995" y="291"/>
                    </a:lnTo>
                    <a:lnTo>
                      <a:pt x="994" y="293"/>
                    </a:lnTo>
                    <a:lnTo>
                      <a:pt x="994" y="294"/>
                    </a:lnTo>
                    <a:lnTo>
                      <a:pt x="992" y="296"/>
                    </a:lnTo>
                    <a:lnTo>
                      <a:pt x="990" y="298"/>
                    </a:lnTo>
                    <a:lnTo>
                      <a:pt x="990" y="299"/>
                    </a:lnTo>
                    <a:lnTo>
                      <a:pt x="990" y="301"/>
                    </a:lnTo>
                    <a:lnTo>
                      <a:pt x="987" y="305"/>
                    </a:lnTo>
                    <a:lnTo>
                      <a:pt x="984" y="310"/>
                    </a:lnTo>
                    <a:lnTo>
                      <a:pt x="984" y="312"/>
                    </a:lnTo>
                    <a:lnTo>
                      <a:pt x="984" y="313"/>
                    </a:lnTo>
                    <a:lnTo>
                      <a:pt x="984" y="315"/>
                    </a:lnTo>
                    <a:lnTo>
                      <a:pt x="983" y="315"/>
                    </a:lnTo>
                    <a:lnTo>
                      <a:pt x="979" y="321"/>
                    </a:lnTo>
                    <a:lnTo>
                      <a:pt x="978" y="324"/>
                    </a:lnTo>
                    <a:lnTo>
                      <a:pt x="976" y="329"/>
                    </a:lnTo>
                    <a:lnTo>
                      <a:pt x="976" y="331"/>
                    </a:lnTo>
                    <a:lnTo>
                      <a:pt x="976" y="332"/>
                    </a:lnTo>
                    <a:lnTo>
                      <a:pt x="975" y="332"/>
                    </a:lnTo>
                    <a:lnTo>
                      <a:pt x="975" y="334"/>
                    </a:lnTo>
                    <a:lnTo>
                      <a:pt x="975" y="336"/>
                    </a:lnTo>
                    <a:lnTo>
                      <a:pt x="973" y="336"/>
                    </a:lnTo>
                    <a:lnTo>
                      <a:pt x="973" y="337"/>
                    </a:lnTo>
                    <a:lnTo>
                      <a:pt x="973" y="339"/>
                    </a:lnTo>
                    <a:lnTo>
                      <a:pt x="971" y="340"/>
                    </a:lnTo>
                    <a:lnTo>
                      <a:pt x="971" y="342"/>
                    </a:lnTo>
                    <a:lnTo>
                      <a:pt x="970" y="343"/>
                    </a:lnTo>
                    <a:lnTo>
                      <a:pt x="970" y="345"/>
                    </a:lnTo>
                    <a:lnTo>
                      <a:pt x="970" y="347"/>
                    </a:lnTo>
                    <a:lnTo>
                      <a:pt x="968" y="347"/>
                    </a:lnTo>
                    <a:lnTo>
                      <a:pt x="968" y="348"/>
                    </a:lnTo>
                    <a:lnTo>
                      <a:pt x="968" y="350"/>
                    </a:lnTo>
                    <a:lnTo>
                      <a:pt x="967" y="351"/>
                    </a:lnTo>
                    <a:lnTo>
                      <a:pt x="967" y="353"/>
                    </a:lnTo>
                    <a:lnTo>
                      <a:pt x="967" y="355"/>
                    </a:lnTo>
                    <a:lnTo>
                      <a:pt x="965" y="355"/>
                    </a:lnTo>
                    <a:lnTo>
                      <a:pt x="960" y="356"/>
                    </a:lnTo>
                    <a:lnTo>
                      <a:pt x="954" y="355"/>
                    </a:lnTo>
                    <a:lnTo>
                      <a:pt x="946" y="355"/>
                    </a:lnTo>
                    <a:lnTo>
                      <a:pt x="940" y="353"/>
                    </a:lnTo>
                    <a:lnTo>
                      <a:pt x="937" y="351"/>
                    </a:lnTo>
                    <a:lnTo>
                      <a:pt x="932" y="351"/>
                    </a:lnTo>
                    <a:lnTo>
                      <a:pt x="924" y="348"/>
                    </a:lnTo>
                    <a:lnTo>
                      <a:pt x="916" y="347"/>
                    </a:lnTo>
                    <a:lnTo>
                      <a:pt x="914" y="347"/>
                    </a:lnTo>
                    <a:lnTo>
                      <a:pt x="905" y="343"/>
                    </a:lnTo>
                    <a:lnTo>
                      <a:pt x="895" y="342"/>
                    </a:lnTo>
                    <a:lnTo>
                      <a:pt x="881" y="343"/>
                    </a:lnTo>
                    <a:lnTo>
                      <a:pt x="872" y="348"/>
                    </a:lnTo>
                    <a:lnTo>
                      <a:pt x="870" y="348"/>
                    </a:lnTo>
                    <a:lnTo>
                      <a:pt x="868" y="348"/>
                    </a:lnTo>
                    <a:lnTo>
                      <a:pt x="868" y="350"/>
                    </a:lnTo>
                    <a:lnTo>
                      <a:pt x="867" y="350"/>
                    </a:lnTo>
                    <a:lnTo>
                      <a:pt x="865" y="350"/>
                    </a:lnTo>
                    <a:lnTo>
                      <a:pt x="864" y="351"/>
                    </a:lnTo>
                    <a:lnTo>
                      <a:pt x="862" y="351"/>
                    </a:lnTo>
                    <a:lnTo>
                      <a:pt x="861" y="353"/>
                    </a:lnTo>
                    <a:lnTo>
                      <a:pt x="859" y="353"/>
                    </a:lnTo>
                    <a:lnTo>
                      <a:pt x="857" y="355"/>
                    </a:lnTo>
                    <a:lnTo>
                      <a:pt x="856" y="355"/>
                    </a:lnTo>
                    <a:lnTo>
                      <a:pt x="854" y="355"/>
                    </a:lnTo>
                    <a:lnTo>
                      <a:pt x="854" y="356"/>
                    </a:lnTo>
                    <a:lnTo>
                      <a:pt x="853" y="356"/>
                    </a:lnTo>
                    <a:lnTo>
                      <a:pt x="851" y="356"/>
                    </a:lnTo>
                    <a:lnTo>
                      <a:pt x="851" y="358"/>
                    </a:lnTo>
                    <a:lnTo>
                      <a:pt x="849" y="358"/>
                    </a:lnTo>
                    <a:lnTo>
                      <a:pt x="848" y="359"/>
                    </a:lnTo>
                    <a:lnTo>
                      <a:pt x="846" y="361"/>
                    </a:lnTo>
                    <a:lnTo>
                      <a:pt x="845" y="361"/>
                    </a:lnTo>
                    <a:lnTo>
                      <a:pt x="845" y="362"/>
                    </a:lnTo>
                    <a:lnTo>
                      <a:pt x="843" y="362"/>
                    </a:lnTo>
                    <a:lnTo>
                      <a:pt x="843" y="364"/>
                    </a:lnTo>
                    <a:lnTo>
                      <a:pt x="842" y="364"/>
                    </a:lnTo>
                    <a:lnTo>
                      <a:pt x="842" y="366"/>
                    </a:lnTo>
                    <a:lnTo>
                      <a:pt x="840" y="366"/>
                    </a:lnTo>
                    <a:lnTo>
                      <a:pt x="838" y="367"/>
                    </a:lnTo>
                    <a:lnTo>
                      <a:pt x="838" y="369"/>
                    </a:lnTo>
                    <a:lnTo>
                      <a:pt x="837" y="369"/>
                    </a:lnTo>
                    <a:lnTo>
                      <a:pt x="835" y="370"/>
                    </a:lnTo>
                    <a:lnTo>
                      <a:pt x="834" y="372"/>
                    </a:lnTo>
                    <a:lnTo>
                      <a:pt x="832" y="372"/>
                    </a:lnTo>
                    <a:lnTo>
                      <a:pt x="832" y="374"/>
                    </a:lnTo>
                    <a:lnTo>
                      <a:pt x="830" y="374"/>
                    </a:lnTo>
                    <a:lnTo>
                      <a:pt x="830" y="375"/>
                    </a:lnTo>
                    <a:lnTo>
                      <a:pt x="829" y="375"/>
                    </a:lnTo>
                    <a:lnTo>
                      <a:pt x="829" y="377"/>
                    </a:lnTo>
                    <a:lnTo>
                      <a:pt x="827" y="377"/>
                    </a:lnTo>
                    <a:lnTo>
                      <a:pt x="827" y="378"/>
                    </a:lnTo>
                    <a:lnTo>
                      <a:pt x="826" y="378"/>
                    </a:lnTo>
                    <a:lnTo>
                      <a:pt x="826" y="380"/>
                    </a:lnTo>
                    <a:lnTo>
                      <a:pt x="824" y="380"/>
                    </a:lnTo>
                    <a:lnTo>
                      <a:pt x="823" y="381"/>
                    </a:lnTo>
                    <a:lnTo>
                      <a:pt x="821" y="383"/>
                    </a:lnTo>
                    <a:lnTo>
                      <a:pt x="823" y="386"/>
                    </a:lnTo>
                    <a:lnTo>
                      <a:pt x="823" y="388"/>
                    </a:lnTo>
                    <a:lnTo>
                      <a:pt x="821" y="389"/>
                    </a:lnTo>
                    <a:lnTo>
                      <a:pt x="821" y="391"/>
                    </a:lnTo>
                    <a:lnTo>
                      <a:pt x="821" y="393"/>
                    </a:lnTo>
                    <a:lnTo>
                      <a:pt x="823" y="394"/>
                    </a:lnTo>
                    <a:lnTo>
                      <a:pt x="824" y="394"/>
                    </a:lnTo>
                    <a:lnTo>
                      <a:pt x="824" y="396"/>
                    </a:lnTo>
                    <a:lnTo>
                      <a:pt x="823" y="397"/>
                    </a:lnTo>
                    <a:lnTo>
                      <a:pt x="821" y="397"/>
                    </a:lnTo>
                    <a:lnTo>
                      <a:pt x="821" y="399"/>
                    </a:lnTo>
                    <a:lnTo>
                      <a:pt x="821" y="400"/>
                    </a:lnTo>
                    <a:lnTo>
                      <a:pt x="823" y="400"/>
                    </a:lnTo>
                    <a:lnTo>
                      <a:pt x="824" y="402"/>
                    </a:lnTo>
                    <a:lnTo>
                      <a:pt x="824" y="404"/>
                    </a:lnTo>
                    <a:lnTo>
                      <a:pt x="824" y="405"/>
                    </a:lnTo>
                    <a:lnTo>
                      <a:pt x="826" y="407"/>
                    </a:lnTo>
                    <a:lnTo>
                      <a:pt x="826" y="408"/>
                    </a:lnTo>
                    <a:lnTo>
                      <a:pt x="826" y="410"/>
                    </a:lnTo>
                    <a:lnTo>
                      <a:pt x="826" y="412"/>
                    </a:lnTo>
                    <a:lnTo>
                      <a:pt x="827" y="412"/>
                    </a:lnTo>
                    <a:lnTo>
                      <a:pt x="827" y="413"/>
                    </a:lnTo>
                    <a:lnTo>
                      <a:pt x="826" y="413"/>
                    </a:lnTo>
                    <a:lnTo>
                      <a:pt x="826" y="415"/>
                    </a:lnTo>
                    <a:lnTo>
                      <a:pt x="824" y="415"/>
                    </a:lnTo>
                    <a:lnTo>
                      <a:pt x="826" y="416"/>
                    </a:lnTo>
                    <a:lnTo>
                      <a:pt x="824" y="416"/>
                    </a:lnTo>
                    <a:lnTo>
                      <a:pt x="823" y="416"/>
                    </a:lnTo>
                    <a:lnTo>
                      <a:pt x="823" y="418"/>
                    </a:lnTo>
                    <a:lnTo>
                      <a:pt x="821" y="418"/>
                    </a:lnTo>
                    <a:lnTo>
                      <a:pt x="819" y="419"/>
                    </a:lnTo>
                    <a:lnTo>
                      <a:pt x="819" y="421"/>
                    </a:lnTo>
                    <a:lnTo>
                      <a:pt x="819" y="423"/>
                    </a:lnTo>
                    <a:lnTo>
                      <a:pt x="818" y="424"/>
                    </a:lnTo>
                    <a:lnTo>
                      <a:pt x="816" y="424"/>
                    </a:lnTo>
                    <a:lnTo>
                      <a:pt x="815" y="423"/>
                    </a:lnTo>
                    <a:lnTo>
                      <a:pt x="813" y="421"/>
                    </a:lnTo>
                    <a:lnTo>
                      <a:pt x="810" y="419"/>
                    </a:lnTo>
                    <a:lnTo>
                      <a:pt x="807" y="419"/>
                    </a:lnTo>
                    <a:lnTo>
                      <a:pt x="804" y="421"/>
                    </a:lnTo>
                    <a:lnTo>
                      <a:pt x="804" y="423"/>
                    </a:lnTo>
                    <a:lnTo>
                      <a:pt x="800" y="424"/>
                    </a:lnTo>
                    <a:lnTo>
                      <a:pt x="799" y="426"/>
                    </a:lnTo>
                    <a:lnTo>
                      <a:pt x="797" y="427"/>
                    </a:lnTo>
                    <a:lnTo>
                      <a:pt x="794" y="427"/>
                    </a:lnTo>
                    <a:lnTo>
                      <a:pt x="791" y="426"/>
                    </a:lnTo>
                    <a:lnTo>
                      <a:pt x="789" y="424"/>
                    </a:lnTo>
                    <a:lnTo>
                      <a:pt x="786" y="421"/>
                    </a:lnTo>
                    <a:lnTo>
                      <a:pt x="785" y="423"/>
                    </a:lnTo>
                    <a:lnTo>
                      <a:pt x="783" y="426"/>
                    </a:lnTo>
                    <a:lnTo>
                      <a:pt x="780" y="426"/>
                    </a:lnTo>
                    <a:lnTo>
                      <a:pt x="777" y="424"/>
                    </a:lnTo>
                    <a:lnTo>
                      <a:pt x="772" y="426"/>
                    </a:lnTo>
                    <a:lnTo>
                      <a:pt x="770" y="426"/>
                    </a:lnTo>
                    <a:lnTo>
                      <a:pt x="769" y="427"/>
                    </a:lnTo>
                    <a:lnTo>
                      <a:pt x="767" y="427"/>
                    </a:lnTo>
                    <a:lnTo>
                      <a:pt x="766" y="429"/>
                    </a:lnTo>
                    <a:lnTo>
                      <a:pt x="764" y="429"/>
                    </a:lnTo>
                    <a:lnTo>
                      <a:pt x="764" y="431"/>
                    </a:lnTo>
                    <a:lnTo>
                      <a:pt x="762" y="431"/>
                    </a:lnTo>
                    <a:lnTo>
                      <a:pt x="762" y="432"/>
                    </a:lnTo>
                    <a:lnTo>
                      <a:pt x="761" y="432"/>
                    </a:lnTo>
                    <a:lnTo>
                      <a:pt x="761" y="434"/>
                    </a:lnTo>
                    <a:lnTo>
                      <a:pt x="759" y="434"/>
                    </a:lnTo>
                    <a:lnTo>
                      <a:pt x="759" y="435"/>
                    </a:lnTo>
                    <a:lnTo>
                      <a:pt x="758" y="435"/>
                    </a:lnTo>
                    <a:lnTo>
                      <a:pt x="758" y="437"/>
                    </a:lnTo>
                    <a:lnTo>
                      <a:pt x="756" y="437"/>
                    </a:lnTo>
                    <a:lnTo>
                      <a:pt x="756" y="438"/>
                    </a:lnTo>
                    <a:lnTo>
                      <a:pt x="754" y="440"/>
                    </a:lnTo>
                    <a:lnTo>
                      <a:pt x="753" y="442"/>
                    </a:lnTo>
                    <a:lnTo>
                      <a:pt x="751" y="442"/>
                    </a:lnTo>
                    <a:lnTo>
                      <a:pt x="750" y="443"/>
                    </a:lnTo>
                    <a:lnTo>
                      <a:pt x="750" y="445"/>
                    </a:lnTo>
                    <a:lnTo>
                      <a:pt x="748" y="445"/>
                    </a:lnTo>
                    <a:lnTo>
                      <a:pt x="747" y="446"/>
                    </a:lnTo>
                    <a:lnTo>
                      <a:pt x="745" y="448"/>
                    </a:lnTo>
                    <a:lnTo>
                      <a:pt x="743" y="450"/>
                    </a:lnTo>
                    <a:lnTo>
                      <a:pt x="742" y="451"/>
                    </a:lnTo>
                    <a:lnTo>
                      <a:pt x="740" y="453"/>
                    </a:lnTo>
                    <a:lnTo>
                      <a:pt x="739" y="453"/>
                    </a:lnTo>
                    <a:lnTo>
                      <a:pt x="739" y="454"/>
                    </a:lnTo>
                    <a:lnTo>
                      <a:pt x="737" y="454"/>
                    </a:lnTo>
                    <a:lnTo>
                      <a:pt x="737" y="456"/>
                    </a:lnTo>
                    <a:lnTo>
                      <a:pt x="735" y="456"/>
                    </a:lnTo>
                    <a:lnTo>
                      <a:pt x="735" y="457"/>
                    </a:lnTo>
                    <a:lnTo>
                      <a:pt x="734" y="457"/>
                    </a:lnTo>
                    <a:lnTo>
                      <a:pt x="732" y="459"/>
                    </a:lnTo>
                    <a:lnTo>
                      <a:pt x="731" y="459"/>
                    </a:lnTo>
                    <a:lnTo>
                      <a:pt x="731" y="461"/>
                    </a:lnTo>
                    <a:lnTo>
                      <a:pt x="729" y="462"/>
                    </a:lnTo>
                    <a:lnTo>
                      <a:pt x="728" y="462"/>
                    </a:lnTo>
                    <a:lnTo>
                      <a:pt x="728" y="464"/>
                    </a:lnTo>
                    <a:lnTo>
                      <a:pt x="726" y="464"/>
                    </a:lnTo>
                    <a:lnTo>
                      <a:pt x="726" y="465"/>
                    </a:lnTo>
                    <a:lnTo>
                      <a:pt x="724" y="465"/>
                    </a:lnTo>
                    <a:lnTo>
                      <a:pt x="723" y="465"/>
                    </a:lnTo>
                    <a:lnTo>
                      <a:pt x="723" y="467"/>
                    </a:lnTo>
                    <a:lnTo>
                      <a:pt x="721" y="467"/>
                    </a:lnTo>
                    <a:lnTo>
                      <a:pt x="720" y="467"/>
                    </a:lnTo>
                    <a:lnTo>
                      <a:pt x="720" y="469"/>
                    </a:lnTo>
                    <a:lnTo>
                      <a:pt x="718" y="469"/>
                    </a:lnTo>
                    <a:lnTo>
                      <a:pt x="716" y="470"/>
                    </a:lnTo>
                    <a:lnTo>
                      <a:pt x="716" y="472"/>
                    </a:lnTo>
                    <a:lnTo>
                      <a:pt x="715" y="472"/>
                    </a:lnTo>
                    <a:lnTo>
                      <a:pt x="715" y="473"/>
                    </a:lnTo>
                    <a:lnTo>
                      <a:pt x="713" y="475"/>
                    </a:lnTo>
                    <a:lnTo>
                      <a:pt x="713" y="477"/>
                    </a:lnTo>
                    <a:lnTo>
                      <a:pt x="712" y="478"/>
                    </a:lnTo>
                    <a:lnTo>
                      <a:pt x="712" y="480"/>
                    </a:lnTo>
                    <a:lnTo>
                      <a:pt x="710" y="481"/>
                    </a:lnTo>
                    <a:lnTo>
                      <a:pt x="710" y="483"/>
                    </a:lnTo>
                    <a:lnTo>
                      <a:pt x="709" y="484"/>
                    </a:lnTo>
                    <a:lnTo>
                      <a:pt x="709" y="486"/>
                    </a:lnTo>
                    <a:lnTo>
                      <a:pt x="707" y="486"/>
                    </a:lnTo>
                    <a:lnTo>
                      <a:pt x="707" y="488"/>
                    </a:lnTo>
                    <a:lnTo>
                      <a:pt x="707" y="489"/>
                    </a:lnTo>
                    <a:lnTo>
                      <a:pt x="705" y="489"/>
                    </a:lnTo>
                    <a:lnTo>
                      <a:pt x="705" y="491"/>
                    </a:lnTo>
                    <a:lnTo>
                      <a:pt x="705" y="492"/>
                    </a:lnTo>
                    <a:lnTo>
                      <a:pt x="704" y="492"/>
                    </a:lnTo>
                    <a:lnTo>
                      <a:pt x="704" y="494"/>
                    </a:lnTo>
                    <a:lnTo>
                      <a:pt x="702" y="494"/>
                    </a:lnTo>
                    <a:lnTo>
                      <a:pt x="702" y="496"/>
                    </a:lnTo>
                    <a:lnTo>
                      <a:pt x="701" y="497"/>
                    </a:lnTo>
                    <a:lnTo>
                      <a:pt x="701" y="499"/>
                    </a:lnTo>
                    <a:lnTo>
                      <a:pt x="699" y="500"/>
                    </a:lnTo>
                    <a:lnTo>
                      <a:pt x="699" y="502"/>
                    </a:lnTo>
                    <a:lnTo>
                      <a:pt x="699" y="503"/>
                    </a:lnTo>
                    <a:lnTo>
                      <a:pt x="697" y="503"/>
                    </a:lnTo>
                    <a:lnTo>
                      <a:pt x="697" y="505"/>
                    </a:lnTo>
                    <a:lnTo>
                      <a:pt x="697" y="507"/>
                    </a:lnTo>
                    <a:lnTo>
                      <a:pt x="696" y="507"/>
                    </a:lnTo>
                    <a:lnTo>
                      <a:pt x="696" y="508"/>
                    </a:lnTo>
                    <a:lnTo>
                      <a:pt x="696" y="510"/>
                    </a:lnTo>
                    <a:lnTo>
                      <a:pt x="694" y="511"/>
                    </a:lnTo>
                    <a:lnTo>
                      <a:pt x="694" y="513"/>
                    </a:lnTo>
                    <a:lnTo>
                      <a:pt x="693" y="515"/>
                    </a:lnTo>
                    <a:lnTo>
                      <a:pt x="693" y="516"/>
                    </a:lnTo>
                    <a:lnTo>
                      <a:pt x="693" y="518"/>
                    </a:lnTo>
                    <a:lnTo>
                      <a:pt x="691" y="518"/>
                    </a:lnTo>
                    <a:lnTo>
                      <a:pt x="691" y="519"/>
                    </a:lnTo>
                    <a:lnTo>
                      <a:pt x="691" y="521"/>
                    </a:lnTo>
                    <a:lnTo>
                      <a:pt x="691" y="522"/>
                    </a:lnTo>
                    <a:lnTo>
                      <a:pt x="691" y="524"/>
                    </a:lnTo>
                    <a:lnTo>
                      <a:pt x="691" y="526"/>
                    </a:lnTo>
                    <a:lnTo>
                      <a:pt x="691" y="527"/>
                    </a:lnTo>
                    <a:lnTo>
                      <a:pt x="691" y="529"/>
                    </a:lnTo>
                    <a:lnTo>
                      <a:pt x="689" y="530"/>
                    </a:lnTo>
                    <a:lnTo>
                      <a:pt x="685" y="534"/>
                    </a:lnTo>
                    <a:lnTo>
                      <a:pt x="678" y="537"/>
                    </a:lnTo>
                    <a:lnTo>
                      <a:pt x="674" y="541"/>
                    </a:lnTo>
                    <a:lnTo>
                      <a:pt x="669" y="543"/>
                    </a:lnTo>
                    <a:lnTo>
                      <a:pt x="663" y="546"/>
                    </a:lnTo>
                    <a:lnTo>
                      <a:pt x="659" y="549"/>
                    </a:lnTo>
                    <a:lnTo>
                      <a:pt x="655" y="553"/>
                    </a:lnTo>
                    <a:lnTo>
                      <a:pt x="647" y="556"/>
                    </a:lnTo>
                    <a:lnTo>
                      <a:pt x="640" y="559"/>
                    </a:lnTo>
                    <a:lnTo>
                      <a:pt x="636" y="562"/>
                    </a:lnTo>
                    <a:lnTo>
                      <a:pt x="632" y="565"/>
                    </a:lnTo>
                    <a:lnTo>
                      <a:pt x="629" y="567"/>
                    </a:lnTo>
                    <a:lnTo>
                      <a:pt x="628" y="568"/>
                    </a:lnTo>
                    <a:lnTo>
                      <a:pt x="626" y="570"/>
                    </a:lnTo>
                    <a:lnTo>
                      <a:pt x="626" y="573"/>
                    </a:lnTo>
                    <a:lnTo>
                      <a:pt x="625" y="576"/>
                    </a:lnTo>
                    <a:lnTo>
                      <a:pt x="625" y="579"/>
                    </a:lnTo>
                    <a:lnTo>
                      <a:pt x="625" y="584"/>
                    </a:lnTo>
                    <a:lnTo>
                      <a:pt x="625" y="587"/>
                    </a:lnTo>
                    <a:lnTo>
                      <a:pt x="623" y="591"/>
                    </a:lnTo>
                    <a:lnTo>
                      <a:pt x="620" y="594"/>
                    </a:lnTo>
                    <a:lnTo>
                      <a:pt x="618" y="597"/>
                    </a:lnTo>
                    <a:lnTo>
                      <a:pt x="615" y="600"/>
                    </a:lnTo>
                    <a:lnTo>
                      <a:pt x="615" y="602"/>
                    </a:lnTo>
                    <a:lnTo>
                      <a:pt x="615" y="606"/>
                    </a:lnTo>
                    <a:lnTo>
                      <a:pt x="615" y="611"/>
                    </a:lnTo>
                    <a:lnTo>
                      <a:pt x="615" y="614"/>
                    </a:lnTo>
                    <a:lnTo>
                      <a:pt x="617" y="617"/>
                    </a:lnTo>
                    <a:lnTo>
                      <a:pt x="617" y="622"/>
                    </a:lnTo>
                    <a:lnTo>
                      <a:pt x="615" y="627"/>
                    </a:lnTo>
                    <a:lnTo>
                      <a:pt x="615" y="630"/>
                    </a:lnTo>
                    <a:lnTo>
                      <a:pt x="613" y="635"/>
                    </a:lnTo>
                    <a:lnTo>
                      <a:pt x="613" y="638"/>
                    </a:lnTo>
                    <a:lnTo>
                      <a:pt x="613" y="640"/>
                    </a:lnTo>
                    <a:lnTo>
                      <a:pt x="612" y="641"/>
                    </a:lnTo>
                    <a:lnTo>
                      <a:pt x="609" y="643"/>
                    </a:lnTo>
                    <a:lnTo>
                      <a:pt x="607" y="643"/>
                    </a:lnTo>
                    <a:lnTo>
                      <a:pt x="606" y="641"/>
                    </a:lnTo>
                    <a:lnTo>
                      <a:pt x="604" y="638"/>
                    </a:lnTo>
                    <a:lnTo>
                      <a:pt x="604" y="636"/>
                    </a:lnTo>
                    <a:lnTo>
                      <a:pt x="606" y="633"/>
                    </a:lnTo>
                    <a:lnTo>
                      <a:pt x="606" y="629"/>
                    </a:lnTo>
                    <a:lnTo>
                      <a:pt x="606" y="622"/>
                    </a:lnTo>
                    <a:lnTo>
                      <a:pt x="604" y="617"/>
                    </a:lnTo>
                    <a:lnTo>
                      <a:pt x="602" y="616"/>
                    </a:lnTo>
                    <a:lnTo>
                      <a:pt x="602" y="613"/>
                    </a:lnTo>
                    <a:lnTo>
                      <a:pt x="602" y="611"/>
                    </a:lnTo>
                    <a:lnTo>
                      <a:pt x="602" y="610"/>
                    </a:lnTo>
                    <a:lnTo>
                      <a:pt x="602" y="608"/>
                    </a:lnTo>
                    <a:lnTo>
                      <a:pt x="604" y="605"/>
                    </a:lnTo>
                    <a:lnTo>
                      <a:pt x="606" y="602"/>
                    </a:lnTo>
                    <a:lnTo>
                      <a:pt x="606" y="598"/>
                    </a:lnTo>
                    <a:lnTo>
                      <a:pt x="604" y="598"/>
                    </a:lnTo>
                    <a:lnTo>
                      <a:pt x="602" y="598"/>
                    </a:lnTo>
                    <a:lnTo>
                      <a:pt x="601" y="598"/>
                    </a:lnTo>
                    <a:lnTo>
                      <a:pt x="598" y="600"/>
                    </a:lnTo>
                    <a:lnTo>
                      <a:pt x="594" y="598"/>
                    </a:lnTo>
                    <a:lnTo>
                      <a:pt x="591" y="598"/>
                    </a:lnTo>
                    <a:lnTo>
                      <a:pt x="588" y="598"/>
                    </a:lnTo>
                    <a:lnTo>
                      <a:pt x="585" y="597"/>
                    </a:lnTo>
                    <a:lnTo>
                      <a:pt x="582" y="597"/>
                    </a:lnTo>
                    <a:lnTo>
                      <a:pt x="579" y="597"/>
                    </a:lnTo>
                    <a:lnTo>
                      <a:pt x="575" y="595"/>
                    </a:lnTo>
                    <a:lnTo>
                      <a:pt x="572" y="595"/>
                    </a:lnTo>
                    <a:lnTo>
                      <a:pt x="568" y="594"/>
                    </a:lnTo>
                    <a:lnTo>
                      <a:pt x="563" y="594"/>
                    </a:lnTo>
                    <a:lnTo>
                      <a:pt x="560" y="592"/>
                    </a:lnTo>
                    <a:lnTo>
                      <a:pt x="552" y="591"/>
                    </a:lnTo>
                    <a:lnTo>
                      <a:pt x="545" y="589"/>
                    </a:lnTo>
                    <a:lnTo>
                      <a:pt x="542" y="589"/>
                    </a:lnTo>
                    <a:lnTo>
                      <a:pt x="539" y="589"/>
                    </a:lnTo>
                    <a:lnTo>
                      <a:pt x="537" y="587"/>
                    </a:lnTo>
                    <a:lnTo>
                      <a:pt x="533" y="587"/>
                    </a:lnTo>
                    <a:lnTo>
                      <a:pt x="530" y="586"/>
                    </a:lnTo>
                    <a:lnTo>
                      <a:pt x="523" y="584"/>
                    </a:lnTo>
                    <a:lnTo>
                      <a:pt x="517" y="584"/>
                    </a:lnTo>
                    <a:lnTo>
                      <a:pt x="512" y="583"/>
                    </a:lnTo>
                    <a:lnTo>
                      <a:pt x="509" y="583"/>
                    </a:lnTo>
                    <a:lnTo>
                      <a:pt x="507" y="583"/>
                    </a:lnTo>
                    <a:lnTo>
                      <a:pt x="506" y="584"/>
                    </a:lnTo>
                    <a:lnTo>
                      <a:pt x="506" y="586"/>
                    </a:lnTo>
                    <a:lnTo>
                      <a:pt x="506" y="587"/>
                    </a:lnTo>
                    <a:lnTo>
                      <a:pt x="504" y="592"/>
                    </a:lnTo>
                    <a:lnTo>
                      <a:pt x="504" y="595"/>
                    </a:lnTo>
                    <a:lnTo>
                      <a:pt x="503" y="598"/>
                    </a:lnTo>
                    <a:lnTo>
                      <a:pt x="501" y="602"/>
                    </a:lnTo>
                    <a:lnTo>
                      <a:pt x="501" y="603"/>
                    </a:lnTo>
                    <a:lnTo>
                      <a:pt x="503" y="605"/>
                    </a:lnTo>
                    <a:lnTo>
                      <a:pt x="507" y="610"/>
                    </a:lnTo>
                    <a:lnTo>
                      <a:pt x="509" y="613"/>
                    </a:lnTo>
                    <a:lnTo>
                      <a:pt x="511" y="616"/>
                    </a:lnTo>
                    <a:lnTo>
                      <a:pt x="511" y="621"/>
                    </a:lnTo>
                    <a:lnTo>
                      <a:pt x="511" y="624"/>
                    </a:lnTo>
                    <a:lnTo>
                      <a:pt x="512" y="625"/>
                    </a:lnTo>
                    <a:lnTo>
                      <a:pt x="509" y="630"/>
                    </a:lnTo>
                    <a:lnTo>
                      <a:pt x="507" y="635"/>
                    </a:lnTo>
                    <a:lnTo>
                      <a:pt x="503" y="638"/>
                    </a:lnTo>
                    <a:lnTo>
                      <a:pt x="501" y="641"/>
                    </a:lnTo>
                    <a:lnTo>
                      <a:pt x="499" y="643"/>
                    </a:lnTo>
                    <a:lnTo>
                      <a:pt x="501" y="644"/>
                    </a:lnTo>
                    <a:lnTo>
                      <a:pt x="503" y="646"/>
                    </a:lnTo>
                    <a:lnTo>
                      <a:pt x="504" y="646"/>
                    </a:lnTo>
                    <a:lnTo>
                      <a:pt x="506" y="646"/>
                    </a:lnTo>
                    <a:lnTo>
                      <a:pt x="507" y="646"/>
                    </a:lnTo>
                    <a:lnTo>
                      <a:pt x="509" y="648"/>
                    </a:lnTo>
                    <a:lnTo>
                      <a:pt x="511" y="648"/>
                    </a:lnTo>
                    <a:lnTo>
                      <a:pt x="512" y="649"/>
                    </a:lnTo>
                    <a:lnTo>
                      <a:pt x="512" y="651"/>
                    </a:lnTo>
                    <a:lnTo>
                      <a:pt x="511" y="651"/>
                    </a:lnTo>
                    <a:lnTo>
                      <a:pt x="509" y="651"/>
                    </a:lnTo>
                    <a:lnTo>
                      <a:pt x="507" y="652"/>
                    </a:lnTo>
                    <a:lnTo>
                      <a:pt x="507" y="654"/>
                    </a:lnTo>
                    <a:lnTo>
                      <a:pt x="509" y="654"/>
                    </a:lnTo>
                    <a:lnTo>
                      <a:pt x="509" y="656"/>
                    </a:lnTo>
                    <a:lnTo>
                      <a:pt x="511" y="657"/>
                    </a:lnTo>
                    <a:lnTo>
                      <a:pt x="511" y="659"/>
                    </a:lnTo>
                    <a:lnTo>
                      <a:pt x="511" y="660"/>
                    </a:lnTo>
                    <a:lnTo>
                      <a:pt x="511" y="662"/>
                    </a:lnTo>
                    <a:lnTo>
                      <a:pt x="509" y="663"/>
                    </a:lnTo>
                    <a:lnTo>
                      <a:pt x="509" y="665"/>
                    </a:lnTo>
                    <a:lnTo>
                      <a:pt x="511" y="667"/>
                    </a:lnTo>
                    <a:lnTo>
                      <a:pt x="511" y="668"/>
                    </a:lnTo>
                    <a:lnTo>
                      <a:pt x="509" y="671"/>
                    </a:lnTo>
                    <a:lnTo>
                      <a:pt x="509" y="675"/>
                    </a:lnTo>
                    <a:lnTo>
                      <a:pt x="509" y="678"/>
                    </a:lnTo>
                    <a:lnTo>
                      <a:pt x="509" y="679"/>
                    </a:lnTo>
                    <a:lnTo>
                      <a:pt x="511" y="681"/>
                    </a:lnTo>
                    <a:lnTo>
                      <a:pt x="511" y="682"/>
                    </a:lnTo>
                    <a:lnTo>
                      <a:pt x="511" y="686"/>
                    </a:lnTo>
                    <a:lnTo>
                      <a:pt x="512" y="689"/>
                    </a:lnTo>
                    <a:lnTo>
                      <a:pt x="512" y="690"/>
                    </a:lnTo>
                    <a:lnTo>
                      <a:pt x="512" y="692"/>
                    </a:lnTo>
                    <a:lnTo>
                      <a:pt x="514" y="692"/>
                    </a:lnTo>
                    <a:lnTo>
                      <a:pt x="514" y="690"/>
                    </a:lnTo>
                    <a:lnTo>
                      <a:pt x="515" y="690"/>
                    </a:lnTo>
                    <a:lnTo>
                      <a:pt x="517" y="689"/>
                    </a:lnTo>
                    <a:lnTo>
                      <a:pt x="518" y="687"/>
                    </a:lnTo>
                    <a:lnTo>
                      <a:pt x="520" y="687"/>
                    </a:lnTo>
                    <a:lnTo>
                      <a:pt x="520" y="686"/>
                    </a:lnTo>
                    <a:lnTo>
                      <a:pt x="522" y="686"/>
                    </a:lnTo>
                    <a:lnTo>
                      <a:pt x="522" y="684"/>
                    </a:lnTo>
                    <a:lnTo>
                      <a:pt x="523" y="684"/>
                    </a:lnTo>
                    <a:lnTo>
                      <a:pt x="525" y="682"/>
                    </a:lnTo>
                    <a:lnTo>
                      <a:pt x="526" y="682"/>
                    </a:lnTo>
                    <a:lnTo>
                      <a:pt x="526" y="681"/>
                    </a:lnTo>
                    <a:lnTo>
                      <a:pt x="528" y="681"/>
                    </a:lnTo>
                    <a:lnTo>
                      <a:pt x="528" y="679"/>
                    </a:lnTo>
                    <a:lnTo>
                      <a:pt x="530" y="679"/>
                    </a:lnTo>
                    <a:lnTo>
                      <a:pt x="530" y="681"/>
                    </a:lnTo>
                    <a:lnTo>
                      <a:pt x="530" y="682"/>
                    </a:lnTo>
                    <a:lnTo>
                      <a:pt x="531" y="682"/>
                    </a:lnTo>
                    <a:lnTo>
                      <a:pt x="531" y="684"/>
                    </a:lnTo>
                    <a:lnTo>
                      <a:pt x="533" y="686"/>
                    </a:lnTo>
                    <a:lnTo>
                      <a:pt x="533" y="687"/>
                    </a:lnTo>
                    <a:lnTo>
                      <a:pt x="534" y="687"/>
                    </a:lnTo>
                    <a:lnTo>
                      <a:pt x="534" y="689"/>
                    </a:lnTo>
                    <a:lnTo>
                      <a:pt x="536" y="690"/>
                    </a:lnTo>
                    <a:lnTo>
                      <a:pt x="536" y="692"/>
                    </a:lnTo>
                    <a:lnTo>
                      <a:pt x="537" y="694"/>
                    </a:lnTo>
                    <a:lnTo>
                      <a:pt x="537" y="695"/>
                    </a:lnTo>
                    <a:lnTo>
                      <a:pt x="539" y="695"/>
                    </a:lnTo>
                    <a:lnTo>
                      <a:pt x="539" y="697"/>
                    </a:lnTo>
                    <a:lnTo>
                      <a:pt x="541" y="698"/>
                    </a:lnTo>
                    <a:lnTo>
                      <a:pt x="541" y="700"/>
                    </a:lnTo>
                    <a:lnTo>
                      <a:pt x="542" y="700"/>
                    </a:lnTo>
                    <a:lnTo>
                      <a:pt x="542" y="701"/>
                    </a:lnTo>
                    <a:lnTo>
                      <a:pt x="544" y="703"/>
                    </a:lnTo>
                    <a:lnTo>
                      <a:pt x="544" y="705"/>
                    </a:lnTo>
                    <a:lnTo>
                      <a:pt x="545" y="706"/>
                    </a:lnTo>
                    <a:lnTo>
                      <a:pt x="547" y="708"/>
                    </a:lnTo>
                    <a:lnTo>
                      <a:pt x="547" y="709"/>
                    </a:lnTo>
                    <a:lnTo>
                      <a:pt x="549" y="711"/>
                    </a:lnTo>
                    <a:lnTo>
                      <a:pt x="549" y="713"/>
                    </a:lnTo>
                    <a:lnTo>
                      <a:pt x="550" y="713"/>
                    </a:lnTo>
                    <a:lnTo>
                      <a:pt x="550" y="714"/>
                    </a:lnTo>
                    <a:lnTo>
                      <a:pt x="552" y="716"/>
                    </a:lnTo>
                    <a:lnTo>
                      <a:pt x="552" y="717"/>
                    </a:lnTo>
                    <a:lnTo>
                      <a:pt x="553" y="717"/>
                    </a:lnTo>
                    <a:lnTo>
                      <a:pt x="553" y="719"/>
                    </a:lnTo>
                    <a:lnTo>
                      <a:pt x="555" y="720"/>
                    </a:lnTo>
                    <a:lnTo>
                      <a:pt x="555" y="722"/>
                    </a:lnTo>
                    <a:lnTo>
                      <a:pt x="556" y="724"/>
                    </a:lnTo>
                    <a:lnTo>
                      <a:pt x="556" y="725"/>
                    </a:lnTo>
                    <a:lnTo>
                      <a:pt x="558" y="725"/>
                    </a:lnTo>
                    <a:lnTo>
                      <a:pt x="560" y="725"/>
                    </a:lnTo>
                    <a:lnTo>
                      <a:pt x="560" y="727"/>
                    </a:lnTo>
                    <a:lnTo>
                      <a:pt x="561" y="727"/>
                    </a:lnTo>
                    <a:lnTo>
                      <a:pt x="563" y="727"/>
                    </a:lnTo>
                    <a:lnTo>
                      <a:pt x="563" y="728"/>
                    </a:lnTo>
                    <a:lnTo>
                      <a:pt x="564" y="728"/>
                    </a:lnTo>
                    <a:lnTo>
                      <a:pt x="566" y="728"/>
                    </a:lnTo>
                    <a:lnTo>
                      <a:pt x="566" y="730"/>
                    </a:lnTo>
                    <a:lnTo>
                      <a:pt x="568" y="730"/>
                    </a:lnTo>
                    <a:lnTo>
                      <a:pt x="569" y="732"/>
                    </a:lnTo>
                    <a:lnTo>
                      <a:pt x="571" y="732"/>
                    </a:lnTo>
                    <a:lnTo>
                      <a:pt x="571" y="733"/>
                    </a:lnTo>
                    <a:lnTo>
                      <a:pt x="572" y="733"/>
                    </a:lnTo>
                    <a:lnTo>
                      <a:pt x="574" y="735"/>
                    </a:lnTo>
                    <a:lnTo>
                      <a:pt x="575" y="735"/>
                    </a:lnTo>
                    <a:lnTo>
                      <a:pt x="575" y="736"/>
                    </a:lnTo>
                    <a:lnTo>
                      <a:pt x="577" y="736"/>
                    </a:lnTo>
                    <a:lnTo>
                      <a:pt x="579" y="738"/>
                    </a:lnTo>
                    <a:lnTo>
                      <a:pt x="579" y="739"/>
                    </a:lnTo>
                    <a:lnTo>
                      <a:pt x="580" y="739"/>
                    </a:lnTo>
                    <a:lnTo>
                      <a:pt x="582" y="741"/>
                    </a:lnTo>
                    <a:lnTo>
                      <a:pt x="583" y="741"/>
                    </a:lnTo>
                    <a:lnTo>
                      <a:pt x="583" y="743"/>
                    </a:lnTo>
                    <a:lnTo>
                      <a:pt x="585" y="743"/>
                    </a:lnTo>
                    <a:lnTo>
                      <a:pt x="585" y="744"/>
                    </a:lnTo>
                    <a:lnTo>
                      <a:pt x="587" y="744"/>
                    </a:lnTo>
                    <a:lnTo>
                      <a:pt x="588" y="746"/>
                    </a:lnTo>
                    <a:lnTo>
                      <a:pt x="588" y="747"/>
                    </a:lnTo>
                    <a:lnTo>
                      <a:pt x="590" y="747"/>
                    </a:lnTo>
                    <a:lnTo>
                      <a:pt x="591" y="749"/>
                    </a:lnTo>
                    <a:lnTo>
                      <a:pt x="593" y="751"/>
                    </a:lnTo>
                    <a:lnTo>
                      <a:pt x="594" y="751"/>
                    </a:lnTo>
                    <a:lnTo>
                      <a:pt x="594" y="752"/>
                    </a:lnTo>
                    <a:lnTo>
                      <a:pt x="596" y="752"/>
                    </a:lnTo>
                    <a:lnTo>
                      <a:pt x="598" y="754"/>
                    </a:lnTo>
                    <a:lnTo>
                      <a:pt x="599" y="755"/>
                    </a:lnTo>
                    <a:lnTo>
                      <a:pt x="601" y="755"/>
                    </a:lnTo>
                    <a:lnTo>
                      <a:pt x="602" y="757"/>
                    </a:lnTo>
                    <a:lnTo>
                      <a:pt x="604" y="757"/>
                    </a:lnTo>
                    <a:lnTo>
                      <a:pt x="604" y="758"/>
                    </a:lnTo>
                    <a:lnTo>
                      <a:pt x="606" y="758"/>
                    </a:lnTo>
                    <a:lnTo>
                      <a:pt x="606" y="760"/>
                    </a:lnTo>
                    <a:lnTo>
                      <a:pt x="607" y="760"/>
                    </a:lnTo>
                    <a:lnTo>
                      <a:pt x="609" y="760"/>
                    </a:lnTo>
                    <a:lnTo>
                      <a:pt x="609" y="762"/>
                    </a:lnTo>
                    <a:lnTo>
                      <a:pt x="610" y="762"/>
                    </a:lnTo>
                    <a:lnTo>
                      <a:pt x="610" y="763"/>
                    </a:lnTo>
                    <a:lnTo>
                      <a:pt x="612" y="763"/>
                    </a:lnTo>
                    <a:lnTo>
                      <a:pt x="613" y="765"/>
                    </a:lnTo>
                    <a:lnTo>
                      <a:pt x="613" y="766"/>
                    </a:lnTo>
                    <a:lnTo>
                      <a:pt x="615" y="766"/>
                    </a:lnTo>
                    <a:lnTo>
                      <a:pt x="617" y="768"/>
                    </a:lnTo>
                    <a:lnTo>
                      <a:pt x="618" y="770"/>
                    </a:lnTo>
                    <a:lnTo>
                      <a:pt x="618" y="771"/>
                    </a:lnTo>
                    <a:lnTo>
                      <a:pt x="620" y="771"/>
                    </a:lnTo>
                    <a:lnTo>
                      <a:pt x="620" y="773"/>
                    </a:lnTo>
                    <a:lnTo>
                      <a:pt x="620" y="774"/>
                    </a:lnTo>
                    <a:lnTo>
                      <a:pt x="621" y="774"/>
                    </a:lnTo>
                    <a:lnTo>
                      <a:pt x="621" y="776"/>
                    </a:lnTo>
                    <a:lnTo>
                      <a:pt x="621" y="777"/>
                    </a:lnTo>
                    <a:lnTo>
                      <a:pt x="621" y="779"/>
                    </a:lnTo>
                    <a:lnTo>
                      <a:pt x="621" y="781"/>
                    </a:lnTo>
                    <a:lnTo>
                      <a:pt x="621" y="782"/>
                    </a:lnTo>
                    <a:lnTo>
                      <a:pt x="621" y="784"/>
                    </a:lnTo>
                    <a:lnTo>
                      <a:pt x="621" y="785"/>
                    </a:lnTo>
                    <a:lnTo>
                      <a:pt x="621" y="787"/>
                    </a:lnTo>
                    <a:lnTo>
                      <a:pt x="621" y="789"/>
                    </a:lnTo>
                    <a:lnTo>
                      <a:pt x="621" y="790"/>
                    </a:lnTo>
                    <a:lnTo>
                      <a:pt x="620" y="792"/>
                    </a:lnTo>
                    <a:lnTo>
                      <a:pt x="620" y="793"/>
                    </a:lnTo>
                    <a:lnTo>
                      <a:pt x="620" y="795"/>
                    </a:lnTo>
                    <a:lnTo>
                      <a:pt x="621" y="796"/>
                    </a:lnTo>
                    <a:lnTo>
                      <a:pt x="621" y="798"/>
                    </a:lnTo>
                    <a:lnTo>
                      <a:pt x="620" y="800"/>
                    </a:lnTo>
                    <a:lnTo>
                      <a:pt x="620" y="801"/>
                    </a:lnTo>
                    <a:lnTo>
                      <a:pt x="618" y="801"/>
                    </a:lnTo>
                    <a:lnTo>
                      <a:pt x="617" y="801"/>
                    </a:lnTo>
                    <a:lnTo>
                      <a:pt x="617" y="803"/>
                    </a:lnTo>
                    <a:lnTo>
                      <a:pt x="615" y="803"/>
                    </a:lnTo>
                    <a:lnTo>
                      <a:pt x="613" y="803"/>
                    </a:lnTo>
                    <a:lnTo>
                      <a:pt x="612" y="804"/>
                    </a:lnTo>
                    <a:lnTo>
                      <a:pt x="610" y="804"/>
                    </a:lnTo>
                    <a:lnTo>
                      <a:pt x="610" y="806"/>
                    </a:lnTo>
                    <a:lnTo>
                      <a:pt x="609" y="806"/>
                    </a:lnTo>
                    <a:lnTo>
                      <a:pt x="607" y="808"/>
                    </a:lnTo>
                    <a:lnTo>
                      <a:pt x="606" y="809"/>
                    </a:lnTo>
                    <a:lnTo>
                      <a:pt x="604" y="811"/>
                    </a:lnTo>
                    <a:lnTo>
                      <a:pt x="604" y="812"/>
                    </a:lnTo>
                    <a:lnTo>
                      <a:pt x="602" y="812"/>
                    </a:lnTo>
                    <a:lnTo>
                      <a:pt x="601" y="814"/>
                    </a:lnTo>
                    <a:lnTo>
                      <a:pt x="599" y="814"/>
                    </a:lnTo>
                    <a:lnTo>
                      <a:pt x="599" y="815"/>
                    </a:lnTo>
                    <a:lnTo>
                      <a:pt x="598" y="817"/>
                    </a:lnTo>
                    <a:lnTo>
                      <a:pt x="596" y="819"/>
                    </a:lnTo>
                    <a:lnTo>
                      <a:pt x="594" y="820"/>
                    </a:lnTo>
                    <a:lnTo>
                      <a:pt x="593" y="822"/>
                    </a:lnTo>
                    <a:lnTo>
                      <a:pt x="591" y="822"/>
                    </a:lnTo>
                    <a:lnTo>
                      <a:pt x="591" y="823"/>
                    </a:lnTo>
                    <a:lnTo>
                      <a:pt x="590" y="823"/>
                    </a:lnTo>
                    <a:lnTo>
                      <a:pt x="588" y="823"/>
                    </a:lnTo>
                    <a:lnTo>
                      <a:pt x="587" y="825"/>
                    </a:lnTo>
                    <a:lnTo>
                      <a:pt x="585" y="825"/>
                    </a:lnTo>
                    <a:lnTo>
                      <a:pt x="583" y="825"/>
                    </a:lnTo>
                    <a:lnTo>
                      <a:pt x="582" y="825"/>
                    </a:lnTo>
                    <a:lnTo>
                      <a:pt x="580" y="825"/>
                    </a:lnTo>
                    <a:lnTo>
                      <a:pt x="579" y="825"/>
                    </a:lnTo>
                    <a:lnTo>
                      <a:pt x="577" y="825"/>
                    </a:lnTo>
                    <a:lnTo>
                      <a:pt x="575" y="827"/>
                    </a:lnTo>
                    <a:lnTo>
                      <a:pt x="574" y="827"/>
                    </a:lnTo>
                    <a:lnTo>
                      <a:pt x="574" y="828"/>
                    </a:lnTo>
                    <a:lnTo>
                      <a:pt x="572" y="828"/>
                    </a:lnTo>
                    <a:lnTo>
                      <a:pt x="572" y="830"/>
                    </a:lnTo>
                    <a:lnTo>
                      <a:pt x="572" y="831"/>
                    </a:lnTo>
                    <a:lnTo>
                      <a:pt x="571" y="831"/>
                    </a:lnTo>
                    <a:lnTo>
                      <a:pt x="571" y="833"/>
                    </a:lnTo>
                    <a:lnTo>
                      <a:pt x="571" y="834"/>
                    </a:lnTo>
                    <a:lnTo>
                      <a:pt x="569" y="834"/>
                    </a:lnTo>
                    <a:lnTo>
                      <a:pt x="569" y="836"/>
                    </a:lnTo>
                    <a:lnTo>
                      <a:pt x="568" y="836"/>
                    </a:lnTo>
                    <a:lnTo>
                      <a:pt x="568" y="838"/>
                    </a:lnTo>
                    <a:lnTo>
                      <a:pt x="566" y="838"/>
                    </a:lnTo>
                    <a:lnTo>
                      <a:pt x="564" y="838"/>
                    </a:lnTo>
                    <a:lnTo>
                      <a:pt x="564" y="839"/>
                    </a:lnTo>
                    <a:lnTo>
                      <a:pt x="563" y="839"/>
                    </a:lnTo>
                    <a:lnTo>
                      <a:pt x="561" y="839"/>
                    </a:lnTo>
                    <a:lnTo>
                      <a:pt x="561" y="841"/>
                    </a:lnTo>
                    <a:lnTo>
                      <a:pt x="560" y="841"/>
                    </a:lnTo>
                    <a:lnTo>
                      <a:pt x="558" y="842"/>
                    </a:lnTo>
                    <a:lnTo>
                      <a:pt x="556" y="842"/>
                    </a:lnTo>
                    <a:lnTo>
                      <a:pt x="556" y="844"/>
                    </a:lnTo>
                    <a:lnTo>
                      <a:pt x="555" y="844"/>
                    </a:lnTo>
                    <a:lnTo>
                      <a:pt x="555" y="846"/>
                    </a:lnTo>
                    <a:lnTo>
                      <a:pt x="553" y="846"/>
                    </a:lnTo>
                    <a:lnTo>
                      <a:pt x="552" y="846"/>
                    </a:lnTo>
                    <a:lnTo>
                      <a:pt x="552" y="847"/>
                    </a:lnTo>
                    <a:lnTo>
                      <a:pt x="550" y="847"/>
                    </a:lnTo>
                    <a:lnTo>
                      <a:pt x="549" y="847"/>
                    </a:lnTo>
                    <a:lnTo>
                      <a:pt x="549" y="849"/>
                    </a:lnTo>
                    <a:lnTo>
                      <a:pt x="547" y="849"/>
                    </a:lnTo>
                    <a:lnTo>
                      <a:pt x="545" y="850"/>
                    </a:lnTo>
                    <a:lnTo>
                      <a:pt x="544" y="850"/>
                    </a:lnTo>
                    <a:lnTo>
                      <a:pt x="544" y="852"/>
                    </a:lnTo>
                    <a:lnTo>
                      <a:pt x="542" y="854"/>
                    </a:lnTo>
                    <a:lnTo>
                      <a:pt x="541" y="855"/>
                    </a:lnTo>
                    <a:lnTo>
                      <a:pt x="541" y="857"/>
                    </a:lnTo>
                    <a:lnTo>
                      <a:pt x="539" y="857"/>
                    </a:lnTo>
                    <a:lnTo>
                      <a:pt x="539" y="858"/>
                    </a:lnTo>
                    <a:lnTo>
                      <a:pt x="537" y="860"/>
                    </a:lnTo>
                    <a:lnTo>
                      <a:pt x="536" y="861"/>
                    </a:lnTo>
                    <a:lnTo>
                      <a:pt x="534" y="863"/>
                    </a:lnTo>
                    <a:lnTo>
                      <a:pt x="533" y="865"/>
                    </a:lnTo>
                    <a:lnTo>
                      <a:pt x="531" y="866"/>
                    </a:lnTo>
                    <a:lnTo>
                      <a:pt x="530" y="868"/>
                    </a:lnTo>
                    <a:lnTo>
                      <a:pt x="528" y="869"/>
                    </a:lnTo>
                    <a:lnTo>
                      <a:pt x="526" y="869"/>
                    </a:lnTo>
                    <a:lnTo>
                      <a:pt x="526" y="871"/>
                    </a:lnTo>
                    <a:lnTo>
                      <a:pt x="525" y="871"/>
                    </a:lnTo>
                    <a:lnTo>
                      <a:pt x="525" y="873"/>
                    </a:lnTo>
                    <a:lnTo>
                      <a:pt x="523" y="873"/>
                    </a:lnTo>
                    <a:lnTo>
                      <a:pt x="522" y="874"/>
                    </a:lnTo>
                    <a:lnTo>
                      <a:pt x="520" y="874"/>
                    </a:lnTo>
                    <a:lnTo>
                      <a:pt x="518" y="874"/>
                    </a:lnTo>
                    <a:lnTo>
                      <a:pt x="518" y="876"/>
                    </a:lnTo>
                    <a:lnTo>
                      <a:pt x="517" y="876"/>
                    </a:lnTo>
                    <a:lnTo>
                      <a:pt x="517" y="877"/>
                    </a:lnTo>
                    <a:lnTo>
                      <a:pt x="515" y="877"/>
                    </a:lnTo>
                    <a:lnTo>
                      <a:pt x="515" y="879"/>
                    </a:lnTo>
                    <a:lnTo>
                      <a:pt x="514" y="879"/>
                    </a:lnTo>
                    <a:lnTo>
                      <a:pt x="512" y="882"/>
                    </a:lnTo>
                    <a:lnTo>
                      <a:pt x="511" y="882"/>
                    </a:lnTo>
                    <a:lnTo>
                      <a:pt x="509" y="884"/>
                    </a:lnTo>
                    <a:lnTo>
                      <a:pt x="507" y="884"/>
                    </a:lnTo>
                    <a:lnTo>
                      <a:pt x="507" y="885"/>
                    </a:lnTo>
                    <a:lnTo>
                      <a:pt x="506" y="885"/>
                    </a:lnTo>
                    <a:lnTo>
                      <a:pt x="504" y="885"/>
                    </a:lnTo>
                    <a:lnTo>
                      <a:pt x="504" y="887"/>
                    </a:lnTo>
                    <a:lnTo>
                      <a:pt x="503" y="887"/>
                    </a:lnTo>
                    <a:lnTo>
                      <a:pt x="501" y="887"/>
                    </a:lnTo>
                    <a:lnTo>
                      <a:pt x="499" y="887"/>
                    </a:lnTo>
                    <a:lnTo>
                      <a:pt x="498" y="887"/>
                    </a:lnTo>
                    <a:lnTo>
                      <a:pt x="496" y="887"/>
                    </a:lnTo>
                    <a:lnTo>
                      <a:pt x="495" y="888"/>
                    </a:lnTo>
                    <a:lnTo>
                      <a:pt x="493" y="888"/>
                    </a:lnTo>
                    <a:lnTo>
                      <a:pt x="493" y="890"/>
                    </a:lnTo>
                    <a:lnTo>
                      <a:pt x="491" y="890"/>
                    </a:lnTo>
                    <a:lnTo>
                      <a:pt x="491" y="892"/>
                    </a:lnTo>
                    <a:lnTo>
                      <a:pt x="490" y="892"/>
                    </a:lnTo>
                    <a:lnTo>
                      <a:pt x="490" y="893"/>
                    </a:lnTo>
                    <a:lnTo>
                      <a:pt x="488" y="893"/>
                    </a:lnTo>
                    <a:lnTo>
                      <a:pt x="488" y="895"/>
                    </a:lnTo>
                    <a:lnTo>
                      <a:pt x="487" y="895"/>
                    </a:lnTo>
                    <a:lnTo>
                      <a:pt x="487" y="896"/>
                    </a:lnTo>
                    <a:lnTo>
                      <a:pt x="485" y="896"/>
                    </a:lnTo>
                    <a:lnTo>
                      <a:pt x="485" y="898"/>
                    </a:lnTo>
                    <a:lnTo>
                      <a:pt x="485" y="899"/>
                    </a:lnTo>
                    <a:lnTo>
                      <a:pt x="485" y="901"/>
                    </a:lnTo>
                    <a:lnTo>
                      <a:pt x="487" y="901"/>
                    </a:lnTo>
                    <a:lnTo>
                      <a:pt x="487" y="903"/>
                    </a:lnTo>
                    <a:lnTo>
                      <a:pt x="487" y="904"/>
                    </a:lnTo>
                    <a:lnTo>
                      <a:pt x="487" y="906"/>
                    </a:lnTo>
                    <a:lnTo>
                      <a:pt x="485" y="907"/>
                    </a:lnTo>
                    <a:lnTo>
                      <a:pt x="484" y="909"/>
                    </a:lnTo>
                    <a:lnTo>
                      <a:pt x="482" y="911"/>
                    </a:lnTo>
                    <a:lnTo>
                      <a:pt x="480" y="911"/>
                    </a:lnTo>
                    <a:lnTo>
                      <a:pt x="479" y="911"/>
                    </a:lnTo>
                    <a:lnTo>
                      <a:pt x="477" y="911"/>
                    </a:lnTo>
                    <a:lnTo>
                      <a:pt x="477" y="912"/>
                    </a:lnTo>
                    <a:lnTo>
                      <a:pt x="476" y="912"/>
                    </a:lnTo>
                    <a:lnTo>
                      <a:pt x="474" y="914"/>
                    </a:lnTo>
                    <a:lnTo>
                      <a:pt x="472" y="914"/>
                    </a:lnTo>
                    <a:lnTo>
                      <a:pt x="472" y="915"/>
                    </a:lnTo>
                    <a:lnTo>
                      <a:pt x="471" y="915"/>
                    </a:lnTo>
                    <a:lnTo>
                      <a:pt x="471" y="917"/>
                    </a:lnTo>
                    <a:lnTo>
                      <a:pt x="469" y="918"/>
                    </a:lnTo>
                    <a:lnTo>
                      <a:pt x="469" y="920"/>
                    </a:lnTo>
                    <a:lnTo>
                      <a:pt x="468" y="922"/>
                    </a:lnTo>
                    <a:lnTo>
                      <a:pt x="466" y="923"/>
                    </a:lnTo>
                    <a:lnTo>
                      <a:pt x="465" y="923"/>
                    </a:lnTo>
                    <a:lnTo>
                      <a:pt x="463" y="923"/>
                    </a:lnTo>
                    <a:lnTo>
                      <a:pt x="461" y="923"/>
                    </a:lnTo>
                    <a:lnTo>
                      <a:pt x="461" y="925"/>
                    </a:lnTo>
                    <a:lnTo>
                      <a:pt x="460" y="925"/>
                    </a:lnTo>
                    <a:lnTo>
                      <a:pt x="458" y="925"/>
                    </a:lnTo>
                    <a:lnTo>
                      <a:pt x="457" y="925"/>
                    </a:lnTo>
                    <a:lnTo>
                      <a:pt x="455" y="925"/>
                    </a:lnTo>
                    <a:lnTo>
                      <a:pt x="453" y="926"/>
                    </a:lnTo>
                    <a:lnTo>
                      <a:pt x="452" y="926"/>
                    </a:lnTo>
                    <a:lnTo>
                      <a:pt x="450" y="926"/>
                    </a:lnTo>
                    <a:lnTo>
                      <a:pt x="449" y="926"/>
                    </a:lnTo>
                    <a:lnTo>
                      <a:pt x="447" y="926"/>
                    </a:lnTo>
                    <a:lnTo>
                      <a:pt x="447" y="928"/>
                    </a:lnTo>
                    <a:lnTo>
                      <a:pt x="446" y="928"/>
                    </a:lnTo>
                    <a:lnTo>
                      <a:pt x="444" y="928"/>
                    </a:lnTo>
                    <a:lnTo>
                      <a:pt x="444" y="930"/>
                    </a:lnTo>
                    <a:lnTo>
                      <a:pt x="442" y="930"/>
                    </a:lnTo>
                    <a:lnTo>
                      <a:pt x="441" y="931"/>
                    </a:lnTo>
                    <a:lnTo>
                      <a:pt x="439" y="931"/>
                    </a:lnTo>
                    <a:lnTo>
                      <a:pt x="439" y="933"/>
                    </a:lnTo>
                    <a:lnTo>
                      <a:pt x="438" y="934"/>
                    </a:lnTo>
                    <a:lnTo>
                      <a:pt x="436" y="934"/>
                    </a:lnTo>
                    <a:lnTo>
                      <a:pt x="436" y="936"/>
                    </a:lnTo>
                    <a:lnTo>
                      <a:pt x="434" y="936"/>
                    </a:lnTo>
                    <a:lnTo>
                      <a:pt x="433" y="937"/>
                    </a:lnTo>
                    <a:lnTo>
                      <a:pt x="431" y="937"/>
                    </a:lnTo>
                    <a:lnTo>
                      <a:pt x="430" y="937"/>
                    </a:lnTo>
                    <a:lnTo>
                      <a:pt x="428" y="937"/>
                    </a:lnTo>
                    <a:lnTo>
                      <a:pt x="428" y="939"/>
                    </a:lnTo>
                    <a:lnTo>
                      <a:pt x="428" y="941"/>
                    </a:lnTo>
                    <a:lnTo>
                      <a:pt x="430" y="941"/>
                    </a:lnTo>
                    <a:lnTo>
                      <a:pt x="431" y="942"/>
                    </a:lnTo>
                    <a:lnTo>
                      <a:pt x="433" y="944"/>
                    </a:lnTo>
                    <a:lnTo>
                      <a:pt x="433" y="947"/>
                    </a:lnTo>
                    <a:lnTo>
                      <a:pt x="434" y="947"/>
                    </a:lnTo>
                    <a:lnTo>
                      <a:pt x="436" y="949"/>
                    </a:lnTo>
                    <a:lnTo>
                      <a:pt x="438" y="950"/>
                    </a:lnTo>
                    <a:lnTo>
                      <a:pt x="439" y="950"/>
                    </a:lnTo>
                    <a:lnTo>
                      <a:pt x="439" y="952"/>
                    </a:lnTo>
                    <a:lnTo>
                      <a:pt x="441" y="952"/>
                    </a:lnTo>
                    <a:lnTo>
                      <a:pt x="441" y="953"/>
                    </a:lnTo>
                    <a:lnTo>
                      <a:pt x="441" y="955"/>
                    </a:lnTo>
                    <a:lnTo>
                      <a:pt x="441" y="956"/>
                    </a:lnTo>
                    <a:lnTo>
                      <a:pt x="442" y="958"/>
                    </a:lnTo>
                    <a:lnTo>
                      <a:pt x="444" y="958"/>
                    </a:lnTo>
                    <a:lnTo>
                      <a:pt x="446" y="958"/>
                    </a:lnTo>
                    <a:lnTo>
                      <a:pt x="447" y="958"/>
                    </a:lnTo>
                    <a:lnTo>
                      <a:pt x="449" y="958"/>
                    </a:lnTo>
                    <a:lnTo>
                      <a:pt x="450" y="960"/>
                    </a:lnTo>
                    <a:lnTo>
                      <a:pt x="450" y="961"/>
                    </a:lnTo>
                    <a:lnTo>
                      <a:pt x="450" y="963"/>
                    </a:lnTo>
                    <a:lnTo>
                      <a:pt x="450" y="964"/>
                    </a:lnTo>
                    <a:lnTo>
                      <a:pt x="452" y="966"/>
                    </a:lnTo>
                    <a:lnTo>
                      <a:pt x="450" y="968"/>
                    </a:lnTo>
                    <a:lnTo>
                      <a:pt x="450" y="969"/>
                    </a:lnTo>
                    <a:lnTo>
                      <a:pt x="449" y="969"/>
                    </a:lnTo>
                    <a:lnTo>
                      <a:pt x="449" y="971"/>
                    </a:lnTo>
                    <a:lnTo>
                      <a:pt x="450" y="972"/>
                    </a:lnTo>
                    <a:lnTo>
                      <a:pt x="449" y="972"/>
                    </a:lnTo>
                    <a:lnTo>
                      <a:pt x="449" y="971"/>
                    </a:lnTo>
                    <a:lnTo>
                      <a:pt x="447" y="972"/>
                    </a:lnTo>
                    <a:lnTo>
                      <a:pt x="449" y="972"/>
                    </a:lnTo>
                    <a:lnTo>
                      <a:pt x="449" y="974"/>
                    </a:lnTo>
                    <a:lnTo>
                      <a:pt x="449" y="975"/>
                    </a:lnTo>
                    <a:lnTo>
                      <a:pt x="447" y="975"/>
                    </a:lnTo>
                    <a:lnTo>
                      <a:pt x="447" y="977"/>
                    </a:lnTo>
                    <a:lnTo>
                      <a:pt x="449" y="977"/>
                    </a:lnTo>
                    <a:lnTo>
                      <a:pt x="449" y="979"/>
                    </a:lnTo>
                    <a:lnTo>
                      <a:pt x="449" y="980"/>
                    </a:lnTo>
                    <a:lnTo>
                      <a:pt x="449" y="982"/>
                    </a:lnTo>
                    <a:lnTo>
                      <a:pt x="447" y="982"/>
                    </a:lnTo>
                    <a:lnTo>
                      <a:pt x="447" y="983"/>
                    </a:lnTo>
                    <a:lnTo>
                      <a:pt x="447" y="985"/>
                    </a:lnTo>
                    <a:lnTo>
                      <a:pt x="447" y="987"/>
                    </a:lnTo>
                    <a:lnTo>
                      <a:pt x="449" y="987"/>
                    </a:lnTo>
                    <a:lnTo>
                      <a:pt x="450" y="987"/>
                    </a:lnTo>
                    <a:lnTo>
                      <a:pt x="452" y="988"/>
                    </a:lnTo>
                    <a:lnTo>
                      <a:pt x="452" y="990"/>
                    </a:lnTo>
                    <a:lnTo>
                      <a:pt x="452" y="991"/>
                    </a:lnTo>
                    <a:lnTo>
                      <a:pt x="453" y="991"/>
                    </a:lnTo>
                    <a:lnTo>
                      <a:pt x="455" y="991"/>
                    </a:lnTo>
                    <a:lnTo>
                      <a:pt x="453" y="993"/>
                    </a:lnTo>
                    <a:lnTo>
                      <a:pt x="455" y="993"/>
                    </a:lnTo>
                    <a:lnTo>
                      <a:pt x="457" y="993"/>
                    </a:lnTo>
                    <a:lnTo>
                      <a:pt x="457" y="994"/>
                    </a:lnTo>
                    <a:lnTo>
                      <a:pt x="458" y="994"/>
                    </a:lnTo>
                    <a:lnTo>
                      <a:pt x="458" y="996"/>
                    </a:lnTo>
                    <a:lnTo>
                      <a:pt x="458" y="998"/>
                    </a:lnTo>
                    <a:lnTo>
                      <a:pt x="457" y="999"/>
                    </a:lnTo>
                    <a:lnTo>
                      <a:pt x="458" y="999"/>
                    </a:lnTo>
                    <a:lnTo>
                      <a:pt x="460" y="999"/>
                    </a:lnTo>
                    <a:lnTo>
                      <a:pt x="460" y="1001"/>
                    </a:lnTo>
                    <a:lnTo>
                      <a:pt x="461" y="1001"/>
                    </a:lnTo>
                    <a:lnTo>
                      <a:pt x="461" y="1002"/>
                    </a:lnTo>
                    <a:lnTo>
                      <a:pt x="463" y="1002"/>
                    </a:lnTo>
                    <a:lnTo>
                      <a:pt x="461" y="1004"/>
                    </a:lnTo>
                    <a:lnTo>
                      <a:pt x="463" y="1004"/>
                    </a:lnTo>
                    <a:lnTo>
                      <a:pt x="463" y="1006"/>
                    </a:lnTo>
                    <a:lnTo>
                      <a:pt x="463" y="1007"/>
                    </a:lnTo>
                    <a:lnTo>
                      <a:pt x="465" y="1007"/>
                    </a:lnTo>
                    <a:lnTo>
                      <a:pt x="465" y="1006"/>
                    </a:lnTo>
                    <a:lnTo>
                      <a:pt x="465" y="1007"/>
                    </a:lnTo>
                    <a:lnTo>
                      <a:pt x="465" y="1009"/>
                    </a:lnTo>
                    <a:lnTo>
                      <a:pt x="466" y="1010"/>
                    </a:lnTo>
                    <a:lnTo>
                      <a:pt x="465" y="1010"/>
                    </a:lnTo>
                    <a:lnTo>
                      <a:pt x="465" y="1012"/>
                    </a:lnTo>
                    <a:lnTo>
                      <a:pt x="465" y="1013"/>
                    </a:lnTo>
                    <a:lnTo>
                      <a:pt x="465" y="1015"/>
                    </a:lnTo>
                    <a:lnTo>
                      <a:pt x="465" y="1017"/>
                    </a:lnTo>
                    <a:lnTo>
                      <a:pt x="463" y="1018"/>
                    </a:lnTo>
                    <a:lnTo>
                      <a:pt x="461" y="1018"/>
                    </a:lnTo>
                    <a:lnTo>
                      <a:pt x="461" y="1020"/>
                    </a:lnTo>
                    <a:lnTo>
                      <a:pt x="461" y="1021"/>
                    </a:lnTo>
                    <a:lnTo>
                      <a:pt x="460" y="1021"/>
                    </a:lnTo>
                    <a:lnTo>
                      <a:pt x="460" y="1023"/>
                    </a:lnTo>
                    <a:lnTo>
                      <a:pt x="460" y="1025"/>
                    </a:lnTo>
                    <a:lnTo>
                      <a:pt x="460" y="1026"/>
                    </a:lnTo>
                    <a:lnTo>
                      <a:pt x="461" y="1026"/>
                    </a:lnTo>
                    <a:lnTo>
                      <a:pt x="461" y="1029"/>
                    </a:lnTo>
                    <a:lnTo>
                      <a:pt x="460" y="1029"/>
                    </a:lnTo>
                    <a:lnTo>
                      <a:pt x="458" y="1029"/>
                    </a:lnTo>
                    <a:lnTo>
                      <a:pt x="458" y="1031"/>
                    </a:lnTo>
                    <a:lnTo>
                      <a:pt x="457" y="1033"/>
                    </a:lnTo>
                    <a:lnTo>
                      <a:pt x="457" y="1034"/>
                    </a:lnTo>
                    <a:lnTo>
                      <a:pt x="455" y="1036"/>
                    </a:lnTo>
                    <a:lnTo>
                      <a:pt x="455" y="1037"/>
                    </a:lnTo>
                    <a:lnTo>
                      <a:pt x="453" y="1039"/>
                    </a:lnTo>
                    <a:lnTo>
                      <a:pt x="455" y="1039"/>
                    </a:lnTo>
                    <a:lnTo>
                      <a:pt x="453" y="1040"/>
                    </a:lnTo>
                    <a:lnTo>
                      <a:pt x="452" y="1042"/>
                    </a:lnTo>
                    <a:lnTo>
                      <a:pt x="450" y="1044"/>
                    </a:lnTo>
                    <a:lnTo>
                      <a:pt x="450" y="1045"/>
                    </a:lnTo>
                    <a:lnTo>
                      <a:pt x="449" y="1047"/>
                    </a:lnTo>
                    <a:lnTo>
                      <a:pt x="447" y="1047"/>
                    </a:lnTo>
                    <a:lnTo>
                      <a:pt x="446" y="1048"/>
                    </a:lnTo>
                    <a:lnTo>
                      <a:pt x="446" y="1050"/>
                    </a:lnTo>
                    <a:lnTo>
                      <a:pt x="444" y="1050"/>
                    </a:lnTo>
                    <a:lnTo>
                      <a:pt x="442" y="1052"/>
                    </a:lnTo>
                    <a:lnTo>
                      <a:pt x="442" y="1053"/>
                    </a:lnTo>
                    <a:lnTo>
                      <a:pt x="442" y="1055"/>
                    </a:lnTo>
                    <a:lnTo>
                      <a:pt x="441" y="1055"/>
                    </a:lnTo>
                    <a:lnTo>
                      <a:pt x="441" y="1056"/>
                    </a:lnTo>
                    <a:lnTo>
                      <a:pt x="441" y="1058"/>
                    </a:lnTo>
                    <a:lnTo>
                      <a:pt x="441" y="1059"/>
                    </a:lnTo>
                    <a:lnTo>
                      <a:pt x="439" y="1058"/>
                    </a:lnTo>
                    <a:lnTo>
                      <a:pt x="438" y="1058"/>
                    </a:lnTo>
                    <a:lnTo>
                      <a:pt x="438" y="1059"/>
                    </a:lnTo>
                    <a:lnTo>
                      <a:pt x="438" y="1061"/>
                    </a:lnTo>
                    <a:lnTo>
                      <a:pt x="439" y="1063"/>
                    </a:lnTo>
                    <a:lnTo>
                      <a:pt x="438" y="1063"/>
                    </a:lnTo>
                    <a:lnTo>
                      <a:pt x="436" y="1063"/>
                    </a:lnTo>
                    <a:lnTo>
                      <a:pt x="436" y="1064"/>
                    </a:lnTo>
                    <a:lnTo>
                      <a:pt x="438" y="1064"/>
                    </a:lnTo>
                    <a:lnTo>
                      <a:pt x="438" y="1066"/>
                    </a:lnTo>
                    <a:lnTo>
                      <a:pt x="438" y="1067"/>
                    </a:lnTo>
                    <a:lnTo>
                      <a:pt x="436" y="1067"/>
                    </a:lnTo>
                    <a:lnTo>
                      <a:pt x="434" y="1069"/>
                    </a:lnTo>
                    <a:lnTo>
                      <a:pt x="433" y="1069"/>
                    </a:lnTo>
                    <a:lnTo>
                      <a:pt x="433" y="1067"/>
                    </a:lnTo>
                    <a:lnTo>
                      <a:pt x="431" y="1069"/>
                    </a:lnTo>
                    <a:lnTo>
                      <a:pt x="433" y="1069"/>
                    </a:lnTo>
                    <a:lnTo>
                      <a:pt x="433" y="1071"/>
                    </a:lnTo>
                    <a:lnTo>
                      <a:pt x="433" y="1072"/>
                    </a:lnTo>
                    <a:lnTo>
                      <a:pt x="433" y="1074"/>
                    </a:lnTo>
                    <a:lnTo>
                      <a:pt x="431" y="1074"/>
                    </a:lnTo>
                    <a:lnTo>
                      <a:pt x="431" y="1075"/>
                    </a:lnTo>
                    <a:lnTo>
                      <a:pt x="433" y="1075"/>
                    </a:lnTo>
                    <a:lnTo>
                      <a:pt x="433" y="1077"/>
                    </a:lnTo>
                    <a:lnTo>
                      <a:pt x="431" y="1077"/>
                    </a:lnTo>
                    <a:lnTo>
                      <a:pt x="430" y="1077"/>
                    </a:lnTo>
                    <a:lnTo>
                      <a:pt x="430" y="1078"/>
                    </a:lnTo>
                    <a:lnTo>
                      <a:pt x="428" y="1078"/>
                    </a:lnTo>
                    <a:lnTo>
                      <a:pt x="428" y="1077"/>
                    </a:lnTo>
                    <a:lnTo>
                      <a:pt x="427" y="1077"/>
                    </a:lnTo>
                    <a:lnTo>
                      <a:pt x="425" y="1077"/>
                    </a:lnTo>
                    <a:lnTo>
                      <a:pt x="423" y="1077"/>
                    </a:lnTo>
                    <a:lnTo>
                      <a:pt x="423" y="1075"/>
                    </a:lnTo>
                    <a:lnTo>
                      <a:pt x="422" y="1075"/>
                    </a:lnTo>
                    <a:lnTo>
                      <a:pt x="420" y="1075"/>
                    </a:lnTo>
                    <a:lnTo>
                      <a:pt x="422" y="1074"/>
                    </a:lnTo>
                    <a:lnTo>
                      <a:pt x="422" y="1072"/>
                    </a:lnTo>
                    <a:lnTo>
                      <a:pt x="420" y="1072"/>
                    </a:lnTo>
                    <a:lnTo>
                      <a:pt x="420" y="1074"/>
                    </a:lnTo>
                    <a:lnTo>
                      <a:pt x="420" y="1075"/>
                    </a:lnTo>
                    <a:lnTo>
                      <a:pt x="419" y="1075"/>
                    </a:lnTo>
                    <a:lnTo>
                      <a:pt x="417" y="1075"/>
                    </a:lnTo>
                    <a:lnTo>
                      <a:pt x="417" y="1077"/>
                    </a:lnTo>
                    <a:lnTo>
                      <a:pt x="415" y="1078"/>
                    </a:lnTo>
                    <a:lnTo>
                      <a:pt x="414" y="1078"/>
                    </a:lnTo>
                    <a:lnTo>
                      <a:pt x="412" y="1077"/>
                    </a:lnTo>
                    <a:lnTo>
                      <a:pt x="412" y="1075"/>
                    </a:lnTo>
                    <a:lnTo>
                      <a:pt x="411" y="1077"/>
                    </a:lnTo>
                    <a:lnTo>
                      <a:pt x="409" y="1077"/>
                    </a:lnTo>
                    <a:lnTo>
                      <a:pt x="409" y="1078"/>
                    </a:lnTo>
                    <a:lnTo>
                      <a:pt x="408" y="1078"/>
                    </a:lnTo>
                    <a:lnTo>
                      <a:pt x="406" y="1080"/>
                    </a:lnTo>
                    <a:lnTo>
                      <a:pt x="406" y="1078"/>
                    </a:lnTo>
                    <a:lnTo>
                      <a:pt x="404" y="1078"/>
                    </a:lnTo>
                    <a:lnTo>
                      <a:pt x="404" y="1077"/>
                    </a:lnTo>
                    <a:lnTo>
                      <a:pt x="403" y="1078"/>
                    </a:lnTo>
                    <a:lnTo>
                      <a:pt x="401" y="1078"/>
                    </a:lnTo>
                    <a:lnTo>
                      <a:pt x="400" y="1078"/>
                    </a:lnTo>
                    <a:lnTo>
                      <a:pt x="400" y="1080"/>
                    </a:lnTo>
                    <a:lnTo>
                      <a:pt x="398" y="1080"/>
                    </a:lnTo>
                    <a:lnTo>
                      <a:pt x="396" y="1080"/>
                    </a:lnTo>
                    <a:lnTo>
                      <a:pt x="396" y="1082"/>
                    </a:lnTo>
                    <a:lnTo>
                      <a:pt x="396" y="1083"/>
                    </a:lnTo>
                    <a:lnTo>
                      <a:pt x="395" y="1083"/>
                    </a:lnTo>
                    <a:lnTo>
                      <a:pt x="395" y="1085"/>
                    </a:lnTo>
                    <a:lnTo>
                      <a:pt x="396" y="1086"/>
                    </a:lnTo>
                    <a:lnTo>
                      <a:pt x="398" y="1086"/>
                    </a:lnTo>
                    <a:lnTo>
                      <a:pt x="396" y="1088"/>
                    </a:lnTo>
                    <a:lnTo>
                      <a:pt x="396" y="1090"/>
                    </a:lnTo>
                    <a:lnTo>
                      <a:pt x="395" y="1090"/>
                    </a:lnTo>
                    <a:lnTo>
                      <a:pt x="395" y="1091"/>
                    </a:lnTo>
                    <a:lnTo>
                      <a:pt x="395" y="1093"/>
                    </a:lnTo>
                    <a:lnTo>
                      <a:pt x="395" y="1094"/>
                    </a:lnTo>
                    <a:lnTo>
                      <a:pt x="393" y="1094"/>
                    </a:lnTo>
                    <a:lnTo>
                      <a:pt x="393" y="1096"/>
                    </a:lnTo>
                    <a:lnTo>
                      <a:pt x="393" y="1097"/>
                    </a:lnTo>
                    <a:lnTo>
                      <a:pt x="393" y="1099"/>
                    </a:lnTo>
                    <a:lnTo>
                      <a:pt x="392" y="1097"/>
                    </a:lnTo>
                    <a:lnTo>
                      <a:pt x="392" y="1096"/>
                    </a:lnTo>
                    <a:lnTo>
                      <a:pt x="390" y="1097"/>
                    </a:lnTo>
                    <a:lnTo>
                      <a:pt x="390" y="1099"/>
                    </a:lnTo>
                    <a:lnTo>
                      <a:pt x="390" y="1101"/>
                    </a:lnTo>
                    <a:lnTo>
                      <a:pt x="390" y="1102"/>
                    </a:lnTo>
                    <a:lnTo>
                      <a:pt x="390" y="1104"/>
                    </a:lnTo>
                    <a:lnTo>
                      <a:pt x="389" y="1104"/>
                    </a:lnTo>
                    <a:lnTo>
                      <a:pt x="389" y="1105"/>
                    </a:lnTo>
                    <a:lnTo>
                      <a:pt x="390" y="1105"/>
                    </a:lnTo>
                    <a:lnTo>
                      <a:pt x="390" y="1107"/>
                    </a:lnTo>
                    <a:lnTo>
                      <a:pt x="390" y="1109"/>
                    </a:lnTo>
                    <a:lnTo>
                      <a:pt x="392" y="1109"/>
                    </a:lnTo>
                    <a:lnTo>
                      <a:pt x="393" y="1109"/>
                    </a:lnTo>
                    <a:lnTo>
                      <a:pt x="393" y="1107"/>
                    </a:lnTo>
                    <a:lnTo>
                      <a:pt x="393" y="1105"/>
                    </a:lnTo>
                    <a:lnTo>
                      <a:pt x="393" y="1104"/>
                    </a:lnTo>
                    <a:lnTo>
                      <a:pt x="393" y="1105"/>
                    </a:lnTo>
                    <a:lnTo>
                      <a:pt x="393" y="1107"/>
                    </a:lnTo>
                    <a:lnTo>
                      <a:pt x="395" y="1107"/>
                    </a:lnTo>
                    <a:lnTo>
                      <a:pt x="395" y="1109"/>
                    </a:lnTo>
                    <a:lnTo>
                      <a:pt x="395" y="1110"/>
                    </a:lnTo>
                    <a:lnTo>
                      <a:pt x="395" y="1112"/>
                    </a:lnTo>
                    <a:lnTo>
                      <a:pt x="393" y="1112"/>
                    </a:lnTo>
                    <a:lnTo>
                      <a:pt x="393" y="1113"/>
                    </a:lnTo>
                    <a:lnTo>
                      <a:pt x="392" y="1113"/>
                    </a:lnTo>
                    <a:lnTo>
                      <a:pt x="392" y="1115"/>
                    </a:lnTo>
                    <a:lnTo>
                      <a:pt x="390" y="1113"/>
                    </a:lnTo>
                    <a:lnTo>
                      <a:pt x="389" y="1113"/>
                    </a:lnTo>
                    <a:lnTo>
                      <a:pt x="387" y="1113"/>
                    </a:lnTo>
                    <a:lnTo>
                      <a:pt x="385" y="1115"/>
                    </a:lnTo>
                    <a:lnTo>
                      <a:pt x="387" y="1116"/>
                    </a:lnTo>
                    <a:lnTo>
                      <a:pt x="385" y="1118"/>
                    </a:lnTo>
                    <a:lnTo>
                      <a:pt x="384" y="1118"/>
                    </a:lnTo>
                    <a:lnTo>
                      <a:pt x="384" y="1116"/>
                    </a:lnTo>
                    <a:lnTo>
                      <a:pt x="382" y="1116"/>
                    </a:lnTo>
                    <a:lnTo>
                      <a:pt x="381" y="1118"/>
                    </a:lnTo>
                    <a:lnTo>
                      <a:pt x="379" y="1120"/>
                    </a:lnTo>
                    <a:lnTo>
                      <a:pt x="377" y="1121"/>
                    </a:lnTo>
                    <a:lnTo>
                      <a:pt x="377" y="1123"/>
                    </a:lnTo>
                    <a:lnTo>
                      <a:pt x="376" y="1123"/>
                    </a:lnTo>
                    <a:lnTo>
                      <a:pt x="376" y="1124"/>
                    </a:lnTo>
                    <a:lnTo>
                      <a:pt x="374" y="1124"/>
                    </a:lnTo>
                    <a:lnTo>
                      <a:pt x="374" y="1126"/>
                    </a:lnTo>
                    <a:lnTo>
                      <a:pt x="373" y="1126"/>
                    </a:lnTo>
                    <a:lnTo>
                      <a:pt x="373" y="1128"/>
                    </a:lnTo>
                    <a:lnTo>
                      <a:pt x="371" y="1129"/>
                    </a:lnTo>
                    <a:lnTo>
                      <a:pt x="370" y="1131"/>
                    </a:lnTo>
                    <a:lnTo>
                      <a:pt x="368" y="1131"/>
                    </a:lnTo>
                    <a:lnTo>
                      <a:pt x="366" y="1131"/>
                    </a:lnTo>
                    <a:lnTo>
                      <a:pt x="365" y="1131"/>
                    </a:lnTo>
                    <a:lnTo>
                      <a:pt x="363" y="1131"/>
                    </a:lnTo>
                    <a:lnTo>
                      <a:pt x="362" y="1131"/>
                    </a:lnTo>
                    <a:lnTo>
                      <a:pt x="360" y="1131"/>
                    </a:lnTo>
                    <a:lnTo>
                      <a:pt x="358" y="1132"/>
                    </a:lnTo>
                    <a:lnTo>
                      <a:pt x="358" y="1134"/>
                    </a:lnTo>
                    <a:lnTo>
                      <a:pt x="357" y="1134"/>
                    </a:lnTo>
                    <a:lnTo>
                      <a:pt x="357" y="1135"/>
                    </a:lnTo>
                    <a:lnTo>
                      <a:pt x="355" y="1135"/>
                    </a:lnTo>
                    <a:lnTo>
                      <a:pt x="355" y="1137"/>
                    </a:lnTo>
                    <a:lnTo>
                      <a:pt x="354" y="1137"/>
                    </a:lnTo>
                    <a:lnTo>
                      <a:pt x="352" y="1137"/>
                    </a:lnTo>
                    <a:lnTo>
                      <a:pt x="352" y="1139"/>
                    </a:lnTo>
                    <a:lnTo>
                      <a:pt x="351" y="1139"/>
                    </a:lnTo>
                    <a:lnTo>
                      <a:pt x="349" y="1139"/>
                    </a:lnTo>
                    <a:lnTo>
                      <a:pt x="347" y="1139"/>
                    </a:lnTo>
                    <a:lnTo>
                      <a:pt x="347" y="1140"/>
                    </a:lnTo>
                    <a:lnTo>
                      <a:pt x="346" y="1142"/>
                    </a:lnTo>
                    <a:lnTo>
                      <a:pt x="344" y="1142"/>
                    </a:lnTo>
                    <a:lnTo>
                      <a:pt x="343" y="1142"/>
                    </a:lnTo>
                    <a:lnTo>
                      <a:pt x="343" y="1143"/>
                    </a:lnTo>
                    <a:lnTo>
                      <a:pt x="341" y="1143"/>
                    </a:lnTo>
                    <a:lnTo>
                      <a:pt x="339" y="1145"/>
                    </a:lnTo>
                    <a:lnTo>
                      <a:pt x="338" y="1145"/>
                    </a:lnTo>
                    <a:lnTo>
                      <a:pt x="338" y="1147"/>
                    </a:lnTo>
                    <a:lnTo>
                      <a:pt x="338" y="1148"/>
                    </a:lnTo>
                    <a:lnTo>
                      <a:pt x="339" y="1148"/>
                    </a:lnTo>
                    <a:lnTo>
                      <a:pt x="339" y="1150"/>
                    </a:lnTo>
                    <a:lnTo>
                      <a:pt x="338" y="1150"/>
                    </a:lnTo>
                    <a:lnTo>
                      <a:pt x="336" y="1150"/>
                    </a:lnTo>
                    <a:lnTo>
                      <a:pt x="335" y="1150"/>
                    </a:lnTo>
                    <a:lnTo>
                      <a:pt x="335" y="1151"/>
                    </a:lnTo>
                    <a:lnTo>
                      <a:pt x="335" y="1153"/>
                    </a:lnTo>
                    <a:lnTo>
                      <a:pt x="333" y="1154"/>
                    </a:lnTo>
                    <a:lnTo>
                      <a:pt x="333" y="1156"/>
                    </a:lnTo>
                    <a:lnTo>
                      <a:pt x="332" y="1156"/>
                    </a:lnTo>
                    <a:lnTo>
                      <a:pt x="330" y="1158"/>
                    </a:lnTo>
                    <a:lnTo>
                      <a:pt x="330" y="1156"/>
                    </a:lnTo>
                    <a:lnTo>
                      <a:pt x="328" y="1156"/>
                    </a:lnTo>
                    <a:lnTo>
                      <a:pt x="327" y="1156"/>
                    </a:lnTo>
                    <a:lnTo>
                      <a:pt x="325" y="1156"/>
                    </a:lnTo>
                    <a:lnTo>
                      <a:pt x="325" y="1154"/>
                    </a:lnTo>
                    <a:lnTo>
                      <a:pt x="324" y="1154"/>
                    </a:lnTo>
                    <a:lnTo>
                      <a:pt x="324" y="1156"/>
                    </a:lnTo>
                    <a:lnTo>
                      <a:pt x="322" y="1156"/>
                    </a:lnTo>
                    <a:lnTo>
                      <a:pt x="322" y="1158"/>
                    </a:lnTo>
                    <a:lnTo>
                      <a:pt x="320" y="1159"/>
                    </a:lnTo>
                    <a:lnTo>
                      <a:pt x="320" y="1161"/>
                    </a:lnTo>
                    <a:lnTo>
                      <a:pt x="320" y="1162"/>
                    </a:lnTo>
                    <a:lnTo>
                      <a:pt x="320" y="1164"/>
                    </a:lnTo>
                    <a:lnTo>
                      <a:pt x="319" y="1166"/>
                    </a:lnTo>
                    <a:lnTo>
                      <a:pt x="317" y="1166"/>
                    </a:lnTo>
                    <a:lnTo>
                      <a:pt x="317" y="1167"/>
                    </a:lnTo>
                    <a:lnTo>
                      <a:pt x="317" y="1169"/>
                    </a:lnTo>
                    <a:lnTo>
                      <a:pt x="317" y="1170"/>
                    </a:lnTo>
                    <a:lnTo>
                      <a:pt x="317" y="1172"/>
                    </a:lnTo>
                    <a:lnTo>
                      <a:pt x="316" y="1172"/>
                    </a:lnTo>
                    <a:lnTo>
                      <a:pt x="314" y="1173"/>
                    </a:lnTo>
                    <a:lnTo>
                      <a:pt x="312" y="1173"/>
                    </a:lnTo>
                    <a:lnTo>
                      <a:pt x="312" y="1175"/>
                    </a:lnTo>
                    <a:lnTo>
                      <a:pt x="311" y="1175"/>
                    </a:lnTo>
                    <a:lnTo>
                      <a:pt x="309" y="1175"/>
                    </a:lnTo>
                    <a:lnTo>
                      <a:pt x="308" y="1177"/>
                    </a:lnTo>
                    <a:lnTo>
                      <a:pt x="306" y="1177"/>
                    </a:lnTo>
                    <a:lnTo>
                      <a:pt x="305" y="1178"/>
                    </a:lnTo>
                    <a:lnTo>
                      <a:pt x="303" y="1178"/>
                    </a:lnTo>
                    <a:lnTo>
                      <a:pt x="301" y="1177"/>
                    </a:lnTo>
                    <a:lnTo>
                      <a:pt x="300" y="1177"/>
                    </a:lnTo>
                    <a:lnTo>
                      <a:pt x="298" y="1177"/>
                    </a:lnTo>
                    <a:lnTo>
                      <a:pt x="298" y="1178"/>
                    </a:lnTo>
                    <a:lnTo>
                      <a:pt x="297" y="1178"/>
                    </a:lnTo>
                    <a:lnTo>
                      <a:pt x="297" y="1180"/>
                    </a:lnTo>
                    <a:lnTo>
                      <a:pt x="297" y="1181"/>
                    </a:lnTo>
                    <a:lnTo>
                      <a:pt x="297" y="1183"/>
                    </a:lnTo>
                    <a:lnTo>
                      <a:pt x="295" y="1183"/>
                    </a:lnTo>
                    <a:lnTo>
                      <a:pt x="293" y="1185"/>
                    </a:lnTo>
                    <a:lnTo>
                      <a:pt x="292" y="1185"/>
                    </a:lnTo>
                    <a:lnTo>
                      <a:pt x="292" y="1186"/>
                    </a:lnTo>
                    <a:lnTo>
                      <a:pt x="290" y="1186"/>
                    </a:lnTo>
                    <a:lnTo>
                      <a:pt x="289" y="1186"/>
                    </a:lnTo>
                    <a:lnTo>
                      <a:pt x="287" y="1186"/>
                    </a:lnTo>
                    <a:lnTo>
                      <a:pt x="286" y="1185"/>
                    </a:lnTo>
                    <a:lnTo>
                      <a:pt x="284" y="1185"/>
                    </a:lnTo>
                    <a:lnTo>
                      <a:pt x="282" y="1185"/>
                    </a:lnTo>
                    <a:lnTo>
                      <a:pt x="281" y="1186"/>
                    </a:lnTo>
                    <a:lnTo>
                      <a:pt x="279" y="1186"/>
                    </a:lnTo>
                    <a:lnTo>
                      <a:pt x="278" y="1186"/>
                    </a:lnTo>
                    <a:lnTo>
                      <a:pt x="278" y="1185"/>
                    </a:lnTo>
                    <a:lnTo>
                      <a:pt x="276" y="1185"/>
                    </a:lnTo>
                    <a:lnTo>
                      <a:pt x="276" y="1186"/>
                    </a:lnTo>
                    <a:lnTo>
                      <a:pt x="274" y="1186"/>
                    </a:lnTo>
                    <a:lnTo>
                      <a:pt x="273" y="1185"/>
                    </a:lnTo>
                    <a:lnTo>
                      <a:pt x="271" y="1183"/>
                    </a:lnTo>
                    <a:lnTo>
                      <a:pt x="270" y="1183"/>
                    </a:lnTo>
                    <a:lnTo>
                      <a:pt x="268" y="1183"/>
                    </a:lnTo>
                    <a:lnTo>
                      <a:pt x="267" y="1183"/>
                    </a:lnTo>
                    <a:lnTo>
                      <a:pt x="267" y="1185"/>
                    </a:lnTo>
                    <a:lnTo>
                      <a:pt x="265" y="1186"/>
                    </a:lnTo>
                    <a:lnTo>
                      <a:pt x="265" y="1185"/>
                    </a:lnTo>
                    <a:lnTo>
                      <a:pt x="263" y="1183"/>
                    </a:lnTo>
                    <a:lnTo>
                      <a:pt x="262" y="1183"/>
                    </a:lnTo>
                    <a:lnTo>
                      <a:pt x="260" y="1185"/>
                    </a:lnTo>
                    <a:lnTo>
                      <a:pt x="259" y="1185"/>
                    </a:lnTo>
                    <a:lnTo>
                      <a:pt x="257" y="1186"/>
                    </a:lnTo>
                    <a:lnTo>
                      <a:pt x="257" y="1185"/>
                    </a:lnTo>
                    <a:lnTo>
                      <a:pt x="255" y="1185"/>
                    </a:lnTo>
                    <a:lnTo>
                      <a:pt x="254" y="1185"/>
                    </a:lnTo>
                    <a:lnTo>
                      <a:pt x="252" y="1185"/>
                    </a:lnTo>
                    <a:lnTo>
                      <a:pt x="251" y="1185"/>
                    </a:lnTo>
                    <a:lnTo>
                      <a:pt x="249" y="1185"/>
                    </a:lnTo>
                    <a:lnTo>
                      <a:pt x="249" y="1183"/>
                    </a:lnTo>
                    <a:lnTo>
                      <a:pt x="248" y="1181"/>
                    </a:lnTo>
                    <a:lnTo>
                      <a:pt x="251" y="1181"/>
                    </a:lnTo>
                    <a:lnTo>
                      <a:pt x="252" y="1181"/>
                    </a:lnTo>
                    <a:lnTo>
                      <a:pt x="251" y="1180"/>
                    </a:lnTo>
                    <a:lnTo>
                      <a:pt x="248" y="1178"/>
                    </a:lnTo>
                    <a:lnTo>
                      <a:pt x="248" y="1177"/>
                    </a:lnTo>
                    <a:lnTo>
                      <a:pt x="249" y="1173"/>
                    </a:lnTo>
                    <a:lnTo>
                      <a:pt x="255" y="1169"/>
                    </a:lnTo>
                    <a:lnTo>
                      <a:pt x="257" y="1166"/>
                    </a:lnTo>
                    <a:lnTo>
                      <a:pt x="257" y="1164"/>
                    </a:lnTo>
                    <a:lnTo>
                      <a:pt x="255" y="1162"/>
                    </a:lnTo>
                    <a:lnTo>
                      <a:pt x="254" y="1161"/>
                    </a:lnTo>
                    <a:lnTo>
                      <a:pt x="254" y="1159"/>
                    </a:lnTo>
                    <a:lnTo>
                      <a:pt x="255" y="1158"/>
                    </a:lnTo>
                    <a:lnTo>
                      <a:pt x="255" y="1156"/>
                    </a:lnTo>
                    <a:lnTo>
                      <a:pt x="252" y="1154"/>
                    </a:lnTo>
                    <a:lnTo>
                      <a:pt x="249" y="1156"/>
                    </a:lnTo>
                    <a:lnTo>
                      <a:pt x="248" y="1148"/>
                    </a:lnTo>
                    <a:lnTo>
                      <a:pt x="246" y="1147"/>
                    </a:lnTo>
                    <a:lnTo>
                      <a:pt x="246" y="1140"/>
                    </a:lnTo>
                    <a:lnTo>
                      <a:pt x="246" y="1139"/>
                    </a:lnTo>
                    <a:lnTo>
                      <a:pt x="248" y="1137"/>
                    </a:lnTo>
                    <a:lnTo>
                      <a:pt x="249" y="1126"/>
                    </a:lnTo>
                    <a:lnTo>
                      <a:pt x="251" y="1124"/>
                    </a:lnTo>
                    <a:lnTo>
                      <a:pt x="252" y="1118"/>
                    </a:lnTo>
                    <a:lnTo>
                      <a:pt x="251" y="1118"/>
                    </a:lnTo>
                    <a:lnTo>
                      <a:pt x="255" y="1112"/>
                    </a:lnTo>
                    <a:lnTo>
                      <a:pt x="254" y="1112"/>
                    </a:lnTo>
                    <a:lnTo>
                      <a:pt x="255" y="1109"/>
                    </a:lnTo>
                    <a:lnTo>
                      <a:pt x="255" y="1107"/>
                    </a:lnTo>
                    <a:lnTo>
                      <a:pt x="254" y="1101"/>
                    </a:lnTo>
                    <a:lnTo>
                      <a:pt x="254" y="1097"/>
                    </a:lnTo>
                    <a:lnTo>
                      <a:pt x="251" y="1094"/>
                    </a:lnTo>
                    <a:lnTo>
                      <a:pt x="249" y="1088"/>
                    </a:lnTo>
                    <a:lnTo>
                      <a:pt x="251" y="1082"/>
                    </a:lnTo>
                    <a:lnTo>
                      <a:pt x="251" y="1080"/>
                    </a:lnTo>
                    <a:lnTo>
                      <a:pt x="251" y="1074"/>
                    </a:lnTo>
                    <a:lnTo>
                      <a:pt x="249" y="1069"/>
                    </a:lnTo>
                    <a:lnTo>
                      <a:pt x="248" y="1066"/>
                    </a:lnTo>
                    <a:lnTo>
                      <a:pt x="246" y="1063"/>
                    </a:lnTo>
                    <a:lnTo>
                      <a:pt x="244" y="1059"/>
                    </a:lnTo>
                    <a:lnTo>
                      <a:pt x="243" y="1055"/>
                    </a:lnTo>
                    <a:lnTo>
                      <a:pt x="241" y="1052"/>
                    </a:lnTo>
                    <a:lnTo>
                      <a:pt x="240" y="1050"/>
                    </a:lnTo>
                    <a:lnTo>
                      <a:pt x="243" y="1047"/>
                    </a:lnTo>
                    <a:lnTo>
                      <a:pt x="243" y="1045"/>
                    </a:lnTo>
                    <a:lnTo>
                      <a:pt x="243" y="1040"/>
                    </a:lnTo>
                    <a:lnTo>
                      <a:pt x="241" y="1039"/>
                    </a:lnTo>
                    <a:lnTo>
                      <a:pt x="241" y="1037"/>
                    </a:lnTo>
                    <a:lnTo>
                      <a:pt x="244" y="1033"/>
                    </a:lnTo>
                    <a:lnTo>
                      <a:pt x="243" y="1033"/>
                    </a:lnTo>
                    <a:lnTo>
                      <a:pt x="244" y="1031"/>
                    </a:lnTo>
                    <a:lnTo>
                      <a:pt x="244" y="1029"/>
                    </a:lnTo>
                    <a:lnTo>
                      <a:pt x="244" y="1028"/>
                    </a:lnTo>
                    <a:lnTo>
                      <a:pt x="243" y="1026"/>
                    </a:lnTo>
                    <a:lnTo>
                      <a:pt x="240" y="1017"/>
                    </a:lnTo>
                    <a:lnTo>
                      <a:pt x="236" y="1012"/>
                    </a:lnTo>
                    <a:lnTo>
                      <a:pt x="235" y="1010"/>
                    </a:lnTo>
                    <a:lnTo>
                      <a:pt x="235" y="1007"/>
                    </a:lnTo>
                    <a:lnTo>
                      <a:pt x="233" y="1004"/>
                    </a:lnTo>
                    <a:lnTo>
                      <a:pt x="230" y="1002"/>
                    </a:lnTo>
                    <a:lnTo>
                      <a:pt x="229" y="1001"/>
                    </a:lnTo>
                    <a:lnTo>
                      <a:pt x="225" y="999"/>
                    </a:lnTo>
                    <a:lnTo>
                      <a:pt x="222" y="996"/>
                    </a:lnTo>
                    <a:lnTo>
                      <a:pt x="219" y="993"/>
                    </a:lnTo>
                    <a:lnTo>
                      <a:pt x="217" y="990"/>
                    </a:lnTo>
                    <a:lnTo>
                      <a:pt x="210" y="980"/>
                    </a:lnTo>
                    <a:lnTo>
                      <a:pt x="198" y="969"/>
                    </a:lnTo>
                    <a:lnTo>
                      <a:pt x="198" y="968"/>
                    </a:lnTo>
                    <a:lnTo>
                      <a:pt x="187" y="953"/>
                    </a:lnTo>
                    <a:lnTo>
                      <a:pt x="181" y="949"/>
                    </a:lnTo>
                    <a:lnTo>
                      <a:pt x="181" y="947"/>
                    </a:lnTo>
                    <a:lnTo>
                      <a:pt x="179" y="945"/>
                    </a:lnTo>
                    <a:lnTo>
                      <a:pt x="178" y="942"/>
                    </a:lnTo>
                    <a:lnTo>
                      <a:pt x="176" y="937"/>
                    </a:lnTo>
                    <a:lnTo>
                      <a:pt x="175" y="936"/>
                    </a:lnTo>
                    <a:lnTo>
                      <a:pt x="173" y="933"/>
                    </a:lnTo>
                    <a:lnTo>
                      <a:pt x="170" y="928"/>
                    </a:lnTo>
                    <a:lnTo>
                      <a:pt x="157" y="918"/>
                    </a:lnTo>
                    <a:lnTo>
                      <a:pt x="156" y="915"/>
                    </a:lnTo>
                    <a:lnTo>
                      <a:pt x="151" y="911"/>
                    </a:lnTo>
                    <a:lnTo>
                      <a:pt x="149" y="909"/>
                    </a:lnTo>
                    <a:lnTo>
                      <a:pt x="148" y="906"/>
                    </a:lnTo>
                    <a:lnTo>
                      <a:pt x="137" y="896"/>
                    </a:lnTo>
                    <a:lnTo>
                      <a:pt x="134" y="895"/>
                    </a:lnTo>
                    <a:lnTo>
                      <a:pt x="127" y="887"/>
                    </a:lnTo>
                    <a:lnTo>
                      <a:pt x="124" y="885"/>
                    </a:lnTo>
                    <a:lnTo>
                      <a:pt x="121" y="882"/>
                    </a:lnTo>
                    <a:lnTo>
                      <a:pt x="116" y="879"/>
                    </a:lnTo>
                    <a:lnTo>
                      <a:pt x="114" y="877"/>
                    </a:lnTo>
                    <a:lnTo>
                      <a:pt x="114" y="876"/>
                    </a:lnTo>
                    <a:lnTo>
                      <a:pt x="113" y="876"/>
                    </a:lnTo>
                    <a:lnTo>
                      <a:pt x="107" y="868"/>
                    </a:lnTo>
                    <a:lnTo>
                      <a:pt x="103" y="866"/>
                    </a:lnTo>
                    <a:lnTo>
                      <a:pt x="100" y="863"/>
                    </a:lnTo>
                    <a:lnTo>
                      <a:pt x="94" y="858"/>
                    </a:lnTo>
                    <a:lnTo>
                      <a:pt x="95" y="858"/>
                    </a:lnTo>
                    <a:lnTo>
                      <a:pt x="97" y="857"/>
                    </a:lnTo>
                    <a:lnTo>
                      <a:pt x="99" y="854"/>
                    </a:lnTo>
                    <a:lnTo>
                      <a:pt x="100" y="850"/>
                    </a:lnTo>
                    <a:lnTo>
                      <a:pt x="100" y="849"/>
                    </a:lnTo>
                    <a:lnTo>
                      <a:pt x="99" y="849"/>
                    </a:lnTo>
                    <a:lnTo>
                      <a:pt x="99" y="847"/>
                    </a:lnTo>
                    <a:lnTo>
                      <a:pt x="99" y="846"/>
                    </a:lnTo>
                    <a:lnTo>
                      <a:pt x="99" y="844"/>
                    </a:lnTo>
                    <a:lnTo>
                      <a:pt x="97" y="844"/>
                    </a:lnTo>
                    <a:lnTo>
                      <a:pt x="95" y="844"/>
                    </a:lnTo>
                    <a:lnTo>
                      <a:pt x="95" y="842"/>
                    </a:lnTo>
                    <a:lnTo>
                      <a:pt x="94" y="841"/>
                    </a:lnTo>
                    <a:lnTo>
                      <a:pt x="92" y="841"/>
                    </a:lnTo>
                    <a:lnTo>
                      <a:pt x="92" y="839"/>
                    </a:lnTo>
                    <a:lnTo>
                      <a:pt x="92" y="838"/>
                    </a:lnTo>
                    <a:lnTo>
                      <a:pt x="91" y="838"/>
                    </a:lnTo>
                    <a:lnTo>
                      <a:pt x="91" y="836"/>
                    </a:lnTo>
                    <a:lnTo>
                      <a:pt x="89" y="836"/>
                    </a:lnTo>
                    <a:lnTo>
                      <a:pt x="89" y="834"/>
                    </a:lnTo>
                    <a:lnTo>
                      <a:pt x="88" y="834"/>
                    </a:lnTo>
                    <a:lnTo>
                      <a:pt x="88" y="833"/>
                    </a:lnTo>
                    <a:lnTo>
                      <a:pt x="88" y="831"/>
                    </a:lnTo>
                    <a:lnTo>
                      <a:pt x="86" y="831"/>
                    </a:lnTo>
                    <a:lnTo>
                      <a:pt x="84" y="830"/>
                    </a:lnTo>
                    <a:lnTo>
                      <a:pt x="83" y="828"/>
                    </a:lnTo>
                    <a:lnTo>
                      <a:pt x="81" y="828"/>
                    </a:lnTo>
                    <a:lnTo>
                      <a:pt x="81" y="827"/>
                    </a:lnTo>
                    <a:lnTo>
                      <a:pt x="80" y="828"/>
                    </a:lnTo>
                    <a:lnTo>
                      <a:pt x="78" y="828"/>
                    </a:lnTo>
                    <a:lnTo>
                      <a:pt x="76" y="827"/>
                    </a:lnTo>
                    <a:lnTo>
                      <a:pt x="75" y="828"/>
                    </a:lnTo>
                    <a:lnTo>
                      <a:pt x="73" y="828"/>
                    </a:lnTo>
                    <a:lnTo>
                      <a:pt x="72" y="828"/>
                    </a:lnTo>
                    <a:lnTo>
                      <a:pt x="72" y="827"/>
                    </a:lnTo>
                    <a:lnTo>
                      <a:pt x="72" y="825"/>
                    </a:lnTo>
                    <a:lnTo>
                      <a:pt x="70" y="825"/>
                    </a:lnTo>
                    <a:lnTo>
                      <a:pt x="69" y="823"/>
                    </a:lnTo>
                    <a:lnTo>
                      <a:pt x="69" y="822"/>
                    </a:lnTo>
                    <a:lnTo>
                      <a:pt x="67" y="820"/>
                    </a:lnTo>
                    <a:lnTo>
                      <a:pt x="67" y="819"/>
                    </a:lnTo>
                    <a:lnTo>
                      <a:pt x="65" y="819"/>
                    </a:lnTo>
                    <a:lnTo>
                      <a:pt x="65" y="817"/>
                    </a:lnTo>
                    <a:lnTo>
                      <a:pt x="64" y="817"/>
                    </a:lnTo>
                    <a:lnTo>
                      <a:pt x="64" y="815"/>
                    </a:lnTo>
                    <a:lnTo>
                      <a:pt x="62" y="814"/>
                    </a:lnTo>
                    <a:lnTo>
                      <a:pt x="62" y="812"/>
                    </a:lnTo>
                    <a:lnTo>
                      <a:pt x="61" y="812"/>
                    </a:lnTo>
                    <a:lnTo>
                      <a:pt x="59" y="811"/>
                    </a:lnTo>
                    <a:lnTo>
                      <a:pt x="57" y="811"/>
                    </a:lnTo>
                    <a:lnTo>
                      <a:pt x="56" y="809"/>
                    </a:lnTo>
                    <a:lnTo>
                      <a:pt x="56" y="808"/>
                    </a:lnTo>
                    <a:lnTo>
                      <a:pt x="56" y="806"/>
                    </a:lnTo>
                    <a:lnTo>
                      <a:pt x="54" y="806"/>
                    </a:lnTo>
                    <a:lnTo>
                      <a:pt x="54" y="804"/>
                    </a:lnTo>
                    <a:lnTo>
                      <a:pt x="54" y="803"/>
                    </a:lnTo>
                    <a:lnTo>
                      <a:pt x="53" y="801"/>
                    </a:lnTo>
                    <a:lnTo>
                      <a:pt x="53" y="800"/>
                    </a:lnTo>
                    <a:lnTo>
                      <a:pt x="51" y="798"/>
                    </a:lnTo>
                    <a:lnTo>
                      <a:pt x="51" y="796"/>
                    </a:lnTo>
                    <a:lnTo>
                      <a:pt x="50" y="795"/>
                    </a:lnTo>
                    <a:lnTo>
                      <a:pt x="50" y="793"/>
                    </a:lnTo>
                    <a:lnTo>
                      <a:pt x="48" y="792"/>
                    </a:lnTo>
                    <a:lnTo>
                      <a:pt x="48" y="790"/>
                    </a:lnTo>
                    <a:lnTo>
                      <a:pt x="46" y="789"/>
                    </a:lnTo>
                    <a:lnTo>
                      <a:pt x="46" y="787"/>
                    </a:lnTo>
                    <a:lnTo>
                      <a:pt x="45" y="787"/>
                    </a:lnTo>
                    <a:lnTo>
                      <a:pt x="45" y="785"/>
                    </a:lnTo>
                    <a:lnTo>
                      <a:pt x="45" y="784"/>
                    </a:lnTo>
                    <a:lnTo>
                      <a:pt x="43" y="784"/>
                    </a:lnTo>
                    <a:lnTo>
                      <a:pt x="43" y="782"/>
                    </a:lnTo>
                    <a:lnTo>
                      <a:pt x="42" y="781"/>
                    </a:lnTo>
                    <a:lnTo>
                      <a:pt x="42" y="779"/>
                    </a:lnTo>
                    <a:lnTo>
                      <a:pt x="40" y="777"/>
                    </a:lnTo>
                    <a:lnTo>
                      <a:pt x="40" y="776"/>
                    </a:lnTo>
                    <a:lnTo>
                      <a:pt x="38" y="774"/>
                    </a:lnTo>
                    <a:lnTo>
                      <a:pt x="38" y="773"/>
                    </a:lnTo>
                    <a:lnTo>
                      <a:pt x="37" y="773"/>
                    </a:lnTo>
                    <a:lnTo>
                      <a:pt x="37" y="771"/>
                    </a:lnTo>
                    <a:lnTo>
                      <a:pt x="35" y="771"/>
                    </a:lnTo>
                    <a:lnTo>
                      <a:pt x="35" y="770"/>
                    </a:lnTo>
                    <a:lnTo>
                      <a:pt x="34" y="770"/>
                    </a:lnTo>
                    <a:lnTo>
                      <a:pt x="34" y="768"/>
                    </a:lnTo>
                    <a:lnTo>
                      <a:pt x="32" y="766"/>
                    </a:lnTo>
                    <a:lnTo>
                      <a:pt x="32" y="765"/>
                    </a:lnTo>
                    <a:lnTo>
                      <a:pt x="34" y="763"/>
                    </a:lnTo>
                    <a:lnTo>
                      <a:pt x="35" y="762"/>
                    </a:lnTo>
                    <a:lnTo>
                      <a:pt x="37" y="760"/>
                    </a:lnTo>
                    <a:lnTo>
                      <a:pt x="37" y="758"/>
                    </a:lnTo>
                    <a:lnTo>
                      <a:pt x="35" y="757"/>
                    </a:lnTo>
                    <a:lnTo>
                      <a:pt x="34" y="757"/>
                    </a:lnTo>
                    <a:lnTo>
                      <a:pt x="34" y="758"/>
                    </a:lnTo>
                    <a:lnTo>
                      <a:pt x="32" y="758"/>
                    </a:lnTo>
                    <a:lnTo>
                      <a:pt x="31" y="758"/>
                    </a:lnTo>
                    <a:lnTo>
                      <a:pt x="29" y="760"/>
                    </a:lnTo>
                    <a:lnTo>
                      <a:pt x="27" y="760"/>
                    </a:lnTo>
                    <a:lnTo>
                      <a:pt x="26" y="760"/>
                    </a:lnTo>
                    <a:lnTo>
                      <a:pt x="24" y="760"/>
                    </a:lnTo>
                    <a:lnTo>
                      <a:pt x="23" y="758"/>
                    </a:lnTo>
                    <a:lnTo>
                      <a:pt x="23" y="757"/>
                    </a:lnTo>
                    <a:lnTo>
                      <a:pt x="21" y="755"/>
                    </a:lnTo>
                    <a:lnTo>
                      <a:pt x="19" y="754"/>
                    </a:lnTo>
                    <a:lnTo>
                      <a:pt x="18" y="752"/>
                    </a:lnTo>
                    <a:lnTo>
                      <a:pt x="18" y="751"/>
                    </a:lnTo>
                    <a:lnTo>
                      <a:pt x="19" y="749"/>
                    </a:lnTo>
                    <a:lnTo>
                      <a:pt x="21" y="749"/>
                    </a:lnTo>
                    <a:lnTo>
                      <a:pt x="23" y="749"/>
                    </a:lnTo>
                    <a:lnTo>
                      <a:pt x="24" y="749"/>
                    </a:lnTo>
                    <a:lnTo>
                      <a:pt x="26" y="749"/>
                    </a:lnTo>
                    <a:lnTo>
                      <a:pt x="27" y="749"/>
                    </a:lnTo>
                    <a:lnTo>
                      <a:pt x="29" y="749"/>
                    </a:lnTo>
                    <a:lnTo>
                      <a:pt x="29" y="747"/>
                    </a:lnTo>
                    <a:lnTo>
                      <a:pt x="31" y="747"/>
                    </a:lnTo>
                    <a:lnTo>
                      <a:pt x="29" y="747"/>
                    </a:lnTo>
                    <a:lnTo>
                      <a:pt x="29" y="746"/>
                    </a:lnTo>
                    <a:lnTo>
                      <a:pt x="29" y="744"/>
                    </a:lnTo>
                    <a:lnTo>
                      <a:pt x="27" y="744"/>
                    </a:lnTo>
                    <a:lnTo>
                      <a:pt x="27" y="743"/>
                    </a:lnTo>
                    <a:lnTo>
                      <a:pt x="27" y="741"/>
                    </a:lnTo>
                    <a:lnTo>
                      <a:pt x="26" y="741"/>
                    </a:lnTo>
                    <a:lnTo>
                      <a:pt x="26" y="739"/>
                    </a:lnTo>
                    <a:lnTo>
                      <a:pt x="26" y="738"/>
                    </a:lnTo>
                    <a:lnTo>
                      <a:pt x="27" y="736"/>
                    </a:lnTo>
                    <a:lnTo>
                      <a:pt x="27" y="735"/>
                    </a:lnTo>
                    <a:lnTo>
                      <a:pt x="26" y="733"/>
                    </a:lnTo>
                    <a:lnTo>
                      <a:pt x="26" y="732"/>
                    </a:lnTo>
                    <a:lnTo>
                      <a:pt x="24" y="732"/>
                    </a:lnTo>
                    <a:lnTo>
                      <a:pt x="24" y="730"/>
                    </a:lnTo>
                    <a:lnTo>
                      <a:pt x="23" y="728"/>
                    </a:lnTo>
                    <a:lnTo>
                      <a:pt x="23" y="727"/>
                    </a:lnTo>
                    <a:lnTo>
                      <a:pt x="21" y="727"/>
                    </a:lnTo>
                    <a:lnTo>
                      <a:pt x="21" y="725"/>
                    </a:lnTo>
                    <a:lnTo>
                      <a:pt x="21" y="724"/>
                    </a:lnTo>
                    <a:lnTo>
                      <a:pt x="19" y="722"/>
                    </a:lnTo>
                    <a:lnTo>
                      <a:pt x="19" y="720"/>
                    </a:lnTo>
                    <a:lnTo>
                      <a:pt x="18" y="720"/>
                    </a:lnTo>
                    <a:lnTo>
                      <a:pt x="18" y="719"/>
                    </a:lnTo>
                    <a:lnTo>
                      <a:pt x="18" y="717"/>
                    </a:lnTo>
                    <a:lnTo>
                      <a:pt x="16" y="717"/>
                    </a:lnTo>
                    <a:lnTo>
                      <a:pt x="15" y="716"/>
                    </a:lnTo>
                    <a:lnTo>
                      <a:pt x="15" y="714"/>
                    </a:lnTo>
                    <a:lnTo>
                      <a:pt x="13" y="714"/>
                    </a:lnTo>
                    <a:lnTo>
                      <a:pt x="13" y="713"/>
                    </a:lnTo>
                    <a:lnTo>
                      <a:pt x="12" y="713"/>
                    </a:lnTo>
                    <a:lnTo>
                      <a:pt x="12" y="711"/>
                    </a:lnTo>
                    <a:lnTo>
                      <a:pt x="10" y="711"/>
                    </a:lnTo>
                    <a:lnTo>
                      <a:pt x="10" y="709"/>
                    </a:lnTo>
                    <a:lnTo>
                      <a:pt x="8" y="709"/>
                    </a:lnTo>
                    <a:lnTo>
                      <a:pt x="8" y="708"/>
                    </a:lnTo>
                    <a:lnTo>
                      <a:pt x="7" y="708"/>
                    </a:lnTo>
                    <a:lnTo>
                      <a:pt x="7" y="706"/>
                    </a:lnTo>
                    <a:lnTo>
                      <a:pt x="5" y="706"/>
                    </a:lnTo>
                    <a:lnTo>
                      <a:pt x="5" y="705"/>
                    </a:lnTo>
                    <a:lnTo>
                      <a:pt x="4" y="705"/>
                    </a:lnTo>
                    <a:lnTo>
                      <a:pt x="4" y="703"/>
                    </a:lnTo>
                    <a:lnTo>
                      <a:pt x="2" y="703"/>
                    </a:lnTo>
                    <a:lnTo>
                      <a:pt x="2" y="701"/>
                    </a:lnTo>
                    <a:lnTo>
                      <a:pt x="2" y="700"/>
                    </a:lnTo>
                    <a:lnTo>
                      <a:pt x="2" y="698"/>
                    </a:lnTo>
                    <a:lnTo>
                      <a:pt x="0" y="698"/>
                    </a:lnTo>
                    <a:lnTo>
                      <a:pt x="0" y="697"/>
                    </a:lnTo>
                    <a:lnTo>
                      <a:pt x="2" y="697"/>
                    </a:lnTo>
                    <a:lnTo>
                      <a:pt x="0" y="695"/>
                    </a:lnTo>
                    <a:lnTo>
                      <a:pt x="2" y="695"/>
                    </a:lnTo>
                    <a:lnTo>
                      <a:pt x="2" y="694"/>
                    </a:lnTo>
                    <a:lnTo>
                      <a:pt x="2" y="692"/>
                    </a:lnTo>
                    <a:lnTo>
                      <a:pt x="2" y="690"/>
                    </a:lnTo>
                    <a:lnTo>
                      <a:pt x="4" y="690"/>
                    </a:lnTo>
                    <a:lnTo>
                      <a:pt x="4" y="689"/>
                    </a:lnTo>
                    <a:lnTo>
                      <a:pt x="5" y="687"/>
                    </a:lnTo>
                    <a:lnTo>
                      <a:pt x="5" y="686"/>
                    </a:lnTo>
                    <a:lnTo>
                      <a:pt x="5" y="684"/>
                    </a:lnTo>
                    <a:lnTo>
                      <a:pt x="7" y="684"/>
                    </a:lnTo>
                    <a:lnTo>
                      <a:pt x="7" y="682"/>
                    </a:lnTo>
                    <a:lnTo>
                      <a:pt x="7" y="681"/>
                    </a:lnTo>
                    <a:lnTo>
                      <a:pt x="8" y="681"/>
                    </a:lnTo>
                    <a:lnTo>
                      <a:pt x="8" y="679"/>
                    </a:lnTo>
                    <a:lnTo>
                      <a:pt x="8" y="678"/>
                    </a:lnTo>
                    <a:lnTo>
                      <a:pt x="8" y="676"/>
                    </a:lnTo>
                    <a:lnTo>
                      <a:pt x="10" y="675"/>
                    </a:lnTo>
                    <a:lnTo>
                      <a:pt x="12" y="675"/>
                    </a:lnTo>
                    <a:lnTo>
                      <a:pt x="13" y="673"/>
                    </a:lnTo>
                    <a:lnTo>
                      <a:pt x="13" y="671"/>
                    </a:lnTo>
                    <a:lnTo>
                      <a:pt x="15" y="671"/>
                    </a:lnTo>
                    <a:lnTo>
                      <a:pt x="16" y="670"/>
                    </a:lnTo>
                    <a:lnTo>
                      <a:pt x="16" y="668"/>
                    </a:lnTo>
                    <a:lnTo>
                      <a:pt x="18" y="667"/>
                    </a:lnTo>
                    <a:lnTo>
                      <a:pt x="19" y="667"/>
                    </a:lnTo>
                    <a:lnTo>
                      <a:pt x="19" y="665"/>
                    </a:lnTo>
                    <a:lnTo>
                      <a:pt x="21" y="663"/>
                    </a:lnTo>
                    <a:lnTo>
                      <a:pt x="21" y="662"/>
                    </a:lnTo>
                    <a:lnTo>
                      <a:pt x="21" y="660"/>
                    </a:lnTo>
                    <a:lnTo>
                      <a:pt x="21" y="659"/>
                    </a:lnTo>
                    <a:lnTo>
                      <a:pt x="21" y="657"/>
                    </a:lnTo>
                    <a:lnTo>
                      <a:pt x="23" y="657"/>
                    </a:lnTo>
                    <a:lnTo>
                      <a:pt x="23" y="656"/>
                    </a:lnTo>
                    <a:lnTo>
                      <a:pt x="24" y="656"/>
                    </a:lnTo>
                    <a:lnTo>
                      <a:pt x="24" y="654"/>
                    </a:lnTo>
                    <a:lnTo>
                      <a:pt x="26" y="654"/>
                    </a:lnTo>
                    <a:lnTo>
                      <a:pt x="26" y="652"/>
                    </a:lnTo>
                    <a:lnTo>
                      <a:pt x="27" y="652"/>
                    </a:lnTo>
                    <a:lnTo>
                      <a:pt x="29" y="651"/>
                    </a:lnTo>
                    <a:lnTo>
                      <a:pt x="31" y="651"/>
                    </a:lnTo>
                    <a:lnTo>
                      <a:pt x="31" y="649"/>
                    </a:lnTo>
                    <a:lnTo>
                      <a:pt x="32" y="649"/>
                    </a:lnTo>
                    <a:lnTo>
                      <a:pt x="34" y="648"/>
                    </a:lnTo>
                    <a:lnTo>
                      <a:pt x="35" y="648"/>
                    </a:lnTo>
                    <a:lnTo>
                      <a:pt x="35" y="646"/>
                    </a:lnTo>
                    <a:lnTo>
                      <a:pt x="37" y="646"/>
                    </a:lnTo>
                    <a:lnTo>
                      <a:pt x="38" y="646"/>
                    </a:lnTo>
                    <a:lnTo>
                      <a:pt x="40" y="644"/>
                    </a:lnTo>
                    <a:lnTo>
                      <a:pt x="42" y="644"/>
                    </a:lnTo>
                    <a:lnTo>
                      <a:pt x="43" y="644"/>
                    </a:lnTo>
                    <a:lnTo>
                      <a:pt x="45" y="644"/>
                    </a:lnTo>
                    <a:lnTo>
                      <a:pt x="46" y="644"/>
                    </a:lnTo>
                    <a:lnTo>
                      <a:pt x="46" y="643"/>
                    </a:lnTo>
                    <a:lnTo>
                      <a:pt x="48" y="643"/>
                    </a:lnTo>
                    <a:lnTo>
                      <a:pt x="50" y="643"/>
                    </a:lnTo>
                    <a:lnTo>
                      <a:pt x="51" y="643"/>
                    </a:lnTo>
                    <a:lnTo>
                      <a:pt x="53" y="643"/>
                    </a:lnTo>
                    <a:lnTo>
                      <a:pt x="53" y="644"/>
                    </a:lnTo>
                    <a:lnTo>
                      <a:pt x="54" y="644"/>
                    </a:lnTo>
                    <a:lnTo>
                      <a:pt x="56" y="644"/>
                    </a:lnTo>
                    <a:lnTo>
                      <a:pt x="57" y="644"/>
                    </a:lnTo>
                    <a:lnTo>
                      <a:pt x="59" y="644"/>
                    </a:lnTo>
                    <a:lnTo>
                      <a:pt x="61" y="644"/>
                    </a:lnTo>
                    <a:lnTo>
                      <a:pt x="62" y="644"/>
                    </a:lnTo>
                    <a:lnTo>
                      <a:pt x="62" y="646"/>
                    </a:lnTo>
                    <a:lnTo>
                      <a:pt x="64" y="646"/>
                    </a:lnTo>
                    <a:lnTo>
                      <a:pt x="65" y="646"/>
                    </a:lnTo>
                    <a:lnTo>
                      <a:pt x="65" y="648"/>
                    </a:lnTo>
                    <a:lnTo>
                      <a:pt x="67" y="648"/>
                    </a:lnTo>
                    <a:lnTo>
                      <a:pt x="69" y="648"/>
                    </a:lnTo>
                    <a:lnTo>
                      <a:pt x="69" y="649"/>
                    </a:lnTo>
                    <a:lnTo>
                      <a:pt x="70" y="649"/>
                    </a:lnTo>
                    <a:lnTo>
                      <a:pt x="70" y="651"/>
                    </a:lnTo>
                    <a:lnTo>
                      <a:pt x="72" y="651"/>
                    </a:lnTo>
                    <a:lnTo>
                      <a:pt x="73" y="651"/>
                    </a:lnTo>
                    <a:lnTo>
                      <a:pt x="75" y="652"/>
                    </a:lnTo>
                    <a:lnTo>
                      <a:pt x="76" y="652"/>
                    </a:lnTo>
                    <a:lnTo>
                      <a:pt x="78" y="652"/>
                    </a:lnTo>
                    <a:lnTo>
                      <a:pt x="80" y="652"/>
                    </a:lnTo>
                    <a:lnTo>
                      <a:pt x="81" y="652"/>
                    </a:lnTo>
                    <a:lnTo>
                      <a:pt x="81" y="651"/>
                    </a:lnTo>
                    <a:lnTo>
                      <a:pt x="83" y="651"/>
                    </a:lnTo>
                    <a:lnTo>
                      <a:pt x="84" y="649"/>
                    </a:lnTo>
                    <a:lnTo>
                      <a:pt x="86" y="649"/>
                    </a:lnTo>
                    <a:lnTo>
                      <a:pt x="88" y="649"/>
                    </a:lnTo>
                    <a:lnTo>
                      <a:pt x="89" y="648"/>
                    </a:lnTo>
                    <a:lnTo>
                      <a:pt x="91" y="648"/>
                    </a:lnTo>
                    <a:lnTo>
                      <a:pt x="89" y="646"/>
                    </a:lnTo>
                    <a:lnTo>
                      <a:pt x="89" y="644"/>
                    </a:lnTo>
                    <a:lnTo>
                      <a:pt x="88" y="643"/>
                    </a:lnTo>
                    <a:lnTo>
                      <a:pt x="88" y="641"/>
                    </a:lnTo>
                    <a:lnTo>
                      <a:pt x="89" y="641"/>
                    </a:lnTo>
                    <a:lnTo>
                      <a:pt x="91" y="640"/>
                    </a:lnTo>
                    <a:lnTo>
                      <a:pt x="91" y="638"/>
                    </a:lnTo>
                    <a:lnTo>
                      <a:pt x="92" y="638"/>
                    </a:lnTo>
                    <a:lnTo>
                      <a:pt x="94" y="638"/>
                    </a:lnTo>
                    <a:lnTo>
                      <a:pt x="95" y="638"/>
                    </a:lnTo>
                    <a:lnTo>
                      <a:pt x="95" y="636"/>
                    </a:lnTo>
                    <a:lnTo>
                      <a:pt x="97" y="636"/>
                    </a:lnTo>
                    <a:lnTo>
                      <a:pt x="97" y="635"/>
                    </a:lnTo>
                    <a:lnTo>
                      <a:pt x="99" y="635"/>
                    </a:lnTo>
                    <a:lnTo>
                      <a:pt x="99" y="633"/>
                    </a:lnTo>
                    <a:lnTo>
                      <a:pt x="100" y="633"/>
                    </a:lnTo>
                    <a:lnTo>
                      <a:pt x="100" y="632"/>
                    </a:lnTo>
                    <a:lnTo>
                      <a:pt x="102" y="632"/>
                    </a:lnTo>
                    <a:lnTo>
                      <a:pt x="103" y="633"/>
                    </a:lnTo>
                    <a:lnTo>
                      <a:pt x="105" y="633"/>
                    </a:lnTo>
                    <a:lnTo>
                      <a:pt x="141" y="633"/>
                    </a:lnTo>
                    <a:lnTo>
                      <a:pt x="143" y="633"/>
                    </a:lnTo>
                    <a:lnTo>
                      <a:pt x="145" y="633"/>
                    </a:lnTo>
                    <a:lnTo>
                      <a:pt x="146" y="633"/>
                    </a:lnTo>
                    <a:lnTo>
                      <a:pt x="148" y="633"/>
                    </a:lnTo>
                    <a:lnTo>
                      <a:pt x="149" y="633"/>
                    </a:lnTo>
                    <a:lnTo>
                      <a:pt x="149" y="632"/>
                    </a:lnTo>
                    <a:lnTo>
                      <a:pt x="151" y="632"/>
                    </a:lnTo>
                    <a:lnTo>
                      <a:pt x="153" y="632"/>
                    </a:lnTo>
                    <a:lnTo>
                      <a:pt x="154" y="632"/>
                    </a:lnTo>
                    <a:lnTo>
                      <a:pt x="156" y="632"/>
                    </a:lnTo>
                    <a:lnTo>
                      <a:pt x="157" y="632"/>
                    </a:lnTo>
                    <a:lnTo>
                      <a:pt x="159" y="630"/>
                    </a:lnTo>
                    <a:lnTo>
                      <a:pt x="160" y="630"/>
                    </a:lnTo>
                    <a:lnTo>
                      <a:pt x="160" y="629"/>
                    </a:lnTo>
                    <a:lnTo>
                      <a:pt x="162" y="629"/>
                    </a:lnTo>
                    <a:lnTo>
                      <a:pt x="164" y="627"/>
                    </a:lnTo>
                    <a:lnTo>
                      <a:pt x="164" y="625"/>
                    </a:lnTo>
                    <a:lnTo>
                      <a:pt x="165" y="627"/>
                    </a:lnTo>
                    <a:lnTo>
                      <a:pt x="167" y="627"/>
                    </a:lnTo>
                    <a:lnTo>
                      <a:pt x="168" y="627"/>
                    </a:lnTo>
                    <a:lnTo>
                      <a:pt x="170" y="627"/>
                    </a:lnTo>
                    <a:lnTo>
                      <a:pt x="172" y="627"/>
                    </a:lnTo>
                    <a:lnTo>
                      <a:pt x="173" y="625"/>
                    </a:lnTo>
                    <a:lnTo>
                      <a:pt x="175" y="625"/>
                    </a:lnTo>
                    <a:lnTo>
                      <a:pt x="176" y="625"/>
                    </a:lnTo>
                    <a:lnTo>
                      <a:pt x="178" y="625"/>
                    </a:lnTo>
                    <a:lnTo>
                      <a:pt x="179" y="625"/>
                    </a:lnTo>
                    <a:lnTo>
                      <a:pt x="181" y="625"/>
                    </a:lnTo>
                    <a:lnTo>
                      <a:pt x="181" y="627"/>
                    </a:lnTo>
                    <a:lnTo>
                      <a:pt x="183" y="627"/>
                    </a:lnTo>
                    <a:lnTo>
                      <a:pt x="184" y="627"/>
                    </a:lnTo>
                    <a:lnTo>
                      <a:pt x="186" y="627"/>
                    </a:lnTo>
                    <a:lnTo>
                      <a:pt x="187" y="627"/>
                    </a:lnTo>
                    <a:lnTo>
                      <a:pt x="187" y="629"/>
                    </a:lnTo>
                    <a:lnTo>
                      <a:pt x="189" y="629"/>
                    </a:lnTo>
                    <a:lnTo>
                      <a:pt x="191" y="629"/>
                    </a:lnTo>
                    <a:lnTo>
                      <a:pt x="192" y="629"/>
                    </a:lnTo>
                    <a:lnTo>
                      <a:pt x="194" y="629"/>
                    </a:lnTo>
                    <a:lnTo>
                      <a:pt x="194" y="630"/>
                    </a:lnTo>
                    <a:lnTo>
                      <a:pt x="195" y="630"/>
                    </a:lnTo>
                    <a:lnTo>
                      <a:pt x="197" y="630"/>
                    </a:lnTo>
                    <a:lnTo>
                      <a:pt x="198" y="632"/>
                    </a:lnTo>
                    <a:lnTo>
                      <a:pt x="200" y="632"/>
                    </a:lnTo>
                    <a:lnTo>
                      <a:pt x="202" y="632"/>
                    </a:lnTo>
                    <a:lnTo>
                      <a:pt x="203" y="632"/>
                    </a:lnTo>
                    <a:lnTo>
                      <a:pt x="205" y="632"/>
                    </a:lnTo>
                    <a:lnTo>
                      <a:pt x="206" y="632"/>
                    </a:lnTo>
                    <a:lnTo>
                      <a:pt x="208" y="632"/>
                    </a:lnTo>
                    <a:lnTo>
                      <a:pt x="210" y="632"/>
                    </a:lnTo>
                    <a:lnTo>
                      <a:pt x="210" y="630"/>
                    </a:lnTo>
                    <a:lnTo>
                      <a:pt x="211" y="630"/>
                    </a:lnTo>
                    <a:lnTo>
                      <a:pt x="213" y="630"/>
                    </a:lnTo>
                    <a:lnTo>
                      <a:pt x="214" y="630"/>
                    </a:lnTo>
                    <a:lnTo>
                      <a:pt x="216" y="630"/>
                    </a:lnTo>
                    <a:lnTo>
                      <a:pt x="217" y="630"/>
                    </a:lnTo>
                    <a:lnTo>
                      <a:pt x="219" y="630"/>
                    </a:lnTo>
                    <a:lnTo>
                      <a:pt x="221" y="630"/>
                    </a:lnTo>
                    <a:lnTo>
                      <a:pt x="222" y="630"/>
                    </a:lnTo>
                    <a:lnTo>
                      <a:pt x="224" y="630"/>
                    </a:lnTo>
                    <a:lnTo>
                      <a:pt x="225" y="630"/>
                    </a:lnTo>
                    <a:lnTo>
                      <a:pt x="227" y="630"/>
                    </a:lnTo>
                    <a:lnTo>
                      <a:pt x="229" y="630"/>
                    </a:lnTo>
                    <a:lnTo>
                      <a:pt x="230" y="630"/>
                    </a:lnTo>
                    <a:lnTo>
                      <a:pt x="232" y="630"/>
                    </a:lnTo>
                    <a:lnTo>
                      <a:pt x="243" y="619"/>
                    </a:lnTo>
                    <a:lnTo>
                      <a:pt x="244" y="619"/>
                    </a:lnTo>
                    <a:lnTo>
                      <a:pt x="244" y="617"/>
                    </a:lnTo>
                    <a:lnTo>
                      <a:pt x="246" y="617"/>
                    </a:lnTo>
                    <a:lnTo>
                      <a:pt x="246" y="616"/>
                    </a:lnTo>
                    <a:lnTo>
                      <a:pt x="248" y="616"/>
                    </a:lnTo>
                    <a:lnTo>
                      <a:pt x="248" y="614"/>
                    </a:lnTo>
                    <a:lnTo>
                      <a:pt x="249" y="614"/>
                    </a:lnTo>
                    <a:lnTo>
                      <a:pt x="249" y="613"/>
                    </a:lnTo>
                    <a:lnTo>
                      <a:pt x="251" y="613"/>
                    </a:lnTo>
                    <a:lnTo>
                      <a:pt x="251" y="611"/>
                    </a:lnTo>
                    <a:lnTo>
                      <a:pt x="252" y="611"/>
                    </a:lnTo>
                    <a:lnTo>
                      <a:pt x="252" y="610"/>
                    </a:lnTo>
                    <a:lnTo>
                      <a:pt x="254" y="610"/>
                    </a:lnTo>
                    <a:lnTo>
                      <a:pt x="254" y="608"/>
                    </a:lnTo>
                    <a:lnTo>
                      <a:pt x="255" y="608"/>
                    </a:lnTo>
                    <a:lnTo>
                      <a:pt x="255" y="606"/>
                    </a:lnTo>
                    <a:lnTo>
                      <a:pt x="257" y="606"/>
                    </a:lnTo>
                    <a:lnTo>
                      <a:pt x="257" y="605"/>
                    </a:lnTo>
                    <a:lnTo>
                      <a:pt x="257" y="603"/>
                    </a:lnTo>
                    <a:lnTo>
                      <a:pt x="257" y="602"/>
                    </a:lnTo>
                    <a:lnTo>
                      <a:pt x="257" y="600"/>
                    </a:lnTo>
                    <a:lnTo>
                      <a:pt x="257" y="598"/>
                    </a:lnTo>
                    <a:lnTo>
                      <a:pt x="257" y="597"/>
                    </a:lnTo>
                    <a:lnTo>
                      <a:pt x="257" y="595"/>
                    </a:lnTo>
                    <a:lnTo>
                      <a:pt x="259" y="595"/>
                    </a:lnTo>
                    <a:lnTo>
                      <a:pt x="259" y="594"/>
                    </a:lnTo>
                    <a:lnTo>
                      <a:pt x="260" y="594"/>
                    </a:lnTo>
                    <a:lnTo>
                      <a:pt x="262" y="594"/>
                    </a:lnTo>
                    <a:lnTo>
                      <a:pt x="262" y="592"/>
                    </a:lnTo>
                    <a:lnTo>
                      <a:pt x="263" y="592"/>
                    </a:lnTo>
                    <a:lnTo>
                      <a:pt x="265" y="592"/>
                    </a:lnTo>
                    <a:lnTo>
                      <a:pt x="265" y="591"/>
                    </a:lnTo>
                    <a:lnTo>
                      <a:pt x="267" y="591"/>
                    </a:lnTo>
                    <a:lnTo>
                      <a:pt x="268" y="591"/>
                    </a:lnTo>
                    <a:lnTo>
                      <a:pt x="268" y="589"/>
                    </a:lnTo>
                    <a:lnTo>
                      <a:pt x="270" y="589"/>
                    </a:lnTo>
                    <a:lnTo>
                      <a:pt x="271" y="589"/>
                    </a:lnTo>
                    <a:lnTo>
                      <a:pt x="271" y="587"/>
                    </a:lnTo>
                    <a:lnTo>
                      <a:pt x="273" y="587"/>
                    </a:lnTo>
                    <a:lnTo>
                      <a:pt x="274" y="587"/>
                    </a:lnTo>
                    <a:lnTo>
                      <a:pt x="274" y="586"/>
                    </a:lnTo>
                    <a:lnTo>
                      <a:pt x="276" y="586"/>
                    </a:lnTo>
                    <a:lnTo>
                      <a:pt x="278" y="586"/>
                    </a:lnTo>
                    <a:lnTo>
                      <a:pt x="279" y="584"/>
                    </a:lnTo>
                    <a:lnTo>
                      <a:pt x="281" y="584"/>
                    </a:lnTo>
                    <a:lnTo>
                      <a:pt x="282" y="583"/>
                    </a:lnTo>
                    <a:lnTo>
                      <a:pt x="284" y="583"/>
                    </a:lnTo>
                    <a:lnTo>
                      <a:pt x="286" y="583"/>
                    </a:lnTo>
                    <a:lnTo>
                      <a:pt x="287" y="583"/>
                    </a:lnTo>
                    <a:lnTo>
                      <a:pt x="287" y="584"/>
                    </a:lnTo>
                    <a:lnTo>
                      <a:pt x="289" y="584"/>
                    </a:lnTo>
                    <a:lnTo>
                      <a:pt x="290" y="584"/>
                    </a:lnTo>
                    <a:lnTo>
                      <a:pt x="290" y="586"/>
                    </a:lnTo>
                    <a:lnTo>
                      <a:pt x="292" y="586"/>
                    </a:lnTo>
                    <a:lnTo>
                      <a:pt x="293" y="584"/>
                    </a:lnTo>
                    <a:lnTo>
                      <a:pt x="295" y="584"/>
                    </a:lnTo>
                    <a:lnTo>
                      <a:pt x="297" y="584"/>
                    </a:lnTo>
                    <a:lnTo>
                      <a:pt x="298" y="584"/>
                    </a:lnTo>
                    <a:lnTo>
                      <a:pt x="300" y="583"/>
                    </a:lnTo>
                    <a:lnTo>
                      <a:pt x="300" y="581"/>
                    </a:lnTo>
                    <a:lnTo>
                      <a:pt x="300" y="579"/>
                    </a:lnTo>
                    <a:lnTo>
                      <a:pt x="300" y="578"/>
                    </a:lnTo>
                    <a:lnTo>
                      <a:pt x="298" y="576"/>
                    </a:lnTo>
                    <a:lnTo>
                      <a:pt x="300" y="576"/>
                    </a:lnTo>
                    <a:lnTo>
                      <a:pt x="300" y="575"/>
                    </a:lnTo>
                    <a:lnTo>
                      <a:pt x="300" y="573"/>
                    </a:lnTo>
                    <a:lnTo>
                      <a:pt x="301" y="573"/>
                    </a:lnTo>
                    <a:lnTo>
                      <a:pt x="303" y="572"/>
                    </a:lnTo>
                    <a:lnTo>
                      <a:pt x="303" y="570"/>
                    </a:lnTo>
                    <a:lnTo>
                      <a:pt x="303" y="568"/>
                    </a:lnTo>
                    <a:lnTo>
                      <a:pt x="303" y="567"/>
                    </a:lnTo>
                    <a:lnTo>
                      <a:pt x="303" y="565"/>
                    </a:lnTo>
                    <a:lnTo>
                      <a:pt x="303" y="564"/>
                    </a:lnTo>
                    <a:lnTo>
                      <a:pt x="311" y="553"/>
                    </a:lnTo>
                    <a:lnTo>
                      <a:pt x="311" y="551"/>
                    </a:lnTo>
                    <a:lnTo>
                      <a:pt x="311" y="549"/>
                    </a:lnTo>
                    <a:lnTo>
                      <a:pt x="312" y="548"/>
                    </a:lnTo>
                    <a:lnTo>
                      <a:pt x="312" y="546"/>
                    </a:lnTo>
                    <a:lnTo>
                      <a:pt x="312" y="545"/>
                    </a:lnTo>
                    <a:lnTo>
                      <a:pt x="312" y="543"/>
                    </a:lnTo>
                    <a:lnTo>
                      <a:pt x="312" y="541"/>
                    </a:lnTo>
                    <a:lnTo>
                      <a:pt x="312" y="540"/>
                    </a:lnTo>
                    <a:lnTo>
                      <a:pt x="312" y="538"/>
                    </a:lnTo>
                    <a:lnTo>
                      <a:pt x="312" y="537"/>
                    </a:lnTo>
                    <a:lnTo>
                      <a:pt x="311" y="535"/>
                    </a:lnTo>
                    <a:lnTo>
                      <a:pt x="311" y="534"/>
                    </a:lnTo>
                    <a:lnTo>
                      <a:pt x="309" y="532"/>
                    </a:lnTo>
                    <a:lnTo>
                      <a:pt x="308" y="530"/>
                    </a:lnTo>
                    <a:lnTo>
                      <a:pt x="306" y="530"/>
                    </a:lnTo>
                    <a:lnTo>
                      <a:pt x="306" y="529"/>
                    </a:lnTo>
                    <a:lnTo>
                      <a:pt x="305" y="529"/>
                    </a:lnTo>
                    <a:lnTo>
                      <a:pt x="305" y="527"/>
                    </a:lnTo>
                    <a:lnTo>
                      <a:pt x="303" y="527"/>
                    </a:lnTo>
                    <a:lnTo>
                      <a:pt x="300" y="518"/>
                    </a:lnTo>
                    <a:lnTo>
                      <a:pt x="298" y="516"/>
                    </a:lnTo>
                    <a:lnTo>
                      <a:pt x="298" y="515"/>
                    </a:lnTo>
                    <a:lnTo>
                      <a:pt x="297" y="515"/>
                    </a:lnTo>
                    <a:lnTo>
                      <a:pt x="297" y="513"/>
                    </a:lnTo>
                    <a:lnTo>
                      <a:pt x="295" y="511"/>
                    </a:lnTo>
                    <a:lnTo>
                      <a:pt x="293" y="510"/>
                    </a:lnTo>
                    <a:lnTo>
                      <a:pt x="293" y="508"/>
                    </a:lnTo>
                    <a:lnTo>
                      <a:pt x="293" y="507"/>
                    </a:lnTo>
                    <a:lnTo>
                      <a:pt x="292" y="505"/>
                    </a:lnTo>
                    <a:lnTo>
                      <a:pt x="293" y="503"/>
                    </a:lnTo>
                    <a:lnTo>
                      <a:pt x="293" y="502"/>
                    </a:lnTo>
                    <a:lnTo>
                      <a:pt x="295" y="500"/>
                    </a:lnTo>
                    <a:lnTo>
                      <a:pt x="297" y="497"/>
                    </a:lnTo>
                    <a:lnTo>
                      <a:pt x="297" y="496"/>
                    </a:lnTo>
                    <a:lnTo>
                      <a:pt x="298" y="496"/>
                    </a:lnTo>
                    <a:lnTo>
                      <a:pt x="306" y="483"/>
                    </a:lnTo>
                    <a:lnTo>
                      <a:pt x="308" y="481"/>
                    </a:lnTo>
                    <a:lnTo>
                      <a:pt x="308" y="480"/>
                    </a:lnTo>
                    <a:lnTo>
                      <a:pt x="311" y="475"/>
                    </a:lnTo>
                    <a:lnTo>
                      <a:pt x="314" y="473"/>
                    </a:lnTo>
                    <a:lnTo>
                      <a:pt x="314" y="472"/>
                    </a:lnTo>
                    <a:lnTo>
                      <a:pt x="316" y="470"/>
                    </a:lnTo>
                    <a:lnTo>
                      <a:pt x="319" y="467"/>
                    </a:lnTo>
                    <a:lnTo>
                      <a:pt x="320" y="465"/>
                    </a:lnTo>
                    <a:lnTo>
                      <a:pt x="322" y="464"/>
                    </a:lnTo>
                    <a:lnTo>
                      <a:pt x="325" y="464"/>
                    </a:lnTo>
                    <a:lnTo>
                      <a:pt x="330" y="462"/>
                    </a:lnTo>
                    <a:lnTo>
                      <a:pt x="333" y="462"/>
                    </a:lnTo>
                    <a:lnTo>
                      <a:pt x="336" y="461"/>
                    </a:lnTo>
                    <a:lnTo>
                      <a:pt x="339" y="459"/>
                    </a:lnTo>
                    <a:lnTo>
                      <a:pt x="343" y="456"/>
                    </a:lnTo>
                    <a:lnTo>
                      <a:pt x="346" y="454"/>
                    </a:lnTo>
                    <a:lnTo>
                      <a:pt x="347" y="451"/>
                    </a:lnTo>
                    <a:lnTo>
                      <a:pt x="349" y="448"/>
                    </a:lnTo>
                    <a:lnTo>
                      <a:pt x="351" y="445"/>
                    </a:lnTo>
                    <a:lnTo>
                      <a:pt x="352" y="442"/>
                    </a:lnTo>
                    <a:lnTo>
                      <a:pt x="355" y="437"/>
                    </a:lnTo>
                    <a:lnTo>
                      <a:pt x="357" y="434"/>
                    </a:lnTo>
                    <a:lnTo>
                      <a:pt x="358" y="432"/>
                    </a:lnTo>
                    <a:lnTo>
                      <a:pt x="360" y="427"/>
                    </a:lnTo>
                    <a:lnTo>
                      <a:pt x="362" y="426"/>
                    </a:lnTo>
                    <a:lnTo>
                      <a:pt x="363" y="423"/>
                    </a:lnTo>
                    <a:lnTo>
                      <a:pt x="365" y="418"/>
                    </a:lnTo>
                    <a:lnTo>
                      <a:pt x="366" y="415"/>
                    </a:lnTo>
                    <a:lnTo>
                      <a:pt x="370" y="408"/>
                    </a:lnTo>
                    <a:lnTo>
                      <a:pt x="371" y="405"/>
                    </a:lnTo>
                    <a:lnTo>
                      <a:pt x="373" y="400"/>
                    </a:lnTo>
                    <a:lnTo>
                      <a:pt x="376" y="399"/>
                    </a:lnTo>
                    <a:lnTo>
                      <a:pt x="377" y="399"/>
                    </a:lnTo>
                    <a:lnTo>
                      <a:pt x="381" y="399"/>
                    </a:lnTo>
                    <a:lnTo>
                      <a:pt x="384" y="399"/>
                    </a:lnTo>
                    <a:lnTo>
                      <a:pt x="389" y="399"/>
                    </a:lnTo>
                    <a:lnTo>
                      <a:pt x="393" y="397"/>
                    </a:lnTo>
                    <a:lnTo>
                      <a:pt x="393" y="396"/>
                    </a:lnTo>
                    <a:lnTo>
                      <a:pt x="393" y="394"/>
                    </a:lnTo>
                    <a:lnTo>
                      <a:pt x="395" y="394"/>
                    </a:lnTo>
                    <a:lnTo>
                      <a:pt x="395" y="393"/>
                    </a:lnTo>
                    <a:lnTo>
                      <a:pt x="396" y="391"/>
                    </a:lnTo>
                    <a:lnTo>
                      <a:pt x="398" y="391"/>
                    </a:lnTo>
                    <a:lnTo>
                      <a:pt x="398" y="389"/>
                    </a:lnTo>
                    <a:lnTo>
                      <a:pt x="400" y="389"/>
                    </a:lnTo>
                    <a:lnTo>
                      <a:pt x="401" y="389"/>
                    </a:lnTo>
                    <a:lnTo>
                      <a:pt x="401" y="388"/>
                    </a:lnTo>
                    <a:lnTo>
                      <a:pt x="403" y="388"/>
                    </a:lnTo>
                    <a:lnTo>
                      <a:pt x="403" y="386"/>
                    </a:lnTo>
                    <a:lnTo>
                      <a:pt x="404" y="386"/>
                    </a:lnTo>
                    <a:lnTo>
                      <a:pt x="406" y="385"/>
                    </a:lnTo>
                    <a:lnTo>
                      <a:pt x="406" y="383"/>
                    </a:lnTo>
                    <a:lnTo>
                      <a:pt x="408" y="383"/>
                    </a:lnTo>
                    <a:lnTo>
                      <a:pt x="408" y="381"/>
                    </a:lnTo>
                    <a:lnTo>
                      <a:pt x="409" y="381"/>
                    </a:lnTo>
                    <a:lnTo>
                      <a:pt x="411" y="380"/>
                    </a:lnTo>
                    <a:lnTo>
                      <a:pt x="412" y="380"/>
                    </a:lnTo>
                    <a:lnTo>
                      <a:pt x="412" y="378"/>
                    </a:lnTo>
                    <a:lnTo>
                      <a:pt x="414" y="378"/>
                    </a:lnTo>
                    <a:lnTo>
                      <a:pt x="414" y="377"/>
                    </a:lnTo>
                    <a:lnTo>
                      <a:pt x="415" y="377"/>
                    </a:lnTo>
                    <a:lnTo>
                      <a:pt x="415" y="375"/>
                    </a:lnTo>
                    <a:lnTo>
                      <a:pt x="417" y="375"/>
                    </a:lnTo>
                    <a:lnTo>
                      <a:pt x="419" y="375"/>
                    </a:lnTo>
                    <a:lnTo>
                      <a:pt x="419" y="374"/>
                    </a:lnTo>
                    <a:lnTo>
                      <a:pt x="420" y="374"/>
                    </a:lnTo>
                    <a:lnTo>
                      <a:pt x="420" y="372"/>
                    </a:lnTo>
                    <a:lnTo>
                      <a:pt x="419" y="372"/>
                    </a:lnTo>
                    <a:lnTo>
                      <a:pt x="417" y="372"/>
                    </a:lnTo>
                    <a:lnTo>
                      <a:pt x="415" y="370"/>
                    </a:lnTo>
                    <a:lnTo>
                      <a:pt x="414" y="370"/>
                    </a:lnTo>
                    <a:lnTo>
                      <a:pt x="412" y="369"/>
                    </a:lnTo>
                    <a:lnTo>
                      <a:pt x="411" y="369"/>
                    </a:lnTo>
                    <a:lnTo>
                      <a:pt x="411" y="367"/>
                    </a:lnTo>
                    <a:lnTo>
                      <a:pt x="409" y="367"/>
                    </a:lnTo>
                    <a:lnTo>
                      <a:pt x="408" y="366"/>
                    </a:lnTo>
                    <a:lnTo>
                      <a:pt x="406" y="366"/>
                    </a:lnTo>
                    <a:lnTo>
                      <a:pt x="406" y="364"/>
                    </a:lnTo>
                    <a:lnTo>
                      <a:pt x="404" y="364"/>
                    </a:lnTo>
                    <a:lnTo>
                      <a:pt x="404" y="362"/>
                    </a:lnTo>
                    <a:lnTo>
                      <a:pt x="403" y="362"/>
                    </a:lnTo>
                    <a:lnTo>
                      <a:pt x="401" y="362"/>
                    </a:lnTo>
                    <a:lnTo>
                      <a:pt x="400" y="361"/>
                    </a:lnTo>
                    <a:lnTo>
                      <a:pt x="398" y="361"/>
                    </a:lnTo>
                    <a:lnTo>
                      <a:pt x="396" y="361"/>
                    </a:lnTo>
                    <a:lnTo>
                      <a:pt x="395" y="359"/>
                    </a:lnTo>
                    <a:lnTo>
                      <a:pt x="393" y="359"/>
                    </a:lnTo>
                    <a:lnTo>
                      <a:pt x="392" y="359"/>
                    </a:lnTo>
                    <a:lnTo>
                      <a:pt x="390" y="358"/>
                    </a:lnTo>
                    <a:lnTo>
                      <a:pt x="389" y="358"/>
                    </a:lnTo>
                    <a:lnTo>
                      <a:pt x="387" y="358"/>
                    </a:lnTo>
                    <a:lnTo>
                      <a:pt x="385" y="358"/>
                    </a:lnTo>
                    <a:lnTo>
                      <a:pt x="384" y="359"/>
                    </a:lnTo>
                    <a:lnTo>
                      <a:pt x="382" y="359"/>
                    </a:lnTo>
                    <a:lnTo>
                      <a:pt x="381" y="359"/>
                    </a:lnTo>
                    <a:lnTo>
                      <a:pt x="381" y="361"/>
                    </a:lnTo>
                    <a:lnTo>
                      <a:pt x="379" y="361"/>
                    </a:lnTo>
                    <a:lnTo>
                      <a:pt x="377" y="361"/>
                    </a:lnTo>
                    <a:lnTo>
                      <a:pt x="376" y="361"/>
                    </a:lnTo>
                    <a:lnTo>
                      <a:pt x="374" y="361"/>
                    </a:lnTo>
                    <a:lnTo>
                      <a:pt x="373" y="361"/>
                    </a:lnTo>
                    <a:lnTo>
                      <a:pt x="371" y="361"/>
                    </a:lnTo>
                    <a:lnTo>
                      <a:pt x="370" y="361"/>
                    </a:lnTo>
                    <a:lnTo>
                      <a:pt x="368" y="361"/>
                    </a:lnTo>
                    <a:lnTo>
                      <a:pt x="368" y="359"/>
                    </a:lnTo>
                    <a:lnTo>
                      <a:pt x="366" y="359"/>
                    </a:lnTo>
                    <a:lnTo>
                      <a:pt x="365" y="359"/>
                    </a:lnTo>
                    <a:lnTo>
                      <a:pt x="365" y="358"/>
                    </a:lnTo>
                    <a:lnTo>
                      <a:pt x="366" y="356"/>
                    </a:lnTo>
                    <a:lnTo>
                      <a:pt x="368" y="355"/>
                    </a:lnTo>
                    <a:lnTo>
                      <a:pt x="368" y="353"/>
                    </a:lnTo>
                    <a:lnTo>
                      <a:pt x="370" y="353"/>
                    </a:lnTo>
                    <a:lnTo>
                      <a:pt x="370" y="351"/>
                    </a:lnTo>
                    <a:lnTo>
                      <a:pt x="371" y="350"/>
                    </a:lnTo>
                    <a:lnTo>
                      <a:pt x="371" y="348"/>
                    </a:lnTo>
                    <a:lnTo>
                      <a:pt x="371" y="347"/>
                    </a:lnTo>
                    <a:lnTo>
                      <a:pt x="371" y="345"/>
                    </a:lnTo>
                    <a:lnTo>
                      <a:pt x="371" y="343"/>
                    </a:lnTo>
                    <a:lnTo>
                      <a:pt x="371" y="342"/>
                    </a:lnTo>
                    <a:lnTo>
                      <a:pt x="370" y="342"/>
                    </a:lnTo>
                    <a:lnTo>
                      <a:pt x="368" y="342"/>
                    </a:lnTo>
                    <a:lnTo>
                      <a:pt x="366" y="342"/>
                    </a:lnTo>
                    <a:lnTo>
                      <a:pt x="365" y="342"/>
                    </a:lnTo>
                    <a:lnTo>
                      <a:pt x="363" y="342"/>
                    </a:lnTo>
                    <a:lnTo>
                      <a:pt x="362" y="340"/>
                    </a:lnTo>
                    <a:lnTo>
                      <a:pt x="360" y="340"/>
                    </a:lnTo>
                    <a:lnTo>
                      <a:pt x="358" y="340"/>
                    </a:lnTo>
                    <a:lnTo>
                      <a:pt x="357" y="340"/>
                    </a:lnTo>
                    <a:lnTo>
                      <a:pt x="355" y="340"/>
                    </a:lnTo>
                    <a:lnTo>
                      <a:pt x="355" y="339"/>
                    </a:lnTo>
                    <a:lnTo>
                      <a:pt x="354" y="339"/>
                    </a:lnTo>
                    <a:lnTo>
                      <a:pt x="352" y="339"/>
                    </a:lnTo>
                    <a:lnTo>
                      <a:pt x="351" y="339"/>
                    </a:lnTo>
                    <a:lnTo>
                      <a:pt x="349" y="339"/>
                    </a:lnTo>
                    <a:lnTo>
                      <a:pt x="347" y="339"/>
                    </a:lnTo>
                    <a:lnTo>
                      <a:pt x="346" y="339"/>
                    </a:lnTo>
                    <a:lnTo>
                      <a:pt x="344" y="339"/>
                    </a:lnTo>
                    <a:lnTo>
                      <a:pt x="344" y="337"/>
                    </a:lnTo>
                    <a:lnTo>
                      <a:pt x="343" y="337"/>
                    </a:lnTo>
                    <a:lnTo>
                      <a:pt x="341" y="337"/>
                    </a:lnTo>
                    <a:lnTo>
                      <a:pt x="339" y="337"/>
                    </a:lnTo>
                    <a:lnTo>
                      <a:pt x="338" y="337"/>
                    </a:lnTo>
                    <a:lnTo>
                      <a:pt x="336" y="337"/>
                    </a:lnTo>
                    <a:lnTo>
                      <a:pt x="335" y="336"/>
                    </a:lnTo>
                    <a:lnTo>
                      <a:pt x="333" y="336"/>
                    </a:lnTo>
                    <a:lnTo>
                      <a:pt x="332" y="336"/>
                    </a:lnTo>
                    <a:lnTo>
                      <a:pt x="330" y="336"/>
                    </a:lnTo>
                    <a:lnTo>
                      <a:pt x="328" y="336"/>
                    </a:lnTo>
                    <a:lnTo>
                      <a:pt x="328" y="334"/>
                    </a:lnTo>
                    <a:lnTo>
                      <a:pt x="327" y="334"/>
                    </a:lnTo>
                    <a:lnTo>
                      <a:pt x="325" y="334"/>
                    </a:lnTo>
                    <a:lnTo>
                      <a:pt x="324" y="334"/>
                    </a:lnTo>
                    <a:lnTo>
                      <a:pt x="322" y="334"/>
                    </a:lnTo>
                    <a:lnTo>
                      <a:pt x="320" y="334"/>
                    </a:lnTo>
                    <a:lnTo>
                      <a:pt x="319" y="334"/>
                    </a:lnTo>
                    <a:lnTo>
                      <a:pt x="317" y="334"/>
                    </a:lnTo>
                    <a:lnTo>
                      <a:pt x="316" y="332"/>
                    </a:lnTo>
                    <a:lnTo>
                      <a:pt x="314" y="332"/>
                    </a:lnTo>
                    <a:lnTo>
                      <a:pt x="312" y="332"/>
                    </a:lnTo>
                    <a:lnTo>
                      <a:pt x="311" y="332"/>
                    </a:lnTo>
                    <a:lnTo>
                      <a:pt x="309" y="332"/>
                    </a:lnTo>
                    <a:lnTo>
                      <a:pt x="308" y="332"/>
                    </a:lnTo>
                    <a:lnTo>
                      <a:pt x="306" y="332"/>
                    </a:lnTo>
                    <a:lnTo>
                      <a:pt x="305" y="332"/>
                    </a:lnTo>
                    <a:lnTo>
                      <a:pt x="305" y="331"/>
                    </a:lnTo>
                    <a:lnTo>
                      <a:pt x="303" y="331"/>
                    </a:lnTo>
                    <a:lnTo>
                      <a:pt x="301" y="331"/>
                    </a:lnTo>
                    <a:lnTo>
                      <a:pt x="300" y="331"/>
                    </a:lnTo>
                    <a:lnTo>
                      <a:pt x="298" y="331"/>
                    </a:lnTo>
                    <a:lnTo>
                      <a:pt x="297" y="329"/>
                    </a:lnTo>
                    <a:lnTo>
                      <a:pt x="295" y="329"/>
                    </a:lnTo>
                    <a:lnTo>
                      <a:pt x="293" y="329"/>
                    </a:lnTo>
                    <a:lnTo>
                      <a:pt x="292" y="329"/>
                    </a:lnTo>
                    <a:lnTo>
                      <a:pt x="290" y="329"/>
                    </a:lnTo>
                    <a:lnTo>
                      <a:pt x="290" y="328"/>
                    </a:lnTo>
                    <a:lnTo>
                      <a:pt x="289" y="328"/>
                    </a:lnTo>
                    <a:lnTo>
                      <a:pt x="287" y="328"/>
                    </a:lnTo>
                    <a:lnTo>
                      <a:pt x="286" y="328"/>
                    </a:lnTo>
                    <a:lnTo>
                      <a:pt x="284" y="328"/>
                    </a:lnTo>
                    <a:lnTo>
                      <a:pt x="282" y="328"/>
                    </a:lnTo>
                    <a:lnTo>
                      <a:pt x="281" y="328"/>
                    </a:lnTo>
                    <a:lnTo>
                      <a:pt x="279" y="328"/>
                    </a:lnTo>
                    <a:lnTo>
                      <a:pt x="278" y="328"/>
                    </a:lnTo>
                    <a:lnTo>
                      <a:pt x="276" y="328"/>
                    </a:lnTo>
                    <a:lnTo>
                      <a:pt x="274" y="328"/>
                    </a:lnTo>
                    <a:lnTo>
                      <a:pt x="273" y="328"/>
                    </a:lnTo>
                    <a:lnTo>
                      <a:pt x="271" y="326"/>
                    </a:lnTo>
                    <a:lnTo>
                      <a:pt x="270" y="326"/>
                    </a:lnTo>
                    <a:lnTo>
                      <a:pt x="268" y="326"/>
                    </a:lnTo>
                    <a:lnTo>
                      <a:pt x="267" y="324"/>
                    </a:lnTo>
                    <a:lnTo>
                      <a:pt x="265" y="324"/>
                    </a:lnTo>
                    <a:lnTo>
                      <a:pt x="263" y="324"/>
                    </a:lnTo>
                    <a:lnTo>
                      <a:pt x="263" y="323"/>
                    </a:lnTo>
                    <a:lnTo>
                      <a:pt x="262" y="323"/>
                    </a:lnTo>
                    <a:lnTo>
                      <a:pt x="260" y="323"/>
                    </a:lnTo>
                    <a:lnTo>
                      <a:pt x="260" y="321"/>
                    </a:lnTo>
                    <a:lnTo>
                      <a:pt x="259" y="321"/>
                    </a:lnTo>
                    <a:lnTo>
                      <a:pt x="257" y="320"/>
                    </a:lnTo>
                    <a:lnTo>
                      <a:pt x="255" y="320"/>
                    </a:lnTo>
                    <a:lnTo>
                      <a:pt x="255" y="318"/>
                    </a:lnTo>
                    <a:lnTo>
                      <a:pt x="254" y="318"/>
                    </a:lnTo>
                    <a:lnTo>
                      <a:pt x="254" y="317"/>
                    </a:lnTo>
                    <a:lnTo>
                      <a:pt x="252" y="317"/>
                    </a:lnTo>
                    <a:lnTo>
                      <a:pt x="252" y="315"/>
                    </a:lnTo>
                    <a:lnTo>
                      <a:pt x="251" y="315"/>
                    </a:lnTo>
                    <a:lnTo>
                      <a:pt x="251" y="313"/>
                    </a:lnTo>
                    <a:lnTo>
                      <a:pt x="249" y="313"/>
                    </a:lnTo>
                    <a:lnTo>
                      <a:pt x="249" y="312"/>
                    </a:lnTo>
                    <a:lnTo>
                      <a:pt x="248" y="312"/>
                    </a:lnTo>
                    <a:lnTo>
                      <a:pt x="246" y="312"/>
                    </a:lnTo>
                    <a:lnTo>
                      <a:pt x="244" y="312"/>
                    </a:lnTo>
                    <a:lnTo>
                      <a:pt x="243" y="312"/>
                    </a:lnTo>
                    <a:lnTo>
                      <a:pt x="241" y="312"/>
                    </a:lnTo>
                    <a:lnTo>
                      <a:pt x="241" y="310"/>
                    </a:lnTo>
                    <a:lnTo>
                      <a:pt x="240" y="310"/>
                    </a:lnTo>
                    <a:lnTo>
                      <a:pt x="238" y="310"/>
                    </a:lnTo>
                    <a:lnTo>
                      <a:pt x="236" y="310"/>
                    </a:lnTo>
                    <a:lnTo>
                      <a:pt x="236" y="312"/>
                    </a:lnTo>
                    <a:lnTo>
                      <a:pt x="235" y="312"/>
                    </a:lnTo>
                    <a:lnTo>
                      <a:pt x="233" y="310"/>
                    </a:lnTo>
                    <a:lnTo>
                      <a:pt x="232" y="310"/>
                    </a:lnTo>
                    <a:lnTo>
                      <a:pt x="232" y="312"/>
                    </a:lnTo>
                    <a:lnTo>
                      <a:pt x="230" y="312"/>
                    </a:lnTo>
                    <a:lnTo>
                      <a:pt x="229" y="310"/>
                    </a:lnTo>
                    <a:lnTo>
                      <a:pt x="227" y="310"/>
                    </a:lnTo>
                    <a:lnTo>
                      <a:pt x="225" y="310"/>
                    </a:lnTo>
                    <a:lnTo>
                      <a:pt x="224" y="309"/>
                    </a:lnTo>
                    <a:lnTo>
                      <a:pt x="222" y="309"/>
                    </a:lnTo>
                    <a:lnTo>
                      <a:pt x="222" y="307"/>
                    </a:lnTo>
                    <a:lnTo>
                      <a:pt x="221" y="307"/>
                    </a:lnTo>
                    <a:lnTo>
                      <a:pt x="219" y="307"/>
                    </a:lnTo>
                    <a:lnTo>
                      <a:pt x="217" y="307"/>
                    </a:lnTo>
                    <a:lnTo>
                      <a:pt x="217" y="305"/>
                    </a:lnTo>
                    <a:lnTo>
                      <a:pt x="216" y="305"/>
                    </a:lnTo>
                    <a:lnTo>
                      <a:pt x="214" y="305"/>
                    </a:lnTo>
                    <a:lnTo>
                      <a:pt x="213" y="305"/>
                    </a:lnTo>
                    <a:lnTo>
                      <a:pt x="211" y="305"/>
                    </a:lnTo>
                    <a:lnTo>
                      <a:pt x="211" y="304"/>
                    </a:lnTo>
                    <a:lnTo>
                      <a:pt x="210" y="304"/>
                    </a:lnTo>
                    <a:lnTo>
                      <a:pt x="208" y="304"/>
                    </a:lnTo>
                    <a:lnTo>
                      <a:pt x="206" y="304"/>
                    </a:lnTo>
                    <a:lnTo>
                      <a:pt x="205" y="304"/>
                    </a:lnTo>
                    <a:lnTo>
                      <a:pt x="203" y="304"/>
                    </a:lnTo>
                    <a:lnTo>
                      <a:pt x="202" y="304"/>
                    </a:lnTo>
                    <a:lnTo>
                      <a:pt x="200" y="304"/>
                    </a:lnTo>
                    <a:lnTo>
                      <a:pt x="200" y="302"/>
                    </a:lnTo>
                    <a:lnTo>
                      <a:pt x="198" y="302"/>
                    </a:lnTo>
                    <a:lnTo>
                      <a:pt x="197" y="302"/>
                    </a:lnTo>
                    <a:lnTo>
                      <a:pt x="195" y="302"/>
                    </a:lnTo>
                    <a:lnTo>
                      <a:pt x="194" y="302"/>
                    </a:lnTo>
                    <a:lnTo>
                      <a:pt x="192" y="302"/>
                    </a:lnTo>
                    <a:lnTo>
                      <a:pt x="191" y="302"/>
                    </a:lnTo>
                    <a:lnTo>
                      <a:pt x="189" y="302"/>
                    </a:lnTo>
                    <a:lnTo>
                      <a:pt x="187" y="302"/>
                    </a:lnTo>
                    <a:lnTo>
                      <a:pt x="186" y="302"/>
                    </a:lnTo>
                    <a:lnTo>
                      <a:pt x="184" y="302"/>
                    </a:lnTo>
                    <a:lnTo>
                      <a:pt x="183" y="302"/>
                    </a:lnTo>
                    <a:lnTo>
                      <a:pt x="181" y="302"/>
                    </a:lnTo>
                    <a:lnTo>
                      <a:pt x="179" y="302"/>
                    </a:lnTo>
                    <a:lnTo>
                      <a:pt x="178" y="302"/>
                    </a:lnTo>
                    <a:lnTo>
                      <a:pt x="176" y="302"/>
                    </a:lnTo>
                    <a:lnTo>
                      <a:pt x="175" y="302"/>
                    </a:lnTo>
                    <a:lnTo>
                      <a:pt x="173" y="302"/>
                    </a:lnTo>
                    <a:lnTo>
                      <a:pt x="172" y="302"/>
                    </a:lnTo>
                    <a:lnTo>
                      <a:pt x="170" y="302"/>
                    </a:lnTo>
                    <a:lnTo>
                      <a:pt x="168" y="302"/>
                    </a:lnTo>
                    <a:lnTo>
                      <a:pt x="167" y="302"/>
                    </a:lnTo>
                    <a:lnTo>
                      <a:pt x="165" y="304"/>
                    </a:lnTo>
                    <a:lnTo>
                      <a:pt x="164" y="304"/>
                    </a:lnTo>
                    <a:lnTo>
                      <a:pt x="162" y="304"/>
                    </a:lnTo>
                    <a:lnTo>
                      <a:pt x="160" y="304"/>
                    </a:lnTo>
                    <a:lnTo>
                      <a:pt x="159" y="304"/>
                    </a:lnTo>
                    <a:lnTo>
                      <a:pt x="157" y="304"/>
                    </a:lnTo>
                    <a:lnTo>
                      <a:pt x="156" y="304"/>
                    </a:lnTo>
                    <a:lnTo>
                      <a:pt x="154" y="304"/>
                    </a:lnTo>
                    <a:lnTo>
                      <a:pt x="153" y="304"/>
                    </a:lnTo>
                    <a:lnTo>
                      <a:pt x="151" y="304"/>
                    </a:lnTo>
                    <a:lnTo>
                      <a:pt x="149" y="304"/>
                    </a:lnTo>
                    <a:lnTo>
                      <a:pt x="148" y="304"/>
                    </a:lnTo>
                    <a:lnTo>
                      <a:pt x="146" y="304"/>
                    </a:lnTo>
                    <a:lnTo>
                      <a:pt x="145" y="304"/>
                    </a:lnTo>
                    <a:lnTo>
                      <a:pt x="143" y="304"/>
                    </a:lnTo>
                    <a:lnTo>
                      <a:pt x="141" y="304"/>
                    </a:lnTo>
                    <a:lnTo>
                      <a:pt x="140" y="304"/>
                    </a:lnTo>
                    <a:lnTo>
                      <a:pt x="138" y="302"/>
                    </a:lnTo>
                    <a:lnTo>
                      <a:pt x="137" y="302"/>
                    </a:lnTo>
                    <a:lnTo>
                      <a:pt x="135" y="302"/>
                    </a:lnTo>
                    <a:lnTo>
                      <a:pt x="134" y="302"/>
                    </a:lnTo>
                    <a:lnTo>
                      <a:pt x="132" y="302"/>
                    </a:lnTo>
                    <a:lnTo>
                      <a:pt x="130" y="302"/>
                    </a:lnTo>
                    <a:lnTo>
                      <a:pt x="129" y="302"/>
                    </a:lnTo>
                    <a:lnTo>
                      <a:pt x="127" y="302"/>
                    </a:lnTo>
                    <a:lnTo>
                      <a:pt x="126" y="302"/>
                    </a:lnTo>
                    <a:lnTo>
                      <a:pt x="124" y="302"/>
                    </a:lnTo>
                    <a:lnTo>
                      <a:pt x="122" y="302"/>
                    </a:lnTo>
                    <a:lnTo>
                      <a:pt x="121" y="302"/>
                    </a:lnTo>
                    <a:lnTo>
                      <a:pt x="119" y="304"/>
                    </a:lnTo>
                    <a:lnTo>
                      <a:pt x="118" y="304"/>
                    </a:lnTo>
                    <a:lnTo>
                      <a:pt x="116" y="304"/>
                    </a:lnTo>
                    <a:lnTo>
                      <a:pt x="114" y="304"/>
                    </a:lnTo>
                    <a:lnTo>
                      <a:pt x="113" y="304"/>
                    </a:lnTo>
                    <a:lnTo>
                      <a:pt x="111" y="304"/>
                    </a:lnTo>
                    <a:lnTo>
                      <a:pt x="110" y="304"/>
                    </a:lnTo>
                    <a:lnTo>
                      <a:pt x="108" y="304"/>
                    </a:lnTo>
                    <a:lnTo>
                      <a:pt x="107" y="304"/>
                    </a:lnTo>
                    <a:lnTo>
                      <a:pt x="105" y="305"/>
                    </a:lnTo>
                    <a:lnTo>
                      <a:pt x="103" y="305"/>
                    </a:lnTo>
                    <a:lnTo>
                      <a:pt x="102" y="305"/>
                    </a:lnTo>
                    <a:lnTo>
                      <a:pt x="100" y="305"/>
                    </a:lnTo>
                    <a:lnTo>
                      <a:pt x="99" y="305"/>
                    </a:lnTo>
                    <a:lnTo>
                      <a:pt x="97" y="305"/>
                    </a:lnTo>
                    <a:lnTo>
                      <a:pt x="95" y="305"/>
                    </a:lnTo>
                    <a:lnTo>
                      <a:pt x="94" y="307"/>
                    </a:lnTo>
                    <a:lnTo>
                      <a:pt x="92" y="307"/>
                    </a:lnTo>
                    <a:lnTo>
                      <a:pt x="91" y="307"/>
                    </a:lnTo>
                    <a:lnTo>
                      <a:pt x="89" y="307"/>
                    </a:lnTo>
                    <a:lnTo>
                      <a:pt x="88" y="307"/>
                    </a:lnTo>
                    <a:lnTo>
                      <a:pt x="86" y="307"/>
                    </a:lnTo>
                    <a:lnTo>
                      <a:pt x="84" y="307"/>
                    </a:lnTo>
                    <a:lnTo>
                      <a:pt x="84" y="309"/>
                    </a:lnTo>
                    <a:lnTo>
                      <a:pt x="83" y="309"/>
                    </a:lnTo>
                    <a:lnTo>
                      <a:pt x="81" y="309"/>
                    </a:lnTo>
                    <a:lnTo>
                      <a:pt x="80" y="309"/>
                    </a:lnTo>
                    <a:lnTo>
                      <a:pt x="78" y="309"/>
                    </a:lnTo>
                    <a:lnTo>
                      <a:pt x="76" y="309"/>
                    </a:lnTo>
                    <a:lnTo>
                      <a:pt x="76" y="307"/>
                    </a:lnTo>
                    <a:lnTo>
                      <a:pt x="75" y="309"/>
                    </a:lnTo>
                    <a:lnTo>
                      <a:pt x="62" y="309"/>
                    </a:lnTo>
                    <a:lnTo>
                      <a:pt x="50" y="309"/>
                    </a:lnTo>
                    <a:lnTo>
                      <a:pt x="38" y="309"/>
                    </a:lnTo>
                    <a:lnTo>
                      <a:pt x="23" y="310"/>
                    </a:lnTo>
                    <a:lnTo>
                      <a:pt x="16" y="310"/>
                    </a:lnTo>
                    <a:lnTo>
                      <a:pt x="16" y="305"/>
                    </a:lnTo>
                    <a:lnTo>
                      <a:pt x="18" y="302"/>
                    </a:lnTo>
                    <a:lnTo>
                      <a:pt x="18" y="301"/>
                    </a:lnTo>
                    <a:lnTo>
                      <a:pt x="18" y="299"/>
                    </a:lnTo>
                    <a:lnTo>
                      <a:pt x="23" y="280"/>
                    </a:lnTo>
                    <a:lnTo>
                      <a:pt x="23" y="279"/>
                    </a:lnTo>
                    <a:lnTo>
                      <a:pt x="24" y="279"/>
                    </a:lnTo>
                    <a:lnTo>
                      <a:pt x="24" y="277"/>
                    </a:lnTo>
                    <a:lnTo>
                      <a:pt x="24" y="275"/>
                    </a:lnTo>
                    <a:lnTo>
                      <a:pt x="24" y="274"/>
                    </a:lnTo>
                    <a:lnTo>
                      <a:pt x="26" y="274"/>
                    </a:lnTo>
                    <a:lnTo>
                      <a:pt x="26" y="272"/>
                    </a:lnTo>
                    <a:lnTo>
                      <a:pt x="27" y="272"/>
                    </a:lnTo>
                    <a:lnTo>
                      <a:pt x="29" y="271"/>
                    </a:lnTo>
                    <a:lnTo>
                      <a:pt x="31" y="269"/>
                    </a:lnTo>
                    <a:lnTo>
                      <a:pt x="32" y="267"/>
                    </a:lnTo>
                    <a:lnTo>
                      <a:pt x="32" y="266"/>
                    </a:lnTo>
                    <a:lnTo>
                      <a:pt x="34" y="266"/>
                    </a:lnTo>
                    <a:lnTo>
                      <a:pt x="34" y="264"/>
                    </a:lnTo>
                    <a:lnTo>
                      <a:pt x="34" y="263"/>
                    </a:lnTo>
                    <a:lnTo>
                      <a:pt x="35" y="263"/>
                    </a:lnTo>
                    <a:lnTo>
                      <a:pt x="35" y="261"/>
                    </a:lnTo>
                    <a:lnTo>
                      <a:pt x="37" y="259"/>
                    </a:lnTo>
                    <a:lnTo>
                      <a:pt x="38" y="258"/>
                    </a:lnTo>
                    <a:lnTo>
                      <a:pt x="38" y="256"/>
                    </a:lnTo>
                    <a:lnTo>
                      <a:pt x="40" y="256"/>
                    </a:lnTo>
                    <a:lnTo>
                      <a:pt x="40" y="255"/>
                    </a:lnTo>
                    <a:lnTo>
                      <a:pt x="40" y="253"/>
                    </a:lnTo>
                    <a:lnTo>
                      <a:pt x="40" y="252"/>
                    </a:lnTo>
                    <a:lnTo>
                      <a:pt x="42" y="252"/>
                    </a:lnTo>
                    <a:lnTo>
                      <a:pt x="42" y="250"/>
                    </a:lnTo>
                    <a:lnTo>
                      <a:pt x="42" y="248"/>
                    </a:lnTo>
                    <a:lnTo>
                      <a:pt x="43" y="247"/>
                    </a:lnTo>
                    <a:lnTo>
                      <a:pt x="45" y="247"/>
                    </a:lnTo>
                    <a:lnTo>
                      <a:pt x="45" y="245"/>
                    </a:lnTo>
                    <a:lnTo>
                      <a:pt x="46" y="244"/>
                    </a:lnTo>
                    <a:lnTo>
                      <a:pt x="46" y="242"/>
                    </a:lnTo>
                    <a:lnTo>
                      <a:pt x="48" y="240"/>
                    </a:lnTo>
                    <a:lnTo>
                      <a:pt x="48" y="239"/>
                    </a:lnTo>
                    <a:lnTo>
                      <a:pt x="48" y="237"/>
                    </a:lnTo>
                    <a:lnTo>
                      <a:pt x="50" y="236"/>
                    </a:lnTo>
                    <a:lnTo>
                      <a:pt x="50" y="234"/>
                    </a:lnTo>
                    <a:lnTo>
                      <a:pt x="50" y="233"/>
                    </a:lnTo>
                    <a:lnTo>
                      <a:pt x="51" y="231"/>
                    </a:lnTo>
                    <a:lnTo>
                      <a:pt x="51" y="229"/>
                    </a:lnTo>
                    <a:lnTo>
                      <a:pt x="53" y="228"/>
                    </a:lnTo>
                    <a:lnTo>
                      <a:pt x="53" y="226"/>
                    </a:lnTo>
                    <a:lnTo>
                      <a:pt x="54" y="226"/>
                    </a:lnTo>
                    <a:lnTo>
                      <a:pt x="54" y="225"/>
                    </a:lnTo>
                    <a:lnTo>
                      <a:pt x="56" y="223"/>
                    </a:lnTo>
                    <a:lnTo>
                      <a:pt x="57" y="223"/>
                    </a:lnTo>
                    <a:lnTo>
                      <a:pt x="59" y="223"/>
                    </a:lnTo>
                    <a:lnTo>
                      <a:pt x="59" y="221"/>
                    </a:lnTo>
                    <a:lnTo>
                      <a:pt x="61" y="221"/>
                    </a:lnTo>
                    <a:lnTo>
                      <a:pt x="61" y="220"/>
                    </a:lnTo>
                    <a:lnTo>
                      <a:pt x="61" y="218"/>
                    </a:lnTo>
                    <a:lnTo>
                      <a:pt x="61" y="217"/>
                    </a:lnTo>
                    <a:lnTo>
                      <a:pt x="61" y="215"/>
                    </a:lnTo>
                    <a:lnTo>
                      <a:pt x="62" y="215"/>
                    </a:lnTo>
                    <a:lnTo>
                      <a:pt x="62" y="214"/>
                    </a:lnTo>
                    <a:lnTo>
                      <a:pt x="62" y="212"/>
                    </a:lnTo>
                    <a:lnTo>
                      <a:pt x="64" y="212"/>
                    </a:lnTo>
                    <a:lnTo>
                      <a:pt x="64" y="210"/>
                    </a:lnTo>
                    <a:lnTo>
                      <a:pt x="64" y="209"/>
                    </a:lnTo>
                    <a:lnTo>
                      <a:pt x="64" y="207"/>
                    </a:lnTo>
                    <a:lnTo>
                      <a:pt x="64" y="206"/>
                    </a:lnTo>
                    <a:lnTo>
                      <a:pt x="62" y="206"/>
                    </a:lnTo>
                    <a:lnTo>
                      <a:pt x="61" y="206"/>
                    </a:lnTo>
                    <a:lnTo>
                      <a:pt x="59" y="206"/>
                    </a:lnTo>
                    <a:lnTo>
                      <a:pt x="57" y="206"/>
                    </a:lnTo>
                    <a:lnTo>
                      <a:pt x="56" y="204"/>
                    </a:lnTo>
                    <a:lnTo>
                      <a:pt x="54" y="204"/>
                    </a:lnTo>
                    <a:lnTo>
                      <a:pt x="53" y="202"/>
                    </a:lnTo>
                    <a:lnTo>
                      <a:pt x="51" y="202"/>
                    </a:lnTo>
                    <a:lnTo>
                      <a:pt x="51" y="201"/>
                    </a:lnTo>
                    <a:lnTo>
                      <a:pt x="50" y="201"/>
                    </a:lnTo>
                    <a:lnTo>
                      <a:pt x="50" y="199"/>
                    </a:lnTo>
                    <a:lnTo>
                      <a:pt x="51" y="199"/>
                    </a:lnTo>
                    <a:lnTo>
                      <a:pt x="51" y="198"/>
                    </a:lnTo>
                    <a:lnTo>
                      <a:pt x="53" y="198"/>
                    </a:lnTo>
                    <a:lnTo>
                      <a:pt x="54" y="198"/>
                    </a:lnTo>
                    <a:lnTo>
                      <a:pt x="54" y="196"/>
                    </a:lnTo>
                    <a:lnTo>
                      <a:pt x="56" y="196"/>
                    </a:lnTo>
                    <a:lnTo>
                      <a:pt x="57" y="195"/>
                    </a:lnTo>
                    <a:lnTo>
                      <a:pt x="59" y="195"/>
                    </a:lnTo>
                    <a:lnTo>
                      <a:pt x="61" y="193"/>
                    </a:lnTo>
                    <a:lnTo>
                      <a:pt x="62" y="193"/>
                    </a:lnTo>
                    <a:lnTo>
                      <a:pt x="62" y="191"/>
                    </a:lnTo>
                    <a:lnTo>
                      <a:pt x="64" y="191"/>
                    </a:lnTo>
                    <a:lnTo>
                      <a:pt x="65" y="191"/>
                    </a:lnTo>
                    <a:lnTo>
                      <a:pt x="65" y="190"/>
                    </a:lnTo>
                    <a:lnTo>
                      <a:pt x="67" y="190"/>
                    </a:lnTo>
                    <a:lnTo>
                      <a:pt x="69" y="188"/>
                    </a:lnTo>
                    <a:lnTo>
                      <a:pt x="70" y="188"/>
                    </a:lnTo>
                    <a:lnTo>
                      <a:pt x="70" y="187"/>
                    </a:lnTo>
                    <a:lnTo>
                      <a:pt x="72" y="187"/>
                    </a:lnTo>
                    <a:lnTo>
                      <a:pt x="73" y="185"/>
                    </a:lnTo>
                    <a:lnTo>
                      <a:pt x="75" y="185"/>
                    </a:lnTo>
                    <a:lnTo>
                      <a:pt x="76" y="183"/>
                    </a:lnTo>
                    <a:lnTo>
                      <a:pt x="78" y="183"/>
                    </a:lnTo>
                    <a:lnTo>
                      <a:pt x="78" y="182"/>
                    </a:lnTo>
                    <a:lnTo>
                      <a:pt x="80" y="182"/>
                    </a:lnTo>
                    <a:lnTo>
                      <a:pt x="81" y="182"/>
                    </a:lnTo>
                    <a:lnTo>
                      <a:pt x="81" y="180"/>
                    </a:lnTo>
                    <a:lnTo>
                      <a:pt x="83" y="180"/>
                    </a:lnTo>
                    <a:lnTo>
                      <a:pt x="84" y="180"/>
                    </a:lnTo>
                    <a:lnTo>
                      <a:pt x="84" y="179"/>
                    </a:lnTo>
                    <a:lnTo>
                      <a:pt x="86" y="179"/>
                    </a:lnTo>
                    <a:lnTo>
                      <a:pt x="88" y="177"/>
                    </a:lnTo>
                    <a:lnTo>
                      <a:pt x="89" y="177"/>
                    </a:lnTo>
                    <a:lnTo>
                      <a:pt x="91" y="176"/>
                    </a:lnTo>
                    <a:lnTo>
                      <a:pt x="92" y="176"/>
                    </a:lnTo>
                    <a:lnTo>
                      <a:pt x="92" y="174"/>
                    </a:lnTo>
                    <a:lnTo>
                      <a:pt x="92" y="172"/>
                    </a:lnTo>
                    <a:lnTo>
                      <a:pt x="94" y="172"/>
                    </a:lnTo>
                    <a:lnTo>
                      <a:pt x="95" y="172"/>
                    </a:lnTo>
                    <a:lnTo>
                      <a:pt x="95" y="171"/>
                    </a:lnTo>
                    <a:lnTo>
                      <a:pt x="97" y="171"/>
                    </a:lnTo>
                    <a:lnTo>
                      <a:pt x="97" y="169"/>
                    </a:lnTo>
                    <a:lnTo>
                      <a:pt x="99" y="169"/>
                    </a:lnTo>
                    <a:lnTo>
                      <a:pt x="100" y="169"/>
                    </a:lnTo>
                    <a:lnTo>
                      <a:pt x="102" y="169"/>
                    </a:lnTo>
                    <a:lnTo>
                      <a:pt x="102" y="168"/>
                    </a:lnTo>
                    <a:lnTo>
                      <a:pt x="103" y="166"/>
                    </a:lnTo>
                    <a:lnTo>
                      <a:pt x="105" y="166"/>
                    </a:lnTo>
                    <a:lnTo>
                      <a:pt x="105" y="164"/>
                    </a:lnTo>
                    <a:lnTo>
                      <a:pt x="107" y="164"/>
                    </a:lnTo>
                    <a:lnTo>
                      <a:pt x="107" y="163"/>
                    </a:lnTo>
                    <a:lnTo>
                      <a:pt x="108" y="163"/>
                    </a:lnTo>
                    <a:lnTo>
                      <a:pt x="108" y="161"/>
                    </a:lnTo>
                    <a:lnTo>
                      <a:pt x="110" y="161"/>
                    </a:lnTo>
                    <a:lnTo>
                      <a:pt x="110" y="160"/>
                    </a:lnTo>
                    <a:lnTo>
                      <a:pt x="110" y="158"/>
                    </a:lnTo>
                    <a:lnTo>
                      <a:pt x="111" y="158"/>
                    </a:lnTo>
                    <a:lnTo>
                      <a:pt x="111" y="157"/>
                    </a:lnTo>
                    <a:lnTo>
                      <a:pt x="113" y="157"/>
                    </a:lnTo>
                    <a:lnTo>
                      <a:pt x="113" y="155"/>
                    </a:lnTo>
                    <a:lnTo>
                      <a:pt x="114" y="155"/>
                    </a:lnTo>
                    <a:lnTo>
                      <a:pt x="114" y="153"/>
                    </a:lnTo>
                    <a:lnTo>
                      <a:pt x="116" y="153"/>
                    </a:lnTo>
                    <a:lnTo>
                      <a:pt x="116" y="152"/>
                    </a:lnTo>
                    <a:lnTo>
                      <a:pt x="116" y="150"/>
                    </a:lnTo>
                    <a:lnTo>
                      <a:pt x="118" y="150"/>
                    </a:lnTo>
                    <a:lnTo>
                      <a:pt x="118" y="149"/>
                    </a:lnTo>
                    <a:lnTo>
                      <a:pt x="118" y="147"/>
                    </a:lnTo>
                    <a:lnTo>
                      <a:pt x="119" y="147"/>
                    </a:lnTo>
                    <a:lnTo>
                      <a:pt x="119" y="145"/>
                    </a:lnTo>
                    <a:lnTo>
                      <a:pt x="121" y="144"/>
                    </a:lnTo>
                    <a:lnTo>
                      <a:pt x="122" y="142"/>
                    </a:lnTo>
                    <a:lnTo>
                      <a:pt x="124" y="141"/>
                    </a:lnTo>
                    <a:lnTo>
                      <a:pt x="126" y="141"/>
                    </a:lnTo>
                    <a:lnTo>
                      <a:pt x="127" y="141"/>
                    </a:lnTo>
                    <a:lnTo>
                      <a:pt x="127" y="139"/>
                    </a:lnTo>
                    <a:lnTo>
                      <a:pt x="129" y="139"/>
                    </a:lnTo>
                    <a:lnTo>
                      <a:pt x="129" y="138"/>
                    </a:lnTo>
                    <a:lnTo>
                      <a:pt x="130" y="138"/>
                    </a:lnTo>
                    <a:lnTo>
                      <a:pt x="130" y="136"/>
                    </a:lnTo>
                    <a:lnTo>
                      <a:pt x="132" y="136"/>
                    </a:lnTo>
                    <a:lnTo>
                      <a:pt x="134" y="138"/>
                    </a:lnTo>
                    <a:lnTo>
                      <a:pt x="135" y="138"/>
                    </a:lnTo>
                    <a:lnTo>
                      <a:pt x="137" y="138"/>
                    </a:lnTo>
                    <a:lnTo>
                      <a:pt x="138" y="139"/>
                    </a:lnTo>
                    <a:lnTo>
                      <a:pt x="140" y="139"/>
                    </a:lnTo>
                    <a:lnTo>
                      <a:pt x="141" y="139"/>
                    </a:lnTo>
                    <a:lnTo>
                      <a:pt x="143" y="141"/>
                    </a:lnTo>
                    <a:lnTo>
                      <a:pt x="145" y="141"/>
                    </a:lnTo>
                    <a:lnTo>
                      <a:pt x="146" y="141"/>
                    </a:lnTo>
                    <a:lnTo>
                      <a:pt x="146" y="142"/>
                    </a:lnTo>
                    <a:lnTo>
                      <a:pt x="148" y="142"/>
                    </a:lnTo>
                    <a:lnTo>
                      <a:pt x="149" y="142"/>
                    </a:lnTo>
                    <a:lnTo>
                      <a:pt x="151" y="144"/>
                    </a:lnTo>
                    <a:lnTo>
                      <a:pt x="153" y="144"/>
                    </a:lnTo>
                    <a:lnTo>
                      <a:pt x="154" y="144"/>
                    </a:lnTo>
                    <a:lnTo>
                      <a:pt x="154" y="145"/>
                    </a:lnTo>
                    <a:lnTo>
                      <a:pt x="156" y="145"/>
                    </a:lnTo>
                    <a:lnTo>
                      <a:pt x="157" y="145"/>
                    </a:lnTo>
                    <a:lnTo>
                      <a:pt x="159" y="145"/>
                    </a:lnTo>
                    <a:lnTo>
                      <a:pt x="160" y="145"/>
                    </a:lnTo>
                    <a:lnTo>
                      <a:pt x="162" y="145"/>
                    </a:lnTo>
                    <a:lnTo>
                      <a:pt x="164" y="144"/>
                    </a:lnTo>
                    <a:lnTo>
                      <a:pt x="165" y="144"/>
                    </a:lnTo>
                    <a:lnTo>
                      <a:pt x="167" y="144"/>
                    </a:lnTo>
                    <a:lnTo>
                      <a:pt x="167" y="145"/>
                    </a:lnTo>
                    <a:lnTo>
                      <a:pt x="168" y="145"/>
                    </a:lnTo>
                    <a:lnTo>
                      <a:pt x="168" y="144"/>
                    </a:lnTo>
                    <a:lnTo>
                      <a:pt x="170" y="144"/>
                    </a:lnTo>
                    <a:lnTo>
                      <a:pt x="170" y="145"/>
                    </a:lnTo>
                    <a:lnTo>
                      <a:pt x="172" y="145"/>
                    </a:lnTo>
                    <a:lnTo>
                      <a:pt x="173" y="145"/>
                    </a:lnTo>
                    <a:lnTo>
                      <a:pt x="175" y="145"/>
                    </a:lnTo>
                    <a:lnTo>
                      <a:pt x="176" y="145"/>
                    </a:lnTo>
                    <a:lnTo>
                      <a:pt x="178" y="145"/>
                    </a:lnTo>
                    <a:lnTo>
                      <a:pt x="179" y="145"/>
                    </a:lnTo>
                    <a:lnTo>
                      <a:pt x="181" y="145"/>
                    </a:lnTo>
                    <a:lnTo>
                      <a:pt x="183" y="144"/>
                    </a:lnTo>
                    <a:lnTo>
                      <a:pt x="184" y="144"/>
                    </a:lnTo>
                    <a:lnTo>
                      <a:pt x="184" y="142"/>
                    </a:lnTo>
                    <a:lnTo>
                      <a:pt x="186" y="142"/>
                    </a:lnTo>
                    <a:lnTo>
                      <a:pt x="187" y="142"/>
                    </a:lnTo>
                    <a:lnTo>
                      <a:pt x="187" y="141"/>
                    </a:lnTo>
                    <a:lnTo>
                      <a:pt x="189" y="141"/>
                    </a:lnTo>
                    <a:lnTo>
                      <a:pt x="189" y="142"/>
                    </a:lnTo>
                    <a:lnTo>
                      <a:pt x="191" y="142"/>
                    </a:lnTo>
                    <a:lnTo>
                      <a:pt x="192" y="142"/>
                    </a:lnTo>
                    <a:lnTo>
                      <a:pt x="194" y="142"/>
                    </a:lnTo>
                    <a:lnTo>
                      <a:pt x="194" y="141"/>
                    </a:lnTo>
                    <a:lnTo>
                      <a:pt x="192" y="139"/>
                    </a:lnTo>
                    <a:lnTo>
                      <a:pt x="192" y="138"/>
                    </a:lnTo>
                    <a:lnTo>
                      <a:pt x="192" y="136"/>
                    </a:lnTo>
                    <a:lnTo>
                      <a:pt x="192" y="134"/>
                    </a:lnTo>
                    <a:lnTo>
                      <a:pt x="192" y="133"/>
                    </a:lnTo>
                    <a:lnTo>
                      <a:pt x="192" y="131"/>
                    </a:lnTo>
                    <a:lnTo>
                      <a:pt x="192" y="130"/>
                    </a:lnTo>
                    <a:lnTo>
                      <a:pt x="192" y="128"/>
                    </a:lnTo>
                    <a:lnTo>
                      <a:pt x="192" y="126"/>
                    </a:lnTo>
                    <a:lnTo>
                      <a:pt x="192" y="125"/>
                    </a:lnTo>
                    <a:lnTo>
                      <a:pt x="192" y="123"/>
                    </a:lnTo>
                    <a:lnTo>
                      <a:pt x="194" y="122"/>
                    </a:lnTo>
                    <a:lnTo>
                      <a:pt x="194" y="120"/>
                    </a:lnTo>
                    <a:lnTo>
                      <a:pt x="195" y="119"/>
                    </a:lnTo>
                    <a:lnTo>
                      <a:pt x="195" y="117"/>
                    </a:lnTo>
                    <a:lnTo>
                      <a:pt x="195" y="115"/>
                    </a:lnTo>
                    <a:lnTo>
                      <a:pt x="197" y="115"/>
                    </a:lnTo>
                    <a:lnTo>
                      <a:pt x="197" y="114"/>
                    </a:lnTo>
                    <a:lnTo>
                      <a:pt x="198" y="114"/>
                    </a:lnTo>
                    <a:lnTo>
                      <a:pt x="200" y="114"/>
                    </a:lnTo>
                    <a:lnTo>
                      <a:pt x="200" y="112"/>
                    </a:lnTo>
                    <a:lnTo>
                      <a:pt x="202" y="112"/>
                    </a:lnTo>
                    <a:lnTo>
                      <a:pt x="202" y="111"/>
                    </a:lnTo>
                    <a:lnTo>
                      <a:pt x="203" y="111"/>
                    </a:lnTo>
                    <a:lnTo>
                      <a:pt x="205" y="111"/>
                    </a:lnTo>
                    <a:lnTo>
                      <a:pt x="206" y="109"/>
                    </a:lnTo>
                    <a:lnTo>
                      <a:pt x="208" y="109"/>
                    </a:lnTo>
                    <a:lnTo>
                      <a:pt x="210" y="109"/>
                    </a:lnTo>
                    <a:lnTo>
                      <a:pt x="211" y="109"/>
                    </a:lnTo>
                    <a:lnTo>
                      <a:pt x="213" y="107"/>
                    </a:lnTo>
                    <a:lnTo>
                      <a:pt x="214" y="107"/>
                    </a:lnTo>
                    <a:lnTo>
                      <a:pt x="216" y="107"/>
                    </a:lnTo>
                    <a:lnTo>
                      <a:pt x="217" y="107"/>
                    </a:lnTo>
                    <a:lnTo>
                      <a:pt x="219" y="107"/>
                    </a:lnTo>
                    <a:lnTo>
                      <a:pt x="221" y="106"/>
                    </a:lnTo>
                    <a:lnTo>
                      <a:pt x="222" y="106"/>
                    </a:lnTo>
                    <a:lnTo>
                      <a:pt x="224" y="104"/>
                    </a:lnTo>
                    <a:lnTo>
                      <a:pt x="225" y="104"/>
                    </a:lnTo>
                    <a:lnTo>
                      <a:pt x="225" y="103"/>
                    </a:lnTo>
                    <a:lnTo>
                      <a:pt x="227" y="103"/>
                    </a:lnTo>
                    <a:lnTo>
                      <a:pt x="229" y="103"/>
                    </a:lnTo>
                    <a:lnTo>
                      <a:pt x="230" y="103"/>
                    </a:lnTo>
                    <a:lnTo>
                      <a:pt x="232" y="103"/>
                    </a:lnTo>
                    <a:lnTo>
                      <a:pt x="232" y="101"/>
                    </a:lnTo>
                    <a:lnTo>
                      <a:pt x="233" y="101"/>
                    </a:lnTo>
                    <a:lnTo>
                      <a:pt x="235" y="101"/>
                    </a:lnTo>
                    <a:lnTo>
                      <a:pt x="236" y="101"/>
                    </a:lnTo>
                    <a:lnTo>
                      <a:pt x="238" y="101"/>
                    </a:lnTo>
                    <a:lnTo>
                      <a:pt x="240" y="101"/>
                    </a:lnTo>
                    <a:lnTo>
                      <a:pt x="240" y="100"/>
                    </a:lnTo>
                    <a:lnTo>
                      <a:pt x="241" y="100"/>
                    </a:lnTo>
                    <a:lnTo>
                      <a:pt x="243" y="100"/>
                    </a:lnTo>
                    <a:lnTo>
                      <a:pt x="244" y="100"/>
                    </a:lnTo>
                    <a:lnTo>
                      <a:pt x="246" y="100"/>
                    </a:lnTo>
                    <a:lnTo>
                      <a:pt x="248" y="100"/>
                    </a:lnTo>
                    <a:lnTo>
                      <a:pt x="249" y="100"/>
                    </a:lnTo>
                    <a:lnTo>
                      <a:pt x="251" y="100"/>
                    </a:lnTo>
                    <a:lnTo>
                      <a:pt x="252" y="100"/>
                    </a:lnTo>
                    <a:lnTo>
                      <a:pt x="254" y="100"/>
                    </a:lnTo>
                    <a:lnTo>
                      <a:pt x="255" y="100"/>
                    </a:lnTo>
                    <a:lnTo>
                      <a:pt x="257" y="100"/>
                    </a:lnTo>
                    <a:lnTo>
                      <a:pt x="257" y="98"/>
                    </a:lnTo>
                    <a:lnTo>
                      <a:pt x="259" y="98"/>
                    </a:lnTo>
                    <a:lnTo>
                      <a:pt x="260" y="98"/>
                    </a:lnTo>
                    <a:lnTo>
                      <a:pt x="260" y="96"/>
                    </a:lnTo>
                    <a:lnTo>
                      <a:pt x="262" y="96"/>
                    </a:lnTo>
                    <a:lnTo>
                      <a:pt x="263" y="96"/>
                    </a:lnTo>
                    <a:lnTo>
                      <a:pt x="265" y="96"/>
                    </a:lnTo>
                    <a:lnTo>
                      <a:pt x="265" y="95"/>
                    </a:lnTo>
                    <a:lnTo>
                      <a:pt x="267" y="95"/>
                    </a:lnTo>
                    <a:lnTo>
                      <a:pt x="268" y="95"/>
                    </a:lnTo>
                    <a:lnTo>
                      <a:pt x="270" y="95"/>
                    </a:lnTo>
                    <a:lnTo>
                      <a:pt x="271" y="95"/>
                    </a:lnTo>
                    <a:lnTo>
                      <a:pt x="273" y="95"/>
                    </a:lnTo>
                    <a:lnTo>
                      <a:pt x="274" y="95"/>
                    </a:lnTo>
                    <a:lnTo>
                      <a:pt x="276" y="95"/>
                    </a:lnTo>
                    <a:lnTo>
                      <a:pt x="278" y="95"/>
                    </a:lnTo>
                    <a:lnTo>
                      <a:pt x="279" y="95"/>
                    </a:lnTo>
                    <a:lnTo>
                      <a:pt x="279" y="93"/>
                    </a:lnTo>
                    <a:lnTo>
                      <a:pt x="281" y="93"/>
                    </a:lnTo>
                    <a:lnTo>
                      <a:pt x="282" y="93"/>
                    </a:lnTo>
                    <a:lnTo>
                      <a:pt x="282" y="92"/>
                    </a:lnTo>
                    <a:lnTo>
                      <a:pt x="284" y="92"/>
                    </a:lnTo>
                    <a:lnTo>
                      <a:pt x="286" y="92"/>
                    </a:lnTo>
                    <a:lnTo>
                      <a:pt x="286" y="90"/>
                    </a:lnTo>
                    <a:lnTo>
                      <a:pt x="287" y="90"/>
                    </a:lnTo>
                    <a:lnTo>
                      <a:pt x="289" y="90"/>
                    </a:lnTo>
                    <a:lnTo>
                      <a:pt x="290" y="88"/>
                    </a:lnTo>
                    <a:lnTo>
                      <a:pt x="292" y="88"/>
                    </a:lnTo>
                    <a:lnTo>
                      <a:pt x="293" y="88"/>
                    </a:lnTo>
                    <a:lnTo>
                      <a:pt x="295" y="90"/>
                    </a:lnTo>
                    <a:lnTo>
                      <a:pt x="297" y="90"/>
                    </a:lnTo>
                    <a:lnTo>
                      <a:pt x="298" y="90"/>
                    </a:lnTo>
                    <a:lnTo>
                      <a:pt x="298" y="88"/>
                    </a:lnTo>
                    <a:lnTo>
                      <a:pt x="300" y="88"/>
                    </a:lnTo>
                    <a:lnTo>
                      <a:pt x="301" y="88"/>
                    </a:lnTo>
                    <a:lnTo>
                      <a:pt x="303" y="88"/>
                    </a:lnTo>
                    <a:lnTo>
                      <a:pt x="305" y="88"/>
                    </a:lnTo>
                    <a:lnTo>
                      <a:pt x="306" y="87"/>
                    </a:lnTo>
                    <a:lnTo>
                      <a:pt x="308" y="87"/>
                    </a:lnTo>
                    <a:lnTo>
                      <a:pt x="309" y="87"/>
                    </a:lnTo>
                    <a:lnTo>
                      <a:pt x="311" y="87"/>
                    </a:lnTo>
                    <a:lnTo>
                      <a:pt x="312" y="85"/>
                    </a:lnTo>
                    <a:lnTo>
                      <a:pt x="312" y="84"/>
                    </a:lnTo>
                    <a:lnTo>
                      <a:pt x="312" y="82"/>
                    </a:lnTo>
                    <a:lnTo>
                      <a:pt x="312" y="80"/>
                    </a:lnTo>
                    <a:lnTo>
                      <a:pt x="312" y="79"/>
                    </a:lnTo>
                    <a:lnTo>
                      <a:pt x="314" y="77"/>
                    </a:lnTo>
                    <a:lnTo>
                      <a:pt x="314" y="76"/>
                    </a:lnTo>
                    <a:lnTo>
                      <a:pt x="314" y="74"/>
                    </a:lnTo>
                    <a:lnTo>
                      <a:pt x="314" y="73"/>
                    </a:lnTo>
                    <a:lnTo>
                      <a:pt x="314" y="71"/>
                    </a:lnTo>
                    <a:lnTo>
                      <a:pt x="314" y="69"/>
                    </a:lnTo>
                    <a:lnTo>
                      <a:pt x="314" y="68"/>
                    </a:lnTo>
                    <a:lnTo>
                      <a:pt x="314" y="66"/>
                    </a:lnTo>
                    <a:lnTo>
                      <a:pt x="314" y="65"/>
                    </a:lnTo>
                    <a:lnTo>
                      <a:pt x="314" y="63"/>
                    </a:lnTo>
                    <a:lnTo>
                      <a:pt x="316" y="63"/>
                    </a:lnTo>
                    <a:lnTo>
                      <a:pt x="316" y="61"/>
                    </a:lnTo>
                    <a:lnTo>
                      <a:pt x="316" y="60"/>
                    </a:lnTo>
                    <a:lnTo>
                      <a:pt x="316" y="58"/>
                    </a:lnTo>
                    <a:lnTo>
                      <a:pt x="316" y="57"/>
                    </a:lnTo>
                    <a:lnTo>
                      <a:pt x="316" y="55"/>
                    </a:lnTo>
                    <a:lnTo>
                      <a:pt x="316" y="54"/>
                    </a:lnTo>
                    <a:lnTo>
                      <a:pt x="316" y="52"/>
                    </a:lnTo>
                    <a:lnTo>
                      <a:pt x="316" y="50"/>
                    </a:lnTo>
                    <a:lnTo>
                      <a:pt x="316" y="49"/>
                    </a:lnTo>
                    <a:lnTo>
                      <a:pt x="316" y="47"/>
                    </a:lnTo>
                    <a:lnTo>
                      <a:pt x="317" y="47"/>
                    </a:lnTo>
                    <a:lnTo>
                      <a:pt x="317" y="46"/>
                    </a:lnTo>
                    <a:lnTo>
                      <a:pt x="317" y="44"/>
                    </a:lnTo>
                    <a:lnTo>
                      <a:pt x="317" y="42"/>
                    </a:lnTo>
                    <a:lnTo>
                      <a:pt x="317" y="41"/>
                    </a:lnTo>
                    <a:lnTo>
                      <a:pt x="317" y="39"/>
                    </a:lnTo>
                    <a:lnTo>
                      <a:pt x="317" y="38"/>
                    </a:lnTo>
                    <a:lnTo>
                      <a:pt x="319" y="36"/>
                    </a:lnTo>
                    <a:lnTo>
                      <a:pt x="320" y="35"/>
                    </a:lnTo>
                    <a:lnTo>
                      <a:pt x="320" y="33"/>
                    </a:lnTo>
                    <a:lnTo>
                      <a:pt x="322" y="33"/>
                    </a:lnTo>
                    <a:lnTo>
                      <a:pt x="322" y="31"/>
                    </a:lnTo>
                    <a:lnTo>
                      <a:pt x="322" y="30"/>
                    </a:lnTo>
                    <a:lnTo>
                      <a:pt x="324" y="30"/>
                    </a:lnTo>
                    <a:lnTo>
                      <a:pt x="325" y="30"/>
                    </a:lnTo>
                    <a:lnTo>
                      <a:pt x="325" y="28"/>
                    </a:lnTo>
                    <a:lnTo>
                      <a:pt x="327" y="28"/>
                    </a:lnTo>
                    <a:lnTo>
                      <a:pt x="328" y="27"/>
                    </a:lnTo>
                    <a:lnTo>
                      <a:pt x="330" y="27"/>
                    </a:lnTo>
                    <a:lnTo>
                      <a:pt x="330" y="25"/>
                    </a:lnTo>
                    <a:lnTo>
                      <a:pt x="332" y="25"/>
                    </a:lnTo>
                    <a:lnTo>
                      <a:pt x="333" y="23"/>
                    </a:lnTo>
                    <a:lnTo>
                      <a:pt x="335" y="23"/>
                    </a:lnTo>
                    <a:lnTo>
                      <a:pt x="336" y="23"/>
                    </a:lnTo>
                    <a:lnTo>
                      <a:pt x="338" y="23"/>
                    </a:lnTo>
                    <a:lnTo>
                      <a:pt x="338" y="22"/>
                    </a:lnTo>
                    <a:lnTo>
                      <a:pt x="339" y="20"/>
                    </a:lnTo>
                    <a:lnTo>
                      <a:pt x="341" y="19"/>
                    </a:lnTo>
                    <a:lnTo>
                      <a:pt x="343" y="17"/>
                    </a:lnTo>
                    <a:lnTo>
                      <a:pt x="344" y="17"/>
                    </a:lnTo>
                    <a:lnTo>
                      <a:pt x="346" y="17"/>
                    </a:lnTo>
                    <a:lnTo>
                      <a:pt x="347" y="17"/>
                    </a:lnTo>
                    <a:lnTo>
                      <a:pt x="347" y="16"/>
                    </a:lnTo>
                    <a:lnTo>
                      <a:pt x="349" y="16"/>
                    </a:lnTo>
                    <a:lnTo>
                      <a:pt x="349" y="14"/>
                    </a:lnTo>
                    <a:lnTo>
                      <a:pt x="351" y="14"/>
                    </a:lnTo>
                    <a:lnTo>
                      <a:pt x="351" y="12"/>
                    </a:lnTo>
                    <a:lnTo>
                      <a:pt x="352" y="12"/>
                    </a:lnTo>
                    <a:lnTo>
                      <a:pt x="352" y="11"/>
                    </a:lnTo>
                    <a:lnTo>
                      <a:pt x="354" y="11"/>
                    </a:lnTo>
                    <a:lnTo>
                      <a:pt x="355" y="11"/>
                    </a:lnTo>
                    <a:lnTo>
                      <a:pt x="357" y="11"/>
                    </a:lnTo>
                    <a:lnTo>
                      <a:pt x="358" y="11"/>
                    </a:lnTo>
                    <a:lnTo>
                      <a:pt x="360" y="11"/>
                    </a:lnTo>
                    <a:lnTo>
                      <a:pt x="360" y="9"/>
                    </a:lnTo>
                    <a:lnTo>
                      <a:pt x="362" y="9"/>
                    </a:lnTo>
                    <a:lnTo>
                      <a:pt x="362" y="8"/>
                    </a:lnTo>
                    <a:lnTo>
                      <a:pt x="363" y="8"/>
                    </a:lnTo>
                    <a:lnTo>
                      <a:pt x="365" y="6"/>
                    </a:lnTo>
                    <a:lnTo>
                      <a:pt x="366" y="4"/>
                    </a:lnTo>
                    <a:lnTo>
                      <a:pt x="366" y="3"/>
                    </a:lnTo>
                    <a:lnTo>
                      <a:pt x="368" y="1"/>
                    </a:lnTo>
                    <a:lnTo>
                      <a:pt x="370" y="1"/>
                    </a:lnTo>
                    <a:lnTo>
                      <a:pt x="371" y="1"/>
                    </a:lnTo>
                    <a:lnTo>
                      <a:pt x="371" y="0"/>
                    </a:lnTo>
                    <a:lnTo>
                      <a:pt x="373" y="1"/>
                    </a:lnTo>
                    <a:lnTo>
                      <a:pt x="374" y="1"/>
                    </a:lnTo>
                    <a:close/>
                  </a:path>
                </a:pathLst>
              </a:custGeom>
              <a:solidFill>
                <a:srgbClr val="B4D7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33" name="Freeform 13"/>
              <p:cNvSpPr>
                <a:spLocks/>
              </p:cNvSpPr>
              <p:nvPr/>
            </p:nvSpPr>
            <p:spPr bwMode="auto">
              <a:xfrm>
                <a:off x="4270" y="2557"/>
                <a:ext cx="192" cy="122"/>
              </a:xfrm>
              <a:custGeom>
                <a:avLst/>
                <a:gdLst>
                  <a:gd name="T0" fmla="*/ 189 w 192"/>
                  <a:gd name="T1" fmla="*/ 28 h 122"/>
                  <a:gd name="T2" fmla="*/ 189 w 192"/>
                  <a:gd name="T3" fmla="*/ 36 h 122"/>
                  <a:gd name="T4" fmla="*/ 191 w 192"/>
                  <a:gd name="T5" fmla="*/ 50 h 122"/>
                  <a:gd name="T6" fmla="*/ 192 w 192"/>
                  <a:gd name="T7" fmla="*/ 60 h 122"/>
                  <a:gd name="T8" fmla="*/ 192 w 192"/>
                  <a:gd name="T9" fmla="*/ 69 h 122"/>
                  <a:gd name="T10" fmla="*/ 189 w 192"/>
                  <a:gd name="T11" fmla="*/ 71 h 122"/>
                  <a:gd name="T12" fmla="*/ 181 w 192"/>
                  <a:gd name="T13" fmla="*/ 71 h 122"/>
                  <a:gd name="T14" fmla="*/ 129 w 192"/>
                  <a:gd name="T15" fmla="*/ 76 h 122"/>
                  <a:gd name="T16" fmla="*/ 107 w 192"/>
                  <a:gd name="T17" fmla="*/ 77 h 122"/>
                  <a:gd name="T18" fmla="*/ 84 w 192"/>
                  <a:gd name="T19" fmla="*/ 87 h 122"/>
                  <a:gd name="T20" fmla="*/ 64 w 192"/>
                  <a:gd name="T21" fmla="*/ 85 h 122"/>
                  <a:gd name="T22" fmla="*/ 40 w 192"/>
                  <a:gd name="T23" fmla="*/ 87 h 122"/>
                  <a:gd name="T24" fmla="*/ 32 w 192"/>
                  <a:gd name="T25" fmla="*/ 99 h 122"/>
                  <a:gd name="T26" fmla="*/ 26 w 192"/>
                  <a:gd name="T27" fmla="*/ 115 h 122"/>
                  <a:gd name="T28" fmla="*/ 15 w 192"/>
                  <a:gd name="T29" fmla="*/ 107 h 122"/>
                  <a:gd name="T30" fmla="*/ 0 w 192"/>
                  <a:gd name="T31" fmla="*/ 77 h 122"/>
                  <a:gd name="T32" fmla="*/ 5 w 192"/>
                  <a:gd name="T33" fmla="*/ 76 h 122"/>
                  <a:gd name="T34" fmla="*/ 10 w 192"/>
                  <a:gd name="T35" fmla="*/ 74 h 122"/>
                  <a:gd name="T36" fmla="*/ 21 w 192"/>
                  <a:gd name="T37" fmla="*/ 68 h 122"/>
                  <a:gd name="T38" fmla="*/ 26 w 192"/>
                  <a:gd name="T39" fmla="*/ 66 h 122"/>
                  <a:gd name="T40" fmla="*/ 31 w 192"/>
                  <a:gd name="T41" fmla="*/ 61 h 122"/>
                  <a:gd name="T42" fmla="*/ 34 w 192"/>
                  <a:gd name="T43" fmla="*/ 57 h 122"/>
                  <a:gd name="T44" fmla="*/ 34 w 192"/>
                  <a:gd name="T45" fmla="*/ 52 h 122"/>
                  <a:gd name="T46" fmla="*/ 34 w 192"/>
                  <a:gd name="T47" fmla="*/ 41 h 122"/>
                  <a:gd name="T48" fmla="*/ 31 w 192"/>
                  <a:gd name="T49" fmla="*/ 27 h 122"/>
                  <a:gd name="T50" fmla="*/ 34 w 192"/>
                  <a:gd name="T51" fmla="*/ 20 h 122"/>
                  <a:gd name="T52" fmla="*/ 43 w 192"/>
                  <a:gd name="T53" fmla="*/ 22 h 122"/>
                  <a:gd name="T54" fmla="*/ 48 w 192"/>
                  <a:gd name="T55" fmla="*/ 22 h 122"/>
                  <a:gd name="T56" fmla="*/ 59 w 192"/>
                  <a:gd name="T57" fmla="*/ 23 h 122"/>
                  <a:gd name="T58" fmla="*/ 64 w 192"/>
                  <a:gd name="T59" fmla="*/ 25 h 122"/>
                  <a:gd name="T60" fmla="*/ 72 w 192"/>
                  <a:gd name="T61" fmla="*/ 27 h 122"/>
                  <a:gd name="T62" fmla="*/ 76 w 192"/>
                  <a:gd name="T63" fmla="*/ 25 h 122"/>
                  <a:gd name="T64" fmla="*/ 81 w 192"/>
                  <a:gd name="T65" fmla="*/ 22 h 122"/>
                  <a:gd name="T66" fmla="*/ 88 w 192"/>
                  <a:gd name="T67" fmla="*/ 17 h 122"/>
                  <a:gd name="T68" fmla="*/ 92 w 192"/>
                  <a:gd name="T69" fmla="*/ 16 h 122"/>
                  <a:gd name="T70" fmla="*/ 99 w 192"/>
                  <a:gd name="T71" fmla="*/ 14 h 122"/>
                  <a:gd name="T72" fmla="*/ 108 w 192"/>
                  <a:gd name="T73" fmla="*/ 12 h 122"/>
                  <a:gd name="T74" fmla="*/ 116 w 192"/>
                  <a:gd name="T75" fmla="*/ 12 h 122"/>
                  <a:gd name="T76" fmla="*/ 126 w 192"/>
                  <a:gd name="T77" fmla="*/ 11 h 122"/>
                  <a:gd name="T78" fmla="*/ 132 w 192"/>
                  <a:gd name="T79" fmla="*/ 9 h 122"/>
                  <a:gd name="T80" fmla="*/ 138 w 192"/>
                  <a:gd name="T81" fmla="*/ 9 h 122"/>
                  <a:gd name="T82" fmla="*/ 146 w 192"/>
                  <a:gd name="T83" fmla="*/ 8 h 122"/>
                  <a:gd name="T84" fmla="*/ 154 w 192"/>
                  <a:gd name="T85" fmla="*/ 4 h 122"/>
                  <a:gd name="T86" fmla="*/ 162 w 192"/>
                  <a:gd name="T87" fmla="*/ 1 h 122"/>
                  <a:gd name="T88" fmla="*/ 168 w 192"/>
                  <a:gd name="T89" fmla="*/ 0 h 122"/>
                  <a:gd name="T90" fmla="*/ 173 w 192"/>
                  <a:gd name="T91" fmla="*/ 1 h 122"/>
                  <a:gd name="T92" fmla="*/ 187 w 192"/>
                  <a:gd name="T93" fmla="*/ 2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2" h="122">
                    <a:moveTo>
                      <a:pt x="187" y="23"/>
                    </a:moveTo>
                    <a:lnTo>
                      <a:pt x="187" y="27"/>
                    </a:lnTo>
                    <a:lnTo>
                      <a:pt x="189" y="28"/>
                    </a:lnTo>
                    <a:lnTo>
                      <a:pt x="189" y="31"/>
                    </a:lnTo>
                    <a:lnTo>
                      <a:pt x="189" y="35"/>
                    </a:lnTo>
                    <a:lnTo>
                      <a:pt x="189" y="36"/>
                    </a:lnTo>
                    <a:lnTo>
                      <a:pt x="191" y="42"/>
                    </a:lnTo>
                    <a:lnTo>
                      <a:pt x="191" y="47"/>
                    </a:lnTo>
                    <a:lnTo>
                      <a:pt x="191" y="50"/>
                    </a:lnTo>
                    <a:lnTo>
                      <a:pt x="191" y="55"/>
                    </a:lnTo>
                    <a:lnTo>
                      <a:pt x="191" y="58"/>
                    </a:lnTo>
                    <a:lnTo>
                      <a:pt x="192" y="60"/>
                    </a:lnTo>
                    <a:lnTo>
                      <a:pt x="192" y="65"/>
                    </a:lnTo>
                    <a:lnTo>
                      <a:pt x="192" y="68"/>
                    </a:lnTo>
                    <a:lnTo>
                      <a:pt x="192" y="69"/>
                    </a:lnTo>
                    <a:lnTo>
                      <a:pt x="192" y="71"/>
                    </a:lnTo>
                    <a:lnTo>
                      <a:pt x="191" y="71"/>
                    </a:lnTo>
                    <a:lnTo>
                      <a:pt x="189" y="71"/>
                    </a:lnTo>
                    <a:lnTo>
                      <a:pt x="187" y="71"/>
                    </a:lnTo>
                    <a:lnTo>
                      <a:pt x="184" y="71"/>
                    </a:lnTo>
                    <a:lnTo>
                      <a:pt x="181" y="71"/>
                    </a:lnTo>
                    <a:lnTo>
                      <a:pt x="179" y="71"/>
                    </a:lnTo>
                    <a:lnTo>
                      <a:pt x="176" y="71"/>
                    </a:lnTo>
                    <a:lnTo>
                      <a:pt x="129" y="76"/>
                    </a:lnTo>
                    <a:lnTo>
                      <a:pt x="127" y="74"/>
                    </a:lnTo>
                    <a:lnTo>
                      <a:pt x="116" y="76"/>
                    </a:lnTo>
                    <a:lnTo>
                      <a:pt x="107" y="77"/>
                    </a:lnTo>
                    <a:lnTo>
                      <a:pt x="95" y="85"/>
                    </a:lnTo>
                    <a:lnTo>
                      <a:pt x="91" y="84"/>
                    </a:lnTo>
                    <a:lnTo>
                      <a:pt x="84" y="87"/>
                    </a:lnTo>
                    <a:lnTo>
                      <a:pt x="81" y="88"/>
                    </a:lnTo>
                    <a:lnTo>
                      <a:pt x="73" y="87"/>
                    </a:lnTo>
                    <a:lnTo>
                      <a:pt x="64" y="85"/>
                    </a:lnTo>
                    <a:lnTo>
                      <a:pt x="54" y="87"/>
                    </a:lnTo>
                    <a:lnTo>
                      <a:pt x="46" y="87"/>
                    </a:lnTo>
                    <a:lnTo>
                      <a:pt x="40" y="87"/>
                    </a:lnTo>
                    <a:lnTo>
                      <a:pt x="35" y="92"/>
                    </a:lnTo>
                    <a:lnTo>
                      <a:pt x="35" y="95"/>
                    </a:lnTo>
                    <a:lnTo>
                      <a:pt x="32" y="99"/>
                    </a:lnTo>
                    <a:lnTo>
                      <a:pt x="27" y="106"/>
                    </a:lnTo>
                    <a:lnTo>
                      <a:pt x="27" y="111"/>
                    </a:lnTo>
                    <a:lnTo>
                      <a:pt x="26" y="115"/>
                    </a:lnTo>
                    <a:lnTo>
                      <a:pt x="23" y="122"/>
                    </a:lnTo>
                    <a:lnTo>
                      <a:pt x="19" y="115"/>
                    </a:lnTo>
                    <a:lnTo>
                      <a:pt x="15" y="107"/>
                    </a:lnTo>
                    <a:lnTo>
                      <a:pt x="10" y="93"/>
                    </a:lnTo>
                    <a:lnTo>
                      <a:pt x="4" y="84"/>
                    </a:lnTo>
                    <a:lnTo>
                      <a:pt x="0" y="77"/>
                    </a:lnTo>
                    <a:lnTo>
                      <a:pt x="2" y="77"/>
                    </a:lnTo>
                    <a:lnTo>
                      <a:pt x="4" y="77"/>
                    </a:lnTo>
                    <a:lnTo>
                      <a:pt x="5" y="76"/>
                    </a:lnTo>
                    <a:lnTo>
                      <a:pt x="7" y="76"/>
                    </a:lnTo>
                    <a:lnTo>
                      <a:pt x="10" y="76"/>
                    </a:lnTo>
                    <a:lnTo>
                      <a:pt x="10" y="74"/>
                    </a:lnTo>
                    <a:lnTo>
                      <a:pt x="13" y="71"/>
                    </a:lnTo>
                    <a:lnTo>
                      <a:pt x="16" y="69"/>
                    </a:lnTo>
                    <a:lnTo>
                      <a:pt x="21" y="68"/>
                    </a:lnTo>
                    <a:lnTo>
                      <a:pt x="23" y="66"/>
                    </a:lnTo>
                    <a:lnTo>
                      <a:pt x="24" y="66"/>
                    </a:lnTo>
                    <a:lnTo>
                      <a:pt x="26" y="66"/>
                    </a:lnTo>
                    <a:lnTo>
                      <a:pt x="27" y="66"/>
                    </a:lnTo>
                    <a:lnTo>
                      <a:pt x="29" y="63"/>
                    </a:lnTo>
                    <a:lnTo>
                      <a:pt x="31" y="61"/>
                    </a:lnTo>
                    <a:lnTo>
                      <a:pt x="32" y="60"/>
                    </a:lnTo>
                    <a:lnTo>
                      <a:pt x="32" y="58"/>
                    </a:lnTo>
                    <a:lnTo>
                      <a:pt x="34" y="57"/>
                    </a:lnTo>
                    <a:lnTo>
                      <a:pt x="34" y="55"/>
                    </a:lnTo>
                    <a:lnTo>
                      <a:pt x="34" y="54"/>
                    </a:lnTo>
                    <a:lnTo>
                      <a:pt x="34" y="52"/>
                    </a:lnTo>
                    <a:lnTo>
                      <a:pt x="34" y="46"/>
                    </a:lnTo>
                    <a:lnTo>
                      <a:pt x="34" y="42"/>
                    </a:lnTo>
                    <a:lnTo>
                      <a:pt x="34" y="41"/>
                    </a:lnTo>
                    <a:lnTo>
                      <a:pt x="34" y="38"/>
                    </a:lnTo>
                    <a:lnTo>
                      <a:pt x="32" y="31"/>
                    </a:lnTo>
                    <a:lnTo>
                      <a:pt x="31" y="27"/>
                    </a:lnTo>
                    <a:lnTo>
                      <a:pt x="31" y="23"/>
                    </a:lnTo>
                    <a:lnTo>
                      <a:pt x="31" y="20"/>
                    </a:lnTo>
                    <a:lnTo>
                      <a:pt x="34" y="20"/>
                    </a:lnTo>
                    <a:lnTo>
                      <a:pt x="37" y="22"/>
                    </a:lnTo>
                    <a:lnTo>
                      <a:pt x="40" y="22"/>
                    </a:lnTo>
                    <a:lnTo>
                      <a:pt x="43" y="22"/>
                    </a:lnTo>
                    <a:lnTo>
                      <a:pt x="45" y="22"/>
                    </a:lnTo>
                    <a:lnTo>
                      <a:pt x="46" y="22"/>
                    </a:lnTo>
                    <a:lnTo>
                      <a:pt x="48" y="22"/>
                    </a:lnTo>
                    <a:lnTo>
                      <a:pt x="51" y="22"/>
                    </a:lnTo>
                    <a:lnTo>
                      <a:pt x="56" y="22"/>
                    </a:lnTo>
                    <a:lnTo>
                      <a:pt x="59" y="23"/>
                    </a:lnTo>
                    <a:lnTo>
                      <a:pt x="61" y="25"/>
                    </a:lnTo>
                    <a:lnTo>
                      <a:pt x="62" y="25"/>
                    </a:lnTo>
                    <a:lnTo>
                      <a:pt x="64" y="25"/>
                    </a:lnTo>
                    <a:lnTo>
                      <a:pt x="67" y="25"/>
                    </a:lnTo>
                    <a:lnTo>
                      <a:pt x="70" y="25"/>
                    </a:lnTo>
                    <a:lnTo>
                      <a:pt x="72" y="27"/>
                    </a:lnTo>
                    <a:lnTo>
                      <a:pt x="73" y="27"/>
                    </a:lnTo>
                    <a:lnTo>
                      <a:pt x="75" y="25"/>
                    </a:lnTo>
                    <a:lnTo>
                      <a:pt x="76" y="25"/>
                    </a:lnTo>
                    <a:lnTo>
                      <a:pt x="78" y="23"/>
                    </a:lnTo>
                    <a:lnTo>
                      <a:pt x="80" y="23"/>
                    </a:lnTo>
                    <a:lnTo>
                      <a:pt x="81" y="22"/>
                    </a:lnTo>
                    <a:lnTo>
                      <a:pt x="84" y="20"/>
                    </a:lnTo>
                    <a:lnTo>
                      <a:pt x="86" y="19"/>
                    </a:lnTo>
                    <a:lnTo>
                      <a:pt x="88" y="17"/>
                    </a:lnTo>
                    <a:lnTo>
                      <a:pt x="89" y="17"/>
                    </a:lnTo>
                    <a:lnTo>
                      <a:pt x="91" y="17"/>
                    </a:lnTo>
                    <a:lnTo>
                      <a:pt x="92" y="16"/>
                    </a:lnTo>
                    <a:lnTo>
                      <a:pt x="94" y="14"/>
                    </a:lnTo>
                    <a:lnTo>
                      <a:pt x="97" y="14"/>
                    </a:lnTo>
                    <a:lnTo>
                      <a:pt x="99" y="14"/>
                    </a:lnTo>
                    <a:lnTo>
                      <a:pt x="102" y="14"/>
                    </a:lnTo>
                    <a:lnTo>
                      <a:pt x="103" y="14"/>
                    </a:lnTo>
                    <a:lnTo>
                      <a:pt x="108" y="12"/>
                    </a:lnTo>
                    <a:lnTo>
                      <a:pt x="110" y="12"/>
                    </a:lnTo>
                    <a:lnTo>
                      <a:pt x="113" y="12"/>
                    </a:lnTo>
                    <a:lnTo>
                      <a:pt x="116" y="12"/>
                    </a:lnTo>
                    <a:lnTo>
                      <a:pt x="119" y="11"/>
                    </a:lnTo>
                    <a:lnTo>
                      <a:pt x="121" y="11"/>
                    </a:lnTo>
                    <a:lnTo>
                      <a:pt x="126" y="11"/>
                    </a:lnTo>
                    <a:lnTo>
                      <a:pt x="127" y="11"/>
                    </a:lnTo>
                    <a:lnTo>
                      <a:pt x="130" y="11"/>
                    </a:lnTo>
                    <a:lnTo>
                      <a:pt x="132" y="9"/>
                    </a:lnTo>
                    <a:lnTo>
                      <a:pt x="135" y="9"/>
                    </a:lnTo>
                    <a:lnTo>
                      <a:pt x="137" y="9"/>
                    </a:lnTo>
                    <a:lnTo>
                      <a:pt x="138" y="9"/>
                    </a:lnTo>
                    <a:lnTo>
                      <a:pt x="140" y="9"/>
                    </a:lnTo>
                    <a:lnTo>
                      <a:pt x="145" y="8"/>
                    </a:lnTo>
                    <a:lnTo>
                      <a:pt x="146" y="8"/>
                    </a:lnTo>
                    <a:lnTo>
                      <a:pt x="148" y="6"/>
                    </a:lnTo>
                    <a:lnTo>
                      <a:pt x="153" y="6"/>
                    </a:lnTo>
                    <a:lnTo>
                      <a:pt x="154" y="4"/>
                    </a:lnTo>
                    <a:lnTo>
                      <a:pt x="156" y="4"/>
                    </a:lnTo>
                    <a:lnTo>
                      <a:pt x="159" y="3"/>
                    </a:lnTo>
                    <a:lnTo>
                      <a:pt x="162" y="1"/>
                    </a:lnTo>
                    <a:lnTo>
                      <a:pt x="165" y="0"/>
                    </a:lnTo>
                    <a:lnTo>
                      <a:pt x="167" y="0"/>
                    </a:lnTo>
                    <a:lnTo>
                      <a:pt x="168" y="0"/>
                    </a:lnTo>
                    <a:lnTo>
                      <a:pt x="170" y="1"/>
                    </a:lnTo>
                    <a:lnTo>
                      <a:pt x="172" y="1"/>
                    </a:lnTo>
                    <a:lnTo>
                      <a:pt x="173" y="1"/>
                    </a:lnTo>
                    <a:lnTo>
                      <a:pt x="187" y="17"/>
                    </a:lnTo>
                    <a:lnTo>
                      <a:pt x="187" y="20"/>
                    </a:lnTo>
                    <a:lnTo>
                      <a:pt x="187" y="23"/>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34" name="Freeform 14"/>
              <p:cNvSpPr>
                <a:spLocks/>
              </p:cNvSpPr>
              <p:nvPr/>
            </p:nvSpPr>
            <p:spPr bwMode="auto">
              <a:xfrm>
                <a:off x="3692" y="2455"/>
                <a:ext cx="664" cy="724"/>
              </a:xfrm>
              <a:custGeom>
                <a:avLst/>
                <a:gdLst>
                  <a:gd name="T0" fmla="*/ 21 w 664"/>
                  <a:gd name="T1" fmla="*/ 3 h 724"/>
                  <a:gd name="T2" fmla="*/ 43 w 664"/>
                  <a:gd name="T3" fmla="*/ 10 h 724"/>
                  <a:gd name="T4" fmla="*/ 64 w 664"/>
                  <a:gd name="T5" fmla="*/ 21 h 724"/>
                  <a:gd name="T6" fmla="*/ 83 w 664"/>
                  <a:gd name="T7" fmla="*/ 30 h 724"/>
                  <a:gd name="T8" fmla="*/ 103 w 664"/>
                  <a:gd name="T9" fmla="*/ 30 h 724"/>
                  <a:gd name="T10" fmla="*/ 119 w 664"/>
                  <a:gd name="T11" fmla="*/ 16 h 724"/>
                  <a:gd name="T12" fmla="*/ 149 w 664"/>
                  <a:gd name="T13" fmla="*/ 13 h 724"/>
                  <a:gd name="T14" fmla="*/ 173 w 664"/>
                  <a:gd name="T15" fmla="*/ 21 h 724"/>
                  <a:gd name="T16" fmla="*/ 194 w 664"/>
                  <a:gd name="T17" fmla="*/ 37 h 724"/>
                  <a:gd name="T18" fmla="*/ 214 w 664"/>
                  <a:gd name="T19" fmla="*/ 41 h 724"/>
                  <a:gd name="T20" fmla="*/ 235 w 664"/>
                  <a:gd name="T21" fmla="*/ 49 h 724"/>
                  <a:gd name="T22" fmla="*/ 257 w 664"/>
                  <a:gd name="T23" fmla="*/ 59 h 724"/>
                  <a:gd name="T24" fmla="*/ 273 w 664"/>
                  <a:gd name="T25" fmla="*/ 60 h 724"/>
                  <a:gd name="T26" fmla="*/ 293 w 664"/>
                  <a:gd name="T27" fmla="*/ 60 h 724"/>
                  <a:gd name="T28" fmla="*/ 314 w 664"/>
                  <a:gd name="T29" fmla="*/ 67 h 724"/>
                  <a:gd name="T30" fmla="*/ 335 w 664"/>
                  <a:gd name="T31" fmla="*/ 73 h 724"/>
                  <a:gd name="T32" fmla="*/ 357 w 664"/>
                  <a:gd name="T33" fmla="*/ 75 h 724"/>
                  <a:gd name="T34" fmla="*/ 377 w 664"/>
                  <a:gd name="T35" fmla="*/ 76 h 724"/>
                  <a:gd name="T36" fmla="*/ 398 w 664"/>
                  <a:gd name="T37" fmla="*/ 84 h 724"/>
                  <a:gd name="T38" fmla="*/ 417 w 664"/>
                  <a:gd name="T39" fmla="*/ 91 h 724"/>
                  <a:gd name="T40" fmla="*/ 433 w 664"/>
                  <a:gd name="T41" fmla="*/ 105 h 724"/>
                  <a:gd name="T42" fmla="*/ 445 w 664"/>
                  <a:gd name="T43" fmla="*/ 121 h 724"/>
                  <a:gd name="T44" fmla="*/ 449 w 664"/>
                  <a:gd name="T45" fmla="*/ 140 h 724"/>
                  <a:gd name="T46" fmla="*/ 468 w 664"/>
                  <a:gd name="T47" fmla="*/ 141 h 724"/>
                  <a:gd name="T48" fmla="*/ 488 w 664"/>
                  <a:gd name="T49" fmla="*/ 148 h 724"/>
                  <a:gd name="T50" fmla="*/ 499 w 664"/>
                  <a:gd name="T51" fmla="*/ 167 h 724"/>
                  <a:gd name="T52" fmla="*/ 514 w 664"/>
                  <a:gd name="T53" fmla="*/ 190 h 724"/>
                  <a:gd name="T54" fmla="*/ 528 w 664"/>
                  <a:gd name="T55" fmla="*/ 200 h 724"/>
                  <a:gd name="T56" fmla="*/ 548 w 664"/>
                  <a:gd name="T57" fmla="*/ 205 h 724"/>
                  <a:gd name="T58" fmla="*/ 564 w 664"/>
                  <a:gd name="T59" fmla="*/ 213 h 724"/>
                  <a:gd name="T60" fmla="*/ 590 w 664"/>
                  <a:gd name="T61" fmla="*/ 222 h 724"/>
                  <a:gd name="T62" fmla="*/ 599 w 664"/>
                  <a:gd name="T63" fmla="*/ 241 h 724"/>
                  <a:gd name="T64" fmla="*/ 624 w 664"/>
                  <a:gd name="T65" fmla="*/ 243 h 724"/>
                  <a:gd name="T66" fmla="*/ 656 w 664"/>
                  <a:gd name="T67" fmla="*/ 249 h 724"/>
                  <a:gd name="T68" fmla="*/ 624 w 664"/>
                  <a:gd name="T69" fmla="*/ 285 h 724"/>
                  <a:gd name="T70" fmla="*/ 605 w 664"/>
                  <a:gd name="T71" fmla="*/ 320 h 724"/>
                  <a:gd name="T72" fmla="*/ 594 w 664"/>
                  <a:gd name="T73" fmla="*/ 347 h 724"/>
                  <a:gd name="T74" fmla="*/ 507 w 664"/>
                  <a:gd name="T75" fmla="*/ 342 h 724"/>
                  <a:gd name="T76" fmla="*/ 477 w 664"/>
                  <a:gd name="T77" fmla="*/ 357 h 724"/>
                  <a:gd name="T78" fmla="*/ 458 w 664"/>
                  <a:gd name="T79" fmla="*/ 373 h 724"/>
                  <a:gd name="T80" fmla="*/ 449 w 664"/>
                  <a:gd name="T81" fmla="*/ 393 h 724"/>
                  <a:gd name="T82" fmla="*/ 452 w 664"/>
                  <a:gd name="T83" fmla="*/ 412 h 724"/>
                  <a:gd name="T84" fmla="*/ 430 w 664"/>
                  <a:gd name="T85" fmla="*/ 420 h 724"/>
                  <a:gd name="T86" fmla="*/ 392 w 664"/>
                  <a:gd name="T87" fmla="*/ 428 h 724"/>
                  <a:gd name="T88" fmla="*/ 376 w 664"/>
                  <a:gd name="T89" fmla="*/ 444 h 724"/>
                  <a:gd name="T90" fmla="*/ 355 w 664"/>
                  <a:gd name="T91" fmla="*/ 461 h 724"/>
                  <a:gd name="T92" fmla="*/ 339 w 664"/>
                  <a:gd name="T93" fmla="*/ 476 h 724"/>
                  <a:gd name="T94" fmla="*/ 327 w 664"/>
                  <a:gd name="T95" fmla="*/ 496 h 724"/>
                  <a:gd name="T96" fmla="*/ 317 w 664"/>
                  <a:gd name="T97" fmla="*/ 518 h 724"/>
                  <a:gd name="T98" fmla="*/ 262 w 664"/>
                  <a:gd name="T99" fmla="*/ 561 h 724"/>
                  <a:gd name="T100" fmla="*/ 241 w 664"/>
                  <a:gd name="T101" fmla="*/ 613 h 724"/>
                  <a:gd name="T102" fmla="*/ 230 w 664"/>
                  <a:gd name="T103" fmla="*/ 616 h 724"/>
                  <a:gd name="T104" fmla="*/ 208 w 664"/>
                  <a:gd name="T105" fmla="*/ 596 h 724"/>
                  <a:gd name="T106" fmla="*/ 135 w 664"/>
                  <a:gd name="T107" fmla="*/ 582 h 724"/>
                  <a:gd name="T108" fmla="*/ 135 w 664"/>
                  <a:gd name="T109" fmla="*/ 629 h 724"/>
                  <a:gd name="T110" fmla="*/ 133 w 664"/>
                  <a:gd name="T111" fmla="*/ 653 h 724"/>
                  <a:gd name="T112" fmla="*/ 137 w 664"/>
                  <a:gd name="T113" fmla="*/ 685 h 724"/>
                  <a:gd name="T114" fmla="*/ 154 w 664"/>
                  <a:gd name="T115" fmla="*/ 680 h 724"/>
                  <a:gd name="T116" fmla="*/ 167 w 664"/>
                  <a:gd name="T117" fmla="*/ 697 h 724"/>
                  <a:gd name="T118" fmla="*/ 181 w 664"/>
                  <a:gd name="T119" fmla="*/ 719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4" h="724">
                    <a:moveTo>
                      <a:pt x="0" y="0"/>
                    </a:moveTo>
                    <a:lnTo>
                      <a:pt x="2" y="0"/>
                    </a:lnTo>
                    <a:lnTo>
                      <a:pt x="3" y="0"/>
                    </a:lnTo>
                    <a:lnTo>
                      <a:pt x="5" y="0"/>
                    </a:lnTo>
                    <a:lnTo>
                      <a:pt x="5" y="2"/>
                    </a:lnTo>
                    <a:lnTo>
                      <a:pt x="7" y="2"/>
                    </a:lnTo>
                    <a:lnTo>
                      <a:pt x="8" y="3"/>
                    </a:lnTo>
                    <a:lnTo>
                      <a:pt x="10" y="3"/>
                    </a:lnTo>
                    <a:lnTo>
                      <a:pt x="10" y="5"/>
                    </a:lnTo>
                    <a:lnTo>
                      <a:pt x="11" y="5"/>
                    </a:lnTo>
                    <a:lnTo>
                      <a:pt x="13" y="5"/>
                    </a:lnTo>
                    <a:lnTo>
                      <a:pt x="15" y="5"/>
                    </a:lnTo>
                    <a:lnTo>
                      <a:pt x="16" y="5"/>
                    </a:lnTo>
                    <a:lnTo>
                      <a:pt x="16" y="3"/>
                    </a:lnTo>
                    <a:lnTo>
                      <a:pt x="18" y="3"/>
                    </a:lnTo>
                    <a:lnTo>
                      <a:pt x="19" y="3"/>
                    </a:lnTo>
                    <a:lnTo>
                      <a:pt x="21" y="3"/>
                    </a:lnTo>
                    <a:lnTo>
                      <a:pt x="22" y="3"/>
                    </a:lnTo>
                    <a:lnTo>
                      <a:pt x="24" y="5"/>
                    </a:lnTo>
                    <a:lnTo>
                      <a:pt x="26" y="5"/>
                    </a:lnTo>
                    <a:lnTo>
                      <a:pt x="27" y="5"/>
                    </a:lnTo>
                    <a:lnTo>
                      <a:pt x="29" y="5"/>
                    </a:lnTo>
                    <a:lnTo>
                      <a:pt x="30" y="5"/>
                    </a:lnTo>
                    <a:lnTo>
                      <a:pt x="32" y="5"/>
                    </a:lnTo>
                    <a:lnTo>
                      <a:pt x="34" y="3"/>
                    </a:lnTo>
                    <a:lnTo>
                      <a:pt x="34" y="5"/>
                    </a:lnTo>
                    <a:lnTo>
                      <a:pt x="35" y="5"/>
                    </a:lnTo>
                    <a:lnTo>
                      <a:pt x="37" y="5"/>
                    </a:lnTo>
                    <a:lnTo>
                      <a:pt x="37" y="7"/>
                    </a:lnTo>
                    <a:lnTo>
                      <a:pt x="38" y="7"/>
                    </a:lnTo>
                    <a:lnTo>
                      <a:pt x="38" y="8"/>
                    </a:lnTo>
                    <a:lnTo>
                      <a:pt x="40" y="8"/>
                    </a:lnTo>
                    <a:lnTo>
                      <a:pt x="41" y="8"/>
                    </a:lnTo>
                    <a:lnTo>
                      <a:pt x="43" y="10"/>
                    </a:lnTo>
                    <a:lnTo>
                      <a:pt x="45" y="10"/>
                    </a:lnTo>
                    <a:lnTo>
                      <a:pt x="46" y="10"/>
                    </a:lnTo>
                    <a:lnTo>
                      <a:pt x="48" y="11"/>
                    </a:lnTo>
                    <a:lnTo>
                      <a:pt x="49" y="11"/>
                    </a:lnTo>
                    <a:lnTo>
                      <a:pt x="49" y="13"/>
                    </a:lnTo>
                    <a:lnTo>
                      <a:pt x="51" y="13"/>
                    </a:lnTo>
                    <a:lnTo>
                      <a:pt x="53" y="15"/>
                    </a:lnTo>
                    <a:lnTo>
                      <a:pt x="54" y="15"/>
                    </a:lnTo>
                    <a:lnTo>
                      <a:pt x="54" y="16"/>
                    </a:lnTo>
                    <a:lnTo>
                      <a:pt x="56" y="16"/>
                    </a:lnTo>
                    <a:lnTo>
                      <a:pt x="57" y="16"/>
                    </a:lnTo>
                    <a:lnTo>
                      <a:pt x="57" y="18"/>
                    </a:lnTo>
                    <a:lnTo>
                      <a:pt x="59" y="18"/>
                    </a:lnTo>
                    <a:lnTo>
                      <a:pt x="60" y="19"/>
                    </a:lnTo>
                    <a:lnTo>
                      <a:pt x="62" y="19"/>
                    </a:lnTo>
                    <a:lnTo>
                      <a:pt x="62" y="21"/>
                    </a:lnTo>
                    <a:lnTo>
                      <a:pt x="64" y="21"/>
                    </a:lnTo>
                    <a:lnTo>
                      <a:pt x="65" y="21"/>
                    </a:lnTo>
                    <a:lnTo>
                      <a:pt x="65" y="22"/>
                    </a:lnTo>
                    <a:lnTo>
                      <a:pt x="67" y="22"/>
                    </a:lnTo>
                    <a:lnTo>
                      <a:pt x="68" y="22"/>
                    </a:lnTo>
                    <a:lnTo>
                      <a:pt x="68" y="24"/>
                    </a:lnTo>
                    <a:lnTo>
                      <a:pt x="70" y="24"/>
                    </a:lnTo>
                    <a:lnTo>
                      <a:pt x="72" y="26"/>
                    </a:lnTo>
                    <a:lnTo>
                      <a:pt x="72" y="27"/>
                    </a:lnTo>
                    <a:lnTo>
                      <a:pt x="73" y="27"/>
                    </a:lnTo>
                    <a:lnTo>
                      <a:pt x="73" y="29"/>
                    </a:lnTo>
                    <a:lnTo>
                      <a:pt x="75" y="29"/>
                    </a:lnTo>
                    <a:lnTo>
                      <a:pt x="76" y="29"/>
                    </a:lnTo>
                    <a:lnTo>
                      <a:pt x="76" y="30"/>
                    </a:lnTo>
                    <a:lnTo>
                      <a:pt x="78" y="30"/>
                    </a:lnTo>
                    <a:lnTo>
                      <a:pt x="79" y="30"/>
                    </a:lnTo>
                    <a:lnTo>
                      <a:pt x="81" y="30"/>
                    </a:lnTo>
                    <a:lnTo>
                      <a:pt x="83" y="30"/>
                    </a:lnTo>
                    <a:lnTo>
                      <a:pt x="84" y="30"/>
                    </a:lnTo>
                    <a:lnTo>
                      <a:pt x="84" y="32"/>
                    </a:lnTo>
                    <a:lnTo>
                      <a:pt x="86" y="32"/>
                    </a:lnTo>
                    <a:lnTo>
                      <a:pt x="87" y="32"/>
                    </a:lnTo>
                    <a:lnTo>
                      <a:pt x="89" y="32"/>
                    </a:lnTo>
                    <a:lnTo>
                      <a:pt x="91" y="32"/>
                    </a:lnTo>
                    <a:lnTo>
                      <a:pt x="91" y="34"/>
                    </a:lnTo>
                    <a:lnTo>
                      <a:pt x="92" y="34"/>
                    </a:lnTo>
                    <a:lnTo>
                      <a:pt x="94" y="32"/>
                    </a:lnTo>
                    <a:lnTo>
                      <a:pt x="95" y="34"/>
                    </a:lnTo>
                    <a:lnTo>
                      <a:pt x="97" y="34"/>
                    </a:lnTo>
                    <a:lnTo>
                      <a:pt x="98" y="34"/>
                    </a:lnTo>
                    <a:lnTo>
                      <a:pt x="100" y="35"/>
                    </a:lnTo>
                    <a:lnTo>
                      <a:pt x="100" y="34"/>
                    </a:lnTo>
                    <a:lnTo>
                      <a:pt x="102" y="34"/>
                    </a:lnTo>
                    <a:lnTo>
                      <a:pt x="103" y="32"/>
                    </a:lnTo>
                    <a:lnTo>
                      <a:pt x="103" y="30"/>
                    </a:lnTo>
                    <a:lnTo>
                      <a:pt x="105" y="30"/>
                    </a:lnTo>
                    <a:lnTo>
                      <a:pt x="106" y="29"/>
                    </a:lnTo>
                    <a:lnTo>
                      <a:pt x="108" y="29"/>
                    </a:lnTo>
                    <a:lnTo>
                      <a:pt x="108" y="27"/>
                    </a:lnTo>
                    <a:lnTo>
                      <a:pt x="110" y="27"/>
                    </a:lnTo>
                    <a:lnTo>
                      <a:pt x="110" y="26"/>
                    </a:lnTo>
                    <a:lnTo>
                      <a:pt x="111" y="24"/>
                    </a:lnTo>
                    <a:lnTo>
                      <a:pt x="113" y="24"/>
                    </a:lnTo>
                    <a:lnTo>
                      <a:pt x="113" y="22"/>
                    </a:lnTo>
                    <a:lnTo>
                      <a:pt x="114" y="22"/>
                    </a:lnTo>
                    <a:lnTo>
                      <a:pt x="114" y="21"/>
                    </a:lnTo>
                    <a:lnTo>
                      <a:pt x="114" y="19"/>
                    </a:lnTo>
                    <a:lnTo>
                      <a:pt x="116" y="19"/>
                    </a:lnTo>
                    <a:lnTo>
                      <a:pt x="116" y="18"/>
                    </a:lnTo>
                    <a:lnTo>
                      <a:pt x="117" y="18"/>
                    </a:lnTo>
                    <a:lnTo>
                      <a:pt x="117" y="16"/>
                    </a:lnTo>
                    <a:lnTo>
                      <a:pt x="119" y="16"/>
                    </a:lnTo>
                    <a:lnTo>
                      <a:pt x="119" y="15"/>
                    </a:lnTo>
                    <a:lnTo>
                      <a:pt x="122" y="15"/>
                    </a:lnTo>
                    <a:lnTo>
                      <a:pt x="124" y="15"/>
                    </a:lnTo>
                    <a:lnTo>
                      <a:pt x="124" y="16"/>
                    </a:lnTo>
                    <a:lnTo>
                      <a:pt x="125" y="16"/>
                    </a:lnTo>
                    <a:lnTo>
                      <a:pt x="127" y="15"/>
                    </a:lnTo>
                    <a:lnTo>
                      <a:pt x="130" y="15"/>
                    </a:lnTo>
                    <a:lnTo>
                      <a:pt x="133" y="15"/>
                    </a:lnTo>
                    <a:lnTo>
                      <a:pt x="135" y="15"/>
                    </a:lnTo>
                    <a:lnTo>
                      <a:pt x="137" y="16"/>
                    </a:lnTo>
                    <a:lnTo>
                      <a:pt x="138" y="16"/>
                    </a:lnTo>
                    <a:lnTo>
                      <a:pt x="140" y="16"/>
                    </a:lnTo>
                    <a:lnTo>
                      <a:pt x="141" y="16"/>
                    </a:lnTo>
                    <a:lnTo>
                      <a:pt x="143" y="15"/>
                    </a:lnTo>
                    <a:lnTo>
                      <a:pt x="144" y="15"/>
                    </a:lnTo>
                    <a:lnTo>
                      <a:pt x="148" y="15"/>
                    </a:lnTo>
                    <a:lnTo>
                      <a:pt x="149" y="13"/>
                    </a:lnTo>
                    <a:lnTo>
                      <a:pt x="151" y="13"/>
                    </a:lnTo>
                    <a:lnTo>
                      <a:pt x="152" y="13"/>
                    </a:lnTo>
                    <a:lnTo>
                      <a:pt x="154" y="13"/>
                    </a:lnTo>
                    <a:lnTo>
                      <a:pt x="156" y="13"/>
                    </a:lnTo>
                    <a:lnTo>
                      <a:pt x="157" y="13"/>
                    </a:lnTo>
                    <a:lnTo>
                      <a:pt x="159" y="15"/>
                    </a:lnTo>
                    <a:lnTo>
                      <a:pt x="160" y="15"/>
                    </a:lnTo>
                    <a:lnTo>
                      <a:pt x="162" y="15"/>
                    </a:lnTo>
                    <a:lnTo>
                      <a:pt x="162" y="13"/>
                    </a:lnTo>
                    <a:lnTo>
                      <a:pt x="165" y="15"/>
                    </a:lnTo>
                    <a:lnTo>
                      <a:pt x="167" y="15"/>
                    </a:lnTo>
                    <a:lnTo>
                      <a:pt x="167" y="16"/>
                    </a:lnTo>
                    <a:lnTo>
                      <a:pt x="168" y="16"/>
                    </a:lnTo>
                    <a:lnTo>
                      <a:pt x="170" y="16"/>
                    </a:lnTo>
                    <a:lnTo>
                      <a:pt x="171" y="18"/>
                    </a:lnTo>
                    <a:lnTo>
                      <a:pt x="171" y="19"/>
                    </a:lnTo>
                    <a:lnTo>
                      <a:pt x="173" y="21"/>
                    </a:lnTo>
                    <a:lnTo>
                      <a:pt x="173" y="19"/>
                    </a:lnTo>
                    <a:lnTo>
                      <a:pt x="175" y="19"/>
                    </a:lnTo>
                    <a:lnTo>
                      <a:pt x="176" y="18"/>
                    </a:lnTo>
                    <a:lnTo>
                      <a:pt x="179" y="19"/>
                    </a:lnTo>
                    <a:lnTo>
                      <a:pt x="181" y="19"/>
                    </a:lnTo>
                    <a:lnTo>
                      <a:pt x="182" y="21"/>
                    </a:lnTo>
                    <a:lnTo>
                      <a:pt x="184" y="22"/>
                    </a:lnTo>
                    <a:lnTo>
                      <a:pt x="186" y="24"/>
                    </a:lnTo>
                    <a:lnTo>
                      <a:pt x="187" y="26"/>
                    </a:lnTo>
                    <a:lnTo>
                      <a:pt x="189" y="27"/>
                    </a:lnTo>
                    <a:lnTo>
                      <a:pt x="190" y="27"/>
                    </a:lnTo>
                    <a:lnTo>
                      <a:pt x="192" y="29"/>
                    </a:lnTo>
                    <a:lnTo>
                      <a:pt x="190" y="32"/>
                    </a:lnTo>
                    <a:lnTo>
                      <a:pt x="189" y="32"/>
                    </a:lnTo>
                    <a:lnTo>
                      <a:pt x="189" y="34"/>
                    </a:lnTo>
                    <a:lnTo>
                      <a:pt x="190" y="35"/>
                    </a:lnTo>
                    <a:lnTo>
                      <a:pt x="194" y="37"/>
                    </a:lnTo>
                    <a:lnTo>
                      <a:pt x="195" y="37"/>
                    </a:lnTo>
                    <a:lnTo>
                      <a:pt x="195" y="38"/>
                    </a:lnTo>
                    <a:lnTo>
                      <a:pt x="195" y="40"/>
                    </a:lnTo>
                    <a:lnTo>
                      <a:pt x="197" y="40"/>
                    </a:lnTo>
                    <a:lnTo>
                      <a:pt x="198" y="40"/>
                    </a:lnTo>
                    <a:lnTo>
                      <a:pt x="200" y="40"/>
                    </a:lnTo>
                    <a:lnTo>
                      <a:pt x="201" y="38"/>
                    </a:lnTo>
                    <a:lnTo>
                      <a:pt x="203" y="38"/>
                    </a:lnTo>
                    <a:lnTo>
                      <a:pt x="205" y="38"/>
                    </a:lnTo>
                    <a:lnTo>
                      <a:pt x="205" y="37"/>
                    </a:lnTo>
                    <a:lnTo>
                      <a:pt x="206" y="38"/>
                    </a:lnTo>
                    <a:lnTo>
                      <a:pt x="206" y="37"/>
                    </a:lnTo>
                    <a:lnTo>
                      <a:pt x="208" y="37"/>
                    </a:lnTo>
                    <a:lnTo>
                      <a:pt x="209" y="38"/>
                    </a:lnTo>
                    <a:lnTo>
                      <a:pt x="211" y="38"/>
                    </a:lnTo>
                    <a:lnTo>
                      <a:pt x="213" y="40"/>
                    </a:lnTo>
                    <a:lnTo>
                      <a:pt x="214" y="41"/>
                    </a:lnTo>
                    <a:lnTo>
                      <a:pt x="216" y="43"/>
                    </a:lnTo>
                    <a:lnTo>
                      <a:pt x="217" y="43"/>
                    </a:lnTo>
                    <a:lnTo>
                      <a:pt x="219" y="43"/>
                    </a:lnTo>
                    <a:lnTo>
                      <a:pt x="220" y="43"/>
                    </a:lnTo>
                    <a:lnTo>
                      <a:pt x="222" y="45"/>
                    </a:lnTo>
                    <a:lnTo>
                      <a:pt x="222" y="46"/>
                    </a:lnTo>
                    <a:lnTo>
                      <a:pt x="224" y="46"/>
                    </a:lnTo>
                    <a:lnTo>
                      <a:pt x="225" y="46"/>
                    </a:lnTo>
                    <a:lnTo>
                      <a:pt x="227" y="45"/>
                    </a:lnTo>
                    <a:lnTo>
                      <a:pt x="227" y="46"/>
                    </a:lnTo>
                    <a:lnTo>
                      <a:pt x="228" y="46"/>
                    </a:lnTo>
                    <a:lnTo>
                      <a:pt x="230" y="46"/>
                    </a:lnTo>
                    <a:lnTo>
                      <a:pt x="232" y="46"/>
                    </a:lnTo>
                    <a:lnTo>
                      <a:pt x="233" y="46"/>
                    </a:lnTo>
                    <a:lnTo>
                      <a:pt x="233" y="48"/>
                    </a:lnTo>
                    <a:lnTo>
                      <a:pt x="235" y="48"/>
                    </a:lnTo>
                    <a:lnTo>
                      <a:pt x="235" y="49"/>
                    </a:lnTo>
                    <a:lnTo>
                      <a:pt x="236" y="51"/>
                    </a:lnTo>
                    <a:lnTo>
                      <a:pt x="238" y="53"/>
                    </a:lnTo>
                    <a:lnTo>
                      <a:pt x="239" y="54"/>
                    </a:lnTo>
                    <a:lnTo>
                      <a:pt x="241" y="54"/>
                    </a:lnTo>
                    <a:lnTo>
                      <a:pt x="241" y="56"/>
                    </a:lnTo>
                    <a:lnTo>
                      <a:pt x="243" y="56"/>
                    </a:lnTo>
                    <a:lnTo>
                      <a:pt x="244" y="56"/>
                    </a:lnTo>
                    <a:lnTo>
                      <a:pt x="246" y="56"/>
                    </a:lnTo>
                    <a:lnTo>
                      <a:pt x="247" y="56"/>
                    </a:lnTo>
                    <a:lnTo>
                      <a:pt x="247" y="57"/>
                    </a:lnTo>
                    <a:lnTo>
                      <a:pt x="249" y="59"/>
                    </a:lnTo>
                    <a:lnTo>
                      <a:pt x="251" y="57"/>
                    </a:lnTo>
                    <a:lnTo>
                      <a:pt x="252" y="59"/>
                    </a:lnTo>
                    <a:lnTo>
                      <a:pt x="254" y="59"/>
                    </a:lnTo>
                    <a:lnTo>
                      <a:pt x="255" y="59"/>
                    </a:lnTo>
                    <a:lnTo>
                      <a:pt x="255" y="57"/>
                    </a:lnTo>
                    <a:lnTo>
                      <a:pt x="257" y="59"/>
                    </a:lnTo>
                    <a:lnTo>
                      <a:pt x="258" y="59"/>
                    </a:lnTo>
                    <a:lnTo>
                      <a:pt x="260" y="59"/>
                    </a:lnTo>
                    <a:lnTo>
                      <a:pt x="262" y="59"/>
                    </a:lnTo>
                    <a:lnTo>
                      <a:pt x="263" y="59"/>
                    </a:lnTo>
                    <a:lnTo>
                      <a:pt x="265" y="57"/>
                    </a:lnTo>
                    <a:lnTo>
                      <a:pt x="265" y="59"/>
                    </a:lnTo>
                    <a:lnTo>
                      <a:pt x="266" y="59"/>
                    </a:lnTo>
                    <a:lnTo>
                      <a:pt x="268" y="60"/>
                    </a:lnTo>
                    <a:lnTo>
                      <a:pt x="270" y="59"/>
                    </a:lnTo>
                    <a:lnTo>
                      <a:pt x="270" y="60"/>
                    </a:lnTo>
                    <a:lnTo>
                      <a:pt x="271" y="60"/>
                    </a:lnTo>
                    <a:lnTo>
                      <a:pt x="271" y="59"/>
                    </a:lnTo>
                    <a:lnTo>
                      <a:pt x="271" y="57"/>
                    </a:lnTo>
                    <a:lnTo>
                      <a:pt x="273" y="57"/>
                    </a:lnTo>
                    <a:lnTo>
                      <a:pt x="273" y="59"/>
                    </a:lnTo>
                    <a:lnTo>
                      <a:pt x="271" y="60"/>
                    </a:lnTo>
                    <a:lnTo>
                      <a:pt x="273" y="60"/>
                    </a:lnTo>
                    <a:lnTo>
                      <a:pt x="273" y="59"/>
                    </a:lnTo>
                    <a:lnTo>
                      <a:pt x="274" y="60"/>
                    </a:lnTo>
                    <a:lnTo>
                      <a:pt x="276" y="60"/>
                    </a:lnTo>
                    <a:lnTo>
                      <a:pt x="277" y="59"/>
                    </a:lnTo>
                    <a:lnTo>
                      <a:pt x="279" y="59"/>
                    </a:lnTo>
                    <a:lnTo>
                      <a:pt x="281" y="57"/>
                    </a:lnTo>
                    <a:lnTo>
                      <a:pt x="282" y="57"/>
                    </a:lnTo>
                    <a:lnTo>
                      <a:pt x="284" y="57"/>
                    </a:lnTo>
                    <a:lnTo>
                      <a:pt x="284" y="59"/>
                    </a:lnTo>
                    <a:lnTo>
                      <a:pt x="285" y="59"/>
                    </a:lnTo>
                    <a:lnTo>
                      <a:pt x="287" y="59"/>
                    </a:lnTo>
                    <a:lnTo>
                      <a:pt x="287" y="57"/>
                    </a:lnTo>
                    <a:lnTo>
                      <a:pt x="289" y="59"/>
                    </a:lnTo>
                    <a:lnTo>
                      <a:pt x="290" y="59"/>
                    </a:lnTo>
                    <a:lnTo>
                      <a:pt x="292" y="59"/>
                    </a:lnTo>
                    <a:lnTo>
                      <a:pt x="293" y="59"/>
                    </a:lnTo>
                    <a:lnTo>
                      <a:pt x="293" y="60"/>
                    </a:lnTo>
                    <a:lnTo>
                      <a:pt x="295" y="60"/>
                    </a:lnTo>
                    <a:lnTo>
                      <a:pt x="295" y="62"/>
                    </a:lnTo>
                    <a:lnTo>
                      <a:pt x="296" y="64"/>
                    </a:lnTo>
                    <a:lnTo>
                      <a:pt x="298" y="64"/>
                    </a:lnTo>
                    <a:lnTo>
                      <a:pt x="298" y="65"/>
                    </a:lnTo>
                    <a:lnTo>
                      <a:pt x="300" y="65"/>
                    </a:lnTo>
                    <a:lnTo>
                      <a:pt x="300" y="64"/>
                    </a:lnTo>
                    <a:lnTo>
                      <a:pt x="301" y="64"/>
                    </a:lnTo>
                    <a:lnTo>
                      <a:pt x="303" y="64"/>
                    </a:lnTo>
                    <a:lnTo>
                      <a:pt x="304" y="64"/>
                    </a:lnTo>
                    <a:lnTo>
                      <a:pt x="306" y="65"/>
                    </a:lnTo>
                    <a:lnTo>
                      <a:pt x="308" y="65"/>
                    </a:lnTo>
                    <a:lnTo>
                      <a:pt x="308" y="67"/>
                    </a:lnTo>
                    <a:lnTo>
                      <a:pt x="309" y="67"/>
                    </a:lnTo>
                    <a:lnTo>
                      <a:pt x="311" y="67"/>
                    </a:lnTo>
                    <a:lnTo>
                      <a:pt x="312" y="67"/>
                    </a:lnTo>
                    <a:lnTo>
                      <a:pt x="314" y="67"/>
                    </a:lnTo>
                    <a:lnTo>
                      <a:pt x="315" y="67"/>
                    </a:lnTo>
                    <a:lnTo>
                      <a:pt x="317" y="67"/>
                    </a:lnTo>
                    <a:lnTo>
                      <a:pt x="319" y="68"/>
                    </a:lnTo>
                    <a:lnTo>
                      <a:pt x="320" y="68"/>
                    </a:lnTo>
                    <a:lnTo>
                      <a:pt x="320" y="70"/>
                    </a:lnTo>
                    <a:lnTo>
                      <a:pt x="322" y="70"/>
                    </a:lnTo>
                    <a:lnTo>
                      <a:pt x="322" y="72"/>
                    </a:lnTo>
                    <a:lnTo>
                      <a:pt x="323" y="72"/>
                    </a:lnTo>
                    <a:lnTo>
                      <a:pt x="325" y="72"/>
                    </a:lnTo>
                    <a:lnTo>
                      <a:pt x="325" y="73"/>
                    </a:lnTo>
                    <a:lnTo>
                      <a:pt x="327" y="73"/>
                    </a:lnTo>
                    <a:lnTo>
                      <a:pt x="328" y="73"/>
                    </a:lnTo>
                    <a:lnTo>
                      <a:pt x="330" y="72"/>
                    </a:lnTo>
                    <a:lnTo>
                      <a:pt x="330" y="73"/>
                    </a:lnTo>
                    <a:lnTo>
                      <a:pt x="331" y="73"/>
                    </a:lnTo>
                    <a:lnTo>
                      <a:pt x="333" y="73"/>
                    </a:lnTo>
                    <a:lnTo>
                      <a:pt x="335" y="73"/>
                    </a:lnTo>
                    <a:lnTo>
                      <a:pt x="336" y="75"/>
                    </a:lnTo>
                    <a:lnTo>
                      <a:pt x="338" y="75"/>
                    </a:lnTo>
                    <a:lnTo>
                      <a:pt x="339" y="75"/>
                    </a:lnTo>
                    <a:lnTo>
                      <a:pt x="341" y="76"/>
                    </a:lnTo>
                    <a:lnTo>
                      <a:pt x="342" y="76"/>
                    </a:lnTo>
                    <a:lnTo>
                      <a:pt x="344" y="76"/>
                    </a:lnTo>
                    <a:lnTo>
                      <a:pt x="344" y="78"/>
                    </a:lnTo>
                    <a:lnTo>
                      <a:pt x="346" y="78"/>
                    </a:lnTo>
                    <a:lnTo>
                      <a:pt x="347" y="78"/>
                    </a:lnTo>
                    <a:lnTo>
                      <a:pt x="347" y="76"/>
                    </a:lnTo>
                    <a:lnTo>
                      <a:pt x="349" y="76"/>
                    </a:lnTo>
                    <a:lnTo>
                      <a:pt x="350" y="76"/>
                    </a:lnTo>
                    <a:lnTo>
                      <a:pt x="352" y="76"/>
                    </a:lnTo>
                    <a:lnTo>
                      <a:pt x="354" y="76"/>
                    </a:lnTo>
                    <a:lnTo>
                      <a:pt x="354" y="75"/>
                    </a:lnTo>
                    <a:lnTo>
                      <a:pt x="355" y="75"/>
                    </a:lnTo>
                    <a:lnTo>
                      <a:pt x="357" y="75"/>
                    </a:lnTo>
                    <a:lnTo>
                      <a:pt x="358" y="75"/>
                    </a:lnTo>
                    <a:lnTo>
                      <a:pt x="360" y="75"/>
                    </a:lnTo>
                    <a:lnTo>
                      <a:pt x="361" y="75"/>
                    </a:lnTo>
                    <a:lnTo>
                      <a:pt x="363" y="75"/>
                    </a:lnTo>
                    <a:lnTo>
                      <a:pt x="365" y="75"/>
                    </a:lnTo>
                    <a:lnTo>
                      <a:pt x="365" y="76"/>
                    </a:lnTo>
                    <a:lnTo>
                      <a:pt x="366" y="76"/>
                    </a:lnTo>
                    <a:lnTo>
                      <a:pt x="368" y="76"/>
                    </a:lnTo>
                    <a:lnTo>
                      <a:pt x="368" y="78"/>
                    </a:lnTo>
                    <a:lnTo>
                      <a:pt x="369" y="79"/>
                    </a:lnTo>
                    <a:lnTo>
                      <a:pt x="369" y="78"/>
                    </a:lnTo>
                    <a:lnTo>
                      <a:pt x="371" y="78"/>
                    </a:lnTo>
                    <a:lnTo>
                      <a:pt x="371" y="76"/>
                    </a:lnTo>
                    <a:lnTo>
                      <a:pt x="373" y="76"/>
                    </a:lnTo>
                    <a:lnTo>
                      <a:pt x="374" y="76"/>
                    </a:lnTo>
                    <a:lnTo>
                      <a:pt x="376" y="76"/>
                    </a:lnTo>
                    <a:lnTo>
                      <a:pt x="377" y="76"/>
                    </a:lnTo>
                    <a:lnTo>
                      <a:pt x="377" y="78"/>
                    </a:lnTo>
                    <a:lnTo>
                      <a:pt x="379" y="78"/>
                    </a:lnTo>
                    <a:lnTo>
                      <a:pt x="380" y="78"/>
                    </a:lnTo>
                    <a:lnTo>
                      <a:pt x="382" y="78"/>
                    </a:lnTo>
                    <a:lnTo>
                      <a:pt x="384" y="78"/>
                    </a:lnTo>
                    <a:lnTo>
                      <a:pt x="385" y="78"/>
                    </a:lnTo>
                    <a:lnTo>
                      <a:pt x="387" y="78"/>
                    </a:lnTo>
                    <a:lnTo>
                      <a:pt x="387" y="79"/>
                    </a:lnTo>
                    <a:lnTo>
                      <a:pt x="388" y="79"/>
                    </a:lnTo>
                    <a:lnTo>
                      <a:pt x="390" y="79"/>
                    </a:lnTo>
                    <a:lnTo>
                      <a:pt x="392" y="79"/>
                    </a:lnTo>
                    <a:lnTo>
                      <a:pt x="393" y="79"/>
                    </a:lnTo>
                    <a:lnTo>
                      <a:pt x="393" y="81"/>
                    </a:lnTo>
                    <a:lnTo>
                      <a:pt x="393" y="83"/>
                    </a:lnTo>
                    <a:lnTo>
                      <a:pt x="395" y="84"/>
                    </a:lnTo>
                    <a:lnTo>
                      <a:pt x="396" y="84"/>
                    </a:lnTo>
                    <a:lnTo>
                      <a:pt x="398" y="84"/>
                    </a:lnTo>
                    <a:lnTo>
                      <a:pt x="398" y="86"/>
                    </a:lnTo>
                    <a:lnTo>
                      <a:pt x="399" y="86"/>
                    </a:lnTo>
                    <a:lnTo>
                      <a:pt x="401" y="86"/>
                    </a:lnTo>
                    <a:lnTo>
                      <a:pt x="403" y="86"/>
                    </a:lnTo>
                    <a:lnTo>
                      <a:pt x="404" y="84"/>
                    </a:lnTo>
                    <a:lnTo>
                      <a:pt x="406" y="84"/>
                    </a:lnTo>
                    <a:lnTo>
                      <a:pt x="407" y="84"/>
                    </a:lnTo>
                    <a:lnTo>
                      <a:pt x="407" y="86"/>
                    </a:lnTo>
                    <a:lnTo>
                      <a:pt x="409" y="86"/>
                    </a:lnTo>
                    <a:lnTo>
                      <a:pt x="409" y="87"/>
                    </a:lnTo>
                    <a:lnTo>
                      <a:pt x="409" y="89"/>
                    </a:lnTo>
                    <a:lnTo>
                      <a:pt x="411" y="89"/>
                    </a:lnTo>
                    <a:lnTo>
                      <a:pt x="411" y="91"/>
                    </a:lnTo>
                    <a:lnTo>
                      <a:pt x="412" y="91"/>
                    </a:lnTo>
                    <a:lnTo>
                      <a:pt x="414" y="91"/>
                    </a:lnTo>
                    <a:lnTo>
                      <a:pt x="415" y="91"/>
                    </a:lnTo>
                    <a:lnTo>
                      <a:pt x="417" y="91"/>
                    </a:lnTo>
                    <a:lnTo>
                      <a:pt x="418" y="91"/>
                    </a:lnTo>
                    <a:lnTo>
                      <a:pt x="420" y="91"/>
                    </a:lnTo>
                    <a:lnTo>
                      <a:pt x="422" y="91"/>
                    </a:lnTo>
                    <a:lnTo>
                      <a:pt x="422" y="92"/>
                    </a:lnTo>
                    <a:lnTo>
                      <a:pt x="423" y="92"/>
                    </a:lnTo>
                    <a:lnTo>
                      <a:pt x="425" y="92"/>
                    </a:lnTo>
                    <a:lnTo>
                      <a:pt x="426" y="92"/>
                    </a:lnTo>
                    <a:lnTo>
                      <a:pt x="428" y="92"/>
                    </a:lnTo>
                    <a:lnTo>
                      <a:pt x="428" y="94"/>
                    </a:lnTo>
                    <a:lnTo>
                      <a:pt x="428" y="95"/>
                    </a:lnTo>
                    <a:lnTo>
                      <a:pt x="430" y="97"/>
                    </a:lnTo>
                    <a:lnTo>
                      <a:pt x="430" y="99"/>
                    </a:lnTo>
                    <a:lnTo>
                      <a:pt x="430" y="100"/>
                    </a:lnTo>
                    <a:lnTo>
                      <a:pt x="431" y="102"/>
                    </a:lnTo>
                    <a:lnTo>
                      <a:pt x="431" y="103"/>
                    </a:lnTo>
                    <a:lnTo>
                      <a:pt x="431" y="105"/>
                    </a:lnTo>
                    <a:lnTo>
                      <a:pt x="433" y="105"/>
                    </a:lnTo>
                    <a:lnTo>
                      <a:pt x="434" y="106"/>
                    </a:lnTo>
                    <a:lnTo>
                      <a:pt x="434" y="108"/>
                    </a:lnTo>
                    <a:lnTo>
                      <a:pt x="436" y="108"/>
                    </a:lnTo>
                    <a:lnTo>
                      <a:pt x="436" y="110"/>
                    </a:lnTo>
                    <a:lnTo>
                      <a:pt x="436" y="111"/>
                    </a:lnTo>
                    <a:lnTo>
                      <a:pt x="437" y="111"/>
                    </a:lnTo>
                    <a:lnTo>
                      <a:pt x="437" y="113"/>
                    </a:lnTo>
                    <a:lnTo>
                      <a:pt x="439" y="113"/>
                    </a:lnTo>
                    <a:lnTo>
                      <a:pt x="439" y="114"/>
                    </a:lnTo>
                    <a:lnTo>
                      <a:pt x="441" y="114"/>
                    </a:lnTo>
                    <a:lnTo>
                      <a:pt x="442" y="114"/>
                    </a:lnTo>
                    <a:lnTo>
                      <a:pt x="444" y="114"/>
                    </a:lnTo>
                    <a:lnTo>
                      <a:pt x="444" y="116"/>
                    </a:lnTo>
                    <a:lnTo>
                      <a:pt x="444" y="118"/>
                    </a:lnTo>
                    <a:lnTo>
                      <a:pt x="444" y="119"/>
                    </a:lnTo>
                    <a:lnTo>
                      <a:pt x="445" y="119"/>
                    </a:lnTo>
                    <a:lnTo>
                      <a:pt x="445" y="121"/>
                    </a:lnTo>
                    <a:lnTo>
                      <a:pt x="447" y="121"/>
                    </a:lnTo>
                    <a:lnTo>
                      <a:pt x="447" y="122"/>
                    </a:lnTo>
                    <a:lnTo>
                      <a:pt x="447" y="124"/>
                    </a:lnTo>
                    <a:lnTo>
                      <a:pt x="449" y="124"/>
                    </a:lnTo>
                    <a:lnTo>
                      <a:pt x="449" y="125"/>
                    </a:lnTo>
                    <a:lnTo>
                      <a:pt x="449" y="127"/>
                    </a:lnTo>
                    <a:lnTo>
                      <a:pt x="450" y="127"/>
                    </a:lnTo>
                    <a:lnTo>
                      <a:pt x="450" y="129"/>
                    </a:lnTo>
                    <a:lnTo>
                      <a:pt x="450" y="130"/>
                    </a:lnTo>
                    <a:lnTo>
                      <a:pt x="450" y="132"/>
                    </a:lnTo>
                    <a:lnTo>
                      <a:pt x="449" y="133"/>
                    </a:lnTo>
                    <a:lnTo>
                      <a:pt x="447" y="135"/>
                    </a:lnTo>
                    <a:lnTo>
                      <a:pt x="449" y="135"/>
                    </a:lnTo>
                    <a:lnTo>
                      <a:pt x="449" y="137"/>
                    </a:lnTo>
                    <a:lnTo>
                      <a:pt x="450" y="137"/>
                    </a:lnTo>
                    <a:lnTo>
                      <a:pt x="449" y="138"/>
                    </a:lnTo>
                    <a:lnTo>
                      <a:pt x="449" y="140"/>
                    </a:lnTo>
                    <a:lnTo>
                      <a:pt x="449" y="141"/>
                    </a:lnTo>
                    <a:lnTo>
                      <a:pt x="450" y="141"/>
                    </a:lnTo>
                    <a:lnTo>
                      <a:pt x="450" y="143"/>
                    </a:lnTo>
                    <a:lnTo>
                      <a:pt x="452" y="143"/>
                    </a:lnTo>
                    <a:lnTo>
                      <a:pt x="452" y="144"/>
                    </a:lnTo>
                    <a:lnTo>
                      <a:pt x="453" y="146"/>
                    </a:lnTo>
                    <a:lnTo>
                      <a:pt x="455" y="146"/>
                    </a:lnTo>
                    <a:lnTo>
                      <a:pt x="455" y="144"/>
                    </a:lnTo>
                    <a:lnTo>
                      <a:pt x="456" y="144"/>
                    </a:lnTo>
                    <a:lnTo>
                      <a:pt x="458" y="143"/>
                    </a:lnTo>
                    <a:lnTo>
                      <a:pt x="460" y="143"/>
                    </a:lnTo>
                    <a:lnTo>
                      <a:pt x="461" y="143"/>
                    </a:lnTo>
                    <a:lnTo>
                      <a:pt x="463" y="143"/>
                    </a:lnTo>
                    <a:lnTo>
                      <a:pt x="464" y="143"/>
                    </a:lnTo>
                    <a:lnTo>
                      <a:pt x="466" y="143"/>
                    </a:lnTo>
                    <a:lnTo>
                      <a:pt x="466" y="141"/>
                    </a:lnTo>
                    <a:lnTo>
                      <a:pt x="468" y="141"/>
                    </a:lnTo>
                    <a:lnTo>
                      <a:pt x="468" y="140"/>
                    </a:lnTo>
                    <a:lnTo>
                      <a:pt x="469" y="141"/>
                    </a:lnTo>
                    <a:lnTo>
                      <a:pt x="471" y="140"/>
                    </a:lnTo>
                    <a:lnTo>
                      <a:pt x="472" y="140"/>
                    </a:lnTo>
                    <a:lnTo>
                      <a:pt x="472" y="138"/>
                    </a:lnTo>
                    <a:lnTo>
                      <a:pt x="474" y="138"/>
                    </a:lnTo>
                    <a:lnTo>
                      <a:pt x="474" y="140"/>
                    </a:lnTo>
                    <a:lnTo>
                      <a:pt x="475" y="141"/>
                    </a:lnTo>
                    <a:lnTo>
                      <a:pt x="479" y="143"/>
                    </a:lnTo>
                    <a:lnTo>
                      <a:pt x="480" y="143"/>
                    </a:lnTo>
                    <a:lnTo>
                      <a:pt x="482" y="143"/>
                    </a:lnTo>
                    <a:lnTo>
                      <a:pt x="483" y="144"/>
                    </a:lnTo>
                    <a:lnTo>
                      <a:pt x="483" y="143"/>
                    </a:lnTo>
                    <a:lnTo>
                      <a:pt x="485" y="144"/>
                    </a:lnTo>
                    <a:lnTo>
                      <a:pt x="485" y="146"/>
                    </a:lnTo>
                    <a:lnTo>
                      <a:pt x="487" y="146"/>
                    </a:lnTo>
                    <a:lnTo>
                      <a:pt x="488" y="148"/>
                    </a:lnTo>
                    <a:lnTo>
                      <a:pt x="490" y="146"/>
                    </a:lnTo>
                    <a:lnTo>
                      <a:pt x="491" y="148"/>
                    </a:lnTo>
                    <a:lnTo>
                      <a:pt x="493" y="149"/>
                    </a:lnTo>
                    <a:lnTo>
                      <a:pt x="494" y="149"/>
                    </a:lnTo>
                    <a:lnTo>
                      <a:pt x="496" y="149"/>
                    </a:lnTo>
                    <a:lnTo>
                      <a:pt x="498" y="151"/>
                    </a:lnTo>
                    <a:lnTo>
                      <a:pt x="499" y="152"/>
                    </a:lnTo>
                    <a:lnTo>
                      <a:pt x="501" y="154"/>
                    </a:lnTo>
                    <a:lnTo>
                      <a:pt x="502" y="156"/>
                    </a:lnTo>
                    <a:lnTo>
                      <a:pt x="502" y="159"/>
                    </a:lnTo>
                    <a:lnTo>
                      <a:pt x="502" y="160"/>
                    </a:lnTo>
                    <a:lnTo>
                      <a:pt x="501" y="160"/>
                    </a:lnTo>
                    <a:lnTo>
                      <a:pt x="501" y="162"/>
                    </a:lnTo>
                    <a:lnTo>
                      <a:pt x="501" y="163"/>
                    </a:lnTo>
                    <a:lnTo>
                      <a:pt x="501" y="165"/>
                    </a:lnTo>
                    <a:lnTo>
                      <a:pt x="501" y="167"/>
                    </a:lnTo>
                    <a:lnTo>
                      <a:pt x="499" y="167"/>
                    </a:lnTo>
                    <a:lnTo>
                      <a:pt x="499" y="168"/>
                    </a:lnTo>
                    <a:lnTo>
                      <a:pt x="501" y="170"/>
                    </a:lnTo>
                    <a:lnTo>
                      <a:pt x="502" y="170"/>
                    </a:lnTo>
                    <a:lnTo>
                      <a:pt x="504" y="170"/>
                    </a:lnTo>
                    <a:lnTo>
                      <a:pt x="507" y="175"/>
                    </a:lnTo>
                    <a:lnTo>
                      <a:pt x="509" y="176"/>
                    </a:lnTo>
                    <a:lnTo>
                      <a:pt x="509" y="178"/>
                    </a:lnTo>
                    <a:lnTo>
                      <a:pt x="509" y="179"/>
                    </a:lnTo>
                    <a:lnTo>
                      <a:pt x="509" y="181"/>
                    </a:lnTo>
                    <a:lnTo>
                      <a:pt x="509" y="182"/>
                    </a:lnTo>
                    <a:lnTo>
                      <a:pt x="509" y="184"/>
                    </a:lnTo>
                    <a:lnTo>
                      <a:pt x="510" y="186"/>
                    </a:lnTo>
                    <a:lnTo>
                      <a:pt x="512" y="186"/>
                    </a:lnTo>
                    <a:lnTo>
                      <a:pt x="512" y="187"/>
                    </a:lnTo>
                    <a:lnTo>
                      <a:pt x="514" y="187"/>
                    </a:lnTo>
                    <a:lnTo>
                      <a:pt x="514" y="189"/>
                    </a:lnTo>
                    <a:lnTo>
                      <a:pt x="514" y="190"/>
                    </a:lnTo>
                    <a:lnTo>
                      <a:pt x="514" y="192"/>
                    </a:lnTo>
                    <a:lnTo>
                      <a:pt x="514" y="194"/>
                    </a:lnTo>
                    <a:lnTo>
                      <a:pt x="515" y="195"/>
                    </a:lnTo>
                    <a:lnTo>
                      <a:pt x="517" y="195"/>
                    </a:lnTo>
                    <a:lnTo>
                      <a:pt x="517" y="197"/>
                    </a:lnTo>
                    <a:lnTo>
                      <a:pt x="515" y="197"/>
                    </a:lnTo>
                    <a:lnTo>
                      <a:pt x="515" y="198"/>
                    </a:lnTo>
                    <a:lnTo>
                      <a:pt x="515" y="200"/>
                    </a:lnTo>
                    <a:lnTo>
                      <a:pt x="517" y="201"/>
                    </a:lnTo>
                    <a:lnTo>
                      <a:pt x="518" y="201"/>
                    </a:lnTo>
                    <a:lnTo>
                      <a:pt x="520" y="201"/>
                    </a:lnTo>
                    <a:lnTo>
                      <a:pt x="521" y="201"/>
                    </a:lnTo>
                    <a:lnTo>
                      <a:pt x="521" y="200"/>
                    </a:lnTo>
                    <a:lnTo>
                      <a:pt x="523" y="200"/>
                    </a:lnTo>
                    <a:lnTo>
                      <a:pt x="525" y="200"/>
                    </a:lnTo>
                    <a:lnTo>
                      <a:pt x="526" y="200"/>
                    </a:lnTo>
                    <a:lnTo>
                      <a:pt x="528" y="200"/>
                    </a:lnTo>
                    <a:lnTo>
                      <a:pt x="529" y="200"/>
                    </a:lnTo>
                    <a:lnTo>
                      <a:pt x="531" y="200"/>
                    </a:lnTo>
                    <a:lnTo>
                      <a:pt x="533" y="200"/>
                    </a:lnTo>
                    <a:lnTo>
                      <a:pt x="534" y="200"/>
                    </a:lnTo>
                    <a:lnTo>
                      <a:pt x="534" y="198"/>
                    </a:lnTo>
                    <a:lnTo>
                      <a:pt x="536" y="200"/>
                    </a:lnTo>
                    <a:lnTo>
                      <a:pt x="536" y="201"/>
                    </a:lnTo>
                    <a:lnTo>
                      <a:pt x="537" y="201"/>
                    </a:lnTo>
                    <a:lnTo>
                      <a:pt x="537" y="203"/>
                    </a:lnTo>
                    <a:lnTo>
                      <a:pt x="539" y="203"/>
                    </a:lnTo>
                    <a:lnTo>
                      <a:pt x="539" y="205"/>
                    </a:lnTo>
                    <a:lnTo>
                      <a:pt x="540" y="205"/>
                    </a:lnTo>
                    <a:lnTo>
                      <a:pt x="542" y="205"/>
                    </a:lnTo>
                    <a:lnTo>
                      <a:pt x="544" y="205"/>
                    </a:lnTo>
                    <a:lnTo>
                      <a:pt x="545" y="205"/>
                    </a:lnTo>
                    <a:lnTo>
                      <a:pt x="547" y="205"/>
                    </a:lnTo>
                    <a:lnTo>
                      <a:pt x="548" y="205"/>
                    </a:lnTo>
                    <a:lnTo>
                      <a:pt x="548" y="203"/>
                    </a:lnTo>
                    <a:lnTo>
                      <a:pt x="550" y="203"/>
                    </a:lnTo>
                    <a:lnTo>
                      <a:pt x="552" y="203"/>
                    </a:lnTo>
                    <a:lnTo>
                      <a:pt x="553" y="203"/>
                    </a:lnTo>
                    <a:lnTo>
                      <a:pt x="555" y="203"/>
                    </a:lnTo>
                    <a:lnTo>
                      <a:pt x="555" y="205"/>
                    </a:lnTo>
                    <a:lnTo>
                      <a:pt x="556" y="205"/>
                    </a:lnTo>
                    <a:lnTo>
                      <a:pt x="558" y="205"/>
                    </a:lnTo>
                    <a:lnTo>
                      <a:pt x="558" y="206"/>
                    </a:lnTo>
                    <a:lnTo>
                      <a:pt x="559" y="206"/>
                    </a:lnTo>
                    <a:lnTo>
                      <a:pt x="559" y="208"/>
                    </a:lnTo>
                    <a:lnTo>
                      <a:pt x="561" y="208"/>
                    </a:lnTo>
                    <a:lnTo>
                      <a:pt x="561" y="209"/>
                    </a:lnTo>
                    <a:lnTo>
                      <a:pt x="563" y="209"/>
                    </a:lnTo>
                    <a:lnTo>
                      <a:pt x="563" y="211"/>
                    </a:lnTo>
                    <a:lnTo>
                      <a:pt x="564" y="211"/>
                    </a:lnTo>
                    <a:lnTo>
                      <a:pt x="564" y="213"/>
                    </a:lnTo>
                    <a:lnTo>
                      <a:pt x="564" y="214"/>
                    </a:lnTo>
                    <a:lnTo>
                      <a:pt x="566" y="214"/>
                    </a:lnTo>
                    <a:lnTo>
                      <a:pt x="566" y="216"/>
                    </a:lnTo>
                    <a:lnTo>
                      <a:pt x="566" y="217"/>
                    </a:lnTo>
                    <a:lnTo>
                      <a:pt x="567" y="217"/>
                    </a:lnTo>
                    <a:lnTo>
                      <a:pt x="567" y="219"/>
                    </a:lnTo>
                    <a:lnTo>
                      <a:pt x="569" y="219"/>
                    </a:lnTo>
                    <a:lnTo>
                      <a:pt x="571" y="220"/>
                    </a:lnTo>
                    <a:lnTo>
                      <a:pt x="572" y="220"/>
                    </a:lnTo>
                    <a:lnTo>
                      <a:pt x="574" y="220"/>
                    </a:lnTo>
                    <a:lnTo>
                      <a:pt x="577" y="220"/>
                    </a:lnTo>
                    <a:lnTo>
                      <a:pt x="580" y="220"/>
                    </a:lnTo>
                    <a:lnTo>
                      <a:pt x="583" y="220"/>
                    </a:lnTo>
                    <a:lnTo>
                      <a:pt x="583" y="222"/>
                    </a:lnTo>
                    <a:lnTo>
                      <a:pt x="586" y="222"/>
                    </a:lnTo>
                    <a:lnTo>
                      <a:pt x="588" y="224"/>
                    </a:lnTo>
                    <a:lnTo>
                      <a:pt x="590" y="222"/>
                    </a:lnTo>
                    <a:lnTo>
                      <a:pt x="591" y="224"/>
                    </a:lnTo>
                    <a:lnTo>
                      <a:pt x="593" y="225"/>
                    </a:lnTo>
                    <a:lnTo>
                      <a:pt x="594" y="225"/>
                    </a:lnTo>
                    <a:lnTo>
                      <a:pt x="596" y="225"/>
                    </a:lnTo>
                    <a:lnTo>
                      <a:pt x="599" y="225"/>
                    </a:lnTo>
                    <a:lnTo>
                      <a:pt x="601" y="225"/>
                    </a:lnTo>
                    <a:lnTo>
                      <a:pt x="602" y="225"/>
                    </a:lnTo>
                    <a:lnTo>
                      <a:pt x="602" y="227"/>
                    </a:lnTo>
                    <a:lnTo>
                      <a:pt x="602" y="228"/>
                    </a:lnTo>
                    <a:lnTo>
                      <a:pt x="602" y="230"/>
                    </a:lnTo>
                    <a:lnTo>
                      <a:pt x="602" y="232"/>
                    </a:lnTo>
                    <a:lnTo>
                      <a:pt x="602" y="233"/>
                    </a:lnTo>
                    <a:lnTo>
                      <a:pt x="601" y="235"/>
                    </a:lnTo>
                    <a:lnTo>
                      <a:pt x="601" y="236"/>
                    </a:lnTo>
                    <a:lnTo>
                      <a:pt x="601" y="238"/>
                    </a:lnTo>
                    <a:lnTo>
                      <a:pt x="599" y="239"/>
                    </a:lnTo>
                    <a:lnTo>
                      <a:pt x="599" y="241"/>
                    </a:lnTo>
                    <a:lnTo>
                      <a:pt x="597" y="243"/>
                    </a:lnTo>
                    <a:lnTo>
                      <a:pt x="597" y="244"/>
                    </a:lnTo>
                    <a:lnTo>
                      <a:pt x="599" y="244"/>
                    </a:lnTo>
                    <a:lnTo>
                      <a:pt x="599" y="246"/>
                    </a:lnTo>
                    <a:lnTo>
                      <a:pt x="602" y="246"/>
                    </a:lnTo>
                    <a:lnTo>
                      <a:pt x="604" y="246"/>
                    </a:lnTo>
                    <a:lnTo>
                      <a:pt x="607" y="246"/>
                    </a:lnTo>
                    <a:lnTo>
                      <a:pt x="609" y="246"/>
                    </a:lnTo>
                    <a:lnTo>
                      <a:pt x="610" y="246"/>
                    </a:lnTo>
                    <a:lnTo>
                      <a:pt x="612" y="247"/>
                    </a:lnTo>
                    <a:lnTo>
                      <a:pt x="615" y="247"/>
                    </a:lnTo>
                    <a:lnTo>
                      <a:pt x="616" y="246"/>
                    </a:lnTo>
                    <a:lnTo>
                      <a:pt x="618" y="244"/>
                    </a:lnTo>
                    <a:lnTo>
                      <a:pt x="618" y="243"/>
                    </a:lnTo>
                    <a:lnTo>
                      <a:pt x="620" y="243"/>
                    </a:lnTo>
                    <a:lnTo>
                      <a:pt x="623" y="243"/>
                    </a:lnTo>
                    <a:lnTo>
                      <a:pt x="624" y="243"/>
                    </a:lnTo>
                    <a:lnTo>
                      <a:pt x="626" y="243"/>
                    </a:lnTo>
                    <a:lnTo>
                      <a:pt x="628" y="243"/>
                    </a:lnTo>
                    <a:lnTo>
                      <a:pt x="629" y="244"/>
                    </a:lnTo>
                    <a:lnTo>
                      <a:pt x="631" y="244"/>
                    </a:lnTo>
                    <a:lnTo>
                      <a:pt x="631" y="243"/>
                    </a:lnTo>
                    <a:lnTo>
                      <a:pt x="635" y="241"/>
                    </a:lnTo>
                    <a:lnTo>
                      <a:pt x="637" y="243"/>
                    </a:lnTo>
                    <a:lnTo>
                      <a:pt x="639" y="244"/>
                    </a:lnTo>
                    <a:lnTo>
                      <a:pt x="640" y="244"/>
                    </a:lnTo>
                    <a:lnTo>
                      <a:pt x="640" y="243"/>
                    </a:lnTo>
                    <a:lnTo>
                      <a:pt x="643" y="243"/>
                    </a:lnTo>
                    <a:lnTo>
                      <a:pt x="645" y="243"/>
                    </a:lnTo>
                    <a:lnTo>
                      <a:pt x="647" y="243"/>
                    </a:lnTo>
                    <a:lnTo>
                      <a:pt x="650" y="244"/>
                    </a:lnTo>
                    <a:lnTo>
                      <a:pt x="651" y="247"/>
                    </a:lnTo>
                    <a:lnTo>
                      <a:pt x="653" y="249"/>
                    </a:lnTo>
                    <a:lnTo>
                      <a:pt x="656" y="249"/>
                    </a:lnTo>
                    <a:lnTo>
                      <a:pt x="658" y="249"/>
                    </a:lnTo>
                    <a:lnTo>
                      <a:pt x="661" y="249"/>
                    </a:lnTo>
                    <a:lnTo>
                      <a:pt x="662" y="251"/>
                    </a:lnTo>
                    <a:lnTo>
                      <a:pt x="664" y="252"/>
                    </a:lnTo>
                    <a:lnTo>
                      <a:pt x="661" y="254"/>
                    </a:lnTo>
                    <a:lnTo>
                      <a:pt x="659" y="255"/>
                    </a:lnTo>
                    <a:lnTo>
                      <a:pt x="658" y="258"/>
                    </a:lnTo>
                    <a:lnTo>
                      <a:pt x="654" y="262"/>
                    </a:lnTo>
                    <a:lnTo>
                      <a:pt x="653" y="265"/>
                    </a:lnTo>
                    <a:lnTo>
                      <a:pt x="648" y="266"/>
                    </a:lnTo>
                    <a:lnTo>
                      <a:pt x="647" y="268"/>
                    </a:lnTo>
                    <a:lnTo>
                      <a:pt x="645" y="270"/>
                    </a:lnTo>
                    <a:lnTo>
                      <a:pt x="640" y="274"/>
                    </a:lnTo>
                    <a:lnTo>
                      <a:pt x="632" y="282"/>
                    </a:lnTo>
                    <a:lnTo>
                      <a:pt x="628" y="284"/>
                    </a:lnTo>
                    <a:lnTo>
                      <a:pt x="626" y="284"/>
                    </a:lnTo>
                    <a:lnTo>
                      <a:pt x="624" y="285"/>
                    </a:lnTo>
                    <a:lnTo>
                      <a:pt x="623" y="287"/>
                    </a:lnTo>
                    <a:lnTo>
                      <a:pt x="623" y="289"/>
                    </a:lnTo>
                    <a:lnTo>
                      <a:pt x="621" y="289"/>
                    </a:lnTo>
                    <a:lnTo>
                      <a:pt x="621" y="290"/>
                    </a:lnTo>
                    <a:lnTo>
                      <a:pt x="620" y="292"/>
                    </a:lnTo>
                    <a:lnTo>
                      <a:pt x="620" y="293"/>
                    </a:lnTo>
                    <a:lnTo>
                      <a:pt x="618" y="295"/>
                    </a:lnTo>
                    <a:lnTo>
                      <a:pt x="616" y="297"/>
                    </a:lnTo>
                    <a:lnTo>
                      <a:pt x="616" y="298"/>
                    </a:lnTo>
                    <a:lnTo>
                      <a:pt x="616" y="300"/>
                    </a:lnTo>
                    <a:lnTo>
                      <a:pt x="613" y="304"/>
                    </a:lnTo>
                    <a:lnTo>
                      <a:pt x="610" y="309"/>
                    </a:lnTo>
                    <a:lnTo>
                      <a:pt x="610" y="311"/>
                    </a:lnTo>
                    <a:lnTo>
                      <a:pt x="610" y="312"/>
                    </a:lnTo>
                    <a:lnTo>
                      <a:pt x="610" y="314"/>
                    </a:lnTo>
                    <a:lnTo>
                      <a:pt x="609" y="314"/>
                    </a:lnTo>
                    <a:lnTo>
                      <a:pt x="605" y="320"/>
                    </a:lnTo>
                    <a:lnTo>
                      <a:pt x="604" y="323"/>
                    </a:lnTo>
                    <a:lnTo>
                      <a:pt x="602" y="328"/>
                    </a:lnTo>
                    <a:lnTo>
                      <a:pt x="602" y="330"/>
                    </a:lnTo>
                    <a:lnTo>
                      <a:pt x="602" y="331"/>
                    </a:lnTo>
                    <a:lnTo>
                      <a:pt x="601" y="331"/>
                    </a:lnTo>
                    <a:lnTo>
                      <a:pt x="601" y="333"/>
                    </a:lnTo>
                    <a:lnTo>
                      <a:pt x="601" y="335"/>
                    </a:lnTo>
                    <a:lnTo>
                      <a:pt x="599" y="335"/>
                    </a:lnTo>
                    <a:lnTo>
                      <a:pt x="599" y="336"/>
                    </a:lnTo>
                    <a:lnTo>
                      <a:pt x="599" y="338"/>
                    </a:lnTo>
                    <a:lnTo>
                      <a:pt x="597" y="339"/>
                    </a:lnTo>
                    <a:lnTo>
                      <a:pt x="597" y="341"/>
                    </a:lnTo>
                    <a:lnTo>
                      <a:pt x="596" y="342"/>
                    </a:lnTo>
                    <a:lnTo>
                      <a:pt x="596" y="344"/>
                    </a:lnTo>
                    <a:lnTo>
                      <a:pt x="596" y="346"/>
                    </a:lnTo>
                    <a:lnTo>
                      <a:pt x="594" y="346"/>
                    </a:lnTo>
                    <a:lnTo>
                      <a:pt x="594" y="347"/>
                    </a:lnTo>
                    <a:lnTo>
                      <a:pt x="594" y="349"/>
                    </a:lnTo>
                    <a:lnTo>
                      <a:pt x="593" y="350"/>
                    </a:lnTo>
                    <a:lnTo>
                      <a:pt x="593" y="352"/>
                    </a:lnTo>
                    <a:lnTo>
                      <a:pt x="593" y="354"/>
                    </a:lnTo>
                    <a:lnTo>
                      <a:pt x="591" y="354"/>
                    </a:lnTo>
                    <a:lnTo>
                      <a:pt x="586" y="355"/>
                    </a:lnTo>
                    <a:lnTo>
                      <a:pt x="580" y="354"/>
                    </a:lnTo>
                    <a:lnTo>
                      <a:pt x="572" y="354"/>
                    </a:lnTo>
                    <a:lnTo>
                      <a:pt x="566" y="352"/>
                    </a:lnTo>
                    <a:lnTo>
                      <a:pt x="563" y="350"/>
                    </a:lnTo>
                    <a:lnTo>
                      <a:pt x="558" y="350"/>
                    </a:lnTo>
                    <a:lnTo>
                      <a:pt x="550" y="347"/>
                    </a:lnTo>
                    <a:lnTo>
                      <a:pt x="542" y="346"/>
                    </a:lnTo>
                    <a:lnTo>
                      <a:pt x="540" y="346"/>
                    </a:lnTo>
                    <a:lnTo>
                      <a:pt x="531" y="342"/>
                    </a:lnTo>
                    <a:lnTo>
                      <a:pt x="521" y="341"/>
                    </a:lnTo>
                    <a:lnTo>
                      <a:pt x="507" y="342"/>
                    </a:lnTo>
                    <a:lnTo>
                      <a:pt x="498" y="347"/>
                    </a:lnTo>
                    <a:lnTo>
                      <a:pt x="496" y="347"/>
                    </a:lnTo>
                    <a:lnTo>
                      <a:pt x="494" y="347"/>
                    </a:lnTo>
                    <a:lnTo>
                      <a:pt x="494" y="349"/>
                    </a:lnTo>
                    <a:lnTo>
                      <a:pt x="493" y="349"/>
                    </a:lnTo>
                    <a:lnTo>
                      <a:pt x="491" y="349"/>
                    </a:lnTo>
                    <a:lnTo>
                      <a:pt x="490" y="350"/>
                    </a:lnTo>
                    <a:lnTo>
                      <a:pt x="488" y="350"/>
                    </a:lnTo>
                    <a:lnTo>
                      <a:pt x="487" y="352"/>
                    </a:lnTo>
                    <a:lnTo>
                      <a:pt x="485" y="352"/>
                    </a:lnTo>
                    <a:lnTo>
                      <a:pt x="483" y="354"/>
                    </a:lnTo>
                    <a:lnTo>
                      <a:pt x="482" y="354"/>
                    </a:lnTo>
                    <a:lnTo>
                      <a:pt x="480" y="354"/>
                    </a:lnTo>
                    <a:lnTo>
                      <a:pt x="480" y="355"/>
                    </a:lnTo>
                    <a:lnTo>
                      <a:pt x="479" y="355"/>
                    </a:lnTo>
                    <a:lnTo>
                      <a:pt x="477" y="355"/>
                    </a:lnTo>
                    <a:lnTo>
                      <a:pt x="477" y="357"/>
                    </a:lnTo>
                    <a:lnTo>
                      <a:pt x="475" y="357"/>
                    </a:lnTo>
                    <a:lnTo>
                      <a:pt x="474" y="358"/>
                    </a:lnTo>
                    <a:lnTo>
                      <a:pt x="472" y="360"/>
                    </a:lnTo>
                    <a:lnTo>
                      <a:pt x="471" y="360"/>
                    </a:lnTo>
                    <a:lnTo>
                      <a:pt x="471" y="361"/>
                    </a:lnTo>
                    <a:lnTo>
                      <a:pt x="469" y="361"/>
                    </a:lnTo>
                    <a:lnTo>
                      <a:pt x="469" y="363"/>
                    </a:lnTo>
                    <a:lnTo>
                      <a:pt x="468" y="363"/>
                    </a:lnTo>
                    <a:lnTo>
                      <a:pt x="468" y="365"/>
                    </a:lnTo>
                    <a:lnTo>
                      <a:pt x="466" y="365"/>
                    </a:lnTo>
                    <a:lnTo>
                      <a:pt x="464" y="366"/>
                    </a:lnTo>
                    <a:lnTo>
                      <a:pt x="464" y="368"/>
                    </a:lnTo>
                    <a:lnTo>
                      <a:pt x="463" y="368"/>
                    </a:lnTo>
                    <a:lnTo>
                      <a:pt x="461" y="369"/>
                    </a:lnTo>
                    <a:lnTo>
                      <a:pt x="460" y="371"/>
                    </a:lnTo>
                    <a:lnTo>
                      <a:pt x="458" y="371"/>
                    </a:lnTo>
                    <a:lnTo>
                      <a:pt x="458" y="373"/>
                    </a:lnTo>
                    <a:lnTo>
                      <a:pt x="456" y="373"/>
                    </a:lnTo>
                    <a:lnTo>
                      <a:pt x="456" y="374"/>
                    </a:lnTo>
                    <a:lnTo>
                      <a:pt x="455" y="374"/>
                    </a:lnTo>
                    <a:lnTo>
                      <a:pt x="455" y="376"/>
                    </a:lnTo>
                    <a:lnTo>
                      <a:pt x="453" y="376"/>
                    </a:lnTo>
                    <a:lnTo>
                      <a:pt x="453" y="377"/>
                    </a:lnTo>
                    <a:lnTo>
                      <a:pt x="452" y="377"/>
                    </a:lnTo>
                    <a:lnTo>
                      <a:pt x="452" y="379"/>
                    </a:lnTo>
                    <a:lnTo>
                      <a:pt x="450" y="379"/>
                    </a:lnTo>
                    <a:lnTo>
                      <a:pt x="449" y="380"/>
                    </a:lnTo>
                    <a:lnTo>
                      <a:pt x="447" y="382"/>
                    </a:lnTo>
                    <a:lnTo>
                      <a:pt x="449" y="385"/>
                    </a:lnTo>
                    <a:lnTo>
                      <a:pt x="449" y="387"/>
                    </a:lnTo>
                    <a:lnTo>
                      <a:pt x="447" y="388"/>
                    </a:lnTo>
                    <a:lnTo>
                      <a:pt x="447" y="390"/>
                    </a:lnTo>
                    <a:lnTo>
                      <a:pt x="447" y="392"/>
                    </a:lnTo>
                    <a:lnTo>
                      <a:pt x="449" y="393"/>
                    </a:lnTo>
                    <a:lnTo>
                      <a:pt x="450" y="393"/>
                    </a:lnTo>
                    <a:lnTo>
                      <a:pt x="450" y="395"/>
                    </a:lnTo>
                    <a:lnTo>
                      <a:pt x="449" y="396"/>
                    </a:lnTo>
                    <a:lnTo>
                      <a:pt x="447" y="396"/>
                    </a:lnTo>
                    <a:lnTo>
                      <a:pt x="447" y="398"/>
                    </a:lnTo>
                    <a:lnTo>
                      <a:pt x="447" y="399"/>
                    </a:lnTo>
                    <a:lnTo>
                      <a:pt x="449" y="399"/>
                    </a:lnTo>
                    <a:lnTo>
                      <a:pt x="450" y="401"/>
                    </a:lnTo>
                    <a:lnTo>
                      <a:pt x="450" y="403"/>
                    </a:lnTo>
                    <a:lnTo>
                      <a:pt x="450" y="404"/>
                    </a:lnTo>
                    <a:lnTo>
                      <a:pt x="452" y="406"/>
                    </a:lnTo>
                    <a:lnTo>
                      <a:pt x="452" y="407"/>
                    </a:lnTo>
                    <a:lnTo>
                      <a:pt x="452" y="409"/>
                    </a:lnTo>
                    <a:lnTo>
                      <a:pt x="452" y="411"/>
                    </a:lnTo>
                    <a:lnTo>
                      <a:pt x="453" y="411"/>
                    </a:lnTo>
                    <a:lnTo>
                      <a:pt x="453" y="412"/>
                    </a:lnTo>
                    <a:lnTo>
                      <a:pt x="452" y="412"/>
                    </a:lnTo>
                    <a:lnTo>
                      <a:pt x="452" y="414"/>
                    </a:lnTo>
                    <a:lnTo>
                      <a:pt x="450" y="414"/>
                    </a:lnTo>
                    <a:lnTo>
                      <a:pt x="452" y="415"/>
                    </a:lnTo>
                    <a:lnTo>
                      <a:pt x="450" y="415"/>
                    </a:lnTo>
                    <a:lnTo>
                      <a:pt x="449" y="415"/>
                    </a:lnTo>
                    <a:lnTo>
                      <a:pt x="449" y="417"/>
                    </a:lnTo>
                    <a:lnTo>
                      <a:pt x="447" y="417"/>
                    </a:lnTo>
                    <a:lnTo>
                      <a:pt x="445" y="418"/>
                    </a:lnTo>
                    <a:lnTo>
                      <a:pt x="445" y="420"/>
                    </a:lnTo>
                    <a:lnTo>
                      <a:pt x="445" y="422"/>
                    </a:lnTo>
                    <a:lnTo>
                      <a:pt x="444" y="423"/>
                    </a:lnTo>
                    <a:lnTo>
                      <a:pt x="442" y="423"/>
                    </a:lnTo>
                    <a:lnTo>
                      <a:pt x="441" y="422"/>
                    </a:lnTo>
                    <a:lnTo>
                      <a:pt x="439" y="420"/>
                    </a:lnTo>
                    <a:lnTo>
                      <a:pt x="436" y="418"/>
                    </a:lnTo>
                    <a:lnTo>
                      <a:pt x="433" y="418"/>
                    </a:lnTo>
                    <a:lnTo>
                      <a:pt x="430" y="420"/>
                    </a:lnTo>
                    <a:lnTo>
                      <a:pt x="430" y="422"/>
                    </a:lnTo>
                    <a:lnTo>
                      <a:pt x="426" y="423"/>
                    </a:lnTo>
                    <a:lnTo>
                      <a:pt x="425" y="425"/>
                    </a:lnTo>
                    <a:lnTo>
                      <a:pt x="423" y="426"/>
                    </a:lnTo>
                    <a:lnTo>
                      <a:pt x="420" y="426"/>
                    </a:lnTo>
                    <a:lnTo>
                      <a:pt x="417" y="425"/>
                    </a:lnTo>
                    <a:lnTo>
                      <a:pt x="415" y="423"/>
                    </a:lnTo>
                    <a:lnTo>
                      <a:pt x="412" y="420"/>
                    </a:lnTo>
                    <a:lnTo>
                      <a:pt x="411" y="422"/>
                    </a:lnTo>
                    <a:lnTo>
                      <a:pt x="409" y="425"/>
                    </a:lnTo>
                    <a:lnTo>
                      <a:pt x="406" y="425"/>
                    </a:lnTo>
                    <a:lnTo>
                      <a:pt x="403" y="423"/>
                    </a:lnTo>
                    <a:lnTo>
                      <a:pt x="398" y="425"/>
                    </a:lnTo>
                    <a:lnTo>
                      <a:pt x="396" y="425"/>
                    </a:lnTo>
                    <a:lnTo>
                      <a:pt x="395" y="426"/>
                    </a:lnTo>
                    <a:lnTo>
                      <a:pt x="393" y="426"/>
                    </a:lnTo>
                    <a:lnTo>
                      <a:pt x="392" y="428"/>
                    </a:lnTo>
                    <a:lnTo>
                      <a:pt x="390" y="428"/>
                    </a:lnTo>
                    <a:lnTo>
                      <a:pt x="390" y="430"/>
                    </a:lnTo>
                    <a:lnTo>
                      <a:pt x="388" y="430"/>
                    </a:lnTo>
                    <a:lnTo>
                      <a:pt x="388" y="431"/>
                    </a:lnTo>
                    <a:lnTo>
                      <a:pt x="387" y="431"/>
                    </a:lnTo>
                    <a:lnTo>
                      <a:pt x="387" y="433"/>
                    </a:lnTo>
                    <a:lnTo>
                      <a:pt x="385" y="433"/>
                    </a:lnTo>
                    <a:lnTo>
                      <a:pt x="385" y="434"/>
                    </a:lnTo>
                    <a:lnTo>
                      <a:pt x="384" y="434"/>
                    </a:lnTo>
                    <a:lnTo>
                      <a:pt x="384" y="436"/>
                    </a:lnTo>
                    <a:lnTo>
                      <a:pt x="382" y="436"/>
                    </a:lnTo>
                    <a:lnTo>
                      <a:pt x="382" y="437"/>
                    </a:lnTo>
                    <a:lnTo>
                      <a:pt x="380" y="439"/>
                    </a:lnTo>
                    <a:lnTo>
                      <a:pt x="379" y="441"/>
                    </a:lnTo>
                    <a:lnTo>
                      <a:pt x="377" y="441"/>
                    </a:lnTo>
                    <a:lnTo>
                      <a:pt x="376" y="442"/>
                    </a:lnTo>
                    <a:lnTo>
                      <a:pt x="376" y="444"/>
                    </a:lnTo>
                    <a:lnTo>
                      <a:pt x="374" y="444"/>
                    </a:lnTo>
                    <a:lnTo>
                      <a:pt x="373" y="445"/>
                    </a:lnTo>
                    <a:lnTo>
                      <a:pt x="371" y="447"/>
                    </a:lnTo>
                    <a:lnTo>
                      <a:pt x="369" y="449"/>
                    </a:lnTo>
                    <a:lnTo>
                      <a:pt x="368" y="450"/>
                    </a:lnTo>
                    <a:lnTo>
                      <a:pt x="366" y="452"/>
                    </a:lnTo>
                    <a:lnTo>
                      <a:pt x="365" y="452"/>
                    </a:lnTo>
                    <a:lnTo>
                      <a:pt x="365" y="453"/>
                    </a:lnTo>
                    <a:lnTo>
                      <a:pt x="363" y="453"/>
                    </a:lnTo>
                    <a:lnTo>
                      <a:pt x="363" y="455"/>
                    </a:lnTo>
                    <a:lnTo>
                      <a:pt x="361" y="455"/>
                    </a:lnTo>
                    <a:lnTo>
                      <a:pt x="361" y="456"/>
                    </a:lnTo>
                    <a:lnTo>
                      <a:pt x="360" y="456"/>
                    </a:lnTo>
                    <a:lnTo>
                      <a:pt x="358" y="458"/>
                    </a:lnTo>
                    <a:lnTo>
                      <a:pt x="357" y="458"/>
                    </a:lnTo>
                    <a:lnTo>
                      <a:pt x="357" y="460"/>
                    </a:lnTo>
                    <a:lnTo>
                      <a:pt x="355" y="461"/>
                    </a:lnTo>
                    <a:lnTo>
                      <a:pt x="354" y="461"/>
                    </a:lnTo>
                    <a:lnTo>
                      <a:pt x="354" y="463"/>
                    </a:lnTo>
                    <a:lnTo>
                      <a:pt x="352" y="463"/>
                    </a:lnTo>
                    <a:lnTo>
                      <a:pt x="352" y="464"/>
                    </a:lnTo>
                    <a:lnTo>
                      <a:pt x="350" y="464"/>
                    </a:lnTo>
                    <a:lnTo>
                      <a:pt x="349" y="464"/>
                    </a:lnTo>
                    <a:lnTo>
                      <a:pt x="349" y="466"/>
                    </a:lnTo>
                    <a:lnTo>
                      <a:pt x="347" y="466"/>
                    </a:lnTo>
                    <a:lnTo>
                      <a:pt x="346" y="466"/>
                    </a:lnTo>
                    <a:lnTo>
                      <a:pt x="346" y="468"/>
                    </a:lnTo>
                    <a:lnTo>
                      <a:pt x="344" y="468"/>
                    </a:lnTo>
                    <a:lnTo>
                      <a:pt x="342" y="469"/>
                    </a:lnTo>
                    <a:lnTo>
                      <a:pt x="342" y="471"/>
                    </a:lnTo>
                    <a:lnTo>
                      <a:pt x="341" y="471"/>
                    </a:lnTo>
                    <a:lnTo>
                      <a:pt x="341" y="472"/>
                    </a:lnTo>
                    <a:lnTo>
                      <a:pt x="339" y="474"/>
                    </a:lnTo>
                    <a:lnTo>
                      <a:pt x="339" y="476"/>
                    </a:lnTo>
                    <a:lnTo>
                      <a:pt x="338" y="477"/>
                    </a:lnTo>
                    <a:lnTo>
                      <a:pt x="338" y="479"/>
                    </a:lnTo>
                    <a:lnTo>
                      <a:pt x="336" y="480"/>
                    </a:lnTo>
                    <a:lnTo>
                      <a:pt x="336" y="482"/>
                    </a:lnTo>
                    <a:lnTo>
                      <a:pt x="335" y="483"/>
                    </a:lnTo>
                    <a:lnTo>
                      <a:pt x="335" y="485"/>
                    </a:lnTo>
                    <a:lnTo>
                      <a:pt x="333" y="485"/>
                    </a:lnTo>
                    <a:lnTo>
                      <a:pt x="333" y="487"/>
                    </a:lnTo>
                    <a:lnTo>
                      <a:pt x="333" y="488"/>
                    </a:lnTo>
                    <a:lnTo>
                      <a:pt x="331" y="488"/>
                    </a:lnTo>
                    <a:lnTo>
                      <a:pt x="331" y="490"/>
                    </a:lnTo>
                    <a:lnTo>
                      <a:pt x="331" y="491"/>
                    </a:lnTo>
                    <a:lnTo>
                      <a:pt x="330" y="491"/>
                    </a:lnTo>
                    <a:lnTo>
                      <a:pt x="330" y="493"/>
                    </a:lnTo>
                    <a:lnTo>
                      <a:pt x="328" y="493"/>
                    </a:lnTo>
                    <a:lnTo>
                      <a:pt x="328" y="495"/>
                    </a:lnTo>
                    <a:lnTo>
                      <a:pt x="327" y="496"/>
                    </a:lnTo>
                    <a:lnTo>
                      <a:pt x="327" y="498"/>
                    </a:lnTo>
                    <a:lnTo>
                      <a:pt x="325" y="499"/>
                    </a:lnTo>
                    <a:lnTo>
                      <a:pt x="325" y="501"/>
                    </a:lnTo>
                    <a:lnTo>
                      <a:pt x="325" y="502"/>
                    </a:lnTo>
                    <a:lnTo>
                      <a:pt x="323" y="502"/>
                    </a:lnTo>
                    <a:lnTo>
                      <a:pt x="323" y="504"/>
                    </a:lnTo>
                    <a:lnTo>
                      <a:pt x="323" y="506"/>
                    </a:lnTo>
                    <a:lnTo>
                      <a:pt x="322" y="506"/>
                    </a:lnTo>
                    <a:lnTo>
                      <a:pt x="322" y="507"/>
                    </a:lnTo>
                    <a:lnTo>
                      <a:pt x="322" y="509"/>
                    </a:lnTo>
                    <a:lnTo>
                      <a:pt x="320" y="510"/>
                    </a:lnTo>
                    <a:lnTo>
                      <a:pt x="320" y="512"/>
                    </a:lnTo>
                    <a:lnTo>
                      <a:pt x="319" y="514"/>
                    </a:lnTo>
                    <a:lnTo>
                      <a:pt x="319" y="515"/>
                    </a:lnTo>
                    <a:lnTo>
                      <a:pt x="319" y="517"/>
                    </a:lnTo>
                    <a:lnTo>
                      <a:pt x="317" y="517"/>
                    </a:lnTo>
                    <a:lnTo>
                      <a:pt x="317" y="518"/>
                    </a:lnTo>
                    <a:lnTo>
                      <a:pt x="317" y="520"/>
                    </a:lnTo>
                    <a:lnTo>
                      <a:pt x="317" y="521"/>
                    </a:lnTo>
                    <a:lnTo>
                      <a:pt x="317" y="523"/>
                    </a:lnTo>
                    <a:lnTo>
                      <a:pt x="317" y="525"/>
                    </a:lnTo>
                    <a:lnTo>
                      <a:pt x="317" y="526"/>
                    </a:lnTo>
                    <a:lnTo>
                      <a:pt x="317" y="528"/>
                    </a:lnTo>
                    <a:lnTo>
                      <a:pt x="315" y="529"/>
                    </a:lnTo>
                    <a:lnTo>
                      <a:pt x="311" y="533"/>
                    </a:lnTo>
                    <a:lnTo>
                      <a:pt x="304" y="536"/>
                    </a:lnTo>
                    <a:lnTo>
                      <a:pt x="300" y="540"/>
                    </a:lnTo>
                    <a:lnTo>
                      <a:pt x="295" y="542"/>
                    </a:lnTo>
                    <a:lnTo>
                      <a:pt x="289" y="545"/>
                    </a:lnTo>
                    <a:lnTo>
                      <a:pt x="285" y="548"/>
                    </a:lnTo>
                    <a:lnTo>
                      <a:pt x="281" y="552"/>
                    </a:lnTo>
                    <a:lnTo>
                      <a:pt x="273" y="555"/>
                    </a:lnTo>
                    <a:lnTo>
                      <a:pt x="266" y="558"/>
                    </a:lnTo>
                    <a:lnTo>
                      <a:pt x="262" y="561"/>
                    </a:lnTo>
                    <a:lnTo>
                      <a:pt x="258" y="564"/>
                    </a:lnTo>
                    <a:lnTo>
                      <a:pt x="255" y="566"/>
                    </a:lnTo>
                    <a:lnTo>
                      <a:pt x="254" y="567"/>
                    </a:lnTo>
                    <a:lnTo>
                      <a:pt x="252" y="569"/>
                    </a:lnTo>
                    <a:lnTo>
                      <a:pt x="252" y="572"/>
                    </a:lnTo>
                    <a:lnTo>
                      <a:pt x="251" y="575"/>
                    </a:lnTo>
                    <a:lnTo>
                      <a:pt x="251" y="578"/>
                    </a:lnTo>
                    <a:lnTo>
                      <a:pt x="251" y="583"/>
                    </a:lnTo>
                    <a:lnTo>
                      <a:pt x="251" y="586"/>
                    </a:lnTo>
                    <a:lnTo>
                      <a:pt x="249" y="590"/>
                    </a:lnTo>
                    <a:lnTo>
                      <a:pt x="246" y="593"/>
                    </a:lnTo>
                    <a:lnTo>
                      <a:pt x="244" y="596"/>
                    </a:lnTo>
                    <a:lnTo>
                      <a:pt x="241" y="599"/>
                    </a:lnTo>
                    <a:lnTo>
                      <a:pt x="241" y="601"/>
                    </a:lnTo>
                    <a:lnTo>
                      <a:pt x="241" y="605"/>
                    </a:lnTo>
                    <a:lnTo>
                      <a:pt x="241" y="610"/>
                    </a:lnTo>
                    <a:lnTo>
                      <a:pt x="241" y="613"/>
                    </a:lnTo>
                    <a:lnTo>
                      <a:pt x="243" y="616"/>
                    </a:lnTo>
                    <a:lnTo>
                      <a:pt x="243" y="621"/>
                    </a:lnTo>
                    <a:lnTo>
                      <a:pt x="241" y="626"/>
                    </a:lnTo>
                    <a:lnTo>
                      <a:pt x="241" y="629"/>
                    </a:lnTo>
                    <a:lnTo>
                      <a:pt x="239" y="634"/>
                    </a:lnTo>
                    <a:lnTo>
                      <a:pt x="239" y="637"/>
                    </a:lnTo>
                    <a:lnTo>
                      <a:pt x="239" y="639"/>
                    </a:lnTo>
                    <a:lnTo>
                      <a:pt x="238" y="640"/>
                    </a:lnTo>
                    <a:lnTo>
                      <a:pt x="235" y="642"/>
                    </a:lnTo>
                    <a:lnTo>
                      <a:pt x="233" y="642"/>
                    </a:lnTo>
                    <a:lnTo>
                      <a:pt x="232" y="640"/>
                    </a:lnTo>
                    <a:lnTo>
                      <a:pt x="230" y="637"/>
                    </a:lnTo>
                    <a:lnTo>
                      <a:pt x="230" y="635"/>
                    </a:lnTo>
                    <a:lnTo>
                      <a:pt x="232" y="632"/>
                    </a:lnTo>
                    <a:lnTo>
                      <a:pt x="232" y="628"/>
                    </a:lnTo>
                    <a:lnTo>
                      <a:pt x="232" y="621"/>
                    </a:lnTo>
                    <a:lnTo>
                      <a:pt x="230" y="616"/>
                    </a:lnTo>
                    <a:lnTo>
                      <a:pt x="228" y="615"/>
                    </a:lnTo>
                    <a:lnTo>
                      <a:pt x="228" y="612"/>
                    </a:lnTo>
                    <a:lnTo>
                      <a:pt x="228" y="610"/>
                    </a:lnTo>
                    <a:lnTo>
                      <a:pt x="228" y="609"/>
                    </a:lnTo>
                    <a:lnTo>
                      <a:pt x="228" y="607"/>
                    </a:lnTo>
                    <a:lnTo>
                      <a:pt x="230" y="604"/>
                    </a:lnTo>
                    <a:lnTo>
                      <a:pt x="232" y="601"/>
                    </a:lnTo>
                    <a:lnTo>
                      <a:pt x="232" y="597"/>
                    </a:lnTo>
                    <a:lnTo>
                      <a:pt x="230" y="597"/>
                    </a:lnTo>
                    <a:lnTo>
                      <a:pt x="228" y="597"/>
                    </a:lnTo>
                    <a:lnTo>
                      <a:pt x="227" y="597"/>
                    </a:lnTo>
                    <a:lnTo>
                      <a:pt x="224" y="599"/>
                    </a:lnTo>
                    <a:lnTo>
                      <a:pt x="220" y="597"/>
                    </a:lnTo>
                    <a:lnTo>
                      <a:pt x="217" y="597"/>
                    </a:lnTo>
                    <a:lnTo>
                      <a:pt x="214" y="597"/>
                    </a:lnTo>
                    <a:lnTo>
                      <a:pt x="211" y="596"/>
                    </a:lnTo>
                    <a:lnTo>
                      <a:pt x="208" y="596"/>
                    </a:lnTo>
                    <a:lnTo>
                      <a:pt x="205" y="596"/>
                    </a:lnTo>
                    <a:lnTo>
                      <a:pt x="201" y="594"/>
                    </a:lnTo>
                    <a:lnTo>
                      <a:pt x="198" y="594"/>
                    </a:lnTo>
                    <a:lnTo>
                      <a:pt x="194" y="593"/>
                    </a:lnTo>
                    <a:lnTo>
                      <a:pt x="189" y="593"/>
                    </a:lnTo>
                    <a:lnTo>
                      <a:pt x="186" y="591"/>
                    </a:lnTo>
                    <a:lnTo>
                      <a:pt x="178" y="590"/>
                    </a:lnTo>
                    <a:lnTo>
                      <a:pt x="171" y="588"/>
                    </a:lnTo>
                    <a:lnTo>
                      <a:pt x="168" y="588"/>
                    </a:lnTo>
                    <a:lnTo>
                      <a:pt x="165" y="588"/>
                    </a:lnTo>
                    <a:lnTo>
                      <a:pt x="163" y="586"/>
                    </a:lnTo>
                    <a:lnTo>
                      <a:pt x="159" y="586"/>
                    </a:lnTo>
                    <a:lnTo>
                      <a:pt x="156" y="585"/>
                    </a:lnTo>
                    <a:lnTo>
                      <a:pt x="149" y="583"/>
                    </a:lnTo>
                    <a:lnTo>
                      <a:pt x="143" y="583"/>
                    </a:lnTo>
                    <a:lnTo>
                      <a:pt x="138" y="582"/>
                    </a:lnTo>
                    <a:lnTo>
                      <a:pt x="135" y="582"/>
                    </a:lnTo>
                    <a:lnTo>
                      <a:pt x="133" y="582"/>
                    </a:lnTo>
                    <a:lnTo>
                      <a:pt x="132" y="583"/>
                    </a:lnTo>
                    <a:lnTo>
                      <a:pt x="132" y="585"/>
                    </a:lnTo>
                    <a:lnTo>
                      <a:pt x="132" y="586"/>
                    </a:lnTo>
                    <a:lnTo>
                      <a:pt x="130" y="591"/>
                    </a:lnTo>
                    <a:lnTo>
                      <a:pt x="130" y="594"/>
                    </a:lnTo>
                    <a:lnTo>
                      <a:pt x="129" y="597"/>
                    </a:lnTo>
                    <a:lnTo>
                      <a:pt x="127" y="601"/>
                    </a:lnTo>
                    <a:lnTo>
                      <a:pt x="127" y="602"/>
                    </a:lnTo>
                    <a:lnTo>
                      <a:pt x="129" y="604"/>
                    </a:lnTo>
                    <a:lnTo>
                      <a:pt x="133" y="609"/>
                    </a:lnTo>
                    <a:lnTo>
                      <a:pt x="135" y="612"/>
                    </a:lnTo>
                    <a:lnTo>
                      <a:pt x="137" y="615"/>
                    </a:lnTo>
                    <a:lnTo>
                      <a:pt x="137" y="620"/>
                    </a:lnTo>
                    <a:lnTo>
                      <a:pt x="137" y="623"/>
                    </a:lnTo>
                    <a:lnTo>
                      <a:pt x="138" y="624"/>
                    </a:lnTo>
                    <a:lnTo>
                      <a:pt x="135" y="629"/>
                    </a:lnTo>
                    <a:lnTo>
                      <a:pt x="133" y="634"/>
                    </a:lnTo>
                    <a:lnTo>
                      <a:pt x="129" y="637"/>
                    </a:lnTo>
                    <a:lnTo>
                      <a:pt x="127" y="640"/>
                    </a:lnTo>
                    <a:lnTo>
                      <a:pt x="125" y="642"/>
                    </a:lnTo>
                    <a:lnTo>
                      <a:pt x="127" y="643"/>
                    </a:lnTo>
                    <a:lnTo>
                      <a:pt x="129" y="645"/>
                    </a:lnTo>
                    <a:lnTo>
                      <a:pt x="130" y="645"/>
                    </a:lnTo>
                    <a:lnTo>
                      <a:pt x="132" y="645"/>
                    </a:lnTo>
                    <a:lnTo>
                      <a:pt x="133" y="645"/>
                    </a:lnTo>
                    <a:lnTo>
                      <a:pt x="135" y="647"/>
                    </a:lnTo>
                    <a:lnTo>
                      <a:pt x="137" y="647"/>
                    </a:lnTo>
                    <a:lnTo>
                      <a:pt x="138" y="648"/>
                    </a:lnTo>
                    <a:lnTo>
                      <a:pt x="138" y="650"/>
                    </a:lnTo>
                    <a:lnTo>
                      <a:pt x="137" y="650"/>
                    </a:lnTo>
                    <a:lnTo>
                      <a:pt x="135" y="650"/>
                    </a:lnTo>
                    <a:lnTo>
                      <a:pt x="133" y="651"/>
                    </a:lnTo>
                    <a:lnTo>
                      <a:pt x="133" y="653"/>
                    </a:lnTo>
                    <a:lnTo>
                      <a:pt x="135" y="653"/>
                    </a:lnTo>
                    <a:lnTo>
                      <a:pt x="135" y="655"/>
                    </a:lnTo>
                    <a:lnTo>
                      <a:pt x="137" y="656"/>
                    </a:lnTo>
                    <a:lnTo>
                      <a:pt x="137" y="658"/>
                    </a:lnTo>
                    <a:lnTo>
                      <a:pt x="137" y="659"/>
                    </a:lnTo>
                    <a:lnTo>
                      <a:pt x="137" y="661"/>
                    </a:lnTo>
                    <a:lnTo>
                      <a:pt x="135" y="662"/>
                    </a:lnTo>
                    <a:lnTo>
                      <a:pt x="135" y="664"/>
                    </a:lnTo>
                    <a:lnTo>
                      <a:pt x="137" y="666"/>
                    </a:lnTo>
                    <a:lnTo>
                      <a:pt x="137" y="667"/>
                    </a:lnTo>
                    <a:lnTo>
                      <a:pt x="135" y="670"/>
                    </a:lnTo>
                    <a:lnTo>
                      <a:pt x="135" y="674"/>
                    </a:lnTo>
                    <a:lnTo>
                      <a:pt x="135" y="677"/>
                    </a:lnTo>
                    <a:lnTo>
                      <a:pt x="135" y="678"/>
                    </a:lnTo>
                    <a:lnTo>
                      <a:pt x="137" y="680"/>
                    </a:lnTo>
                    <a:lnTo>
                      <a:pt x="137" y="681"/>
                    </a:lnTo>
                    <a:lnTo>
                      <a:pt x="137" y="685"/>
                    </a:lnTo>
                    <a:lnTo>
                      <a:pt x="138" y="688"/>
                    </a:lnTo>
                    <a:lnTo>
                      <a:pt x="138" y="689"/>
                    </a:lnTo>
                    <a:lnTo>
                      <a:pt x="138" y="691"/>
                    </a:lnTo>
                    <a:lnTo>
                      <a:pt x="140" y="691"/>
                    </a:lnTo>
                    <a:lnTo>
                      <a:pt x="140" y="689"/>
                    </a:lnTo>
                    <a:lnTo>
                      <a:pt x="141" y="689"/>
                    </a:lnTo>
                    <a:lnTo>
                      <a:pt x="143" y="688"/>
                    </a:lnTo>
                    <a:lnTo>
                      <a:pt x="144" y="686"/>
                    </a:lnTo>
                    <a:lnTo>
                      <a:pt x="146" y="686"/>
                    </a:lnTo>
                    <a:lnTo>
                      <a:pt x="146" y="685"/>
                    </a:lnTo>
                    <a:lnTo>
                      <a:pt x="148" y="685"/>
                    </a:lnTo>
                    <a:lnTo>
                      <a:pt x="148" y="683"/>
                    </a:lnTo>
                    <a:lnTo>
                      <a:pt x="149" y="683"/>
                    </a:lnTo>
                    <a:lnTo>
                      <a:pt x="151" y="681"/>
                    </a:lnTo>
                    <a:lnTo>
                      <a:pt x="152" y="681"/>
                    </a:lnTo>
                    <a:lnTo>
                      <a:pt x="152" y="680"/>
                    </a:lnTo>
                    <a:lnTo>
                      <a:pt x="154" y="680"/>
                    </a:lnTo>
                    <a:lnTo>
                      <a:pt x="154" y="678"/>
                    </a:lnTo>
                    <a:lnTo>
                      <a:pt x="156" y="678"/>
                    </a:lnTo>
                    <a:lnTo>
                      <a:pt x="156" y="680"/>
                    </a:lnTo>
                    <a:lnTo>
                      <a:pt x="156" y="681"/>
                    </a:lnTo>
                    <a:lnTo>
                      <a:pt x="157" y="681"/>
                    </a:lnTo>
                    <a:lnTo>
                      <a:pt x="157" y="683"/>
                    </a:lnTo>
                    <a:lnTo>
                      <a:pt x="159" y="685"/>
                    </a:lnTo>
                    <a:lnTo>
                      <a:pt x="159" y="686"/>
                    </a:lnTo>
                    <a:lnTo>
                      <a:pt x="160" y="686"/>
                    </a:lnTo>
                    <a:lnTo>
                      <a:pt x="160" y="688"/>
                    </a:lnTo>
                    <a:lnTo>
                      <a:pt x="162" y="689"/>
                    </a:lnTo>
                    <a:lnTo>
                      <a:pt x="162" y="691"/>
                    </a:lnTo>
                    <a:lnTo>
                      <a:pt x="163" y="693"/>
                    </a:lnTo>
                    <a:lnTo>
                      <a:pt x="163" y="694"/>
                    </a:lnTo>
                    <a:lnTo>
                      <a:pt x="165" y="694"/>
                    </a:lnTo>
                    <a:lnTo>
                      <a:pt x="165" y="696"/>
                    </a:lnTo>
                    <a:lnTo>
                      <a:pt x="167" y="697"/>
                    </a:lnTo>
                    <a:lnTo>
                      <a:pt x="167" y="699"/>
                    </a:lnTo>
                    <a:lnTo>
                      <a:pt x="168" y="699"/>
                    </a:lnTo>
                    <a:lnTo>
                      <a:pt x="168" y="700"/>
                    </a:lnTo>
                    <a:lnTo>
                      <a:pt x="170" y="702"/>
                    </a:lnTo>
                    <a:lnTo>
                      <a:pt x="170" y="704"/>
                    </a:lnTo>
                    <a:lnTo>
                      <a:pt x="171" y="705"/>
                    </a:lnTo>
                    <a:lnTo>
                      <a:pt x="173" y="707"/>
                    </a:lnTo>
                    <a:lnTo>
                      <a:pt x="173" y="708"/>
                    </a:lnTo>
                    <a:lnTo>
                      <a:pt x="175" y="710"/>
                    </a:lnTo>
                    <a:lnTo>
                      <a:pt x="175" y="712"/>
                    </a:lnTo>
                    <a:lnTo>
                      <a:pt x="176" y="712"/>
                    </a:lnTo>
                    <a:lnTo>
                      <a:pt x="176" y="713"/>
                    </a:lnTo>
                    <a:lnTo>
                      <a:pt x="178" y="715"/>
                    </a:lnTo>
                    <a:lnTo>
                      <a:pt x="178" y="716"/>
                    </a:lnTo>
                    <a:lnTo>
                      <a:pt x="179" y="716"/>
                    </a:lnTo>
                    <a:lnTo>
                      <a:pt x="179" y="718"/>
                    </a:lnTo>
                    <a:lnTo>
                      <a:pt x="181" y="719"/>
                    </a:lnTo>
                    <a:lnTo>
                      <a:pt x="181" y="721"/>
                    </a:lnTo>
                    <a:lnTo>
                      <a:pt x="182" y="723"/>
                    </a:lnTo>
                    <a:lnTo>
                      <a:pt x="182" y="724"/>
                    </a:lnTo>
                    <a:lnTo>
                      <a:pt x="184" y="724"/>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35" name="Freeform 15"/>
              <p:cNvSpPr>
                <a:spLocks/>
              </p:cNvSpPr>
              <p:nvPr/>
            </p:nvSpPr>
            <p:spPr bwMode="auto">
              <a:xfrm>
                <a:off x="3318" y="3079"/>
                <a:ext cx="621" cy="561"/>
              </a:xfrm>
              <a:custGeom>
                <a:avLst/>
                <a:gdLst>
                  <a:gd name="T0" fmla="*/ 575 w 621"/>
                  <a:gd name="T1" fmla="*/ 111 h 561"/>
                  <a:gd name="T2" fmla="*/ 594 w 621"/>
                  <a:gd name="T3" fmla="*/ 127 h 561"/>
                  <a:gd name="T4" fmla="*/ 613 w 621"/>
                  <a:gd name="T5" fmla="*/ 141 h 561"/>
                  <a:gd name="T6" fmla="*/ 621 w 621"/>
                  <a:gd name="T7" fmla="*/ 164 h 561"/>
                  <a:gd name="T8" fmla="*/ 609 w 621"/>
                  <a:gd name="T9" fmla="*/ 181 h 561"/>
                  <a:gd name="T10" fmla="*/ 587 w 621"/>
                  <a:gd name="T11" fmla="*/ 200 h 561"/>
                  <a:gd name="T12" fmla="*/ 569 w 621"/>
                  <a:gd name="T13" fmla="*/ 211 h 561"/>
                  <a:gd name="T14" fmla="*/ 552 w 621"/>
                  <a:gd name="T15" fmla="*/ 222 h 561"/>
                  <a:gd name="T16" fmla="*/ 531 w 621"/>
                  <a:gd name="T17" fmla="*/ 241 h 561"/>
                  <a:gd name="T18" fmla="*/ 512 w 621"/>
                  <a:gd name="T19" fmla="*/ 257 h 561"/>
                  <a:gd name="T20" fmla="*/ 491 w 621"/>
                  <a:gd name="T21" fmla="*/ 267 h 561"/>
                  <a:gd name="T22" fmla="*/ 482 w 621"/>
                  <a:gd name="T23" fmla="*/ 286 h 561"/>
                  <a:gd name="T24" fmla="*/ 461 w 621"/>
                  <a:gd name="T25" fmla="*/ 298 h 561"/>
                  <a:gd name="T26" fmla="*/ 439 w 621"/>
                  <a:gd name="T27" fmla="*/ 306 h 561"/>
                  <a:gd name="T28" fmla="*/ 436 w 621"/>
                  <a:gd name="T29" fmla="*/ 324 h 561"/>
                  <a:gd name="T30" fmla="*/ 452 w 621"/>
                  <a:gd name="T31" fmla="*/ 341 h 561"/>
                  <a:gd name="T32" fmla="*/ 449 w 621"/>
                  <a:gd name="T33" fmla="*/ 357 h 561"/>
                  <a:gd name="T34" fmla="*/ 458 w 621"/>
                  <a:gd name="T35" fmla="*/ 371 h 561"/>
                  <a:gd name="T36" fmla="*/ 466 w 621"/>
                  <a:gd name="T37" fmla="*/ 385 h 561"/>
                  <a:gd name="T38" fmla="*/ 458 w 621"/>
                  <a:gd name="T39" fmla="*/ 404 h 561"/>
                  <a:gd name="T40" fmla="*/ 442 w 621"/>
                  <a:gd name="T41" fmla="*/ 427 h 561"/>
                  <a:gd name="T42" fmla="*/ 438 w 621"/>
                  <a:gd name="T43" fmla="*/ 442 h 561"/>
                  <a:gd name="T44" fmla="*/ 428 w 621"/>
                  <a:gd name="T45" fmla="*/ 453 h 561"/>
                  <a:gd name="T46" fmla="*/ 414 w 621"/>
                  <a:gd name="T47" fmla="*/ 453 h 561"/>
                  <a:gd name="T48" fmla="*/ 396 w 621"/>
                  <a:gd name="T49" fmla="*/ 457 h 561"/>
                  <a:gd name="T50" fmla="*/ 392 w 621"/>
                  <a:gd name="T51" fmla="*/ 471 h 561"/>
                  <a:gd name="T52" fmla="*/ 393 w 621"/>
                  <a:gd name="T53" fmla="*/ 482 h 561"/>
                  <a:gd name="T54" fmla="*/ 382 w 621"/>
                  <a:gd name="T55" fmla="*/ 491 h 561"/>
                  <a:gd name="T56" fmla="*/ 362 w 621"/>
                  <a:gd name="T57" fmla="*/ 506 h 561"/>
                  <a:gd name="T58" fmla="*/ 343 w 621"/>
                  <a:gd name="T59" fmla="*/ 517 h 561"/>
                  <a:gd name="T60" fmla="*/ 330 w 621"/>
                  <a:gd name="T61" fmla="*/ 533 h 561"/>
                  <a:gd name="T62" fmla="*/ 317 w 621"/>
                  <a:gd name="T63" fmla="*/ 544 h 561"/>
                  <a:gd name="T64" fmla="*/ 297 w 621"/>
                  <a:gd name="T65" fmla="*/ 553 h 561"/>
                  <a:gd name="T66" fmla="*/ 278 w 621"/>
                  <a:gd name="T67" fmla="*/ 560 h 561"/>
                  <a:gd name="T68" fmla="*/ 257 w 621"/>
                  <a:gd name="T69" fmla="*/ 560 h 561"/>
                  <a:gd name="T70" fmla="*/ 255 w 621"/>
                  <a:gd name="T71" fmla="*/ 537 h 561"/>
                  <a:gd name="T72" fmla="*/ 254 w 621"/>
                  <a:gd name="T73" fmla="*/ 487 h 561"/>
                  <a:gd name="T74" fmla="*/ 243 w 621"/>
                  <a:gd name="T75" fmla="*/ 422 h 561"/>
                  <a:gd name="T76" fmla="*/ 229 w 621"/>
                  <a:gd name="T77" fmla="*/ 376 h 561"/>
                  <a:gd name="T78" fmla="*/ 157 w 621"/>
                  <a:gd name="T79" fmla="*/ 293 h 561"/>
                  <a:gd name="T80" fmla="*/ 94 w 621"/>
                  <a:gd name="T81" fmla="*/ 233 h 561"/>
                  <a:gd name="T82" fmla="*/ 91 w 621"/>
                  <a:gd name="T83" fmla="*/ 213 h 561"/>
                  <a:gd name="T84" fmla="*/ 72 w 621"/>
                  <a:gd name="T85" fmla="*/ 203 h 561"/>
                  <a:gd name="T86" fmla="*/ 56 w 621"/>
                  <a:gd name="T87" fmla="*/ 184 h 561"/>
                  <a:gd name="T88" fmla="*/ 45 w 621"/>
                  <a:gd name="T89" fmla="*/ 160 h 561"/>
                  <a:gd name="T90" fmla="*/ 32 w 621"/>
                  <a:gd name="T91" fmla="*/ 140 h 561"/>
                  <a:gd name="T92" fmla="*/ 19 w 621"/>
                  <a:gd name="T93" fmla="*/ 129 h 561"/>
                  <a:gd name="T94" fmla="*/ 27 w 621"/>
                  <a:gd name="T95" fmla="*/ 116 h 561"/>
                  <a:gd name="T96" fmla="*/ 18 w 621"/>
                  <a:gd name="T97" fmla="*/ 95 h 561"/>
                  <a:gd name="T98" fmla="*/ 5 w 621"/>
                  <a:gd name="T99" fmla="*/ 80 h 561"/>
                  <a:gd name="T100" fmla="*/ 5 w 621"/>
                  <a:gd name="T101" fmla="*/ 62 h 561"/>
                  <a:gd name="T102" fmla="*/ 18 w 621"/>
                  <a:gd name="T103" fmla="*/ 42 h 561"/>
                  <a:gd name="T104" fmla="*/ 31 w 621"/>
                  <a:gd name="T105" fmla="*/ 24 h 561"/>
                  <a:gd name="T106" fmla="*/ 53 w 621"/>
                  <a:gd name="T107" fmla="*/ 19 h 561"/>
                  <a:gd name="T108" fmla="*/ 73 w 621"/>
                  <a:gd name="T109" fmla="*/ 26 h 561"/>
                  <a:gd name="T110" fmla="*/ 89 w 621"/>
                  <a:gd name="T111" fmla="*/ 16 h 561"/>
                  <a:gd name="T112" fmla="*/ 143 w 621"/>
                  <a:gd name="T113" fmla="*/ 8 h 561"/>
                  <a:gd name="T114" fmla="*/ 165 w 621"/>
                  <a:gd name="T115" fmla="*/ 2 h 561"/>
                  <a:gd name="T116" fmla="*/ 189 w 621"/>
                  <a:gd name="T117" fmla="*/ 4 h 561"/>
                  <a:gd name="T118" fmla="*/ 213 w 621"/>
                  <a:gd name="T119" fmla="*/ 5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1" h="561">
                    <a:moveTo>
                      <a:pt x="558" y="100"/>
                    </a:moveTo>
                    <a:lnTo>
                      <a:pt x="560" y="100"/>
                    </a:lnTo>
                    <a:lnTo>
                      <a:pt x="560" y="102"/>
                    </a:lnTo>
                    <a:lnTo>
                      <a:pt x="561" y="102"/>
                    </a:lnTo>
                    <a:lnTo>
                      <a:pt x="563" y="102"/>
                    </a:lnTo>
                    <a:lnTo>
                      <a:pt x="563" y="103"/>
                    </a:lnTo>
                    <a:lnTo>
                      <a:pt x="564" y="103"/>
                    </a:lnTo>
                    <a:lnTo>
                      <a:pt x="566" y="103"/>
                    </a:lnTo>
                    <a:lnTo>
                      <a:pt x="566" y="105"/>
                    </a:lnTo>
                    <a:lnTo>
                      <a:pt x="568" y="105"/>
                    </a:lnTo>
                    <a:lnTo>
                      <a:pt x="569" y="107"/>
                    </a:lnTo>
                    <a:lnTo>
                      <a:pt x="571" y="107"/>
                    </a:lnTo>
                    <a:lnTo>
                      <a:pt x="571" y="108"/>
                    </a:lnTo>
                    <a:lnTo>
                      <a:pt x="572" y="108"/>
                    </a:lnTo>
                    <a:lnTo>
                      <a:pt x="574" y="110"/>
                    </a:lnTo>
                    <a:lnTo>
                      <a:pt x="575" y="110"/>
                    </a:lnTo>
                    <a:lnTo>
                      <a:pt x="575" y="111"/>
                    </a:lnTo>
                    <a:lnTo>
                      <a:pt x="577" y="111"/>
                    </a:lnTo>
                    <a:lnTo>
                      <a:pt x="579" y="113"/>
                    </a:lnTo>
                    <a:lnTo>
                      <a:pt x="579" y="114"/>
                    </a:lnTo>
                    <a:lnTo>
                      <a:pt x="580" y="114"/>
                    </a:lnTo>
                    <a:lnTo>
                      <a:pt x="582" y="116"/>
                    </a:lnTo>
                    <a:lnTo>
                      <a:pt x="583" y="116"/>
                    </a:lnTo>
                    <a:lnTo>
                      <a:pt x="583" y="118"/>
                    </a:lnTo>
                    <a:lnTo>
                      <a:pt x="585" y="118"/>
                    </a:lnTo>
                    <a:lnTo>
                      <a:pt x="585" y="119"/>
                    </a:lnTo>
                    <a:lnTo>
                      <a:pt x="587" y="119"/>
                    </a:lnTo>
                    <a:lnTo>
                      <a:pt x="588" y="121"/>
                    </a:lnTo>
                    <a:lnTo>
                      <a:pt x="588" y="122"/>
                    </a:lnTo>
                    <a:lnTo>
                      <a:pt x="590" y="122"/>
                    </a:lnTo>
                    <a:lnTo>
                      <a:pt x="591" y="124"/>
                    </a:lnTo>
                    <a:lnTo>
                      <a:pt x="593" y="126"/>
                    </a:lnTo>
                    <a:lnTo>
                      <a:pt x="594" y="126"/>
                    </a:lnTo>
                    <a:lnTo>
                      <a:pt x="594" y="127"/>
                    </a:lnTo>
                    <a:lnTo>
                      <a:pt x="596" y="127"/>
                    </a:lnTo>
                    <a:lnTo>
                      <a:pt x="598" y="129"/>
                    </a:lnTo>
                    <a:lnTo>
                      <a:pt x="599" y="130"/>
                    </a:lnTo>
                    <a:lnTo>
                      <a:pt x="601" y="130"/>
                    </a:lnTo>
                    <a:lnTo>
                      <a:pt x="602" y="132"/>
                    </a:lnTo>
                    <a:lnTo>
                      <a:pt x="604" y="132"/>
                    </a:lnTo>
                    <a:lnTo>
                      <a:pt x="604" y="133"/>
                    </a:lnTo>
                    <a:lnTo>
                      <a:pt x="606" y="133"/>
                    </a:lnTo>
                    <a:lnTo>
                      <a:pt x="606" y="135"/>
                    </a:lnTo>
                    <a:lnTo>
                      <a:pt x="607" y="135"/>
                    </a:lnTo>
                    <a:lnTo>
                      <a:pt x="609" y="135"/>
                    </a:lnTo>
                    <a:lnTo>
                      <a:pt x="609" y="137"/>
                    </a:lnTo>
                    <a:lnTo>
                      <a:pt x="610" y="137"/>
                    </a:lnTo>
                    <a:lnTo>
                      <a:pt x="610" y="138"/>
                    </a:lnTo>
                    <a:lnTo>
                      <a:pt x="612" y="138"/>
                    </a:lnTo>
                    <a:lnTo>
                      <a:pt x="613" y="140"/>
                    </a:lnTo>
                    <a:lnTo>
                      <a:pt x="613" y="141"/>
                    </a:lnTo>
                    <a:lnTo>
                      <a:pt x="615" y="141"/>
                    </a:lnTo>
                    <a:lnTo>
                      <a:pt x="617" y="143"/>
                    </a:lnTo>
                    <a:lnTo>
                      <a:pt x="618" y="145"/>
                    </a:lnTo>
                    <a:lnTo>
                      <a:pt x="618" y="146"/>
                    </a:lnTo>
                    <a:lnTo>
                      <a:pt x="620" y="146"/>
                    </a:lnTo>
                    <a:lnTo>
                      <a:pt x="620" y="148"/>
                    </a:lnTo>
                    <a:lnTo>
                      <a:pt x="620" y="149"/>
                    </a:lnTo>
                    <a:lnTo>
                      <a:pt x="621" y="149"/>
                    </a:lnTo>
                    <a:lnTo>
                      <a:pt x="621" y="151"/>
                    </a:lnTo>
                    <a:lnTo>
                      <a:pt x="621" y="152"/>
                    </a:lnTo>
                    <a:lnTo>
                      <a:pt x="621" y="154"/>
                    </a:lnTo>
                    <a:lnTo>
                      <a:pt x="621" y="156"/>
                    </a:lnTo>
                    <a:lnTo>
                      <a:pt x="621" y="157"/>
                    </a:lnTo>
                    <a:lnTo>
                      <a:pt x="621" y="159"/>
                    </a:lnTo>
                    <a:lnTo>
                      <a:pt x="621" y="160"/>
                    </a:lnTo>
                    <a:lnTo>
                      <a:pt x="621" y="162"/>
                    </a:lnTo>
                    <a:lnTo>
                      <a:pt x="621" y="164"/>
                    </a:lnTo>
                    <a:lnTo>
                      <a:pt x="621" y="165"/>
                    </a:lnTo>
                    <a:lnTo>
                      <a:pt x="620" y="167"/>
                    </a:lnTo>
                    <a:lnTo>
                      <a:pt x="620" y="168"/>
                    </a:lnTo>
                    <a:lnTo>
                      <a:pt x="620" y="170"/>
                    </a:lnTo>
                    <a:lnTo>
                      <a:pt x="621" y="171"/>
                    </a:lnTo>
                    <a:lnTo>
                      <a:pt x="621" y="173"/>
                    </a:lnTo>
                    <a:lnTo>
                      <a:pt x="620" y="175"/>
                    </a:lnTo>
                    <a:lnTo>
                      <a:pt x="620" y="176"/>
                    </a:lnTo>
                    <a:lnTo>
                      <a:pt x="618" y="176"/>
                    </a:lnTo>
                    <a:lnTo>
                      <a:pt x="617" y="176"/>
                    </a:lnTo>
                    <a:lnTo>
                      <a:pt x="617" y="178"/>
                    </a:lnTo>
                    <a:lnTo>
                      <a:pt x="615" y="178"/>
                    </a:lnTo>
                    <a:lnTo>
                      <a:pt x="613" y="178"/>
                    </a:lnTo>
                    <a:lnTo>
                      <a:pt x="612" y="179"/>
                    </a:lnTo>
                    <a:lnTo>
                      <a:pt x="610" y="179"/>
                    </a:lnTo>
                    <a:lnTo>
                      <a:pt x="610" y="181"/>
                    </a:lnTo>
                    <a:lnTo>
                      <a:pt x="609" y="181"/>
                    </a:lnTo>
                    <a:lnTo>
                      <a:pt x="607" y="183"/>
                    </a:lnTo>
                    <a:lnTo>
                      <a:pt x="606" y="184"/>
                    </a:lnTo>
                    <a:lnTo>
                      <a:pt x="604" y="186"/>
                    </a:lnTo>
                    <a:lnTo>
                      <a:pt x="604" y="187"/>
                    </a:lnTo>
                    <a:lnTo>
                      <a:pt x="602" y="187"/>
                    </a:lnTo>
                    <a:lnTo>
                      <a:pt x="601" y="189"/>
                    </a:lnTo>
                    <a:lnTo>
                      <a:pt x="599" y="189"/>
                    </a:lnTo>
                    <a:lnTo>
                      <a:pt x="599" y="190"/>
                    </a:lnTo>
                    <a:lnTo>
                      <a:pt x="598" y="192"/>
                    </a:lnTo>
                    <a:lnTo>
                      <a:pt x="596" y="194"/>
                    </a:lnTo>
                    <a:lnTo>
                      <a:pt x="594" y="195"/>
                    </a:lnTo>
                    <a:lnTo>
                      <a:pt x="593" y="197"/>
                    </a:lnTo>
                    <a:lnTo>
                      <a:pt x="591" y="197"/>
                    </a:lnTo>
                    <a:lnTo>
                      <a:pt x="591" y="198"/>
                    </a:lnTo>
                    <a:lnTo>
                      <a:pt x="590" y="198"/>
                    </a:lnTo>
                    <a:lnTo>
                      <a:pt x="588" y="198"/>
                    </a:lnTo>
                    <a:lnTo>
                      <a:pt x="587" y="200"/>
                    </a:lnTo>
                    <a:lnTo>
                      <a:pt x="585" y="200"/>
                    </a:lnTo>
                    <a:lnTo>
                      <a:pt x="583" y="200"/>
                    </a:lnTo>
                    <a:lnTo>
                      <a:pt x="582" y="200"/>
                    </a:lnTo>
                    <a:lnTo>
                      <a:pt x="580" y="200"/>
                    </a:lnTo>
                    <a:lnTo>
                      <a:pt x="579" y="200"/>
                    </a:lnTo>
                    <a:lnTo>
                      <a:pt x="577" y="200"/>
                    </a:lnTo>
                    <a:lnTo>
                      <a:pt x="575" y="202"/>
                    </a:lnTo>
                    <a:lnTo>
                      <a:pt x="574" y="202"/>
                    </a:lnTo>
                    <a:lnTo>
                      <a:pt x="574" y="203"/>
                    </a:lnTo>
                    <a:lnTo>
                      <a:pt x="572" y="203"/>
                    </a:lnTo>
                    <a:lnTo>
                      <a:pt x="572" y="205"/>
                    </a:lnTo>
                    <a:lnTo>
                      <a:pt x="572" y="206"/>
                    </a:lnTo>
                    <a:lnTo>
                      <a:pt x="571" y="206"/>
                    </a:lnTo>
                    <a:lnTo>
                      <a:pt x="571" y="208"/>
                    </a:lnTo>
                    <a:lnTo>
                      <a:pt x="571" y="209"/>
                    </a:lnTo>
                    <a:lnTo>
                      <a:pt x="569" y="209"/>
                    </a:lnTo>
                    <a:lnTo>
                      <a:pt x="569" y="211"/>
                    </a:lnTo>
                    <a:lnTo>
                      <a:pt x="568" y="211"/>
                    </a:lnTo>
                    <a:lnTo>
                      <a:pt x="568" y="213"/>
                    </a:lnTo>
                    <a:lnTo>
                      <a:pt x="566" y="213"/>
                    </a:lnTo>
                    <a:lnTo>
                      <a:pt x="564" y="213"/>
                    </a:lnTo>
                    <a:lnTo>
                      <a:pt x="564" y="214"/>
                    </a:lnTo>
                    <a:lnTo>
                      <a:pt x="563" y="214"/>
                    </a:lnTo>
                    <a:lnTo>
                      <a:pt x="561" y="214"/>
                    </a:lnTo>
                    <a:lnTo>
                      <a:pt x="561" y="216"/>
                    </a:lnTo>
                    <a:lnTo>
                      <a:pt x="560" y="216"/>
                    </a:lnTo>
                    <a:lnTo>
                      <a:pt x="558" y="217"/>
                    </a:lnTo>
                    <a:lnTo>
                      <a:pt x="556" y="217"/>
                    </a:lnTo>
                    <a:lnTo>
                      <a:pt x="556" y="219"/>
                    </a:lnTo>
                    <a:lnTo>
                      <a:pt x="555" y="219"/>
                    </a:lnTo>
                    <a:lnTo>
                      <a:pt x="555" y="221"/>
                    </a:lnTo>
                    <a:lnTo>
                      <a:pt x="553" y="221"/>
                    </a:lnTo>
                    <a:lnTo>
                      <a:pt x="552" y="221"/>
                    </a:lnTo>
                    <a:lnTo>
                      <a:pt x="552" y="222"/>
                    </a:lnTo>
                    <a:lnTo>
                      <a:pt x="550" y="222"/>
                    </a:lnTo>
                    <a:lnTo>
                      <a:pt x="549" y="222"/>
                    </a:lnTo>
                    <a:lnTo>
                      <a:pt x="549" y="224"/>
                    </a:lnTo>
                    <a:lnTo>
                      <a:pt x="547" y="224"/>
                    </a:lnTo>
                    <a:lnTo>
                      <a:pt x="545" y="225"/>
                    </a:lnTo>
                    <a:lnTo>
                      <a:pt x="544" y="225"/>
                    </a:lnTo>
                    <a:lnTo>
                      <a:pt x="544" y="227"/>
                    </a:lnTo>
                    <a:lnTo>
                      <a:pt x="542" y="229"/>
                    </a:lnTo>
                    <a:lnTo>
                      <a:pt x="541" y="230"/>
                    </a:lnTo>
                    <a:lnTo>
                      <a:pt x="541" y="232"/>
                    </a:lnTo>
                    <a:lnTo>
                      <a:pt x="539" y="232"/>
                    </a:lnTo>
                    <a:lnTo>
                      <a:pt x="539" y="233"/>
                    </a:lnTo>
                    <a:lnTo>
                      <a:pt x="537" y="235"/>
                    </a:lnTo>
                    <a:lnTo>
                      <a:pt x="536" y="236"/>
                    </a:lnTo>
                    <a:lnTo>
                      <a:pt x="534" y="238"/>
                    </a:lnTo>
                    <a:lnTo>
                      <a:pt x="533" y="240"/>
                    </a:lnTo>
                    <a:lnTo>
                      <a:pt x="531" y="241"/>
                    </a:lnTo>
                    <a:lnTo>
                      <a:pt x="530" y="243"/>
                    </a:lnTo>
                    <a:lnTo>
                      <a:pt x="528" y="244"/>
                    </a:lnTo>
                    <a:lnTo>
                      <a:pt x="526" y="244"/>
                    </a:lnTo>
                    <a:lnTo>
                      <a:pt x="526" y="246"/>
                    </a:lnTo>
                    <a:lnTo>
                      <a:pt x="525" y="246"/>
                    </a:lnTo>
                    <a:lnTo>
                      <a:pt x="525" y="248"/>
                    </a:lnTo>
                    <a:lnTo>
                      <a:pt x="523" y="248"/>
                    </a:lnTo>
                    <a:lnTo>
                      <a:pt x="522" y="249"/>
                    </a:lnTo>
                    <a:lnTo>
                      <a:pt x="520" y="249"/>
                    </a:lnTo>
                    <a:lnTo>
                      <a:pt x="518" y="249"/>
                    </a:lnTo>
                    <a:lnTo>
                      <a:pt x="518" y="251"/>
                    </a:lnTo>
                    <a:lnTo>
                      <a:pt x="517" y="251"/>
                    </a:lnTo>
                    <a:lnTo>
                      <a:pt x="517" y="252"/>
                    </a:lnTo>
                    <a:lnTo>
                      <a:pt x="515" y="252"/>
                    </a:lnTo>
                    <a:lnTo>
                      <a:pt x="515" y="254"/>
                    </a:lnTo>
                    <a:lnTo>
                      <a:pt x="514" y="254"/>
                    </a:lnTo>
                    <a:lnTo>
                      <a:pt x="512" y="257"/>
                    </a:lnTo>
                    <a:lnTo>
                      <a:pt x="511" y="257"/>
                    </a:lnTo>
                    <a:lnTo>
                      <a:pt x="509" y="259"/>
                    </a:lnTo>
                    <a:lnTo>
                      <a:pt x="507" y="259"/>
                    </a:lnTo>
                    <a:lnTo>
                      <a:pt x="507" y="260"/>
                    </a:lnTo>
                    <a:lnTo>
                      <a:pt x="506" y="260"/>
                    </a:lnTo>
                    <a:lnTo>
                      <a:pt x="504" y="260"/>
                    </a:lnTo>
                    <a:lnTo>
                      <a:pt x="504" y="262"/>
                    </a:lnTo>
                    <a:lnTo>
                      <a:pt x="503" y="262"/>
                    </a:lnTo>
                    <a:lnTo>
                      <a:pt x="501" y="262"/>
                    </a:lnTo>
                    <a:lnTo>
                      <a:pt x="499" y="262"/>
                    </a:lnTo>
                    <a:lnTo>
                      <a:pt x="498" y="262"/>
                    </a:lnTo>
                    <a:lnTo>
                      <a:pt x="496" y="262"/>
                    </a:lnTo>
                    <a:lnTo>
                      <a:pt x="495" y="263"/>
                    </a:lnTo>
                    <a:lnTo>
                      <a:pt x="493" y="263"/>
                    </a:lnTo>
                    <a:lnTo>
                      <a:pt x="493" y="265"/>
                    </a:lnTo>
                    <a:lnTo>
                      <a:pt x="491" y="265"/>
                    </a:lnTo>
                    <a:lnTo>
                      <a:pt x="491" y="267"/>
                    </a:lnTo>
                    <a:lnTo>
                      <a:pt x="490" y="267"/>
                    </a:lnTo>
                    <a:lnTo>
                      <a:pt x="490" y="268"/>
                    </a:lnTo>
                    <a:lnTo>
                      <a:pt x="488" y="268"/>
                    </a:lnTo>
                    <a:lnTo>
                      <a:pt x="488" y="270"/>
                    </a:lnTo>
                    <a:lnTo>
                      <a:pt x="487" y="270"/>
                    </a:lnTo>
                    <a:lnTo>
                      <a:pt x="487" y="271"/>
                    </a:lnTo>
                    <a:lnTo>
                      <a:pt x="485" y="271"/>
                    </a:lnTo>
                    <a:lnTo>
                      <a:pt x="485" y="273"/>
                    </a:lnTo>
                    <a:lnTo>
                      <a:pt x="485" y="274"/>
                    </a:lnTo>
                    <a:lnTo>
                      <a:pt x="485" y="276"/>
                    </a:lnTo>
                    <a:lnTo>
                      <a:pt x="487" y="276"/>
                    </a:lnTo>
                    <a:lnTo>
                      <a:pt x="487" y="278"/>
                    </a:lnTo>
                    <a:lnTo>
                      <a:pt x="487" y="279"/>
                    </a:lnTo>
                    <a:lnTo>
                      <a:pt x="487" y="281"/>
                    </a:lnTo>
                    <a:lnTo>
                      <a:pt x="485" y="282"/>
                    </a:lnTo>
                    <a:lnTo>
                      <a:pt x="484" y="284"/>
                    </a:lnTo>
                    <a:lnTo>
                      <a:pt x="482" y="286"/>
                    </a:lnTo>
                    <a:lnTo>
                      <a:pt x="480" y="286"/>
                    </a:lnTo>
                    <a:lnTo>
                      <a:pt x="479" y="286"/>
                    </a:lnTo>
                    <a:lnTo>
                      <a:pt x="477" y="286"/>
                    </a:lnTo>
                    <a:lnTo>
                      <a:pt x="477" y="287"/>
                    </a:lnTo>
                    <a:lnTo>
                      <a:pt x="476" y="287"/>
                    </a:lnTo>
                    <a:lnTo>
                      <a:pt x="474" y="289"/>
                    </a:lnTo>
                    <a:lnTo>
                      <a:pt x="472" y="289"/>
                    </a:lnTo>
                    <a:lnTo>
                      <a:pt x="472" y="290"/>
                    </a:lnTo>
                    <a:lnTo>
                      <a:pt x="471" y="290"/>
                    </a:lnTo>
                    <a:lnTo>
                      <a:pt x="471" y="292"/>
                    </a:lnTo>
                    <a:lnTo>
                      <a:pt x="469" y="293"/>
                    </a:lnTo>
                    <a:lnTo>
                      <a:pt x="469" y="295"/>
                    </a:lnTo>
                    <a:lnTo>
                      <a:pt x="468" y="297"/>
                    </a:lnTo>
                    <a:lnTo>
                      <a:pt x="466" y="298"/>
                    </a:lnTo>
                    <a:lnTo>
                      <a:pt x="465" y="298"/>
                    </a:lnTo>
                    <a:lnTo>
                      <a:pt x="463" y="298"/>
                    </a:lnTo>
                    <a:lnTo>
                      <a:pt x="461" y="298"/>
                    </a:lnTo>
                    <a:lnTo>
                      <a:pt x="461" y="300"/>
                    </a:lnTo>
                    <a:lnTo>
                      <a:pt x="460" y="300"/>
                    </a:lnTo>
                    <a:lnTo>
                      <a:pt x="458" y="300"/>
                    </a:lnTo>
                    <a:lnTo>
                      <a:pt x="457" y="300"/>
                    </a:lnTo>
                    <a:lnTo>
                      <a:pt x="455" y="300"/>
                    </a:lnTo>
                    <a:lnTo>
                      <a:pt x="453" y="301"/>
                    </a:lnTo>
                    <a:lnTo>
                      <a:pt x="452" y="301"/>
                    </a:lnTo>
                    <a:lnTo>
                      <a:pt x="450" y="301"/>
                    </a:lnTo>
                    <a:lnTo>
                      <a:pt x="449" y="301"/>
                    </a:lnTo>
                    <a:lnTo>
                      <a:pt x="447" y="301"/>
                    </a:lnTo>
                    <a:lnTo>
                      <a:pt x="447" y="303"/>
                    </a:lnTo>
                    <a:lnTo>
                      <a:pt x="446" y="303"/>
                    </a:lnTo>
                    <a:lnTo>
                      <a:pt x="444" y="303"/>
                    </a:lnTo>
                    <a:lnTo>
                      <a:pt x="444" y="305"/>
                    </a:lnTo>
                    <a:lnTo>
                      <a:pt x="442" y="305"/>
                    </a:lnTo>
                    <a:lnTo>
                      <a:pt x="441" y="306"/>
                    </a:lnTo>
                    <a:lnTo>
                      <a:pt x="439" y="306"/>
                    </a:lnTo>
                    <a:lnTo>
                      <a:pt x="439" y="308"/>
                    </a:lnTo>
                    <a:lnTo>
                      <a:pt x="438" y="309"/>
                    </a:lnTo>
                    <a:lnTo>
                      <a:pt x="436" y="309"/>
                    </a:lnTo>
                    <a:lnTo>
                      <a:pt x="436" y="311"/>
                    </a:lnTo>
                    <a:lnTo>
                      <a:pt x="434" y="311"/>
                    </a:lnTo>
                    <a:lnTo>
                      <a:pt x="433" y="312"/>
                    </a:lnTo>
                    <a:lnTo>
                      <a:pt x="431" y="312"/>
                    </a:lnTo>
                    <a:lnTo>
                      <a:pt x="430" y="312"/>
                    </a:lnTo>
                    <a:lnTo>
                      <a:pt x="428" y="312"/>
                    </a:lnTo>
                    <a:lnTo>
                      <a:pt x="428" y="314"/>
                    </a:lnTo>
                    <a:lnTo>
                      <a:pt x="428" y="316"/>
                    </a:lnTo>
                    <a:lnTo>
                      <a:pt x="430" y="316"/>
                    </a:lnTo>
                    <a:lnTo>
                      <a:pt x="431" y="317"/>
                    </a:lnTo>
                    <a:lnTo>
                      <a:pt x="433" y="319"/>
                    </a:lnTo>
                    <a:lnTo>
                      <a:pt x="433" y="322"/>
                    </a:lnTo>
                    <a:lnTo>
                      <a:pt x="434" y="322"/>
                    </a:lnTo>
                    <a:lnTo>
                      <a:pt x="436" y="324"/>
                    </a:lnTo>
                    <a:lnTo>
                      <a:pt x="438" y="325"/>
                    </a:lnTo>
                    <a:lnTo>
                      <a:pt x="439" y="325"/>
                    </a:lnTo>
                    <a:lnTo>
                      <a:pt x="439" y="327"/>
                    </a:lnTo>
                    <a:lnTo>
                      <a:pt x="441" y="327"/>
                    </a:lnTo>
                    <a:lnTo>
                      <a:pt x="441" y="328"/>
                    </a:lnTo>
                    <a:lnTo>
                      <a:pt x="441" y="330"/>
                    </a:lnTo>
                    <a:lnTo>
                      <a:pt x="441" y="331"/>
                    </a:lnTo>
                    <a:lnTo>
                      <a:pt x="442" y="333"/>
                    </a:lnTo>
                    <a:lnTo>
                      <a:pt x="444" y="333"/>
                    </a:lnTo>
                    <a:lnTo>
                      <a:pt x="446" y="333"/>
                    </a:lnTo>
                    <a:lnTo>
                      <a:pt x="447" y="333"/>
                    </a:lnTo>
                    <a:lnTo>
                      <a:pt x="449" y="333"/>
                    </a:lnTo>
                    <a:lnTo>
                      <a:pt x="450" y="335"/>
                    </a:lnTo>
                    <a:lnTo>
                      <a:pt x="450" y="336"/>
                    </a:lnTo>
                    <a:lnTo>
                      <a:pt x="450" y="338"/>
                    </a:lnTo>
                    <a:lnTo>
                      <a:pt x="450" y="339"/>
                    </a:lnTo>
                    <a:lnTo>
                      <a:pt x="452" y="341"/>
                    </a:lnTo>
                    <a:lnTo>
                      <a:pt x="450" y="343"/>
                    </a:lnTo>
                    <a:lnTo>
                      <a:pt x="450" y="344"/>
                    </a:lnTo>
                    <a:lnTo>
                      <a:pt x="449" y="344"/>
                    </a:lnTo>
                    <a:lnTo>
                      <a:pt x="449" y="346"/>
                    </a:lnTo>
                    <a:lnTo>
                      <a:pt x="450" y="347"/>
                    </a:lnTo>
                    <a:lnTo>
                      <a:pt x="449" y="347"/>
                    </a:lnTo>
                    <a:lnTo>
                      <a:pt x="449" y="346"/>
                    </a:lnTo>
                    <a:lnTo>
                      <a:pt x="447" y="347"/>
                    </a:lnTo>
                    <a:lnTo>
                      <a:pt x="449" y="347"/>
                    </a:lnTo>
                    <a:lnTo>
                      <a:pt x="449" y="349"/>
                    </a:lnTo>
                    <a:lnTo>
                      <a:pt x="449" y="350"/>
                    </a:lnTo>
                    <a:lnTo>
                      <a:pt x="447" y="350"/>
                    </a:lnTo>
                    <a:lnTo>
                      <a:pt x="447" y="352"/>
                    </a:lnTo>
                    <a:lnTo>
                      <a:pt x="449" y="352"/>
                    </a:lnTo>
                    <a:lnTo>
                      <a:pt x="449" y="354"/>
                    </a:lnTo>
                    <a:lnTo>
                      <a:pt x="449" y="355"/>
                    </a:lnTo>
                    <a:lnTo>
                      <a:pt x="449" y="357"/>
                    </a:lnTo>
                    <a:lnTo>
                      <a:pt x="447" y="357"/>
                    </a:lnTo>
                    <a:lnTo>
                      <a:pt x="447" y="358"/>
                    </a:lnTo>
                    <a:lnTo>
                      <a:pt x="447" y="360"/>
                    </a:lnTo>
                    <a:lnTo>
                      <a:pt x="447" y="362"/>
                    </a:lnTo>
                    <a:lnTo>
                      <a:pt x="449" y="362"/>
                    </a:lnTo>
                    <a:lnTo>
                      <a:pt x="450" y="362"/>
                    </a:lnTo>
                    <a:lnTo>
                      <a:pt x="452" y="363"/>
                    </a:lnTo>
                    <a:lnTo>
                      <a:pt x="452" y="365"/>
                    </a:lnTo>
                    <a:lnTo>
                      <a:pt x="452" y="366"/>
                    </a:lnTo>
                    <a:lnTo>
                      <a:pt x="453" y="366"/>
                    </a:lnTo>
                    <a:lnTo>
                      <a:pt x="455" y="366"/>
                    </a:lnTo>
                    <a:lnTo>
                      <a:pt x="453" y="368"/>
                    </a:lnTo>
                    <a:lnTo>
                      <a:pt x="455" y="368"/>
                    </a:lnTo>
                    <a:lnTo>
                      <a:pt x="457" y="368"/>
                    </a:lnTo>
                    <a:lnTo>
                      <a:pt x="457" y="369"/>
                    </a:lnTo>
                    <a:lnTo>
                      <a:pt x="458" y="369"/>
                    </a:lnTo>
                    <a:lnTo>
                      <a:pt x="458" y="371"/>
                    </a:lnTo>
                    <a:lnTo>
                      <a:pt x="458" y="373"/>
                    </a:lnTo>
                    <a:lnTo>
                      <a:pt x="457" y="374"/>
                    </a:lnTo>
                    <a:lnTo>
                      <a:pt x="458" y="374"/>
                    </a:lnTo>
                    <a:lnTo>
                      <a:pt x="460" y="374"/>
                    </a:lnTo>
                    <a:lnTo>
                      <a:pt x="460" y="376"/>
                    </a:lnTo>
                    <a:lnTo>
                      <a:pt x="461" y="376"/>
                    </a:lnTo>
                    <a:lnTo>
                      <a:pt x="461" y="377"/>
                    </a:lnTo>
                    <a:lnTo>
                      <a:pt x="463" y="377"/>
                    </a:lnTo>
                    <a:lnTo>
                      <a:pt x="461" y="379"/>
                    </a:lnTo>
                    <a:lnTo>
                      <a:pt x="463" y="379"/>
                    </a:lnTo>
                    <a:lnTo>
                      <a:pt x="463" y="381"/>
                    </a:lnTo>
                    <a:lnTo>
                      <a:pt x="463" y="382"/>
                    </a:lnTo>
                    <a:lnTo>
                      <a:pt x="465" y="382"/>
                    </a:lnTo>
                    <a:lnTo>
                      <a:pt x="465" y="381"/>
                    </a:lnTo>
                    <a:lnTo>
                      <a:pt x="465" y="382"/>
                    </a:lnTo>
                    <a:lnTo>
                      <a:pt x="465" y="384"/>
                    </a:lnTo>
                    <a:lnTo>
                      <a:pt x="466" y="385"/>
                    </a:lnTo>
                    <a:lnTo>
                      <a:pt x="465" y="385"/>
                    </a:lnTo>
                    <a:lnTo>
                      <a:pt x="465" y="387"/>
                    </a:lnTo>
                    <a:lnTo>
                      <a:pt x="465" y="388"/>
                    </a:lnTo>
                    <a:lnTo>
                      <a:pt x="465" y="390"/>
                    </a:lnTo>
                    <a:lnTo>
                      <a:pt x="465" y="392"/>
                    </a:lnTo>
                    <a:lnTo>
                      <a:pt x="463" y="393"/>
                    </a:lnTo>
                    <a:lnTo>
                      <a:pt x="461" y="393"/>
                    </a:lnTo>
                    <a:lnTo>
                      <a:pt x="461" y="395"/>
                    </a:lnTo>
                    <a:lnTo>
                      <a:pt x="461" y="396"/>
                    </a:lnTo>
                    <a:lnTo>
                      <a:pt x="460" y="396"/>
                    </a:lnTo>
                    <a:lnTo>
                      <a:pt x="460" y="398"/>
                    </a:lnTo>
                    <a:lnTo>
                      <a:pt x="460" y="400"/>
                    </a:lnTo>
                    <a:lnTo>
                      <a:pt x="460" y="401"/>
                    </a:lnTo>
                    <a:lnTo>
                      <a:pt x="461" y="401"/>
                    </a:lnTo>
                    <a:lnTo>
                      <a:pt x="461" y="404"/>
                    </a:lnTo>
                    <a:lnTo>
                      <a:pt x="460" y="404"/>
                    </a:lnTo>
                    <a:lnTo>
                      <a:pt x="458" y="404"/>
                    </a:lnTo>
                    <a:lnTo>
                      <a:pt x="458" y="406"/>
                    </a:lnTo>
                    <a:lnTo>
                      <a:pt x="457" y="408"/>
                    </a:lnTo>
                    <a:lnTo>
                      <a:pt x="457" y="409"/>
                    </a:lnTo>
                    <a:lnTo>
                      <a:pt x="455" y="411"/>
                    </a:lnTo>
                    <a:lnTo>
                      <a:pt x="455" y="412"/>
                    </a:lnTo>
                    <a:lnTo>
                      <a:pt x="453" y="414"/>
                    </a:lnTo>
                    <a:lnTo>
                      <a:pt x="455" y="414"/>
                    </a:lnTo>
                    <a:lnTo>
                      <a:pt x="453" y="415"/>
                    </a:lnTo>
                    <a:lnTo>
                      <a:pt x="452" y="417"/>
                    </a:lnTo>
                    <a:lnTo>
                      <a:pt x="450" y="419"/>
                    </a:lnTo>
                    <a:lnTo>
                      <a:pt x="450" y="420"/>
                    </a:lnTo>
                    <a:lnTo>
                      <a:pt x="449" y="422"/>
                    </a:lnTo>
                    <a:lnTo>
                      <a:pt x="447" y="422"/>
                    </a:lnTo>
                    <a:lnTo>
                      <a:pt x="446" y="423"/>
                    </a:lnTo>
                    <a:lnTo>
                      <a:pt x="446" y="425"/>
                    </a:lnTo>
                    <a:lnTo>
                      <a:pt x="444" y="425"/>
                    </a:lnTo>
                    <a:lnTo>
                      <a:pt x="442" y="427"/>
                    </a:lnTo>
                    <a:lnTo>
                      <a:pt x="442" y="428"/>
                    </a:lnTo>
                    <a:lnTo>
                      <a:pt x="442" y="430"/>
                    </a:lnTo>
                    <a:lnTo>
                      <a:pt x="441" y="430"/>
                    </a:lnTo>
                    <a:lnTo>
                      <a:pt x="441" y="431"/>
                    </a:lnTo>
                    <a:lnTo>
                      <a:pt x="441" y="433"/>
                    </a:lnTo>
                    <a:lnTo>
                      <a:pt x="441" y="434"/>
                    </a:lnTo>
                    <a:lnTo>
                      <a:pt x="439" y="433"/>
                    </a:lnTo>
                    <a:lnTo>
                      <a:pt x="438" y="433"/>
                    </a:lnTo>
                    <a:lnTo>
                      <a:pt x="438" y="434"/>
                    </a:lnTo>
                    <a:lnTo>
                      <a:pt x="438" y="436"/>
                    </a:lnTo>
                    <a:lnTo>
                      <a:pt x="439" y="438"/>
                    </a:lnTo>
                    <a:lnTo>
                      <a:pt x="438" y="438"/>
                    </a:lnTo>
                    <a:lnTo>
                      <a:pt x="436" y="438"/>
                    </a:lnTo>
                    <a:lnTo>
                      <a:pt x="436" y="439"/>
                    </a:lnTo>
                    <a:lnTo>
                      <a:pt x="438" y="439"/>
                    </a:lnTo>
                    <a:lnTo>
                      <a:pt x="438" y="441"/>
                    </a:lnTo>
                    <a:lnTo>
                      <a:pt x="438" y="442"/>
                    </a:lnTo>
                    <a:lnTo>
                      <a:pt x="436" y="442"/>
                    </a:lnTo>
                    <a:lnTo>
                      <a:pt x="434" y="444"/>
                    </a:lnTo>
                    <a:lnTo>
                      <a:pt x="433" y="444"/>
                    </a:lnTo>
                    <a:lnTo>
                      <a:pt x="433" y="442"/>
                    </a:lnTo>
                    <a:lnTo>
                      <a:pt x="431" y="444"/>
                    </a:lnTo>
                    <a:lnTo>
                      <a:pt x="433" y="444"/>
                    </a:lnTo>
                    <a:lnTo>
                      <a:pt x="433" y="446"/>
                    </a:lnTo>
                    <a:lnTo>
                      <a:pt x="433" y="447"/>
                    </a:lnTo>
                    <a:lnTo>
                      <a:pt x="433" y="449"/>
                    </a:lnTo>
                    <a:lnTo>
                      <a:pt x="431" y="449"/>
                    </a:lnTo>
                    <a:lnTo>
                      <a:pt x="431" y="450"/>
                    </a:lnTo>
                    <a:lnTo>
                      <a:pt x="433" y="450"/>
                    </a:lnTo>
                    <a:lnTo>
                      <a:pt x="433" y="452"/>
                    </a:lnTo>
                    <a:lnTo>
                      <a:pt x="431" y="452"/>
                    </a:lnTo>
                    <a:lnTo>
                      <a:pt x="430" y="452"/>
                    </a:lnTo>
                    <a:lnTo>
                      <a:pt x="430" y="453"/>
                    </a:lnTo>
                    <a:lnTo>
                      <a:pt x="428" y="453"/>
                    </a:lnTo>
                    <a:lnTo>
                      <a:pt x="428" y="452"/>
                    </a:lnTo>
                    <a:lnTo>
                      <a:pt x="427" y="452"/>
                    </a:lnTo>
                    <a:lnTo>
                      <a:pt x="425" y="452"/>
                    </a:lnTo>
                    <a:lnTo>
                      <a:pt x="423" y="452"/>
                    </a:lnTo>
                    <a:lnTo>
                      <a:pt x="423" y="450"/>
                    </a:lnTo>
                    <a:lnTo>
                      <a:pt x="422" y="450"/>
                    </a:lnTo>
                    <a:lnTo>
                      <a:pt x="420" y="450"/>
                    </a:lnTo>
                    <a:lnTo>
                      <a:pt x="422" y="449"/>
                    </a:lnTo>
                    <a:lnTo>
                      <a:pt x="422" y="447"/>
                    </a:lnTo>
                    <a:lnTo>
                      <a:pt x="420" y="447"/>
                    </a:lnTo>
                    <a:lnTo>
                      <a:pt x="420" y="449"/>
                    </a:lnTo>
                    <a:lnTo>
                      <a:pt x="420" y="450"/>
                    </a:lnTo>
                    <a:lnTo>
                      <a:pt x="419" y="450"/>
                    </a:lnTo>
                    <a:lnTo>
                      <a:pt x="417" y="450"/>
                    </a:lnTo>
                    <a:lnTo>
                      <a:pt x="417" y="452"/>
                    </a:lnTo>
                    <a:lnTo>
                      <a:pt x="415" y="453"/>
                    </a:lnTo>
                    <a:lnTo>
                      <a:pt x="414" y="453"/>
                    </a:lnTo>
                    <a:lnTo>
                      <a:pt x="412" y="452"/>
                    </a:lnTo>
                    <a:lnTo>
                      <a:pt x="412" y="450"/>
                    </a:lnTo>
                    <a:lnTo>
                      <a:pt x="411" y="452"/>
                    </a:lnTo>
                    <a:lnTo>
                      <a:pt x="409" y="452"/>
                    </a:lnTo>
                    <a:lnTo>
                      <a:pt x="409" y="453"/>
                    </a:lnTo>
                    <a:lnTo>
                      <a:pt x="408" y="453"/>
                    </a:lnTo>
                    <a:lnTo>
                      <a:pt x="406" y="455"/>
                    </a:lnTo>
                    <a:lnTo>
                      <a:pt x="406" y="453"/>
                    </a:lnTo>
                    <a:lnTo>
                      <a:pt x="404" y="453"/>
                    </a:lnTo>
                    <a:lnTo>
                      <a:pt x="404" y="452"/>
                    </a:lnTo>
                    <a:lnTo>
                      <a:pt x="403" y="453"/>
                    </a:lnTo>
                    <a:lnTo>
                      <a:pt x="401" y="453"/>
                    </a:lnTo>
                    <a:lnTo>
                      <a:pt x="400" y="453"/>
                    </a:lnTo>
                    <a:lnTo>
                      <a:pt x="400" y="455"/>
                    </a:lnTo>
                    <a:lnTo>
                      <a:pt x="398" y="455"/>
                    </a:lnTo>
                    <a:lnTo>
                      <a:pt x="396" y="455"/>
                    </a:lnTo>
                    <a:lnTo>
                      <a:pt x="396" y="457"/>
                    </a:lnTo>
                    <a:lnTo>
                      <a:pt x="396" y="458"/>
                    </a:lnTo>
                    <a:lnTo>
                      <a:pt x="395" y="458"/>
                    </a:lnTo>
                    <a:lnTo>
                      <a:pt x="395" y="460"/>
                    </a:lnTo>
                    <a:lnTo>
                      <a:pt x="396" y="461"/>
                    </a:lnTo>
                    <a:lnTo>
                      <a:pt x="398" y="461"/>
                    </a:lnTo>
                    <a:lnTo>
                      <a:pt x="396" y="463"/>
                    </a:lnTo>
                    <a:lnTo>
                      <a:pt x="396" y="465"/>
                    </a:lnTo>
                    <a:lnTo>
                      <a:pt x="395" y="465"/>
                    </a:lnTo>
                    <a:lnTo>
                      <a:pt x="395" y="466"/>
                    </a:lnTo>
                    <a:lnTo>
                      <a:pt x="395" y="468"/>
                    </a:lnTo>
                    <a:lnTo>
                      <a:pt x="395" y="469"/>
                    </a:lnTo>
                    <a:lnTo>
                      <a:pt x="393" y="469"/>
                    </a:lnTo>
                    <a:lnTo>
                      <a:pt x="393" y="471"/>
                    </a:lnTo>
                    <a:lnTo>
                      <a:pt x="393" y="472"/>
                    </a:lnTo>
                    <a:lnTo>
                      <a:pt x="393" y="474"/>
                    </a:lnTo>
                    <a:lnTo>
                      <a:pt x="392" y="472"/>
                    </a:lnTo>
                    <a:lnTo>
                      <a:pt x="392" y="471"/>
                    </a:lnTo>
                    <a:lnTo>
                      <a:pt x="390" y="472"/>
                    </a:lnTo>
                    <a:lnTo>
                      <a:pt x="390" y="474"/>
                    </a:lnTo>
                    <a:lnTo>
                      <a:pt x="390" y="476"/>
                    </a:lnTo>
                    <a:lnTo>
                      <a:pt x="390" y="477"/>
                    </a:lnTo>
                    <a:lnTo>
                      <a:pt x="390" y="479"/>
                    </a:lnTo>
                    <a:lnTo>
                      <a:pt x="389" y="479"/>
                    </a:lnTo>
                    <a:lnTo>
                      <a:pt x="389" y="480"/>
                    </a:lnTo>
                    <a:lnTo>
                      <a:pt x="390" y="480"/>
                    </a:lnTo>
                    <a:lnTo>
                      <a:pt x="390" y="482"/>
                    </a:lnTo>
                    <a:lnTo>
                      <a:pt x="390" y="484"/>
                    </a:lnTo>
                    <a:lnTo>
                      <a:pt x="392" y="484"/>
                    </a:lnTo>
                    <a:lnTo>
                      <a:pt x="393" y="484"/>
                    </a:lnTo>
                    <a:lnTo>
                      <a:pt x="393" y="482"/>
                    </a:lnTo>
                    <a:lnTo>
                      <a:pt x="393" y="480"/>
                    </a:lnTo>
                    <a:lnTo>
                      <a:pt x="393" y="479"/>
                    </a:lnTo>
                    <a:lnTo>
                      <a:pt x="393" y="480"/>
                    </a:lnTo>
                    <a:lnTo>
                      <a:pt x="393" y="482"/>
                    </a:lnTo>
                    <a:lnTo>
                      <a:pt x="395" y="482"/>
                    </a:lnTo>
                    <a:lnTo>
                      <a:pt x="395" y="484"/>
                    </a:lnTo>
                    <a:lnTo>
                      <a:pt x="395" y="485"/>
                    </a:lnTo>
                    <a:lnTo>
                      <a:pt x="395" y="487"/>
                    </a:lnTo>
                    <a:lnTo>
                      <a:pt x="393" y="487"/>
                    </a:lnTo>
                    <a:lnTo>
                      <a:pt x="393" y="488"/>
                    </a:lnTo>
                    <a:lnTo>
                      <a:pt x="392" y="488"/>
                    </a:lnTo>
                    <a:lnTo>
                      <a:pt x="392" y="490"/>
                    </a:lnTo>
                    <a:lnTo>
                      <a:pt x="390" y="488"/>
                    </a:lnTo>
                    <a:lnTo>
                      <a:pt x="389" y="488"/>
                    </a:lnTo>
                    <a:lnTo>
                      <a:pt x="387" y="488"/>
                    </a:lnTo>
                    <a:lnTo>
                      <a:pt x="385" y="490"/>
                    </a:lnTo>
                    <a:lnTo>
                      <a:pt x="387" y="491"/>
                    </a:lnTo>
                    <a:lnTo>
                      <a:pt x="385" y="493"/>
                    </a:lnTo>
                    <a:lnTo>
                      <a:pt x="384" y="493"/>
                    </a:lnTo>
                    <a:lnTo>
                      <a:pt x="384" y="491"/>
                    </a:lnTo>
                    <a:lnTo>
                      <a:pt x="382" y="491"/>
                    </a:lnTo>
                    <a:lnTo>
                      <a:pt x="381" y="493"/>
                    </a:lnTo>
                    <a:lnTo>
                      <a:pt x="379" y="495"/>
                    </a:lnTo>
                    <a:lnTo>
                      <a:pt x="377" y="496"/>
                    </a:lnTo>
                    <a:lnTo>
                      <a:pt x="377" y="498"/>
                    </a:lnTo>
                    <a:lnTo>
                      <a:pt x="376" y="498"/>
                    </a:lnTo>
                    <a:lnTo>
                      <a:pt x="376" y="499"/>
                    </a:lnTo>
                    <a:lnTo>
                      <a:pt x="374" y="499"/>
                    </a:lnTo>
                    <a:lnTo>
                      <a:pt x="374" y="501"/>
                    </a:lnTo>
                    <a:lnTo>
                      <a:pt x="373" y="501"/>
                    </a:lnTo>
                    <a:lnTo>
                      <a:pt x="373" y="503"/>
                    </a:lnTo>
                    <a:lnTo>
                      <a:pt x="371" y="504"/>
                    </a:lnTo>
                    <a:lnTo>
                      <a:pt x="370" y="506"/>
                    </a:lnTo>
                    <a:lnTo>
                      <a:pt x="368" y="506"/>
                    </a:lnTo>
                    <a:lnTo>
                      <a:pt x="366" y="506"/>
                    </a:lnTo>
                    <a:lnTo>
                      <a:pt x="365" y="506"/>
                    </a:lnTo>
                    <a:lnTo>
                      <a:pt x="363" y="506"/>
                    </a:lnTo>
                    <a:lnTo>
                      <a:pt x="362" y="506"/>
                    </a:lnTo>
                    <a:lnTo>
                      <a:pt x="360" y="506"/>
                    </a:lnTo>
                    <a:lnTo>
                      <a:pt x="358" y="507"/>
                    </a:lnTo>
                    <a:lnTo>
                      <a:pt x="358" y="509"/>
                    </a:lnTo>
                    <a:lnTo>
                      <a:pt x="357" y="509"/>
                    </a:lnTo>
                    <a:lnTo>
                      <a:pt x="357" y="510"/>
                    </a:lnTo>
                    <a:lnTo>
                      <a:pt x="355" y="510"/>
                    </a:lnTo>
                    <a:lnTo>
                      <a:pt x="355" y="512"/>
                    </a:lnTo>
                    <a:lnTo>
                      <a:pt x="354" y="512"/>
                    </a:lnTo>
                    <a:lnTo>
                      <a:pt x="352" y="512"/>
                    </a:lnTo>
                    <a:lnTo>
                      <a:pt x="352" y="514"/>
                    </a:lnTo>
                    <a:lnTo>
                      <a:pt x="351" y="514"/>
                    </a:lnTo>
                    <a:lnTo>
                      <a:pt x="349" y="514"/>
                    </a:lnTo>
                    <a:lnTo>
                      <a:pt x="347" y="514"/>
                    </a:lnTo>
                    <a:lnTo>
                      <a:pt x="347" y="515"/>
                    </a:lnTo>
                    <a:lnTo>
                      <a:pt x="346" y="517"/>
                    </a:lnTo>
                    <a:lnTo>
                      <a:pt x="344" y="517"/>
                    </a:lnTo>
                    <a:lnTo>
                      <a:pt x="343" y="517"/>
                    </a:lnTo>
                    <a:lnTo>
                      <a:pt x="343" y="518"/>
                    </a:lnTo>
                    <a:lnTo>
                      <a:pt x="341" y="518"/>
                    </a:lnTo>
                    <a:lnTo>
                      <a:pt x="339" y="520"/>
                    </a:lnTo>
                    <a:lnTo>
                      <a:pt x="338" y="520"/>
                    </a:lnTo>
                    <a:lnTo>
                      <a:pt x="338" y="522"/>
                    </a:lnTo>
                    <a:lnTo>
                      <a:pt x="338" y="523"/>
                    </a:lnTo>
                    <a:lnTo>
                      <a:pt x="339" y="523"/>
                    </a:lnTo>
                    <a:lnTo>
                      <a:pt x="339" y="525"/>
                    </a:lnTo>
                    <a:lnTo>
                      <a:pt x="338" y="525"/>
                    </a:lnTo>
                    <a:lnTo>
                      <a:pt x="336" y="525"/>
                    </a:lnTo>
                    <a:lnTo>
                      <a:pt x="335" y="525"/>
                    </a:lnTo>
                    <a:lnTo>
                      <a:pt x="335" y="526"/>
                    </a:lnTo>
                    <a:lnTo>
                      <a:pt x="335" y="528"/>
                    </a:lnTo>
                    <a:lnTo>
                      <a:pt x="333" y="529"/>
                    </a:lnTo>
                    <a:lnTo>
                      <a:pt x="333" y="531"/>
                    </a:lnTo>
                    <a:lnTo>
                      <a:pt x="332" y="531"/>
                    </a:lnTo>
                    <a:lnTo>
                      <a:pt x="330" y="533"/>
                    </a:lnTo>
                    <a:lnTo>
                      <a:pt x="330" y="531"/>
                    </a:lnTo>
                    <a:lnTo>
                      <a:pt x="328" y="531"/>
                    </a:lnTo>
                    <a:lnTo>
                      <a:pt x="327" y="531"/>
                    </a:lnTo>
                    <a:lnTo>
                      <a:pt x="325" y="531"/>
                    </a:lnTo>
                    <a:lnTo>
                      <a:pt x="325" y="529"/>
                    </a:lnTo>
                    <a:lnTo>
                      <a:pt x="324" y="529"/>
                    </a:lnTo>
                    <a:lnTo>
                      <a:pt x="324" y="531"/>
                    </a:lnTo>
                    <a:lnTo>
                      <a:pt x="322" y="531"/>
                    </a:lnTo>
                    <a:lnTo>
                      <a:pt x="322" y="533"/>
                    </a:lnTo>
                    <a:lnTo>
                      <a:pt x="320" y="534"/>
                    </a:lnTo>
                    <a:lnTo>
                      <a:pt x="320" y="536"/>
                    </a:lnTo>
                    <a:lnTo>
                      <a:pt x="320" y="537"/>
                    </a:lnTo>
                    <a:lnTo>
                      <a:pt x="320" y="539"/>
                    </a:lnTo>
                    <a:lnTo>
                      <a:pt x="319" y="541"/>
                    </a:lnTo>
                    <a:lnTo>
                      <a:pt x="317" y="541"/>
                    </a:lnTo>
                    <a:lnTo>
                      <a:pt x="317" y="542"/>
                    </a:lnTo>
                    <a:lnTo>
                      <a:pt x="317" y="544"/>
                    </a:lnTo>
                    <a:lnTo>
                      <a:pt x="317" y="545"/>
                    </a:lnTo>
                    <a:lnTo>
                      <a:pt x="317" y="547"/>
                    </a:lnTo>
                    <a:lnTo>
                      <a:pt x="316" y="547"/>
                    </a:lnTo>
                    <a:lnTo>
                      <a:pt x="314" y="548"/>
                    </a:lnTo>
                    <a:lnTo>
                      <a:pt x="312" y="548"/>
                    </a:lnTo>
                    <a:lnTo>
                      <a:pt x="312" y="550"/>
                    </a:lnTo>
                    <a:lnTo>
                      <a:pt x="311" y="550"/>
                    </a:lnTo>
                    <a:lnTo>
                      <a:pt x="309" y="550"/>
                    </a:lnTo>
                    <a:lnTo>
                      <a:pt x="308" y="552"/>
                    </a:lnTo>
                    <a:lnTo>
                      <a:pt x="306" y="552"/>
                    </a:lnTo>
                    <a:lnTo>
                      <a:pt x="305" y="553"/>
                    </a:lnTo>
                    <a:lnTo>
                      <a:pt x="303" y="553"/>
                    </a:lnTo>
                    <a:lnTo>
                      <a:pt x="301" y="552"/>
                    </a:lnTo>
                    <a:lnTo>
                      <a:pt x="300" y="552"/>
                    </a:lnTo>
                    <a:lnTo>
                      <a:pt x="298" y="552"/>
                    </a:lnTo>
                    <a:lnTo>
                      <a:pt x="298" y="553"/>
                    </a:lnTo>
                    <a:lnTo>
                      <a:pt x="297" y="553"/>
                    </a:lnTo>
                    <a:lnTo>
                      <a:pt x="297" y="555"/>
                    </a:lnTo>
                    <a:lnTo>
                      <a:pt x="297" y="556"/>
                    </a:lnTo>
                    <a:lnTo>
                      <a:pt x="297" y="558"/>
                    </a:lnTo>
                    <a:lnTo>
                      <a:pt x="295" y="558"/>
                    </a:lnTo>
                    <a:lnTo>
                      <a:pt x="293" y="560"/>
                    </a:lnTo>
                    <a:lnTo>
                      <a:pt x="292" y="560"/>
                    </a:lnTo>
                    <a:lnTo>
                      <a:pt x="292" y="561"/>
                    </a:lnTo>
                    <a:lnTo>
                      <a:pt x="290" y="561"/>
                    </a:lnTo>
                    <a:lnTo>
                      <a:pt x="289" y="561"/>
                    </a:lnTo>
                    <a:lnTo>
                      <a:pt x="287" y="561"/>
                    </a:lnTo>
                    <a:lnTo>
                      <a:pt x="286" y="560"/>
                    </a:lnTo>
                    <a:lnTo>
                      <a:pt x="284" y="560"/>
                    </a:lnTo>
                    <a:lnTo>
                      <a:pt x="282" y="560"/>
                    </a:lnTo>
                    <a:lnTo>
                      <a:pt x="281" y="561"/>
                    </a:lnTo>
                    <a:lnTo>
                      <a:pt x="279" y="561"/>
                    </a:lnTo>
                    <a:lnTo>
                      <a:pt x="278" y="561"/>
                    </a:lnTo>
                    <a:lnTo>
                      <a:pt x="278" y="560"/>
                    </a:lnTo>
                    <a:lnTo>
                      <a:pt x="276" y="560"/>
                    </a:lnTo>
                    <a:lnTo>
                      <a:pt x="276" y="561"/>
                    </a:lnTo>
                    <a:lnTo>
                      <a:pt x="274" y="561"/>
                    </a:lnTo>
                    <a:lnTo>
                      <a:pt x="273" y="560"/>
                    </a:lnTo>
                    <a:lnTo>
                      <a:pt x="271" y="558"/>
                    </a:lnTo>
                    <a:lnTo>
                      <a:pt x="270" y="558"/>
                    </a:lnTo>
                    <a:lnTo>
                      <a:pt x="268" y="558"/>
                    </a:lnTo>
                    <a:lnTo>
                      <a:pt x="267" y="558"/>
                    </a:lnTo>
                    <a:lnTo>
                      <a:pt x="267" y="560"/>
                    </a:lnTo>
                    <a:lnTo>
                      <a:pt x="265" y="561"/>
                    </a:lnTo>
                    <a:lnTo>
                      <a:pt x="265" y="560"/>
                    </a:lnTo>
                    <a:lnTo>
                      <a:pt x="263" y="558"/>
                    </a:lnTo>
                    <a:lnTo>
                      <a:pt x="262" y="558"/>
                    </a:lnTo>
                    <a:lnTo>
                      <a:pt x="260" y="560"/>
                    </a:lnTo>
                    <a:lnTo>
                      <a:pt x="259" y="560"/>
                    </a:lnTo>
                    <a:lnTo>
                      <a:pt x="257" y="561"/>
                    </a:lnTo>
                    <a:lnTo>
                      <a:pt x="257" y="560"/>
                    </a:lnTo>
                    <a:lnTo>
                      <a:pt x="255" y="560"/>
                    </a:lnTo>
                    <a:lnTo>
                      <a:pt x="254" y="560"/>
                    </a:lnTo>
                    <a:lnTo>
                      <a:pt x="252" y="560"/>
                    </a:lnTo>
                    <a:lnTo>
                      <a:pt x="251" y="560"/>
                    </a:lnTo>
                    <a:lnTo>
                      <a:pt x="249" y="560"/>
                    </a:lnTo>
                    <a:lnTo>
                      <a:pt x="249" y="558"/>
                    </a:lnTo>
                    <a:lnTo>
                      <a:pt x="248" y="556"/>
                    </a:lnTo>
                    <a:lnTo>
                      <a:pt x="251" y="556"/>
                    </a:lnTo>
                    <a:lnTo>
                      <a:pt x="252" y="556"/>
                    </a:lnTo>
                    <a:lnTo>
                      <a:pt x="251" y="555"/>
                    </a:lnTo>
                    <a:lnTo>
                      <a:pt x="248" y="553"/>
                    </a:lnTo>
                    <a:lnTo>
                      <a:pt x="248" y="552"/>
                    </a:lnTo>
                    <a:lnTo>
                      <a:pt x="249" y="548"/>
                    </a:lnTo>
                    <a:lnTo>
                      <a:pt x="255" y="544"/>
                    </a:lnTo>
                    <a:lnTo>
                      <a:pt x="257" y="541"/>
                    </a:lnTo>
                    <a:lnTo>
                      <a:pt x="257" y="539"/>
                    </a:lnTo>
                    <a:lnTo>
                      <a:pt x="255" y="537"/>
                    </a:lnTo>
                    <a:lnTo>
                      <a:pt x="254" y="536"/>
                    </a:lnTo>
                    <a:lnTo>
                      <a:pt x="254" y="534"/>
                    </a:lnTo>
                    <a:lnTo>
                      <a:pt x="255" y="533"/>
                    </a:lnTo>
                    <a:lnTo>
                      <a:pt x="255" y="531"/>
                    </a:lnTo>
                    <a:lnTo>
                      <a:pt x="252" y="529"/>
                    </a:lnTo>
                    <a:lnTo>
                      <a:pt x="249" y="531"/>
                    </a:lnTo>
                    <a:lnTo>
                      <a:pt x="248" y="523"/>
                    </a:lnTo>
                    <a:lnTo>
                      <a:pt x="246" y="522"/>
                    </a:lnTo>
                    <a:lnTo>
                      <a:pt x="246" y="515"/>
                    </a:lnTo>
                    <a:lnTo>
                      <a:pt x="246" y="514"/>
                    </a:lnTo>
                    <a:lnTo>
                      <a:pt x="248" y="512"/>
                    </a:lnTo>
                    <a:lnTo>
                      <a:pt x="249" y="501"/>
                    </a:lnTo>
                    <a:lnTo>
                      <a:pt x="251" y="499"/>
                    </a:lnTo>
                    <a:lnTo>
                      <a:pt x="252" y="493"/>
                    </a:lnTo>
                    <a:lnTo>
                      <a:pt x="251" y="493"/>
                    </a:lnTo>
                    <a:lnTo>
                      <a:pt x="255" y="487"/>
                    </a:lnTo>
                    <a:lnTo>
                      <a:pt x="254" y="487"/>
                    </a:lnTo>
                    <a:lnTo>
                      <a:pt x="255" y="484"/>
                    </a:lnTo>
                    <a:lnTo>
                      <a:pt x="255" y="482"/>
                    </a:lnTo>
                    <a:lnTo>
                      <a:pt x="254" y="476"/>
                    </a:lnTo>
                    <a:lnTo>
                      <a:pt x="254" y="472"/>
                    </a:lnTo>
                    <a:lnTo>
                      <a:pt x="251" y="469"/>
                    </a:lnTo>
                    <a:lnTo>
                      <a:pt x="249" y="463"/>
                    </a:lnTo>
                    <a:lnTo>
                      <a:pt x="251" y="457"/>
                    </a:lnTo>
                    <a:lnTo>
                      <a:pt x="251" y="455"/>
                    </a:lnTo>
                    <a:lnTo>
                      <a:pt x="251" y="449"/>
                    </a:lnTo>
                    <a:lnTo>
                      <a:pt x="249" y="444"/>
                    </a:lnTo>
                    <a:lnTo>
                      <a:pt x="248" y="441"/>
                    </a:lnTo>
                    <a:lnTo>
                      <a:pt x="246" y="438"/>
                    </a:lnTo>
                    <a:lnTo>
                      <a:pt x="244" y="434"/>
                    </a:lnTo>
                    <a:lnTo>
                      <a:pt x="243" y="430"/>
                    </a:lnTo>
                    <a:lnTo>
                      <a:pt x="241" y="427"/>
                    </a:lnTo>
                    <a:lnTo>
                      <a:pt x="240" y="425"/>
                    </a:lnTo>
                    <a:lnTo>
                      <a:pt x="243" y="422"/>
                    </a:lnTo>
                    <a:lnTo>
                      <a:pt x="243" y="420"/>
                    </a:lnTo>
                    <a:lnTo>
                      <a:pt x="243" y="415"/>
                    </a:lnTo>
                    <a:lnTo>
                      <a:pt x="241" y="414"/>
                    </a:lnTo>
                    <a:lnTo>
                      <a:pt x="241" y="412"/>
                    </a:lnTo>
                    <a:lnTo>
                      <a:pt x="244" y="408"/>
                    </a:lnTo>
                    <a:lnTo>
                      <a:pt x="243" y="408"/>
                    </a:lnTo>
                    <a:lnTo>
                      <a:pt x="244" y="406"/>
                    </a:lnTo>
                    <a:lnTo>
                      <a:pt x="244" y="404"/>
                    </a:lnTo>
                    <a:lnTo>
                      <a:pt x="244" y="403"/>
                    </a:lnTo>
                    <a:lnTo>
                      <a:pt x="243" y="401"/>
                    </a:lnTo>
                    <a:lnTo>
                      <a:pt x="240" y="392"/>
                    </a:lnTo>
                    <a:lnTo>
                      <a:pt x="236" y="387"/>
                    </a:lnTo>
                    <a:lnTo>
                      <a:pt x="235" y="385"/>
                    </a:lnTo>
                    <a:lnTo>
                      <a:pt x="235" y="382"/>
                    </a:lnTo>
                    <a:lnTo>
                      <a:pt x="233" y="379"/>
                    </a:lnTo>
                    <a:lnTo>
                      <a:pt x="230" y="377"/>
                    </a:lnTo>
                    <a:lnTo>
                      <a:pt x="229" y="376"/>
                    </a:lnTo>
                    <a:lnTo>
                      <a:pt x="225" y="374"/>
                    </a:lnTo>
                    <a:lnTo>
                      <a:pt x="222" y="371"/>
                    </a:lnTo>
                    <a:lnTo>
                      <a:pt x="219" y="368"/>
                    </a:lnTo>
                    <a:lnTo>
                      <a:pt x="217" y="365"/>
                    </a:lnTo>
                    <a:lnTo>
                      <a:pt x="210" y="355"/>
                    </a:lnTo>
                    <a:lnTo>
                      <a:pt x="198" y="344"/>
                    </a:lnTo>
                    <a:lnTo>
                      <a:pt x="198" y="343"/>
                    </a:lnTo>
                    <a:lnTo>
                      <a:pt x="187" y="328"/>
                    </a:lnTo>
                    <a:lnTo>
                      <a:pt x="181" y="324"/>
                    </a:lnTo>
                    <a:lnTo>
                      <a:pt x="181" y="322"/>
                    </a:lnTo>
                    <a:lnTo>
                      <a:pt x="179" y="320"/>
                    </a:lnTo>
                    <a:lnTo>
                      <a:pt x="178" y="317"/>
                    </a:lnTo>
                    <a:lnTo>
                      <a:pt x="176" y="312"/>
                    </a:lnTo>
                    <a:lnTo>
                      <a:pt x="175" y="311"/>
                    </a:lnTo>
                    <a:lnTo>
                      <a:pt x="173" y="308"/>
                    </a:lnTo>
                    <a:lnTo>
                      <a:pt x="170" y="303"/>
                    </a:lnTo>
                    <a:lnTo>
                      <a:pt x="157" y="293"/>
                    </a:lnTo>
                    <a:lnTo>
                      <a:pt x="156" y="290"/>
                    </a:lnTo>
                    <a:lnTo>
                      <a:pt x="151" y="286"/>
                    </a:lnTo>
                    <a:lnTo>
                      <a:pt x="149" y="284"/>
                    </a:lnTo>
                    <a:lnTo>
                      <a:pt x="148" y="281"/>
                    </a:lnTo>
                    <a:lnTo>
                      <a:pt x="137" y="271"/>
                    </a:lnTo>
                    <a:lnTo>
                      <a:pt x="134" y="270"/>
                    </a:lnTo>
                    <a:lnTo>
                      <a:pt x="127" y="262"/>
                    </a:lnTo>
                    <a:lnTo>
                      <a:pt x="124" y="260"/>
                    </a:lnTo>
                    <a:lnTo>
                      <a:pt x="121" y="257"/>
                    </a:lnTo>
                    <a:lnTo>
                      <a:pt x="116" y="254"/>
                    </a:lnTo>
                    <a:lnTo>
                      <a:pt x="114" y="252"/>
                    </a:lnTo>
                    <a:lnTo>
                      <a:pt x="114" y="251"/>
                    </a:lnTo>
                    <a:lnTo>
                      <a:pt x="113" y="251"/>
                    </a:lnTo>
                    <a:lnTo>
                      <a:pt x="107" y="243"/>
                    </a:lnTo>
                    <a:lnTo>
                      <a:pt x="103" y="241"/>
                    </a:lnTo>
                    <a:lnTo>
                      <a:pt x="100" y="238"/>
                    </a:lnTo>
                    <a:lnTo>
                      <a:pt x="94" y="233"/>
                    </a:lnTo>
                    <a:lnTo>
                      <a:pt x="95" y="233"/>
                    </a:lnTo>
                    <a:lnTo>
                      <a:pt x="97" y="232"/>
                    </a:lnTo>
                    <a:lnTo>
                      <a:pt x="99" y="229"/>
                    </a:lnTo>
                    <a:lnTo>
                      <a:pt x="100" y="225"/>
                    </a:lnTo>
                    <a:lnTo>
                      <a:pt x="100" y="224"/>
                    </a:lnTo>
                    <a:lnTo>
                      <a:pt x="99" y="224"/>
                    </a:lnTo>
                    <a:lnTo>
                      <a:pt x="99" y="222"/>
                    </a:lnTo>
                    <a:lnTo>
                      <a:pt x="99" y="221"/>
                    </a:lnTo>
                    <a:lnTo>
                      <a:pt x="99" y="219"/>
                    </a:lnTo>
                    <a:lnTo>
                      <a:pt x="97" y="219"/>
                    </a:lnTo>
                    <a:lnTo>
                      <a:pt x="95" y="219"/>
                    </a:lnTo>
                    <a:lnTo>
                      <a:pt x="95" y="217"/>
                    </a:lnTo>
                    <a:lnTo>
                      <a:pt x="94" y="216"/>
                    </a:lnTo>
                    <a:lnTo>
                      <a:pt x="92" y="216"/>
                    </a:lnTo>
                    <a:lnTo>
                      <a:pt x="92" y="214"/>
                    </a:lnTo>
                    <a:lnTo>
                      <a:pt x="92" y="213"/>
                    </a:lnTo>
                    <a:lnTo>
                      <a:pt x="91" y="213"/>
                    </a:lnTo>
                    <a:lnTo>
                      <a:pt x="91" y="211"/>
                    </a:lnTo>
                    <a:lnTo>
                      <a:pt x="89" y="211"/>
                    </a:lnTo>
                    <a:lnTo>
                      <a:pt x="89" y="209"/>
                    </a:lnTo>
                    <a:lnTo>
                      <a:pt x="88" y="209"/>
                    </a:lnTo>
                    <a:lnTo>
                      <a:pt x="88" y="208"/>
                    </a:lnTo>
                    <a:lnTo>
                      <a:pt x="88" y="206"/>
                    </a:lnTo>
                    <a:lnTo>
                      <a:pt x="86" y="206"/>
                    </a:lnTo>
                    <a:lnTo>
                      <a:pt x="84" y="205"/>
                    </a:lnTo>
                    <a:lnTo>
                      <a:pt x="83" y="203"/>
                    </a:lnTo>
                    <a:lnTo>
                      <a:pt x="81" y="203"/>
                    </a:lnTo>
                    <a:lnTo>
                      <a:pt x="81" y="202"/>
                    </a:lnTo>
                    <a:lnTo>
                      <a:pt x="80" y="203"/>
                    </a:lnTo>
                    <a:lnTo>
                      <a:pt x="78" y="203"/>
                    </a:lnTo>
                    <a:lnTo>
                      <a:pt x="76" y="202"/>
                    </a:lnTo>
                    <a:lnTo>
                      <a:pt x="75" y="203"/>
                    </a:lnTo>
                    <a:lnTo>
                      <a:pt x="73" y="203"/>
                    </a:lnTo>
                    <a:lnTo>
                      <a:pt x="72" y="203"/>
                    </a:lnTo>
                    <a:lnTo>
                      <a:pt x="72" y="202"/>
                    </a:lnTo>
                    <a:lnTo>
                      <a:pt x="72" y="200"/>
                    </a:lnTo>
                    <a:lnTo>
                      <a:pt x="70" y="200"/>
                    </a:lnTo>
                    <a:lnTo>
                      <a:pt x="69" y="198"/>
                    </a:lnTo>
                    <a:lnTo>
                      <a:pt x="69" y="197"/>
                    </a:lnTo>
                    <a:lnTo>
                      <a:pt x="67" y="195"/>
                    </a:lnTo>
                    <a:lnTo>
                      <a:pt x="67" y="194"/>
                    </a:lnTo>
                    <a:lnTo>
                      <a:pt x="65" y="194"/>
                    </a:lnTo>
                    <a:lnTo>
                      <a:pt x="65" y="192"/>
                    </a:lnTo>
                    <a:lnTo>
                      <a:pt x="64" y="192"/>
                    </a:lnTo>
                    <a:lnTo>
                      <a:pt x="64" y="190"/>
                    </a:lnTo>
                    <a:lnTo>
                      <a:pt x="62" y="189"/>
                    </a:lnTo>
                    <a:lnTo>
                      <a:pt x="62" y="187"/>
                    </a:lnTo>
                    <a:lnTo>
                      <a:pt x="61" y="187"/>
                    </a:lnTo>
                    <a:lnTo>
                      <a:pt x="59" y="186"/>
                    </a:lnTo>
                    <a:lnTo>
                      <a:pt x="57" y="186"/>
                    </a:lnTo>
                    <a:lnTo>
                      <a:pt x="56" y="184"/>
                    </a:lnTo>
                    <a:lnTo>
                      <a:pt x="56" y="183"/>
                    </a:lnTo>
                    <a:lnTo>
                      <a:pt x="56" y="181"/>
                    </a:lnTo>
                    <a:lnTo>
                      <a:pt x="54" y="181"/>
                    </a:lnTo>
                    <a:lnTo>
                      <a:pt x="54" y="179"/>
                    </a:lnTo>
                    <a:lnTo>
                      <a:pt x="54" y="178"/>
                    </a:lnTo>
                    <a:lnTo>
                      <a:pt x="53" y="176"/>
                    </a:lnTo>
                    <a:lnTo>
                      <a:pt x="53" y="175"/>
                    </a:lnTo>
                    <a:lnTo>
                      <a:pt x="51" y="173"/>
                    </a:lnTo>
                    <a:lnTo>
                      <a:pt x="51" y="171"/>
                    </a:lnTo>
                    <a:lnTo>
                      <a:pt x="50" y="170"/>
                    </a:lnTo>
                    <a:lnTo>
                      <a:pt x="50" y="168"/>
                    </a:lnTo>
                    <a:lnTo>
                      <a:pt x="48" y="167"/>
                    </a:lnTo>
                    <a:lnTo>
                      <a:pt x="48" y="165"/>
                    </a:lnTo>
                    <a:lnTo>
                      <a:pt x="46" y="164"/>
                    </a:lnTo>
                    <a:lnTo>
                      <a:pt x="46" y="162"/>
                    </a:lnTo>
                    <a:lnTo>
                      <a:pt x="45" y="162"/>
                    </a:lnTo>
                    <a:lnTo>
                      <a:pt x="45" y="160"/>
                    </a:lnTo>
                    <a:lnTo>
                      <a:pt x="45" y="159"/>
                    </a:lnTo>
                    <a:lnTo>
                      <a:pt x="43" y="159"/>
                    </a:lnTo>
                    <a:lnTo>
                      <a:pt x="43" y="157"/>
                    </a:lnTo>
                    <a:lnTo>
                      <a:pt x="42" y="156"/>
                    </a:lnTo>
                    <a:lnTo>
                      <a:pt x="42" y="154"/>
                    </a:lnTo>
                    <a:lnTo>
                      <a:pt x="40" y="152"/>
                    </a:lnTo>
                    <a:lnTo>
                      <a:pt x="40" y="151"/>
                    </a:lnTo>
                    <a:lnTo>
                      <a:pt x="38" y="149"/>
                    </a:lnTo>
                    <a:lnTo>
                      <a:pt x="38" y="148"/>
                    </a:lnTo>
                    <a:lnTo>
                      <a:pt x="37" y="148"/>
                    </a:lnTo>
                    <a:lnTo>
                      <a:pt x="37" y="146"/>
                    </a:lnTo>
                    <a:lnTo>
                      <a:pt x="35" y="146"/>
                    </a:lnTo>
                    <a:lnTo>
                      <a:pt x="35" y="145"/>
                    </a:lnTo>
                    <a:lnTo>
                      <a:pt x="34" y="145"/>
                    </a:lnTo>
                    <a:lnTo>
                      <a:pt x="34" y="143"/>
                    </a:lnTo>
                    <a:lnTo>
                      <a:pt x="32" y="141"/>
                    </a:lnTo>
                    <a:lnTo>
                      <a:pt x="32" y="140"/>
                    </a:lnTo>
                    <a:lnTo>
                      <a:pt x="34" y="138"/>
                    </a:lnTo>
                    <a:lnTo>
                      <a:pt x="35" y="137"/>
                    </a:lnTo>
                    <a:lnTo>
                      <a:pt x="37" y="135"/>
                    </a:lnTo>
                    <a:lnTo>
                      <a:pt x="37" y="133"/>
                    </a:lnTo>
                    <a:lnTo>
                      <a:pt x="35" y="132"/>
                    </a:lnTo>
                    <a:lnTo>
                      <a:pt x="34" y="132"/>
                    </a:lnTo>
                    <a:lnTo>
                      <a:pt x="34" y="133"/>
                    </a:lnTo>
                    <a:lnTo>
                      <a:pt x="32" y="133"/>
                    </a:lnTo>
                    <a:lnTo>
                      <a:pt x="31" y="133"/>
                    </a:lnTo>
                    <a:lnTo>
                      <a:pt x="29" y="135"/>
                    </a:lnTo>
                    <a:lnTo>
                      <a:pt x="27" y="135"/>
                    </a:lnTo>
                    <a:lnTo>
                      <a:pt x="26" y="135"/>
                    </a:lnTo>
                    <a:lnTo>
                      <a:pt x="24" y="135"/>
                    </a:lnTo>
                    <a:lnTo>
                      <a:pt x="23" y="133"/>
                    </a:lnTo>
                    <a:lnTo>
                      <a:pt x="23" y="132"/>
                    </a:lnTo>
                    <a:lnTo>
                      <a:pt x="21" y="130"/>
                    </a:lnTo>
                    <a:lnTo>
                      <a:pt x="19" y="129"/>
                    </a:lnTo>
                    <a:lnTo>
                      <a:pt x="18" y="127"/>
                    </a:lnTo>
                    <a:lnTo>
                      <a:pt x="18" y="126"/>
                    </a:lnTo>
                    <a:lnTo>
                      <a:pt x="19" y="124"/>
                    </a:lnTo>
                    <a:lnTo>
                      <a:pt x="21" y="124"/>
                    </a:lnTo>
                    <a:lnTo>
                      <a:pt x="23" y="124"/>
                    </a:lnTo>
                    <a:lnTo>
                      <a:pt x="24" y="124"/>
                    </a:lnTo>
                    <a:lnTo>
                      <a:pt x="26" y="124"/>
                    </a:lnTo>
                    <a:lnTo>
                      <a:pt x="27" y="124"/>
                    </a:lnTo>
                    <a:lnTo>
                      <a:pt x="29" y="124"/>
                    </a:lnTo>
                    <a:lnTo>
                      <a:pt x="29" y="122"/>
                    </a:lnTo>
                    <a:lnTo>
                      <a:pt x="31" y="122"/>
                    </a:lnTo>
                    <a:lnTo>
                      <a:pt x="29" y="122"/>
                    </a:lnTo>
                    <a:lnTo>
                      <a:pt x="29" y="121"/>
                    </a:lnTo>
                    <a:lnTo>
                      <a:pt x="29" y="119"/>
                    </a:lnTo>
                    <a:lnTo>
                      <a:pt x="27" y="119"/>
                    </a:lnTo>
                    <a:lnTo>
                      <a:pt x="27" y="118"/>
                    </a:lnTo>
                    <a:lnTo>
                      <a:pt x="27" y="116"/>
                    </a:lnTo>
                    <a:lnTo>
                      <a:pt x="26" y="116"/>
                    </a:lnTo>
                    <a:lnTo>
                      <a:pt x="26" y="114"/>
                    </a:lnTo>
                    <a:lnTo>
                      <a:pt x="26" y="113"/>
                    </a:lnTo>
                    <a:lnTo>
                      <a:pt x="27" y="111"/>
                    </a:lnTo>
                    <a:lnTo>
                      <a:pt x="27" y="110"/>
                    </a:lnTo>
                    <a:lnTo>
                      <a:pt x="26" y="108"/>
                    </a:lnTo>
                    <a:lnTo>
                      <a:pt x="26" y="107"/>
                    </a:lnTo>
                    <a:lnTo>
                      <a:pt x="24" y="107"/>
                    </a:lnTo>
                    <a:lnTo>
                      <a:pt x="24" y="105"/>
                    </a:lnTo>
                    <a:lnTo>
                      <a:pt x="23" y="103"/>
                    </a:lnTo>
                    <a:lnTo>
                      <a:pt x="23" y="102"/>
                    </a:lnTo>
                    <a:lnTo>
                      <a:pt x="21" y="102"/>
                    </a:lnTo>
                    <a:lnTo>
                      <a:pt x="21" y="100"/>
                    </a:lnTo>
                    <a:lnTo>
                      <a:pt x="21" y="99"/>
                    </a:lnTo>
                    <a:lnTo>
                      <a:pt x="19" y="97"/>
                    </a:lnTo>
                    <a:lnTo>
                      <a:pt x="19" y="95"/>
                    </a:lnTo>
                    <a:lnTo>
                      <a:pt x="18" y="95"/>
                    </a:lnTo>
                    <a:lnTo>
                      <a:pt x="18" y="94"/>
                    </a:lnTo>
                    <a:lnTo>
                      <a:pt x="18" y="92"/>
                    </a:lnTo>
                    <a:lnTo>
                      <a:pt x="16" y="92"/>
                    </a:lnTo>
                    <a:lnTo>
                      <a:pt x="15" y="91"/>
                    </a:lnTo>
                    <a:lnTo>
                      <a:pt x="15" y="89"/>
                    </a:lnTo>
                    <a:lnTo>
                      <a:pt x="13" y="89"/>
                    </a:lnTo>
                    <a:lnTo>
                      <a:pt x="13" y="88"/>
                    </a:lnTo>
                    <a:lnTo>
                      <a:pt x="12" y="88"/>
                    </a:lnTo>
                    <a:lnTo>
                      <a:pt x="12" y="86"/>
                    </a:lnTo>
                    <a:lnTo>
                      <a:pt x="10" y="86"/>
                    </a:lnTo>
                    <a:lnTo>
                      <a:pt x="10" y="84"/>
                    </a:lnTo>
                    <a:lnTo>
                      <a:pt x="8" y="84"/>
                    </a:lnTo>
                    <a:lnTo>
                      <a:pt x="8" y="83"/>
                    </a:lnTo>
                    <a:lnTo>
                      <a:pt x="7" y="83"/>
                    </a:lnTo>
                    <a:lnTo>
                      <a:pt x="7" y="81"/>
                    </a:lnTo>
                    <a:lnTo>
                      <a:pt x="5" y="81"/>
                    </a:lnTo>
                    <a:lnTo>
                      <a:pt x="5" y="80"/>
                    </a:lnTo>
                    <a:lnTo>
                      <a:pt x="4" y="80"/>
                    </a:lnTo>
                    <a:lnTo>
                      <a:pt x="4" y="78"/>
                    </a:lnTo>
                    <a:lnTo>
                      <a:pt x="2" y="78"/>
                    </a:lnTo>
                    <a:lnTo>
                      <a:pt x="2" y="76"/>
                    </a:lnTo>
                    <a:lnTo>
                      <a:pt x="2" y="75"/>
                    </a:lnTo>
                    <a:lnTo>
                      <a:pt x="2" y="73"/>
                    </a:lnTo>
                    <a:lnTo>
                      <a:pt x="0" y="73"/>
                    </a:lnTo>
                    <a:lnTo>
                      <a:pt x="0" y="72"/>
                    </a:lnTo>
                    <a:lnTo>
                      <a:pt x="2" y="72"/>
                    </a:lnTo>
                    <a:lnTo>
                      <a:pt x="0" y="70"/>
                    </a:lnTo>
                    <a:lnTo>
                      <a:pt x="2" y="70"/>
                    </a:lnTo>
                    <a:lnTo>
                      <a:pt x="2" y="69"/>
                    </a:lnTo>
                    <a:lnTo>
                      <a:pt x="2" y="67"/>
                    </a:lnTo>
                    <a:lnTo>
                      <a:pt x="2" y="65"/>
                    </a:lnTo>
                    <a:lnTo>
                      <a:pt x="4" y="65"/>
                    </a:lnTo>
                    <a:lnTo>
                      <a:pt x="4" y="64"/>
                    </a:lnTo>
                    <a:lnTo>
                      <a:pt x="5" y="62"/>
                    </a:lnTo>
                    <a:lnTo>
                      <a:pt x="5" y="61"/>
                    </a:lnTo>
                    <a:lnTo>
                      <a:pt x="5" y="59"/>
                    </a:lnTo>
                    <a:lnTo>
                      <a:pt x="7" y="59"/>
                    </a:lnTo>
                    <a:lnTo>
                      <a:pt x="7" y="57"/>
                    </a:lnTo>
                    <a:lnTo>
                      <a:pt x="7" y="56"/>
                    </a:lnTo>
                    <a:lnTo>
                      <a:pt x="8" y="56"/>
                    </a:lnTo>
                    <a:lnTo>
                      <a:pt x="8" y="54"/>
                    </a:lnTo>
                    <a:lnTo>
                      <a:pt x="8" y="53"/>
                    </a:lnTo>
                    <a:lnTo>
                      <a:pt x="8" y="51"/>
                    </a:lnTo>
                    <a:lnTo>
                      <a:pt x="10" y="50"/>
                    </a:lnTo>
                    <a:lnTo>
                      <a:pt x="12" y="50"/>
                    </a:lnTo>
                    <a:lnTo>
                      <a:pt x="13" y="48"/>
                    </a:lnTo>
                    <a:lnTo>
                      <a:pt x="13" y="46"/>
                    </a:lnTo>
                    <a:lnTo>
                      <a:pt x="15" y="46"/>
                    </a:lnTo>
                    <a:lnTo>
                      <a:pt x="16" y="45"/>
                    </a:lnTo>
                    <a:lnTo>
                      <a:pt x="16" y="43"/>
                    </a:lnTo>
                    <a:lnTo>
                      <a:pt x="18" y="42"/>
                    </a:lnTo>
                    <a:lnTo>
                      <a:pt x="19" y="42"/>
                    </a:lnTo>
                    <a:lnTo>
                      <a:pt x="19" y="40"/>
                    </a:lnTo>
                    <a:lnTo>
                      <a:pt x="21" y="38"/>
                    </a:lnTo>
                    <a:lnTo>
                      <a:pt x="21" y="37"/>
                    </a:lnTo>
                    <a:lnTo>
                      <a:pt x="21" y="35"/>
                    </a:lnTo>
                    <a:lnTo>
                      <a:pt x="21" y="34"/>
                    </a:lnTo>
                    <a:lnTo>
                      <a:pt x="21" y="32"/>
                    </a:lnTo>
                    <a:lnTo>
                      <a:pt x="23" y="32"/>
                    </a:lnTo>
                    <a:lnTo>
                      <a:pt x="23" y="31"/>
                    </a:lnTo>
                    <a:lnTo>
                      <a:pt x="24" y="31"/>
                    </a:lnTo>
                    <a:lnTo>
                      <a:pt x="24" y="29"/>
                    </a:lnTo>
                    <a:lnTo>
                      <a:pt x="26" y="29"/>
                    </a:lnTo>
                    <a:lnTo>
                      <a:pt x="26" y="27"/>
                    </a:lnTo>
                    <a:lnTo>
                      <a:pt x="27" y="27"/>
                    </a:lnTo>
                    <a:lnTo>
                      <a:pt x="29" y="26"/>
                    </a:lnTo>
                    <a:lnTo>
                      <a:pt x="31" y="26"/>
                    </a:lnTo>
                    <a:lnTo>
                      <a:pt x="31" y="24"/>
                    </a:lnTo>
                    <a:lnTo>
                      <a:pt x="32" y="24"/>
                    </a:lnTo>
                    <a:lnTo>
                      <a:pt x="34" y="23"/>
                    </a:lnTo>
                    <a:lnTo>
                      <a:pt x="35" y="23"/>
                    </a:lnTo>
                    <a:lnTo>
                      <a:pt x="35" y="21"/>
                    </a:lnTo>
                    <a:lnTo>
                      <a:pt x="37" y="21"/>
                    </a:lnTo>
                    <a:lnTo>
                      <a:pt x="38" y="21"/>
                    </a:lnTo>
                    <a:lnTo>
                      <a:pt x="40" y="19"/>
                    </a:lnTo>
                    <a:lnTo>
                      <a:pt x="42" y="19"/>
                    </a:lnTo>
                    <a:lnTo>
                      <a:pt x="43" y="19"/>
                    </a:lnTo>
                    <a:lnTo>
                      <a:pt x="45" y="19"/>
                    </a:lnTo>
                    <a:lnTo>
                      <a:pt x="46" y="19"/>
                    </a:lnTo>
                    <a:lnTo>
                      <a:pt x="46" y="18"/>
                    </a:lnTo>
                    <a:lnTo>
                      <a:pt x="48" y="18"/>
                    </a:lnTo>
                    <a:lnTo>
                      <a:pt x="50" y="18"/>
                    </a:lnTo>
                    <a:lnTo>
                      <a:pt x="51" y="18"/>
                    </a:lnTo>
                    <a:lnTo>
                      <a:pt x="53" y="18"/>
                    </a:lnTo>
                    <a:lnTo>
                      <a:pt x="53" y="19"/>
                    </a:lnTo>
                    <a:lnTo>
                      <a:pt x="54" y="19"/>
                    </a:lnTo>
                    <a:lnTo>
                      <a:pt x="56" y="19"/>
                    </a:lnTo>
                    <a:lnTo>
                      <a:pt x="57" y="19"/>
                    </a:lnTo>
                    <a:lnTo>
                      <a:pt x="59" y="19"/>
                    </a:lnTo>
                    <a:lnTo>
                      <a:pt x="61" y="19"/>
                    </a:lnTo>
                    <a:lnTo>
                      <a:pt x="62" y="19"/>
                    </a:lnTo>
                    <a:lnTo>
                      <a:pt x="62" y="21"/>
                    </a:lnTo>
                    <a:lnTo>
                      <a:pt x="64" y="21"/>
                    </a:lnTo>
                    <a:lnTo>
                      <a:pt x="65" y="21"/>
                    </a:lnTo>
                    <a:lnTo>
                      <a:pt x="65" y="23"/>
                    </a:lnTo>
                    <a:lnTo>
                      <a:pt x="67" y="23"/>
                    </a:lnTo>
                    <a:lnTo>
                      <a:pt x="69" y="23"/>
                    </a:lnTo>
                    <a:lnTo>
                      <a:pt x="69" y="24"/>
                    </a:lnTo>
                    <a:lnTo>
                      <a:pt x="70" y="24"/>
                    </a:lnTo>
                    <a:lnTo>
                      <a:pt x="70" y="26"/>
                    </a:lnTo>
                    <a:lnTo>
                      <a:pt x="72" y="26"/>
                    </a:lnTo>
                    <a:lnTo>
                      <a:pt x="73" y="26"/>
                    </a:lnTo>
                    <a:lnTo>
                      <a:pt x="75" y="27"/>
                    </a:lnTo>
                    <a:lnTo>
                      <a:pt x="76" y="27"/>
                    </a:lnTo>
                    <a:lnTo>
                      <a:pt x="78" y="27"/>
                    </a:lnTo>
                    <a:lnTo>
                      <a:pt x="80" y="27"/>
                    </a:lnTo>
                    <a:lnTo>
                      <a:pt x="81" y="27"/>
                    </a:lnTo>
                    <a:lnTo>
                      <a:pt x="81" y="26"/>
                    </a:lnTo>
                    <a:lnTo>
                      <a:pt x="83" y="26"/>
                    </a:lnTo>
                    <a:lnTo>
                      <a:pt x="84" y="24"/>
                    </a:lnTo>
                    <a:lnTo>
                      <a:pt x="86" y="24"/>
                    </a:lnTo>
                    <a:lnTo>
                      <a:pt x="88" y="24"/>
                    </a:lnTo>
                    <a:lnTo>
                      <a:pt x="89" y="23"/>
                    </a:lnTo>
                    <a:lnTo>
                      <a:pt x="91" y="23"/>
                    </a:lnTo>
                    <a:lnTo>
                      <a:pt x="89" y="21"/>
                    </a:lnTo>
                    <a:lnTo>
                      <a:pt x="89" y="19"/>
                    </a:lnTo>
                    <a:lnTo>
                      <a:pt x="88" y="18"/>
                    </a:lnTo>
                    <a:lnTo>
                      <a:pt x="88" y="16"/>
                    </a:lnTo>
                    <a:lnTo>
                      <a:pt x="89" y="16"/>
                    </a:lnTo>
                    <a:lnTo>
                      <a:pt x="91" y="15"/>
                    </a:lnTo>
                    <a:lnTo>
                      <a:pt x="91" y="13"/>
                    </a:lnTo>
                    <a:lnTo>
                      <a:pt x="92" y="13"/>
                    </a:lnTo>
                    <a:lnTo>
                      <a:pt x="94" y="13"/>
                    </a:lnTo>
                    <a:lnTo>
                      <a:pt x="95" y="13"/>
                    </a:lnTo>
                    <a:lnTo>
                      <a:pt x="95" y="11"/>
                    </a:lnTo>
                    <a:lnTo>
                      <a:pt x="97" y="11"/>
                    </a:lnTo>
                    <a:lnTo>
                      <a:pt x="97" y="10"/>
                    </a:lnTo>
                    <a:lnTo>
                      <a:pt x="99" y="10"/>
                    </a:lnTo>
                    <a:lnTo>
                      <a:pt x="99" y="8"/>
                    </a:lnTo>
                    <a:lnTo>
                      <a:pt x="100" y="8"/>
                    </a:lnTo>
                    <a:lnTo>
                      <a:pt x="100" y="7"/>
                    </a:lnTo>
                    <a:lnTo>
                      <a:pt x="102" y="7"/>
                    </a:lnTo>
                    <a:lnTo>
                      <a:pt x="103" y="8"/>
                    </a:lnTo>
                    <a:lnTo>
                      <a:pt x="105" y="8"/>
                    </a:lnTo>
                    <a:lnTo>
                      <a:pt x="141" y="8"/>
                    </a:lnTo>
                    <a:lnTo>
                      <a:pt x="143" y="8"/>
                    </a:lnTo>
                    <a:lnTo>
                      <a:pt x="145" y="8"/>
                    </a:lnTo>
                    <a:lnTo>
                      <a:pt x="146" y="8"/>
                    </a:lnTo>
                    <a:lnTo>
                      <a:pt x="148" y="8"/>
                    </a:lnTo>
                    <a:lnTo>
                      <a:pt x="149" y="8"/>
                    </a:lnTo>
                    <a:lnTo>
                      <a:pt x="149" y="7"/>
                    </a:lnTo>
                    <a:lnTo>
                      <a:pt x="151" y="7"/>
                    </a:lnTo>
                    <a:lnTo>
                      <a:pt x="153" y="7"/>
                    </a:lnTo>
                    <a:lnTo>
                      <a:pt x="154" y="7"/>
                    </a:lnTo>
                    <a:lnTo>
                      <a:pt x="156" y="7"/>
                    </a:lnTo>
                    <a:lnTo>
                      <a:pt x="157" y="7"/>
                    </a:lnTo>
                    <a:lnTo>
                      <a:pt x="159" y="5"/>
                    </a:lnTo>
                    <a:lnTo>
                      <a:pt x="160" y="5"/>
                    </a:lnTo>
                    <a:lnTo>
                      <a:pt x="160" y="4"/>
                    </a:lnTo>
                    <a:lnTo>
                      <a:pt x="162" y="4"/>
                    </a:lnTo>
                    <a:lnTo>
                      <a:pt x="164" y="2"/>
                    </a:lnTo>
                    <a:lnTo>
                      <a:pt x="164" y="0"/>
                    </a:lnTo>
                    <a:lnTo>
                      <a:pt x="165" y="2"/>
                    </a:lnTo>
                    <a:lnTo>
                      <a:pt x="167" y="2"/>
                    </a:lnTo>
                    <a:lnTo>
                      <a:pt x="168" y="2"/>
                    </a:lnTo>
                    <a:lnTo>
                      <a:pt x="170" y="2"/>
                    </a:lnTo>
                    <a:lnTo>
                      <a:pt x="172" y="2"/>
                    </a:lnTo>
                    <a:lnTo>
                      <a:pt x="173" y="0"/>
                    </a:lnTo>
                    <a:lnTo>
                      <a:pt x="175" y="0"/>
                    </a:lnTo>
                    <a:lnTo>
                      <a:pt x="176" y="0"/>
                    </a:lnTo>
                    <a:lnTo>
                      <a:pt x="178" y="0"/>
                    </a:lnTo>
                    <a:lnTo>
                      <a:pt x="179" y="0"/>
                    </a:lnTo>
                    <a:lnTo>
                      <a:pt x="181" y="0"/>
                    </a:lnTo>
                    <a:lnTo>
                      <a:pt x="181" y="2"/>
                    </a:lnTo>
                    <a:lnTo>
                      <a:pt x="183" y="2"/>
                    </a:lnTo>
                    <a:lnTo>
                      <a:pt x="184" y="2"/>
                    </a:lnTo>
                    <a:lnTo>
                      <a:pt x="186" y="2"/>
                    </a:lnTo>
                    <a:lnTo>
                      <a:pt x="187" y="2"/>
                    </a:lnTo>
                    <a:lnTo>
                      <a:pt x="187" y="4"/>
                    </a:lnTo>
                    <a:lnTo>
                      <a:pt x="189" y="4"/>
                    </a:lnTo>
                    <a:lnTo>
                      <a:pt x="191" y="4"/>
                    </a:lnTo>
                    <a:lnTo>
                      <a:pt x="192" y="4"/>
                    </a:lnTo>
                    <a:lnTo>
                      <a:pt x="194" y="4"/>
                    </a:lnTo>
                    <a:lnTo>
                      <a:pt x="194" y="5"/>
                    </a:lnTo>
                    <a:lnTo>
                      <a:pt x="195" y="5"/>
                    </a:lnTo>
                    <a:lnTo>
                      <a:pt x="197" y="5"/>
                    </a:lnTo>
                    <a:lnTo>
                      <a:pt x="198" y="7"/>
                    </a:lnTo>
                    <a:lnTo>
                      <a:pt x="200" y="7"/>
                    </a:lnTo>
                    <a:lnTo>
                      <a:pt x="202" y="7"/>
                    </a:lnTo>
                    <a:lnTo>
                      <a:pt x="203" y="7"/>
                    </a:lnTo>
                    <a:lnTo>
                      <a:pt x="205" y="7"/>
                    </a:lnTo>
                    <a:lnTo>
                      <a:pt x="206" y="7"/>
                    </a:lnTo>
                    <a:lnTo>
                      <a:pt x="208" y="7"/>
                    </a:lnTo>
                    <a:lnTo>
                      <a:pt x="210" y="7"/>
                    </a:lnTo>
                    <a:lnTo>
                      <a:pt x="210" y="5"/>
                    </a:lnTo>
                    <a:lnTo>
                      <a:pt x="211" y="5"/>
                    </a:lnTo>
                    <a:lnTo>
                      <a:pt x="213" y="5"/>
                    </a:lnTo>
                    <a:lnTo>
                      <a:pt x="214" y="5"/>
                    </a:lnTo>
                    <a:lnTo>
                      <a:pt x="216" y="5"/>
                    </a:lnTo>
                    <a:lnTo>
                      <a:pt x="217" y="5"/>
                    </a:lnTo>
                    <a:lnTo>
                      <a:pt x="219" y="5"/>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36" name="Freeform 16"/>
              <p:cNvSpPr>
                <a:spLocks/>
              </p:cNvSpPr>
              <p:nvPr/>
            </p:nvSpPr>
            <p:spPr bwMode="auto">
              <a:xfrm>
                <a:off x="3334" y="2454"/>
                <a:ext cx="404" cy="630"/>
              </a:xfrm>
              <a:custGeom>
                <a:avLst/>
                <a:gdLst>
                  <a:gd name="T0" fmla="*/ 230 w 404"/>
                  <a:gd name="T1" fmla="*/ 616 h 630"/>
                  <a:gd name="T2" fmla="*/ 241 w 404"/>
                  <a:gd name="T3" fmla="*/ 605 h 630"/>
                  <a:gd name="T4" fmla="*/ 249 w 404"/>
                  <a:gd name="T5" fmla="*/ 591 h 630"/>
                  <a:gd name="T6" fmla="*/ 266 w 404"/>
                  <a:gd name="T7" fmla="*/ 583 h 630"/>
                  <a:gd name="T8" fmla="*/ 284 w 404"/>
                  <a:gd name="T9" fmla="*/ 581 h 630"/>
                  <a:gd name="T10" fmla="*/ 295 w 404"/>
                  <a:gd name="T11" fmla="*/ 553 h 630"/>
                  <a:gd name="T12" fmla="*/ 292 w 404"/>
                  <a:gd name="T13" fmla="*/ 530 h 630"/>
                  <a:gd name="T14" fmla="*/ 277 w 404"/>
                  <a:gd name="T15" fmla="*/ 507 h 630"/>
                  <a:gd name="T16" fmla="*/ 300 w 404"/>
                  <a:gd name="T17" fmla="*/ 470 h 630"/>
                  <a:gd name="T18" fmla="*/ 336 w 404"/>
                  <a:gd name="T19" fmla="*/ 442 h 630"/>
                  <a:gd name="T20" fmla="*/ 365 w 404"/>
                  <a:gd name="T21" fmla="*/ 399 h 630"/>
                  <a:gd name="T22" fmla="*/ 387 w 404"/>
                  <a:gd name="T23" fmla="*/ 388 h 630"/>
                  <a:gd name="T24" fmla="*/ 399 w 404"/>
                  <a:gd name="T25" fmla="*/ 375 h 630"/>
                  <a:gd name="T26" fmla="*/ 392 w 404"/>
                  <a:gd name="T27" fmla="*/ 366 h 630"/>
                  <a:gd name="T28" fmla="*/ 373 w 404"/>
                  <a:gd name="T29" fmla="*/ 358 h 630"/>
                  <a:gd name="T30" fmla="*/ 352 w 404"/>
                  <a:gd name="T31" fmla="*/ 361 h 630"/>
                  <a:gd name="T32" fmla="*/ 355 w 404"/>
                  <a:gd name="T33" fmla="*/ 343 h 630"/>
                  <a:gd name="T34" fmla="*/ 336 w 404"/>
                  <a:gd name="T35" fmla="*/ 339 h 630"/>
                  <a:gd name="T36" fmla="*/ 316 w 404"/>
                  <a:gd name="T37" fmla="*/ 336 h 630"/>
                  <a:gd name="T38" fmla="*/ 295 w 404"/>
                  <a:gd name="T39" fmla="*/ 332 h 630"/>
                  <a:gd name="T40" fmla="*/ 274 w 404"/>
                  <a:gd name="T41" fmla="*/ 329 h 630"/>
                  <a:gd name="T42" fmla="*/ 254 w 404"/>
                  <a:gd name="T43" fmla="*/ 326 h 630"/>
                  <a:gd name="T44" fmla="*/ 238 w 404"/>
                  <a:gd name="T45" fmla="*/ 317 h 630"/>
                  <a:gd name="T46" fmla="*/ 222 w 404"/>
                  <a:gd name="T47" fmla="*/ 310 h 630"/>
                  <a:gd name="T48" fmla="*/ 205 w 404"/>
                  <a:gd name="T49" fmla="*/ 307 h 630"/>
                  <a:gd name="T50" fmla="*/ 186 w 404"/>
                  <a:gd name="T51" fmla="*/ 304 h 630"/>
                  <a:gd name="T52" fmla="*/ 165 w 404"/>
                  <a:gd name="T53" fmla="*/ 302 h 630"/>
                  <a:gd name="T54" fmla="*/ 143 w 404"/>
                  <a:gd name="T55" fmla="*/ 304 h 630"/>
                  <a:gd name="T56" fmla="*/ 121 w 404"/>
                  <a:gd name="T57" fmla="*/ 302 h 630"/>
                  <a:gd name="T58" fmla="*/ 98 w 404"/>
                  <a:gd name="T59" fmla="*/ 304 h 630"/>
                  <a:gd name="T60" fmla="*/ 76 w 404"/>
                  <a:gd name="T61" fmla="*/ 307 h 630"/>
                  <a:gd name="T62" fmla="*/ 46 w 404"/>
                  <a:gd name="T63" fmla="*/ 309 h 630"/>
                  <a:gd name="T64" fmla="*/ 8 w 404"/>
                  <a:gd name="T65" fmla="*/ 274 h 630"/>
                  <a:gd name="T66" fmla="*/ 22 w 404"/>
                  <a:gd name="T67" fmla="*/ 258 h 630"/>
                  <a:gd name="T68" fmla="*/ 32 w 404"/>
                  <a:gd name="T69" fmla="*/ 240 h 630"/>
                  <a:gd name="T70" fmla="*/ 43 w 404"/>
                  <a:gd name="T71" fmla="*/ 223 h 630"/>
                  <a:gd name="T72" fmla="*/ 48 w 404"/>
                  <a:gd name="T73" fmla="*/ 206 h 630"/>
                  <a:gd name="T74" fmla="*/ 37 w 404"/>
                  <a:gd name="T75" fmla="*/ 198 h 630"/>
                  <a:gd name="T76" fmla="*/ 54 w 404"/>
                  <a:gd name="T77" fmla="*/ 188 h 630"/>
                  <a:gd name="T78" fmla="*/ 70 w 404"/>
                  <a:gd name="T79" fmla="*/ 179 h 630"/>
                  <a:gd name="T80" fmla="*/ 86 w 404"/>
                  <a:gd name="T81" fmla="*/ 169 h 630"/>
                  <a:gd name="T82" fmla="*/ 97 w 404"/>
                  <a:gd name="T83" fmla="*/ 157 h 630"/>
                  <a:gd name="T84" fmla="*/ 108 w 404"/>
                  <a:gd name="T85" fmla="*/ 141 h 630"/>
                  <a:gd name="T86" fmla="*/ 125 w 404"/>
                  <a:gd name="T87" fmla="*/ 139 h 630"/>
                  <a:gd name="T88" fmla="*/ 144 w 404"/>
                  <a:gd name="T89" fmla="*/ 145 h 630"/>
                  <a:gd name="T90" fmla="*/ 162 w 404"/>
                  <a:gd name="T91" fmla="*/ 145 h 630"/>
                  <a:gd name="T92" fmla="*/ 178 w 404"/>
                  <a:gd name="T93" fmla="*/ 141 h 630"/>
                  <a:gd name="T94" fmla="*/ 179 w 404"/>
                  <a:gd name="T95" fmla="*/ 119 h 630"/>
                  <a:gd name="T96" fmla="*/ 194 w 404"/>
                  <a:gd name="T97" fmla="*/ 109 h 630"/>
                  <a:gd name="T98" fmla="*/ 214 w 404"/>
                  <a:gd name="T99" fmla="*/ 103 h 630"/>
                  <a:gd name="T100" fmla="*/ 233 w 404"/>
                  <a:gd name="T101" fmla="*/ 100 h 630"/>
                  <a:gd name="T102" fmla="*/ 251 w 404"/>
                  <a:gd name="T103" fmla="*/ 95 h 630"/>
                  <a:gd name="T104" fmla="*/ 270 w 404"/>
                  <a:gd name="T105" fmla="*/ 92 h 630"/>
                  <a:gd name="T106" fmla="*/ 289 w 404"/>
                  <a:gd name="T107" fmla="*/ 88 h 630"/>
                  <a:gd name="T108" fmla="*/ 298 w 404"/>
                  <a:gd name="T109" fmla="*/ 71 h 630"/>
                  <a:gd name="T110" fmla="*/ 300 w 404"/>
                  <a:gd name="T111" fmla="*/ 50 h 630"/>
                  <a:gd name="T112" fmla="*/ 306 w 404"/>
                  <a:gd name="T113" fmla="*/ 31 h 630"/>
                  <a:gd name="T114" fmla="*/ 322 w 404"/>
                  <a:gd name="T115" fmla="*/ 22 h 630"/>
                  <a:gd name="T116" fmla="*/ 338 w 404"/>
                  <a:gd name="T117" fmla="*/ 11 h 630"/>
                  <a:gd name="T118" fmla="*/ 355 w 404"/>
                  <a:gd name="T119" fmla="*/ 1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4" h="630">
                    <a:moveTo>
                      <a:pt x="203" y="630"/>
                    </a:moveTo>
                    <a:lnTo>
                      <a:pt x="205" y="630"/>
                    </a:lnTo>
                    <a:lnTo>
                      <a:pt x="206" y="630"/>
                    </a:lnTo>
                    <a:lnTo>
                      <a:pt x="208" y="630"/>
                    </a:lnTo>
                    <a:lnTo>
                      <a:pt x="209" y="630"/>
                    </a:lnTo>
                    <a:lnTo>
                      <a:pt x="211" y="630"/>
                    </a:lnTo>
                    <a:lnTo>
                      <a:pt x="213" y="630"/>
                    </a:lnTo>
                    <a:lnTo>
                      <a:pt x="214" y="630"/>
                    </a:lnTo>
                    <a:lnTo>
                      <a:pt x="216" y="630"/>
                    </a:lnTo>
                    <a:lnTo>
                      <a:pt x="227" y="619"/>
                    </a:lnTo>
                    <a:lnTo>
                      <a:pt x="228" y="619"/>
                    </a:lnTo>
                    <a:lnTo>
                      <a:pt x="228" y="617"/>
                    </a:lnTo>
                    <a:lnTo>
                      <a:pt x="230" y="617"/>
                    </a:lnTo>
                    <a:lnTo>
                      <a:pt x="230" y="616"/>
                    </a:lnTo>
                    <a:lnTo>
                      <a:pt x="232" y="616"/>
                    </a:lnTo>
                    <a:lnTo>
                      <a:pt x="232" y="614"/>
                    </a:lnTo>
                    <a:lnTo>
                      <a:pt x="233" y="614"/>
                    </a:lnTo>
                    <a:lnTo>
                      <a:pt x="233" y="613"/>
                    </a:lnTo>
                    <a:lnTo>
                      <a:pt x="235" y="613"/>
                    </a:lnTo>
                    <a:lnTo>
                      <a:pt x="235" y="611"/>
                    </a:lnTo>
                    <a:lnTo>
                      <a:pt x="236" y="611"/>
                    </a:lnTo>
                    <a:lnTo>
                      <a:pt x="236" y="610"/>
                    </a:lnTo>
                    <a:lnTo>
                      <a:pt x="238" y="610"/>
                    </a:lnTo>
                    <a:lnTo>
                      <a:pt x="238" y="608"/>
                    </a:lnTo>
                    <a:lnTo>
                      <a:pt x="239" y="608"/>
                    </a:lnTo>
                    <a:lnTo>
                      <a:pt x="239" y="606"/>
                    </a:lnTo>
                    <a:lnTo>
                      <a:pt x="241" y="606"/>
                    </a:lnTo>
                    <a:lnTo>
                      <a:pt x="241" y="605"/>
                    </a:lnTo>
                    <a:lnTo>
                      <a:pt x="241" y="603"/>
                    </a:lnTo>
                    <a:lnTo>
                      <a:pt x="241" y="602"/>
                    </a:lnTo>
                    <a:lnTo>
                      <a:pt x="241" y="600"/>
                    </a:lnTo>
                    <a:lnTo>
                      <a:pt x="241" y="598"/>
                    </a:lnTo>
                    <a:lnTo>
                      <a:pt x="241" y="597"/>
                    </a:lnTo>
                    <a:lnTo>
                      <a:pt x="241" y="595"/>
                    </a:lnTo>
                    <a:lnTo>
                      <a:pt x="243" y="595"/>
                    </a:lnTo>
                    <a:lnTo>
                      <a:pt x="243" y="594"/>
                    </a:lnTo>
                    <a:lnTo>
                      <a:pt x="244" y="594"/>
                    </a:lnTo>
                    <a:lnTo>
                      <a:pt x="246" y="594"/>
                    </a:lnTo>
                    <a:lnTo>
                      <a:pt x="246" y="592"/>
                    </a:lnTo>
                    <a:lnTo>
                      <a:pt x="247" y="592"/>
                    </a:lnTo>
                    <a:lnTo>
                      <a:pt x="249" y="592"/>
                    </a:lnTo>
                    <a:lnTo>
                      <a:pt x="249" y="591"/>
                    </a:lnTo>
                    <a:lnTo>
                      <a:pt x="251" y="591"/>
                    </a:lnTo>
                    <a:lnTo>
                      <a:pt x="252" y="591"/>
                    </a:lnTo>
                    <a:lnTo>
                      <a:pt x="252" y="589"/>
                    </a:lnTo>
                    <a:lnTo>
                      <a:pt x="254" y="589"/>
                    </a:lnTo>
                    <a:lnTo>
                      <a:pt x="255" y="589"/>
                    </a:lnTo>
                    <a:lnTo>
                      <a:pt x="255" y="587"/>
                    </a:lnTo>
                    <a:lnTo>
                      <a:pt x="257" y="587"/>
                    </a:lnTo>
                    <a:lnTo>
                      <a:pt x="258" y="587"/>
                    </a:lnTo>
                    <a:lnTo>
                      <a:pt x="258" y="586"/>
                    </a:lnTo>
                    <a:lnTo>
                      <a:pt x="260" y="586"/>
                    </a:lnTo>
                    <a:lnTo>
                      <a:pt x="262" y="586"/>
                    </a:lnTo>
                    <a:lnTo>
                      <a:pt x="263" y="584"/>
                    </a:lnTo>
                    <a:lnTo>
                      <a:pt x="265" y="584"/>
                    </a:lnTo>
                    <a:lnTo>
                      <a:pt x="266" y="583"/>
                    </a:lnTo>
                    <a:lnTo>
                      <a:pt x="268" y="583"/>
                    </a:lnTo>
                    <a:lnTo>
                      <a:pt x="270" y="583"/>
                    </a:lnTo>
                    <a:lnTo>
                      <a:pt x="271" y="583"/>
                    </a:lnTo>
                    <a:lnTo>
                      <a:pt x="271" y="584"/>
                    </a:lnTo>
                    <a:lnTo>
                      <a:pt x="273" y="584"/>
                    </a:lnTo>
                    <a:lnTo>
                      <a:pt x="274" y="584"/>
                    </a:lnTo>
                    <a:lnTo>
                      <a:pt x="274" y="586"/>
                    </a:lnTo>
                    <a:lnTo>
                      <a:pt x="276" y="586"/>
                    </a:lnTo>
                    <a:lnTo>
                      <a:pt x="277" y="584"/>
                    </a:lnTo>
                    <a:lnTo>
                      <a:pt x="279" y="584"/>
                    </a:lnTo>
                    <a:lnTo>
                      <a:pt x="281" y="584"/>
                    </a:lnTo>
                    <a:lnTo>
                      <a:pt x="282" y="584"/>
                    </a:lnTo>
                    <a:lnTo>
                      <a:pt x="284" y="583"/>
                    </a:lnTo>
                    <a:lnTo>
                      <a:pt x="284" y="581"/>
                    </a:lnTo>
                    <a:lnTo>
                      <a:pt x="284" y="579"/>
                    </a:lnTo>
                    <a:lnTo>
                      <a:pt x="284" y="578"/>
                    </a:lnTo>
                    <a:lnTo>
                      <a:pt x="282" y="576"/>
                    </a:lnTo>
                    <a:lnTo>
                      <a:pt x="284" y="576"/>
                    </a:lnTo>
                    <a:lnTo>
                      <a:pt x="284" y="575"/>
                    </a:lnTo>
                    <a:lnTo>
                      <a:pt x="284" y="573"/>
                    </a:lnTo>
                    <a:lnTo>
                      <a:pt x="285" y="573"/>
                    </a:lnTo>
                    <a:lnTo>
                      <a:pt x="287" y="572"/>
                    </a:lnTo>
                    <a:lnTo>
                      <a:pt x="287" y="570"/>
                    </a:lnTo>
                    <a:lnTo>
                      <a:pt x="287" y="568"/>
                    </a:lnTo>
                    <a:lnTo>
                      <a:pt x="287" y="567"/>
                    </a:lnTo>
                    <a:lnTo>
                      <a:pt x="287" y="565"/>
                    </a:lnTo>
                    <a:lnTo>
                      <a:pt x="287" y="564"/>
                    </a:lnTo>
                    <a:lnTo>
                      <a:pt x="295" y="553"/>
                    </a:lnTo>
                    <a:lnTo>
                      <a:pt x="295" y="551"/>
                    </a:lnTo>
                    <a:lnTo>
                      <a:pt x="295" y="549"/>
                    </a:lnTo>
                    <a:lnTo>
                      <a:pt x="296" y="548"/>
                    </a:lnTo>
                    <a:lnTo>
                      <a:pt x="296" y="546"/>
                    </a:lnTo>
                    <a:lnTo>
                      <a:pt x="296" y="545"/>
                    </a:lnTo>
                    <a:lnTo>
                      <a:pt x="296" y="543"/>
                    </a:lnTo>
                    <a:lnTo>
                      <a:pt x="296" y="541"/>
                    </a:lnTo>
                    <a:lnTo>
                      <a:pt x="296" y="540"/>
                    </a:lnTo>
                    <a:lnTo>
                      <a:pt x="296" y="538"/>
                    </a:lnTo>
                    <a:lnTo>
                      <a:pt x="296" y="537"/>
                    </a:lnTo>
                    <a:lnTo>
                      <a:pt x="295" y="535"/>
                    </a:lnTo>
                    <a:lnTo>
                      <a:pt x="295" y="534"/>
                    </a:lnTo>
                    <a:lnTo>
                      <a:pt x="293" y="532"/>
                    </a:lnTo>
                    <a:lnTo>
                      <a:pt x="292" y="530"/>
                    </a:lnTo>
                    <a:lnTo>
                      <a:pt x="290" y="530"/>
                    </a:lnTo>
                    <a:lnTo>
                      <a:pt x="290" y="529"/>
                    </a:lnTo>
                    <a:lnTo>
                      <a:pt x="289" y="529"/>
                    </a:lnTo>
                    <a:lnTo>
                      <a:pt x="289" y="527"/>
                    </a:lnTo>
                    <a:lnTo>
                      <a:pt x="287" y="527"/>
                    </a:lnTo>
                    <a:lnTo>
                      <a:pt x="284" y="518"/>
                    </a:lnTo>
                    <a:lnTo>
                      <a:pt x="282" y="516"/>
                    </a:lnTo>
                    <a:lnTo>
                      <a:pt x="282" y="515"/>
                    </a:lnTo>
                    <a:lnTo>
                      <a:pt x="281" y="515"/>
                    </a:lnTo>
                    <a:lnTo>
                      <a:pt x="281" y="513"/>
                    </a:lnTo>
                    <a:lnTo>
                      <a:pt x="279" y="511"/>
                    </a:lnTo>
                    <a:lnTo>
                      <a:pt x="277" y="510"/>
                    </a:lnTo>
                    <a:lnTo>
                      <a:pt x="277" y="508"/>
                    </a:lnTo>
                    <a:lnTo>
                      <a:pt x="277" y="507"/>
                    </a:lnTo>
                    <a:lnTo>
                      <a:pt x="276" y="505"/>
                    </a:lnTo>
                    <a:lnTo>
                      <a:pt x="277" y="503"/>
                    </a:lnTo>
                    <a:lnTo>
                      <a:pt x="277" y="502"/>
                    </a:lnTo>
                    <a:lnTo>
                      <a:pt x="279" y="500"/>
                    </a:lnTo>
                    <a:lnTo>
                      <a:pt x="281" y="497"/>
                    </a:lnTo>
                    <a:lnTo>
                      <a:pt x="281" y="496"/>
                    </a:lnTo>
                    <a:lnTo>
                      <a:pt x="282" y="496"/>
                    </a:lnTo>
                    <a:lnTo>
                      <a:pt x="290" y="483"/>
                    </a:lnTo>
                    <a:lnTo>
                      <a:pt x="292" y="481"/>
                    </a:lnTo>
                    <a:lnTo>
                      <a:pt x="292" y="480"/>
                    </a:lnTo>
                    <a:lnTo>
                      <a:pt x="295" y="475"/>
                    </a:lnTo>
                    <a:lnTo>
                      <a:pt x="298" y="473"/>
                    </a:lnTo>
                    <a:lnTo>
                      <a:pt x="298" y="472"/>
                    </a:lnTo>
                    <a:lnTo>
                      <a:pt x="300" y="470"/>
                    </a:lnTo>
                    <a:lnTo>
                      <a:pt x="303" y="467"/>
                    </a:lnTo>
                    <a:lnTo>
                      <a:pt x="304" y="465"/>
                    </a:lnTo>
                    <a:lnTo>
                      <a:pt x="306" y="464"/>
                    </a:lnTo>
                    <a:lnTo>
                      <a:pt x="309" y="464"/>
                    </a:lnTo>
                    <a:lnTo>
                      <a:pt x="314" y="462"/>
                    </a:lnTo>
                    <a:lnTo>
                      <a:pt x="317" y="462"/>
                    </a:lnTo>
                    <a:lnTo>
                      <a:pt x="320" y="461"/>
                    </a:lnTo>
                    <a:lnTo>
                      <a:pt x="323" y="459"/>
                    </a:lnTo>
                    <a:lnTo>
                      <a:pt x="327" y="456"/>
                    </a:lnTo>
                    <a:lnTo>
                      <a:pt x="330" y="454"/>
                    </a:lnTo>
                    <a:lnTo>
                      <a:pt x="331" y="451"/>
                    </a:lnTo>
                    <a:lnTo>
                      <a:pt x="333" y="448"/>
                    </a:lnTo>
                    <a:lnTo>
                      <a:pt x="335" y="445"/>
                    </a:lnTo>
                    <a:lnTo>
                      <a:pt x="336" y="442"/>
                    </a:lnTo>
                    <a:lnTo>
                      <a:pt x="339" y="437"/>
                    </a:lnTo>
                    <a:lnTo>
                      <a:pt x="341" y="434"/>
                    </a:lnTo>
                    <a:lnTo>
                      <a:pt x="342" y="432"/>
                    </a:lnTo>
                    <a:lnTo>
                      <a:pt x="344" y="427"/>
                    </a:lnTo>
                    <a:lnTo>
                      <a:pt x="346" y="426"/>
                    </a:lnTo>
                    <a:lnTo>
                      <a:pt x="347" y="423"/>
                    </a:lnTo>
                    <a:lnTo>
                      <a:pt x="349" y="418"/>
                    </a:lnTo>
                    <a:lnTo>
                      <a:pt x="350" y="415"/>
                    </a:lnTo>
                    <a:lnTo>
                      <a:pt x="354" y="408"/>
                    </a:lnTo>
                    <a:lnTo>
                      <a:pt x="355" y="405"/>
                    </a:lnTo>
                    <a:lnTo>
                      <a:pt x="357" y="400"/>
                    </a:lnTo>
                    <a:lnTo>
                      <a:pt x="360" y="399"/>
                    </a:lnTo>
                    <a:lnTo>
                      <a:pt x="361" y="399"/>
                    </a:lnTo>
                    <a:lnTo>
                      <a:pt x="365" y="399"/>
                    </a:lnTo>
                    <a:lnTo>
                      <a:pt x="368" y="399"/>
                    </a:lnTo>
                    <a:lnTo>
                      <a:pt x="373" y="399"/>
                    </a:lnTo>
                    <a:lnTo>
                      <a:pt x="377" y="397"/>
                    </a:lnTo>
                    <a:lnTo>
                      <a:pt x="377" y="396"/>
                    </a:lnTo>
                    <a:lnTo>
                      <a:pt x="377" y="394"/>
                    </a:lnTo>
                    <a:lnTo>
                      <a:pt x="379" y="394"/>
                    </a:lnTo>
                    <a:lnTo>
                      <a:pt x="379" y="393"/>
                    </a:lnTo>
                    <a:lnTo>
                      <a:pt x="380" y="391"/>
                    </a:lnTo>
                    <a:lnTo>
                      <a:pt x="382" y="391"/>
                    </a:lnTo>
                    <a:lnTo>
                      <a:pt x="382" y="389"/>
                    </a:lnTo>
                    <a:lnTo>
                      <a:pt x="384" y="389"/>
                    </a:lnTo>
                    <a:lnTo>
                      <a:pt x="385" y="389"/>
                    </a:lnTo>
                    <a:lnTo>
                      <a:pt x="385" y="388"/>
                    </a:lnTo>
                    <a:lnTo>
                      <a:pt x="387" y="388"/>
                    </a:lnTo>
                    <a:lnTo>
                      <a:pt x="387" y="386"/>
                    </a:lnTo>
                    <a:lnTo>
                      <a:pt x="388" y="386"/>
                    </a:lnTo>
                    <a:lnTo>
                      <a:pt x="390" y="385"/>
                    </a:lnTo>
                    <a:lnTo>
                      <a:pt x="390" y="383"/>
                    </a:lnTo>
                    <a:lnTo>
                      <a:pt x="392" y="383"/>
                    </a:lnTo>
                    <a:lnTo>
                      <a:pt x="392" y="381"/>
                    </a:lnTo>
                    <a:lnTo>
                      <a:pt x="393" y="381"/>
                    </a:lnTo>
                    <a:lnTo>
                      <a:pt x="395" y="380"/>
                    </a:lnTo>
                    <a:lnTo>
                      <a:pt x="396" y="380"/>
                    </a:lnTo>
                    <a:lnTo>
                      <a:pt x="396" y="378"/>
                    </a:lnTo>
                    <a:lnTo>
                      <a:pt x="398" y="378"/>
                    </a:lnTo>
                    <a:lnTo>
                      <a:pt x="398" y="377"/>
                    </a:lnTo>
                    <a:lnTo>
                      <a:pt x="399" y="377"/>
                    </a:lnTo>
                    <a:lnTo>
                      <a:pt x="399" y="375"/>
                    </a:lnTo>
                    <a:lnTo>
                      <a:pt x="401" y="375"/>
                    </a:lnTo>
                    <a:lnTo>
                      <a:pt x="403" y="375"/>
                    </a:lnTo>
                    <a:lnTo>
                      <a:pt x="403" y="374"/>
                    </a:lnTo>
                    <a:lnTo>
                      <a:pt x="404" y="374"/>
                    </a:lnTo>
                    <a:lnTo>
                      <a:pt x="404" y="372"/>
                    </a:lnTo>
                    <a:lnTo>
                      <a:pt x="403" y="372"/>
                    </a:lnTo>
                    <a:lnTo>
                      <a:pt x="401" y="372"/>
                    </a:lnTo>
                    <a:lnTo>
                      <a:pt x="399" y="370"/>
                    </a:lnTo>
                    <a:lnTo>
                      <a:pt x="398" y="370"/>
                    </a:lnTo>
                    <a:lnTo>
                      <a:pt x="396" y="369"/>
                    </a:lnTo>
                    <a:lnTo>
                      <a:pt x="395" y="369"/>
                    </a:lnTo>
                    <a:lnTo>
                      <a:pt x="395" y="367"/>
                    </a:lnTo>
                    <a:lnTo>
                      <a:pt x="393" y="367"/>
                    </a:lnTo>
                    <a:lnTo>
                      <a:pt x="392" y="366"/>
                    </a:lnTo>
                    <a:lnTo>
                      <a:pt x="390" y="366"/>
                    </a:lnTo>
                    <a:lnTo>
                      <a:pt x="390" y="364"/>
                    </a:lnTo>
                    <a:lnTo>
                      <a:pt x="388" y="364"/>
                    </a:lnTo>
                    <a:lnTo>
                      <a:pt x="388" y="362"/>
                    </a:lnTo>
                    <a:lnTo>
                      <a:pt x="387" y="362"/>
                    </a:lnTo>
                    <a:lnTo>
                      <a:pt x="385" y="362"/>
                    </a:lnTo>
                    <a:lnTo>
                      <a:pt x="384" y="361"/>
                    </a:lnTo>
                    <a:lnTo>
                      <a:pt x="382" y="361"/>
                    </a:lnTo>
                    <a:lnTo>
                      <a:pt x="380" y="361"/>
                    </a:lnTo>
                    <a:lnTo>
                      <a:pt x="379" y="359"/>
                    </a:lnTo>
                    <a:lnTo>
                      <a:pt x="377" y="359"/>
                    </a:lnTo>
                    <a:lnTo>
                      <a:pt x="376" y="359"/>
                    </a:lnTo>
                    <a:lnTo>
                      <a:pt x="374" y="358"/>
                    </a:lnTo>
                    <a:lnTo>
                      <a:pt x="373" y="358"/>
                    </a:lnTo>
                    <a:lnTo>
                      <a:pt x="371" y="358"/>
                    </a:lnTo>
                    <a:lnTo>
                      <a:pt x="369" y="358"/>
                    </a:lnTo>
                    <a:lnTo>
                      <a:pt x="368" y="359"/>
                    </a:lnTo>
                    <a:lnTo>
                      <a:pt x="366" y="359"/>
                    </a:lnTo>
                    <a:lnTo>
                      <a:pt x="365" y="359"/>
                    </a:lnTo>
                    <a:lnTo>
                      <a:pt x="365" y="361"/>
                    </a:lnTo>
                    <a:lnTo>
                      <a:pt x="363" y="361"/>
                    </a:lnTo>
                    <a:lnTo>
                      <a:pt x="361" y="361"/>
                    </a:lnTo>
                    <a:lnTo>
                      <a:pt x="360" y="361"/>
                    </a:lnTo>
                    <a:lnTo>
                      <a:pt x="358" y="361"/>
                    </a:lnTo>
                    <a:lnTo>
                      <a:pt x="357" y="361"/>
                    </a:lnTo>
                    <a:lnTo>
                      <a:pt x="355" y="361"/>
                    </a:lnTo>
                    <a:lnTo>
                      <a:pt x="354" y="361"/>
                    </a:lnTo>
                    <a:lnTo>
                      <a:pt x="352" y="361"/>
                    </a:lnTo>
                    <a:lnTo>
                      <a:pt x="352" y="359"/>
                    </a:lnTo>
                    <a:lnTo>
                      <a:pt x="350" y="359"/>
                    </a:lnTo>
                    <a:lnTo>
                      <a:pt x="349" y="359"/>
                    </a:lnTo>
                    <a:lnTo>
                      <a:pt x="349" y="358"/>
                    </a:lnTo>
                    <a:lnTo>
                      <a:pt x="350" y="356"/>
                    </a:lnTo>
                    <a:lnTo>
                      <a:pt x="352" y="355"/>
                    </a:lnTo>
                    <a:lnTo>
                      <a:pt x="352" y="353"/>
                    </a:lnTo>
                    <a:lnTo>
                      <a:pt x="354" y="353"/>
                    </a:lnTo>
                    <a:lnTo>
                      <a:pt x="354" y="351"/>
                    </a:lnTo>
                    <a:lnTo>
                      <a:pt x="355" y="350"/>
                    </a:lnTo>
                    <a:lnTo>
                      <a:pt x="355" y="348"/>
                    </a:lnTo>
                    <a:lnTo>
                      <a:pt x="355" y="347"/>
                    </a:lnTo>
                    <a:lnTo>
                      <a:pt x="355" y="345"/>
                    </a:lnTo>
                    <a:lnTo>
                      <a:pt x="355" y="343"/>
                    </a:lnTo>
                    <a:lnTo>
                      <a:pt x="355" y="342"/>
                    </a:lnTo>
                    <a:lnTo>
                      <a:pt x="354" y="342"/>
                    </a:lnTo>
                    <a:lnTo>
                      <a:pt x="352" y="342"/>
                    </a:lnTo>
                    <a:lnTo>
                      <a:pt x="350" y="342"/>
                    </a:lnTo>
                    <a:lnTo>
                      <a:pt x="349" y="342"/>
                    </a:lnTo>
                    <a:lnTo>
                      <a:pt x="347" y="342"/>
                    </a:lnTo>
                    <a:lnTo>
                      <a:pt x="346" y="340"/>
                    </a:lnTo>
                    <a:lnTo>
                      <a:pt x="344" y="340"/>
                    </a:lnTo>
                    <a:lnTo>
                      <a:pt x="342" y="340"/>
                    </a:lnTo>
                    <a:lnTo>
                      <a:pt x="341" y="340"/>
                    </a:lnTo>
                    <a:lnTo>
                      <a:pt x="339" y="340"/>
                    </a:lnTo>
                    <a:lnTo>
                      <a:pt x="339" y="339"/>
                    </a:lnTo>
                    <a:lnTo>
                      <a:pt x="338" y="339"/>
                    </a:lnTo>
                    <a:lnTo>
                      <a:pt x="336" y="339"/>
                    </a:lnTo>
                    <a:lnTo>
                      <a:pt x="335" y="339"/>
                    </a:lnTo>
                    <a:lnTo>
                      <a:pt x="333" y="339"/>
                    </a:lnTo>
                    <a:lnTo>
                      <a:pt x="331" y="339"/>
                    </a:lnTo>
                    <a:lnTo>
                      <a:pt x="330" y="339"/>
                    </a:lnTo>
                    <a:lnTo>
                      <a:pt x="328" y="339"/>
                    </a:lnTo>
                    <a:lnTo>
                      <a:pt x="328" y="337"/>
                    </a:lnTo>
                    <a:lnTo>
                      <a:pt x="327" y="337"/>
                    </a:lnTo>
                    <a:lnTo>
                      <a:pt x="325" y="337"/>
                    </a:lnTo>
                    <a:lnTo>
                      <a:pt x="323" y="337"/>
                    </a:lnTo>
                    <a:lnTo>
                      <a:pt x="322" y="337"/>
                    </a:lnTo>
                    <a:lnTo>
                      <a:pt x="320" y="337"/>
                    </a:lnTo>
                    <a:lnTo>
                      <a:pt x="319" y="336"/>
                    </a:lnTo>
                    <a:lnTo>
                      <a:pt x="317" y="336"/>
                    </a:lnTo>
                    <a:lnTo>
                      <a:pt x="316" y="336"/>
                    </a:lnTo>
                    <a:lnTo>
                      <a:pt x="314" y="336"/>
                    </a:lnTo>
                    <a:lnTo>
                      <a:pt x="312" y="336"/>
                    </a:lnTo>
                    <a:lnTo>
                      <a:pt x="312" y="334"/>
                    </a:lnTo>
                    <a:lnTo>
                      <a:pt x="311" y="334"/>
                    </a:lnTo>
                    <a:lnTo>
                      <a:pt x="309" y="334"/>
                    </a:lnTo>
                    <a:lnTo>
                      <a:pt x="308" y="334"/>
                    </a:lnTo>
                    <a:lnTo>
                      <a:pt x="306" y="334"/>
                    </a:lnTo>
                    <a:lnTo>
                      <a:pt x="304" y="334"/>
                    </a:lnTo>
                    <a:lnTo>
                      <a:pt x="303" y="334"/>
                    </a:lnTo>
                    <a:lnTo>
                      <a:pt x="301" y="334"/>
                    </a:lnTo>
                    <a:lnTo>
                      <a:pt x="300" y="332"/>
                    </a:lnTo>
                    <a:lnTo>
                      <a:pt x="298" y="332"/>
                    </a:lnTo>
                    <a:lnTo>
                      <a:pt x="296" y="332"/>
                    </a:lnTo>
                    <a:lnTo>
                      <a:pt x="295" y="332"/>
                    </a:lnTo>
                    <a:lnTo>
                      <a:pt x="293" y="332"/>
                    </a:lnTo>
                    <a:lnTo>
                      <a:pt x="292" y="332"/>
                    </a:lnTo>
                    <a:lnTo>
                      <a:pt x="290" y="332"/>
                    </a:lnTo>
                    <a:lnTo>
                      <a:pt x="289" y="332"/>
                    </a:lnTo>
                    <a:lnTo>
                      <a:pt x="289" y="331"/>
                    </a:lnTo>
                    <a:lnTo>
                      <a:pt x="287" y="331"/>
                    </a:lnTo>
                    <a:lnTo>
                      <a:pt x="285" y="331"/>
                    </a:lnTo>
                    <a:lnTo>
                      <a:pt x="284" y="331"/>
                    </a:lnTo>
                    <a:lnTo>
                      <a:pt x="282" y="331"/>
                    </a:lnTo>
                    <a:lnTo>
                      <a:pt x="281" y="329"/>
                    </a:lnTo>
                    <a:lnTo>
                      <a:pt x="279" y="329"/>
                    </a:lnTo>
                    <a:lnTo>
                      <a:pt x="277" y="329"/>
                    </a:lnTo>
                    <a:lnTo>
                      <a:pt x="276" y="329"/>
                    </a:lnTo>
                    <a:lnTo>
                      <a:pt x="274" y="329"/>
                    </a:lnTo>
                    <a:lnTo>
                      <a:pt x="274" y="328"/>
                    </a:lnTo>
                    <a:lnTo>
                      <a:pt x="273" y="328"/>
                    </a:lnTo>
                    <a:lnTo>
                      <a:pt x="271" y="328"/>
                    </a:lnTo>
                    <a:lnTo>
                      <a:pt x="270" y="328"/>
                    </a:lnTo>
                    <a:lnTo>
                      <a:pt x="268" y="328"/>
                    </a:lnTo>
                    <a:lnTo>
                      <a:pt x="266" y="328"/>
                    </a:lnTo>
                    <a:lnTo>
                      <a:pt x="265" y="328"/>
                    </a:lnTo>
                    <a:lnTo>
                      <a:pt x="263" y="328"/>
                    </a:lnTo>
                    <a:lnTo>
                      <a:pt x="262" y="328"/>
                    </a:lnTo>
                    <a:lnTo>
                      <a:pt x="260" y="328"/>
                    </a:lnTo>
                    <a:lnTo>
                      <a:pt x="258" y="328"/>
                    </a:lnTo>
                    <a:lnTo>
                      <a:pt x="257" y="328"/>
                    </a:lnTo>
                    <a:lnTo>
                      <a:pt x="255" y="326"/>
                    </a:lnTo>
                    <a:lnTo>
                      <a:pt x="254" y="326"/>
                    </a:lnTo>
                    <a:lnTo>
                      <a:pt x="252" y="326"/>
                    </a:lnTo>
                    <a:lnTo>
                      <a:pt x="251" y="324"/>
                    </a:lnTo>
                    <a:lnTo>
                      <a:pt x="249" y="324"/>
                    </a:lnTo>
                    <a:lnTo>
                      <a:pt x="247" y="324"/>
                    </a:lnTo>
                    <a:lnTo>
                      <a:pt x="247" y="323"/>
                    </a:lnTo>
                    <a:lnTo>
                      <a:pt x="246" y="323"/>
                    </a:lnTo>
                    <a:lnTo>
                      <a:pt x="244" y="323"/>
                    </a:lnTo>
                    <a:lnTo>
                      <a:pt x="244" y="321"/>
                    </a:lnTo>
                    <a:lnTo>
                      <a:pt x="243" y="321"/>
                    </a:lnTo>
                    <a:lnTo>
                      <a:pt x="241" y="320"/>
                    </a:lnTo>
                    <a:lnTo>
                      <a:pt x="239" y="320"/>
                    </a:lnTo>
                    <a:lnTo>
                      <a:pt x="239" y="318"/>
                    </a:lnTo>
                    <a:lnTo>
                      <a:pt x="238" y="318"/>
                    </a:lnTo>
                    <a:lnTo>
                      <a:pt x="238" y="317"/>
                    </a:lnTo>
                    <a:lnTo>
                      <a:pt x="236" y="317"/>
                    </a:lnTo>
                    <a:lnTo>
                      <a:pt x="236" y="315"/>
                    </a:lnTo>
                    <a:lnTo>
                      <a:pt x="235" y="315"/>
                    </a:lnTo>
                    <a:lnTo>
                      <a:pt x="235" y="313"/>
                    </a:lnTo>
                    <a:lnTo>
                      <a:pt x="233" y="313"/>
                    </a:lnTo>
                    <a:lnTo>
                      <a:pt x="233" y="312"/>
                    </a:lnTo>
                    <a:lnTo>
                      <a:pt x="232" y="312"/>
                    </a:lnTo>
                    <a:lnTo>
                      <a:pt x="230" y="312"/>
                    </a:lnTo>
                    <a:lnTo>
                      <a:pt x="228" y="312"/>
                    </a:lnTo>
                    <a:lnTo>
                      <a:pt x="227" y="312"/>
                    </a:lnTo>
                    <a:lnTo>
                      <a:pt x="225" y="312"/>
                    </a:lnTo>
                    <a:lnTo>
                      <a:pt x="225" y="310"/>
                    </a:lnTo>
                    <a:lnTo>
                      <a:pt x="224" y="310"/>
                    </a:lnTo>
                    <a:lnTo>
                      <a:pt x="222" y="310"/>
                    </a:lnTo>
                    <a:lnTo>
                      <a:pt x="220" y="310"/>
                    </a:lnTo>
                    <a:lnTo>
                      <a:pt x="220" y="312"/>
                    </a:lnTo>
                    <a:lnTo>
                      <a:pt x="219" y="312"/>
                    </a:lnTo>
                    <a:lnTo>
                      <a:pt x="217" y="310"/>
                    </a:lnTo>
                    <a:lnTo>
                      <a:pt x="216" y="310"/>
                    </a:lnTo>
                    <a:lnTo>
                      <a:pt x="216" y="312"/>
                    </a:lnTo>
                    <a:lnTo>
                      <a:pt x="214" y="312"/>
                    </a:lnTo>
                    <a:lnTo>
                      <a:pt x="213" y="310"/>
                    </a:lnTo>
                    <a:lnTo>
                      <a:pt x="211" y="310"/>
                    </a:lnTo>
                    <a:lnTo>
                      <a:pt x="209" y="310"/>
                    </a:lnTo>
                    <a:lnTo>
                      <a:pt x="208" y="309"/>
                    </a:lnTo>
                    <a:lnTo>
                      <a:pt x="206" y="309"/>
                    </a:lnTo>
                    <a:lnTo>
                      <a:pt x="206" y="307"/>
                    </a:lnTo>
                    <a:lnTo>
                      <a:pt x="205" y="307"/>
                    </a:lnTo>
                    <a:lnTo>
                      <a:pt x="203" y="307"/>
                    </a:lnTo>
                    <a:lnTo>
                      <a:pt x="201" y="307"/>
                    </a:lnTo>
                    <a:lnTo>
                      <a:pt x="201" y="305"/>
                    </a:lnTo>
                    <a:lnTo>
                      <a:pt x="200" y="305"/>
                    </a:lnTo>
                    <a:lnTo>
                      <a:pt x="198" y="305"/>
                    </a:lnTo>
                    <a:lnTo>
                      <a:pt x="197" y="305"/>
                    </a:lnTo>
                    <a:lnTo>
                      <a:pt x="195" y="305"/>
                    </a:lnTo>
                    <a:lnTo>
                      <a:pt x="195" y="304"/>
                    </a:lnTo>
                    <a:lnTo>
                      <a:pt x="194" y="304"/>
                    </a:lnTo>
                    <a:lnTo>
                      <a:pt x="192" y="304"/>
                    </a:lnTo>
                    <a:lnTo>
                      <a:pt x="190" y="304"/>
                    </a:lnTo>
                    <a:lnTo>
                      <a:pt x="189" y="304"/>
                    </a:lnTo>
                    <a:lnTo>
                      <a:pt x="187" y="304"/>
                    </a:lnTo>
                    <a:lnTo>
                      <a:pt x="186" y="304"/>
                    </a:lnTo>
                    <a:lnTo>
                      <a:pt x="184" y="304"/>
                    </a:lnTo>
                    <a:lnTo>
                      <a:pt x="184" y="302"/>
                    </a:lnTo>
                    <a:lnTo>
                      <a:pt x="182" y="302"/>
                    </a:lnTo>
                    <a:lnTo>
                      <a:pt x="181" y="302"/>
                    </a:lnTo>
                    <a:lnTo>
                      <a:pt x="179" y="302"/>
                    </a:lnTo>
                    <a:lnTo>
                      <a:pt x="178" y="302"/>
                    </a:lnTo>
                    <a:lnTo>
                      <a:pt x="176" y="302"/>
                    </a:lnTo>
                    <a:lnTo>
                      <a:pt x="175" y="302"/>
                    </a:lnTo>
                    <a:lnTo>
                      <a:pt x="173" y="302"/>
                    </a:lnTo>
                    <a:lnTo>
                      <a:pt x="171" y="302"/>
                    </a:lnTo>
                    <a:lnTo>
                      <a:pt x="170" y="302"/>
                    </a:lnTo>
                    <a:lnTo>
                      <a:pt x="168" y="302"/>
                    </a:lnTo>
                    <a:lnTo>
                      <a:pt x="167" y="302"/>
                    </a:lnTo>
                    <a:lnTo>
                      <a:pt x="165" y="302"/>
                    </a:lnTo>
                    <a:lnTo>
                      <a:pt x="163" y="302"/>
                    </a:lnTo>
                    <a:lnTo>
                      <a:pt x="162" y="302"/>
                    </a:lnTo>
                    <a:lnTo>
                      <a:pt x="160" y="302"/>
                    </a:lnTo>
                    <a:lnTo>
                      <a:pt x="159" y="302"/>
                    </a:lnTo>
                    <a:lnTo>
                      <a:pt x="157" y="302"/>
                    </a:lnTo>
                    <a:lnTo>
                      <a:pt x="156" y="302"/>
                    </a:lnTo>
                    <a:lnTo>
                      <a:pt x="154" y="302"/>
                    </a:lnTo>
                    <a:lnTo>
                      <a:pt x="152" y="302"/>
                    </a:lnTo>
                    <a:lnTo>
                      <a:pt x="151" y="302"/>
                    </a:lnTo>
                    <a:lnTo>
                      <a:pt x="149" y="304"/>
                    </a:lnTo>
                    <a:lnTo>
                      <a:pt x="148" y="304"/>
                    </a:lnTo>
                    <a:lnTo>
                      <a:pt x="146" y="304"/>
                    </a:lnTo>
                    <a:lnTo>
                      <a:pt x="144" y="304"/>
                    </a:lnTo>
                    <a:lnTo>
                      <a:pt x="143" y="304"/>
                    </a:lnTo>
                    <a:lnTo>
                      <a:pt x="141" y="304"/>
                    </a:lnTo>
                    <a:lnTo>
                      <a:pt x="140" y="304"/>
                    </a:lnTo>
                    <a:lnTo>
                      <a:pt x="138" y="304"/>
                    </a:lnTo>
                    <a:lnTo>
                      <a:pt x="137" y="304"/>
                    </a:lnTo>
                    <a:lnTo>
                      <a:pt x="135" y="304"/>
                    </a:lnTo>
                    <a:lnTo>
                      <a:pt x="133" y="304"/>
                    </a:lnTo>
                    <a:lnTo>
                      <a:pt x="132" y="304"/>
                    </a:lnTo>
                    <a:lnTo>
                      <a:pt x="130" y="304"/>
                    </a:lnTo>
                    <a:lnTo>
                      <a:pt x="129" y="304"/>
                    </a:lnTo>
                    <a:lnTo>
                      <a:pt x="127" y="304"/>
                    </a:lnTo>
                    <a:lnTo>
                      <a:pt x="125" y="304"/>
                    </a:lnTo>
                    <a:lnTo>
                      <a:pt x="124" y="304"/>
                    </a:lnTo>
                    <a:lnTo>
                      <a:pt x="122" y="302"/>
                    </a:lnTo>
                    <a:lnTo>
                      <a:pt x="121" y="302"/>
                    </a:lnTo>
                    <a:lnTo>
                      <a:pt x="119" y="302"/>
                    </a:lnTo>
                    <a:lnTo>
                      <a:pt x="118" y="302"/>
                    </a:lnTo>
                    <a:lnTo>
                      <a:pt x="116" y="302"/>
                    </a:lnTo>
                    <a:lnTo>
                      <a:pt x="114" y="302"/>
                    </a:lnTo>
                    <a:lnTo>
                      <a:pt x="113" y="302"/>
                    </a:lnTo>
                    <a:lnTo>
                      <a:pt x="111" y="302"/>
                    </a:lnTo>
                    <a:lnTo>
                      <a:pt x="110" y="302"/>
                    </a:lnTo>
                    <a:lnTo>
                      <a:pt x="108" y="302"/>
                    </a:lnTo>
                    <a:lnTo>
                      <a:pt x="106" y="302"/>
                    </a:lnTo>
                    <a:lnTo>
                      <a:pt x="105" y="302"/>
                    </a:lnTo>
                    <a:lnTo>
                      <a:pt x="103" y="304"/>
                    </a:lnTo>
                    <a:lnTo>
                      <a:pt x="102" y="304"/>
                    </a:lnTo>
                    <a:lnTo>
                      <a:pt x="100" y="304"/>
                    </a:lnTo>
                    <a:lnTo>
                      <a:pt x="98" y="304"/>
                    </a:lnTo>
                    <a:lnTo>
                      <a:pt x="97" y="304"/>
                    </a:lnTo>
                    <a:lnTo>
                      <a:pt x="95" y="304"/>
                    </a:lnTo>
                    <a:lnTo>
                      <a:pt x="94" y="304"/>
                    </a:lnTo>
                    <a:lnTo>
                      <a:pt x="92" y="304"/>
                    </a:lnTo>
                    <a:lnTo>
                      <a:pt x="91" y="304"/>
                    </a:lnTo>
                    <a:lnTo>
                      <a:pt x="89" y="305"/>
                    </a:lnTo>
                    <a:lnTo>
                      <a:pt x="87" y="305"/>
                    </a:lnTo>
                    <a:lnTo>
                      <a:pt x="86" y="305"/>
                    </a:lnTo>
                    <a:lnTo>
                      <a:pt x="84" y="305"/>
                    </a:lnTo>
                    <a:lnTo>
                      <a:pt x="83" y="305"/>
                    </a:lnTo>
                    <a:lnTo>
                      <a:pt x="81" y="305"/>
                    </a:lnTo>
                    <a:lnTo>
                      <a:pt x="79" y="305"/>
                    </a:lnTo>
                    <a:lnTo>
                      <a:pt x="78" y="307"/>
                    </a:lnTo>
                    <a:lnTo>
                      <a:pt x="76" y="307"/>
                    </a:lnTo>
                    <a:lnTo>
                      <a:pt x="75" y="307"/>
                    </a:lnTo>
                    <a:lnTo>
                      <a:pt x="73" y="307"/>
                    </a:lnTo>
                    <a:lnTo>
                      <a:pt x="72" y="307"/>
                    </a:lnTo>
                    <a:lnTo>
                      <a:pt x="70" y="307"/>
                    </a:lnTo>
                    <a:lnTo>
                      <a:pt x="68" y="307"/>
                    </a:lnTo>
                    <a:lnTo>
                      <a:pt x="68" y="309"/>
                    </a:lnTo>
                    <a:lnTo>
                      <a:pt x="67" y="309"/>
                    </a:lnTo>
                    <a:lnTo>
                      <a:pt x="65" y="309"/>
                    </a:lnTo>
                    <a:lnTo>
                      <a:pt x="64" y="309"/>
                    </a:lnTo>
                    <a:lnTo>
                      <a:pt x="62" y="309"/>
                    </a:lnTo>
                    <a:lnTo>
                      <a:pt x="60" y="309"/>
                    </a:lnTo>
                    <a:lnTo>
                      <a:pt x="60" y="307"/>
                    </a:lnTo>
                    <a:lnTo>
                      <a:pt x="59" y="309"/>
                    </a:lnTo>
                    <a:lnTo>
                      <a:pt x="46" y="309"/>
                    </a:lnTo>
                    <a:lnTo>
                      <a:pt x="34" y="309"/>
                    </a:lnTo>
                    <a:lnTo>
                      <a:pt x="22" y="309"/>
                    </a:lnTo>
                    <a:lnTo>
                      <a:pt x="7" y="310"/>
                    </a:lnTo>
                    <a:lnTo>
                      <a:pt x="0" y="310"/>
                    </a:lnTo>
                    <a:lnTo>
                      <a:pt x="0" y="305"/>
                    </a:lnTo>
                    <a:lnTo>
                      <a:pt x="2" y="302"/>
                    </a:lnTo>
                    <a:lnTo>
                      <a:pt x="2" y="301"/>
                    </a:lnTo>
                    <a:lnTo>
                      <a:pt x="2" y="299"/>
                    </a:lnTo>
                    <a:lnTo>
                      <a:pt x="7" y="280"/>
                    </a:lnTo>
                    <a:lnTo>
                      <a:pt x="7" y="279"/>
                    </a:lnTo>
                    <a:lnTo>
                      <a:pt x="8" y="279"/>
                    </a:lnTo>
                    <a:lnTo>
                      <a:pt x="8" y="277"/>
                    </a:lnTo>
                    <a:lnTo>
                      <a:pt x="8" y="275"/>
                    </a:lnTo>
                    <a:lnTo>
                      <a:pt x="8" y="274"/>
                    </a:lnTo>
                    <a:lnTo>
                      <a:pt x="10" y="274"/>
                    </a:lnTo>
                    <a:lnTo>
                      <a:pt x="10" y="272"/>
                    </a:lnTo>
                    <a:lnTo>
                      <a:pt x="11" y="272"/>
                    </a:lnTo>
                    <a:lnTo>
                      <a:pt x="13" y="271"/>
                    </a:lnTo>
                    <a:lnTo>
                      <a:pt x="15" y="269"/>
                    </a:lnTo>
                    <a:lnTo>
                      <a:pt x="16" y="267"/>
                    </a:lnTo>
                    <a:lnTo>
                      <a:pt x="16" y="266"/>
                    </a:lnTo>
                    <a:lnTo>
                      <a:pt x="18" y="266"/>
                    </a:lnTo>
                    <a:lnTo>
                      <a:pt x="18" y="264"/>
                    </a:lnTo>
                    <a:lnTo>
                      <a:pt x="18" y="263"/>
                    </a:lnTo>
                    <a:lnTo>
                      <a:pt x="19" y="263"/>
                    </a:lnTo>
                    <a:lnTo>
                      <a:pt x="19" y="261"/>
                    </a:lnTo>
                    <a:lnTo>
                      <a:pt x="21" y="259"/>
                    </a:lnTo>
                    <a:lnTo>
                      <a:pt x="22" y="258"/>
                    </a:lnTo>
                    <a:lnTo>
                      <a:pt x="22" y="256"/>
                    </a:lnTo>
                    <a:lnTo>
                      <a:pt x="24" y="256"/>
                    </a:lnTo>
                    <a:lnTo>
                      <a:pt x="24" y="255"/>
                    </a:lnTo>
                    <a:lnTo>
                      <a:pt x="24" y="253"/>
                    </a:lnTo>
                    <a:lnTo>
                      <a:pt x="24" y="252"/>
                    </a:lnTo>
                    <a:lnTo>
                      <a:pt x="26" y="252"/>
                    </a:lnTo>
                    <a:lnTo>
                      <a:pt x="26" y="250"/>
                    </a:lnTo>
                    <a:lnTo>
                      <a:pt x="26" y="248"/>
                    </a:lnTo>
                    <a:lnTo>
                      <a:pt x="27" y="247"/>
                    </a:lnTo>
                    <a:lnTo>
                      <a:pt x="29" y="247"/>
                    </a:lnTo>
                    <a:lnTo>
                      <a:pt x="29" y="245"/>
                    </a:lnTo>
                    <a:lnTo>
                      <a:pt x="30" y="244"/>
                    </a:lnTo>
                    <a:lnTo>
                      <a:pt x="30" y="242"/>
                    </a:lnTo>
                    <a:lnTo>
                      <a:pt x="32" y="240"/>
                    </a:lnTo>
                    <a:lnTo>
                      <a:pt x="32" y="239"/>
                    </a:lnTo>
                    <a:lnTo>
                      <a:pt x="32" y="237"/>
                    </a:lnTo>
                    <a:lnTo>
                      <a:pt x="34" y="236"/>
                    </a:lnTo>
                    <a:lnTo>
                      <a:pt x="34" y="234"/>
                    </a:lnTo>
                    <a:lnTo>
                      <a:pt x="34" y="233"/>
                    </a:lnTo>
                    <a:lnTo>
                      <a:pt x="35" y="231"/>
                    </a:lnTo>
                    <a:lnTo>
                      <a:pt x="35" y="229"/>
                    </a:lnTo>
                    <a:lnTo>
                      <a:pt x="37" y="228"/>
                    </a:lnTo>
                    <a:lnTo>
                      <a:pt x="37" y="226"/>
                    </a:lnTo>
                    <a:lnTo>
                      <a:pt x="38" y="226"/>
                    </a:lnTo>
                    <a:lnTo>
                      <a:pt x="38" y="225"/>
                    </a:lnTo>
                    <a:lnTo>
                      <a:pt x="40" y="223"/>
                    </a:lnTo>
                    <a:lnTo>
                      <a:pt x="41" y="223"/>
                    </a:lnTo>
                    <a:lnTo>
                      <a:pt x="43" y="223"/>
                    </a:lnTo>
                    <a:lnTo>
                      <a:pt x="43" y="221"/>
                    </a:lnTo>
                    <a:lnTo>
                      <a:pt x="45" y="221"/>
                    </a:lnTo>
                    <a:lnTo>
                      <a:pt x="45" y="220"/>
                    </a:lnTo>
                    <a:lnTo>
                      <a:pt x="45" y="218"/>
                    </a:lnTo>
                    <a:lnTo>
                      <a:pt x="45" y="217"/>
                    </a:lnTo>
                    <a:lnTo>
                      <a:pt x="45" y="215"/>
                    </a:lnTo>
                    <a:lnTo>
                      <a:pt x="46" y="215"/>
                    </a:lnTo>
                    <a:lnTo>
                      <a:pt x="46" y="214"/>
                    </a:lnTo>
                    <a:lnTo>
                      <a:pt x="46" y="212"/>
                    </a:lnTo>
                    <a:lnTo>
                      <a:pt x="48" y="212"/>
                    </a:lnTo>
                    <a:lnTo>
                      <a:pt x="48" y="210"/>
                    </a:lnTo>
                    <a:lnTo>
                      <a:pt x="48" y="209"/>
                    </a:lnTo>
                    <a:lnTo>
                      <a:pt x="48" y="207"/>
                    </a:lnTo>
                    <a:lnTo>
                      <a:pt x="48" y="206"/>
                    </a:lnTo>
                    <a:lnTo>
                      <a:pt x="46" y="206"/>
                    </a:lnTo>
                    <a:lnTo>
                      <a:pt x="45" y="206"/>
                    </a:lnTo>
                    <a:lnTo>
                      <a:pt x="43" y="206"/>
                    </a:lnTo>
                    <a:lnTo>
                      <a:pt x="41" y="206"/>
                    </a:lnTo>
                    <a:lnTo>
                      <a:pt x="40" y="204"/>
                    </a:lnTo>
                    <a:lnTo>
                      <a:pt x="38" y="204"/>
                    </a:lnTo>
                    <a:lnTo>
                      <a:pt x="37" y="202"/>
                    </a:lnTo>
                    <a:lnTo>
                      <a:pt x="35" y="202"/>
                    </a:lnTo>
                    <a:lnTo>
                      <a:pt x="35" y="201"/>
                    </a:lnTo>
                    <a:lnTo>
                      <a:pt x="34" y="201"/>
                    </a:lnTo>
                    <a:lnTo>
                      <a:pt x="34" y="199"/>
                    </a:lnTo>
                    <a:lnTo>
                      <a:pt x="35" y="199"/>
                    </a:lnTo>
                    <a:lnTo>
                      <a:pt x="35" y="198"/>
                    </a:lnTo>
                    <a:lnTo>
                      <a:pt x="37" y="198"/>
                    </a:lnTo>
                    <a:lnTo>
                      <a:pt x="38" y="198"/>
                    </a:lnTo>
                    <a:lnTo>
                      <a:pt x="38" y="196"/>
                    </a:lnTo>
                    <a:lnTo>
                      <a:pt x="40" y="196"/>
                    </a:lnTo>
                    <a:lnTo>
                      <a:pt x="41" y="195"/>
                    </a:lnTo>
                    <a:lnTo>
                      <a:pt x="43" y="195"/>
                    </a:lnTo>
                    <a:lnTo>
                      <a:pt x="45" y="193"/>
                    </a:lnTo>
                    <a:lnTo>
                      <a:pt x="46" y="193"/>
                    </a:lnTo>
                    <a:lnTo>
                      <a:pt x="46" y="191"/>
                    </a:lnTo>
                    <a:lnTo>
                      <a:pt x="48" y="191"/>
                    </a:lnTo>
                    <a:lnTo>
                      <a:pt x="49" y="191"/>
                    </a:lnTo>
                    <a:lnTo>
                      <a:pt x="49" y="190"/>
                    </a:lnTo>
                    <a:lnTo>
                      <a:pt x="51" y="190"/>
                    </a:lnTo>
                    <a:lnTo>
                      <a:pt x="53" y="188"/>
                    </a:lnTo>
                    <a:lnTo>
                      <a:pt x="54" y="188"/>
                    </a:lnTo>
                    <a:lnTo>
                      <a:pt x="54" y="187"/>
                    </a:lnTo>
                    <a:lnTo>
                      <a:pt x="56" y="187"/>
                    </a:lnTo>
                    <a:lnTo>
                      <a:pt x="57" y="185"/>
                    </a:lnTo>
                    <a:lnTo>
                      <a:pt x="59" y="185"/>
                    </a:lnTo>
                    <a:lnTo>
                      <a:pt x="60" y="183"/>
                    </a:lnTo>
                    <a:lnTo>
                      <a:pt x="62" y="183"/>
                    </a:lnTo>
                    <a:lnTo>
                      <a:pt x="62" y="182"/>
                    </a:lnTo>
                    <a:lnTo>
                      <a:pt x="64" y="182"/>
                    </a:lnTo>
                    <a:lnTo>
                      <a:pt x="65" y="182"/>
                    </a:lnTo>
                    <a:lnTo>
                      <a:pt x="65" y="180"/>
                    </a:lnTo>
                    <a:lnTo>
                      <a:pt x="67" y="180"/>
                    </a:lnTo>
                    <a:lnTo>
                      <a:pt x="68" y="180"/>
                    </a:lnTo>
                    <a:lnTo>
                      <a:pt x="68" y="179"/>
                    </a:lnTo>
                    <a:lnTo>
                      <a:pt x="70" y="179"/>
                    </a:lnTo>
                    <a:lnTo>
                      <a:pt x="72" y="177"/>
                    </a:lnTo>
                    <a:lnTo>
                      <a:pt x="73" y="177"/>
                    </a:lnTo>
                    <a:lnTo>
                      <a:pt x="75" y="176"/>
                    </a:lnTo>
                    <a:lnTo>
                      <a:pt x="76" y="176"/>
                    </a:lnTo>
                    <a:lnTo>
                      <a:pt x="76" y="174"/>
                    </a:lnTo>
                    <a:lnTo>
                      <a:pt x="76" y="172"/>
                    </a:lnTo>
                    <a:lnTo>
                      <a:pt x="78" y="172"/>
                    </a:lnTo>
                    <a:lnTo>
                      <a:pt x="79" y="172"/>
                    </a:lnTo>
                    <a:lnTo>
                      <a:pt x="79" y="171"/>
                    </a:lnTo>
                    <a:lnTo>
                      <a:pt x="81" y="171"/>
                    </a:lnTo>
                    <a:lnTo>
                      <a:pt x="81" y="169"/>
                    </a:lnTo>
                    <a:lnTo>
                      <a:pt x="83" y="169"/>
                    </a:lnTo>
                    <a:lnTo>
                      <a:pt x="84" y="169"/>
                    </a:lnTo>
                    <a:lnTo>
                      <a:pt x="86" y="169"/>
                    </a:lnTo>
                    <a:lnTo>
                      <a:pt x="86" y="168"/>
                    </a:lnTo>
                    <a:lnTo>
                      <a:pt x="87" y="166"/>
                    </a:lnTo>
                    <a:lnTo>
                      <a:pt x="89" y="166"/>
                    </a:lnTo>
                    <a:lnTo>
                      <a:pt x="89" y="164"/>
                    </a:lnTo>
                    <a:lnTo>
                      <a:pt x="91" y="164"/>
                    </a:lnTo>
                    <a:lnTo>
                      <a:pt x="91" y="163"/>
                    </a:lnTo>
                    <a:lnTo>
                      <a:pt x="92" y="163"/>
                    </a:lnTo>
                    <a:lnTo>
                      <a:pt x="92" y="161"/>
                    </a:lnTo>
                    <a:lnTo>
                      <a:pt x="94" y="161"/>
                    </a:lnTo>
                    <a:lnTo>
                      <a:pt x="94" y="160"/>
                    </a:lnTo>
                    <a:lnTo>
                      <a:pt x="94" y="158"/>
                    </a:lnTo>
                    <a:lnTo>
                      <a:pt x="95" y="158"/>
                    </a:lnTo>
                    <a:lnTo>
                      <a:pt x="95" y="157"/>
                    </a:lnTo>
                    <a:lnTo>
                      <a:pt x="97" y="157"/>
                    </a:lnTo>
                    <a:lnTo>
                      <a:pt x="97" y="155"/>
                    </a:lnTo>
                    <a:lnTo>
                      <a:pt x="98" y="155"/>
                    </a:lnTo>
                    <a:lnTo>
                      <a:pt x="98" y="153"/>
                    </a:lnTo>
                    <a:lnTo>
                      <a:pt x="100" y="153"/>
                    </a:lnTo>
                    <a:lnTo>
                      <a:pt x="100" y="152"/>
                    </a:lnTo>
                    <a:lnTo>
                      <a:pt x="100" y="150"/>
                    </a:lnTo>
                    <a:lnTo>
                      <a:pt x="102" y="150"/>
                    </a:lnTo>
                    <a:lnTo>
                      <a:pt x="102" y="149"/>
                    </a:lnTo>
                    <a:lnTo>
                      <a:pt x="102" y="147"/>
                    </a:lnTo>
                    <a:lnTo>
                      <a:pt x="103" y="147"/>
                    </a:lnTo>
                    <a:lnTo>
                      <a:pt x="103" y="145"/>
                    </a:lnTo>
                    <a:lnTo>
                      <a:pt x="105" y="144"/>
                    </a:lnTo>
                    <a:lnTo>
                      <a:pt x="106" y="142"/>
                    </a:lnTo>
                    <a:lnTo>
                      <a:pt x="108" y="141"/>
                    </a:lnTo>
                    <a:lnTo>
                      <a:pt x="110" y="141"/>
                    </a:lnTo>
                    <a:lnTo>
                      <a:pt x="111" y="141"/>
                    </a:lnTo>
                    <a:lnTo>
                      <a:pt x="111" y="139"/>
                    </a:lnTo>
                    <a:lnTo>
                      <a:pt x="113" y="139"/>
                    </a:lnTo>
                    <a:lnTo>
                      <a:pt x="113" y="138"/>
                    </a:lnTo>
                    <a:lnTo>
                      <a:pt x="114" y="138"/>
                    </a:lnTo>
                    <a:lnTo>
                      <a:pt x="114" y="136"/>
                    </a:lnTo>
                    <a:lnTo>
                      <a:pt x="116" y="136"/>
                    </a:lnTo>
                    <a:lnTo>
                      <a:pt x="118" y="138"/>
                    </a:lnTo>
                    <a:lnTo>
                      <a:pt x="119" y="138"/>
                    </a:lnTo>
                    <a:lnTo>
                      <a:pt x="121" y="138"/>
                    </a:lnTo>
                    <a:lnTo>
                      <a:pt x="122" y="139"/>
                    </a:lnTo>
                    <a:lnTo>
                      <a:pt x="124" y="139"/>
                    </a:lnTo>
                    <a:lnTo>
                      <a:pt x="125" y="139"/>
                    </a:lnTo>
                    <a:lnTo>
                      <a:pt x="127" y="141"/>
                    </a:lnTo>
                    <a:lnTo>
                      <a:pt x="129" y="141"/>
                    </a:lnTo>
                    <a:lnTo>
                      <a:pt x="130" y="141"/>
                    </a:lnTo>
                    <a:lnTo>
                      <a:pt x="130" y="142"/>
                    </a:lnTo>
                    <a:lnTo>
                      <a:pt x="132" y="142"/>
                    </a:lnTo>
                    <a:lnTo>
                      <a:pt x="133" y="142"/>
                    </a:lnTo>
                    <a:lnTo>
                      <a:pt x="135" y="144"/>
                    </a:lnTo>
                    <a:lnTo>
                      <a:pt x="137" y="144"/>
                    </a:lnTo>
                    <a:lnTo>
                      <a:pt x="138" y="144"/>
                    </a:lnTo>
                    <a:lnTo>
                      <a:pt x="138" y="145"/>
                    </a:lnTo>
                    <a:lnTo>
                      <a:pt x="140" y="145"/>
                    </a:lnTo>
                    <a:lnTo>
                      <a:pt x="141" y="145"/>
                    </a:lnTo>
                    <a:lnTo>
                      <a:pt x="143" y="145"/>
                    </a:lnTo>
                    <a:lnTo>
                      <a:pt x="144" y="145"/>
                    </a:lnTo>
                    <a:lnTo>
                      <a:pt x="146" y="145"/>
                    </a:lnTo>
                    <a:lnTo>
                      <a:pt x="148" y="144"/>
                    </a:lnTo>
                    <a:lnTo>
                      <a:pt x="149" y="144"/>
                    </a:lnTo>
                    <a:lnTo>
                      <a:pt x="151" y="144"/>
                    </a:lnTo>
                    <a:lnTo>
                      <a:pt x="151" y="145"/>
                    </a:lnTo>
                    <a:lnTo>
                      <a:pt x="152" y="145"/>
                    </a:lnTo>
                    <a:lnTo>
                      <a:pt x="152" y="144"/>
                    </a:lnTo>
                    <a:lnTo>
                      <a:pt x="154" y="144"/>
                    </a:lnTo>
                    <a:lnTo>
                      <a:pt x="154" y="145"/>
                    </a:lnTo>
                    <a:lnTo>
                      <a:pt x="156" y="145"/>
                    </a:lnTo>
                    <a:lnTo>
                      <a:pt x="157" y="145"/>
                    </a:lnTo>
                    <a:lnTo>
                      <a:pt x="159" y="145"/>
                    </a:lnTo>
                    <a:lnTo>
                      <a:pt x="160" y="145"/>
                    </a:lnTo>
                    <a:lnTo>
                      <a:pt x="162" y="145"/>
                    </a:lnTo>
                    <a:lnTo>
                      <a:pt x="163" y="145"/>
                    </a:lnTo>
                    <a:lnTo>
                      <a:pt x="165" y="145"/>
                    </a:lnTo>
                    <a:lnTo>
                      <a:pt x="167" y="144"/>
                    </a:lnTo>
                    <a:lnTo>
                      <a:pt x="168" y="144"/>
                    </a:lnTo>
                    <a:lnTo>
                      <a:pt x="168" y="142"/>
                    </a:lnTo>
                    <a:lnTo>
                      <a:pt x="170" y="142"/>
                    </a:lnTo>
                    <a:lnTo>
                      <a:pt x="171" y="142"/>
                    </a:lnTo>
                    <a:lnTo>
                      <a:pt x="171" y="141"/>
                    </a:lnTo>
                    <a:lnTo>
                      <a:pt x="173" y="141"/>
                    </a:lnTo>
                    <a:lnTo>
                      <a:pt x="173" y="142"/>
                    </a:lnTo>
                    <a:lnTo>
                      <a:pt x="175" y="142"/>
                    </a:lnTo>
                    <a:lnTo>
                      <a:pt x="176" y="142"/>
                    </a:lnTo>
                    <a:lnTo>
                      <a:pt x="178" y="142"/>
                    </a:lnTo>
                    <a:lnTo>
                      <a:pt x="178" y="141"/>
                    </a:lnTo>
                    <a:lnTo>
                      <a:pt x="176" y="139"/>
                    </a:lnTo>
                    <a:lnTo>
                      <a:pt x="176" y="138"/>
                    </a:lnTo>
                    <a:lnTo>
                      <a:pt x="176" y="136"/>
                    </a:lnTo>
                    <a:lnTo>
                      <a:pt x="176" y="134"/>
                    </a:lnTo>
                    <a:lnTo>
                      <a:pt x="176" y="133"/>
                    </a:lnTo>
                    <a:lnTo>
                      <a:pt x="176" y="131"/>
                    </a:lnTo>
                    <a:lnTo>
                      <a:pt x="176" y="130"/>
                    </a:lnTo>
                    <a:lnTo>
                      <a:pt x="176" y="128"/>
                    </a:lnTo>
                    <a:lnTo>
                      <a:pt x="176" y="126"/>
                    </a:lnTo>
                    <a:lnTo>
                      <a:pt x="176" y="125"/>
                    </a:lnTo>
                    <a:lnTo>
                      <a:pt x="176" y="123"/>
                    </a:lnTo>
                    <a:lnTo>
                      <a:pt x="178" y="122"/>
                    </a:lnTo>
                    <a:lnTo>
                      <a:pt x="178" y="120"/>
                    </a:lnTo>
                    <a:lnTo>
                      <a:pt x="179" y="119"/>
                    </a:lnTo>
                    <a:lnTo>
                      <a:pt x="179" y="117"/>
                    </a:lnTo>
                    <a:lnTo>
                      <a:pt x="179" y="115"/>
                    </a:lnTo>
                    <a:lnTo>
                      <a:pt x="181" y="115"/>
                    </a:lnTo>
                    <a:lnTo>
                      <a:pt x="181" y="114"/>
                    </a:lnTo>
                    <a:lnTo>
                      <a:pt x="182" y="114"/>
                    </a:lnTo>
                    <a:lnTo>
                      <a:pt x="184" y="114"/>
                    </a:lnTo>
                    <a:lnTo>
                      <a:pt x="184" y="112"/>
                    </a:lnTo>
                    <a:lnTo>
                      <a:pt x="186" y="112"/>
                    </a:lnTo>
                    <a:lnTo>
                      <a:pt x="186" y="111"/>
                    </a:lnTo>
                    <a:lnTo>
                      <a:pt x="187" y="111"/>
                    </a:lnTo>
                    <a:lnTo>
                      <a:pt x="189" y="111"/>
                    </a:lnTo>
                    <a:lnTo>
                      <a:pt x="190" y="109"/>
                    </a:lnTo>
                    <a:lnTo>
                      <a:pt x="192" y="109"/>
                    </a:lnTo>
                    <a:lnTo>
                      <a:pt x="194" y="109"/>
                    </a:lnTo>
                    <a:lnTo>
                      <a:pt x="195" y="109"/>
                    </a:lnTo>
                    <a:lnTo>
                      <a:pt x="197" y="107"/>
                    </a:lnTo>
                    <a:lnTo>
                      <a:pt x="198" y="107"/>
                    </a:lnTo>
                    <a:lnTo>
                      <a:pt x="200" y="107"/>
                    </a:lnTo>
                    <a:lnTo>
                      <a:pt x="201" y="107"/>
                    </a:lnTo>
                    <a:lnTo>
                      <a:pt x="203" y="107"/>
                    </a:lnTo>
                    <a:lnTo>
                      <a:pt x="205" y="106"/>
                    </a:lnTo>
                    <a:lnTo>
                      <a:pt x="206" y="106"/>
                    </a:lnTo>
                    <a:lnTo>
                      <a:pt x="208" y="104"/>
                    </a:lnTo>
                    <a:lnTo>
                      <a:pt x="209" y="104"/>
                    </a:lnTo>
                    <a:lnTo>
                      <a:pt x="209" y="103"/>
                    </a:lnTo>
                    <a:lnTo>
                      <a:pt x="211" y="103"/>
                    </a:lnTo>
                    <a:lnTo>
                      <a:pt x="213" y="103"/>
                    </a:lnTo>
                    <a:lnTo>
                      <a:pt x="214" y="103"/>
                    </a:lnTo>
                    <a:lnTo>
                      <a:pt x="216" y="103"/>
                    </a:lnTo>
                    <a:lnTo>
                      <a:pt x="216" y="101"/>
                    </a:lnTo>
                    <a:lnTo>
                      <a:pt x="217" y="101"/>
                    </a:lnTo>
                    <a:lnTo>
                      <a:pt x="219" y="101"/>
                    </a:lnTo>
                    <a:lnTo>
                      <a:pt x="220" y="101"/>
                    </a:lnTo>
                    <a:lnTo>
                      <a:pt x="222" y="101"/>
                    </a:lnTo>
                    <a:lnTo>
                      <a:pt x="224" y="101"/>
                    </a:lnTo>
                    <a:lnTo>
                      <a:pt x="224" y="100"/>
                    </a:lnTo>
                    <a:lnTo>
                      <a:pt x="225" y="100"/>
                    </a:lnTo>
                    <a:lnTo>
                      <a:pt x="227" y="100"/>
                    </a:lnTo>
                    <a:lnTo>
                      <a:pt x="228" y="100"/>
                    </a:lnTo>
                    <a:lnTo>
                      <a:pt x="230" y="100"/>
                    </a:lnTo>
                    <a:lnTo>
                      <a:pt x="232" y="100"/>
                    </a:lnTo>
                    <a:lnTo>
                      <a:pt x="233" y="100"/>
                    </a:lnTo>
                    <a:lnTo>
                      <a:pt x="235" y="100"/>
                    </a:lnTo>
                    <a:lnTo>
                      <a:pt x="236" y="100"/>
                    </a:lnTo>
                    <a:lnTo>
                      <a:pt x="238" y="100"/>
                    </a:lnTo>
                    <a:lnTo>
                      <a:pt x="239" y="100"/>
                    </a:lnTo>
                    <a:lnTo>
                      <a:pt x="241" y="100"/>
                    </a:lnTo>
                    <a:lnTo>
                      <a:pt x="241" y="98"/>
                    </a:lnTo>
                    <a:lnTo>
                      <a:pt x="243" y="98"/>
                    </a:lnTo>
                    <a:lnTo>
                      <a:pt x="244" y="98"/>
                    </a:lnTo>
                    <a:lnTo>
                      <a:pt x="244" y="96"/>
                    </a:lnTo>
                    <a:lnTo>
                      <a:pt x="246" y="96"/>
                    </a:lnTo>
                    <a:lnTo>
                      <a:pt x="247" y="96"/>
                    </a:lnTo>
                    <a:lnTo>
                      <a:pt x="249" y="96"/>
                    </a:lnTo>
                    <a:lnTo>
                      <a:pt x="249" y="95"/>
                    </a:lnTo>
                    <a:lnTo>
                      <a:pt x="251" y="95"/>
                    </a:lnTo>
                    <a:lnTo>
                      <a:pt x="252" y="95"/>
                    </a:lnTo>
                    <a:lnTo>
                      <a:pt x="254" y="95"/>
                    </a:lnTo>
                    <a:lnTo>
                      <a:pt x="255" y="95"/>
                    </a:lnTo>
                    <a:lnTo>
                      <a:pt x="257" y="95"/>
                    </a:lnTo>
                    <a:lnTo>
                      <a:pt x="258" y="95"/>
                    </a:lnTo>
                    <a:lnTo>
                      <a:pt x="260" y="95"/>
                    </a:lnTo>
                    <a:lnTo>
                      <a:pt x="262" y="95"/>
                    </a:lnTo>
                    <a:lnTo>
                      <a:pt x="263" y="95"/>
                    </a:lnTo>
                    <a:lnTo>
                      <a:pt x="263" y="93"/>
                    </a:lnTo>
                    <a:lnTo>
                      <a:pt x="265" y="93"/>
                    </a:lnTo>
                    <a:lnTo>
                      <a:pt x="266" y="93"/>
                    </a:lnTo>
                    <a:lnTo>
                      <a:pt x="266" y="92"/>
                    </a:lnTo>
                    <a:lnTo>
                      <a:pt x="268" y="92"/>
                    </a:lnTo>
                    <a:lnTo>
                      <a:pt x="270" y="92"/>
                    </a:lnTo>
                    <a:lnTo>
                      <a:pt x="270" y="90"/>
                    </a:lnTo>
                    <a:lnTo>
                      <a:pt x="271" y="90"/>
                    </a:lnTo>
                    <a:lnTo>
                      <a:pt x="273" y="90"/>
                    </a:lnTo>
                    <a:lnTo>
                      <a:pt x="274" y="88"/>
                    </a:lnTo>
                    <a:lnTo>
                      <a:pt x="276" y="88"/>
                    </a:lnTo>
                    <a:lnTo>
                      <a:pt x="277" y="88"/>
                    </a:lnTo>
                    <a:lnTo>
                      <a:pt x="279" y="90"/>
                    </a:lnTo>
                    <a:lnTo>
                      <a:pt x="281" y="90"/>
                    </a:lnTo>
                    <a:lnTo>
                      <a:pt x="282" y="90"/>
                    </a:lnTo>
                    <a:lnTo>
                      <a:pt x="282" y="88"/>
                    </a:lnTo>
                    <a:lnTo>
                      <a:pt x="284" y="88"/>
                    </a:lnTo>
                    <a:lnTo>
                      <a:pt x="285" y="88"/>
                    </a:lnTo>
                    <a:lnTo>
                      <a:pt x="287" y="88"/>
                    </a:lnTo>
                    <a:lnTo>
                      <a:pt x="289" y="88"/>
                    </a:lnTo>
                    <a:lnTo>
                      <a:pt x="290" y="87"/>
                    </a:lnTo>
                    <a:lnTo>
                      <a:pt x="292" y="87"/>
                    </a:lnTo>
                    <a:lnTo>
                      <a:pt x="293" y="87"/>
                    </a:lnTo>
                    <a:lnTo>
                      <a:pt x="295" y="87"/>
                    </a:lnTo>
                    <a:lnTo>
                      <a:pt x="296" y="85"/>
                    </a:lnTo>
                    <a:lnTo>
                      <a:pt x="296" y="84"/>
                    </a:lnTo>
                    <a:lnTo>
                      <a:pt x="296" y="82"/>
                    </a:lnTo>
                    <a:lnTo>
                      <a:pt x="296" y="80"/>
                    </a:lnTo>
                    <a:lnTo>
                      <a:pt x="296" y="79"/>
                    </a:lnTo>
                    <a:lnTo>
                      <a:pt x="298" y="77"/>
                    </a:lnTo>
                    <a:lnTo>
                      <a:pt x="298" y="76"/>
                    </a:lnTo>
                    <a:lnTo>
                      <a:pt x="298" y="74"/>
                    </a:lnTo>
                    <a:lnTo>
                      <a:pt x="298" y="73"/>
                    </a:lnTo>
                    <a:lnTo>
                      <a:pt x="298" y="71"/>
                    </a:lnTo>
                    <a:lnTo>
                      <a:pt x="298" y="69"/>
                    </a:lnTo>
                    <a:lnTo>
                      <a:pt x="298" y="68"/>
                    </a:lnTo>
                    <a:lnTo>
                      <a:pt x="298" y="66"/>
                    </a:lnTo>
                    <a:lnTo>
                      <a:pt x="298" y="65"/>
                    </a:lnTo>
                    <a:lnTo>
                      <a:pt x="298" y="63"/>
                    </a:lnTo>
                    <a:lnTo>
                      <a:pt x="300" y="63"/>
                    </a:lnTo>
                    <a:lnTo>
                      <a:pt x="300" y="61"/>
                    </a:lnTo>
                    <a:lnTo>
                      <a:pt x="300" y="60"/>
                    </a:lnTo>
                    <a:lnTo>
                      <a:pt x="300" y="58"/>
                    </a:lnTo>
                    <a:lnTo>
                      <a:pt x="300" y="57"/>
                    </a:lnTo>
                    <a:lnTo>
                      <a:pt x="300" y="55"/>
                    </a:lnTo>
                    <a:lnTo>
                      <a:pt x="300" y="54"/>
                    </a:lnTo>
                    <a:lnTo>
                      <a:pt x="300" y="52"/>
                    </a:lnTo>
                    <a:lnTo>
                      <a:pt x="300" y="50"/>
                    </a:lnTo>
                    <a:lnTo>
                      <a:pt x="300" y="49"/>
                    </a:lnTo>
                    <a:lnTo>
                      <a:pt x="300" y="47"/>
                    </a:lnTo>
                    <a:lnTo>
                      <a:pt x="301" y="47"/>
                    </a:lnTo>
                    <a:lnTo>
                      <a:pt x="301" y="46"/>
                    </a:lnTo>
                    <a:lnTo>
                      <a:pt x="301" y="44"/>
                    </a:lnTo>
                    <a:lnTo>
                      <a:pt x="301" y="42"/>
                    </a:lnTo>
                    <a:lnTo>
                      <a:pt x="301" y="41"/>
                    </a:lnTo>
                    <a:lnTo>
                      <a:pt x="301" y="39"/>
                    </a:lnTo>
                    <a:lnTo>
                      <a:pt x="301" y="38"/>
                    </a:lnTo>
                    <a:lnTo>
                      <a:pt x="303" y="36"/>
                    </a:lnTo>
                    <a:lnTo>
                      <a:pt x="304" y="35"/>
                    </a:lnTo>
                    <a:lnTo>
                      <a:pt x="304" y="33"/>
                    </a:lnTo>
                    <a:lnTo>
                      <a:pt x="306" y="33"/>
                    </a:lnTo>
                    <a:lnTo>
                      <a:pt x="306" y="31"/>
                    </a:lnTo>
                    <a:lnTo>
                      <a:pt x="306" y="30"/>
                    </a:lnTo>
                    <a:lnTo>
                      <a:pt x="308" y="30"/>
                    </a:lnTo>
                    <a:lnTo>
                      <a:pt x="309" y="30"/>
                    </a:lnTo>
                    <a:lnTo>
                      <a:pt x="309" y="28"/>
                    </a:lnTo>
                    <a:lnTo>
                      <a:pt x="311" y="28"/>
                    </a:lnTo>
                    <a:lnTo>
                      <a:pt x="312" y="27"/>
                    </a:lnTo>
                    <a:lnTo>
                      <a:pt x="314" y="27"/>
                    </a:lnTo>
                    <a:lnTo>
                      <a:pt x="314" y="25"/>
                    </a:lnTo>
                    <a:lnTo>
                      <a:pt x="316" y="25"/>
                    </a:lnTo>
                    <a:lnTo>
                      <a:pt x="317" y="23"/>
                    </a:lnTo>
                    <a:lnTo>
                      <a:pt x="319" y="23"/>
                    </a:lnTo>
                    <a:lnTo>
                      <a:pt x="320" y="23"/>
                    </a:lnTo>
                    <a:lnTo>
                      <a:pt x="322" y="23"/>
                    </a:lnTo>
                    <a:lnTo>
                      <a:pt x="322" y="22"/>
                    </a:lnTo>
                    <a:lnTo>
                      <a:pt x="323" y="20"/>
                    </a:lnTo>
                    <a:lnTo>
                      <a:pt x="325" y="19"/>
                    </a:lnTo>
                    <a:lnTo>
                      <a:pt x="327" y="17"/>
                    </a:lnTo>
                    <a:lnTo>
                      <a:pt x="328" y="17"/>
                    </a:lnTo>
                    <a:lnTo>
                      <a:pt x="330" y="17"/>
                    </a:lnTo>
                    <a:lnTo>
                      <a:pt x="331" y="17"/>
                    </a:lnTo>
                    <a:lnTo>
                      <a:pt x="331" y="16"/>
                    </a:lnTo>
                    <a:lnTo>
                      <a:pt x="333" y="16"/>
                    </a:lnTo>
                    <a:lnTo>
                      <a:pt x="333" y="14"/>
                    </a:lnTo>
                    <a:lnTo>
                      <a:pt x="335" y="14"/>
                    </a:lnTo>
                    <a:lnTo>
                      <a:pt x="335" y="12"/>
                    </a:lnTo>
                    <a:lnTo>
                      <a:pt x="336" y="12"/>
                    </a:lnTo>
                    <a:lnTo>
                      <a:pt x="336" y="11"/>
                    </a:lnTo>
                    <a:lnTo>
                      <a:pt x="338" y="11"/>
                    </a:lnTo>
                    <a:lnTo>
                      <a:pt x="339" y="11"/>
                    </a:lnTo>
                    <a:lnTo>
                      <a:pt x="341" y="11"/>
                    </a:lnTo>
                    <a:lnTo>
                      <a:pt x="342" y="11"/>
                    </a:lnTo>
                    <a:lnTo>
                      <a:pt x="344" y="11"/>
                    </a:lnTo>
                    <a:lnTo>
                      <a:pt x="344" y="9"/>
                    </a:lnTo>
                    <a:lnTo>
                      <a:pt x="346" y="9"/>
                    </a:lnTo>
                    <a:lnTo>
                      <a:pt x="346" y="8"/>
                    </a:lnTo>
                    <a:lnTo>
                      <a:pt x="347" y="8"/>
                    </a:lnTo>
                    <a:lnTo>
                      <a:pt x="349" y="6"/>
                    </a:lnTo>
                    <a:lnTo>
                      <a:pt x="350" y="4"/>
                    </a:lnTo>
                    <a:lnTo>
                      <a:pt x="350" y="3"/>
                    </a:lnTo>
                    <a:lnTo>
                      <a:pt x="352" y="1"/>
                    </a:lnTo>
                    <a:lnTo>
                      <a:pt x="354" y="1"/>
                    </a:lnTo>
                    <a:lnTo>
                      <a:pt x="355" y="1"/>
                    </a:lnTo>
                    <a:lnTo>
                      <a:pt x="355" y="0"/>
                    </a:lnTo>
                    <a:lnTo>
                      <a:pt x="357" y="1"/>
                    </a:lnTo>
                    <a:lnTo>
                      <a:pt x="358" y="1"/>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37" name="Freeform 17"/>
              <p:cNvSpPr>
                <a:spLocks/>
              </p:cNvSpPr>
              <p:nvPr/>
            </p:nvSpPr>
            <p:spPr bwMode="auto">
              <a:xfrm>
                <a:off x="2221" y="535"/>
                <a:ext cx="752" cy="796"/>
              </a:xfrm>
              <a:custGeom>
                <a:avLst/>
                <a:gdLst>
                  <a:gd name="T0" fmla="*/ 161 w 752"/>
                  <a:gd name="T1" fmla="*/ 5 h 796"/>
                  <a:gd name="T2" fmla="*/ 206 w 752"/>
                  <a:gd name="T3" fmla="*/ 7 h 796"/>
                  <a:gd name="T4" fmla="*/ 256 w 752"/>
                  <a:gd name="T5" fmla="*/ 5 h 796"/>
                  <a:gd name="T6" fmla="*/ 302 w 752"/>
                  <a:gd name="T7" fmla="*/ 5 h 796"/>
                  <a:gd name="T8" fmla="*/ 369 w 752"/>
                  <a:gd name="T9" fmla="*/ 7 h 796"/>
                  <a:gd name="T10" fmla="*/ 442 w 752"/>
                  <a:gd name="T11" fmla="*/ 5 h 796"/>
                  <a:gd name="T12" fmla="*/ 473 w 752"/>
                  <a:gd name="T13" fmla="*/ 511 h 796"/>
                  <a:gd name="T14" fmla="*/ 456 w 752"/>
                  <a:gd name="T15" fmla="*/ 572 h 796"/>
                  <a:gd name="T16" fmla="*/ 465 w 752"/>
                  <a:gd name="T17" fmla="*/ 601 h 796"/>
                  <a:gd name="T18" fmla="*/ 484 w 752"/>
                  <a:gd name="T19" fmla="*/ 621 h 796"/>
                  <a:gd name="T20" fmla="*/ 492 w 752"/>
                  <a:gd name="T21" fmla="*/ 644 h 796"/>
                  <a:gd name="T22" fmla="*/ 484 w 752"/>
                  <a:gd name="T23" fmla="*/ 670 h 796"/>
                  <a:gd name="T24" fmla="*/ 488 w 752"/>
                  <a:gd name="T25" fmla="*/ 696 h 796"/>
                  <a:gd name="T26" fmla="*/ 478 w 752"/>
                  <a:gd name="T27" fmla="*/ 724 h 796"/>
                  <a:gd name="T28" fmla="*/ 448 w 752"/>
                  <a:gd name="T29" fmla="*/ 739 h 796"/>
                  <a:gd name="T30" fmla="*/ 410 w 752"/>
                  <a:gd name="T31" fmla="*/ 721 h 796"/>
                  <a:gd name="T32" fmla="*/ 372 w 752"/>
                  <a:gd name="T33" fmla="*/ 724 h 796"/>
                  <a:gd name="T34" fmla="*/ 347 w 752"/>
                  <a:gd name="T35" fmla="*/ 747 h 796"/>
                  <a:gd name="T36" fmla="*/ 320 w 752"/>
                  <a:gd name="T37" fmla="*/ 724 h 796"/>
                  <a:gd name="T38" fmla="*/ 291 w 752"/>
                  <a:gd name="T39" fmla="*/ 735 h 796"/>
                  <a:gd name="T40" fmla="*/ 267 w 752"/>
                  <a:gd name="T41" fmla="*/ 753 h 796"/>
                  <a:gd name="T42" fmla="*/ 261 w 752"/>
                  <a:gd name="T43" fmla="*/ 780 h 796"/>
                  <a:gd name="T44" fmla="*/ 242 w 752"/>
                  <a:gd name="T45" fmla="*/ 781 h 796"/>
                  <a:gd name="T46" fmla="*/ 231 w 752"/>
                  <a:gd name="T47" fmla="*/ 750 h 796"/>
                  <a:gd name="T48" fmla="*/ 223 w 752"/>
                  <a:gd name="T49" fmla="*/ 720 h 796"/>
                  <a:gd name="T50" fmla="*/ 199 w 752"/>
                  <a:gd name="T51" fmla="*/ 726 h 796"/>
                  <a:gd name="T52" fmla="*/ 196 w 752"/>
                  <a:gd name="T53" fmla="*/ 705 h 796"/>
                  <a:gd name="T54" fmla="*/ 209 w 752"/>
                  <a:gd name="T55" fmla="*/ 677 h 796"/>
                  <a:gd name="T56" fmla="*/ 218 w 752"/>
                  <a:gd name="T57" fmla="*/ 647 h 796"/>
                  <a:gd name="T58" fmla="*/ 206 w 752"/>
                  <a:gd name="T59" fmla="*/ 620 h 796"/>
                  <a:gd name="T60" fmla="*/ 183 w 752"/>
                  <a:gd name="T61" fmla="*/ 607 h 796"/>
                  <a:gd name="T62" fmla="*/ 160 w 752"/>
                  <a:gd name="T63" fmla="*/ 626 h 796"/>
                  <a:gd name="T64" fmla="*/ 141 w 752"/>
                  <a:gd name="T65" fmla="*/ 650 h 796"/>
                  <a:gd name="T66" fmla="*/ 109 w 752"/>
                  <a:gd name="T67" fmla="*/ 656 h 796"/>
                  <a:gd name="T68" fmla="*/ 84 w 752"/>
                  <a:gd name="T69" fmla="*/ 655 h 796"/>
                  <a:gd name="T70" fmla="*/ 61 w 752"/>
                  <a:gd name="T71" fmla="*/ 629 h 796"/>
                  <a:gd name="T72" fmla="*/ 38 w 752"/>
                  <a:gd name="T73" fmla="*/ 636 h 796"/>
                  <a:gd name="T74" fmla="*/ 19 w 752"/>
                  <a:gd name="T75" fmla="*/ 632 h 796"/>
                  <a:gd name="T76" fmla="*/ 9 w 752"/>
                  <a:gd name="T77" fmla="*/ 620 h 796"/>
                  <a:gd name="T78" fmla="*/ 0 w 752"/>
                  <a:gd name="T79" fmla="*/ 612 h 796"/>
                  <a:gd name="T80" fmla="*/ 6 w 752"/>
                  <a:gd name="T81" fmla="*/ 596 h 796"/>
                  <a:gd name="T82" fmla="*/ 11 w 752"/>
                  <a:gd name="T83" fmla="*/ 579 h 796"/>
                  <a:gd name="T84" fmla="*/ 27 w 752"/>
                  <a:gd name="T85" fmla="*/ 564 h 796"/>
                  <a:gd name="T86" fmla="*/ 38 w 752"/>
                  <a:gd name="T87" fmla="*/ 547 h 796"/>
                  <a:gd name="T88" fmla="*/ 16 w 752"/>
                  <a:gd name="T89" fmla="*/ 556 h 796"/>
                  <a:gd name="T90" fmla="*/ 11 w 752"/>
                  <a:gd name="T91" fmla="*/ 534 h 796"/>
                  <a:gd name="T92" fmla="*/ 25 w 752"/>
                  <a:gd name="T93" fmla="*/ 507 h 796"/>
                  <a:gd name="T94" fmla="*/ 38 w 752"/>
                  <a:gd name="T95" fmla="*/ 479 h 796"/>
                  <a:gd name="T96" fmla="*/ 80 w 752"/>
                  <a:gd name="T97" fmla="*/ 465 h 796"/>
                  <a:gd name="T98" fmla="*/ 122 w 752"/>
                  <a:gd name="T99" fmla="*/ 457 h 796"/>
                  <a:gd name="T100" fmla="*/ 142 w 752"/>
                  <a:gd name="T101" fmla="*/ 419 h 796"/>
                  <a:gd name="T102" fmla="*/ 150 w 752"/>
                  <a:gd name="T103" fmla="*/ 344 h 796"/>
                  <a:gd name="T104" fmla="*/ 125 w 752"/>
                  <a:gd name="T105" fmla="*/ 306 h 796"/>
                  <a:gd name="T106" fmla="*/ 134 w 752"/>
                  <a:gd name="T107" fmla="*/ 271 h 796"/>
                  <a:gd name="T108" fmla="*/ 138 w 752"/>
                  <a:gd name="T109" fmla="*/ 224 h 796"/>
                  <a:gd name="T110" fmla="*/ 112 w 752"/>
                  <a:gd name="T111" fmla="*/ 181 h 796"/>
                  <a:gd name="T112" fmla="*/ 76 w 752"/>
                  <a:gd name="T113" fmla="*/ 132 h 796"/>
                  <a:gd name="T114" fmla="*/ 46 w 752"/>
                  <a:gd name="T115" fmla="*/ 102 h 796"/>
                  <a:gd name="T116" fmla="*/ 19 w 752"/>
                  <a:gd name="T117" fmla="*/ 61 h 796"/>
                  <a:gd name="T118" fmla="*/ 33 w 752"/>
                  <a:gd name="T119" fmla="*/ 29 h 796"/>
                  <a:gd name="T120" fmla="*/ 60 w 752"/>
                  <a:gd name="T121" fmla="*/ 26 h 796"/>
                  <a:gd name="T122" fmla="*/ 84 w 752"/>
                  <a:gd name="T123" fmla="*/ 19 h 796"/>
                  <a:gd name="T124" fmla="*/ 107 w 752"/>
                  <a:gd name="T125" fmla="*/ 7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2" h="796">
                    <a:moveTo>
                      <a:pt x="117" y="2"/>
                    </a:moveTo>
                    <a:lnTo>
                      <a:pt x="119" y="2"/>
                    </a:lnTo>
                    <a:lnTo>
                      <a:pt x="120" y="2"/>
                    </a:lnTo>
                    <a:lnTo>
                      <a:pt x="122" y="4"/>
                    </a:lnTo>
                    <a:lnTo>
                      <a:pt x="123" y="4"/>
                    </a:lnTo>
                    <a:lnTo>
                      <a:pt x="125" y="5"/>
                    </a:lnTo>
                    <a:lnTo>
                      <a:pt x="126" y="5"/>
                    </a:lnTo>
                    <a:lnTo>
                      <a:pt x="130" y="5"/>
                    </a:lnTo>
                    <a:lnTo>
                      <a:pt x="131" y="5"/>
                    </a:lnTo>
                    <a:lnTo>
                      <a:pt x="134" y="5"/>
                    </a:lnTo>
                    <a:lnTo>
                      <a:pt x="136" y="5"/>
                    </a:lnTo>
                    <a:lnTo>
                      <a:pt x="138" y="5"/>
                    </a:lnTo>
                    <a:lnTo>
                      <a:pt x="139" y="5"/>
                    </a:lnTo>
                    <a:lnTo>
                      <a:pt x="141" y="5"/>
                    </a:lnTo>
                    <a:lnTo>
                      <a:pt x="142" y="5"/>
                    </a:lnTo>
                    <a:lnTo>
                      <a:pt x="144" y="5"/>
                    </a:lnTo>
                    <a:lnTo>
                      <a:pt x="145" y="5"/>
                    </a:lnTo>
                    <a:lnTo>
                      <a:pt x="147" y="5"/>
                    </a:lnTo>
                    <a:lnTo>
                      <a:pt x="149" y="5"/>
                    </a:lnTo>
                    <a:lnTo>
                      <a:pt x="150" y="5"/>
                    </a:lnTo>
                    <a:lnTo>
                      <a:pt x="155" y="5"/>
                    </a:lnTo>
                    <a:lnTo>
                      <a:pt x="158" y="5"/>
                    </a:lnTo>
                    <a:lnTo>
                      <a:pt x="161" y="5"/>
                    </a:lnTo>
                    <a:lnTo>
                      <a:pt x="164" y="5"/>
                    </a:lnTo>
                    <a:lnTo>
                      <a:pt x="166" y="5"/>
                    </a:lnTo>
                    <a:lnTo>
                      <a:pt x="168" y="5"/>
                    </a:lnTo>
                    <a:lnTo>
                      <a:pt x="171" y="5"/>
                    </a:lnTo>
                    <a:lnTo>
                      <a:pt x="174" y="5"/>
                    </a:lnTo>
                    <a:lnTo>
                      <a:pt x="177" y="5"/>
                    </a:lnTo>
                    <a:lnTo>
                      <a:pt x="180" y="5"/>
                    </a:lnTo>
                    <a:lnTo>
                      <a:pt x="182" y="5"/>
                    </a:lnTo>
                    <a:lnTo>
                      <a:pt x="183" y="5"/>
                    </a:lnTo>
                    <a:lnTo>
                      <a:pt x="185" y="5"/>
                    </a:lnTo>
                    <a:lnTo>
                      <a:pt x="187" y="5"/>
                    </a:lnTo>
                    <a:lnTo>
                      <a:pt x="188" y="5"/>
                    </a:lnTo>
                    <a:lnTo>
                      <a:pt x="190" y="5"/>
                    </a:lnTo>
                    <a:lnTo>
                      <a:pt x="191" y="5"/>
                    </a:lnTo>
                    <a:lnTo>
                      <a:pt x="193" y="5"/>
                    </a:lnTo>
                    <a:lnTo>
                      <a:pt x="196" y="5"/>
                    </a:lnTo>
                    <a:lnTo>
                      <a:pt x="198" y="5"/>
                    </a:lnTo>
                    <a:lnTo>
                      <a:pt x="199" y="5"/>
                    </a:lnTo>
                    <a:lnTo>
                      <a:pt x="201" y="5"/>
                    </a:lnTo>
                    <a:lnTo>
                      <a:pt x="202" y="5"/>
                    </a:lnTo>
                    <a:lnTo>
                      <a:pt x="204" y="5"/>
                    </a:lnTo>
                    <a:lnTo>
                      <a:pt x="204" y="7"/>
                    </a:lnTo>
                    <a:lnTo>
                      <a:pt x="206" y="7"/>
                    </a:lnTo>
                    <a:lnTo>
                      <a:pt x="207" y="7"/>
                    </a:lnTo>
                    <a:lnTo>
                      <a:pt x="207" y="5"/>
                    </a:lnTo>
                    <a:lnTo>
                      <a:pt x="209" y="5"/>
                    </a:lnTo>
                    <a:lnTo>
                      <a:pt x="210" y="5"/>
                    </a:lnTo>
                    <a:lnTo>
                      <a:pt x="214" y="5"/>
                    </a:lnTo>
                    <a:lnTo>
                      <a:pt x="218" y="5"/>
                    </a:lnTo>
                    <a:lnTo>
                      <a:pt x="221" y="5"/>
                    </a:lnTo>
                    <a:lnTo>
                      <a:pt x="223" y="5"/>
                    </a:lnTo>
                    <a:lnTo>
                      <a:pt x="225" y="5"/>
                    </a:lnTo>
                    <a:lnTo>
                      <a:pt x="228" y="5"/>
                    </a:lnTo>
                    <a:lnTo>
                      <a:pt x="231" y="5"/>
                    </a:lnTo>
                    <a:lnTo>
                      <a:pt x="236" y="5"/>
                    </a:lnTo>
                    <a:lnTo>
                      <a:pt x="239" y="5"/>
                    </a:lnTo>
                    <a:lnTo>
                      <a:pt x="240" y="5"/>
                    </a:lnTo>
                    <a:lnTo>
                      <a:pt x="244" y="5"/>
                    </a:lnTo>
                    <a:lnTo>
                      <a:pt x="245" y="5"/>
                    </a:lnTo>
                    <a:lnTo>
                      <a:pt x="247" y="5"/>
                    </a:lnTo>
                    <a:lnTo>
                      <a:pt x="248" y="5"/>
                    </a:lnTo>
                    <a:lnTo>
                      <a:pt x="250" y="5"/>
                    </a:lnTo>
                    <a:lnTo>
                      <a:pt x="252" y="5"/>
                    </a:lnTo>
                    <a:lnTo>
                      <a:pt x="253" y="5"/>
                    </a:lnTo>
                    <a:lnTo>
                      <a:pt x="255" y="5"/>
                    </a:lnTo>
                    <a:lnTo>
                      <a:pt x="256" y="5"/>
                    </a:lnTo>
                    <a:lnTo>
                      <a:pt x="258" y="5"/>
                    </a:lnTo>
                    <a:lnTo>
                      <a:pt x="259" y="5"/>
                    </a:lnTo>
                    <a:lnTo>
                      <a:pt x="261" y="5"/>
                    </a:lnTo>
                    <a:lnTo>
                      <a:pt x="263" y="5"/>
                    </a:lnTo>
                    <a:lnTo>
                      <a:pt x="264" y="5"/>
                    </a:lnTo>
                    <a:lnTo>
                      <a:pt x="266" y="5"/>
                    </a:lnTo>
                    <a:lnTo>
                      <a:pt x="267" y="5"/>
                    </a:lnTo>
                    <a:lnTo>
                      <a:pt x="269" y="5"/>
                    </a:lnTo>
                    <a:lnTo>
                      <a:pt x="271" y="5"/>
                    </a:lnTo>
                    <a:lnTo>
                      <a:pt x="272" y="5"/>
                    </a:lnTo>
                    <a:lnTo>
                      <a:pt x="274" y="5"/>
                    </a:lnTo>
                    <a:lnTo>
                      <a:pt x="275" y="5"/>
                    </a:lnTo>
                    <a:lnTo>
                      <a:pt x="280" y="5"/>
                    </a:lnTo>
                    <a:lnTo>
                      <a:pt x="282" y="5"/>
                    </a:lnTo>
                    <a:lnTo>
                      <a:pt x="283" y="5"/>
                    </a:lnTo>
                    <a:lnTo>
                      <a:pt x="285" y="5"/>
                    </a:lnTo>
                    <a:lnTo>
                      <a:pt x="288" y="5"/>
                    </a:lnTo>
                    <a:lnTo>
                      <a:pt x="290" y="5"/>
                    </a:lnTo>
                    <a:lnTo>
                      <a:pt x="291" y="5"/>
                    </a:lnTo>
                    <a:lnTo>
                      <a:pt x="293" y="5"/>
                    </a:lnTo>
                    <a:lnTo>
                      <a:pt x="296" y="5"/>
                    </a:lnTo>
                    <a:lnTo>
                      <a:pt x="299" y="5"/>
                    </a:lnTo>
                    <a:lnTo>
                      <a:pt x="302" y="5"/>
                    </a:lnTo>
                    <a:lnTo>
                      <a:pt x="305" y="5"/>
                    </a:lnTo>
                    <a:lnTo>
                      <a:pt x="307" y="5"/>
                    </a:lnTo>
                    <a:lnTo>
                      <a:pt x="309" y="5"/>
                    </a:lnTo>
                    <a:lnTo>
                      <a:pt x="310" y="5"/>
                    </a:lnTo>
                    <a:lnTo>
                      <a:pt x="313" y="5"/>
                    </a:lnTo>
                    <a:lnTo>
                      <a:pt x="317" y="5"/>
                    </a:lnTo>
                    <a:lnTo>
                      <a:pt x="320" y="5"/>
                    </a:lnTo>
                    <a:lnTo>
                      <a:pt x="323" y="5"/>
                    </a:lnTo>
                    <a:lnTo>
                      <a:pt x="326" y="5"/>
                    </a:lnTo>
                    <a:lnTo>
                      <a:pt x="329" y="5"/>
                    </a:lnTo>
                    <a:lnTo>
                      <a:pt x="332" y="5"/>
                    </a:lnTo>
                    <a:lnTo>
                      <a:pt x="336" y="5"/>
                    </a:lnTo>
                    <a:lnTo>
                      <a:pt x="339" y="5"/>
                    </a:lnTo>
                    <a:lnTo>
                      <a:pt x="342" y="5"/>
                    </a:lnTo>
                    <a:lnTo>
                      <a:pt x="345" y="5"/>
                    </a:lnTo>
                    <a:lnTo>
                      <a:pt x="347" y="5"/>
                    </a:lnTo>
                    <a:lnTo>
                      <a:pt x="355" y="7"/>
                    </a:lnTo>
                    <a:lnTo>
                      <a:pt x="356" y="7"/>
                    </a:lnTo>
                    <a:lnTo>
                      <a:pt x="358" y="7"/>
                    </a:lnTo>
                    <a:lnTo>
                      <a:pt x="361" y="7"/>
                    </a:lnTo>
                    <a:lnTo>
                      <a:pt x="362" y="7"/>
                    </a:lnTo>
                    <a:lnTo>
                      <a:pt x="366" y="7"/>
                    </a:lnTo>
                    <a:lnTo>
                      <a:pt x="369" y="7"/>
                    </a:lnTo>
                    <a:lnTo>
                      <a:pt x="372" y="7"/>
                    </a:lnTo>
                    <a:lnTo>
                      <a:pt x="374" y="7"/>
                    </a:lnTo>
                    <a:lnTo>
                      <a:pt x="375" y="7"/>
                    </a:lnTo>
                    <a:lnTo>
                      <a:pt x="377" y="7"/>
                    </a:lnTo>
                    <a:lnTo>
                      <a:pt x="380" y="7"/>
                    </a:lnTo>
                    <a:lnTo>
                      <a:pt x="381" y="7"/>
                    </a:lnTo>
                    <a:lnTo>
                      <a:pt x="385" y="7"/>
                    </a:lnTo>
                    <a:lnTo>
                      <a:pt x="393" y="7"/>
                    </a:lnTo>
                    <a:lnTo>
                      <a:pt x="394" y="7"/>
                    </a:lnTo>
                    <a:lnTo>
                      <a:pt x="399" y="7"/>
                    </a:lnTo>
                    <a:lnTo>
                      <a:pt x="402" y="7"/>
                    </a:lnTo>
                    <a:lnTo>
                      <a:pt x="405" y="7"/>
                    </a:lnTo>
                    <a:lnTo>
                      <a:pt x="407" y="7"/>
                    </a:lnTo>
                    <a:lnTo>
                      <a:pt x="410" y="7"/>
                    </a:lnTo>
                    <a:lnTo>
                      <a:pt x="413" y="7"/>
                    </a:lnTo>
                    <a:lnTo>
                      <a:pt x="415" y="7"/>
                    </a:lnTo>
                    <a:lnTo>
                      <a:pt x="419" y="7"/>
                    </a:lnTo>
                    <a:lnTo>
                      <a:pt x="423" y="5"/>
                    </a:lnTo>
                    <a:lnTo>
                      <a:pt x="426" y="5"/>
                    </a:lnTo>
                    <a:lnTo>
                      <a:pt x="431" y="5"/>
                    </a:lnTo>
                    <a:lnTo>
                      <a:pt x="434" y="5"/>
                    </a:lnTo>
                    <a:lnTo>
                      <a:pt x="438" y="5"/>
                    </a:lnTo>
                    <a:lnTo>
                      <a:pt x="442" y="5"/>
                    </a:lnTo>
                    <a:lnTo>
                      <a:pt x="446" y="5"/>
                    </a:lnTo>
                    <a:lnTo>
                      <a:pt x="451" y="5"/>
                    </a:lnTo>
                    <a:lnTo>
                      <a:pt x="453" y="5"/>
                    </a:lnTo>
                    <a:lnTo>
                      <a:pt x="465" y="5"/>
                    </a:lnTo>
                    <a:lnTo>
                      <a:pt x="480" y="5"/>
                    </a:lnTo>
                    <a:lnTo>
                      <a:pt x="752" y="5"/>
                    </a:lnTo>
                    <a:lnTo>
                      <a:pt x="751" y="40"/>
                    </a:lnTo>
                    <a:lnTo>
                      <a:pt x="746" y="159"/>
                    </a:lnTo>
                    <a:lnTo>
                      <a:pt x="469" y="387"/>
                    </a:lnTo>
                    <a:lnTo>
                      <a:pt x="431" y="390"/>
                    </a:lnTo>
                    <a:lnTo>
                      <a:pt x="432" y="417"/>
                    </a:lnTo>
                    <a:lnTo>
                      <a:pt x="427" y="420"/>
                    </a:lnTo>
                    <a:lnTo>
                      <a:pt x="427" y="422"/>
                    </a:lnTo>
                    <a:lnTo>
                      <a:pt x="434" y="430"/>
                    </a:lnTo>
                    <a:lnTo>
                      <a:pt x="443" y="441"/>
                    </a:lnTo>
                    <a:lnTo>
                      <a:pt x="445" y="450"/>
                    </a:lnTo>
                    <a:lnTo>
                      <a:pt x="445" y="460"/>
                    </a:lnTo>
                    <a:lnTo>
                      <a:pt x="446" y="466"/>
                    </a:lnTo>
                    <a:lnTo>
                      <a:pt x="451" y="474"/>
                    </a:lnTo>
                    <a:lnTo>
                      <a:pt x="459" y="484"/>
                    </a:lnTo>
                    <a:lnTo>
                      <a:pt x="465" y="491"/>
                    </a:lnTo>
                    <a:lnTo>
                      <a:pt x="467" y="501"/>
                    </a:lnTo>
                    <a:lnTo>
                      <a:pt x="473" y="511"/>
                    </a:lnTo>
                    <a:lnTo>
                      <a:pt x="475" y="522"/>
                    </a:lnTo>
                    <a:lnTo>
                      <a:pt x="475" y="536"/>
                    </a:lnTo>
                    <a:lnTo>
                      <a:pt x="467" y="545"/>
                    </a:lnTo>
                    <a:lnTo>
                      <a:pt x="464" y="552"/>
                    </a:lnTo>
                    <a:lnTo>
                      <a:pt x="462" y="552"/>
                    </a:lnTo>
                    <a:lnTo>
                      <a:pt x="461" y="552"/>
                    </a:lnTo>
                    <a:lnTo>
                      <a:pt x="461" y="553"/>
                    </a:lnTo>
                    <a:lnTo>
                      <a:pt x="459" y="553"/>
                    </a:lnTo>
                    <a:lnTo>
                      <a:pt x="457" y="555"/>
                    </a:lnTo>
                    <a:lnTo>
                      <a:pt x="456" y="555"/>
                    </a:lnTo>
                    <a:lnTo>
                      <a:pt x="456" y="556"/>
                    </a:lnTo>
                    <a:lnTo>
                      <a:pt x="454" y="556"/>
                    </a:lnTo>
                    <a:lnTo>
                      <a:pt x="454" y="558"/>
                    </a:lnTo>
                    <a:lnTo>
                      <a:pt x="454" y="560"/>
                    </a:lnTo>
                    <a:lnTo>
                      <a:pt x="454" y="561"/>
                    </a:lnTo>
                    <a:lnTo>
                      <a:pt x="454" y="563"/>
                    </a:lnTo>
                    <a:lnTo>
                      <a:pt x="454" y="564"/>
                    </a:lnTo>
                    <a:lnTo>
                      <a:pt x="454" y="566"/>
                    </a:lnTo>
                    <a:lnTo>
                      <a:pt x="456" y="566"/>
                    </a:lnTo>
                    <a:lnTo>
                      <a:pt x="456" y="568"/>
                    </a:lnTo>
                    <a:lnTo>
                      <a:pt x="456" y="569"/>
                    </a:lnTo>
                    <a:lnTo>
                      <a:pt x="456" y="571"/>
                    </a:lnTo>
                    <a:lnTo>
                      <a:pt x="456" y="572"/>
                    </a:lnTo>
                    <a:lnTo>
                      <a:pt x="457" y="572"/>
                    </a:lnTo>
                    <a:lnTo>
                      <a:pt x="457" y="574"/>
                    </a:lnTo>
                    <a:lnTo>
                      <a:pt x="457" y="575"/>
                    </a:lnTo>
                    <a:lnTo>
                      <a:pt x="459" y="577"/>
                    </a:lnTo>
                    <a:lnTo>
                      <a:pt x="459" y="579"/>
                    </a:lnTo>
                    <a:lnTo>
                      <a:pt x="461" y="579"/>
                    </a:lnTo>
                    <a:lnTo>
                      <a:pt x="461" y="580"/>
                    </a:lnTo>
                    <a:lnTo>
                      <a:pt x="461" y="582"/>
                    </a:lnTo>
                    <a:lnTo>
                      <a:pt x="461" y="583"/>
                    </a:lnTo>
                    <a:lnTo>
                      <a:pt x="461" y="585"/>
                    </a:lnTo>
                    <a:lnTo>
                      <a:pt x="461" y="587"/>
                    </a:lnTo>
                    <a:lnTo>
                      <a:pt x="461" y="588"/>
                    </a:lnTo>
                    <a:lnTo>
                      <a:pt x="459" y="590"/>
                    </a:lnTo>
                    <a:lnTo>
                      <a:pt x="459" y="591"/>
                    </a:lnTo>
                    <a:lnTo>
                      <a:pt x="457" y="591"/>
                    </a:lnTo>
                    <a:lnTo>
                      <a:pt x="459" y="593"/>
                    </a:lnTo>
                    <a:lnTo>
                      <a:pt x="459" y="594"/>
                    </a:lnTo>
                    <a:lnTo>
                      <a:pt x="461" y="594"/>
                    </a:lnTo>
                    <a:lnTo>
                      <a:pt x="461" y="596"/>
                    </a:lnTo>
                    <a:lnTo>
                      <a:pt x="462" y="598"/>
                    </a:lnTo>
                    <a:lnTo>
                      <a:pt x="464" y="598"/>
                    </a:lnTo>
                    <a:lnTo>
                      <a:pt x="464" y="599"/>
                    </a:lnTo>
                    <a:lnTo>
                      <a:pt x="465" y="601"/>
                    </a:lnTo>
                    <a:lnTo>
                      <a:pt x="467" y="601"/>
                    </a:lnTo>
                    <a:lnTo>
                      <a:pt x="467" y="602"/>
                    </a:lnTo>
                    <a:lnTo>
                      <a:pt x="469" y="602"/>
                    </a:lnTo>
                    <a:lnTo>
                      <a:pt x="470" y="602"/>
                    </a:lnTo>
                    <a:lnTo>
                      <a:pt x="470" y="604"/>
                    </a:lnTo>
                    <a:lnTo>
                      <a:pt x="472" y="606"/>
                    </a:lnTo>
                    <a:lnTo>
                      <a:pt x="472" y="607"/>
                    </a:lnTo>
                    <a:lnTo>
                      <a:pt x="473" y="607"/>
                    </a:lnTo>
                    <a:lnTo>
                      <a:pt x="473" y="609"/>
                    </a:lnTo>
                    <a:lnTo>
                      <a:pt x="473" y="610"/>
                    </a:lnTo>
                    <a:lnTo>
                      <a:pt x="475" y="610"/>
                    </a:lnTo>
                    <a:lnTo>
                      <a:pt x="475" y="612"/>
                    </a:lnTo>
                    <a:lnTo>
                      <a:pt x="475" y="613"/>
                    </a:lnTo>
                    <a:lnTo>
                      <a:pt x="475" y="615"/>
                    </a:lnTo>
                    <a:lnTo>
                      <a:pt x="477" y="615"/>
                    </a:lnTo>
                    <a:lnTo>
                      <a:pt x="477" y="617"/>
                    </a:lnTo>
                    <a:lnTo>
                      <a:pt x="478" y="617"/>
                    </a:lnTo>
                    <a:lnTo>
                      <a:pt x="480" y="618"/>
                    </a:lnTo>
                    <a:lnTo>
                      <a:pt x="480" y="620"/>
                    </a:lnTo>
                    <a:lnTo>
                      <a:pt x="481" y="620"/>
                    </a:lnTo>
                    <a:lnTo>
                      <a:pt x="481" y="621"/>
                    </a:lnTo>
                    <a:lnTo>
                      <a:pt x="483" y="621"/>
                    </a:lnTo>
                    <a:lnTo>
                      <a:pt x="484" y="621"/>
                    </a:lnTo>
                    <a:lnTo>
                      <a:pt x="486" y="621"/>
                    </a:lnTo>
                    <a:lnTo>
                      <a:pt x="488" y="623"/>
                    </a:lnTo>
                    <a:lnTo>
                      <a:pt x="489" y="623"/>
                    </a:lnTo>
                    <a:lnTo>
                      <a:pt x="491" y="623"/>
                    </a:lnTo>
                    <a:lnTo>
                      <a:pt x="491" y="625"/>
                    </a:lnTo>
                    <a:lnTo>
                      <a:pt x="492" y="625"/>
                    </a:lnTo>
                    <a:lnTo>
                      <a:pt x="494" y="625"/>
                    </a:lnTo>
                    <a:lnTo>
                      <a:pt x="494" y="626"/>
                    </a:lnTo>
                    <a:lnTo>
                      <a:pt x="496" y="626"/>
                    </a:lnTo>
                    <a:lnTo>
                      <a:pt x="497" y="626"/>
                    </a:lnTo>
                    <a:lnTo>
                      <a:pt x="497" y="628"/>
                    </a:lnTo>
                    <a:lnTo>
                      <a:pt x="499" y="628"/>
                    </a:lnTo>
                    <a:lnTo>
                      <a:pt x="499" y="629"/>
                    </a:lnTo>
                    <a:lnTo>
                      <a:pt x="499" y="631"/>
                    </a:lnTo>
                    <a:lnTo>
                      <a:pt x="499" y="632"/>
                    </a:lnTo>
                    <a:lnTo>
                      <a:pt x="497" y="634"/>
                    </a:lnTo>
                    <a:lnTo>
                      <a:pt x="496" y="636"/>
                    </a:lnTo>
                    <a:lnTo>
                      <a:pt x="496" y="637"/>
                    </a:lnTo>
                    <a:lnTo>
                      <a:pt x="494" y="637"/>
                    </a:lnTo>
                    <a:lnTo>
                      <a:pt x="494" y="639"/>
                    </a:lnTo>
                    <a:lnTo>
                      <a:pt x="492" y="640"/>
                    </a:lnTo>
                    <a:lnTo>
                      <a:pt x="492" y="642"/>
                    </a:lnTo>
                    <a:lnTo>
                      <a:pt x="492" y="644"/>
                    </a:lnTo>
                    <a:lnTo>
                      <a:pt x="492" y="645"/>
                    </a:lnTo>
                    <a:lnTo>
                      <a:pt x="492" y="647"/>
                    </a:lnTo>
                    <a:lnTo>
                      <a:pt x="491" y="648"/>
                    </a:lnTo>
                    <a:lnTo>
                      <a:pt x="491" y="650"/>
                    </a:lnTo>
                    <a:lnTo>
                      <a:pt x="491" y="651"/>
                    </a:lnTo>
                    <a:lnTo>
                      <a:pt x="492" y="651"/>
                    </a:lnTo>
                    <a:lnTo>
                      <a:pt x="492" y="653"/>
                    </a:lnTo>
                    <a:lnTo>
                      <a:pt x="492" y="655"/>
                    </a:lnTo>
                    <a:lnTo>
                      <a:pt x="492" y="656"/>
                    </a:lnTo>
                    <a:lnTo>
                      <a:pt x="492" y="658"/>
                    </a:lnTo>
                    <a:lnTo>
                      <a:pt x="491" y="658"/>
                    </a:lnTo>
                    <a:lnTo>
                      <a:pt x="491" y="659"/>
                    </a:lnTo>
                    <a:lnTo>
                      <a:pt x="489" y="659"/>
                    </a:lnTo>
                    <a:lnTo>
                      <a:pt x="488" y="661"/>
                    </a:lnTo>
                    <a:lnTo>
                      <a:pt x="488" y="663"/>
                    </a:lnTo>
                    <a:lnTo>
                      <a:pt x="486" y="663"/>
                    </a:lnTo>
                    <a:lnTo>
                      <a:pt x="486" y="664"/>
                    </a:lnTo>
                    <a:lnTo>
                      <a:pt x="486" y="666"/>
                    </a:lnTo>
                    <a:lnTo>
                      <a:pt x="484" y="667"/>
                    </a:lnTo>
                    <a:lnTo>
                      <a:pt x="484" y="669"/>
                    </a:lnTo>
                    <a:lnTo>
                      <a:pt x="483" y="669"/>
                    </a:lnTo>
                    <a:lnTo>
                      <a:pt x="483" y="670"/>
                    </a:lnTo>
                    <a:lnTo>
                      <a:pt x="484" y="670"/>
                    </a:lnTo>
                    <a:lnTo>
                      <a:pt x="486" y="670"/>
                    </a:lnTo>
                    <a:lnTo>
                      <a:pt x="488" y="670"/>
                    </a:lnTo>
                    <a:lnTo>
                      <a:pt x="488" y="672"/>
                    </a:lnTo>
                    <a:lnTo>
                      <a:pt x="489" y="672"/>
                    </a:lnTo>
                    <a:lnTo>
                      <a:pt x="489" y="674"/>
                    </a:lnTo>
                    <a:lnTo>
                      <a:pt x="491" y="674"/>
                    </a:lnTo>
                    <a:lnTo>
                      <a:pt x="492" y="675"/>
                    </a:lnTo>
                    <a:lnTo>
                      <a:pt x="492" y="677"/>
                    </a:lnTo>
                    <a:lnTo>
                      <a:pt x="492" y="678"/>
                    </a:lnTo>
                    <a:lnTo>
                      <a:pt x="492" y="680"/>
                    </a:lnTo>
                    <a:lnTo>
                      <a:pt x="492" y="682"/>
                    </a:lnTo>
                    <a:lnTo>
                      <a:pt x="492" y="683"/>
                    </a:lnTo>
                    <a:lnTo>
                      <a:pt x="492" y="685"/>
                    </a:lnTo>
                    <a:lnTo>
                      <a:pt x="492" y="686"/>
                    </a:lnTo>
                    <a:lnTo>
                      <a:pt x="494" y="686"/>
                    </a:lnTo>
                    <a:lnTo>
                      <a:pt x="494" y="688"/>
                    </a:lnTo>
                    <a:lnTo>
                      <a:pt x="492" y="689"/>
                    </a:lnTo>
                    <a:lnTo>
                      <a:pt x="494" y="689"/>
                    </a:lnTo>
                    <a:lnTo>
                      <a:pt x="492" y="691"/>
                    </a:lnTo>
                    <a:lnTo>
                      <a:pt x="492" y="693"/>
                    </a:lnTo>
                    <a:lnTo>
                      <a:pt x="491" y="694"/>
                    </a:lnTo>
                    <a:lnTo>
                      <a:pt x="489" y="694"/>
                    </a:lnTo>
                    <a:lnTo>
                      <a:pt x="488" y="696"/>
                    </a:lnTo>
                    <a:lnTo>
                      <a:pt x="488" y="697"/>
                    </a:lnTo>
                    <a:lnTo>
                      <a:pt x="488" y="699"/>
                    </a:lnTo>
                    <a:lnTo>
                      <a:pt x="486" y="699"/>
                    </a:lnTo>
                    <a:lnTo>
                      <a:pt x="486" y="701"/>
                    </a:lnTo>
                    <a:lnTo>
                      <a:pt x="486" y="702"/>
                    </a:lnTo>
                    <a:lnTo>
                      <a:pt x="486" y="704"/>
                    </a:lnTo>
                    <a:lnTo>
                      <a:pt x="488" y="705"/>
                    </a:lnTo>
                    <a:lnTo>
                      <a:pt x="489" y="707"/>
                    </a:lnTo>
                    <a:lnTo>
                      <a:pt x="491" y="709"/>
                    </a:lnTo>
                    <a:lnTo>
                      <a:pt x="491" y="710"/>
                    </a:lnTo>
                    <a:lnTo>
                      <a:pt x="491" y="712"/>
                    </a:lnTo>
                    <a:lnTo>
                      <a:pt x="491" y="713"/>
                    </a:lnTo>
                    <a:lnTo>
                      <a:pt x="491" y="715"/>
                    </a:lnTo>
                    <a:lnTo>
                      <a:pt x="489" y="716"/>
                    </a:lnTo>
                    <a:lnTo>
                      <a:pt x="488" y="716"/>
                    </a:lnTo>
                    <a:lnTo>
                      <a:pt x="488" y="718"/>
                    </a:lnTo>
                    <a:lnTo>
                      <a:pt x="486" y="718"/>
                    </a:lnTo>
                    <a:lnTo>
                      <a:pt x="486" y="720"/>
                    </a:lnTo>
                    <a:lnTo>
                      <a:pt x="486" y="721"/>
                    </a:lnTo>
                    <a:lnTo>
                      <a:pt x="484" y="723"/>
                    </a:lnTo>
                    <a:lnTo>
                      <a:pt x="483" y="723"/>
                    </a:lnTo>
                    <a:lnTo>
                      <a:pt x="481" y="724"/>
                    </a:lnTo>
                    <a:lnTo>
                      <a:pt x="478" y="724"/>
                    </a:lnTo>
                    <a:lnTo>
                      <a:pt x="477" y="724"/>
                    </a:lnTo>
                    <a:lnTo>
                      <a:pt x="475" y="724"/>
                    </a:lnTo>
                    <a:lnTo>
                      <a:pt x="473" y="724"/>
                    </a:lnTo>
                    <a:lnTo>
                      <a:pt x="472" y="726"/>
                    </a:lnTo>
                    <a:lnTo>
                      <a:pt x="470" y="724"/>
                    </a:lnTo>
                    <a:lnTo>
                      <a:pt x="469" y="724"/>
                    </a:lnTo>
                    <a:lnTo>
                      <a:pt x="469" y="726"/>
                    </a:lnTo>
                    <a:lnTo>
                      <a:pt x="467" y="726"/>
                    </a:lnTo>
                    <a:lnTo>
                      <a:pt x="465" y="726"/>
                    </a:lnTo>
                    <a:lnTo>
                      <a:pt x="465" y="728"/>
                    </a:lnTo>
                    <a:lnTo>
                      <a:pt x="464" y="729"/>
                    </a:lnTo>
                    <a:lnTo>
                      <a:pt x="464" y="731"/>
                    </a:lnTo>
                    <a:lnTo>
                      <a:pt x="462" y="731"/>
                    </a:lnTo>
                    <a:lnTo>
                      <a:pt x="461" y="731"/>
                    </a:lnTo>
                    <a:lnTo>
                      <a:pt x="459" y="731"/>
                    </a:lnTo>
                    <a:lnTo>
                      <a:pt x="457" y="732"/>
                    </a:lnTo>
                    <a:lnTo>
                      <a:pt x="456" y="734"/>
                    </a:lnTo>
                    <a:lnTo>
                      <a:pt x="454" y="734"/>
                    </a:lnTo>
                    <a:lnTo>
                      <a:pt x="454" y="735"/>
                    </a:lnTo>
                    <a:lnTo>
                      <a:pt x="453" y="737"/>
                    </a:lnTo>
                    <a:lnTo>
                      <a:pt x="451" y="737"/>
                    </a:lnTo>
                    <a:lnTo>
                      <a:pt x="450" y="737"/>
                    </a:lnTo>
                    <a:lnTo>
                      <a:pt x="448" y="739"/>
                    </a:lnTo>
                    <a:lnTo>
                      <a:pt x="446" y="739"/>
                    </a:lnTo>
                    <a:lnTo>
                      <a:pt x="446" y="740"/>
                    </a:lnTo>
                    <a:lnTo>
                      <a:pt x="445" y="740"/>
                    </a:lnTo>
                    <a:lnTo>
                      <a:pt x="443" y="742"/>
                    </a:lnTo>
                    <a:lnTo>
                      <a:pt x="442" y="742"/>
                    </a:lnTo>
                    <a:lnTo>
                      <a:pt x="440" y="743"/>
                    </a:lnTo>
                    <a:lnTo>
                      <a:pt x="438" y="743"/>
                    </a:lnTo>
                    <a:lnTo>
                      <a:pt x="437" y="745"/>
                    </a:lnTo>
                    <a:lnTo>
                      <a:pt x="431" y="735"/>
                    </a:lnTo>
                    <a:lnTo>
                      <a:pt x="429" y="735"/>
                    </a:lnTo>
                    <a:lnTo>
                      <a:pt x="427" y="734"/>
                    </a:lnTo>
                    <a:lnTo>
                      <a:pt x="426" y="732"/>
                    </a:lnTo>
                    <a:lnTo>
                      <a:pt x="424" y="731"/>
                    </a:lnTo>
                    <a:lnTo>
                      <a:pt x="424" y="729"/>
                    </a:lnTo>
                    <a:lnTo>
                      <a:pt x="423" y="728"/>
                    </a:lnTo>
                    <a:lnTo>
                      <a:pt x="421" y="728"/>
                    </a:lnTo>
                    <a:lnTo>
                      <a:pt x="419" y="728"/>
                    </a:lnTo>
                    <a:lnTo>
                      <a:pt x="418" y="729"/>
                    </a:lnTo>
                    <a:lnTo>
                      <a:pt x="418" y="728"/>
                    </a:lnTo>
                    <a:lnTo>
                      <a:pt x="416" y="724"/>
                    </a:lnTo>
                    <a:lnTo>
                      <a:pt x="413" y="723"/>
                    </a:lnTo>
                    <a:lnTo>
                      <a:pt x="412" y="723"/>
                    </a:lnTo>
                    <a:lnTo>
                      <a:pt x="410" y="721"/>
                    </a:lnTo>
                    <a:lnTo>
                      <a:pt x="408" y="720"/>
                    </a:lnTo>
                    <a:lnTo>
                      <a:pt x="407" y="718"/>
                    </a:lnTo>
                    <a:lnTo>
                      <a:pt x="405" y="718"/>
                    </a:lnTo>
                    <a:lnTo>
                      <a:pt x="404" y="718"/>
                    </a:lnTo>
                    <a:lnTo>
                      <a:pt x="402" y="720"/>
                    </a:lnTo>
                    <a:lnTo>
                      <a:pt x="400" y="720"/>
                    </a:lnTo>
                    <a:lnTo>
                      <a:pt x="400" y="721"/>
                    </a:lnTo>
                    <a:lnTo>
                      <a:pt x="399" y="723"/>
                    </a:lnTo>
                    <a:lnTo>
                      <a:pt x="397" y="724"/>
                    </a:lnTo>
                    <a:lnTo>
                      <a:pt x="394" y="728"/>
                    </a:lnTo>
                    <a:lnTo>
                      <a:pt x="391" y="729"/>
                    </a:lnTo>
                    <a:lnTo>
                      <a:pt x="389" y="729"/>
                    </a:lnTo>
                    <a:lnTo>
                      <a:pt x="388" y="729"/>
                    </a:lnTo>
                    <a:lnTo>
                      <a:pt x="386" y="729"/>
                    </a:lnTo>
                    <a:lnTo>
                      <a:pt x="385" y="728"/>
                    </a:lnTo>
                    <a:lnTo>
                      <a:pt x="381" y="728"/>
                    </a:lnTo>
                    <a:lnTo>
                      <a:pt x="380" y="728"/>
                    </a:lnTo>
                    <a:lnTo>
                      <a:pt x="380" y="726"/>
                    </a:lnTo>
                    <a:lnTo>
                      <a:pt x="378" y="726"/>
                    </a:lnTo>
                    <a:lnTo>
                      <a:pt x="377" y="724"/>
                    </a:lnTo>
                    <a:lnTo>
                      <a:pt x="375" y="724"/>
                    </a:lnTo>
                    <a:lnTo>
                      <a:pt x="374" y="723"/>
                    </a:lnTo>
                    <a:lnTo>
                      <a:pt x="372" y="724"/>
                    </a:lnTo>
                    <a:lnTo>
                      <a:pt x="372" y="726"/>
                    </a:lnTo>
                    <a:lnTo>
                      <a:pt x="372" y="728"/>
                    </a:lnTo>
                    <a:lnTo>
                      <a:pt x="370" y="729"/>
                    </a:lnTo>
                    <a:lnTo>
                      <a:pt x="370" y="731"/>
                    </a:lnTo>
                    <a:lnTo>
                      <a:pt x="369" y="732"/>
                    </a:lnTo>
                    <a:lnTo>
                      <a:pt x="367" y="732"/>
                    </a:lnTo>
                    <a:lnTo>
                      <a:pt x="367" y="731"/>
                    </a:lnTo>
                    <a:lnTo>
                      <a:pt x="366" y="731"/>
                    </a:lnTo>
                    <a:lnTo>
                      <a:pt x="364" y="729"/>
                    </a:lnTo>
                    <a:lnTo>
                      <a:pt x="362" y="729"/>
                    </a:lnTo>
                    <a:lnTo>
                      <a:pt x="361" y="728"/>
                    </a:lnTo>
                    <a:lnTo>
                      <a:pt x="359" y="729"/>
                    </a:lnTo>
                    <a:lnTo>
                      <a:pt x="358" y="732"/>
                    </a:lnTo>
                    <a:lnTo>
                      <a:pt x="358" y="734"/>
                    </a:lnTo>
                    <a:lnTo>
                      <a:pt x="358" y="735"/>
                    </a:lnTo>
                    <a:lnTo>
                      <a:pt x="356" y="739"/>
                    </a:lnTo>
                    <a:lnTo>
                      <a:pt x="353" y="747"/>
                    </a:lnTo>
                    <a:lnTo>
                      <a:pt x="353" y="748"/>
                    </a:lnTo>
                    <a:lnTo>
                      <a:pt x="351" y="750"/>
                    </a:lnTo>
                    <a:lnTo>
                      <a:pt x="350" y="750"/>
                    </a:lnTo>
                    <a:lnTo>
                      <a:pt x="348" y="750"/>
                    </a:lnTo>
                    <a:lnTo>
                      <a:pt x="348" y="748"/>
                    </a:lnTo>
                    <a:lnTo>
                      <a:pt x="347" y="747"/>
                    </a:lnTo>
                    <a:lnTo>
                      <a:pt x="345" y="747"/>
                    </a:lnTo>
                    <a:lnTo>
                      <a:pt x="342" y="743"/>
                    </a:lnTo>
                    <a:lnTo>
                      <a:pt x="340" y="743"/>
                    </a:lnTo>
                    <a:lnTo>
                      <a:pt x="340" y="742"/>
                    </a:lnTo>
                    <a:lnTo>
                      <a:pt x="339" y="740"/>
                    </a:lnTo>
                    <a:lnTo>
                      <a:pt x="337" y="740"/>
                    </a:lnTo>
                    <a:lnTo>
                      <a:pt x="336" y="739"/>
                    </a:lnTo>
                    <a:lnTo>
                      <a:pt x="336" y="737"/>
                    </a:lnTo>
                    <a:lnTo>
                      <a:pt x="337" y="735"/>
                    </a:lnTo>
                    <a:lnTo>
                      <a:pt x="336" y="734"/>
                    </a:lnTo>
                    <a:lnTo>
                      <a:pt x="336" y="732"/>
                    </a:lnTo>
                    <a:lnTo>
                      <a:pt x="336" y="731"/>
                    </a:lnTo>
                    <a:lnTo>
                      <a:pt x="334" y="731"/>
                    </a:lnTo>
                    <a:lnTo>
                      <a:pt x="334" y="729"/>
                    </a:lnTo>
                    <a:lnTo>
                      <a:pt x="332" y="728"/>
                    </a:lnTo>
                    <a:lnTo>
                      <a:pt x="331" y="728"/>
                    </a:lnTo>
                    <a:lnTo>
                      <a:pt x="329" y="726"/>
                    </a:lnTo>
                    <a:lnTo>
                      <a:pt x="328" y="726"/>
                    </a:lnTo>
                    <a:lnTo>
                      <a:pt x="326" y="724"/>
                    </a:lnTo>
                    <a:lnTo>
                      <a:pt x="324" y="724"/>
                    </a:lnTo>
                    <a:lnTo>
                      <a:pt x="323" y="724"/>
                    </a:lnTo>
                    <a:lnTo>
                      <a:pt x="321" y="724"/>
                    </a:lnTo>
                    <a:lnTo>
                      <a:pt x="320" y="724"/>
                    </a:lnTo>
                    <a:lnTo>
                      <a:pt x="318" y="724"/>
                    </a:lnTo>
                    <a:lnTo>
                      <a:pt x="317" y="724"/>
                    </a:lnTo>
                    <a:lnTo>
                      <a:pt x="315" y="724"/>
                    </a:lnTo>
                    <a:lnTo>
                      <a:pt x="313" y="726"/>
                    </a:lnTo>
                    <a:lnTo>
                      <a:pt x="312" y="726"/>
                    </a:lnTo>
                    <a:lnTo>
                      <a:pt x="310" y="726"/>
                    </a:lnTo>
                    <a:lnTo>
                      <a:pt x="309" y="726"/>
                    </a:lnTo>
                    <a:lnTo>
                      <a:pt x="307" y="726"/>
                    </a:lnTo>
                    <a:lnTo>
                      <a:pt x="305" y="726"/>
                    </a:lnTo>
                    <a:lnTo>
                      <a:pt x="305" y="728"/>
                    </a:lnTo>
                    <a:lnTo>
                      <a:pt x="304" y="728"/>
                    </a:lnTo>
                    <a:lnTo>
                      <a:pt x="302" y="728"/>
                    </a:lnTo>
                    <a:lnTo>
                      <a:pt x="301" y="728"/>
                    </a:lnTo>
                    <a:lnTo>
                      <a:pt x="299" y="729"/>
                    </a:lnTo>
                    <a:lnTo>
                      <a:pt x="298" y="729"/>
                    </a:lnTo>
                    <a:lnTo>
                      <a:pt x="296" y="729"/>
                    </a:lnTo>
                    <a:lnTo>
                      <a:pt x="296" y="731"/>
                    </a:lnTo>
                    <a:lnTo>
                      <a:pt x="294" y="731"/>
                    </a:lnTo>
                    <a:lnTo>
                      <a:pt x="294" y="732"/>
                    </a:lnTo>
                    <a:lnTo>
                      <a:pt x="293" y="732"/>
                    </a:lnTo>
                    <a:lnTo>
                      <a:pt x="293" y="734"/>
                    </a:lnTo>
                    <a:lnTo>
                      <a:pt x="291" y="734"/>
                    </a:lnTo>
                    <a:lnTo>
                      <a:pt x="291" y="735"/>
                    </a:lnTo>
                    <a:lnTo>
                      <a:pt x="290" y="735"/>
                    </a:lnTo>
                    <a:lnTo>
                      <a:pt x="288" y="737"/>
                    </a:lnTo>
                    <a:lnTo>
                      <a:pt x="286" y="737"/>
                    </a:lnTo>
                    <a:lnTo>
                      <a:pt x="286" y="739"/>
                    </a:lnTo>
                    <a:lnTo>
                      <a:pt x="285" y="739"/>
                    </a:lnTo>
                    <a:lnTo>
                      <a:pt x="285" y="740"/>
                    </a:lnTo>
                    <a:lnTo>
                      <a:pt x="283" y="740"/>
                    </a:lnTo>
                    <a:lnTo>
                      <a:pt x="283" y="742"/>
                    </a:lnTo>
                    <a:lnTo>
                      <a:pt x="282" y="742"/>
                    </a:lnTo>
                    <a:lnTo>
                      <a:pt x="282" y="743"/>
                    </a:lnTo>
                    <a:lnTo>
                      <a:pt x="280" y="743"/>
                    </a:lnTo>
                    <a:lnTo>
                      <a:pt x="278" y="745"/>
                    </a:lnTo>
                    <a:lnTo>
                      <a:pt x="277" y="747"/>
                    </a:lnTo>
                    <a:lnTo>
                      <a:pt x="275" y="747"/>
                    </a:lnTo>
                    <a:lnTo>
                      <a:pt x="275" y="748"/>
                    </a:lnTo>
                    <a:lnTo>
                      <a:pt x="274" y="748"/>
                    </a:lnTo>
                    <a:lnTo>
                      <a:pt x="274" y="750"/>
                    </a:lnTo>
                    <a:lnTo>
                      <a:pt x="272" y="750"/>
                    </a:lnTo>
                    <a:lnTo>
                      <a:pt x="271" y="750"/>
                    </a:lnTo>
                    <a:lnTo>
                      <a:pt x="271" y="751"/>
                    </a:lnTo>
                    <a:lnTo>
                      <a:pt x="269" y="751"/>
                    </a:lnTo>
                    <a:lnTo>
                      <a:pt x="267" y="751"/>
                    </a:lnTo>
                    <a:lnTo>
                      <a:pt x="267" y="753"/>
                    </a:lnTo>
                    <a:lnTo>
                      <a:pt x="266" y="753"/>
                    </a:lnTo>
                    <a:lnTo>
                      <a:pt x="264" y="753"/>
                    </a:lnTo>
                    <a:lnTo>
                      <a:pt x="263" y="754"/>
                    </a:lnTo>
                    <a:lnTo>
                      <a:pt x="261" y="754"/>
                    </a:lnTo>
                    <a:lnTo>
                      <a:pt x="259" y="756"/>
                    </a:lnTo>
                    <a:lnTo>
                      <a:pt x="259" y="758"/>
                    </a:lnTo>
                    <a:lnTo>
                      <a:pt x="259" y="759"/>
                    </a:lnTo>
                    <a:lnTo>
                      <a:pt x="259" y="761"/>
                    </a:lnTo>
                    <a:lnTo>
                      <a:pt x="261" y="762"/>
                    </a:lnTo>
                    <a:lnTo>
                      <a:pt x="261" y="764"/>
                    </a:lnTo>
                    <a:lnTo>
                      <a:pt x="261" y="766"/>
                    </a:lnTo>
                    <a:lnTo>
                      <a:pt x="263" y="766"/>
                    </a:lnTo>
                    <a:lnTo>
                      <a:pt x="263" y="767"/>
                    </a:lnTo>
                    <a:lnTo>
                      <a:pt x="263" y="769"/>
                    </a:lnTo>
                    <a:lnTo>
                      <a:pt x="264" y="770"/>
                    </a:lnTo>
                    <a:lnTo>
                      <a:pt x="266" y="772"/>
                    </a:lnTo>
                    <a:lnTo>
                      <a:pt x="264" y="773"/>
                    </a:lnTo>
                    <a:lnTo>
                      <a:pt x="264" y="775"/>
                    </a:lnTo>
                    <a:lnTo>
                      <a:pt x="263" y="775"/>
                    </a:lnTo>
                    <a:lnTo>
                      <a:pt x="263" y="777"/>
                    </a:lnTo>
                    <a:lnTo>
                      <a:pt x="261" y="777"/>
                    </a:lnTo>
                    <a:lnTo>
                      <a:pt x="261" y="778"/>
                    </a:lnTo>
                    <a:lnTo>
                      <a:pt x="261" y="780"/>
                    </a:lnTo>
                    <a:lnTo>
                      <a:pt x="259" y="780"/>
                    </a:lnTo>
                    <a:lnTo>
                      <a:pt x="259" y="781"/>
                    </a:lnTo>
                    <a:lnTo>
                      <a:pt x="258" y="781"/>
                    </a:lnTo>
                    <a:lnTo>
                      <a:pt x="256" y="783"/>
                    </a:lnTo>
                    <a:lnTo>
                      <a:pt x="256" y="785"/>
                    </a:lnTo>
                    <a:lnTo>
                      <a:pt x="256" y="786"/>
                    </a:lnTo>
                    <a:lnTo>
                      <a:pt x="256" y="788"/>
                    </a:lnTo>
                    <a:lnTo>
                      <a:pt x="255" y="791"/>
                    </a:lnTo>
                    <a:lnTo>
                      <a:pt x="255" y="792"/>
                    </a:lnTo>
                    <a:lnTo>
                      <a:pt x="253" y="792"/>
                    </a:lnTo>
                    <a:lnTo>
                      <a:pt x="253" y="796"/>
                    </a:lnTo>
                    <a:lnTo>
                      <a:pt x="252" y="794"/>
                    </a:lnTo>
                    <a:lnTo>
                      <a:pt x="252" y="792"/>
                    </a:lnTo>
                    <a:lnTo>
                      <a:pt x="250" y="792"/>
                    </a:lnTo>
                    <a:lnTo>
                      <a:pt x="250" y="791"/>
                    </a:lnTo>
                    <a:lnTo>
                      <a:pt x="248" y="789"/>
                    </a:lnTo>
                    <a:lnTo>
                      <a:pt x="248" y="788"/>
                    </a:lnTo>
                    <a:lnTo>
                      <a:pt x="247" y="788"/>
                    </a:lnTo>
                    <a:lnTo>
                      <a:pt x="247" y="786"/>
                    </a:lnTo>
                    <a:lnTo>
                      <a:pt x="244" y="785"/>
                    </a:lnTo>
                    <a:lnTo>
                      <a:pt x="244" y="783"/>
                    </a:lnTo>
                    <a:lnTo>
                      <a:pt x="242" y="783"/>
                    </a:lnTo>
                    <a:lnTo>
                      <a:pt x="242" y="781"/>
                    </a:lnTo>
                    <a:lnTo>
                      <a:pt x="240" y="780"/>
                    </a:lnTo>
                    <a:lnTo>
                      <a:pt x="240" y="778"/>
                    </a:lnTo>
                    <a:lnTo>
                      <a:pt x="240" y="777"/>
                    </a:lnTo>
                    <a:lnTo>
                      <a:pt x="240" y="775"/>
                    </a:lnTo>
                    <a:lnTo>
                      <a:pt x="240" y="773"/>
                    </a:lnTo>
                    <a:lnTo>
                      <a:pt x="240" y="772"/>
                    </a:lnTo>
                    <a:lnTo>
                      <a:pt x="240" y="770"/>
                    </a:lnTo>
                    <a:lnTo>
                      <a:pt x="239" y="770"/>
                    </a:lnTo>
                    <a:lnTo>
                      <a:pt x="239" y="769"/>
                    </a:lnTo>
                    <a:lnTo>
                      <a:pt x="237" y="769"/>
                    </a:lnTo>
                    <a:lnTo>
                      <a:pt x="236" y="767"/>
                    </a:lnTo>
                    <a:lnTo>
                      <a:pt x="236" y="766"/>
                    </a:lnTo>
                    <a:lnTo>
                      <a:pt x="236" y="764"/>
                    </a:lnTo>
                    <a:lnTo>
                      <a:pt x="236" y="762"/>
                    </a:lnTo>
                    <a:lnTo>
                      <a:pt x="236" y="761"/>
                    </a:lnTo>
                    <a:lnTo>
                      <a:pt x="234" y="761"/>
                    </a:lnTo>
                    <a:lnTo>
                      <a:pt x="234" y="759"/>
                    </a:lnTo>
                    <a:lnTo>
                      <a:pt x="234" y="758"/>
                    </a:lnTo>
                    <a:lnTo>
                      <a:pt x="233" y="756"/>
                    </a:lnTo>
                    <a:lnTo>
                      <a:pt x="233" y="754"/>
                    </a:lnTo>
                    <a:lnTo>
                      <a:pt x="233" y="753"/>
                    </a:lnTo>
                    <a:lnTo>
                      <a:pt x="231" y="751"/>
                    </a:lnTo>
                    <a:lnTo>
                      <a:pt x="231" y="750"/>
                    </a:lnTo>
                    <a:lnTo>
                      <a:pt x="231" y="748"/>
                    </a:lnTo>
                    <a:lnTo>
                      <a:pt x="231" y="747"/>
                    </a:lnTo>
                    <a:lnTo>
                      <a:pt x="229" y="745"/>
                    </a:lnTo>
                    <a:lnTo>
                      <a:pt x="229" y="743"/>
                    </a:lnTo>
                    <a:lnTo>
                      <a:pt x="229" y="742"/>
                    </a:lnTo>
                    <a:lnTo>
                      <a:pt x="229" y="740"/>
                    </a:lnTo>
                    <a:lnTo>
                      <a:pt x="229" y="739"/>
                    </a:lnTo>
                    <a:lnTo>
                      <a:pt x="231" y="737"/>
                    </a:lnTo>
                    <a:lnTo>
                      <a:pt x="231" y="735"/>
                    </a:lnTo>
                    <a:lnTo>
                      <a:pt x="231" y="734"/>
                    </a:lnTo>
                    <a:lnTo>
                      <a:pt x="231" y="732"/>
                    </a:lnTo>
                    <a:lnTo>
                      <a:pt x="231" y="731"/>
                    </a:lnTo>
                    <a:lnTo>
                      <a:pt x="229" y="731"/>
                    </a:lnTo>
                    <a:lnTo>
                      <a:pt x="229" y="729"/>
                    </a:lnTo>
                    <a:lnTo>
                      <a:pt x="229" y="728"/>
                    </a:lnTo>
                    <a:lnTo>
                      <a:pt x="228" y="726"/>
                    </a:lnTo>
                    <a:lnTo>
                      <a:pt x="228" y="724"/>
                    </a:lnTo>
                    <a:lnTo>
                      <a:pt x="226" y="724"/>
                    </a:lnTo>
                    <a:lnTo>
                      <a:pt x="226" y="723"/>
                    </a:lnTo>
                    <a:lnTo>
                      <a:pt x="225" y="723"/>
                    </a:lnTo>
                    <a:lnTo>
                      <a:pt x="225" y="721"/>
                    </a:lnTo>
                    <a:lnTo>
                      <a:pt x="223" y="721"/>
                    </a:lnTo>
                    <a:lnTo>
                      <a:pt x="223" y="720"/>
                    </a:lnTo>
                    <a:lnTo>
                      <a:pt x="221" y="720"/>
                    </a:lnTo>
                    <a:lnTo>
                      <a:pt x="221" y="718"/>
                    </a:lnTo>
                    <a:lnTo>
                      <a:pt x="220" y="716"/>
                    </a:lnTo>
                    <a:lnTo>
                      <a:pt x="218" y="716"/>
                    </a:lnTo>
                    <a:lnTo>
                      <a:pt x="217" y="715"/>
                    </a:lnTo>
                    <a:lnTo>
                      <a:pt x="215" y="715"/>
                    </a:lnTo>
                    <a:lnTo>
                      <a:pt x="214" y="715"/>
                    </a:lnTo>
                    <a:lnTo>
                      <a:pt x="212" y="715"/>
                    </a:lnTo>
                    <a:lnTo>
                      <a:pt x="210" y="715"/>
                    </a:lnTo>
                    <a:lnTo>
                      <a:pt x="209" y="716"/>
                    </a:lnTo>
                    <a:lnTo>
                      <a:pt x="209" y="715"/>
                    </a:lnTo>
                    <a:lnTo>
                      <a:pt x="207" y="716"/>
                    </a:lnTo>
                    <a:lnTo>
                      <a:pt x="206" y="716"/>
                    </a:lnTo>
                    <a:lnTo>
                      <a:pt x="204" y="716"/>
                    </a:lnTo>
                    <a:lnTo>
                      <a:pt x="202" y="718"/>
                    </a:lnTo>
                    <a:lnTo>
                      <a:pt x="202" y="720"/>
                    </a:lnTo>
                    <a:lnTo>
                      <a:pt x="201" y="720"/>
                    </a:lnTo>
                    <a:lnTo>
                      <a:pt x="201" y="721"/>
                    </a:lnTo>
                    <a:lnTo>
                      <a:pt x="202" y="721"/>
                    </a:lnTo>
                    <a:lnTo>
                      <a:pt x="202" y="723"/>
                    </a:lnTo>
                    <a:lnTo>
                      <a:pt x="201" y="724"/>
                    </a:lnTo>
                    <a:lnTo>
                      <a:pt x="199" y="724"/>
                    </a:lnTo>
                    <a:lnTo>
                      <a:pt x="199" y="726"/>
                    </a:lnTo>
                    <a:lnTo>
                      <a:pt x="198" y="726"/>
                    </a:lnTo>
                    <a:lnTo>
                      <a:pt x="196" y="726"/>
                    </a:lnTo>
                    <a:lnTo>
                      <a:pt x="195" y="726"/>
                    </a:lnTo>
                    <a:lnTo>
                      <a:pt x="195" y="724"/>
                    </a:lnTo>
                    <a:lnTo>
                      <a:pt x="195" y="723"/>
                    </a:lnTo>
                    <a:lnTo>
                      <a:pt x="195" y="721"/>
                    </a:lnTo>
                    <a:lnTo>
                      <a:pt x="193" y="721"/>
                    </a:lnTo>
                    <a:lnTo>
                      <a:pt x="193" y="720"/>
                    </a:lnTo>
                    <a:lnTo>
                      <a:pt x="191" y="720"/>
                    </a:lnTo>
                    <a:lnTo>
                      <a:pt x="190" y="720"/>
                    </a:lnTo>
                    <a:lnTo>
                      <a:pt x="188" y="718"/>
                    </a:lnTo>
                    <a:lnTo>
                      <a:pt x="188" y="716"/>
                    </a:lnTo>
                    <a:lnTo>
                      <a:pt x="188" y="715"/>
                    </a:lnTo>
                    <a:lnTo>
                      <a:pt x="190" y="715"/>
                    </a:lnTo>
                    <a:lnTo>
                      <a:pt x="190" y="713"/>
                    </a:lnTo>
                    <a:lnTo>
                      <a:pt x="191" y="713"/>
                    </a:lnTo>
                    <a:lnTo>
                      <a:pt x="191" y="712"/>
                    </a:lnTo>
                    <a:lnTo>
                      <a:pt x="191" y="710"/>
                    </a:lnTo>
                    <a:lnTo>
                      <a:pt x="193" y="710"/>
                    </a:lnTo>
                    <a:lnTo>
                      <a:pt x="195" y="709"/>
                    </a:lnTo>
                    <a:lnTo>
                      <a:pt x="195" y="707"/>
                    </a:lnTo>
                    <a:lnTo>
                      <a:pt x="196" y="707"/>
                    </a:lnTo>
                    <a:lnTo>
                      <a:pt x="196" y="705"/>
                    </a:lnTo>
                    <a:lnTo>
                      <a:pt x="196" y="704"/>
                    </a:lnTo>
                    <a:lnTo>
                      <a:pt x="196" y="702"/>
                    </a:lnTo>
                    <a:lnTo>
                      <a:pt x="196" y="701"/>
                    </a:lnTo>
                    <a:lnTo>
                      <a:pt x="196" y="699"/>
                    </a:lnTo>
                    <a:lnTo>
                      <a:pt x="198" y="699"/>
                    </a:lnTo>
                    <a:lnTo>
                      <a:pt x="198" y="697"/>
                    </a:lnTo>
                    <a:lnTo>
                      <a:pt x="199" y="696"/>
                    </a:lnTo>
                    <a:lnTo>
                      <a:pt x="201" y="694"/>
                    </a:lnTo>
                    <a:lnTo>
                      <a:pt x="201" y="693"/>
                    </a:lnTo>
                    <a:lnTo>
                      <a:pt x="201" y="691"/>
                    </a:lnTo>
                    <a:lnTo>
                      <a:pt x="202" y="689"/>
                    </a:lnTo>
                    <a:lnTo>
                      <a:pt x="204" y="688"/>
                    </a:lnTo>
                    <a:lnTo>
                      <a:pt x="204" y="686"/>
                    </a:lnTo>
                    <a:lnTo>
                      <a:pt x="204" y="685"/>
                    </a:lnTo>
                    <a:lnTo>
                      <a:pt x="204" y="683"/>
                    </a:lnTo>
                    <a:lnTo>
                      <a:pt x="206" y="683"/>
                    </a:lnTo>
                    <a:lnTo>
                      <a:pt x="206" y="682"/>
                    </a:lnTo>
                    <a:lnTo>
                      <a:pt x="207" y="682"/>
                    </a:lnTo>
                    <a:lnTo>
                      <a:pt x="207" y="680"/>
                    </a:lnTo>
                    <a:lnTo>
                      <a:pt x="209" y="680"/>
                    </a:lnTo>
                    <a:lnTo>
                      <a:pt x="209" y="678"/>
                    </a:lnTo>
                    <a:lnTo>
                      <a:pt x="207" y="678"/>
                    </a:lnTo>
                    <a:lnTo>
                      <a:pt x="209" y="677"/>
                    </a:lnTo>
                    <a:lnTo>
                      <a:pt x="209" y="675"/>
                    </a:lnTo>
                    <a:lnTo>
                      <a:pt x="210" y="675"/>
                    </a:lnTo>
                    <a:lnTo>
                      <a:pt x="210" y="674"/>
                    </a:lnTo>
                    <a:lnTo>
                      <a:pt x="212" y="674"/>
                    </a:lnTo>
                    <a:lnTo>
                      <a:pt x="212" y="672"/>
                    </a:lnTo>
                    <a:lnTo>
                      <a:pt x="212" y="670"/>
                    </a:lnTo>
                    <a:lnTo>
                      <a:pt x="212" y="669"/>
                    </a:lnTo>
                    <a:lnTo>
                      <a:pt x="214" y="669"/>
                    </a:lnTo>
                    <a:lnTo>
                      <a:pt x="214" y="667"/>
                    </a:lnTo>
                    <a:lnTo>
                      <a:pt x="215" y="667"/>
                    </a:lnTo>
                    <a:lnTo>
                      <a:pt x="215" y="666"/>
                    </a:lnTo>
                    <a:lnTo>
                      <a:pt x="215" y="664"/>
                    </a:lnTo>
                    <a:lnTo>
                      <a:pt x="215" y="663"/>
                    </a:lnTo>
                    <a:lnTo>
                      <a:pt x="214" y="661"/>
                    </a:lnTo>
                    <a:lnTo>
                      <a:pt x="214" y="659"/>
                    </a:lnTo>
                    <a:lnTo>
                      <a:pt x="214" y="658"/>
                    </a:lnTo>
                    <a:lnTo>
                      <a:pt x="215" y="656"/>
                    </a:lnTo>
                    <a:lnTo>
                      <a:pt x="217" y="655"/>
                    </a:lnTo>
                    <a:lnTo>
                      <a:pt x="217" y="653"/>
                    </a:lnTo>
                    <a:lnTo>
                      <a:pt x="217" y="651"/>
                    </a:lnTo>
                    <a:lnTo>
                      <a:pt x="217" y="650"/>
                    </a:lnTo>
                    <a:lnTo>
                      <a:pt x="217" y="648"/>
                    </a:lnTo>
                    <a:lnTo>
                      <a:pt x="218" y="647"/>
                    </a:lnTo>
                    <a:lnTo>
                      <a:pt x="218" y="645"/>
                    </a:lnTo>
                    <a:lnTo>
                      <a:pt x="217" y="645"/>
                    </a:lnTo>
                    <a:lnTo>
                      <a:pt x="217" y="644"/>
                    </a:lnTo>
                    <a:lnTo>
                      <a:pt x="215" y="642"/>
                    </a:lnTo>
                    <a:lnTo>
                      <a:pt x="215" y="640"/>
                    </a:lnTo>
                    <a:lnTo>
                      <a:pt x="215" y="639"/>
                    </a:lnTo>
                    <a:lnTo>
                      <a:pt x="214" y="639"/>
                    </a:lnTo>
                    <a:lnTo>
                      <a:pt x="215" y="637"/>
                    </a:lnTo>
                    <a:lnTo>
                      <a:pt x="214" y="636"/>
                    </a:lnTo>
                    <a:lnTo>
                      <a:pt x="214" y="634"/>
                    </a:lnTo>
                    <a:lnTo>
                      <a:pt x="214" y="632"/>
                    </a:lnTo>
                    <a:lnTo>
                      <a:pt x="212" y="632"/>
                    </a:lnTo>
                    <a:lnTo>
                      <a:pt x="210" y="632"/>
                    </a:lnTo>
                    <a:lnTo>
                      <a:pt x="209" y="632"/>
                    </a:lnTo>
                    <a:lnTo>
                      <a:pt x="207" y="632"/>
                    </a:lnTo>
                    <a:lnTo>
                      <a:pt x="207" y="631"/>
                    </a:lnTo>
                    <a:lnTo>
                      <a:pt x="207" y="629"/>
                    </a:lnTo>
                    <a:lnTo>
                      <a:pt x="207" y="628"/>
                    </a:lnTo>
                    <a:lnTo>
                      <a:pt x="207" y="626"/>
                    </a:lnTo>
                    <a:lnTo>
                      <a:pt x="207" y="625"/>
                    </a:lnTo>
                    <a:lnTo>
                      <a:pt x="207" y="623"/>
                    </a:lnTo>
                    <a:lnTo>
                      <a:pt x="207" y="621"/>
                    </a:lnTo>
                    <a:lnTo>
                      <a:pt x="206" y="620"/>
                    </a:lnTo>
                    <a:lnTo>
                      <a:pt x="204" y="618"/>
                    </a:lnTo>
                    <a:lnTo>
                      <a:pt x="204" y="617"/>
                    </a:lnTo>
                    <a:lnTo>
                      <a:pt x="202" y="617"/>
                    </a:lnTo>
                    <a:lnTo>
                      <a:pt x="201" y="615"/>
                    </a:lnTo>
                    <a:lnTo>
                      <a:pt x="201" y="613"/>
                    </a:lnTo>
                    <a:lnTo>
                      <a:pt x="201" y="612"/>
                    </a:lnTo>
                    <a:lnTo>
                      <a:pt x="201" y="610"/>
                    </a:lnTo>
                    <a:lnTo>
                      <a:pt x="201" y="609"/>
                    </a:lnTo>
                    <a:lnTo>
                      <a:pt x="199" y="607"/>
                    </a:lnTo>
                    <a:lnTo>
                      <a:pt x="198" y="607"/>
                    </a:lnTo>
                    <a:lnTo>
                      <a:pt x="198" y="606"/>
                    </a:lnTo>
                    <a:lnTo>
                      <a:pt x="196" y="604"/>
                    </a:lnTo>
                    <a:lnTo>
                      <a:pt x="196" y="602"/>
                    </a:lnTo>
                    <a:lnTo>
                      <a:pt x="195" y="601"/>
                    </a:lnTo>
                    <a:lnTo>
                      <a:pt x="193" y="601"/>
                    </a:lnTo>
                    <a:lnTo>
                      <a:pt x="191" y="602"/>
                    </a:lnTo>
                    <a:lnTo>
                      <a:pt x="190" y="602"/>
                    </a:lnTo>
                    <a:lnTo>
                      <a:pt x="188" y="602"/>
                    </a:lnTo>
                    <a:lnTo>
                      <a:pt x="187" y="604"/>
                    </a:lnTo>
                    <a:lnTo>
                      <a:pt x="187" y="606"/>
                    </a:lnTo>
                    <a:lnTo>
                      <a:pt x="185" y="606"/>
                    </a:lnTo>
                    <a:lnTo>
                      <a:pt x="185" y="607"/>
                    </a:lnTo>
                    <a:lnTo>
                      <a:pt x="183" y="607"/>
                    </a:lnTo>
                    <a:lnTo>
                      <a:pt x="182" y="607"/>
                    </a:lnTo>
                    <a:lnTo>
                      <a:pt x="182" y="609"/>
                    </a:lnTo>
                    <a:lnTo>
                      <a:pt x="180" y="609"/>
                    </a:lnTo>
                    <a:lnTo>
                      <a:pt x="179" y="609"/>
                    </a:lnTo>
                    <a:lnTo>
                      <a:pt x="179" y="610"/>
                    </a:lnTo>
                    <a:lnTo>
                      <a:pt x="177" y="610"/>
                    </a:lnTo>
                    <a:lnTo>
                      <a:pt x="177" y="612"/>
                    </a:lnTo>
                    <a:lnTo>
                      <a:pt x="176" y="612"/>
                    </a:lnTo>
                    <a:lnTo>
                      <a:pt x="176" y="613"/>
                    </a:lnTo>
                    <a:lnTo>
                      <a:pt x="174" y="613"/>
                    </a:lnTo>
                    <a:lnTo>
                      <a:pt x="174" y="615"/>
                    </a:lnTo>
                    <a:lnTo>
                      <a:pt x="172" y="617"/>
                    </a:lnTo>
                    <a:lnTo>
                      <a:pt x="171" y="617"/>
                    </a:lnTo>
                    <a:lnTo>
                      <a:pt x="171" y="618"/>
                    </a:lnTo>
                    <a:lnTo>
                      <a:pt x="169" y="618"/>
                    </a:lnTo>
                    <a:lnTo>
                      <a:pt x="168" y="618"/>
                    </a:lnTo>
                    <a:lnTo>
                      <a:pt x="168" y="620"/>
                    </a:lnTo>
                    <a:lnTo>
                      <a:pt x="166" y="620"/>
                    </a:lnTo>
                    <a:lnTo>
                      <a:pt x="164" y="621"/>
                    </a:lnTo>
                    <a:lnTo>
                      <a:pt x="163" y="623"/>
                    </a:lnTo>
                    <a:lnTo>
                      <a:pt x="163" y="625"/>
                    </a:lnTo>
                    <a:lnTo>
                      <a:pt x="161" y="626"/>
                    </a:lnTo>
                    <a:lnTo>
                      <a:pt x="160" y="626"/>
                    </a:lnTo>
                    <a:lnTo>
                      <a:pt x="160" y="628"/>
                    </a:lnTo>
                    <a:lnTo>
                      <a:pt x="160" y="629"/>
                    </a:lnTo>
                    <a:lnTo>
                      <a:pt x="158" y="629"/>
                    </a:lnTo>
                    <a:lnTo>
                      <a:pt x="158" y="631"/>
                    </a:lnTo>
                    <a:lnTo>
                      <a:pt x="157" y="631"/>
                    </a:lnTo>
                    <a:lnTo>
                      <a:pt x="155" y="632"/>
                    </a:lnTo>
                    <a:lnTo>
                      <a:pt x="153" y="632"/>
                    </a:lnTo>
                    <a:lnTo>
                      <a:pt x="152" y="634"/>
                    </a:lnTo>
                    <a:lnTo>
                      <a:pt x="152" y="636"/>
                    </a:lnTo>
                    <a:lnTo>
                      <a:pt x="150" y="637"/>
                    </a:lnTo>
                    <a:lnTo>
                      <a:pt x="149" y="639"/>
                    </a:lnTo>
                    <a:lnTo>
                      <a:pt x="147" y="640"/>
                    </a:lnTo>
                    <a:lnTo>
                      <a:pt x="147" y="642"/>
                    </a:lnTo>
                    <a:lnTo>
                      <a:pt x="145" y="642"/>
                    </a:lnTo>
                    <a:lnTo>
                      <a:pt x="145" y="644"/>
                    </a:lnTo>
                    <a:lnTo>
                      <a:pt x="145" y="645"/>
                    </a:lnTo>
                    <a:lnTo>
                      <a:pt x="144" y="645"/>
                    </a:lnTo>
                    <a:lnTo>
                      <a:pt x="144" y="647"/>
                    </a:lnTo>
                    <a:lnTo>
                      <a:pt x="144" y="648"/>
                    </a:lnTo>
                    <a:lnTo>
                      <a:pt x="142" y="650"/>
                    </a:lnTo>
                    <a:lnTo>
                      <a:pt x="142" y="648"/>
                    </a:lnTo>
                    <a:lnTo>
                      <a:pt x="142" y="650"/>
                    </a:lnTo>
                    <a:lnTo>
                      <a:pt x="141" y="650"/>
                    </a:lnTo>
                    <a:lnTo>
                      <a:pt x="141" y="648"/>
                    </a:lnTo>
                    <a:lnTo>
                      <a:pt x="139" y="648"/>
                    </a:lnTo>
                    <a:lnTo>
                      <a:pt x="139" y="650"/>
                    </a:lnTo>
                    <a:lnTo>
                      <a:pt x="138" y="648"/>
                    </a:lnTo>
                    <a:lnTo>
                      <a:pt x="138" y="650"/>
                    </a:lnTo>
                    <a:lnTo>
                      <a:pt x="136" y="650"/>
                    </a:lnTo>
                    <a:lnTo>
                      <a:pt x="134" y="650"/>
                    </a:lnTo>
                    <a:lnTo>
                      <a:pt x="133" y="650"/>
                    </a:lnTo>
                    <a:lnTo>
                      <a:pt x="131" y="650"/>
                    </a:lnTo>
                    <a:lnTo>
                      <a:pt x="130" y="651"/>
                    </a:lnTo>
                    <a:lnTo>
                      <a:pt x="130" y="653"/>
                    </a:lnTo>
                    <a:lnTo>
                      <a:pt x="128" y="653"/>
                    </a:lnTo>
                    <a:lnTo>
                      <a:pt x="126" y="653"/>
                    </a:lnTo>
                    <a:lnTo>
                      <a:pt x="123" y="653"/>
                    </a:lnTo>
                    <a:lnTo>
                      <a:pt x="122" y="653"/>
                    </a:lnTo>
                    <a:lnTo>
                      <a:pt x="120" y="655"/>
                    </a:lnTo>
                    <a:lnTo>
                      <a:pt x="119" y="655"/>
                    </a:lnTo>
                    <a:lnTo>
                      <a:pt x="117" y="655"/>
                    </a:lnTo>
                    <a:lnTo>
                      <a:pt x="115" y="655"/>
                    </a:lnTo>
                    <a:lnTo>
                      <a:pt x="112" y="655"/>
                    </a:lnTo>
                    <a:lnTo>
                      <a:pt x="111" y="655"/>
                    </a:lnTo>
                    <a:lnTo>
                      <a:pt x="111" y="656"/>
                    </a:lnTo>
                    <a:lnTo>
                      <a:pt x="109" y="656"/>
                    </a:lnTo>
                    <a:lnTo>
                      <a:pt x="109" y="655"/>
                    </a:lnTo>
                    <a:lnTo>
                      <a:pt x="107" y="655"/>
                    </a:lnTo>
                    <a:lnTo>
                      <a:pt x="107" y="653"/>
                    </a:lnTo>
                    <a:lnTo>
                      <a:pt x="106" y="653"/>
                    </a:lnTo>
                    <a:lnTo>
                      <a:pt x="104" y="653"/>
                    </a:lnTo>
                    <a:lnTo>
                      <a:pt x="103" y="653"/>
                    </a:lnTo>
                    <a:lnTo>
                      <a:pt x="103" y="651"/>
                    </a:lnTo>
                    <a:lnTo>
                      <a:pt x="101" y="651"/>
                    </a:lnTo>
                    <a:lnTo>
                      <a:pt x="100" y="651"/>
                    </a:lnTo>
                    <a:lnTo>
                      <a:pt x="100" y="650"/>
                    </a:lnTo>
                    <a:lnTo>
                      <a:pt x="98" y="648"/>
                    </a:lnTo>
                    <a:lnTo>
                      <a:pt x="98" y="647"/>
                    </a:lnTo>
                    <a:lnTo>
                      <a:pt x="96" y="647"/>
                    </a:lnTo>
                    <a:lnTo>
                      <a:pt x="95" y="647"/>
                    </a:lnTo>
                    <a:lnTo>
                      <a:pt x="95" y="648"/>
                    </a:lnTo>
                    <a:lnTo>
                      <a:pt x="93" y="648"/>
                    </a:lnTo>
                    <a:lnTo>
                      <a:pt x="90" y="650"/>
                    </a:lnTo>
                    <a:lnTo>
                      <a:pt x="90" y="651"/>
                    </a:lnTo>
                    <a:lnTo>
                      <a:pt x="88" y="651"/>
                    </a:lnTo>
                    <a:lnTo>
                      <a:pt x="88" y="653"/>
                    </a:lnTo>
                    <a:lnTo>
                      <a:pt x="87" y="653"/>
                    </a:lnTo>
                    <a:lnTo>
                      <a:pt x="85" y="655"/>
                    </a:lnTo>
                    <a:lnTo>
                      <a:pt x="84" y="655"/>
                    </a:lnTo>
                    <a:lnTo>
                      <a:pt x="84" y="653"/>
                    </a:lnTo>
                    <a:lnTo>
                      <a:pt x="82" y="653"/>
                    </a:lnTo>
                    <a:lnTo>
                      <a:pt x="82" y="651"/>
                    </a:lnTo>
                    <a:lnTo>
                      <a:pt x="80" y="650"/>
                    </a:lnTo>
                    <a:lnTo>
                      <a:pt x="79" y="648"/>
                    </a:lnTo>
                    <a:lnTo>
                      <a:pt x="77" y="647"/>
                    </a:lnTo>
                    <a:lnTo>
                      <a:pt x="77" y="645"/>
                    </a:lnTo>
                    <a:lnTo>
                      <a:pt x="77" y="644"/>
                    </a:lnTo>
                    <a:lnTo>
                      <a:pt x="77" y="642"/>
                    </a:lnTo>
                    <a:lnTo>
                      <a:pt x="76" y="640"/>
                    </a:lnTo>
                    <a:lnTo>
                      <a:pt x="74" y="639"/>
                    </a:lnTo>
                    <a:lnTo>
                      <a:pt x="73" y="637"/>
                    </a:lnTo>
                    <a:lnTo>
                      <a:pt x="73" y="636"/>
                    </a:lnTo>
                    <a:lnTo>
                      <a:pt x="71" y="636"/>
                    </a:lnTo>
                    <a:lnTo>
                      <a:pt x="69" y="634"/>
                    </a:lnTo>
                    <a:lnTo>
                      <a:pt x="69" y="632"/>
                    </a:lnTo>
                    <a:lnTo>
                      <a:pt x="68" y="632"/>
                    </a:lnTo>
                    <a:lnTo>
                      <a:pt x="66" y="632"/>
                    </a:lnTo>
                    <a:lnTo>
                      <a:pt x="65" y="632"/>
                    </a:lnTo>
                    <a:lnTo>
                      <a:pt x="65" y="631"/>
                    </a:lnTo>
                    <a:lnTo>
                      <a:pt x="63" y="631"/>
                    </a:lnTo>
                    <a:lnTo>
                      <a:pt x="61" y="631"/>
                    </a:lnTo>
                    <a:lnTo>
                      <a:pt x="61" y="629"/>
                    </a:lnTo>
                    <a:lnTo>
                      <a:pt x="60" y="628"/>
                    </a:lnTo>
                    <a:lnTo>
                      <a:pt x="58" y="628"/>
                    </a:lnTo>
                    <a:lnTo>
                      <a:pt x="58" y="626"/>
                    </a:lnTo>
                    <a:lnTo>
                      <a:pt x="57" y="626"/>
                    </a:lnTo>
                    <a:lnTo>
                      <a:pt x="55" y="626"/>
                    </a:lnTo>
                    <a:lnTo>
                      <a:pt x="55" y="625"/>
                    </a:lnTo>
                    <a:lnTo>
                      <a:pt x="57" y="625"/>
                    </a:lnTo>
                    <a:lnTo>
                      <a:pt x="55" y="623"/>
                    </a:lnTo>
                    <a:lnTo>
                      <a:pt x="55" y="621"/>
                    </a:lnTo>
                    <a:lnTo>
                      <a:pt x="54" y="621"/>
                    </a:lnTo>
                    <a:lnTo>
                      <a:pt x="52" y="621"/>
                    </a:lnTo>
                    <a:lnTo>
                      <a:pt x="50" y="623"/>
                    </a:lnTo>
                    <a:lnTo>
                      <a:pt x="50" y="625"/>
                    </a:lnTo>
                    <a:lnTo>
                      <a:pt x="47" y="626"/>
                    </a:lnTo>
                    <a:lnTo>
                      <a:pt x="47" y="628"/>
                    </a:lnTo>
                    <a:lnTo>
                      <a:pt x="46" y="629"/>
                    </a:lnTo>
                    <a:lnTo>
                      <a:pt x="44" y="631"/>
                    </a:lnTo>
                    <a:lnTo>
                      <a:pt x="44" y="632"/>
                    </a:lnTo>
                    <a:lnTo>
                      <a:pt x="42" y="634"/>
                    </a:lnTo>
                    <a:lnTo>
                      <a:pt x="41" y="634"/>
                    </a:lnTo>
                    <a:lnTo>
                      <a:pt x="39" y="634"/>
                    </a:lnTo>
                    <a:lnTo>
                      <a:pt x="39" y="636"/>
                    </a:lnTo>
                    <a:lnTo>
                      <a:pt x="38" y="636"/>
                    </a:lnTo>
                    <a:lnTo>
                      <a:pt x="38" y="637"/>
                    </a:lnTo>
                    <a:lnTo>
                      <a:pt x="36" y="637"/>
                    </a:lnTo>
                    <a:lnTo>
                      <a:pt x="35" y="639"/>
                    </a:lnTo>
                    <a:lnTo>
                      <a:pt x="33" y="639"/>
                    </a:lnTo>
                    <a:lnTo>
                      <a:pt x="33" y="640"/>
                    </a:lnTo>
                    <a:lnTo>
                      <a:pt x="31" y="640"/>
                    </a:lnTo>
                    <a:lnTo>
                      <a:pt x="31" y="642"/>
                    </a:lnTo>
                    <a:lnTo>
                      <a:pt x="30" y="642"/>
                    </a:lnTo>
                    <a:lnTo>
                      <a:pt x="30" y="640"/>
                    </a:lnTo>
                    <a:lnTo>
                      <a:pt x="28" y="640"/>
                    </a:lnTo>
                    <a:lnTo>
                      <a:pt x="27" y="640"/>
                    </a:lnTo>
                    <a:lnTo>
                      <a:pt x="25" y="640"/>
                    </a:lnTo>
                    <a:lnTo>
                      <a:pt x="25" y="639"/>
                    </a:lnTo>
                    <a:lnTo>
                      <a:pt x="23" y="639"/>
                    </a:lnTo>
                    <a:lnTo>
                      <a:pt x="23" y="637"/>
                    </a:lnTo>
                    <a:lnTo>
                      <a:pt x="23" y="636"/>
                    </a:lnTo>
                    <a:lnTo>
                      <a:pt x="22" y="636"/>
                    </a:lnTo>
                    <a:lnTo>
                      <a:pt x="22" y="634"/>
                    </a:lnTo>
                    <a:lnTo>
                      <a:pt x="20" y="634"/>
                    </a:lnTo>
                    <a:lnTo>
                      <a:pt x="20" y="632"/>
                    </a:lnTo>
                    <a:lnTo>
                      <a:pt x="19" y="632"/>
                    </a:lnTo>
                    <a:lnTo>
                      <a:pt x="20" y="632"/>
                    </a:lnTo>
                    <a:lnTo>
                      <a:pt x="19" y="632"/>
                    </a:lnTo>
                    <a:lnTo>
                      <a:pt x="19" y="631"/>
                    </a:lnTo>
                    <a:lnTo>
                      <a:pt x="17" y="631"/>
                    </a:lnTo>
                    <a:lnTo>
                      <a:pt x="17" y="632"/>
                    </a:lnTo>
                    <a:lnTo>
                      <a:pt x="16" y="631"/>
                    </a:lnTo>
                    <a:lnTo>
                      <a:pt x="17" y="631"/>
                    </a:lnTo>
                    <a:lnTo>
                      <a:pt x="19" y="631"/>
                    </a:lnTo>
                    <a:lnTo>
                      <a:pt x="17" y="629"/>
                    </a:lnTo>
                    <a:lnTo>
                      <a:pt x="17" y="628"/>
                    </a:lnTo>
                    <a:lnTo>
                      <a:pt x="16" y="628"/>
                    </a:lnTo>
                    <a:lnTo>
                      <a:pt x="14" y="628"/>
                    </a:lnTo>
                    <a:lnTo>
                      <a:pt x="14" y="629"/>
                    </a:lnTo>
                    <a:lnTo>
                      <a:pt x="14" y="628"/>
                    </a:lnTo>
                    <a:lnTo>
                      <a:pt x="12" y="628"/>
                    </a:lnTo>
                    <a:lnTo>
                      <a:pt x="12" y="626"/>
                    </a:lnTo>
                    <a:lnTo>
                      <a:pt x="12" y="628"/>
                    </a:lnTo>
                    <a:lnTo>
                      <a:pt x="11" y="628"/>
                    </a:lnTo>
                    <a:lnTo>
                      <a:pt x="11" y="626"/>
                    </a:lnTo>
                    <a:lnTo>
                      <a:pt x="9" y="625"/>
                    </a:lnTo>
                    <a:lnTo>
                      <a:pt x="9" y="626"/>
                    </a:lnTo>
                    <a:lnTo>
                      <a:pt x="9" y="625"/>
                    </a:lnTo>
                    <a:lnTo>
                      <a:pt x="9" y="623"/>
                    </a:lnTo>
                    <a:lnTo>
                      <a:pt x="9" y="621"/>
                    </a:lnTo>
                    <a:lnTo>
                      <a:pt x="9" y="620"/>
                    </a:lnTo>
                    <a:lnTo>
                      <a:pt x="9" y="618"/>
                    </a:lnTo>
                    <a:lnTo>
                      <a:pt x="8" y="618"/>
                    </a:lnTo>
                    <a:lnTo>
                      <a:pt x="9" y="617"/>
                    </a:lnTo>
                    <a:lnTo>
                      <a:pt x="8" y="617"/>
                    </a:lnTo>
                    <a:lnTo>
                      <a:pt x="8" y="615"/>
                    </a:lnTo>
                    <a:lnTo>
                      <a:pt x="6" y="615"/>
                    </a:lnTo>
                    <a:lnTo>
                      <a:pt x="6" y="613"/>
                    </a:lnTo>
                    <a:lnTo>
                      <a:pt x="4" y="615"/>
                    </a:lnTo>
                    <a:lnTo>
                      <a:pt x="3" y="615"/>
                    </a:lnTo>
                    <a:lnTo>
                      <a:pt x="3" y="617"/>
                    </a:lnTo>
                    <a:lnTo>
                      <a:pt x="3" y="615"/>
                    </a:lnTo>
                    <a:lnTo>
                      <a:pt x="3" y="613"/>
                    </a:lnTo>
                    <a:lnTo>
                      <a:pt x="1" y="613"/>
                    </a:lnTo>
                    <a:lnTo>
                      <a:pt x="1" y="612"/>
                    </a:lnTo>
                    <a:lnTo>
                      <a:pt x="3" y="612"/>
                    </a:lnTo>
                    <a:lnTo>
                      <a:pt x="1" y="612"/>
                    </a:lnTo>
                    <a:lnTo>
                      <a:pt x="3" y="612"/>
                    </a:lnTo>
                    <a:lnTo>
                      <a:pt x="3" y="610"/>
                    </a:lnTo>
                    <a:lnTo>
                      <a:pt x="1" y="610"/>
                    </a:lnTo>
                    <a:lnTo>
                      <a:pt x="1" y="612"/>
                    </a:lnTo>
                    <a:lnTo>
                      <a:pt x="0" y="612"/>
                    </a:lnTo>
                    <a:lnTo>
                      <a:pt x="0" y="610"/>
                    </a:lnTo>
                    <a:lnTo>
                      <a:pt x="0" y="612"/>
                    </a:lnTo>
                    <a:lnTo>
                      <a:pt x="0" y="610"/>
                    </a:lnTo>
                    <a:lnTo>
                      <a:pt x="1" y="610"/>
                    </a:lnTo>
                    <a:lnTo>
                      <a:pt x="1" y="609"/>
                    </a:lnTo>
                    <a:lnTo>
                      <a:pt x="3" y="609"/>
                    </a:lnTo>
                    <a:lnTo>
                      <a:pt x="3" y="607"/>
                    </a:lnTo>
                    <a:lnTo>
                      <a:pt x="1" y="607"/>
                    </a:lnTo>
                    <a:lnTo>
                      <a:pt x="3" y="606"/>
                    </a:lnTo>
                    <a:lnTo>
                      <a:pt x="1" y="606"/>
                    </a:lnTo>
                    <a:lnTo>
                      <a:pt x="3" y="606"/>
                    </a:lnTo>
                    <a:lnTo>
                      <a:pt x="4" y="606"/>
                    </a:lnTo>
                    <a:lnTo>
                      <a:pt x="3" y="604"/>
                    </a:lnTo>
                    <a:lnTo>
                      <a:pt x="4" y="606"/>
                    </a:lnTo>
                    <a:lnTo>
                      <a:pt x="4" y="604"/>
                    </a:lnTo>
                    <a:lnTo>
                      <a:pt x="4" y="602"/>
                    </a:lnTo>
                    <a:lnTo>
                      <a:pt x="6" y="602"/>
                    </a:lnTo>
                    <a:lnTo>
                      <a:pt x="6" y="601"/>
                    </a:lnTo>
                    <a:lnTo>
                      <a:pt x="4" y="601"/>
                    </a:lnTo>
                    <a:lnTo>
                      <a:pt x="6" y="601"/>
                    </a:lnTo>
                    <a:lnTo>
                      <a:pt x="6" y="599"/>
                    </a:lnTo>
                    <a:lnTo>
                      <a:pt x="6" y="598"/>
                    </a:lnTo>
                    <a:lnTo>
                      <a:pt x="4" y="598"/>
                    </a:lnTo>
                    <a:lnTo>
                      <a:pt x="6" y="598"/>
                    </a:lnTo>
                    <a:lnTo>
                      <a:pt x="6" y="596"/>
                    </a:lnTo>
                    <a:lnTo>
                      <a:pt x="6" y="594"/>
                    </a:lnTo>
                    <a:lnTo>
                      <a:pt x="8" y="596"/>
                    </a:lnTo>
                    <a:lnTo>
                      <a:pt x="8" y="594"/>
                    </a:lnTo>
                    <a:lnTo>
                      <a:pt x="9" y="594"/>
                    </a:lnTo>
                    <a:lnTo>
                      <a:pt x="8" y="593"/>
                    </a:lnTo>
                    <a:lnTo>
                      <a:pt x="9" y="593"/>
                    </a:lnTo>
                    <a:lnTo>
                      <a:pt x="8" y="593"/>
                    </a:lnTo>
                    <a:lnTo>
                      <a:pt x="8" y="591"/>
                    </a:lnTo>
                    <a:lnTo>
                      <a:pt x="9" y="591"/>
                    </a:lnTo>
                    <a:lnTo>
                      <a:pt x="9" y="593"/>
                    </a:lnTo>
                    <a:lnTo>
                      <a:pt x="9" y="591"/>
                    </a:lnTo>
                    <a:lnTo>
                      <a:pt x="11" y="591"/>
                    </a:lnTo>
                    <a:lnTo>
                      <a:pt x="11" y="590"/>
                    </a:lnTo>
                    <a:lnTo>
                      <a:pt x="11" y="588"/>
                    </a:lnTo>
                    <a:lnTo>
                      <a:pt x="11" y="587"/>
                    </a:lnTo>
                    <a:lnTo>
                      <a:pt x="12" y="587"/>
                    </a:lnTo>
                    <a:lnTo>
                      <a:pt x="12" y="585"/>
                    </a:lnTo>
                    <a:lnTo>
                      <a:pt x="11" y="585"/>
                    </a:lnTo>
                    <a:lnTo>
                      <a:pt x="12" y="583"/>
                    </a:lnTo>
                    <a:lnTo>
                      <a:pt x="12" y="582"/>
                    </a:lnTo>
                    <a:lnTo>
                      <a:pt x="12" y="580"/>
                    </a:lnTo>
                    <a:lnTo>
                      <a:pt x="11" y="580"/>
                    </a:lnTo>
                    <a:lnTo>
                      <a:pt x="11" y="579"/>
                    </a:lnTo>
                    <a:lnTo>
                      <a:pt x="9" y="579"/>
                    </a:lnTo>
                    <a:lnTo>
                      <a:pt x="9" y="577"/>
                    </a:lnTo>
                    <a:lnTo>
                      <a:pt x="11" y="577"/>
                    </a:lnTo>
                    <a:lnTo>
                      <a:pt x="11" y="575"/>
                    </a:lnTo>
                    <a:lnTo>
                      <a:pt x="11" y="574"/>
                    </a:lnTo>
                    <a:lnTo>
                      <a:pt x="12" y="574"/>
                    </a:lnTo>
                    <a:lnTo>
                      <a:pt x="14" y="574"/>
                    </a:lnTo>
                    <a:lnTo>
                      <a:pt x="14" y="572"/>
                    </a:lnTo>
                    <a:lnTo>
                      <a:pt x="16" y="572"/>
                    </a:lnTo>
                    <a:lnTo>
                      <a:pt x="17" y="572"/>
                    </a:lnTo>
                    <a:lnTo>
                      <a:pt x="17" y="571"/>
                    </a:lnTo>
                    <a:lnTo>
                      <a:pt x="19" y="571"/>
                    </a:lnTo>
                    <a:lnTo>
                      <a:pt x="19" y="569"/>
                    </a:lnTo>
                    <a:lnTo>
                      <a:pt x="17" y="569"/>
                    </a:lnTo>
                    <a:lnTo>
                      <a:pt x="17" y="568"/>
                    </a:lnTo>
                    <a:lnTo>
                      <a:pt x="19" y="568"/>
                    </a:lnTo>
                    <a:lnTo>
                      <a:pt x="19" y="566"/>
                    </a:lnTo>
                    <a:lnTo>
                      <a:pt x="20" y="566"/>
                    </a:lnTo>
                    <a:lnTo>
                      <a:pt x="20" y="564"/>
                    </a:lnTo>
                    <a:lnTo>
                      <a:pt x="22" y="564"/>
                    </a:lnTo>
                    <a:lnTo>
                      <a:pt x="23" y="566"/>
                    </a:lnTo>
                    <a:lnTo>
                      <a:pt x="25" y="566"/>
                    </a:lnTo>
                    <a:lnTo>
                      <a:pt x="27" y="564"/>
                    </a:lnTo>
                    <a:lnTo>
                      <a:pt x="28" y="564"/>
                    </a:lnTo>
                    <a:lnTo>
                      <a:pt x="28" y="563"/>
                    </a:lnTo>
                    <a:lnTo>
                      <a:pt x="28" y="561"/>
                    </a:lnTo>
                    <a:lnTo>
                      <a:pt x="30" y="561"/>
                    </a:lnTo>
                    <a:lnTo>
                      <a:pt x="31" y="561"/>
                    </a:lnTo>
                    <a:lnTo>
                      <a:pt x="31" y="560"/>
                    </a:lnTo>
                    <a:lnTo>
                      <a:pt x="31" y="558"/>
                    </a:lnTo>
                    <a:lnTo>
                      <a:pt x="31" y="560"/>
                    </a:lnTo>
                    <a:lnTo>
                      <a:pt x="33" y="560"/>
                    </a:lnTo>
                    <a:lnTo>
                      <a:pt x="33" y="558"/>
                    </a:lnTo>
                    <a:lnTo>
                      <a:pt x="33" y="556"/>
                    </a:lnTo>
                    <a:lnTo>
                      <a:pt x="33" y="558"/>
                    </a:lnTo>
                    <a:lnTo>
                      <a:pt x="35" y="556"/>
                    </a:lnTo>
                    <a:lnTo>
                      <a:pt x="36" y="556"/>
                    </a:lnTo>
                    <a:lnTo>
                      <a:pt x="36" y="555"/>
                    </a:lnTo>
                    <a:lnTo>
                      <a:pt x="36" y="553"/>
                    </a:lnTo>
                    <a:lnTo>
                      <a:pt x="38" y="553"/>
                    </a:lnTo>
                    <a:lnTo>
                      <a:pt x="38" y="552"/>
                    </a:lnTo>
                    <a:lnTo>
                      <a:pt x="38" y="550"/>
                    </a:lnTo>
                    <a:lnTo>
                      <a:pt x="39" y="550"/>
                    </a:lnTo>
                    <a:lnTo>
                      <a:pt x="39" y="549"/>
                    </a:lnTo>
                    <a:lnTo>
                      <a:pt x="39" y="547"/>
                    </a:lnTo>
                    <a:lnTo>
                      <a:pt x="38" y="547"/>
                    </a:lnTo>
                    <a:lnTo>
                      <a:pt x="39" y="545"/>
                    </a:lnTo>
                    <a:lnTo>
                      <a:pt x="38" y="544"/>
                    </a:lnTo>
                    <a:lnTo>
                      <a:pt x="39" y="544"/>
                    </a:lnTo>
                    <a:lnTo>
                      <a:pt x="38" y="544"/>
                    </a:lnTo>
                    <a:lnTo>
                      <a:pt x="38" y="545"/>
                    </a:lnTo>
                    <a:lnTo>
                      <a:pt x="36" y="544"/>
                    </a:lnTo>
                    <a:lnTo>
                      <a:pt x="36" y="545"/>
                    </a:lnTo>
                    <a:lnTo>
                      <a:pt x="35" y="545"/>
                    </a:lnTo>
                    <a:lnTo>
                      <a:pt x="33" y="545"/>
                    </a:lnTo>
                    <a:lnTo>
                      <a:pt x="31" y="547"/>
                    </a:lnTo>
                    <a:lnTo>
                      <a:pt x="31" y="549"/>
                    </a:lnTo>
                    <a:lnTo>
                      <a:pt x="30" y="549"/>
                    </a:lnTo>
                    <a:lnTo>
                      <a:pt x="28" y="549"/>
                    </a:lnTo>
                    <a:lnTo>
                      <a:pt x="28" y="550"/>
                    </a:lnTo>
                    <a:lnTo>
                      <a:pt x="27" y="550"/>
                    </a:lnTo>
                    <a:lnTo>
                      <a:pt x="25" y="550"/>
                    </a:lnTo>
                    <a:lnTo>
                      <a:pt x="25" y="552"/>
                    </a:lnTo>
                    <a:lnTo>
                      <a:pt x="22" y="552"/>
                    </a:lnTo>
                    <a:lnTo>
                      <a:pt x="20" y="553"/>
                    </a:lnTo>
                    <a:lnTo>
                      <a:pt x="20" y="555"/>
                    </a:lnTo>
                    <a:lnTo>
                      <a:pt x="19" y="555"/>
                    </a:lnTo>
                    <a:lnTo>
                      <a:pt x="17" y="556"/>
                    </a:lnTo>
                    <a:lnTo>
                      <a:pt x="16" y="556"/>
                    </a:lnTo>
                    <a:lnTo>
                      <a:pt x="14" y="555"/>
                    </a:lnTo>
                    <a:lnTo>
                      <a:pt x="12" y="553"/>
                    </a:lnTo>
                    <a:lnTo>
                      <a:pt x="12" y="552"/>
                    </a:lnTo>
                    <a:lnTo>
                      <a:pt x="11" y="552"/>
                    </a:lnTo>
                    <a:lnTo>
                      <a:pt x="9" y="552"/>
                    </a:lnTo>
                    <a:lnTo>
                      <a:pt x="8" y="552"/>
                    </a:lnTo>
                    <a:lnTo>
                      <a:pt x="8" y="553"/>
                    </a:lnTo>
                    <a:lnTo>
                      <a:pt x="8" y="552"/>
                    </a:lnTo>
                    <a:lnTo>
                      <a:pt x="6" y="552"/>
                    </a:lnTo>
                    <a:lnTo>
                      <a:pt x="6" y="550"/>
                    </a:lnTo>
                    <a:lnTo>
                      <a:pt x="4" y="550"/>
                    </a:lnTo>
                    <a:lnTo>
                      <a:pt x="4" y="549"/>
                    </a:lnTo>
                    <a:lnTo>
                      <a:pt x="3" y="547"/>
                    </a:lnTo>
                    <a:lnTo>
                      <a:pt x="4" y="547"/>
                    </a:lnTo>
                    <a:lnTo>
                      <a:pt x="4" y="545"/>
                    </a:lnTo>
                    <a:lnTo>
                      <a:pt x="4" y="544"/>
                    </a:lnTo>
                    <a:lnTo>
                      <a:pt x="6" y="544"/>
                    </a:lnTo>
                    <a:lnTo>
                      <a:pt x="6" y="542"/>
                    </a:lnTo>
                    <a:lnTo>
                      <a:pt x="8" y="541"/>
                    </a:lnTo>
                    <a:lnTo>
                      <a:pt x="9" y="539"/>
                    </a:lnTo>
                    <a:lnTo>
                      <a:pt x="9" y="537"/>
                    </a:lnTo>
                    <a:lnTo>
                      <a:pt x="11" y="536"/>
                    </a:lnTo>
                    <a:lnTo>
                      <a:pt x="11" y="534"/>
                    </a:lnTo>
                    <a:lnTo>
                      <a:pt x="11" y="533"/>
                    </a:lnTo>
                    <a:lnTo>
                      <a:pt x="12" y="531"/>
                    </a:lnTo>
                    <a:lnTo>
                      <a:pt x="12" y="530"/>
                    </a:lnTo>
                    <a:lnTo>
                      <a:pt x="14" y="530"/>
                    </a:lnTo>
                    <a:lnTo>
                      <a:pt x="14" y="528"/>
                    </a:lnTo>
                    <a:lnTo>
                      <a:pt x="16" y="528"/>
                    </a:lnTo>
                    <a:lnTo>
                      <a:pt x="16" y="526"/>
                    </a:lnTo>
                    <a:lnTo>
                      <a:pt x="16" y="525"/>
                    </a:lnTo>
                    <a:lnTo>
                      <a:pt x="17" y="525"/>
                    </a:lnTo>
                    <a:lnTo>
                      <a:pt x="17" y="523"/>
                    </a:lnTo>
                    <a:lnTo>
                      <a:pt x="19" y="523"/>
                    </a:lnTo>
                    <a:lnTo>
                      <a:pt x="19" y="522"/>
                    </a:lnTo>
                    <a:lnTo>
                      <a:pt x="19" y="520"/>
                    </a:lnTo>
                    <a:lnTo>
                      <a:pt x="20" y="518"/>
                    </a:lnTo>
                    <a:lnTo>
                      <a:pt x="22" y="518"/>
                    </a:lnTo>
                    <a:lnTo>
                      <a:pt x="22" y="517"/>
                    </a:lnTo>
                    <a:lnTo>
                      <a:pt x="22" y="515"/>
                    </a:lnTo>
                    <a:lnTo>
                      <a:pt x="23" y="514"/>
                    </a:lnTo>
                    <a:lnTo>
                      <a:pt x="25" y="514"/>
                    </a:lnTo>
                    <a:lnTo>
                      <a:pt x="25" y="512"/>
                    </a:lnTo>
                    <a:lnTo>
                      <a:pt x="25" y="511"/>
                    </a:lnTo>
                    <a:lnTo>
                      <a:pt x="25" y="509"/>
                    </a:lnTo>
                    <a:lnTo>
                      <a:pt x="25" y="507"/>
                    </a:lnTo>
                    <a:lnTo>
                      <a:pt x="25" y="506"/>
                    </a:lnTo>
                    <a:lnTo>
                      <a:pt x="25" y="504"/>
                    </a:lnTo>
                    <a:lnTo>
                      <a:pt x="23" y="504"/>
                    </a:lnTo>
                    <a:lnTo>
                      <a:pt x="25" y="503"/>
                    </a:lnTo>
                    <a:lnTo>
                      <a:pt x="27" y="503"/>
                    </a:lnTo>
                    <a:lnTo>
                      <a:pt x="28" y="503"/>
                    </a:lnTo>
                    <a:lnTo>
                      <a:pt x="28" y="501"/>
                    </a:lnTo>
                    <a:lnTo>
                      <a:pt x="28" y="499"/>
                    </a:lnTo>
                    <a:lnTo>
                      <a:pt x="30" y="499"/>
                    </a:lnTo>
                    <a:lnTo>
                      <a:pt x="30" y="498"/>
                    </a:lnTo>
                    <a:lnTo>
                      <a:pt x="31" y="496"/>
                    </a:lnTo>
                    <a:lnTo>
                      <a:pt x="31" y="495"/>
                    </a:lnTo>
                    <a:lnTo>
                      <a:pt x="33" y="493"/>
                    </a:lnTo>
                    <a:lnTo>
                      <a:pt x="33" y="491"/>
                    </a:lnTo>
                    <a:lnTo>
                      <a:pt x="33" y="490"/>
                    </a:lnTo>
                    <a:lnTo>
                      <a:pt x="35" y="488"/>
                    </a:lnTo>
                    <a:lnTo>
                      <a:pt x="35" y="487"/>
                    </a:lnTo>
                    <a:lnTo>
                      <a:pt x="36" y="487"/>
                    </a:lnTo>
                    <a:lnTo>
                      <a:pt x="36" y="485"/>
                    </a:lnTo>
                    <a:lnTo>
                      <a:pt x="36" y="484"/>
                    </a:lnTo>
                    <a:lnTo>
                      <a:pt x="36" y="482"/>
                    </a:lnTo>
                    <a:lnTo>
                      <a:pt x="36" y="480"/>
                    </a:lnTo>
                    <a:lnTo>
                      <a:pt x="38" y="479"/>
                    </a:lnTo>
                    <a:lnTo>
                      <a:pt x="38" y="477"/>
                    </a:lnTo>
                    <a:lnTo>
                      <a:pt x="39" y="476"/>
                    </a:lnTo>
                    <a:lnTo>
                      <a:pt x="39" y="474"/>
                    </a:lnTo>
                    <a:lnTo>
                      <a:pt x="41" y="472"/>
                    </a:lnTo>
                    <a:lnTo>
                      <a:pt x="42" y="472"/>
                    </a:lnTo>
                    <a:lnTo>
                      <a:pt x="50" y="468"/>
                    </a:lnTo>
                    <a:lnTo>
                      <a:pt x="52" y="468"/>
                    </a:lnTo>
                    <a:lnTo>
                      <a:pt x="54" y="468"/>
                    </a:lnTo>
                    <a:lnTo>
                      <a:pt x="54" y="466"/>
                    </a:lnTo>
                    <a:lnTo>
                      <a:pt x="57" y="465"/>
                    </a:lnTo>
                    <a:lnTo>
                      <a:pt x="60" y="463"/>
                    </a:lnTo>
                    <a:lnTo>
                      <a:pt x="61" y="463"/>
                    </a:lnTo>
                    <a:lnTo>
                      <a:pt x="63" y="461"/>
                    </a:lnTo>
                    <a:lnTo>
                      <a:pt x="65" y="461"/>
                    </a:lnTo>
                    <a:lnTo>
                      <a:pt x="68" y="461"/>
                    </a:lnTo>
                    <a:lnTo>
                      <a:pt x="69" y="461"/>
                    </a:lnTo>
                    <a:lnTo>
                      <a:pt x="69" y="463"/>
                    </a:lnTo>
                    <a:lnTo>
                      <a:pt x="73" y="463"/>
                    </a:lnTo>
                    <a:lnTo>
                      <a:pt x="74" y="465"/>
                    </a:lnTo>
                    <a:lnTo>
                      <a:pt x="76" y="465"/>
                    </a:lnTo>
                    <a:lnTo>
                      <a:pt x="77" y="466"/>
                    </a:lnTo>
                    <a:lnTo>
                      <a:pt x="80" y="466"/>
                    </a:lnTo>
                    <a:lnTo>
                      <a:pt x="80" y="465"/>
                    </a:lnTo>
                    <a:lnTo>
                      <a:pt x="82" y="465"/>
                    </a:lnTo>
                    <a:lnTo>
                      <a:pt x="82" y="461"/>
                    </a:lnTo>
                    <a:lnTo>
                      <a:pt x="84" y="461"/>
                    </a:lnTo>
                    <a:lnTo>
                      <a:pt x="87" y="458"/>
                    </a:lnTo>
                    <a:lnTo>
                      <a:pt x="92" y="450"/>
                    </a:lnTo>
                    <a:lnTo>
                      <a:pt x="93" y="450"/>
                    </a:lnTo>
                    <a:lnTo>
                      <a:pt x="95" y="449"/>
                    </a:lnTo>
                    <a:lnTo>
                      <a:pt x="96" y="447"/>
                    </a:lnTo>
                    <a:lnTo>
                      <a:pt x="98" y="447"/>
                    </a:lnTo>
                    <a:lnTo>
                      <a:pt x="100" y="447"/>
                    </a:lnTo>
                    <a:lnTo>
                      <a:pt x="100" y="449"/>
                    </a:lnTo>
                    <a:lnTo>
                      <a:pt x="101" y="449"/>
                    </a:lnTo>
                    <a:lnTo>
                      <a:pt x="103" y="449"/>
                    </a:lnTo>
                    <a:lnTo>
                      <a:pt x="106" y="452"/>
                    </a:lnTo>
                    <a:lnTo>
                      <a:pt x="107" y="453"/>
                    </a:lnTo>
                    <a:lnTo>
                      <a:pt x="109" y="455"/>
                    </a:lnTo>
                    <a:lnTo>
                      <a:pt x="111" y="455"/>
                    </a:lnTo>
                    <a:lnTo>
                      <a:pt x="112" y="455"/>
                    </a:lnTo>
                    <a:lnTo>
                      <a:pt x="114" y="457"/>
                    </a:lnTo>
                    <a:lnTo>
                      <a:pt x="115" y="458"/>
                    </a:lnTo>
                    <a:lnTo>
                      <a:pt x="117" y="458"/>
                    </a:lnTo>
                    <a:lnTo>
                      <a:pt x="120" y="457"/>
                    </a:lnTo>
                    <a:lnTo>
                      <a:pt x="122" y="457"/>
                    </a:lnTo>
                    <a:lnTo>
                      <a:pt x="122" y="455"/>
                    </a:lnTo>
                    <a:lnTo>
                      <a:pt x="123" y="455"/>
                    </a:lnTo>
                    <a:lnTo>
                      <a:pt x="123" y="453"/>
                    </a:lnTo>
                    <a:lnTo>
                      <a:pt x="128" y="452"/>
                    </a:lnTo>
                    <a:lnTo>
                      <a:pt x="133" y="450"/>
                    </a:lnTo>
                    <a:lnTo>
                      <a:pt x="136" y="446"/>
                    </a:lnTo>
                    <a:lnTo>
                      <a:pt x="136" y="444"/>
                    </a:lnTo>
                    <a:lnTo>
                      <a:pt x="138" y="444"/>
                    </a:lnTo>
                    <a:lnTo>
                      <a:pt x="138" y="442"/>
                    </a:lnTo>
                    <a:lnTo>
                      <a:pt x="139" y="438"/>
                    </a:lnTo>
                    <a:lnTo>
                      <a:pt x="142" y="438"/>
                    </a:lnTo>
                    <a:lnTo>
                      <a:pt x="142" y="436"/>
                    </a:lnTo>
                    <a:lnTo>
                      <a:pt x="144" y="436"/>
                    </a:lnTo>
                    <a:lnTo>
                      <a:pt x="145" y="434"/>
                    </a:lnTo>
                    <a:lnTo>
                      <a:pt x="144" y="434"/>
                    </a:lnTo>
                    <a:lnTo>
                      <a:pt x="142" y="434"/>
                    </a:lnTo>
                    <a:lnTo>
                      <a:pt x="142" y="433"/>
                    </a:lnTo>
                    <a:lnTo>
                      <a:pt x="142" y="430"/>
                    </a:lnTo>
                    <a:lnTo>
                      <a:pt x="144" y="425"/>
                    </a:lnTo>
                    <a:lnTo>
                      <a:pt x="144" y="423"/>
                    </a:lnTo>
                    <a:lnTo>
                      <a:pt x="142" y="422"/>
                    </a:lnTo>
                    <a:lnTo>
                      <a:pt x="142" y="420"/>
                    </a:lnTo>
                    <a:lnTo>
                      <a:pt x="142" y="419"/>
                    </a:lnTo>
                    <a:lnTo>
                      <a:pt x="141" y="412"/>
                    </a:lnTo>
                    <a:lnTo>
                      <a:pt x="141" y="411"/>
                    </a:lnTo>
                    <a:lnTo>
                      <a:pt x="141" y="409"/>
                    </a:lnTo>
                    <a:lnTo>
                      <a:pt x="141" y="406"/>
                    </a:lnTo>
                    <a:lnTo>
                      <a:pt x="141" y="404"/>
                    </a:lnTo>
                    <a:lnTo>
                      <a:pt x="142" y="404"/>
                    </a:lnTo>
                    <a:lnTo>
                      <a:pt x="142" y="403"/>
                    </a:lnTo>
                    <a:lnTo>
                      <a:pt x="142" y="401"/>
                    </a:lnTo>
                    <a:lnTo>
                      <a:pt x="142" y="400"/>
                    </a:lnTo>
                    <a:lnTo>
                      <a:pt x="142" y="398"/>
                    </a:lnTo>
                    <a:lnTo>
                      <a:pt x="142" y="395"/>
                    </a:lnTo>
                    <a:lnTo>
                      <a:pt x="144" y="392"/>
                    </a:lnTo>
                    <a:lnTo>
                      <a:pt x="145" y="387"/>
                    </a:lnTo>
                    <a:lnTo>
                      <a:pt x="149" y="381"/>
                    </a:lnTo>
                    <a:lnTo>
                      <a:pt x="149" y="379"/>
                    </a:lnTo>
                    <a:lnTo>
                      <a:pt x="150" y="377"/>
                    </a:lnTo>
                    <a:lnTo>
                      <a:pt x="152" y="374"/>
                    </a:lnTo>
                    <a:lnTo>
                      <a:pt x="153" y="368"/>
                    </a:lnTo>
                    <a:lnTo>
                      <a:pt x="158" y="362"/>
                    </a:lnTo>
                    <a:lnTo>
                      <a:pt x="158" y="357"/>
                    </a:lnTo>
                    <a:lnTo>
                      <a:pt x="152" y="346"/>
                    </a:lnTo>
                    <a:lnTo>
                      <a:pt x="152" y="344"/>
                    </a:lnTo>
                    <a:lnTo>
                      <a:pt x="150" y="344"/>
                    </a:lnTo>
                    <a:lnTo>
                      <a:pt x="150" y="343"/>
                    </a:lnTo>
                    <a:lnTo>
                      <a:pt x="147" y="339"/>
                    </a:lnTo>
                    <a:lnTo>
                      <a:pt x="147" y="338"/>
                    </a:lnTo>
                    <a:lnTo>
                      <a:pt x="142" y="332"/>
                    </a:lnTo>
                    <a:lnTo>
                      <a:pt x="139" y="328"/>
                    </a:lnTo>
                    <a:lnTo>
                      <a:pt x="138" y="324"/>
                    </a:lnTo>
                    <a:lnTo>
                      <a:pt x="136" y="320"/>
                    </a:lnTo>
                    <a:lnTo>
                      <a:pt x="130" y="309"/>
                    </a:lnTo>
                    <a:lnTo>
                      <a:pt x="128" y="308"/>
                    </a:lnTo>
                    <a:lnTo>
                      <a:pt x="128" y="309"/>
                    </a:lnTo>
                    <a:lnTo>
                      <a:pt x="126" y="309"/>
                    </a:lnTo>
                    <a:lnTo>
                      <a:pt x="125" y="309"/>
                    </a:lnTo>
                    <a:lnTo>
                      <a:pt x="125" y="311"/>
                    </a:lnTo>
                    <a:lnTo>
                      <a:pt x="125" y="312"/>
                    </a:lnTo>
                    <a:lnTo>
                      <a:pt x="123" y="312"/>
                    </a:lnTo>
                    <a:lnTo>
                      <a:pt x="123" y="311"/>
                    </a:lnTo>
                    <a:lnTo>
                      <a:pt x="122" y="311"/>
                    </a:lnTo>
                    <a:lnTo>
                      <a:pt x="120" y="312"/>
                    </a:lnTo>
                    <a:lnTo>
                      <a:pt x="120" y="311"/>
                    </a:lnTo>
                    <a:lnTo>
                      <a:pt x="122" y="311"/>
                    </a:lnTo>
                    <a:lnTo>
                      <a:pt x="122" y="309"/>
                    </a:lnTo>
                    <a:lnTo>
                      <a:pt x="123" y="308"/>
                    </a:lnTo>
                    <a:lnTo>
                      <a:pt x="125" y="306"/>
                    </a:lnTo>
                    <a:lnTo>
                      <a:pt x="126" y="306"/>
                    </a:lnTo>
                    <a:lnTo>
                      <a:pt x="126" y="305"/>
                    </a:lnTo>
                    <a:lnTo>
                      <a:pt x="128" y="305"/>
                    </a:lnTo>
                    <a:lnTo>
                      <a:pt x="130" y="303"/>
                    </a:lnTo>
                    <a:lnTo>
                      <a:pt x="130" y="301"/>
                    </a:lnTo>
                    <a:lnTo>
                      <a:pt x="131" y="300"/>
                    </a:lnTo>
                    <a:lnTo>
                      <a:pt x="131" y="298"/>
                    </a:lnTo>
                    <a:lnTo>
                      <a:pt x="133" y="298"/>
                    </a:lnTo>
                    <a:lnTo>
                      <a:pt x="133" y="297"/>
                    </a:lnTo>
                    <a:lnTo>
                      <a:pt x="133" y="295"/>
                    </a:lnTo>
                    <a:lnTo>
                      <a:pt x="131" y="292"/>
                    </a:lnTo>
                    <a:lnTo>
                      <a:pt x="133" y="292"/>
                    </a:lnTo>
                    <a:lnTo>
                      <a:pt x="134" y="289"/>
                    </a:lnTo>
                    <a:lnTo>
                      <a:pt x="136" y="289"/>
                    </a:lnTo>
                    <a:lnTo>
                      <a:pt x="136" y="287"/>
                    </a:lnTo>
                    <a:lnTo>
                      <a:pt x="136" y="286"/>
                    </a:lnTo>
                    <a:lnTo>
                      <a:pt x="136" y="282"/>
                    </a:lnTo>
                    <a:lnTo>
                      <a:pt x="133" y="281"/>
                    </a:lnTo>
                    <a:lnTo>
                      <a:pt x="131" y="281"/>
                    </a:lnTo>
                    <a:lnTo>
                      <a:pt x="131" y="279"/>
                    </a:lnTo>
                    <a:lnTo>
                      <a:pt x="133" y="278"/>
                    </a:lnTo>
                    <a:lnTo>
                      <a:pt x="134" y="276"/>
                    </a:lnTo>
                    <a:lnTo>
                      <a:pt x="134" y="271"/>
                    </a:lnTo>
                    <a:lnTo>
                      <a:pt x="134" y="265"/>
                    </a:lnTo>
                    <a:lnTo>
                      <a:pt x="134" y="263"/>
                    </a:lnTo>
                    <a:lnTo>
                      <a:pt x="134" y="260"/>
                    </a:lnTo>
                    <a:lnTo>
                      <a:pt x="136" y="259"/>
                    </a:lnTo>
                    <a:lnTo>
                      <a:pt x="136" y="257"/>
                    </a:lnTo>
                    <a:lnTo>
                      <a:pt x="138" y="254"/>
                    </a:lnTo>
                    <a:lnTo>
                      <a:pt x="138" y="252"/>
                    </a:lnTo>
                    <a:lnTo>
                      <a:pt x="136" y="251"/>
                    </a:lnTo>
                    <a:lnTo>
                      <a:pt x="136" y="249"/>
                    </a:lnTo>
                    <a:lnTo>
                      <a:pt x="136" y="248"/>
                    </a:lnTo>
                    <a:lnTo>
                      <a:pt x="134" y="248"/>
                    </a:lnTo>
                    <a:lnTo>
                      <a:pt x="131" y="246"/>
                    </a:lnTo>
                    <a:lnTo>
                      <a:pt x="131" y="244"/>
                    </a:lnTo>
                    <a:lnTo>
                      <a:pt x="133" y="241"/>
                    </a:lnTo>
                    <a:lnTo>
                      <a:pt x="134" y="240"/>
                    </a:lnTo>
                    <a:lnTo>
                      <a:pt x="134" y="238"/>
                    </a:lnTo>
                    <a:lnTo>
                      <a:pt x="134" y="235"/>
                    </a:lnTo>
                    <a:lnTo>
                      <a:pt x="134" y="233"/>
                    </a:lnTo>
                    <a:lnTo>
                      <a:pt x="133" y="232"/>
                    </a:lnTo>
                    <a:lnTo>
                      <a:pt x="133" y="229"/>
                    </a:lnTo>
                    <a:lnTo>
                      <a:pt x="134" y="225"/>
                    </a:lnTo>
                    <a:lnTo>
                      <a:pt x="136" y="224"/>
                    </a:lnTo>
                    <a:lnTo>
                      <a:pt x="138" y="224"/>
                    </a:lnTo>
                    <a:lnTo>
                      <a:pt x="138" y="222"/>
                    </a:lnTo>
                    <a:lnTo>
                      <a:pt x="138" y="221"/>
                    </a:lnTo>
                    <a:lnTo>
                      <a:pt x="138" y="217"/>
                    </a:lnTo>
                    <a:lnTo>
                      <a:pt x="136" y="217"/>
                    </a:lnTo>
                    <a:lnTo>
                      <a:pt x="134" y="213"/>
                    </a:lnTo>
                    <a:lnTo>
                      <a:pt x="125" y="200"/>
                    </a:lnTo>
                    <a:lnTo>
                      <a:pt x="125" y="198"/>
                    </a:lnTo>
                    <a:lnTo>
                      <a:pt x="123" y="198"/>
                    </a:lnTo>
                    <a:lnTo>
                      <a:pt x="123" y="197"/>
                    </a:lnTo>
                    <a:lnTo>
                      <a:pt x="122" y="197"/>
                    </a:lnTo>
                    <a:lnTo>
                      <a:pt x="122" y="195"/>
                    </a:lnTo>
                    <a:lnTo>
                      <a:pt x="120" y="194"/>
                    </a:lnTo>
                    <a:lnTo>
                      <a:pt x="120" y="192"/>
                    </a:lnTo>
                    <a:lnTo>
                      <a:pt x="119" y="192"/>
                    </a:lnTo>
                    <a:lnTo>
                      <a:pt x="119" y="191"/>
                    </a:lnTo>
                    <a:lnTo>
                      <a:pt x="117" y="189"/>
                    </a:lnTo>
                    <a:lnTo>
                      <a:pt x="117" y="187"/>
                    </a:lnTo>
                    <a:lnTo>
                      <a:pt x="115" y="187"/>
                    </a:lnTo>
                    <a:lnTo>
                      <a:pt x="115" y="186"/>
                    </a:lnTo>
                    <a:lnTo>
                      <a:pt x="114" y="186"/>
                    </a:lnTo>
                    <a:lnTo>
                      <a:pt x="114" y="184"/>
                    </a:lnTo>
                    <a:lnTo>
                      <a:pt x="112" y="183"/>
                    </a:lnTo>
                    <a:lnTo>
                      <a:pt x="112" y="181"/>
                    </a:lnTo>
                    <a:lnTo>
                      <a:pt x="111" y="181"/>
                    </a:lnTo>
                    <a:lnTo>
                      <a:pt x="111" y="179"/>
                    </a:lnTo>
                    <a:lnTo>
                      <a:pt x="109" y="179"/>
                    </a:lnTo>
                    <a:lnTo>
                      <a:pt x="109" y="178"/>
                    </a:lnTo>
                    <a:lnTo>
                      <a:pt x="107" y="170"/>
                    </a:lnTo>
                    <a:lnTo>
                      <a:pt x="107" y="168"/>
                    </a:lnTo>
                    <a:lnTo>
                      <a:pt x="107" y="159"/>
                    </a:lnTo>
                    <a:lnTo>
                      <a:pt x="106" y="154"/>
                    </a:lnTo>
                    <a:lnTo>
                      <a:pt x="106" y="153"/>
                    </a:lnTo>
                    <a:lnTo>
                      <a:pt x="104" y="151"/>
                    </a:lnTo>
                    <a:lnTo>
                      <a:pt x="101" y="148"/>
                    </a:lnTo>
                    <a:lnTo>
                      <a:pt x="100" y="146"/>
                    </a:lnTo>
                    <a:lnTo>
                      <a:pt x="96" y="145"/>
                    </a:lnTo>
                    <a:lnTo>
                      <a:pt x="95" y="143"/>
                    </a:lnTo>
                    <a:lnTo>
                      <a:pt x="93" y="141"/>
                    </a:lnTo>
                    <a:lnTo>
                      <a:pt x="88" y="138"/>
                    </a:lnTo>
                    <a:lnTo>
                      <a:pt x="88" y="137"/>
                    </a:lnTo>
                    <a:lnTo>
                      <a:pt x="87" y="137"/>
                    </a:lnTo>
                    <a:lnTo>
                      <a:pt x="85" y="137"/>
                    </a:lnTo>
                    <a:lnTo>
                      <a:pt x="85" y="135"/>
                    </a:lnTo>
                    <a:lnTo>
                      <a:pt x="85" y="134"/>
                    </a:lnTo>
                    <a:lnTo>
                      <a:pt x="82" y="134"/>
                    </a:lnTo>
                    <a:lnTo>
                      <a:pt x="76" y="132"/>
                    </a:lnTo>
                    <a:lnTo>
                      <a:pt x="66" y="129"/>
                    </a:lnTo>
                    <a:lnTo>
                      <a:pt x="65" y="122"/>
                    </a:lnTo>
                    <a:lnTo>
                      <a:pt x="63" y="122"/>
                    </a:lnTo>
                    <a:lnTo>
                      <a:pt x="63" y="121"/>
                    </a:lnTo>
                    <a:lnTo>
                      <a:pt x="61" y="119"/>
                    </a:lnTo>
                    <a:lnTo>
                      <a:pt x="60" y="119"/>
                    </a:lnTo>
                    <a:lnTo>
                      <a:pt x="58" y="121"/>
                    </a:lnTo>
                    <a:lnTo>
                      <a:pt x="57" y="121"/>
                    </a:lnTo>
                    <a:lnTo>
                      <a:pt x="57" y="119"/>
                    </a:lnTo>
                    <a:lnTo>
                      <a:pt x="55" y="119"/>
                    </a:lnTo>
                    <a:lnTo>
                      <a:pt x="54" y="118"/>
                    </a:lnTo>
                    <a:lnTo>
                      <a:pt x="52" y="118"/>
                    </a:lnTo>
                    <a:lnTo>
                      <a:pt x="50" y="118"/>
                    </a:lnTo>
                    <a:lnTo>
                      <a:pt x="49" y="118"/>
                    </a:lnTo>
                    <a:lnTo>
                      <a:pt x="49" y="116"/>
                    </a:lnTo>
                    <a:lnTo>
                      <a:pt x="49" y="113"/>
                    </a:lnTo>
                    <a:lnTo>
                      <a:pt x="47" y="113"/>
                    </a:lnTo>
                    <a:lnTo>
                      <a:pt x="47" y="111"/>
                    </a:lnTo>
                    <a:lnTo>
                      <a:pt x="46" y="108"/>
                    </a:lnTo>
                    <a:lnTo>
                      <a:pt x="46" y="107"/>
                    </a:lnTo>
                    <a:lnTo>
                      <a:pt x="46" y="105"/>
                    </a:lnTo>
                    <a:lnTo>
                      <a:pt x="46" y="103"/>
                    </a:lnTo>
                    <a:lnTo>
                      <a:pt x="46" y="102"/>
                    </a:lnTo>
                    <a:lnTo>
                      <a:pt x="46" y="99"/>
                    </a:lnTo>
                    <a:lnTo>
                      <a:pt x="44" y="99"/>
                    </a:lnTo>
                    <a:lnTo>
                      <a:pt x="44" y="97"/>
                    </a:lnTo>
                    <a:lnTo>
                      <a:pt x="42" y="95"/>
                    </a:lnTo>
                    <a:lnTo>
                      <a:pt x="41" y="91"/>
                    </a:lnTo>
                    <a:lnTo>
                      <a:pt x="41" y="86"/>
                    </a:lnTo>
                    <a:lnTo>
                      <a:pt x="39" y="86"/>
                    </a:lnTo>
                    <a:lnTo>
                      <a:pt x="39" y="84"/>
                    </a:lnTo>
                    <a:lnTo>
                      <a:pt x="36" y="80"/>
                    </a:lnTo>
                    <a:lnTo>
                      <a:pt x="35" y="75"/>
                    </a:lnTo>
                    <a:lnTo>
                      <a:pt x="33" y="73"/>
                    </a:lnTo>
                    <a:lnTo>
                      <a:pt x="33" y="72"/>
                    </a:lnTo>
                    <a:lnTo>
                      <a:pt x="33" y="70"/>
                    </a:lnTo>
                    <a:lnTo>
                      <a:pt x="31" y="70"/>
                    </a:lnTo>
                    <a:lnTo>
                      <a:pt x="31" y="69"/>
                    </a:lnTo>
                    <a:lnTo>
                      <a:pt x="31" y="67"/>
                    </a:lnTo>
                    <a:lnTo>
                      <a:pt x="28" y="64"/>
                    </a:lnTo>
                    <a:lnTo>
                      <a:pt x="28" y="62"/>
                    </a:lnTo>
                    <a:lnTo>
                      <a:pt x="27" y="62"/>
                    </a:lnTo>
                    <a:lnTo>
                      <a:pt x="23" y="62"/>
                    </a:lnTo>
                    <a:lnTo>
                      <a:pt x="20" y="62"/>
                    </a:lnTo>
                    <a:lnTo>
                      <a:pt x="19" y="62"/>
                    </a:lnTo>
                    <a:lnTo>
                      <a:pt x="19" y="61"/>
                    </a:lnTo>
                    <a:lnTo>
                      <a:pt x="17" y="56"/>
                    </a:lnTo>
                    <a:lnTo>
                      <a:pt x="20" y="50"/>
                    </a:lnTo>
                    <a:lnTo>
                      <a:pt x="20" y="48"/>
                    </a:lnTo>
                    <a:lnTo>
                      <a:pt x="20" y="46"/>
                    </a:lnTo>
                    <a:lnTo>
                      <a:pt x="19" y="46"/>
                    </a:lnTo>
                    <a:lnTo>
                      <a:pt x="17" y="46"/>
                    </a:lnTo>
                    <a:lnTo>
                      <a:pt x="16" y="46"/>
                    </a:lnTo>
                    <a:lnTo>
                      <a:pt x="14" y="45"/>
                    </a:lnTo>
                    <a:lnTo>
                      <a:pt x="14" y="43"/>
                    </a:lnTo>
                    <a:lnTo>
                      <a:pt x="16" y="40"/>
                    </a:lnTo>
                    <a:lnTo>
                      <a:pt x="16" y="37"/>
                    </a:lnTo>
                    <a:lnTo>
                      <a:pt x="16" y="35"/>
                    </a:lnTo>
                    <a:lnTo>
                      <a:pt x="22" y="27"/>
                    </a:lnTo>
                    <a:lnTo>
                      <a:pt x="23" y="24"/>
                    </a:lnTo>
                    <a:lnTo>
                      <a:pt x="25" y="24"/>
                    </a:lnTo>
                    <a:lnTo>
                      <a:pt x="27" y="24"/>
                    </a:lnTo>
                    <a:lnTo>
                      <a:pt x="27" y="26"/>
                    </a:lnTo>
                    <a:lnTo>
                      <a:pt x="28" y="26"/>
                    </a:lnTo>
                    <a:lnTo>
                      <a:pt x="28" y="27"/>
                    </a:lnTo>
                    <a:lnTo>
                      <a:pt x="30" y="27"/>
                    </a:lnTo>
                    <a:lnTo>
                      <a:pt x="30" y="29"/>
                    </a:lnTo>
                    <a:lnTo>
                      <a:pt x="31" y="29"/>
                    </a:lnTo>
                    <a:lnTo>
                      <a:pt x="33" y="29"/>
                    </a:lnTo>
                    <a:lnTo>
                      <a:pt x="33" y="31"/>
                    </a:lnTo>
                    <a:lnTo>
                      <a:pt x="33" y="29"/>
                    </a:lnTo>
                    <a:lnTo>
                      <a:pt x="35" y="29"/>
                    </a:lnTo>
                    <a:lnTo>
                      <a:pt x="35" y="31"/>
                    </a:lnTo>
                    <a:lnTo>
                      <a:pt x="36" y="31"/>
                    </a:lnTo>
                    <a:lnTo>
                      <a:pt x="38" y="31"/>
                    </a:lnTo>
                    <a:lnTo>
                      <a:pt x="39" y="31"/>
                    </a:lnTo>
                    <a:lnTo>
                      <a:pt x="41" y="31"/>
                    </a:lnTo>
                    <a:lnTo>
                      <a:pt x="42" y="31"/>
                    </a:lnTo>
                    <a:lnTo>
                      <a:pt x="44" y="29"/>
                    </a:lnTo>
                    <a:lnTo>
                      <a:pt x="46" y="29"/>
                    </a:lnTo>
                    <a:lnTo>
                      <a:pt x="47" y="29"/>
                    </a:lnTo>
                    <a:lnTo>
                      <a:pt x="47" y="27"/>
                    </a:lnTo>
                    <a:lnTo>
                      <a:pt x="49" y="27"/>
                    </a:lnTo>
                    <a:lnTo>
                      <a:pt x="50" y="27"/>
                    </a:lnTo>
                    <a:lnTo>
                      <a:pt x="52" y="27"/>
                    </a:lnTo>
                    <a:lnTo>
                      <a:pt x="54" y="27"/>
                    </a:lnTo>
                    <a:lnTo>
                      <a:pt x="54" y="26"/>
                    </a:lnTo>
                    <a:lnTo>
                      <a:pt x="55" y="27"/>
                    </a:lnTo>
                    <a:lnTo>
                      <a:pt x="55" y="26"/>
                    </a:lnTo>
                    <a:lnTo>
                      <a:pt x="57" y="26"/>
                    </a:lnTo>
                    <a:lnTo>
                      <a:pt x="58" y="26"/>
                    </a:lnTo>
                    <a:lnTo>
                      <a:pt x="60" y="26"/>
                    </a:lnTo>
                    <a:lnTo>
                      <a:pt x="60" y="27"/>
                    </a:lnTo>
                    <a:lnTo>
                      <a:pt x="61" y="27"/>
                    </a:lnTo>
                    <a:lnTo>
                      <a:pt x="63" y="27"/>
                    </a:lnTo>
                    <a:lnTo>
                      <a:pt x="65" y="27"/>
                    </a:lnTo>
                    <a:lnTo>
                      <a:pt x="66" y="27"/>
                    </a:lnTo>
                    <a:lnTo>
                      <a:pt x="68" y="27"/>
                    </a:lnTo>
                    <a:lnTo>
                      <a:pt x="69" y="27"/>
                    </a:lnTo>
                    <a:lnTo>
                      <a:pt x="69" y="29"/>
                    </a:lnTo>
                    <a:lnTo>
                      <a:pt x="71" y="29"/>
                    </a:lnTo>
                    <a:lnTo>
                      <a:pt x="73" y="29"/>
                    </a:lnTo>
                    <a:lnTo>
                      <a:pt x="73" y="27"/>
                    </a:lnTo>
                    <a:lnTo>
                      <a:pt x="74" y="27"/>
                    </a:lnTo>
                    <a:lnTo>
                      <a:pt x="76" y="27"/>
                    </a:lnTo>
                    <a:lnTo>
                      <a:pt x="77" y="27"/>
                    </a:lnTo>
                    <a:lnTo>
                      <a:pt x="79" y="27"/>
                    </a:lnTo>
                    <a:lnTo>
                      <a:pt x="79" y="26"/>
                    </a:lnTo>
                    <a:lnTo>
                      <a:pt x="80" y="26"/>
                    </a:lnTo>
                    <a:lnTo>
                      <a:pt x="82" y="26"/>
                    </a:lnTo>
                    <a:lnTo>
                      <a:pt x="82" y="24"/>
                    </a:lnTo>
                    <a:lnTo>
                      <a:pt x="84" y="24"/>
                    </a:lnTo>
                    <a:lnTo>
                      <a:pt x="84" y="23"/>
                    </a:lnTo>
                    <a:lnTo>
                      <a:pt x="84" y="21"/>
                    </a:lnTo>
                    <a:lnTo>
                      <a:pt x="84" y="19"/>
                    </a:lnTo>
                    <a:lnTo>
                      <a:pt x="85" y="19"/>
                    </a:lnTo>
                    <a:lnTo>
                      <a:pt x="85" y="18"/>
                    </a:lnTo>
                    <a:lnTo>
                      <a:pt x="87" y="18"/>
                    </a:lnTo>
                    <a:lnTo>
                      <a:pt x="87" y="16"/>
                    </a:lnTo>
                    <a:lnTo>
                      <a:pt x="88" y="16"/>
                    </a:lnTo>
                    <a:lnTo>
                      <a:pt x="88" y="15"/>
                    </a:lnTo>
                    <a:lnTo>
                      <a:pt x="90" y="15"/>
                    </a:lnTo>
                    <a:lnTo>
                      <a:pt x="90" y="13"/>
                    </a:lnTo>
                    <a:lnTo>
                      <a:pt x="92" y="13"/>
                    </a:lnTo>
                    <a:lnTo>
                      <a:pt x="93" y="13"/>
                    </a:lnTo>
                    <a:lnTo>
                      <a:pt x="93" y="12"/>
                    </a:lnTo>
                    <a:lnTo>
                      <a:pt x="95" y="12"/>
                    </a:lnTo>
                    <a:lnTo>
                      <a:pt x="96" y="12"/>
                    </a:lnTo>
                    <a:lnTo>
                      <a:pt x="96" y="10"/>
                    </a:lnTo>
                    <a:lnTo>
                      <a:pt x="98" y="10"/>
                    </a:lnTo>
                    <a:lnTo>
                      <a:pt x="100" y="10"/>
                    </a:lnTo>
                    <a:lnTo>
                      <a:pt x="101" y="10"/>
                    </a:lnTo>
                    <a:lnTo>
                      <a:pt x="103" y="10"/>
                    </a:lnTo>
                    <a:lnTo>
                      <a:pt x="103" y="8"/>
                    </a:lnTo>
                    <a:lnTo>
                      <a:pt x="104" y="8"/>
                    </a:lnTo>
                    <a:lnTo>
                      <a:pt x="106" y="8"/>
                    </a:lnTo>
                    <a:lnTo>
                      <a:pt x="107" y="8"/>
                    </a:lnTo>
                    <a:lnTo>
                      <a:pt x="107" y="7"/>
                    </a:lnTo>
                    <a:lnTo>
                      <a:pt x="109" y="7"/>
                    </a:lnTo>
                    <a:lnTo>
                      <a:pt x="109" y="5"/>
                    </a:lnTo>
                    <a:lnTo>
                      <a:pt x="111" y="5"/>
                    </a:lnTo>
                    <a:lnTo>
                      <a:pt x="111" y="4"/>
                    </a:lnTo>
                    <a:lnTo>
                      <a:pt x="112" y="4"/>
                    </a:lnTo>
                    <a:lnTo>
                      <a:pt x="112" y="2"/>
                    </a:lnTo>
                    <a:lnTo>
                      <a:pt x="114" y="2"/>
                    </a:lnTo>
                    <a:lnTo>
                      <a:pt x="115" y="2"/>
                    </a:lnTo>
                    <a:lnTo>
                      <a:pt x="115" y="0"/>
                    </a:lnTo>
                    <a:lnTo>
                      <a:pt x="117" y="0"/>
                    </a:lnTo>
                    <a:lnTo>
                      <a:pt x="117" y="2"/>
                    </a:lnTo>
                    <a:close/>
                  </a:path>
                </a:pathLst>
              </a:custGeom>
              <a:solidFill>
                <a:srgbClr val="B4D7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38" name="Freeform 18"/>
              <p:cNvSpPr>
                <a:spLocks/>
              </p:cNvSpPr>
              <p:nvPr/>
            </p:nvSpPr>
            <p:spPr bwMode="auto">
              <a:xfrm>
                <a:off x="2221" y="537"/>
                <a:ext cx="752" cy="794"/>
              </a:xfrm>
              <a:custGeom>
                <a:avLst/>
                <a:gdLst>
                  <a:gd name="T0" fmla="*/ 145 w 752"/>
                  <a:gd name="T1" fmla="*/ 3 h 794"/>
                  <a:gd name="T2" fmla="*/ 187 w 752"/>
                  <a:gd name="T3" fmla="*/ 3 h 794"/>
                  <a:gd name="T4" fmla="*/ 214 w 752"/>
                  <a:gd name="T5" fmla="*/ 3 h 794"/>
                  <a:gd name="T6" fmla="*/ 255 w 752"/>
                  <a:gd name="T7" fmla="*/ 3 h 794"/>
                  <a:gd name="T8" fmla="*/ 285 w 752"/>
                  <a:gd name="T9" fmla="*/ 3 h 794"/>
                  <a:gd name="T10" fmla="*/ 329 w 752"/>
                  <a:gd name="T11" fmla="*/ 3 h 794"/>
                  <a:gd name="T12" fmla="*/ 377 w 752"/>
                  <a:gd name="T13" fmla="*/ 5 h 794"/>
                  <a:gd name="T14" fmla="*/ 434 w 752"/>
                  <a:gd name="T15" fmla="*/ 3 h 794"/>
                  <a:gd name="T16" fmla="*/ 443 w 752"/>
                  <a:gd name="T17" fmla="*/ 439 h 794"/>
                  <a:gd name="T18" fmla="*/ 457 w 752"/>
                  <a:gd name="T19" fmla="*/ 553 h 794"/>
                  <a:gd name="T20" fmla="*/ 457 w 752"/>
                  <a:gd name="T21" fmla="*/ 573 h 794"/>
                  <a:gd name="T22" fmla="*/ 462 w 752"/>
                  <a:gd name="T23" fmla="*/ 596 h 794"/>
                  <a:gd name="T24" fmla="*/ 475 w 752"/>
                  <a:gd name="T25" fmla="*/ 613 h 794"/>
                  <a:gd name="T26" fmla="*/ 494 w 752"/>
                  <a:gd name="T27" fmla="*/ 624 h 794"/>
                  <a:gd name="T28" fmla="*/ 492 w 752"/>
                  <a:gd name="T29" fmla="*/ 645 h 794"/>
                  <a:gd name="T30" fmla="*/ 484 w 752"/>
                  <a:gd name="T31" fmla="*/ 665 h 794"/>
                  <a:gd name="T32" fmla="*/ 492 w 752"/>
                  <a:gd name="T33" fmla="*/ 683 h 794"/>
                  <a:gd name="T34" fmla="*/ 488 w 752"/>
                  <a:gd name="T35" fmla="*/ 703 h 794"/>
                  <a:gd name="T36" fmla="*/ 477 w 752"/>
                  <a:gd name="T37" fmla="*/ 722 h 794"/>
                  <a:gd name="T38" fmla="*/ 454 w 752"/>
                  <a:gd name="T39" fmla="*/ 732 h 794"/>
                  <a:gd name="T40" fmla="*/ 426 w 752"/>
                  <a:gd name="T41" fmla="*/ 730 h 794"/>
                  <a:gd name="T42" fmla="*/ 400 w 752"/>
                  <a:gd name="T43" fmla="*/ 718 h 794"/>
                  <a:gd name="T44" fmla="*/ 372 w 752"/>
                  <a:gd name="T45" fmla="*/ 722 h 794"/>
                  <a:gd name="T46" fmla="*/ 353 w 752"/>
                  <a:gd name="T47" fmla="*/ 745 h 794"/>
                  <a:gd name="T48" fmla="*/ 336 w 752"/>
                  <a:gd name="T49" fmla="*/ 730 h 794"/>
                  <a:gd name="T50" fmla="*/ 312 w 752"/>
                  <a:gd name="T51" fmla="*/ 724 h 794"/>
                  <a:gd name="T52" fmla="*/ 291 w 752"/>
                  <a:gd name="T53" fmla="*/ 732 h 794"/>
                  <a:gd name="T54" fmla="*/ 274 w 752"/>
                  <a:gd name="T55" fmla="*/ 746 h 794"/>
                  <a:gd name="T56" fmla="*/ 261 w 752"/>
                  <a:gd name="T57" fmla="*/ 762 h 794"/>
                  <a:gd name="T58" fmla="*/ 256 w 752"/>
                  <a:gd name="T59" fmla="*/ 781 h 794"/>
                  <a:gd name="T60" fmla="*/ 244 w 752"/>
                  <a:gd name="T61" fmla="*/ 781 h 794"/>
                  <a:gd name="T62" fmla="*/ 236 w 752"/>
                  <a:gd name="T63" fmla="*/ 759 h 794"/>
                  <a:gd name="T64" fmla="*/ 231 w 752"/>
                  <a:gd name="T65" fmla="*/ 733 h 794"/>
                  <a:gd name="T66" fmla="*/ 220 w 752"/>
                  <a:gd name="T67" fmla="*/ 714 h 794"/>
                  <a:gd name="T68" fmla="*/ 202 w 752"/>
                  <a:gd name="T69" fmla="*/ 721 h 794"/>
                  <a:gd name="T70" fmla="*/ 190 w 752"/>
                  <a:gd name="T71" fmla="*/ 713 h 794"/>
                  <a:gd name="T72" fmla="*/ 201 w 752"/>
                  <a:gd name="T73" fmla="*/ 692 h 794"/>
                  <a:gd name="T74" fmla="*/ 210 w 752"/>
                  <a:gd name="T75" fmla="*/ 673 h 794"/>
                  <a:gd name="T76" fmla="*/ 217 w 752"/>
                  <a:gd name="T77" fmla="*/ 651 h 794"/>
                  <a:gd name="T78" fmla="*/ 210 w 752"/>
                  <a:gd name="T79" fmla="*/ 630 h 794"/>
                  <a:gd name="T80" fmla="*/ 201 w 752"/>
                  <a:gd name="T81" fmla="*/ 608 h 794"/>
                  <a:gd name="T82" fmla="*/ 182 w 752"/>
                  <a:gd name="T83" fmla="*/ 605 h 794"/>
                  <a:gd name="T84" fmla="*/ 166 w 752"/>
                  <a:gd name="T85" fmla="*/ 618 h 794"/>
                  <a:gd name="T86" fmla="*/ 147 w 752"/>
                  <a:gd name="T87" fmla="*/ 638 h 794"/>
                  <a:gd name="T88" fmla="*/ 136 w 752"/>
                  <a:gd name="T89" fmla="*/ 648 h 794"/>
                  <a:gd name="T90" fmla="*/ 109 w 752"/>
                  <a:gd name="T91" fmla="*/ 654 h 794"/>
                  <a:gd name="T92" fmla="*/ 90 w 752"/>
                  <a:gd name="T93" fmla="*/ 648 h 794"/>
                  <a:gd name="T94" fmla="*/ 74 w 752"/>
                  <a:gd name="T95" fmla="*/ 637 h 794"/>
                  <a:gd name="T96" fmla="*/ 55 w 752"/>
                  <a:gd name="T97" fmla="*/ 624 h 794"/>
                  <a:gd name="T98" fmla="*/ 39 w 752"/>
                  <a:gd name="T99" fmla="*/ 634 h 794"/>
                  <a:gd name="T100" fmla="*/ 23 w 752"/>
                  <a:gd name="T101" fmla="*/ 634 h 794"/>
                  <a:gd name="T102" fmla="*/ 14 w 752"/>
                  <a:gd name="T103" fmla="*/ 626 h 794"/>
                  <a:gd name="T104" fmla="*/ 8 w 752"/>
                  <a:gd name="T105" fmla="*/ 615 h 794"/>
                  <a:gd name="T106" fmla="*/ 0 w 752"/>
                  <a:gd name="T107" fmla="*/ 610 h 794"/>
                  <a:gd name="T108" fmla="*/ 6 w 752"/>
                  <a:gd name="T109" fmla="*/ 600 h 794"/>
                  <a:gd name="T110" fmla="*/ 9 w 752"/>
                  <a:gd name="T111" fmla="*/ 589 h 794"/>
                  <a:gd name="T112" fmla="*/ 11 w 752"/>
                  <a:gd name="T113" fmla="*/ 575 h 794"/>
                  <a:gd name="T114" fmla="*/ 22 w 752"/>
                  <a:gd name="T115" fmla="*/ 562 h 794"/>
                  <a:gd name="T116" fmla="*/ 36 w 752"/>
                  <a:gd name="T117" fmla="*/ 554 h 794"/>
                  <a:gd name="T118" fmla="*/ 35 w 752"/>
                  <a:gd name="T119" fmla="*/ 543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2" h="794">
                    <a:moveTo>
                      <a:pt x="117" y="0"/>
                    </a:moveTo>
                    <a:lnTo>
                      <a:pt x="119" y="0"/>
                    </a:lnTo>
                    <a:lnTo>
                      <a:pt x="120" y="0"/>
                    </a:lnTo>
                    <a:lnTo>
                      <a:pt x="122" y="2"/>
                    </a:lnTo>
                    <a:lnTo>
                      <a:pt x="123" y="2"/>
                    </a:lnTo>
                    <a:lnTo>
                      <a:pt x="125" y="3"/>
                    </a:lnTo>
                    <a:lnTo>
                      <a:pt x="126" y="3"/>
                    </a:lnTo>
                    <a:lnTo>
                      <a:pt x="130" y="3"/>
                    </a:lnTo>
                    <a:lnTo>
                      <a:pt x="131" y="3"/>
                    </a:lnTo>
                    <a:lnTo>
                      <a:pt x="134" y="3"/>
                    </a:lnTo>
                    <a:lnTo>
                      <a:pt x="136" y="3"/>
                    </a:lnTo>
                    <a:lnTo>
                      <a:pt x="138" y="3"/>
                    </a:lnTo>
                    <a:lnTo>
                      <a:pt x="139" y="3"/>
                    </a:lnTo>
                    <a:lnTo>
                      <a:pt x="141" y="3"/>
                    </a:lnTo>
                    <a:lnTo>
                      <a:pt x="142" y="3"/>
                    </a:lnTo>
                    <a:lnTo>
                      <a:pt x="144" y="3"/>
                    </a:lnTo>
                    <a:lnTo>
                      <a:pt x="145" y="3"/>
                    </a:lnTo>
                    <a:lnTo>
                      <a:pt x="147" y="3"/>
                    </a:lnTo>
                    <a:lnTo>
                      <a:pt x="149" y="3"/>
                    </a:lnTo>
                    <a:lnTo>
                      <a:pt x="150" y="3"/>
                    </a:lnTo>
                    <a:lnTo>
                      <a:pt x="155" y="3"/>
                    </a:lnTo>
                    <a:lnTo>
                      <a:pt x="158" y="3"/>
                    </a:lnTo>
                    <a:lnTo>
                      <a:pt x="161" y="3"/>
                    </a:lnTo>
                    <a:lnTo>
                      <a:pt x="164" y="3"/>
                    </a:lnTo>
                    <a:lnTo>
                      <a:pt x="166" y="3"/>
                    </a:lnTo>
                    <a:lnTo>
                      <a:pt x="168" y="3"/>
                    </a:lnTo>
                    <a:lnTo>
                      <a:pt x="171" y="3"/>
                    </a:lnTo>
                    <a:lnTo>
                      <a:pt x="174" y="3"/>
                    </a:lnTo>
                    <a:lnTo>
                      <a:pt x="177" y="3"/>
                    </a:lnTo>
                    <a:lnTo>
                      <a:pt x="180" y="3"/>
                    </a:lnTo>
                    <a:lnTo>
                      <a:pt x="182" y="3"/>
                    </a:lnTo>
                    <a:lnTo>
                      <a:pt x="183" y="3"/>
                    </a:lnTo>
                    <a:lnTo>
                      <a:pt x="185" y="3"/>
                    </a:lnTo>
                    <a:lnTo>
                      <a:pt x="187" y="3"/>
                    </a:lnTo>
                    <a:lnTo>
                      <a:pt x="188" y="3"/>
                    </a:lnTo>
                    <a:lnTo>
                      <a:pt x="190" y="3"/>
                    </a:lnTo>
                    <a:lnTo>
                      <a:pt x="191" y="3"/>
                    </a:lnTo>
                    <a:lnTo>
                      <a:pt x="193" y="3"/>
                    </a:lnTo>
                    <a:lnTo>
                      <a:pt x="196" y="3"/>
                    </a:lnTo>
                    <a:lnTo>
                      <a:pt x="198" y="3"/>
                    </a:lnTo>
                    <a:lnTo>
                      <a:pt x="199" y="3"/>
                    </a:lnTo>
                    <a:lnTo>
                      <a:pt x="201" y="3"/>
                    </a:lnTo>
                    <a:lnTo>
                      <a:pt x="202" y="3"/>
                    </a:lnTo>
                    <a:lnTo>
                      <a:pt x="204" y="3"/>
                    </a:lnTo>
                    <a:lnTo>
                      <a:pt x="204" y="5"/>
                    </a:lnTo>
                    <a:lnTo>
                      <a:pt x="206" y="5"/>
                    </a:lnTo>
                    <a:lnTo>
                      <a:pt x="207" y="5"/>
                    </a:lnTo>
                    <a:lnTo>
                      <a:pt x="207" y="3"/>
                    </a:lnTo>
                    <a:lnTo>
                      <a:pt x="209" y="3"/>
                    </a:lnTo>
                    <a:lnTo>
                      <a:pt x="210" y="3"/>
                    </a:lnTo>
                    <a:lnTo>
                      <a:pt x="214" y="3"/>
                    </a:lnTo>
                    <a:lnTo>
                      <a:pt x="218" y="3"/>
                    </a:lnTo>
                    <a:lnTo>
                      <a:pt x="221" y="3"/>
                    </a:lnTo>
                    <a:lnTo>
                      <a:pt x="223" y="3"/>
                    </a:lnTo>
                    <a:lnTo>
                      <a:pt x="225" y="3"/>
                    </a:lnTo>
                    <a:lnTo>
                      <a:pt x="228" y="3"/>
                    </a:lnTo>
                    <a:lnTo>
                      <a:pt x="231" y="3"/>
                    </a:lnTo>
                    <a:lnTo>
                      <a:pt x="236" y="3"/>
                    </a:lnTo>
                    <a:lnTo>
                      <a:pt x="239" y="3"/>
                    </a:lnTo>
                    <a:lnTo>
                      <a:pt x="240" y="3"/>
                    </a:lnTo>
                    <a:lnTo>
                      <a:pt x="244" y="3"/>
                    </a:lnTo>
                    <a:lnTo>
                      <a:pt x="245" y="3"/>
                    </a:lnTo>
                    <a:lnTo>
                      <a:pt x="247" y="3"/>
                    </a:lnTo>
                    <a:lnTo>
                      <a:pt x="248" y="3"/>
                    </a:lnTo>
                    <a:lnTo>
                      <a:pt x="250" y="3"/>
                    </a:lnTo>
                    <a:lnTo>
                      <a:pt x="252" y="3"/>
                    </a:lnTo>
                    <a:lnTo>
                      <a:pt x="253" y="3"/>
                    </a:lnTo>
                    <a:lnTo>
                      <a:pt x="255" y="3"/>
                    </a:lnTo>
                    <a:lnTo>
                      <a:pt x="256" y="3"/>
                    </a:lnTo>
                    <a:lnTo>
                      <a:pt x="258" y="3"/>
                    </a:lnTo>
                    <a:lnTo>
                      <a:pt x="259" y="3"/>
                    </a:lnTo>
                    <a:lnTo>
                      <a:pt x="261" y="3"/>
                    </a:lnTo>
                    <a:lnTo>
                      <a:pt x="263" y="3"/>
                    </a:lnTo>
                    <a:lnTo>
                      <a:pt x="264" y="3"/>
                    </a:lnTo>
                    <a:lnTo>
                      <a:pt x="266" y="3"/>
                    </a:lnTo>
                    <a:lnTo>
                      <a:pt x="267" y="3"/>
                    </a:lnTo>
                    <a:lnTo>
                      <a:pt x="269" y="3"/>
                    </a:lnTo>
                    <a:lnTo>
                      <a:pt x="271" y="3"/>
                    </a:lnTo>
                    <a:lnTo>
                      <a:pt x="272" y="3"/>
                    </a:lnTo>
                    <a:lnTo>
                      <a:pt x="274" y="3"/>
                    </a:lnTo>
                    <a:lnTo>
                      <a:pt x="275" y="3"/>
                    </a:lnTo>
                    <a:lnTo>
                      <a:pt x="280" y="3"/>
                    </a:lnTo>
                    <a:lnTo>
                      <a:pt x="282" y="3"/>
                    </a:lnTo>
                    <a:lnTo>
                      <a:pt x="283" y="3"/>
                    </a:lnTo>
                    <a:lnTo>
                      <a:pt x="285" y="3"/>
                    </a:lnTo>
                    <a:lnTo>
                      <a:pt x="288" y="3"/>
                    </a:lnTo>
                    <a:lnTo>
                      <a:pt x="290" y="3"/>
                    </a:lnTo>
                    <a:lnTo>
                      <a:pt x="291" y="3"/>
                    </a:lnTo>
                    <a:lnTo>
                      <a:pt x="293" y="3"/>
                    </a:lnTo>
                    <a:lnTo>
                      <a:pt x="296" y="3"/>
                    </a:lnTo>
                    <a:lnTo>
                      <a:pt x="299" y="3"/>
                    </a:lnTo>
                    <a:lnTo>
                      <a:pt x="302" y="3"/>
                    </a:lnTo>
                    <a:lnTo>
                      <a:pt x="305" y="3"/>
                    </a:lnTo>
                    <a:lnTo>
                      <a:pt x="307" y="3"/>
                    </a:lnTo>
                    <a:lnTo>
                      <a:pt x="309" y="3"/>
                    </a:lnTo>
                    <a:lnTo>
                      <a:pt x="310" y="3"/>
                    </a:lnTo>
                    <a:lnTo>
                      <a:pt x="313" y="3"/>
                    </a:lnTo>
                    <a:lnTo>
                      <a:pt x="317" y="3"/>
                    </a:lnTo>
                    <a:lnTo>
                      <a:pt x="320" y="3"/>
                    </a:lnTo>
                    <a:lnTo>
                      <a:pt x="323" y="3"/>
                    </a:lnTo>
                    <a:lnTo>
                      <a:pt x="326" y="3"/>
                    </a:lnTo>
                    <a:lnTo>
                      <a:pt x="329" y="3"/>
                    </a:lnTo>
                    <a:lnTo>
                      <a:pt x="332" y="3"/>
                    </a:lnTo>
                    <a:lnTo>
                      <a:pt x="336" y="3"/>
                    </a:lnTo>
                    <a:lnTo>
                      <a:pt x="339" y="3"/>
                    </a:lnTo>
                    <a:lnTo>
                      <a:pt x="342" y="3"/>
                    </a:lnTo>
                    <a:lnTo>
                      <a:pt x="345" y="3"/>
                    </a:lnTo>
                    <a:lnTo>
                      <a:pt x="347" y="3"/>
                    </a:lnTo>
                    <a:lnTo>
                      <a:pt x="355" y="5"/>
                    </a:lnTo>
                    <a:lnTo>
                      <a:pt x="356" y="5"/>
                    </a:lnTo>
                    <a:lnTo>
                      <a:pt x="358" y="5"/>
                    </a:lnTo>
                    <a:lnTo>
                      <a:pt x="361" y="5"/>
                    </a:lnTo>
                    <a:lnTo>
                      <a:pt x="362" y="5"/>
                    </a:lnTo>
                    <a:lnTo>
                      <a:pt x="366" y="5"/>
                    </a:lnTo>
                    <a:lnTo>
                      <a:pt x="369" y="5"/>
                    </a:lnTo>
                    <a:lnTo>
                      <a:pt x="372" y="5"/>
                    </a:lnTo>
                    <a:lnTo>
                      <a:pt x="374" y="5"/>
                    </a:lnTo>
                    <a:lnTo>
                      <a:pt x="375" y="5"/>
                    </a:lnTo>
                    <a:lnTo>
                      <a:pt x="377" y="5"/>
                    </a:lnTo>
                    <a:lnTo>
                      <a:pt x="380" y="5"/>
                    </a:lnTo>
                    <a:lnTo>
                      <a:pt x="381" y="5"/>
                    </a:lnTo>
                    <a:lnTo>
                      <a:pt x="385" y="5"/>
                    </a:lnTo>
                    <a:lnTo>
                      <a:pt x="393" y="5"/>
                    </a:lnTo>
                    <a:lnTo>
                      <a:pt x="394" y="5"/>
                    </a:lnTo>
                    <a:lnTo>
                      <a:pt x="399" y="5"/>
                    </a:lnTo>
                    <a:lnTo>
                      <a:pt x="402" y="5"/>
                    </a:lnTo>
                    <a:lnTo>
                      <a:pt x="405" y="5"/>
                    </a:lnTo>
                    <a:lnTo>
                      <a:pt x="407" y="5"/>
                    </a:lnTo>
                    <a:lnTo>
                      <a:pt x="410" y="5"/>
                    </a:lnTo>
                    <a:lnTo>
                      <a:pt x="413" y="5"/>
                    </a:lnTo>
                    <a:lnTo>
                      <a:pt x="415" y="5"/>
                    </a:lnTo>
                    <a:lnTo>
                      <a:pt x="419" y="5"/>
                    </a:lnTo>
                    <a:lnTo>
                      <a:pt x="423" y="3"/>
                    </a:lnTo>
                    <a:lnTo>
                      <a:pt x="426" y="3"/>
                    </a:lnTo>
                    <a:lnTo>
                      <a:pt x="431" y="3"/>
                    </a:lnTo>
                    <a:lnTo>
                      <a:pt x="434" y="3"/>
                    </a:lnTo>
                    <a:lnTo>
                      <a:pt x="438" y="3"/>
                    </a:lnTo>
                    <a:lnTo>
                      <a:pt x="442" y="3"/>
                    </a:lnTo>
                    <a:lnTo>
                      <a:pt x="446" y="3"/>
                    </a:lnTo>
                    <a:lnTo>
                      <a:pt x="451" y="3"/>
                    </a:lnTo>
                    <a:lnTo>
                      <a:pt x="453" y="3"/>
                    </a:lnTo>
                    <a:lnTo>
                      <a:pt x="465" y="3"/>
                    </a:lnTo>
                    <a:lnTo>
                      <a:pt x="480" y="3"/>
                    </a:lnTo>
                    <a:lnTo>
                      <a:pt x="752" y="3"/>
                    </a:lnTo>
                    <a:lnTo>
                      <a:pt x="751" y="38"/>
                    </a:lnTo>
                    <a:lnTo>
                      <a:pt x="746" y="157"/>
                    </a:lnTo>
                    <a:lnTo>
                      <a:pt x="469" y="385"/>
                    </a:lnTo>
                    <a:lnTo>
                      <a:pt x="431" y="388"/>
                    </a:lnTo>
                    <a:lnTo>
                      <a:pt x="432" y="415"/>
                    </a:lnTo>
                    <a:lnTo>
                      <a:pt x="427" y="418"/>
                    </a:lnTo>
                    <a:lnTo>
                      <a:pt x="427" y="420"/>
                    </a:lnTo>
                    <a:lnTo>
                      <a:pt x="434" y="428"/>
                    </a:lnTo>
                    <a:lnTo>
                      <a:pt x="443" y="439"/>
                    </a:lnTo>
                    <a:lnTo>
                      <a:pt x="445" y="448"/>
                    </a:lnTo>
                    <a:lnTo>
                      <a:pt x="445" y="458"/>
                    </a:lnTo>
                    <a:lnTo>
                      <a:pt x="446" y="464"/>
                    </a:lnTo>
                    <a:lnTo>
                      <a:pt x="451" y="472"/>
                    </a:lnTo>
                    <a:lnTo>
                      <a:pt x="459" y="482"/>
                    </a:lnTo>
                    <a:lnTo>
                      <a:pt x="465" y="489"/>
                    </a:lnTo>
                    <a:lnTo>
                      <a:pt x="467" y="499"/>
                    </a:lnTo>
                    <a:lnTo>
                      <a:pt x="473" y="509"/>
                    </a:lnTo>
                    <a:lnTo>
                      <a:pt x="475" y="520"/>
                    </a:lnTo>
                    <a:lnTo>
                      <a:pt x="475" y="534"/>
                    </a:lnTo>
                    <a:lnTo>
                      <a:pt x="467" y="543"/>
                    </a:lnTo>
                    <a:lnTo>
                      <a:pt x="464" y="550"/>
                    </a:lnTo>
                    <a:lnTo>
                      <a:pt x="462" y="550"/>
                    </a:lnTo>
                    <a:lnTo>
                      <a:pt x="461" y="550"/>
                    </a:lnTo>
                    <a:lnTo>
                      <a:pt x="461" y="551"/>
                    </a:lnTo>
                    <a:lnTo>
                      <a:pt x="459" y="551"/>
                    </a:lnTo>
                    <a:lnTo>
                      <a:pt x="457" y="553"/>
                    </a:lnTo>
                    <a:lnTo>
                      <a:pt x="456" y="553"/>
                    </a:lnTo>
                    <a:lnTo>
                      <a:pt x="456" y="554"/>
                    </a:lnTo>
                    <a:lnTo>
                      <a:pt x="454" y="554"/>
                    </a:lnTo>
                    <a:lnTo>
                      <a:pt x="454" y="556"/>
                    </a:lnTo>
                    <a:lnTo>
                      <a:pt x="454" y="558"/>
                    </a:lnTo>
                    <a:lnTo>
                      <a:pt x="454" y="559"/>
                    </a:lnTo>
                    <a:lnTo>
                      <a:pt x="454" y="561"/>
                    </a:lnTo>
                    <a:lnTo>
                      <a:pt x="454" y="562"/>
                    </a:lnTo>
                    <a:lnTo>
                      <a:pt x="454" y="564"/>
                    </a:lnTo>
                    <a:lnTo>
                      <a:pt x="456" y="564"/>
                    </a:lnTo>
                    <a:lnTo>
                      <a:pt x="456" y="566"/>
                    </a:lnTo>
                    <a:lnTo>
                      <a:pt x="456" y="567"/>
                    </a:lnTo>
                    <a:lnTo>
                      <a:pt x="456" y="569"/>
                    </a:lnTo>
                    <a:lnTo>
                      <a:pt x="456" y="570"/>
                    </a:lnTo>
                    <a:lnTo>
                      <a:pt x="457" y="570"/>
                    </a:lnTo>
                    <a:lnTo>
                      <a:pt x="457" y="572"/>
                    </a:lnTo>
                    <a:lnTo>
                      <a:pt x="457" y="573"/>
                    </a:lnTo>
                    <a:lnTo>
                      <a:pt x="459" y="575"/>
                    </a:lnTo>
                    <a:lnTo>
                      <a:pt x="459" y="577"/>
                    </a:lnTo>
                    <a:lnTo>
                      <a:pt x="461" y="577"/>
                    </a:lnTo>
                    <a:lnTo>
                      <a:pt x="461" y="578"/>
                    </a:lnTo>
                    <a:lnTo>
                      <a:pt x="461" y="580"/>
                    </a:lnTo>
                    <a:lnTo>
                      <a:pt x="461" y="581"/>
                    </a:lnTo>
                    <a:lnTo>
                      <a:pt x="461" y="583"/>
                    </a:lnTo>
                    <a:lnTo>
                      <a:pt x="461" y="585"/>
                    </a:lnTo>
                    <a:lnTo>
                      <a:pt x="461" y="586"/>
                    </a:lnTo>
                    <a:lnTo>
                      <a:pt x="459" y="588"/>
                    </a:lnTo>
                    <a:lnTo>
                      <a:pt x="459" y="589"/>
                    </a:lnTo>
                    <a:lnTo>
                      <a:pt x="457" y="589"/>
                    </a:lnTo>
                    <a:lnTo>
                      <a:pt x="459" y="591"/>
                    </a:lnTo>
                    <a:lnTo>
                      <a:pt x="459" y="592"/>
                    </a:lnTo>
                    <a:lnTo>
                      <a:pt x="461" y="592"/>
                    </a:lnTo>
                    <a:lnTo>
                      <a:pt x="461" y="594"/>
                    </a:lnTo>
                    <a:lnTo>
                      <a:pt x="462" y="596"/>
                    </a:lnTo>
                    <a:lnTo>
                      <a:pt x="464" y="596"/>
                    </a:lnTo>
                    <a:lnTo>
                      <a:pt x="464" y="597"/>
                    </a:lnTo>
                    <a:lnTo>
                      <a:pt x="465" y="599"/>
                    </a:lnTo>
                    <a:lnTo>
                      <a:pt x="467" y="599"/>
                    </a:lnTo>
                    <a:lnTo>
                      <a:pt x="467" y="600"/>
                    </a:lnTo>
                    <a:lnTo>
                      <a:pt x="469" y="600"/>
                    </a:lnTo>
                    <a:lnTo>
                      <a:pt x="470" y="600"/>
                    </a:lnTo>
                    <a:lnTo>
                      <a:pt x="470" y="602"/>
                    </a:lnTo>
                    <a:lnTo>
                      <a:pt x="472" y="604"/>
                    </a:lnTo>
                    <a:lnTo>
                      <a:pt x="472" y="605"/>
                    </a:lnTo>
                    <a:lnTo>
                      <a:pt x="473" y="605"/>
                    </a:lnTo>
                    <a:lnTo>
                      <a:pt x="473" y="607"/>
                    </a:lnTo>
                    <a:lnTo>
                      <a:pt x="473" y="608"/>
                    </a:lnTo>
                    <a:lnTo>
                      <a:pt x="475" y="608"/>
                    </a:lnTo>
                    <a:lnTo>
                      <a:pt x="475" y="610"/>
                    </a:lnTo>
                    <a:lnTo>
                      <a:pt x="475" y="611"/>
                    </a:lnTo>
                    <a:lnTo>
                      <a:pt x="475" y="613"/>
                    </a:lnTo>
                    <a:lnTo>
                      <a:pt x="477" y="613"/>
                    </a:lnTo>
                    <a:lnTo>
                      <a:pt x="477" y="615"/>
                    </a:lnTo>
                    <a:lnTo>
                      <a:pt x="478" y="615"/>
                    </a:lnTo>
                    <a:lnTo>
                      <a:pt x="480" y="616"/>
                    </a:lnTo>
                    <a:lnTo>
                      <a:pt x="480" y="618"/>
                    </a:lnTo>
                    <a:lnTo>
                      <a:pt x="481" y="618"/>
                    </a:lnTo>
                    <a:lnTo>
                      <a:pt x="481" y="619"/>
                    </a:lnTo>
                    <a:lnTo>
                      <a:pt x="483" y="619"/>
                    </a:lnTo>
                    <a:lnTo>
                      <a:pt x="484" y="619"/>
                    </a:lnTo>
                    <a:lnTo>
                      <a:pt x="486" y="619"/>
                    </a:lnTo>
                    <a:lnTo>
                      <a:pt x="488" y="621"/>
                    </a:lnTo>
                    <a:lnTo>
                      <a:pt x="489" y="621"/>
                    </a:lnTo>
                    <a:lnTo>
                      <a:pt x="491" y="621"/>
                    </a:lnTo>
                    <a:lnTo>
                      <a:pt x="491" y="623"/>
                    </a:lnTo>
                    <a:lnTo>
                      <a:pt x="492" y="623"/>
                    </a:lnTo>
                    <a:lnTo>
                      <a:pt x="494" y="623"/>
                    </a:lnTo>
                    <a:lnTo>
                      <a:pt x="494" y="624"/>
                    </a:lnTo>
                    <a:lnTo>
                      <a:pt x="496" y="624"/>
                    </a:lnTo>
                    <a:lnTo>
                      <a:pt x="497" y="624"/>
                    </a:lnTo>
                    <a:lnTo>
                      <a:pt x="497" y="626"/>
                    </a:lnTo>
                    <a:lnTo>
                      <a:pt x="499" y="626"/>
                    </a:lnTo>
                    <a:lnTo>
                      <a:pt x="499" y="627"/>
                    </a:lnTo>
                    <a:lnTo>
                      <a:pt x="499" y="629"/>
                    </a:lnTo>
                    <a:lnTo>
                      <a:pt x="499" y="630"/>
                    </a:lnTo>
                    <a:lnTo>
                      <a:pt x="497" y="632"/>
                    </a:lnTo>
                    <a:lnTo>
                      <a:pt x="496" y="634"/>
                    </a:lnTo>
                    <a:lnTo>
                      <a:pt x="496" y="635"/>
                    </a:lnTo>
                    <a:lnTo>
                      <a:pt x="494" y="635"/>
                    </a:lnTo>
                    <a:lnTo>
                      <a:pt x="494" y="637"/>
                    </a:lnTo>
                    <a:lnTo>
                      <a:pt x="492" y="638"/>
                    </a:lnTo>
                    <a:lnTo>
                      <a:pt x="492" y="640"/>
                    </a:lnTo>
                    <a:lnTo>
                      <a:pt x="492" y="642"/>
                    </a:lnTo>
                    <a:lnTo>
                      <a:pt x="492" y="643"/>
                    </a:lnTo>
                    <a:lnTo>
                      <a:pt x="492" y="645"/>
                    </a:lnTo>
                    <a:lnTo>
                      <a:pt x="491" y="646"/>
                    </a:lnTo>
                    <a:lnTo>
                      <a:pt x="491" y="648"/>
                    </a:lnTo>
                    <a:lnTo>
                      <a:pt x="491" y="649"/>
                    </a:lnTo>
                    <a:lnTo>
                      <a:pt x="492" y="649"/>
                    </a:lnTo>
                    <a:lnTo>
                      <a:pt x="492" y="651"/>
                    </a:lnTo>
                    <a:lnTo>
                      <a:pt x="492" y="653"/>
                    </a:lnTo>
                    <a:lnTo>
                      <a:pt x="492" y="654"/>
                    </a:lnTo>
                    <a:lnTo>
                      <a:pt x="492" y="656"/>
                    </a:lnTo>
                    <a:lnTo>
                      <a:pt x="491" y="656"/>
                    </a:lnTo>
                    <a:lnTo>
                      <a:pt x="491" y="657"/>
                    </a:lnTo>
                    <a:lnTo>
                      <a:pt x="489" y="657"/>
                    </a:lnTo>
                    <a:lnTo>
                      <a:pt x="488" y="659"/>
                    </a:lnTo>
                    <a:lnTo>
                      <a:pt x="488" y="661"/>
                    </a:lnTo>
                    <a:lnTo>
                      <a:pt x="486" y="661"/>
                    </a:lnTo>
                    <a:lnTo>
                      <a:pt x="486" y="662"/>
                    </a:lnTo>
                    <a:lnTo>
                      <a:pt x="486" y="664"/>
                    </a:lnTo>
                    <a:lnTo>
                      <a:pt x="484" y="665"/>
                    </a:lnTo>
                    <a:lnTo>
                      <a:pt x="484" y="667"/>
                    </a:lnTo>
                    <a:lnTo>
                      <a:pt x="483" y="667"/>
                    </a:lnTo>
                    <a:lnTo>
                      <a:pt x="483" y="668"/>
                    </a:lnTo>
                    <a:lnTo>
                      <a:pt x="484" y="668"/>
                    </a:lnTo>
                    <a:lnTo>
                      <a:pt x="486" y="668"/>
                    </a:lnTo>
                    <a:lnTo>
                      <a:pt x="488" y="668"/>
                    </a:lnTo>
                    <a:lnTo>
                      <a:pt x="488" y="670"/>
                    </a:lnTo>
                    <a:lnTo>
                      <a:pt x="489" y="670"/>
                    </a:lnTo>
                    <a:lnTo>
                      <a:pt x="489" y="672"/>
                    </a:lnTo>
                    <a:lnTo>
                      <a:pt x="491" y="672"/>
                    </a:lnTo>
                    <a:lnTo>
                      <a:pt x="492" y="673"/>
                    </a:lnTo>
                    <a:lnTo>
                      <a:pt x="492" y="675"/>
                    </a:lnTo>
                    <a:lnTo>
                      <a:pt x="492" y="676"/>
                    </a:lnTo>
                    <a:lnTo>
                      <a:pt x="492" y="678"/>
                    </a:lnTo>
                    <a:lnTo>
                      <a:pt x="492" y="680"/>
                    </a:lnTo>
                    <a:lnTo>
                      <a:pt x="492" y="681"/>
                    </a:lnTo>
                    <a:lnTo>
                      <a:pt x="492" y="683"/>
                    </a:lnTo>
                    <a:lnTo>
                      <a:pt x="492" y="684"/>
                    </a:lnTo>
                    <a:lnTo>
                      <a:pt x="494" y="684"/>
                    </a:lnTo>
                    <a:lnTo>
                      <a:pt x="494" y="686"/>
                    </a:lnTo>
                    <a:lnTo>
                      <a:pt x="492" y="687"/>
                    </a:lnTo>
                    <a:lnTo>
                      <a:pt x="494" y="687"/>
                    </a:lnTo>
                    <a:lnTo>
                      <a:pt x="492" y="689"/>
                    </a:lnTo>
                    <a:lnTo>
                      <a:pt x="492" y="691"/>
                    </a:lnTo>
                    <a:lnTo>
                      <a:pt x="491" y="692"/>
                    </a:lnTo>
                    <a:lnTo>
                      <a:pt x="489" y="692"/>
                    </a:lnTo>
                    <a:lnTo>
                      <a:pt x="488" y="694"/>
                    </a:lnTo>
                    <a:lnTo>
                      <a:pt x="488" y="695"/>
                    </a:lnTo>
                    <a:lnTo>
                      <a:pt x="488" y="697"/>
                    </a:lnTo>
                    <a:lnTo>
                      <a:pt x="486" y="697"/>
                    </a:lnTo>
                    <a:lnTo>
                      <a:pt x="486" y="699"/>
                    </a:lnTo>
                    <a:lnTo>
                      <a:pt x="486" y="700"/>
                    </a:lnTo>
                    <a:lnTo>
                      <a:pt x="486" y="702"/>
                    </a:lnTo>
                    <a:lnTo>
                      <a:pt x="488" y="703"/>
                    </a:lnTo>
                    <a:lnTo>
                      <a:pt x="489" y="705"/>
                    </a:lnTo>
                    <a:lnTo>
                      <a:pt x="491" y="707"/>
                    </a:lnTo>
                    <a:lnTo>
                      <a:pt x="491" y="708"/>
                    </a:lnTo>
                    <a:lnTo>
                      <a:pt x="491" y="710"/>
                    </a:lnTo>
                    <a:lnTo>
                      <a:pt x="491" y="711"/>
                    </a:lnTo>
                    <a:lnTo>
                      <a:pt x="491" y="713"/>
                    </a:lnTo>
                    <a:lnTo>
                      <a:pt x="489" y="714"/>
                    </a:lnTo>
                    <a:lnTo>
                      <a:pt x="488" y="714"/>
                    </a:lnTo>
                    <a:lnTo>
                      <a:pt x="488" y="716"/>
                    </a:lnTo>
                    <a:lnTo>
                      <a:pt x="486" y="716"/>
                    </a:lnTo>
                    <a:lnTo>
                      <a:pt x="486" y="718"/>
                    </a:lnTo>
                    <a:lnTo>
                      <a:pt x="486" y="719"/>
                    </a:lnTo>
                    <a:lnTo>
                      <a:pt x="484" y="721"/>
                    </a:lnTo>
                    <a:lnTo>
                      <a:pt x="483" y="721"/>
                    </a:lnTo>
                    <a:lnTo>
                      <a:pt x="481" y="722"/>
                    </a:lnTo>
                    <a:lnTo>
                      <a:pt x="478" y="722"/>
                    </a:lnTo>
                    <a:lnTo>
                      <a:pt x="477" y="722"/>
                    </a:lnTo>
                    <a:lnTo>
                      <a:pt x="475" y="722"/>
                    </a:lnTo>
                    <a:lnTo>
                      <a:pt x="473" y="722"/>
                    </a:lnTo>
                    <a:lnTo>
                      <a:pt x="472" y="724"/>
                    </a:lnTo>
                    <a:lnTo>
                      <a:pt x="470" y="722"/>
                    </a:lnTo>
                    <a:lnTo>
                      <a:pt x="469" y="722"/>
                    </a:lnTo>
                    <a:lnTo>
                      <a:pt x="469" y="724"/>
                    </a:lnTo>
                    <a:lnTo>
                      <a:pt x="467" y="724"/>
                    </a:lnTo>
                    <a:lnTo>
                      <a:pt x="465" y="724"/>
                    </a:lnTo>
                    <a:lnTo>
                      <a:pt x="465" y="726"/>
                    </a:lnTo>
                    <a:lnTo>
                      <a:pt x="464" y="727"/>
                    </a:lnTo>
                    <a:lnTo>
                      <a:pt x="464" y="729"/>
                    </a:lnTo>
                    <a:lnTo>
                      <a:pt x="462" y="729"/>
                    </a:lnTo>
                    <a:lnTo>
                      <a:pt x="461" y="729"/>
                    </a:lnTo>
                    <a:lnTo>
                      <a:pt x="459" y="729"/>
                    </a:lnTo>
                    <a:lnTo>
                      <a:pt x="457" y="730"/>
                    </a:lnTo>
                    <a:lnTo>
                      <a:pt x="456" y="732"/>
                    </a:lnTo>
                    <a:lnTo>
                      <a:pt x="454" y="732"/>
                    </a:lnTo>
                    <a:lnTo>
                      <a:pt x="454" y="733"/>
                    </a:lnTo>
                    <a:lnTo>
                      <a:pt x="453" y="735"/>
                    </a:lnTo>
                    <a:lnTo>
                      <a:pt x="451" y="735"/>
                    </a:lnTo>
                    <a:lnTo>
                      <a:pt x="450" y="735"/>
                    </a:lnTo>
                    <a:lnTo>
                      <a:pt x="448" y="737"/>
                    </a:lnTo>
                    <a:lnTo>
                      <a:pt x="446" y="737"/>
                    </a:lnTo>
                    <a:lnTo>
                      <a:pt x="446" y="738"/>
                    </a:lnTo>
                    <a:lnTo>
                      <a:pt x="445" y="738"/>
                    </a:lnTo>
                    <a:lnTo>
                      <a:pt x="443" y="740"/>
                    </a:lnTo>
                    <a:lnTo>
                      <a:pt x="442" y="740"/>
                    </a:lnTo>
                    <a:lnTo>
                      <a:pt x="440" y="741"/>
                    </a:lnTo>
                    <a:lnTo>
                      <a:pt x="438" y="741"/>
                    </a:lnTo>
                    <a:lnTo>
                      <a:pt x="437" y="743"/>
                    </a:lnTo>
                    <a:lnTo>
                      <a:pt x="431" y="733"/>
                    </a:lnTo>
                    <a:lnTo>
                      <a:pt x="429" y="733"/>
                    </a:lnTo>
                    <a:lnTo>
                      <a:pt x="427" y="732"/>
                    </a:lnTo>
                    <a:lnTo>
                      <a:pt x="426" y="730"/>
                    </a:lnTo>
                    <a:lnTo>
                      <a:pt x="424" y="729"/>
                    </a:lnTo>
                    <a:lnTo>
                      <a:pt x="424" y="727"/>
                    </a:lnTo>
                    <a:lnTo>
                      <a:pt x="423" y="726"/>
                    </a:lnTo>
                    <a:lnTo>
                      <a:pt x="421" y="726"/>
                    </a:lnTo>
                    <a:lnTo>
                      <a:pt x="419" y="726"/>
                    </a:lnTo>
                    <a:lnTo>
                      <a:pt x="418" y="727"/>
                    </a:lnTo>
                    <a:lnTo>
                      <a:pt x="418" y="726"/>
                    </a:lnTo>
                    <a:lnTo>
                      <a:pt x="416" y="722"/>
                    </a:lnTo>
                    <a:lnTo>
                      <a:pt x="413" y="721"/>
                    </a:lnTo>
                    <a:lnTo>
                      <a:pt x="412" y="721"/>
                    </a:lnTo>
                    <a:lnTo>
                      <a:pt x="410" y="719"/>
                    </a:lnTo>
                    <a:lnTo>
                      <a:pt x="408" y="718"/>
                    </a:lnTo>
                    <a:lnTo>
                      <a:pt x="407" y="716"/>
                    </a:lnTo>
                    <a:lnTo>
                      <a:pt x="405" y="716"/>
                    </a:lnTo>
                    <a:lnTo>
                      <a:pt x="404" y="716"/>
                    </a:lnTo>
                    <a:lnTo>
                      <a:pt x="402" y="718"/>
                    </a:lnTo>
                    <a:lnTo>
                      <a:pt x="400" y="718"/>
                    </a:lnTo>
                    <a:lnTo>
                      <a:pt x="400" y="719"/>
                    </a:lnTo>
                    <a:lnTo>
                      <a:pt x="399" y="721"/>
                    </a:lnTo>
                    <a:lnTo>
                      <a:pt x="397" y="722"/>
                    </a:lnTo>
                    <a:lnTo>
                      <a:pt x="394" y="726"/>
                    </a:lnTo>
                    <a:lnTo>
                      <a:pt x="391" y="727"/>
                    </a:lnTo>
                    <a:lnTo>
                      <a:pt x="389" y="727"/>
                    </a:lnTo>
                    <a:lnTo>
                      <a:pt x="388" y="727"/>
                    </a:lnTo>
                    <a:lnTo>
                      <a:pt x="386" y="727"/>
                    </a:lnTo>
                    <a:lnTo>
                      <a:pt x="385" y="726"/>
                    </a:lnTo>
                    <a:lnTo>
                      <a:pt x="381" y="726"/>
                    </a:lnTo>
                    <a:lnTo>
                      <a:pt x="380" y="726"/>
                    </a:lnTo>
                    <a:lnTo>
                      <a:pt x="380" y="724"/>
                    </a:lnTo>
                    <a:lnTo>
                      <a:pt x="378" y="724"/>
                    </a:lnTo>
                    <a:lnTo>
                      <a:pt x="377" y="722"/>
                    </a:lnTo>
                    <a:lnTo>
                      <a:pt x="375" y="722"/>
                    </a:lnTo>
                    <a:lnTo>
                      <a:pt x="374" y="721"/>
                    </a:lnTo>
                    <a:lnTo>
                      <a:pt x="372" y="722"/>
                    </a:lnTo>
                    <a:lnTo>
                      <a:pt x="372" y="724"/>
                    </a:lnTo>
                    <a:lnTo>
                      <a:pt x="372" y="726"/>
                    </a:lnTo>
                    <a:lnTo>
                      <a:pt x="370" y="727"/>
                    </a:lnTo>
                    <a:lnTo>
                      <a:pt x="370" y="729"/>
                    </a:lnTo>
                    <a:lnTo>
                      <a:pt x="369" y="730"/>
                    </a:lnTo>
                    <a:lnTo>
                      <a:pt x="367" y="730"/>
                    </a:lnTo>
                    <a:lnTo>
                      <a:pt x="367" y="729"/>
                    </a:lnTo>
                    <a:lnTo>
                      <a:pt x="366" y="729"/>
                    </a:lnTo>
                    <a:lnTo>
                      <a:pt x="364" y="727"/>
                    </a:lnTo>
                    <a:lnTo>
                      <a:pt x="362" y="727"/>
                    </a:lnTo>
                    <a:lnTo>
                      <a:pt x="361" y="726"/>
                    </a:lnTo>
                    <a:lnTo>
                      <a:pt x="359" y="727"/>
                    </a:lnTo>
                    <a:lnTo>
                      <a:pt x="358" y="730"/>
                    </a:lnTo>
                    <a:lnTo>
                      <a:pt x="358" y="732"/>
                    </a:lnTo>
                    <a:lnTo>
                      <a:pt x="358" y="733"/>
                    </a:lnTo>
                    <a:lnTo>
                      <a:pt x="356" y="737"/>
                    </a:lnTo>
                    <a:lnTo>
                      <a:pt x="353" y="745"/>
                    </a:lnTo>
                    <a:lnTo>
                      <a:pt x="353" y="746"/>
                    </a:lnTo>
                    <a:lnTo>
                      <a:pt x="351" y="748"/>
                    </a:lnTo>
                    <a:lnTo>
                      <a:pt x="350" y="748"/>
                    </a:lnTo>
                    <a:lnTo>
                      <a:pt x="348" y="748"/>
                    </a:lnTo>
                    <a:lnTo>
                      <a:pt x="348" y="746"/>
                    </a:lnTo>
                    <a:lnTo>
                      <a:pt x="347" y="745"/>
                    </a:lnTo>
                    <a:lnTo>
                      <a:pt x="345" y="745"/>
                    </a:lnTo>
                    <a:lnTo>
                      <a:pt x="342" y="741"/>
                    </a:lnTo>
                    <a:lnTo>
                      <a:pt x="340" y="741"/>
                    </a:lnTo>
                    <a:lnTo>
                      <a:pt x="340" y="740"/>
                    </a:lnTo>
                    <a:lnTo>
                      <a:pt x="339" y="738"/>
                    </a:lnTo>
                    <a:lnTo>
                      <a:pt x="337" y="738"/>
                    </a:lnTo>
                    <a:lnTo>
                      <a:pt x="336" y="737"/>
                    </a:lnTo>
                    <a:lnTo>
                      <a:pt x="336" y="735"/>
                    </a:lnTo>
                    <a:lnTo>
                      <a:pt x="337" y="733"/>
                    </a:lnTo>
                    <a:lnTo>
                      <a:pt x="336" y="732"/>
                    </a:lnTo>
                    <a:lnTo>
                      <a:pt x="336" y="730"/>
                    </a:lnTo>
                    <a:lnTo>
                      <a:pt x="336" y="729"/>
                    </a:lnTo>
                    <a:lnTo>
                      <a:pt x="334" y="729"/>
                    </a:lnTo>
                    <a:lnTo>
                      <a:pt x="334" y="727"/>
                    </a:lnTo>
                    <a:lnTo>
                      <a:pt x="332" y="726"/>
                    </a:lnTo>
                    <a:lnTo>
                      <a:pt x="331" y="726"/>
                    </a:lnTo>
                    <a:lnTo>
                      <a:pt x="329" y="724"/>
                    </a:lnTo>
                    <a:lnTo>
                      <a:pt x="328" y="724"/>
                    </a:lnTo>
                    <a:lnTo>
                      <a:pt x="326" y="722"/>
                    </a:lnTo>
                    <a:lnTo>
                      <a:pt x="324" y="722"/>
                    </a:lnTo>
                    <a:lnTo>
                      <a:pt x="323" y="722"/>
                    </a:lnTo>
                    <a:lnTo>
                      <a:pt x="321" y="722"/>
                    </a:lnTo>
                    <a:lnTo>
                      <a:pt x="320" y="722"/>
                    </a:lnTo>
                    <a:lnTo>
                      <a:pt x="318" y="722"/>
                    </a:lnTo>
                    <a:lnTo>
                      <a:pt x="317" y="722"/>
                    </a:lnTo>
                    <a:lnTo>
                      <a:pt x="315" y="722"/>
                    </a:lnTo>
                    <a:lnTo>
                      <a:pt x="313" y="724"/>
                    </a:lnTo>
                    <a:lnTo>
                      <a:pt x="312" y="724"/>
                    </a:lnTo>
                    <a:lnTo>
                      <a:pt x="310" y="724"/>
                    </a:lnTo>
                    <a:lnTo>
                      <a:pt x="309" y="724"/>
                    </a:lnTo>
                    <a:lnTo>
                      <a:pt x="307" y="724"/>
                    </a:lnTo>
                    <a:lnTo>
                      <a:pt x="305" y="724"/>
                    </a:lnTo>
                    <a:lnTo>
                      <a:pt x="305" y="726"/>
                    </a:lnTo>
                    <a:lnTo>
                      <a:pt x="304" y="726"/>
                    </a:lnTo>
                    <a:lnTo>
                      <a:pt x="302" y="726"/>
                    </a:lnTo>
                    <a:lnTo>
                      <a:pt x="301" y="726"/>
                    </a:lnTo>
                    <a:lnTo>
                      <a:pt x="299" y="727"/>
                    </a:lnTo>
                    <a:lnTo>
                      <a:pt x="298" y="727"/>
                    </a:lnTo>
                    <a:lnTo>
                      <a:pt x="296" y="727"/>
                    </a:lnTo>
                    <a:lnTo>
                      <a:pt x="296" y="729"/>
                    </a:lnTo>
                    <a:lnTo>
                      <a:pt x="294" y="729"/>
                    </a:lnTo>
                    <a:lnTo>
                      <a:pt x="294" y="730"/>
                    </a:lnTo>
                    <a:lnTo>
                      <a:pt x="293" y="730"/>
                    </a:lnTo>
                    <a:lnTo>
                      <a:pt x="293" y="732"/>
                    </a:lnTo>
                    <a:lnTo>
                      <a:pt x="291" y="732"/>
                    </a:lnTo>
                    <a:lnTo>
                      <a:pt x="291" y="733"/>
                    </a:lnTo>
                    <a:lnTo>
                      <a:pt x="290" y="733"/>
                    </a:lnTo>
                    <a:lnTo>
                      <a:pt x="288" y="735"/>
                    </a:lnTo>
                    <a:lnTo>
                      <a:pt x="286" y="735"/>
                    </a:lnTo>
                    <a:lnTo>
                      <a:pt x="286" y="737"/>
                    </a:lnTo>
                    <a:lnTo>
                      <a:pt x="285" y="737"/>
                    </a:lnTo>
                    <a:lnTo>
                      <a:pt x="285" y="738"/>
                    </a:lnTo>
                    <a:lnTo>
                      <a:pt x="283" y="738"/>
                    </a:lnTo>
                    <a:lnTo>
                      <a:pt x="283" y="740"/>
                    </a:lnTo>
                    <a:lnTo>
                      <a:pt x="282" y="740"/>
                    </a:lnTo>
                    <a:lnTo>
                      <a:pt x="282" y="741"/>
                    </a:lnTo>
                    <a:lnTo>
                      <a:pt x="280" y="741"/>
                    </a:lnTo>
                    <a:lnTo>
                      <a:pt x="278" y="743"/>
                    </a:lnTo>
                    <a:lnTo>
                      <a:pt x="277" y="745"/>
                    </a:lnTo>
                    <a:lnTo>
                      <a:pt x="275" y="745"/>
                    </a:lnTo>
                    <a:lnTo>
                      <a:pt x="275" y="746"/>
                    </a:lnTo>
                    <a:lnTo>
                      <a:pt x="274" y="746"/>
                    </a:lnTo>
                    <a:lnTo>
                      <a:pt x="274" y="748"/>
                    </a:lnTo>
                    <a:lnTo>
                      <a:pt x="272" y="748"/>
                    </a:lnTo>
                    <a:lnTo>
                      <a:pt x="271" y="748"/>
                    </a:lnTo>
                    <a:lnTo>
                      <a:pt x="271" y="749"/>
                    </a:lnTo>
                    <a:lnTo>
                      <a:pt x="269" y="749"/>
                    </a:lnTo>
                    <a:lnTo>
                      <a:pt x="267" y="749"/>
                    </a:lnTo>
                    <a:lnTo>
                      <a:pt x="267" y="751"/>
                    </a:lnTo>
                    <a:lnTo>
                      <a:pt x="266" y="751"/>
                    </a:lnTo>
                    <a:lnTo>
                      <a:pt x="264" y="751"/>
                    </a:lnTo>
                    <a:lnTo>
                      <a:pt x="263" y="752"/>
                    </a:lnTo>
                    <a:lnTo>
                      <a:pt x="261" y="752"/>
                    </a:lnTo>
                    <a:lnTo>
                      <a:pt x="259" y="754"/>
                    </a:lnTo>
                    <a:lnTo>
                      <a:pt x="259" y="756"/>
                    </a:lnTo>
                    <a:lnTo>
                      <a:pt x="259" y="757"/>
                    </a:lnTo>
                    <a:lnTo>
                      <a:pt x="259" y="759"/>
                    </a:lnTo>
                    <a:lnTo>
                      <a:pt x="261" y="760"/>
                    </a:lnTo>
                    <a:lnTo>
                      <a:pt x="261" y="762"/>
                    </a:lnTo>
                    <a:lnTo>
                      <a:pt x="261" y="764"/>
                    </a:lnTo>
                    <a:lnTo>
                      <a:pt x="263" y="764"/>
                    </a:lnTo>
                    <a:lnTo>
                      <a:pt x="263" y="765"/>
                    </a:lnTo>
                    <a:lnTo>
                      <a:pt x="263" y="767"/>
                    </a:lnTo>
                    <a:lnTo>
                      <a:pt x="264" y="768"/>
                    </a:lnTo>
                    <a:lnTo>
                      <a:pt x="266" y="770"/>
                    </a:lnTo>
                    <a:lnTo>
                      <a:pt x="264" y="771"/>
                    </a:lnTo>
                    <a:lnTo>
                      <a:pt x="264" y="773"/>
                    </a:lnTo>
                    <a:lnTo>
                      <a:pt x="263" y="773"/>
                    </a:lnTo>
                    <a:lnTo>
                      <a:pt x="263" y="775"/>
                    </a:lnTo>
                    <a:lnTo>
                      <a:pt x="261" y="775"/>
                    </a:lnTo>
                    <a:lnTo>
                      <a:pt x="261" y="776"/>
                    </a:lnTo>
                    <a:lnTo>
                      <a:pt x="261" y="778"/>
                    </a:lnTo>
                    <a:lnTo>
                      <a:pt x="259" y="778"/>
                    </a:lnTo>
                    <a:lnTo>
                      <a:pt x="259" y="779"/>
                    </a:lnTo>
                    <a:lnTo>
                      <a:pt x="258" y="779"/>
                    </a:lnTo>
                    <a:lnTo>
                      <a:pt x="256" y="781"/>
                    </a:lnTo>
                    <a:lnTo>
                      <a:pt x="256" y="783"/>
                    </a:lnTo>
                    <a:lnTo>
                      <a:pt x="256" y="784"/>
                    </a:lnTo>
                    <a:lnTo>
                      <a:pt x="256" y="786"/>
                    </a:lnTo>
                    <a:lnTo>
                      <a:pt x="255" y="789"/>
                    </a:lnTo>
                    <a:lnTo>
                      <a:pt x="255" y="790"/>
                    </a:lnTo>
                    <a:lnTo>
                      <a:pt x="253" y="790"/>
                    </a:lnTo>
                    <a:lnTo>
                      <a:pt x="253" y="794"/>
                    </a:lnTo>
                    <a:lnTo>
                      <a:pt x="252" y="792"/>
                    </a:lnTo>
                    <a:lnTo>
                      <a:pt x="252" y="790"/>
                    </a:lnTo>
                    <a:lnTo>
                      <a:pt x="250" y="790"/>
                    </a:lnTo>
                    <a:lnTo>
                      <a:pt x="250" y="789"/>
                    </a:lnTo>
                    <a:lnTo>
                      <a:pt x="248" y="787"/>
                    </a:lnTo>
                    <a:lnTo>
                      <a:pt x="248" y="786"/>
                    </a:lnTo>
                    <a:lnTo>
                      <a:pt x="247" y="786"/>
                    </a:lnTo>
                    <a:lnTo>
                      <a:pt x="247" y="784"/>
                    </a:lnTo>
                    <a:lnTo>
                      <a:pt x="244" y="783"/>
                    </a:lnTo>
                    <a:lnTo>
                      <a:pt x="244" y="781"/>
                    </a:lnTo>
                    <a:lnTo>
                      <a:pt x="242" y="781"/>
                    </a:lnTo>
                    <a:lnTo>
                      <a:pt x="242" y="779"/>
                    </a:lnTo>
                    <a:lnTo>
                      <a:pt x="240" y="778"/>
                    </a:lnTo>
                    <a:lnTo>
                      <a:pt x="240" y="776"/>
                    </a:lnTo>
                    <a:lnTo>
                      <a:pt x="240" y="775"/>
                    </a:lnTo>
                    <a:lnTo>
                      <a:pt x="240" y="773"/>
                    </a:lnTo>
                    <a:lnTo>
                      <a:pt x="240" y="771"/>
                    </a:lnTo>
                    <a:lnTo>
                      <a:pt x="240" y="770"/>
                    </a:lnTo>
                    <a:lnTo>
                      <a:pt x="240" y="768"/>
                    </a:lnTo>
                    <a:lnTo>
                      <a:pt x="239" y="768"/>
                    </a:lnTo>
                    <a:lnTo>
                      <a:pt x="239" y="767"/>
                    </a:lnTo>
                    <a:lnTo>
                      <a:pt x="237" y="767"/>
                    </a:lnTo>
                    <a:lnTo>
                      <a:pt x="236" y="765"/>
                    </a:lnTo>
                    <a:lnTo>
                      <a:pt x="236" y="764"/>
                    </a:lnTo>
                    <a:lnTo>
                      <a:pt x="236" y="762"/>
                    </a:lnTo>
                    <a:lnTo>
                      <a:pt x="236" y="760"/>
                    </a:lnTo>
                    <a:lnTo>
                      <a:pt x="236" y="759"/>
                    </a:lnTo>
                    <a:lnTo>
                      <a:pt x="234" y="759"/>
                    </a:lnTo>
                    <a:lnTo>
                      <a:pt x="234" y="757"/>
                    </a:lnTo>
                    <a:lnTo>
                      <a:pt x="234" y="756"/>
                    </a:lnTo>
                    <a:lnTo>
                      <a:pt x="233" y="754"/>
                    </a:lnTo>
                    <a:lnTo>
                      <a:pt x="233" y="752"/>
                    </a:lnTo>
                    <a:lnTo>
                      <a:pt x="233" y="751"/>
                    </a:lnTo>
                    <a:lnTo>
                      <a:pt x="231" y="749"/>
                    </a:lnTo>
                    <a:lnTo>
                      <a:pt x="231" y="748"/>
                    </a:lnTo>
                    <a:lnTo>
                      <a:pt x="231" y="746"/>
                    </a:lnTo>
                    <a:lnTo>
                      <a:pt x="231" y="745"/>
                    </a:lnTo>
                    <a:lnTo>
                      <a:pt x="229" y="743"/>
                    </a:lnTo>
                    <a:lnTo>
                      <a:pt x="229" y="741"/>
                    </a:lnTo>
                    <a:lnTo>
                      <a:pt x="229" y="740"/>
                    </a:lnTo>
                    <a:lnTo>
                      <a:pt x="229" y="738"/>
                    </a:lnTo>
                    <a:lnTo>
                      <a:pt x="229" y="737"/>
                    </a:lnTo>
                    <a:lnTo>
                      <a:pt x="231" y="735"/>
                    </a:lnTo>
                    <a:lnTo>
                      <a:pt x="231" y="733"/>
                    </a:lnTo>
                    <a:lnTo>
                      <a:pt x="231" y="732"/>
                    </a:lnTo>
                    <a:lnTo>
                      <a:pt x="231" y="730"/>
                    </a:lnTo>
                    <a:lnTo>
                      <a:pt x="231" y="729"/>
                    </a:lnTo>
                    <a:lnTo>
                      <a:pt x="229" y="729"/>
                    </a:lnTo>
                    <a:lnTo>
                      <a:pt x="229" y="727"/>
                    </a:lnTo>
                    <a:lnTo>
                      <a:pt x="229" y="726"/>
                    </a:lnTo>
                    <a:lnTo>
                      <a:pt x="228" y="724"/>
                    </a:lnTo>
                    <a:lnTo>
                      <a:pt x="228" y="722"/>
                    </a:lnTo>
                    <a:lnTo>
                      <a:pt x="226" y="722"/>
                    </a:lnTo>
                    <a:lnTo>
                      <a:pt x="226" y="721"/>
                    </a:lnTo>
                    <a:lnTo>
                      <a:pt x="225" y="721"/>
                    </a:lnTo>
                    <a:lnTo>
                      <a:pt x="225" y="719"/>
                    </a:lnTo>
                    <a:lnTo>
                      <a:pt x="223" y="719"/>
                    </a:lnTo>
                    <a:lnTo>
                      <a:pt x="223" y="718"/>
                    </a:lnTo>
                    <a:lnTo>
                      <a:pt x="221" y="718"/>
                    </a:lnTo>
                    <a:lnTo>
                      <a:pt x="221" y="716"/>
                    </a:lnTo>
                    <a:lnTo>
                      <a:pt x="220" y="714"/>
                    </a:lnTo>
                    <a:lnTo>
                      <a:pt x="218" y="714"/>
                    </a:lnTo>
                    <a:lnTo>
                      <a:pt x="217" y="713"/>
                    </a:lnTo>
                    <a:lnTo>
                      <a:pt x="215" y="713"/>
                    </a:lnTo>
                    <a:lnTo>
                      <a:pt x="214" y="713"/>
                    </a:lnTo>
                    <a:lnTo>
                      <a:pt x="212" y="713"/>
                    </a:lnTo>
                    <a:lnTo>
                      <a:pt x="210" y="713"/>
                    </a:lnTo>
                    <a:lnTo>
                      <a:pt x="209" y="714"/>
                    </a:lnTo>
                    <a:lnTo>
                      <a:pt x="209" y="713"/>
                    </a:lnTo>
                    <a:lnTo>
                      <a:pt x="207" y="714"/>
                    </a:lnTo>
                    <a:lnTo>
                      <a:pt x="206" y="714"/>
                    </a:lnTo>
                    <a:lnTo>
                      <a:pt x="204" y="714"/>
                    </a:lnTo>
                    <a:lnTo>
                      <a:pt x="202" y="716"/>
                    </a:lnTo>
                    <a:lnTo>
                      <a:pt x="202" y="718"/>
                    </a:lnTo>
                    <a:lnTo>
                      <a:pt x="201" y="718"/>
                    </a:lnTo>
                    <a:lnTo>
                      <a:pt x="201" y="719"/>
                    </a:lnTo>
                    <a:lnTo>
                      <a:pt x="202" y="719"/>
                    </a:lnTo>
                    <a:lnTo>
                      <a:pt x="202" y="721"/>
                    </a:lnTo>
                    <a:lnTo>
                      <a:pt x="201" y="722"/>
                    </a:lnTo>
                    <a:lnTo>
                      <a:pt x="199" y="722"/>
                    </a:lnTo>
                    <a:lnTo>
                      <a:pt x="199" y="724"/>
                    </a:lnTo>
                    <a:lnTo>
                      <a:pt x="198" y="724"/>
                    </a:lnTo>
                    <a:lnTo>
                      <a:pt x="196" y="724"/>
                    </a:lnTo>
                    <a:lnTo>
                      <a:pt x="195" y="724"/>
                    </a:lnTo>
                    <a:lnTo>
                      <a:pt x="195" y="722"/>
                    </a:lnTo>
                    <a:lnTo>
                      <a:pt x="195" y="721"/>
                    </a:lnTo>
                    <a:lnTo>
                      <a:pt x="195" y="719"/>
                    </a:lnTo>
                    <a:lnTo>
                      <a:pt x="193" y="719"/>
                    </a:lnTo>
                    <a:lnTo>
                      <a:pt x="193" y="718"/>
                    </a:lnTo>
                    <a:lnTo>
                      <a:pt x="191" y="718"/>
                    </a:lnTo>
                    <a:lnTo>
                      <a:pt x="190" y="718"/>
                    </a:lnTo>
                    <a:lnTo>
                      <a:pt x="188" y="716"/>
                    </a:lnTo>
                    <a:lnTo>
                      <a:pt x="188" y="714"/>
                    </a:lnTo>
                    <a:lnTo>
                      <a:pt x="188" y="713"/>
                    </a:lnTo>
                    <a:lnTo>
                      <a:pt x="190" y="713"/>
                    </a:lnTo>
                    <a:lnTo>
                      <a:pt x="190" y="711"/>
                    </a:lnTo>
                    <a:lnTo>
                      <a:pt x="191" y="711"/>
                    </a:lnTo>
                    <a:lnTo>
                      <a:pt x="191" y="710"/>
                    </a:lnTo>
                    <a:lnTo>
                      <a:pt x="191" y="708"/>
                    </a:lnTo>
                    <a:lnTo>
                      <a:pt x="193" y="708"/>
                    </a:lnTo>
                    <a:lnTo>
                      <a:pt x="195" y="707"/>
                    </a:lnTo>
                    <a:lnTo>
                      <a:pt x="195" y="705"/>
                    </a:lnTo>
                    <a:lnTo>
                      <a:pt x="196" y="705"/>
                    </a:lnTo>
                    <a:lnTo>
                      <a:pt x="196" y="703"/>
                    </a:lnTo>
                    <a:lnTo>
                      <a:pt x="196" y="702"/>
                    </a:lnTo>
                    <a:lnTo>
                      <a:pt x="196" y="700"/>
                    </a:lnTo>
                    <a:lnTo>
                      <a:pt x="196" y="699"/>
                    </a:lnTo>
                    <a:lnTo>
                      <a:pt x="196" y="697"/>
                    </a:lnTo>
                    <a:lnTo>
                      <a:pt x="198" y="697"/>
                    </a:lnTo>
                    <a:lnTo>
                      <a:pt x="198" y="695"/>
                    </a:lnTo>
                    <a:lnTo>
                      <a:pt x="199" y="694"/>
                    </a:lnTo>
                    <a:lnTo>
                      <a:pt x="201" y="692"/>
                    </a:lnTo>
                    <a:lnTo>
                      <a:pt x="201" y="691"/>
                    </a:lnTo>
                    <a:lnTo>
                      <a:pt x="201" y="689"/>
                    </a:lnTo>
                    <a:lnTo>
                      <a:pt x="202" y="687"/>
                    </a:lnTo>
                    <a:lnTo>
                      <a:pt x="204" y="686"/>
                    </a:lnTo>
                    <a:lnTo>
                      <a:pt x="204" y="684"/>
                    </a:lnTo>
                    <a:lnTo>
                      <a:pt x="204" y="683"/>
                    </a:lnTo>
                    <a:lnTo>
                      <a:pt x="204" y="681"/>
                    </a:lnTo>
                    <a:lnTo>
                      <a:pt x="206" y="681"/>
                    </a:lnTo>
                    <a:lnTo>
                      <a:pt x="206" y="680"/>
                    </a:lnTo>
                    <a:lnTo>
                      <a:pt x="207" y="680"/>
                    </a:lnTo>
                    <a:lnTo>
                      <a:pt x="207" y="678"/>
                    </a:lnTo>
                    <a:lnTo>
                      <a:pt x="209" y="678"/>
                    </a:lnTo>
                    <a:lnTo>
                      <a:pt x="209" y="676"/>
                    </a:lnTo>
                    <a:lnTo>
                      <a:pt x="207" y="676"/>
                    </a:lnTo>
                    <a:lnTo>
                      <a:pt x="209" y="675"/>
                    </a:lnTo>
                    <a:lnTo>
                      <a:pt x="209" y="673"/>
                    </a:lnTo>
                    <a:lnTo>
                      <a:pt x="210" y="673"/>
                    </a:lnTo>
                    <a:lnTo>
                      <a:pt x="210" y="672"/>
                    </a:lnTo>
                    <a:lnTo>
                      <a:pt x="212" y="672"/>
                    </a:lnTo>
                    <a:lnTo>
                      <a:pt x="212" y="670"/>
                    </a:lnTo>
                    <a:lnTo>
                      <a:pt x="212" y="668"/>
                    </a:lnTo>
                    <a:lnTo>
                      <a:pt x="212" y="667"/>
                    </a:lnTo>
                    <a:lnTo>
                      <a:pt x="214" y="667"/>
                    </a:lnTo>
                    <a:lnTo>
                      <a:pt x="214" y="665"/>
                    </a:lnTo>
                    <a:lnTo>
                      <a:pt x="215" y="665"/>
                    </a:lnTo>
                    <a:lnTo>
                      <a:pt x="215" y="664"/>
                    </a:lnTo>
                    <a:lnTo>
                      <a:pt x="215" y="662"/>
                    </a:lnTo>
                    <a:lnTo>
                      <a:pt x="215" y="661"/>
                    </a:lnTo>
                    <a:lnTo>
                      <a:pt x="214" y="659"/>
                    </a:lnTo>
                    <a:lnTo>
                      <a:pt x="214" y="657"/>
                    </a:lnTo>
                    <a:lnTo>
                      <a:pt x="214" y="656"/>
                    </a:lnTo>
                    <a:lnTo>
                      <a:pt x="215" y="654"/>
                    </a:lnTo>
                    <a:lnTo>
                      <a:pt x="217" y="653"/>
                    </a:lnTo>
                    <a:lnTo>
                      <a:pt x="217" y="651"/>
                    </a:lnTo>
                    <a:lnTo>
                      <a:pt x="217" y="649"/>
                    </a:lnTo>
                    <a:lnTo>
                      <a:pt x="217" y="648"/>
                    </a:lnTo>
                    <a:lnTo>
                      <a:pt x="217" y="646"/>
                    </a:lnTo>
                    <a:lnTo>
                      <a:pt x="218" y="645"/>
                    </a:lnTo>
                    <a:lnTo>
                      <a:pt x="218" y="643"/>
                    </a:lnTo>
                    <a:lnTo>
                      <a:pt x="217" y="643"/>
                    </a:lnTo>
                    <a:lnTo>
                      <a:pt x="217" y="642"/>
                    </a:lnTo>
                    <a:lnTo>
                      <a:pt x="215" y="640"/>
                    </a:lnTo>
                    <a:lnTo>
                      <a:pt x="215" y="638"/>
                    </a:lnTo>
                    <a:lnTo>
                      <a:pt x="215" y="637"/>
                    </a:lnTo>
                    <a:lnTo>
                      <a:pt x="214" y="637"/>
                    </a:lnTo>
                    <a:lnTo>
                      <a:pt x="215" y="635"/>
                    </a:lnTo>
                    <a:lnTo>
                      <a:pt x="214" y="634"/>
                    </a:lnTo>
                    <a:lnTo>
                      <a:pt x="214" y="632"/>
                    </a:lnTo>
                    <a:lnTo>
                      <a:pt x="214" y="630"/>
                    </a:lnTo>
                    <a:lnTo>
                      <a:pt x="212" y="630"/>
                    </a:lnTo>
                    <a:lnTo>
                      <a:pt x="210" y="630"/>
                    </a:lnTo>
                    <a:lnTo>
                      <a:pt x="209" y="630"/>
                    </a:lnTo>
                    <a:lnTo>
                      <a:pt x="207" y="630"/>
                    </a:lnTo>
                    <a:lnTo>
                      <a:pt x="207" y="629"/>
                    </a:lnTo>
                    <a:lnTo>
                      <a:pt x="207" y="627"/>
                    </a:lnTo>
                    <a:lnTo>
                      <a:pt x="207" y="626"/>
                    </a:lnTo>
                    <a:lnTo>
                      <a:pt x="207" y="624"/>
                    </a:lnTo>
                    <a:lnTo>
                      <a:pt x="207" y="623"/>
                    </a:lnTo>
                    <a:lnTo>
                      <a:pt x="207" y="621"/>
                    </a:lnTo>
                    <a:lnTo>
                      <a:pt x="207" y="619"/>
                    </a:lnTo>
                    <a:lnTo>
                      <a:pt x="206" y="618"/>
                    </a:lnTo>
                    <a:lnTo>
                      <a:pt x="204" y="616"/>
                    </a:lnTo>
                    <a:lnTo>
                      <a:pt x="204" y="615"/>
                    </a:lnTo>
                    <a:lnTo>
                      <a:pt x="202" y="615"/>
                    </a:lnTo>
                    <a:lnTo>
                      <a:pt x="201" y="613"/>
                    </a:lnTo>
                    <a:lnTo>
                      <a:pt x="201" y="611"/>
                    </a:lnTo>
                    <a:lnTo>
                      <a:pt x="201" y="610"/>
                    </a:lnTo>
                    <a:lnTo>
                      <a:pt x="201" y="608"/>
                    </a:lnTo>
                    <a:lnTo>
                      <a:pt x="201" y="607"/>
                    </a:lnTo>
                    <a:lnTo>
                      <a:pt x="199" y="605"/>
                    </a:lnTo>
                    <a:lnTo>
                      <a:pt x="198" y="605"/>
                    </a:lnTo>
                    <a:lnTo>
                      <a:pt x="198" y="604"/>
                    </a:lnTo>
                    <a:lnTo>
                      <a:pt x="196" y="602"/>
                    </a:lnTo>
                    <a:lnTo>
                      <a:pt x="196" y="600"/>
                    </a:lnTo>
                    <a:lnTo>
                      <a:pt x="195" y="599"/>
                    </a:lnTo>
                    <a:lnTo>
                      <a:pt x="193" y="599"/>
                    </a:lnTo>
                    <a:lnTo>
                      <a:pt x="191" y="600"/>
                    </a:lnTo>
                    <a:lnTo>
                      <a:pt x="190" y="600"/>
                    </a:lnTo>
                    <a:lnTo>
                      <a:pt x="188" y="600"/>
                    </a:lnTo>
                    <a:lnTo>
                      <a:pt x="187" y="602"/>
                    </a:lnTo>
                    <a:lnTo>
                      <a:pt x="187" y="604"/>
                    </a:lnTo>
                    <a:lnTo>
                      <a:pt x="185" y="604"/>
                    </a:lnTo>
                    <a:lnTo>
                      <a:pt x="185" y="605"/>
                    </a:lnTo>
                    <a:lnTo>
                      <a:pt x="183" y="605"/>
                    </a:lnTo>
                    <a:lnTo>
                      <a:pt x="182" y="605"/>
                    </a:lnTo>
                    <a:lnTo>
                      <a:pt x="182" y="607"/>
                    </a:lnTo>
                    <a:lnTo>
                      <a:pt x="180" y="607"/>
                    </a:lnTo>
                    <a:lnTo>
                      <a:pt x="179" y="607"/>
                    </a:lnTo>
                    <a:lnTo>
                      <a:pt x="179" y="608"/>
                    </a:lnTo>
                    <a:lnTo>
                      <a:pt x="177" y="608"/>
                    </a:lnTo>
                    <a:lnTo>
                      <a:pt x="177" y="610"/>
                    </a:lnTo>
                    <a:lnTo>
                      <a:pt x="176" y="610"/>
                    </a:lnTo>
                    <a:lnTo>
                      <a:pt x="176" y="611"/>
                    </a:lnTo>
                    <a:lnTo>
                      <a:pt x="174" y="611"/>
                    </a:lnTo>
                    <a:lnTo>
                      <a:pt x="174" y="613"/>
                    </a:lnTo>
                    <a:lnTo>
                      <a:pt x="172" y="615"/>
                    </a:lnTo>
                    <a:lnTo>
                      <a:pt x="171" y="615"/>
                    </a:lnTo>
                    <a:lnTo>
                      <a:pt x="171" y="616"/>
                    </a:lnTo>
                    <a:lnTo>
                      <a:pt x="169" y="616"/>
                    </a:lnTo>
                    <a:lnTo>
                      <a:pt x="168" y="616"/>
                    </a:lnTo>
                    <a:lnTo>
                      <a:pt x="168" y="618"/>
                    </a:lnTo>
                    <a:lnTo>
                      <a:pt x="166" y="618"/>
                    </a:lnTo>
                    <a:lnTo>
                      <a:pt x="164" y="619"/>
                    </a:lnTo>
                    <a:lnTo>
                      <a:pt x="163" y="621"/>
                    </a:lnTo>
                    <a:lnTo>
                      <a:pt x="163" y="623"/>
                    </a:lnTo>
                    <a:lnTo>
                      <a:pt x="161" y="624"/>
                    </a:lnTo>
                    <a:lnTo>
                      <a:pt x="160" y="624"/>
                    </a:lnTo>
                    <a:lnTo>
                      <a:pt x="160" y="626"/>
                    </a:lnTo>
                    <a:lnTo>
                      <a:pt x="160" y="627"/>
                    </a:lnTo>
                    <a:lnTo>
                      <a:pt x="158" y="627"/>
                    </a:lnTo>
                    <a:lnTo>
                      <a:pt x="158" y="629"/>
                    </a:lnTo>
                    <a:lnTo>
                      <a:pt x="157" y="629"/>
                    </a:lnTo>
                    <a:lnTo>
                      <a:pt x="155" y="630"/>
                    </a:lnTo>
                    <a:lnTo>
                      <a:pt x="153" y="630"/>
                    </a:lnTo>
                    <a:lnTo>
                      <a:pt x="152" y="632"/>
                    </a:lnTo>
                    <a:lnTo>
                      <a:pt x="152" y="634"/>
                    </a:lnTo>
                    <a:lnTo>
                      <a:pt x="150" y="635"/>
                    </a:lnTo>
                    <a:lnTo>
                      <a:pt x="149" y="637"/>
                    </a:lnTo>
                    <a:lnTo>
                      <a:pt x="147" y="638"/>
                    </a:lnTo>
                    <a:lnTo>
                      <a:pt x="147" y="640"/>
                    </a:lnTo>
                    <a:lnTo>
                      <a:pt x="145" y="640"/>
                    </a:lnTo>
                    <a:lnTo>
                      <a:pt x="145" y="642"/>
                    </a:lnTo>
                    <a:lnTo>
                      <a:pt x="145" y="643"/>
                    </a:lnTo>
                    <a:lnTo>
                      <a:pt x="144" y="643"/>
                    </a:lnTo>
                    <a:lnTo>
                      <a:pt x="144" y="645"/>
                    </a:lnTo>
                    <a:lnTo>
                      <a:pt x="144" y="646"/>
                    </a:lnTo>
                    <a:lnTo>
                      <a:pt x="142" y="648"/>
                    </a:lnTo>
                    <a:lnTo>
                      <a:pt x="142" y="646"/>
                    </a:lnTo>
                    <a:lnTo>
                      <a:pt x="142" y="648"/>
                    </a:lnTo>
                    <a:lnTo>
                      <a:pt x="141" y="648"/>
                    </a:lnTo>
                    <a:lnTo>
                      <a:pt x="141" y="646"/>
                    </a:lnTo>
                    <a:lnTo>
                      <a:pt x="139" y="646"/>
                    </a:lnTo>
                    <a:lnTo>
                      <a:pt x="139" y="648"/>
                    </a:lnTo>
                    <a:lnTo>
                      <a:pt x="138" y="646"/>
                    </a:lnTo>
                    <a:lnTo>
                      <a:pt x="138" y="648"/>
                    </a:lnTo>
                    <a:lnTo>
                      <a:pt x="136" y="648"/>
                    </a:lnTo>
                    <a:lnTo>
                      <a:pt x="134" y="648"/>
                    </a:lnTo>
                    <a:lnTo>
                      <a:pt x="133" y="648"/>
                    </a:lnTo>
                    <a:lnTo>
                      <a:pt x="131" y="648"/>
                    </a:lnTo>
                    <a:lnTo>
                      <a:pt x="130" y="649"/>
                    </a:lnTo>
                    <a:lnTo>
                      <a:pt x="130" y="651"/>
                    </a:lnTo>
                    <a:lnTo>
                      <a:pt x="128" y="651"/>
                    </a:lnTo>
                    <a:lnTo>
                      <a:pt x="126" y="651"/>
                    </a:lnTo>
                    <a:lnTo>
                      <a:pt x="123" y="651"/>
                    </a:lnTo>
                    <a:lnTo>
                      <a:pt x="122" y="651"/>
                    </a:lnTo>
                    <a:lnTo>
                      <a:pt x="120" y="653"/>
                    </a:lnTo>
                    <a:lnTo>
                      <a:pt x="119" y="653"/>
                    </a:lnTo>
                    <a:lnTo>
                      <a:pt x="117" y="653"/>
                    </a:lnTo>
                    <a:lnTo>
                      <a:pt x="115" y="653"/>
                    </a:lnTo>
                    <a:lnTo>
                      <a:pt x="112" y="653"/>
                    </a:lnTo>
                    <a:lnTo>
                      <a:pt x="111" y="653"/>
                    </a:lnTo>
                    <a:lnTo>
                      <a:pt x="111" y="654"/>
                    </a:lnTo>
                    <a:lnTo>
                      <a:pt x="109" y="654"/>
                    </a:lnTo>
                    <a:lnTo>
                      <a:pt x="109" y="653"/>
                    </a:lnTo>
                    <a:lnTo>
                      <a:pt x="107" y="653"/>
                    </a:lnTo>
                    <a:lnTo>
                      <a:pt x="107" y="651"/>
                    </a:lnTo>
                    <a:lnTo>
                      <a:pt x="106" y="651"/>
                    </a:lnTo>
                    <a:lnTo>
                      <a:pt x="104" y="651"/>
                    </a:lnTo>
                    <a:lnTo>
                      <a:pt x="103" y="651"/>
                    </a:lnTo>
                    <a:lnTo>
                      <a:pt x="103" y="649"/>
                    </a:lnTo>
                    <a:lnTo>
                      <a:pt x="101" y="649"/>
                    </a:lnTo>
                    <a:lnTo>
                      <a:pt x="100" y="649"/>
                    </a:lnTo>
                    <a:lnTo>
                      <a:pt x="100" y="648"/>
                    </a:lnTo>
                    <a:lnTo>
                      <a:pt x="98" y="646"/>
                    </a:lnTo>
                    <a:lnTo>
                      <a:pt x="98" y="645"/>
                    </a:lnTo>
                    <a:lnTo>
                      <a:pt x="96" y="645"/>
                    </a:lnTo>
                    <a:lnTo>
                      <a:pt x="95" y="645"/>
                    </a:lnTo>
                    <a:lnTo>
                      <a:pt x="95" y="646"/>
                    </a:lnTo>
                    <a:lnTo>
                      <a:pt x="93" y="646"/>
                    </a:lnTo>
                    <a:lnTo>
                      <a:pt x="90" y="648"/>
                    </a:lnTo>
                    <a:lnTo>
                      <a:pt x="90" y="649"/>
                    </a:lnTo>
                    <a:lnTo>
                      <a:pt x="88" y="649"/>
                    </a:lnTo>
                    <a:lnTo>
                      <a:pt x="88" y="651"/>
                    </a:lnTo>
                    <a:lnTo>
                      <a:pt x="87" y="651"/>
                    </a:lnTo>
                    <a:lnTo>
                      <a:pt x="85" y="653"/>
                    </a:lnTo>
                    <a:lnTo>
                      <a:pt x="84" y="653"/>
                    </a:lnTo>
                    <a:lnTo>
                      <a:pt x="84" y="651"/>
                    </a:lnTo>
                    <a:lnTo>
                      <a:pt x="82" y="651"/>
                    </a:lnTo>
                    <a:lnTo>
                      <a:pt x="82" y="649"/>
                    </a:lnTo>
                    <a:lnTo>
                      <a:pt x="80" y="648"/>
                    </a:lnTo>
                    <a:lnTo>
                      <a:pt x="79" y="646"/>
                    </a:lnTo>
                    <a:lnTo>
                      <a:pt x="77" y="645"/>
                    </a:lnTo>
                    <a:lnTo>
                      <a:pt x="77" y="643"/>
                    </a:lnTo>
                    <a:lnTo>
                      <a:pt x="77" y="642"/>
                    </a:lnTo>
                    <a:lnTo>
                      <a:pt x="77" y="640"/>
                    </a:lnTo>
                    <a:lnTo>
                      <a:pt x="76" y="638"/>
                    </a:lnTo>
                    <a:lnTo>
                      <a:pt x="74" y="637"/>
                    </a:lnTo>
                    <a:lnTo>
                      <a:pt x="73" y="635"/>
                    </a:lnTo>
                    <a:lnTo>
                      <a:pt x="73" y="634"/>
                    </a:lnTo>
                    <a:lnTo>
                      <a:pt x="71" y="634"/>
                    </a:lnTo>
                    <a:lnTo>
                      <a:pt x="69" y="632"/>
                    </a:lnTo>
                    <a:lnTo>
                      <a:pt x="69" y="630"/>
                    </a:lnTo>
                    <a:lnTo>
                      <a:pt x="68" y="630"/>
                    </a:lnTo>
                    <a:lnTo>
                      <a:pt x="66" y="630"/>
                    </a:lnTo>
                    <a:lnTo>
                      <a:pt x="65" y="630"/>
                    </a:lnTo>
                    <a:lnTo>
                      <a:pt x="65" y="629"/>
                    </a:lnTo>
                    <a:lnTo>
                      <a:pt x="63" y="629"/>
                    </a:lnTo>
                    <a:lnTo>
                      <a:pt x="61" y="629"/>
                    </a:lnTo>
                    <a:lnTo>
                      <a:pt x="61" y="627"/>
                    </a:lnTo>
                    <a:lnTo>
                      <a:pt x="60" y="626"/>
                    </a:lnTo>
                    <a:lnTo>
                      <a:pt x="58" y="626"/>
                    </a:lnTo>
                    <a:lnTo>
                      <a:pt x="58" y="624"/>
                    </a:lnTo>
                    <a:lnTo>
                      <a:pt x="57" y="624"/>
                    </a:lnTo>
                    <a:lnTo>
                      <a:pt x="55" y="624"/>
                    </a:lnTo>
                    <a:lnTo>
                      <a:pt x="55" y="623"/>
                    </a:lnTo>
                    <a:lnTo>
                      <a:pt x="57" y="623"/>
                    </a:lnTo>
                    <a:lnTo>
                      <a:pt x="55" y="621"/>
                    </a:lnTo>
                    <a:lnTo>
                      <a:pt x="55" y="619"/>
                    </a:lnTo>
                    <a:lnTo>
                      <a:pt x="54" y="619"/>
                    </a:lnTo>
                    <a:lnTo>
                      <a:pt x="52" y="619"/>
                    </a:lnTo>
                    <a:lnTo>
                      <a:pt x="50" y="621"/>
                    </a:lnTo>
                    <a:lnTo>
                      <a:pt x="50" y="623"/>
                    </a:lnTo>
                    <a:lnTo>
                      <a:pt x="47" y="624"/>
                    </a:lnTo>
                    <a:lnTo>
                      <a:pt x="47" y="626"/>
                    </a:lnTo>
                    <a:lnTo>
                      <a:pt x="46" y="627"/>
                    </a:lnTo>
                    <a:lnTo>
                      <a:pt x="44" y="629"/>
                    </a:lnTo>
                    <a:lnTo>
                      <a:pt x="44" y="630"/>
                    </a:lnTo>
                    <a:lnTo>
                      <a:pt x="42" y="632"/>
                    </a:lnTo>
                    <a:lnTo>
                      <a:pt x="41" y="632"/>
                    </a:lnTo>
                    <a:lnTo>
                      <a:pt x="39" y="632"/>
                    </a:lnTo>
                    <a:lnTo>
                      <a:pt x="39" y="634"/>
                    </a:lnTo>
                    <a:lnTo>
                      <a:pt x="38" y="634"/>
                    </a:lnTo>
                    <a:lnTo>
                      <a:pt x="38" y="635"/>
                    </a:lnTo>
                    <a:lnTo>
                      <a:pt x="36" y="635"/>
                    </a:lnTo>
                    <a:lnTo>
                      <a:pt x="35" y="637"/>
                    </a:lnTo>
                    <a:lnTo>
                      <a:pt x="33" y="637"/>
                    </a:lnTo>
                    <a:lnTo>
                      <a:pt x="33" y="638"/>
                    </a:lnTo>
                    <a:lnTo>
                      <a:pt x="31" y="638"/>
                    </a:lnTo>
                    <a:lnTo>
                      <a:pt x="31" y="640"/>
                    </a:lnTo>
                    <a:lnTo>
                      <a:pt x="30" y="640"/>
                    </a:lnTo>
                    <a:lnTo>
                      <a:pt x="30" y="638"/>
                    </a:lnTo>
                    <a:lnTo>
                      <a:pt x="28" y="638"/>
                    </a:lnTo>
                    <a:lnTo>
                      <a:pt x="27" y="638"/>
                    </a:lnTo>
                    <a:lnTo>
                      <a:pt x="25" y="638"/>
                    </a:lnTo>
                    <a:lnTo>
                      <a:pt x="25" y="637"/>
                    </a:lnTo>
                    <a:lnTo>
                      <a:pt x="23" y="637"/>
                    </a:lnTo>
                    <a:lnTo>
                      <a:pt x="23" y="635"/>
                    </a:lnTo>
                    <a:lnTo>
                      <a:pt x="23" y="634"/>
                    </a:lnTo>
                    <a:lnTo>
                      <a:pt x="22" y="634"/>
                    </a:lnTo>
                    <a:lnTo>
                      <a:pt x="22" y="632"/>
                    </a:lnTo>
                    <a:lnTo>
                      <a:pt x="20" y="632"/>
                    </a:lnTo>
                    <a:lnTo>
                      <a:pt x="20" y="630"/>
                    </a:lnTo>
                    <a:lnTo>
                      <a:pt x="19" y="630"/>
                    </a:lnTo>
                    <a:lnTo>
                      <a:pt x="20" y="630"/>
                    </a:lnTo>
                    <a:lnTo>
                      <a:pt x="19" y="630"/>
                    </a:lnTo>
                    <a:lnTo>
                      <a:pt x="19" y="629"/>
                    </a:lnTo>
                    <a:lnTo>
                      <a:pt x="17" y="629"/>
                    </a:lnTo>
                    <a:lnTo>
                      <a:pt x="17" y="630"/>
                    </a:lnTo>
                    <a:lnTo>
                      <a:pt x="16" y="629"/>
                    </a:lnTo>
                    <a:lnTo>
                      <a:pt x="17" y="629"/>
                    </a:lnTo>
                    <a:lnTo>
                      <a:pt x="19" y="629"/>
                    </a:lnTo>
                    <a:lnTo>
                      <a:pt x="17" y="627"/>
                    </a:lnTo>
                    <a:lnTo>
                      <a:pt x="17" y="626"/>
                    </a:lnTo>
                    <a:lnTo>
                      <a:pt x="16" y="626"/>
                    </a:lnTo>
                    <a:lnTo>
                      <a:pt x="14" y="626"/>
                    </a:lnTo>
                    <a:lnTo>
                      <a:pt x="14" y="627"/>
                    </a:lnTo>
                    <a:lnTo>
                      <a:pt x="14" y="626"/>
                    </a:lnTo>
                    <a:lnTo>
                      <a:pt x="12" y="626"/>
                    </a:lnTo>
                    <a:lnTo>
                      <a:pt x="12" y="624"/>
                    </a:lnTo>
                    <a:lnTo>
                      <a:pt x="12" y="626"/>
                    </a:lnTo>
                    <a:lnTo>
                      <a:pt x="11" y="626"/>
                    </a:lnTo>
                    <a:lnTo>
                      <a:pt x="11" y="624"/>
                    </a:lnTo>
                    <a:lnTo>
                      <a:pt x="9" y="623"/>
                    </a:lnTo>
                    <a:lnTo>
                      <a:pt x="9" y="624"/>
                    </a:lnTo>
                    <a:lnTo>
                      <a:pt x="9" y="623"/>
                    </a:lnTo>
                    <a:lnTo>
                      <a:pt x="9" y="621"/>
                    </a:lnTo>
                    <a:lnTo>
                      <a:pt x="9" y="619"/>
                    </a:lnTo>
                    <a:lnTo>
                      <a:pt x="9" y="618"/>
                    </a:lnTo>
                    <a:lnTo>
                      <a:pt x="9" y="616"/>
                    </a:lnTo>
                    <a:lnTo>
                      <a:pt x="8" y="616"/>
                    </a:lnTo>
                    <a:lnTo>
                      <a:pt x="9" y="615"/>
                    </a:lnTo>
                    <a:lnTo>
                      <a:pt x="8" y="615"/>
                    </a:lnTo>
                    <a:lnTo>
                      <a:pt x="8" y="613"/>
                    </a:lnTo>
                    <a:lnTo>
                      <a:pt x="6" y="613"/>
                    </a:lnTo>
                    <a:lnTo>
                      <a:pt x="6" y="611"/>
                    </a:lnTo>
                    <a:lnTo>
                      <a:pt x="4" y="613"/>
                    </a:lnTo>
                    <a:lnTo>
                      <a:pt x="3" y="613"/>
                    </a:lnTo>
                    <a:lnTo>
                      <a:pt x="3" y="615"/>
                    </a:lnTo>
                    <a:lnTo>
                      <a:pt x="3" y="613"/>
                    </a:lnTo>
                    <a:lnTo>
                      <a:pt x="3" y="611"/>
                    </a:lnTo>
                    <a:lnTo>
                      <a:pt x="1" y="611"/>
                    </a:lnTo>
                    <a:lnTo>
                      <a:pt x="1" y="610"/>
                    </a:lnTo>
                    <a:lnTo>
                      <a:pt x="3" y="610"/>
                    </a:lnTo>
                    <a:lnTo>
                      <a:pt x="1" y="610"/>
                    </a:lnTo>
                    <a:lnTo>
                      <a:pt x="3" y="610"/>
                    </a:lnTo>
                    <a:lnTo>
                      <a:pt x="3" y="608"/>
                    </a:lnTo>
                    <a:lnTo>
                      <a:pt x="1" y="608"/>
                    </a:lnTo>
                    <a:lnTo>
                      <a:pt x="1" y="610"/>
                    </a:lnTo>
                    <a:lnTo>
                      <a:pt x="0" y="610"/>
                    </a:lnTo>
                    <a:lnTo>
                      <a:pt x="0" y="608"/>
                    </a:lnTo>
                    <a:lnTo>
                      <a:pt x="0" y="610"/>
                    </a:lnTo>
                    <a:lnTo>
                      <a:pt x="0" y="608"/>
                    </a:lnTo>
                    <a:lnTo>
                      <a:pt x="1" y="608"/>
                    </a:lnTo>
                    <a:lnTo>
                      <a:pt x="1" y="607"/>
                    </a:lnTo>
                    <a:lnTo>
                      <a:pt x="3" y="607"/>
                    </a:lnTo>
                    <a:lnTo>
                      <a:pt x="3" y="605"/>
                    </a:lnTo>
                    <a:lnTo>
                      <a:pt x="1" y="605"/>
                    </a:lnTo>
                    <a:lnTo>
                      <a:pt x="3" y="604"/>
                    </a:lnTo>
                    <a:lnTo>
                      <a:pt x="1" y="604"/>
                    </a:lnTo>
                    <a:lnTo>
                      <a:pt x="3" y="604"/>
                    </a:lnTo>
                    <a:lnTo>
                      <a:pt x="4" y="604"/>
                    </a:lnTo>
                    <a:lnTo>
                      <a:pt x="3" y="602"/>
                    </a:lnTo>
                    <a:lnTo>
                      <a:pt x="4" y="604"/>
                    </a:lnTo>
                    <a:lnTo>
                      <a:pt x="4" y="602"/>
                    </a:lnTo>
                    <a:lnTo>
                      <a:pt x="4" y="600"/>
                    </a:lnTo>
                    <a:lnTo>
                      <a:pt x="6" y="600"/>
                    </a:lnTo>
                    <a:lnTo>
                      <a:pt x="6" y="599"/>
                    </a:lnTo>
                    <a:lnTo>
                      <a:pt x="4" y="599"/>
                    </a:lnTo>
                    <a:lnTo>
                      <a:pt x="6" y="599"/>
                    </a:lnTo>
                    <a:lnTo>
                      <a:pt x="6" y="597"/>
                    </a:lnTo>
                    <a:lnTo>
                      <a:pt x="6" y="596"/>
                    </a:lnTo>
                    <a:lnTo>
                      <a:pt x="4" y="596"/>
                    </a:lnTo>
                    <a:lnTo>
                      <a:pt x="6" y="596"/>
                    </a:lnTo>
                    <a:lnTo>
                      <a:pt x="6" y="594"/>
                    </a:lnTo>
                    <a:lnTo>
                      <a:pt x="6" y="592"/>
                    </a:lnTo>
                    <a:lnTo>
                      <a:pt x="8" y="594"/>
                    </a:lnTo>
                    <a:lnTo>
                      <a:pt x="8" y="592"/>
                    </a:lnTo>
                    <a:lnTo>
                      <a:pt x="9" y="592"/>
                    </a:lnTo>
                    <a:lnTo>
                      <a:pt x="8" y="591"/>
                    </a:lnTo>
                    <a:lnTo>
                      <a:pt x="9" y="591"/>
                    </a:lnTo>
                    <a:lnTo>
                      <a:pt x="8" y="591"/>
                    </a:lnTo>
                    <a:lnTo>
                      <a:pt x="8" y="589"/>
                    </a:lnTo>
                    <a:lnTo>
                      <a:pt x="9" y="589"/>
                    </a:lnTo>
                    <a:lnTo>
                      <a:pt x="9" y="591"/>
                    </a:lnTo>
                    <a:lnTo>
                      <a:pt x="9" y="589"/>
                    </a:lnTo>
                    <a:lnTo>
                      <a:pt x="11" y="589"/>
                    </a:lnTo>
                    <a:lnTo>
                      <a:pt x="11" y="588"/>
                    </a:lnTo>
                    <a:lnTo>
                      <a:pt x="11" y="586"/>
                    </a:lnTo>
                    <a:lnTo>
                      <a:pt x="11" y="585"/>
                    </a:lnTo>
                    <a:lnTo>
                      <a:pt x="12" y="585"/>
                    </a:lnTo>
                    <a:lnTo>
                      <a:pt x="12" y="583"/>
                    </a:lnTo>
                    <a:lnTo>
                      <a:pt x="11" y="583"/>
                    </a:lnTo>
                    <a:lnTo>
                      <a:pt x="12" y="581"/>
                    </a:lnTo>
                    <a:lnTo>
                      <a:pt x="12" y="580"/>
                    </a:lnTo>
                    <a:lnTo>
                      <a:pt x="12" y="578"/>
                    </a:lnTo>
                    <a:lnTo>
                      <a:pt x="11" y="578"/>
                    </a:lnTo>
                    <a:lnTo>
                      <a:pt x="11" y="577"/>
                    </a:lnTo>
                    <a:lnTo>
                      <a:pt x="9" y="577"/>
                    </a:lnTo>
                    <a:lnTo>
                      <a:pt x="9" y="575"/>
                    </a:lnTo>
                    <a:lnTo>
                      <a:pt x="11" y="575"/>
                    </a:lnTo>
                    <a:lnTo>
                      <a:pt x="11" y="573"/>
                    </a:lnTo>
                    <a:lnTo>
                      <a:pt x="11" y="572"/>
                    </a:lnTo>
                    <a:lnTo>
                      <a:pt x="12" y="572"/>
                    </a:lnTo>
                    <a:lnTo>
                      <a:pt x="14" y="572"/>
                    </a:lnTo>
                    <a:lnTo>
                      <a:pt x="14" y="570"/>
                    </a:lnTo>
                    <a:lnTo>
                      <a:pt x="16" y="570"/>
                    </a:lnTo>
                    <a:lnTo>
                      <a:pt x="17" y="570"/>
                    </a:lnTo>
                    <a:lnTo>
                      <a:pt x="17" y="569"/>
                    </a:lnTo>
                    <a:lnTo>
                      <a:pt x="19" y="569"/>
                    </a:lnTo>
                    <a:lnTo>
                      <a:pt x="19" y="567"/>
                    </a:lnTo>
                    <a:lnTo>
                      <a:pt x="17" y="567"/>
                    </a:lnTo>
                    <a:lnTo>
                      <a:pt x="17" y="566"/>
                    </a:lnTo>
                    <a:lnTo>
                      <a:pt x="19" y="566"/>
                    </a:lnTo>
                    <a:lnTo>
                      <a:pt x="19" y="564"/>
                    </a:lnTo>
                    <a:lnTo>
                      <a:pt x="20" y="564"/>
                    </a:lnTo>
                    <a:lnTo>
                      <a:pt x="20" y="562"/>
                    </a:lnTo>
                    <a:lnTo>
                      <a:pt x="22" y="562"/>
                    </a:lnTo>
                    <a:lnTo>
                      <a:pt x="23" y="564"/>
                    </a:lnTo>
                    <a:lnTo>
                      <a:pt x="25" y="564"/>
                    </a:lnTo>
                    <a:lnTo>
                      <a:pt x="27" y="562"/>
                    </a:lnTo>
                    <a:lnTo>
                      <a:pt x="28" y="562"/>
                    </a:lnTo>
                    <a:lnTo>
                      <a:pt x="28" y="561"/>
                    </a:lnTo>
                    <a:lnTo>
                      <a:pt x="28" y="559"/>
                    </a:lnTo>
                    <a:lnTo>
                      <a:pt x="30" y="559"/>
                    </a:lnTo>
                    <a:lnTo>
                      <a:pt x="31" y="559"/>
                    </a:lnTo>
                    <a:lnTo>
                      <a:pt x="31" y="558"/>
                    </a:lnTo>
                    <a:lnTo>
                      <a:pt x="31" y="556"/>
                    </a:lnTo>
                    <a:lnTo>
                      <a:pt x="31" y="558"/>
                    </a:lnTo>
                    <a:lnTo>
                      <a:pt x="33" y="558"/>
                    </a:lnTo>
                    <a:lnTo>
                      <a:pt x="33" y="556"/>
                    </a:lnTo>
                    <a:lnTo>
                      <a:pt x="33" y="554"/>
                    </a:lnTo>
                    <a:lnTo>
                      <a:pt x="33" y="556"/>
                    </a:lnTo>
                    <a:lnTo>
                      <a:pt x="35" y="554"/>
                    </a:lnTo>
                    <a:lnTo>
                      <a:pt x="36" y="554"/>
                    </a:lnTo>
                    <a:lnTo>
                      <a:pt x="36" y="553"/>
                    </a:lnTo>
                    <a:lnTo>
                      <a:pt x="36" y="551"/>
                    </a:lnTo>
                    <a:lnTo>
                      <a:pt x="38" y="551"/>
                    </a:lnTo>
                    <a:lnTo>
                      <a:pt x="38" y="550"/>
                    </a:lnTo>
                    <a:lnTo>
                      <a:pt x="38" y="548"/>
                    </a:lnTo>
                    <a:lnTo>
                      <a:pt x="39" y="548"/>
                    </a:lnTo>
                    <a:lnTo>
                      <a:pt x="39" y="547"/>
                    </a:lnTo>
                    <a:lnTo>
                      <a:pt x="39" y="545"/>
                    </a:lnTo>
                    <a:lnTo>
                      <a:pt x="38" y="545"/>
                    </a:lnTo>
                    <a:lnTo>
                      <a:pt x="39" y="543"/>
                    </a:lnTo>
                    <a:lnTo>
                      <a:pt x="38" y="542"/>
                    </a:lnTo>
                    <a:lnTo>
                      <a:pt x="39" y="542"/>
                    </a:lnTo>
                    <a:lnTo>
                      <a:pt x="38" y="542"/>
                    </a:lnTo>
                    <a:lnTo>
                      <a:pt x="38" y="543"/>
                    </a:lnTo>
                    <a:lnTo>
                      <a:pt x="36" y="542"/>
                    </a:lnTo>
                    <a:lnTo>
                      <a:pt x="36" y="543"/>
                    </a:lnTo>
                    <a:lnTo>
                      <a:pt x="35" y="543"/>
                    </a:lnTo>
                    <a:lnTo>
                      <a:pt x="33" y="543"/>
                    </a:lnTo>
                    <a:lnTo>
                      <a:pt x="31" y="545"/>
                    </a:lnTo>
                    <a:lnTo>
                      <a:pt x="31" y="547"/>
                    </a:lnTo>
                    <a:lnTo>
                      <a:pt x="30" y="547"/>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39" name="Freeform 19"/>
              <p:cNvSpPr>
                <a:spLocks/>
              </p:cNvSpPr>
              <p:nvPr/>
            </p:nvSpPr>
            <p:spPr bwMode="auto">
              <a:xfrm>
                <a:off x="2224" y="535"/>
                <a:ext cx="155" cy="556"/>
              </a:xfrm>
              <a:custGeom>
                <a:avLst/>
                <a:gdLst>
                  <a:gd name="T0" fmla="*/ 19 w 155"/>
                  <a:gd name="T1" fmla="*/ 552 h 556"/>
                  <a:gd name="T2" fmla="*/ 9 w 155"/>
                  <a:gd name="T3" fmla="*/ 553 h 556"/>
                  <a:gd name="T4" fmla="*/ 3 w 155"/>
                  <a:gd name="T5" fmla="*/ 552 h 556"/>
                  <a:gd name="T6" fmla="*/ 1 w 155"/>
                  <a:gd name="T7" fmla="*/ 544 h 556"/>
                  <a:gd name="T8" fmla="*/ 8 w 155"/>
                  <a:gd name="T9" fmla="*/ 534 h 556"/>
                  <a:gd name="T10" fmla="*/ 13 w 155"/>
                  <a:gd name="T11" fmla="*/ 526 h 556"/>
                  <a:gd name="T12" fmla="*/ 17 w 155"/>
                  <a:gd name="T13" fmla="*/ 518 h 556"/>
                  <a:gd name="T14" fmla="*/ 22 w 155"/>
                  <a:gd name="T15" fmla="*/ 511 h 556"/>
                  <a:gd name="T16" fmla="*/ 24 w 155"/>
                  <a:gd name="T17" fmla="*/ 503 h 556"/>
                  <a:gd name="T18" fmla="*/ 28 w 155"/>
                  <a:gd name="T19" fmla="*/ 495 h 556"/>
                  <a:gd name="T20" fmla="*/ 33 w 155"/>
                  <a:gd name="T21" fmla="*/ 485 h 556"/>
                  <a:gd name="T22" fmla="*/ 36 w 155"/>
                  <a:gd name="T23" fmla="*/ 474 h 556"/>
                  <a:gd name="T24" fmla="*/ 54 w 155"/>
                  <a:gd name="T25" fmla="*/ 465 h 556"/>
                  <a:gd name="T26" fmla="*/ 66 w 155"/>
                  <a:gd name="T27" fmla="*/ 463 h 556"/>
                  <a:gd name="T28" fmla="*/ 79 w 155"/>
                  <a:gd name="T29" fmla="*/ 465 h 556"/>
                  <a:gd name="T30" fmla="*/ 93 w 155"/>
                  <a:gd name="T31" fmla="*/ 447 h 556"/>
                  <a:gd name="T32" fmla="*/ 104 w 155"/>
                  <a:gd name="T33" fmla="*/ 453 h 556"/>
                  <a:gd name="T34" fmla="*/ 117 w 155"/>
                  <a:gd name="T35" fmla="*/ 457 h 556"/>
                  <a:gd name="T36" fmla="*/ 133 w 155"/>
                  <a:gd name="T37" fmla="*/ 446 h 556"/>
                  <a:gd name="T38" fmla="*/ 141 w 155"/>
                  <a:gd name="T39" fmla="*/ 436 h 556"/>
                  <a:gd name="T40" fmla="*/ 141 w 155"/>
                  <a:gd name="T41" fmla="*/ 423 h 556"/>
                  <a:gd name="T42" fmla="*/ 138 w 155"/>
                  <a:gd name="T43" fmla="*/ 406 h 556"/>
                  <a:gd name="T44" fmla="*/ 139 w 155"/>
                  <a:gd name="T45" fmla="*/ 395 h 556"/>
                  <a:gd name="T46" fmla="*/ 150 w 155"/>
                  <a:gd name="T47" fmla="*/ 368 h 556"/>
                  <a:gd name="T48" fmla="*/ 144 w 155"/>
                  <a:gd name="T49" fmla="*/ 339 h 556"/>
                  <a:gd name="T50" fmla="*/ 125 w 155"/>
                  <a:gd name="T51" fmla="*/ 308 h 556"/>
                  <a:gd name="T52" fmla="*/ 120 w 155"/>
                  <a:gd name="T53" fmla="*/ 311 h 556"/>
                  <a:gd name="T54" fmla="*/ 122 w 155"/>
                  <a:gd name="T55" fmla="*/ 306 h 556"/>
                  <a:gd name="T56" fmla="*/ 128 w 155"/>
                  <a:gd name="T57" fmla="*/ 298 h 556"/>
                  <a:gd name="T58" fmla="*/ 133 w 155"/>
                  <a:gd name="T59" fmla="*/ 289 h 556"/>
                  <a:gd name="T60" fmla="*/ 130 w 155"/>
                  <a:gd name="T61" fmla="*/ 278 h 556"/>
                  <a:gd name="T62" fmla="*/ 133 w 155"/>
                  <a:gd name="T63" fmla="*/ 257 h 556"/>
                  <a:gd name="T64" fmla="*/ 128 w 155"/>
                  <a:gd name="T65" fmla="*/ 246 h 556"/>
                  <a:gd name="T66" fmla="*/ 130 w 155"/>
                  <a:gd name="T67" fmla="*/ 232 h 556"/>
                  <a:gd name="T68" fmla="*/ 135 w 155"/>
                  <a:gd name="T69" fmla="*/ 217 h 556"/>
                  <a:gd name="T70" fmla="*/ 119 w 155"/>
                  <a:gd name="T71" fmla="*/ 197 h 556"/>
                  <a:gd name="T72" fmla="*/ 114 w 155"/>
                  <a:gd name="T73" fmla="*/ 187 h 556"/>
                  <a:gd name="T74" fmla="*/ 108 w 155"/>
                  <a:gd name="T75" fmla="*/ 181 h 556"/>
                  <a:gd name="T76" fmla="*/ 103 w 155"/>
                  <a:gd name="T77" fmla="*/ 154 h 556"/>
                  <a:gd name="T78" fmla="*/ 90 w 155"/>
                  <a:gd name="T79" fmla="*/ 141 h 556"/>
                  <a:gd name="T80" fmla="*/ 79 w 155"/>
                  <a:gd name="T81" fmla="*/ 134 h 556"/>
                  <a:gd name="T82" fmla="*/ 57 w 155"/>
                  <a:gd name="T83" fmla="*/ 119 h 556"/>
                  <a:gd name="T84" fmla="*/ 47 w 155"/>
                  <a:gd name="T85" fmla="*/ 118 h 556"/>
                  <a:gd name="T86" fmla="*/ 43 w 155"/>
                  <a:gd name="T87" fmla="*/ 107 h 556"/>
                  <a:gd name="T88" fmla="*/ 39 w 155"/>
                  <a:gd name="T89" fmla="*/ 95 h 556"/>
                  <a:gd name="T90" fmla="*/ 30 w 155"/>
                  <a:gd name="T91" fmla="*/ 73 h 556"/>
                  <a:gd name="T92" fmla="*/ 25 w 155"/>
                  <a:gd name="T93" fmla="*/ 62 h 556"/>
                  <a:gd name="T94" fmla="*/ 17 w 155"/>
                  <a:gd name="T95" fmla="*/ 50 h 556"/>
                  <a:gd name="T96" fmla="*/ 11 w 155"/>
                  <a:gd name="T97" fmla="*/ 43 h 556"/>
                  <a:gd name="T98" fmla="*/ 24 w 155"/>
                  <a:gd name="T99" fmla="*/ 24 h 556"/>
                  <a:gd name="T100" fmla="*/ 30 w 155"/>
                  <a:gd name="T101" fmla="*/ 29 h 556"/>
                  <a:gd name="T102" fmla="*/ 36 w 155"/>
                  <a:gd name="T103" fmla="*/ 31 h 556"/>
                  <a:gd name="T104" fmla="*/ 46 w 155"/>
                  <a:gd name="T105" fmla="*/ 27 h 556"/>
                  <a:gd name="T106" fmla="*/ 54 w 155"/>
                  <a:gd name="T107" fmla="*/ 26 h 556"/>
                  <a:gd name="T108" fmla="*/ 63 w 155"/>
                  <a:gd name="T109" fmla="*/ 27 h 556"/>
                  <a:gd name="T110" fmla="*/ 71 w 155"/>
                  <a:gd name="T111" fmla="*/ 27 h 556"/>
                  <a:gd name="T112" fmla="*/ 79 w 155"/>
                  <a:gd name="T113" fmla="*/ 24 h 556"/>
                  <a:gd name="T114" fmla="*/ 84 w 155"/>
                  <a:gd name="T115" fmla="*/ 18 h 556"/>
                  <a:gd name="T116" fmla="*/ 90 w 155"/>
                  <a:gd name="T117" fmla="*/ 13 h 556"/>
                  <a:gd name="T118" fmla="*/ 98 w 155"/>
                  <a:gd name="T119" fmla="*/ 10 h 556"/>
                  <a:gd name="T120" fmla="*/ 106 w 155"/>
                  <a:gd name="T121" fmla="*/ 7 h 556"/>
                  <a:gd name="T122" fmla="*/ 112 w 155"/>
                  <a:gd name="T123" fmla="*/ 2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5" h="556">
                    <a:moveTo>
                      <a:pt x="27" y="549"/>
                    </a:moveTo>
                    <a:lnTo>
                      <a:pt x="25" y="549"/>
                    </a:lnTo>
                    <a:lnTo>
                      <a:pt x="25" y="550"/>
                    </a:lnTo>
                    <a:lnTo>
                      <a:pt x="24" y="550"/>
                    </a:lnTo>
                    <a:lnTo>
                      <a:pt x="22" y="550"/>
                    </a:lnTo>
                    <a:lnTo>
                      <a:pt x="22" y="552"/>
                    </a:lnTo>
                    <a:lnTo>
                      <a:pt x="19" y="552"/>
                    </a:lnTo>
                    <a:lnTo>
                      <a:pt x="17" y="553"/>
                    </a:lnTo>
                    <a:lnTo>
                      <a:pt x="17" y="555"/>
                    </a:lnTo>
                    <a:lnTo>
                      <a:pt x="16" y="555"/>
                    </a:lnTo>
                    <a:lnTo>
                      <a:pt x="14" y="556"/>
                    </a:lnTo>
                    <a:lnTo>
                      <a:pt x="13" y="556"/>
                    </a:lnTo>
                    <a:lnTo>
                      <a:pt x="11" y="555"/>
                    </a:lnTo>
                    <a:lnTo>
                      <a:pt x="9" y="553"/>
                    </a:lnTo>
                    <a:lnTo>
                      <a:pt x="9" y="552"/>
                    </a:lnTo>
                    <a:lnTo>
                      <a:pt x="8" y="552"/>
                    </a:lnTo>
                    <a:lnTo>
                      <a:pt x="6" y="552"/>
                    </a:lnTo>
                    <a:lnTo>
                      <a:pt x="5" y="552"/>
                    </a:lnTo>
                    <a:lnTo>
                      <a:pt x="5" y="553"/>
                    </a:lnTo>
                    <a:lnTo>
                      <a:pt x="5" y="552"/>
                    </a:lnTo>
                    <a:lnTo>
                      <a:pt x="3" y="552"/>
                    </a:lnTo>
                    <a:lnTo>
                      <a:pt x="3" y="550"/>
                    </a:lnTo>
                    <a:lnTo>
                      <a:pt x="1" y="550"/>
                    </a:lnTo>
                    <a:lnTo>
                      <a:pt x="1" y="549"/>
                    </a:lnTo>
                    <a:lnTo>
                      <a:pt x="0" y="547"/>
                    </a:lnTo>
                    <a:lnTo>
                      <a:pt x="1" y="547"/>
                    </a:lnTo>
                    <a:lnTo>
                      <a:pt x="1" y="545"/>
                    </a:lnTo>
                    <a:lnTo>
                      <a:pt x="1" y="544"/>
                    </a:lnTo>
                    <a:lnTo>
                      <a:pt x="3" y="544"/>
                    </a:lnTo>
                    <a:lnTo>
                      <a:pt x="3" y="542"/>
                    </a:lnTo>
                    <a:lnTo>
                      <a:pt x="5" y="541"/>
                    </a:lnTo>
                    <a:lnTo>
                      <a:pt x="6" y="539"/>
                    </a:lnTo>
                    <a:lnTo>
                      <a:pt x="6" y="537"/>
                    </a:lnTo>
                    <a:lnTo>
                      <a:pt x="8" y="536"/>
                    </a:lnTo>
                    <a:lnTo>
                      <a:pt x="8" y="534"/>
                    </a:lnTo>
                    <a:lnTo>
                      <a:pt x="8" y="533"/>
                    </a:lnTo>
                    <a:lnTo>
                      <a:pt x="9" y="531"/>
                    </a:lnTo>
                    <a:lnTo>
                      <a:pt x="9" y="530"/>
                    </a:lnTo>
                    <a:lnTo>
                      <a:pt x="11" y="530"/>
                    </a:lnTo>
                    <a:lnTo>
                      <a:pt x="11" y="528"/>
                    </a:lnTo>
                    <a:lnTo>
                      <a:pt x="13" y="528"/>
                    </a:lnTo>
                    <a:lnTo>
                      <a:pt x="13" y="526"/>
                    </a:lnTo>
                    <a:lnTo>
                      <a:pt x="13" y="525"/>
                    </a:lnTo>
                    <a:lnTo>
                      <a:pt x="14" y="525"/>
                    </a:lnTo>
                    <a:lnTo>
                      <a:pt x="14" y="523"/>
                    </a:lnTo>
                    <a:lnTo>
                      <a:pt x="16" y="523"/>
                    </a:lnTo>
                    <a:lnTo>
                      <a:pt x="16" y="522"/>
                    </a:lnTo>
                    <a:lnTo>
                      <a:pt x="16" y="520"/>
                    </a:lnTo>
                    <a:lnTo>
                      <a:pt x="17" y="518"/>
                    </a:lnTo>
                    <a:lnTo>
                      <a:pt x="19" y="518"/>
                    </a:lnTo>
                    <a:lnTo>
                      <a:pt x="19" y="517"/>
                    </a:lnTo>
                    <a:lnTo>
                      <a:pt x="19" y="515"/>
                    </a:lnTo>
                    <a:lnTo>
                      <a:pt x="20" y="514"/>
                    </a:lnTo>
                    <a:lnTo>
                      <a:pt x="22" y="514"/>
                    </a:lnTo>
                    <a:lnTo>
                      <a:pt x="22" y="512"/>
                    </a:lnTo>
                    <a:lnTo>
                      <a:pt x="22" y="511"/>
                    </a:lnTo>
                    <a:lnTo>
                      <a:pt x="22" y="509"/>
                    </a:lnTo>
                    <a:lnTo>
                      <a:pt x="22" y="507"/>
                    </a:lnTo>
                    <a:lnTo>
                      <a:pt x="22" y="506"/>
                    </a:lnTo>
                    <a:lnTo>
                      <a:pt x="22" y="504"/>
                    </a:lnTo>
                    <a:lnTo>
                      <a:pt x="20" y="504"/>
                    </a:lnTo>
                    <a:lnTo>
                      <a:pt x="22" y="503"/>
                    </a:lnTo>
                    <a:lnTo>
                      <a:pt x="24" y="503"/>
                    </a:lnTo>
                    <a:lnTo>
                      <a:pt x="25" y="503"/>
                    </a:lnTo>
                    <a:lnTo>
                      <a:pt x="25" y="501"/>
                    </a:lnTo>
                    <a:lnTo>
                      <a:pt x="25" y="499"/>
                    </a:lnTo>
                    <a:lnTo>
                      <a:pt x="27" y="499"/>
                    </a:lnTo>
                    <a:lnTo>
                      <a:pt x="27" y="498"/>
                    </a:lnTo>
                    <a:lnTo>
                      <a:pt x="28" y="496"/>
                    </a:lnTo>
                    <a:lnTo>
                      <a:pt x="28" y="495"/>
                    </a:lnTo>
                    <a:lnTo>
                      <a:pt x="30" y="493"/>
                    </a:lnTo>
                    <a:lnTo>
                      <a:pt x="30" y="491"/>
                    </a:lnTo>
                    <a:lnTo>
                      <a:pt x="30" y="490"/>
                    </a:lnTo>
                    <a:lnTo>
                      <a:pt x="32" y="488"/>
                    </a:lnTo>
                    <a:lnTo>
                      <a:pt x="32" y="487"/>
                    </a:lnTo>
                    <a:lnTo>
                      <a:pt x="33" y="487"/>
                    </a:lnTo>
                    <a:lnTo>
                      <a:pt x="33" y="485"/>
                    </a:lnTo>
                    <a:lnTo>
                      <a:pt x="33" y="484"/>
                    </a:lnTo>
                    <a:lnTo>
                      <a:pt x="33" y="482"/>
                    </a:lnTo>
                    <a:lnTo>
                      <a:pt x="33" y="480"/>
                    </a:lnTo>
                    <a:lnTo>
                      <a:pt x="35" y="479"/>
                    </a:lnTo>
                    <a:lnTo>
                      <a:pt x="35" y="477"/>
                    </a:lnTo>
                    <a:lnTo>
                      <a:pt x="36" y="476"/>
                    </a:lnTo>
                    <a:lnTo>
                      <a:pt x="36" y="474"/>
                    </a:lnTo>
                    <a:lnTo>
                      <a:pt x="38" y="472"/>
                    </a:lnTo>
                    <a:lnTo>
                      <a:pt x="39" y="472"/>
                    </a:lnTo>
                    <a:lnTo>
                      <a:pt x="47" y="468"/>
                    </a:lnTo>
                    <a:lnTo>
                      <a:pt x="49" y="468"/>
                    </a:lnTo>
                    <a:lnTo>
                      <a:pt x="51" y="468"/>
                    </a:lnTo>
                    <a:lnTo>
                      <a:pt x="51" y="466"/>
                    </a:lnTo>
                    <a:lnTo>
                      <a:pt x="54" y="465"/>
                    </a:lnTo>
                    <a:lnTo>
                      <a:pt x="57" y="463"/>
                    </a:lnTo>
                    <a:lnTo>
                      <a:pt x="58" y="463"/>
                    </a:lnTo>
                    <a:lnTo>
                      <a:pt x="60" y="461"/>
                    </a:lnTo>
                    <a:lnTo>
                      <a:pt x="62" y="461"/>
                    </a:lnTo>
                    <a:lnTo>
                      <a:pt x="65" y="461"/>
                    </a:lnTo>
                    <a:lnTo>
                      <a:pt x="66" y="461"/>
                    </a:lnTo>
                    <a:lnTo>
                      <a:pt x="66" y="463"/>
                    </a:lnTo>
                    <a:lnTo>
                      <a:pt x="70" y="463"/>
                    </a:lnTo>
                    <a:lnTo>
                      <a:pt x="71" y="465"/>
                    </a:lnTo>
                    <a:lnTo>
                      <a:pt x="73" y="465"/>
                    </a:lnTo>
                    <a:lnTo>
                      <a:pt x="74" y="466"/>
                    </a:lnTo>
                    <a:lnTo>
                      <a:pt x="77" y="466"/>
                    </a:lnTo>
                    <a:lnTo>
                      <a:pt x="77" y="465"/>
                    </a:lnTo>
                    <a:lnTo>
                      <a:pt x="79" y="465"/>
                    </a:lnTo>
                    <a:lnTo>
                      <a:pt x="79" y="461"/>
                    </a:lnTo>
                    <a:lnTo>
                      <a:pt x="81" y="461"/>
                    </a:lnTo>
                    <a:lnTo>
                      <a:pt x="84" y="458"/>
                    </a:lnTo>
                    <a:lnTo>
                      <a:pt x="89" y="450"/>
                    </a:lnTo>
                    <a:lnTo>
                      <a:pt x="90" y="450"/>
                    </a:lnTo>
                    <a:lnTo>
                      <a:pt x="92" y="449"/>
                    </a:lnTo>
                    <a:lnTo>
                      <a:pt x="93" y="447"/>
                    </a:lnTo>
                    <a:lnTo>
                      <a:pt x="95" y="447"/>
                    </a:lnTo>
                    <a:lnTo>
                      <a:pt x="97" y="447"/>
                    </a:lnTo>
                    <a:lnTo>
                      <a:pt x="97" y="449"/>
                    </a:lnTo>
                    <a:lnTo>
                      <a:pt x="98" y="449"/>
                    </a:lnTo>
                    <a:lnTo>
                      <a:pt x="100" y="449"/>
                    </a:lnTo>
                    <a:lnTo>
                      <a:pt x="103" y="452"/>
                    </a:lnTo>
                    <a:lnTo>
                      <a:pt x="104" y="453"/>
                    </a:lnTo>
                    <a:lnTo>
                      <a:pt x="106" y="455"/>
                    </a:lnTo>
                    <a:lnTo>
                      <a:pt x="108" y="455"/>
                    </a:lnTo>
                    <a:lnTo>
                      <a:pt x="109" y="455"/>
                    </a:lnTo>
                    <a:lnTo>
                      <a:pt x="111" y="457"/>
                    </a:lnTo>
                    <a:lnTo>
                      <a:pt x="112" y="458"/>
                    </a:lnTo>
                    <a:lnTo>
                      <a:pt x="114" y="458"/>
                    </a:lnTo>
                    <a:lnTo>
                      <a:pt x="117" y="457"/>
                    </a:lnTo>
                    <a:lnTo>
                      <a:pt x="119" y="457"/>
                    </a:lnTo>
                    <a:lnTo>
                      <a:pt x="119" y="455"/>
                    </a:lnTo>
                    <a:lnTo>
                      <a:pt x="120" y="455"/>
                    </a:lnTo>
                    <a:lnTo>
                      <a:pt x="120" y="453"/>
                    </a:lnTo>
                    <a:lnTo>
                      <a:pt x="125" y="452"/>
                    </a:lnTo>
                    <a:lnTo>
                      <a:pt x="130" y="450"/>
                    </a:lnTo>
                    <a:lnTo>
                      <a:pt x="133" y="446"/>
                    </a:lnTo>
                    <a:lnTo>
                      <a:pt x="133" y="444"/>
                    </a:lnTo>
                    <a:lnTo>
                      <a:pt x="135" y="444"/>
                    </a:lnTo>
                    <a:lnTo>
                      <a:pt x="135" y="442"/>
                    </a:lnTo>
                    <a:lnTo>
                      <a:pt x="136" y="438"/>
                    </a:lnTo>
                    <a:lnTo>
                      <a:pt x="139" y="438"/>
                    </a:lnTo>
                    <a:lnTo>
                      <a:pt x="139" y="436"/>
                    </a:lnTo>
                    <a:lnTo>
                      <a:pt x="141" y="436"/>
                    </a:lnTo>
                    <a:lnTo>
                      <a:pt x="142" y="434"/>
                    </a:lnTo>
                    <a:lnTo>
                      <a:pt x="141" y="434"/>
                    </a:lnTo>
                    <a:lnTo>
                      <a:pt x="139" y="434"/>
                    </a:lnTo>
                    <a:lnTo>
                      <a:pt x="139" y="433"/>
                    </a:lnTo>
                    <a:lnTo>
                      <a:pt x="139" y="430"/>
                    </a:lnTo>
                    <a:lnTo>
                      <a:pt x="141" y="425"/>
                    </a:lnTo>
                    <a:lnTo>
                      <a:pt x="141" y="423"/>
                    </a:lnTo>
                    <a:lnTo>
                      <a:pt x="139" y="422"/>
                    </a:lnTo>
                    <a:lnTo>
                      <a:pt x="139" y="420"/>
                    </a:lnTo>
                    <a:lnTo>
                      <a:pt x="139" y="419"/>
                    </a:lnTo>
                    <a:lnTo>
                      <a:pt x="138" y="412"/>
                    </a:lnTo>
                    <a:lnTo>
                      <a:pt x="138" y="411"/>
                    </a:lnTo>
                    <a:lnTo>
                      <a:pt x="138" y="409"/>
                    </a:lnTo>
                    <a:lnTo>
                      <a:pt x="138" y="406"/>
                    </a:lnTo>
                    <a:lnTo>
                      <a:pt x="138" y="404"/>
                    </a:lnTo>
                    <a:lnTo>
                      <a:pt x="139" y="404"/>
                    </a:lnTo>
                    <a:lnTo>
                      <a:pt x="139" y="403"/>
                    </a:lnTo>
                    <a:lnTo>
                      <a:pt x="139" y="401"/>
                    </a:lnTo>
                    <a:lnTo>
                      <a:pt x="139" y="400"/>
                    </a:lnTo>
                    <a:lnTo>
                      <a:pt x="139" y="398"/>
                    </a:lnTo>
                    <a:lnTo>
                      <a:pt x="139" y="395"/>
                    </a:lnTo>
                    <a:lnTo>
                      <a:pt x="141" y="392"/>
                    </a:lnTo>
                    <a:lnTo>
                      <a:pt x="142" y="387"/>
                    </a:lnTo>
                    <a:lnTo>
                      <a:pt x="146" y="381"/>
                    </a:lnTo>
                    <a:lnTo>
                      <a:pt x="146" y="379"/>
                    </a:lnTo>
                    <a:lnTo>
                      <a:pt x="147" y="377"/>
                    </a:lnTo>
                    <a:lnTo>
                      <a:pt x="149" y="374"/>
                    </a:lnTo>
                    <a:lnTo>
                      <a:pt x="150" y="368"/>
                    </a:lnTo>
                    <a:lnTo>
                      <a:pt x="155" y="362"/>
                    </a:lnTo>
                    <a:lnTo>
                      <a:pt x="155" y="357"/>
                    </a:lnTo>
                    <a:lnTo>
                      <a:pt x="149" y="346"/>
                    </a:lnTo>
                    <a:lnTo>
                      <a:pt x="149" y="344"/>
                    </a:lnTo>
                    <a:lnTo>
                      <a:pt x="147" y="344"/>
                    </a:lnTo>
                    <a:lnTo>
                      <a:pt x="147" y="343"/>
                    </a:lnTo>
                    <a:lnTo>
                      <a:pt x="144" y="339"/>
                    </a:lnTo>
                    <a:lnTo>
                      <a:pt x="144" y="338"/>
                    </a:lnTo>
                    <a:lnTo>
                      <a:pt x="139" y="332"/>
                    </a:lnTo>
                    <a:lnTo>
                      <a:pt x="136" y="328"/>
                    </a:lnTo>
                    <a:lnTo>
                      <a:pt x="135" y="324"/>
                    </a:lnTo>
                    <a:lnTo>
                      <a:pt x="133" y="320"/>
                    </a:lnTo>
                    <a:lnTo>
                      <a:pt x="127" y="309"/>
                    </a:lnTo>
                    <a:lnTo>
                      <a:pt x="125" y="308"/>
                    </a:lnTo>
                    <a:lnTo>
                      <a:pt x="125" y="309"/>
                    </a:lnTo>
                    <a:lnTo>
                      <a:pt x="123" y="309"/>
                    </a:lnTo>
                    <a:lnTo>
                      <a:pt x="122" y="309"/>
                    </a:lnTo>
                    <a:lnTo>
                      <a:pt x="122" y="311"/>
                    </a:lnTo>
                    <a:lnTo>
                      <a:pt x="122" y="312"/>
                    </a:lnTo>
                    <a:lnTo>
                      <a:pt x="120" y="312"/>
                    </a:lnTo>
                    <a:lnTo>
                      <a:pt x="120" y="311"/>
                    </a:lnTo>
                    <a:lnTo>
                      <a:pt x="119" y="311"/>
                    </a:lnTo>
                    <a:lnTo>
                      <a:pt x="117" y="312"/>
                    </a:lnTo>
                    <a:lnTo>
                      <a:pt x="117" y="311"/>
                    </a:lnTo>
                    <a:lnTo>
                      <a:pt x="119" y="311"/>
                    </a:lnTo>
                    <a:lnTo>
                      <a:pt x="119" y="309"/>
                    </a:lnTo>
                    <a:lnTo>
                      <a:pt x="120" y="308"/>
                    </a:lnTo>
                    <a:lnTo>
                      <a:pt x="122" y="306"/>
                    </a:lnTo>
                    <a:lnTo>
                      <a:pt x="123" y="306"/>
                    </a:lnTo>
                    <a:lnTo>
                      <a:pt x="123" y="305"/>
                    </a:lnTo>
                    <a:lnTo>
                      <a:pt x="125" y="305"/>
                    </a:lnTo>
                    <a:lnTo>
                      <a:pt x="127" y="303"/>
                    </a:lnTo>
                    <a:lnTo>
                      <a:pt x="127" y="301"/>
                    </a:lnTo>
                    <a:lnTo>
                      <a:pt x="128" y="300"/>
                    </a:lnTo>
                    <a:lnTo>
                      <a:pt x="128" y="298"/>
                    </a:lnTo>
                    <a:lnTo>
                      <a:pt x="130" y="298"/>
                    </a:lnTo>
                    <a:lnTo>
                      <a:pt x="130" y="297"/>
                    </a:lnTo>
                    <a:lnTo>
                      <a:pt x="130" y="295"/>
                    </a:lnTo>
                    <a:lnTo>
                      <a:pt x="128" y="292"/>
                    </a:lnTo>
                    <a:lnTo>
                      <a:pt x="130" y="292"/>
                    </a:lnTo>
                    <a:lnTo>
                      <a:pt x="131" y="289"/>
                    </a:lnTo>
                    <a:lnTo>
                      <a:pt x="133" y="289"/>
                    </a:lnTo>
                    <a:lnTo>
                      <a:pt x="133" y="287"/>
                    </a:lnTo>
                    <a:lnTo>
                      <a:pt x="133" y="286"/>
                    </a:lnTo>
                    <a:lnTo>
                      <a:pt x="133" y="282"/>
                    </a:lnTo>
                    <a:lnTo>
                      <a:pt x="130" y="281"/>
                    </a:lnTo>
                    <a:lnTo>
                      <a:pt x="128" y="281"/>
                    </a:lnTo>
                    <a:lnTo>
                      <a:pt x="128" y="279"/>
                    </a:lnTo>
                    <a:lnTo>
                      <a:pt x="130" y="278"/>
                    </a:lnTo>
                    <a:lnTo>
                      <a:pt x="131" y="276"/>
                    </a:lnTo>
                    <a:lnTo>
                      <a:pt x="131" y="271"/>
                    </a:lnTo>
                    <a:lnTo>
                      <a:pt x="131" y="265"/>
                    </a:lnTo>
                    <a:lnTo>
                      <a:pt x="131" y="263"/>
                    </a:lnTo>
                    <a:lnTo>
                      <a:pt x="131" y="260"/>
                    </a:lnTo>
                    <a:lnTo>
                      <a:pt x="133" y="259"/>
                    </a:lnTo>
                    <a:lnTo>
                      <a:pt x="133" y="257"/>
                    </a:lnTo>
                    <a:lnTo>
                      <a:pt x="135" y="254"/>
                    </a:lnTo>
                    <a:lnTo>
                      <a:pt x="135" y="252"/>
                    </a:lnTo>
                    <a:lnTo>
                      <a:pt x="133" y="251"/>
                    </a:lnTo>
                    <a:lnTo>
                      <a:pt x="133" y="249"/>
                    </a:lnTo>
                    <a:lnTo>
                      <a:pt x="133" y="248"/>
                    </a:lnTo>
                    <a:lnTo>
                      <a:pt x="131" y="248"/>
                    </a:lnTo>
                    <a:lnTo>
                      <a:pt x="128" y="246"/>
                    </a:lnTo>
                    <a:lnTo>
                      <a:pt x="128" y="244"/>
                    </a:lnTo>
                    <a:lnTo>
                      <a:pt x="130" y="241"/>
                    </a:lnTo>
                    <a:lnTo>
                      <a:pt x="131" y="240"/>
                    </a:lnTo>
                    <a:lnTo>
                      <a:pt x="131" y="238"/>
                    </a:lnTo>
                    <a:lnTo>
                      <a:pt x="131" y="235"/>
                    </a:lnTo>
                    <a:lnTo>
                      <a:pt x="131" y="233"/>
                    </a:lnTo>
                    <a:lnTo>
                      <a:pt x="130" y="232"/>
                    </a:lnTo>
                    <a:lnTo>
                      <a:pt x="130" y="229"/>
                    </a:lnTo>
                    <a:lnTo>
                      <a:pt x="131" y="225"/>
                    </a:lnTo>
                    <a:lnTo>
                      <a:pt x="133" y="224"/>
                    </a:lnTo>
                    <a:lnTo>
                      <a:pt x="135" y="224"/>
                    </a:lnTo>
                    <a:lnTo>
                      <a:pt x="135" y="222"/>
                    </a:lnTo>
                    <a:lnTo>
                      <a:pt x="135" y="221"/>
                    </a:lnTo>
                    <a:lnTo>
                      <a:pt x="135" y="217"/>
                    </a:lnTo>
                    <a:lnTo>
                      <a:pt x="133" y="217"/>
                    </a:lnTo>
                    <a:lnTo>
                      <a:pt x="131" y="213"/>
                    </a:lnTo>
                    <a:lnTo>
                      <a:pt x="122" y="200"/>
                    </a:lnTo>
                    <a:lnTo>
                      <a:pt x="122" y="198"/>
                    </a:lnTo>
                    <a:lnTo>
                      <a:pt x="120" y="198"/>
                    </a:lnTo>
                    <a:lnTo>
                      <a:pt x="120" y="197"/>
                    </a:lnTo>
                    <a:lnTo>
                      <a:pt x="119" y="197"/>
                    </a:lnTo>
                    <a:lnTo>
                      <a:pt x="119" y="195"/>
                    </a:lnTo>
                    <a:lnTo>
                      <a:pt x="117" y="194"/>
                    </a:lnTo>
                    <a:lnTo>
                      <a:pt x="117" y="192"/>
                    </a:lnTo>
                    <a:lnTo>
                      <a:pt x="116" y="192"/>
                    </a:lnTo>
                    <a:lnTo>
                      <a:pt x="116" y="191"/>
                    </a:lnTo>
                    <a:lnTo>
                      <a:pt x="114" y="189"/>
                    </a:lnTo>
                    <a:lnTo>
                      <a:pt x="114" y="187"/>
                    </a:lnTo>
                    <a:lnTo>
                      <a:pt x="112" y="187"/>
                    </a:lnTo>
                    <a:lnTo>
                      <a:pt x="112" y="186"/>
                    </a:lnTo>
                    <a:lnTo>
                      <a:pt x="111" y="186"/>
                    </a:lnTo>
                    <a:lnTo>
                      <a:pt x="111" y="184"/>
                    </a:lnTo>
                    <a:lnTo>
                      <a:pt x="109" y="183"/>
                    </a:lnTo>
                    <a:lnTo>
                      <a:pt x="109" y="181"/>
                    </a:lnTo>
                    <a:lnTo>
                      <a:pt x="108" y="181"/>
                    </a:lnTo>
                    <a:lnTo>
                      <a:pt x="108" y="179"/>
                    </a:lnTo>
                    <a:lnTo>
                      <a:pt x="106" y="179"/>
                    </a:lnTo>
                    <a:lnTo>
                      <a:pt x="106" y="178"/>
                    </a:lnTo>
                    <a:lnTo>
                      <a:pt x="104" y="170"/>
                    </a:lnTo>
                    <a:lnTo>
                      <a:pt x="104" y="168"/>
                    </a:lnTo>
                    <a:lnTo>
                      <a:pt x="104" y="159"/>
                    </a:lnTo>
                    <a:lnTo>
                      <a:pt x="103" y="154"/>
                    </a:lnTo>
                    <a:lnTo>
                      <a:pt x="103" y="153"/>
                    </a:lnTo>
                    <a:lnTo>
                      <a:pt x="101" y="151"/>
                    </a:lnTo>
                    <a:lnTo>
                      <a:pt x="98" y="148"/>
                    </a:lnTo>
                    <a:lnTo>
                      <a:pt x="97" y="146"/>
                    </a:lnTo>
                    <a:lnTo>
                      <a:pt x="93" y="145"/>
                    </a:lnTo>
                    <a:lnTo>
                      <a:pt x="92" y="143"/>
                    </a:lnTo>
                    <a:lnTo>
                      <a:pt x="90" y="141"/>
                    </a:lnTo>
                    <a:lnTo>
                      <a:pt x="85" y="138"/>
                    </a:lnTo>
                    <a:lnTo>
                      <a:pt x="85" y="137"/>
                    </a:lnTo>
                    <a:lnTo>
                      <a:pt x="84" y="137"/>
                    </a:lnTo>
                    <a:lnTo>
                      <a:pt x="82" y="137"/>
                    </a:lnTo>
                    <a:lnTo>
                      <a:pt x="82" y="135"/>
                    </a:lnTo>
                    <a:lnTo>
                      <a:pt x="82" y="134"/>
                    </a:lnTo>
                    <a:lnTo>
                      <a:pt x="79" y="134"/>
                    </a:lnTo>
                    <a:lnTo>
                      <a:pt x="73" y="132"/>
                    </a:lnTo>
                    <a:lnTo>
                      <a:pt x="63" y="129"/>
                    </a:lnTo>
                    <a:lnTo>
                      <a:pt x="62" y="122"/>
                    </a:lnTo>
                    <a:lnTo>
                      <a:pt x="60" y="122"/>
                    </a:lnTo>
                    <a:lnTo>
                      <a:pt x="60" y="121"/>
                    </a:lnTo>
                    <a:lnTo>
                      <a:pt x="58" y="119"/>
                    </a:lnTo>
                    <a:lnTo>
                      <a:pt x="57" y="119"/>
                    </a:lnTo>
                    <a:lnTo>
                      <a:pt x="55" y="121"/>
                    </a:lnTo>
                    <a:lnTo>
                      <a:pt x="54" y="121"/>
                    </a:lnTo>
                    <a:lnTo>
                      <a:pt x="54" y="119"/>
                    </a:lnTo>
                    <a:lnTo>
                      <a:pt x="52" y="119"/>
                    </a:lnTo>
                    <a:lnTo>
                      <a:pt x="51" y="118"/>
                    </a:lnTo>
                    <a:lnTo>
                      <a:pt x="49" y="118"/>
                    </a:lnTo>
                    <a:lnTo>
                      <a:pt x="47" y="118"/>
                    </a:lnTo>
                    <a:lnTo>
                      <a:pt x="46" y="118"/>
                    </a:lnTo>
                    <a:lnTo>
                      <a:pt x="46" y="116"/>
                    </a:lnTo>
                    <a:lnTo>
                      <a:pt x="46" y="113"/>
                    </a:lnTo>
                    <a:lnTo>
                      <a:pt x="44" y="113"/>
                    </a:lnTo>
                    <a:lnTo>
                      <a:pt x="44" y="111"/>
                    </a:lnTo>
                    <a:lnTo>
                      <a:pt x="43" y="108"/>
                    </a:lnTo>
                    <a:lnTo>
                      <a:pt x="43" y="107"/>
                    </a:lnTo>
                    <a:lnTo>
                      <a:pt x="43" y="105"/>
                    </a:lnTo>
                    <a:lnTo>
                      <a:pt x="43" y="103"/>
                    </a:lnTo>
                    <a:lnTo>
                      <a:pt x="43" y="102"/>
                    </a:lnTo>
                    <a:lnTo>
                      <a:pt x="43" y="99"/>
                    </a:lnTo>
                    <a:lnTo>
                      <a:pt x="41" y="99"/>
                    </a:lnTo>
                    <a:lnTo>
                      <a:pt x="41" y="97"/>
                    </a:lnTo>
                    <a:lnTo>
                      <a:pt x="39" y="95"/>
                    </a:lnTo>
                    <a:lnTo>
                      <a:pt x="38" y="91"/>
                    </a:lnTo>
                    <a:lnTo>
                      <a:pt x="38" y="86"/>
                    </a:lnTo>
                    <a:lnTo>
                      <a:pt x="36" y="86"/>
                    </a:lnTo>
                    <a:lnTo>
                      <a:pt x="36" y="84"/>
                    </a:lnTo>
                    <a:lnTo>
                      <a:pt x="33" y="80"/>
                    </a:lnTo>
                    <a:lnTo>
                      <a:pt x="32" y="75"/>
                    </a:lnTo>
                    <a:lnTo>
                      <a:pt x="30" y="73"/>
                    </a:lnTo>
                    <a:lnTo>
                      <a:pt x="30" y="72"/>
                    </a:lnTo>
                    <a:lnTo>
                      <a:pt x="30" y="70"/>
                    </a:lnTo>
                    <a:lnTo>
                      <a:pt x="28" y="70"/>
                    </a:lnTo>
                    <a:lnTo>
                      <a:pt x="28" y="69"/>
                    </a:lnTo>
                    <a:lnTo>
                      <a:pt x="28" y="67"/>
                    </a:lnTo>
                    <a:lnTo>
                      <a:pt x="25" y="64"/>
                    </a:lnTo>
                    <a:lnTo>
                      <a:pt x="25" y="62"/>
                    </a:lnTo>
                    <a:lnTo>
                      <a:pt x="24" y="62"/>
                    </a:lnTo>
                    <a:lnTo>
                      <a:pt x="20" y="62"/>
                    </a:lnTo>
                    <a:lnTo>
                      <a:pt x="17" y="62"/>
                    </a:lnTo>
                    <a:lnTo>
                      <a:pt x="16" y="62"/>
                    </a:lnTo>
                    <a:lnTo>
                      <a:pt x="16" y="61"/>
                    </a:lnTo>
                    <a:lnTo>
                      <a:pt x="14" y="56"/>
                    </a:lnTo>
                    <a:lnTo>
                      <a:pt x="17" y="50"/>
                    </a:lnTo>
                    <a:lnTo>
                      <a:pt x="17" y="48"/>
                    </a:lnTo>
                    <a:lnTo>
                      <a:pt x="17" y="46"/>
                    </a:lnTo>
                    <a:lnTo>
                      <a:pt x="16" y="46"/>
                    </a:lnTo>
                    <a:lnTo>
                      <a:pt x="14" y="46"/>
                    </a:lnTo>
                    <a:lnTo>
                      <a:pt x="13" y="46"/>
                    </a:lnTo>
                    <a:lnTo>
                      <a:pt x="11" y="45"/>
                    </a:lnTo>
                    <a:lnTo>
                      <a:pt x="11" y="43"/>
                    </a:lnTo>
                    <a:lnTo>
                      <a:pt x="13" y="40"/>
                    </a:lnTo>
                    <a:lnTo>
                      <a:pt x="13" y="37"/>
                    </a:lnTo>
                    <a:lnTo>
                      <a:pt x="13" y="35"/>
                    </a:lnTo>
                    <a:lnTo>
                      <a:pt x="19" y="27"/>
                    </a:lnTo>
                    <a:lnTo>
                      <a:pt x="20" y="24"/>
                    </a:lnTo>
                    <a:lnTo>
                      <a:pt x="22" y="24"/>
                    </a:lnTo>
                    <a:lnTo>
                      <a:pt x="24" y="24"/>
                    </a:lnTo>
                    <a:lnTo>
                      <a:pt x="24" y="26"/>
                    </a:lnTo>
                    <a:lnTo>
                      <a:pt x="25" y="26"/>
                    </a:lnTo>
                    <a:lnTo>
                      <a:pt x="25" y="27"/>
                    </a:lnTo>
                    <a:lnTo>
                      <a:pt x="27" y="27"/>
                    </a:lnTo>
                    <a:lnTo>
                      <a:pt x="27" y="29"/>
                    </a:lnTo>
                    <a:lnTo>
                      <a:pt x="28" y="29"/>
                    </a:lnTo>
                    <a:lnTo>
                      <a:pt x="30" y="29"/>
                    </a:lnTo>
                    <a:lnTo>
                      <a:pt x="30" y="31"/>
                    </a:lnTo>
                    <a:lnTo>
                      <a:pt x="30" y="29"/>
                    </a:lnTo>
                    <a:lnTo>
                      <a:pt x="32" y="29"/>
                    </a:lnTo>
                    <a:lnTo>
                      <a:pt x="32" y="31"/>
                    </a:lnTo>
                    <a:lnTo>
                      <a:pt x="33" y="31"/>
                    </a:lnTo>
                    <a:lnTo>
                      <a:pt x="35" y="31"/>
                    </a:lnTo>
                    <a:lnTo>
                      <a:pt x="36" y="31"/>
                    </a:lnTo>
                    <a:lnTo>
                      <a:pt x="38" y="31"/>
                    </a:lnTo>
                    <a:lnTo>
                      <a:pt x="39" y="31"/>
                    </a:lnTo>
                    <a:lnTo>
                      <a:pt x="41" y="29"/>
                    </a:lnTo>
                    <a:lnTo>
                      <a:pt x="43" y="29"/>
                    </a:lnTo>
                    <a:lnTo>
                      <a:pt x="44" y="29"/>
                    </a:lnTo>
                    <a:lnTo>
                      <a:pt x="44" y="27"/>
                    </a:lnTo>
                    <a:lnTo>
                      <a:pt x="46" y="27"/>
                    </a:lnTo>
                    <a:lnTo>
                      <a:pt x="47" y="27"/>
                    </a:lnTo>
                    <a:lnTo>
                      <a:pt x="49" y="27"/>
                    </a:lnTo>
                    <a:lnTo>
                      <a:pt x="51" y="27"/>
                    </a:lnTo>
                    <a:lnTo>
                      <a:pt x="51" y="26"/>
                    </a:lnTo>
                    <a:lnTo>
                      <a:pt x="52" y="27"/>
                    </a:lnTo>
                    <a:lnTo>
                      <a:pt x="52" y="26"/>
                    </a:lnTo>
                    <a:lnTo>
                      <a:pt x="54" y="26"/>
                    </a:lnTo>
                    <a:lnTo>
                      <a:pt x="55" y="26"/>
                    </a:lnTo>
                    <a:lnTo>
                      <a:pt x="57" y="26"/>
                    </a:lnTo>
                    <a:lnTo>
                      <a:pt x="57" y="27"/>
                    </a:lnTo>
                    <a:lnTo>
                      <a:pt x="58" y="27"/>
                    </a:lnTo>
                    <a:lnTo>
                      <a:pt x="60" y="27"/>
                    </a:lnTo>
                    <a:lnTo>
                      <a:pt x="62" y="27"/>
                    </a:lnTo>
                    <a:lnTo>
                      <a:pt x="63" y="27"/>
                    </a:lnTo>
                    <a:lnTo>
                      <a:pt x="65" y="27"/>
                    </a:lnTo>
                    <a:lnTo>
                      <a:pt x="66" y="27"/>
                    </a:lnTo>
                    <a:lnTo>
                      <a:pt x="66" y="29"/>
                    </a:lnTo>
                    <a:lnTo>
                      <a:pt x="68" y="29"/>
                    </a:lnTo>
                    <a:lnTo>
                      <a:pt x="70" y="29"/>
                    </a:lnTo>
                    <a:lnTo>
                      <a:pt x="70" y="27"/>
                    </a:lnTo>
                    <a:lnTo>
                      <a:pt x="71" y="27"/>
                    </a:lnTo>
                    <a:lnTo>
                      <a:pt x="73" y="27"/>
                    </a:lnTo>
                    <a:lnTo>
                      <a:pt x="74" y="27"/>
                    </a:lnTo>
                    <a:lnTo>
                      <a:pt x="76" y="27"/>
                    </a:lnTo>
                    <a:lnTo>
                      <a:pt x="76" y="26"/>
                    </a:lnTo>
                    <a:lnTo>
                      <a:pt x="77" y="26"/>
                    </a:lnTo>
                    <a:lnTo>
                      <a:pt x="79" y="26"/>
                    </a:lnTo>
                    <a:lnTo>
                      <a:pt x="79" y="24"/>
                    </a:lnTo>
                    <a:lnTo>
                      <a:pt x="81" y="24"/>
                    </a:lnTo>
                    <a:lnTo>
                      <a:pt x="81" y="23"/>
                    </a:lnTo>
                    <a:lnTo>
                      <a:pt x="81" y="21"/>
                    </a:lnTo>
                    <a:lnTo>
                      <a:pt x="81" y="19"/>
                    </a:lnTo>
                    <a:lnTo>
                      <a:pt x="82" y="19"/>
                    </a:lnTo>
                    <a:lnTo>
                      <a:pt x="82" y="18"/>
                    </a:lnTo>
                    <a:lnTo>
                      <a:pt x="84" y="18"/>
                    </a:lnTo>
                    <a:lnTo>
                      <a:pt x="84" y="16"/>
                    </a:lnTo>
                    <a:lnTo>
                      <a:pt x="85" y="16"/>
                    </a:lnTo>
                    <a:lnTo>
                      <a:pt x="85" y="15"/>
                    </a:lnTo>
                    <a:lnTo>
                      <a:pt x="87" y="15"/>
                    </a:lnTo>
                    <a:lnTo>
                      <a:pt x="87" y="13"/>
                    </a:lnTo>
                    <a:lnTo>
                      <a:pt x="89" y="13"/>
                    </a:lnTo>
                    <a:lnTo>
                      <a:pt x="90" y="13"/>
                    </a:lnTo>
                    <a:lnTo>
                      <a:pt x="90" y="12"/>
                    </a:lnTo>
                    <a:lnTo>
                      <a:pt x="92" y="12"/>
                    </a:lnTo>
                    <a:lnTo>
                      <a:pt x="93" y="12"/>
                    </a:lnTo>
                    <a:lnTo>
                      <a:pt x="93" y="10"/>
                    </a:lnTo>
                    <a:lnTo>
                      <a:pt x="95" y="10"/>
                    </a:lnTo>
                    <a:lnTo>
                      <a:pt x="97" y="10"/>
                    </a:lnTo>
                    <a:lnTo>
                      <a:pt x="98" y="10"/>
                    </a:lnTo>
                    <a:lnTo>
                      <a:pt x="100" y="10"/>
                    </a:lnTo>
                    <a:lnTo>
                      <a:pt x="100" y="8"/>
                    </a:lnTo>
                    <a:lnTo>
                      <a:pt x="101" y="8"/>
                    </a:lnTo>
                    <a:lnTo>
                      <a:pt x="103" y="8"/>
                    </a:lnTo>
                    <a:lnTo>
                      <a:pt x="104" y="8"/>
                    </a:lnTo>
                    <a:lnTo>
                      <a:pt x="104" y="7"/>
                    </a:lnTo>
                    <a:lnTo>
                      <a:pt x="106" y="7"/>
                    </a:lnTo>
                    <a:lnTo>
                      <a:pt x="106" y="5"/>
                    </a:lnTo>
                    <a:lnTo>
                      <a:pt x="108" y="5"/>
                    </a:lnTo>
                    <a:lnTo>
                      <a:pt x="108" y="4"/>
                    </a:lnTo>
                    <a:lnTo>
                      <a:pt x="109" y="4"/>
                    </a:lnTo>
                    <a:lnTo>
                      <a:pt x="109" y="2"/>
                    </a:lnTo>
                    <a:lnTo>
                      <a:pt x="111" y="2"/>
                    </a:lnTo>
                    <a:lnTo>
                      <a:pt x="112" y="2"/>
                    </a:lnTo>
                    <a:lnTo>
                      <a:pt x="112" y="0"/>
                    </a:lnTo>
                    <a:lnTo>
                      <a:pt x="114" y="0"/>
                    </a:lnTo>
                    <a:lnTo>
                      <a:pt x="114" y="2"/>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40" name="Freeform 20"/>
              <p:cNvSpPr>
                <a:spLocks noEditPoints="1"/>
              </p:cNvSpPr>
              <p:nvPr/>
            </p:nvSpPr>
            <p:spPr bwMode="auto">
              <a:xfrm>
                <a:off x="5208" y="1796"/>
                <a:ext cx="89" cy="113"/>
              </a:xfrm>
              <a:custGeom>
                <a:avLst/>
                <a:gdLst>
                  <a:gd name="T0" fmla="*/ 2 w 89"/>
                  <a:gd name="T1" fmla="*/ 95 h 113"/>
                  <a:gd name="T2" fmla="*/ 26 w 89"/>
                  <a:gd name="T3" fmla="*/ 91 h 113"/>
                  <a:gd name="T4" fmla="*/ 11 w 89"/>
                  <a:gd name="T5" fmla="*/ 92 h 113"/>
                  <a:gd name="T6" fmla="*/ 18 w 89"/>
                  <a:gd name="T7" fmla="*/ 92 h 113"/>
                  <a:gd name="T8" fmla="*/ 11 w 89"/>
                  <a:gd name="T9" fmla="*/ 78 h 113"/>
                  <a:gd name="T10" fmla="*/ 11 w 89"/>
                  <a:gd name="T11" fmla="*/ 84 h 113"/>
                  <a:gd name="T12" fmla="*/ 81 w 89"/>
                  <a:gd name="T13" fmla="*/ 59 h 113"/>
                  <a:gd name="T14" fmla="*/ 87 w 89"/>
                  <a:gd name="T15" fmla="*/ 68 h 113"/>
                  <a:gd name="T16" fmla="*/ 79 w 89"/>
                  <a:gd name="T17" fmla="*/ 80 h 113"/>
                  <a:gd name="T18" fmla="*/ 83 w 89"/>
                  <a:gd name="T19" fmla="*/ 70 h 113"/>
                  <a:gd name="T20" fmla="*/ 83 w 89"/>
                  <a:gd name="T21" fmla="*/ 61 h 113"/>
                  <a:gd name="T22" fmla="*/ 19 w 89"/>
                  <a:gd name="T23" fmla="*/ 54 h 113"/>
                  <a:gd name="T24" fmla="*/ 14 w 89"/>
                  <a:gd name="T25" fmla="*/ 72 h 113"/>
                  <a:gd name="T26" fmla="*/ 11 w 89"/>
                  <a:gd name="T27" fmla="*/ 72 h 113"/>
                  <a:gd name="T28" fmla="*/ 16 w 89"/>
                  <a:gd name="T29" fmla="*/ 54 h 113"/>
                  <a:gd name="T30" fmla="*/ 26 w 89"/>
                  <a:gd name="T31" fmla="*/ 35 h 113"/>
                  <a:gd name="T32" fmla="*/ 19 w 89"/>
                  <a:gd name="T33" fmla="*/ 45 h 113"/>
                  <a:gd name="T34" fmla="*/ 68 w 89"/>
                  <a:gd name="T35" fmla="*/ 30 h 113"/>
                  <a:gd name="T36" fmla="*/ 65 w 89"/>
                  <a:gd name="T37" fmla="*/ 26 h 113"/>
                  <a:gd name="T38" fmla="*/ 22 w 89"/>
                  <a:gd name="T39" fmla="*/ 8 h 113"/>
                  <a:gd name="T40" fmla="*/ 26 w 89"/>
                  <a:gd name="T41" fmla="*/ 0 h 113"/>
                  <a:gd name="T42" fmla="*/ 27 w 89"/>
                  <a:gd name="T43" fmla="*/ 8 h 113"/>
                  <a:gd name="T44" fmla="*/ 30 w 89"/>
                  <a:gd name="T45" fmla="*/ 8 h 113"/>
                  <a:gd name="T46" fmla="*/ 32 w 89"/>
                  <a:gd name="T47" fmla="*/ 13 h 113"/>
                  <a:gd name="T48" fmla="*/ 37 w 89"/>
                  <a:gd name="T49" fmla="*/ 11 h 113"/>
                  <a:gd name="T50" fmla="*/ 38 w 89"/>
                  <a:gd name="T51" fmla="*/ 16 h 113"/>
                  <a:gd name="T52" fmla="*/ 52 w 89"/>
                  <a:gd name="T53" fmla="*/ 21 h 113"/>
                  <a:gd name="T54" fmla="*/ 64 w 89"/>
                  <a:gd name="T55" fmla="*/ 29 h 113"/>
                  <a:gd name="T56" fmla="*/ 68 w 89"/>
                  <a:gd name="T57" fmla="*/ 40 h 113"/>
                  <a:gd name="T58" fmla="*/ 70 w 89"/>
                  <a:gd name="T59" fmla="*/ 38 h 113"/>
                  <a:gd name="T60" fmla="*/ 70 w 89"/>
                  <a:gd name="T61" fmla="*/ 23 h 113"/>
                  <a:gd name="T62" fmla="*/ 78 w 89"/>
                  <a:gd name="T63" fmla="*/ 18 h 113"/>
                  <a:gd name="T64" fmla="*/ 79 w 89"/>
                  <a:gd name="T65" fmla="*/ 26 h 113"/>
                  <a:gd name="T66" fmla="*/ 81 w 89"/>
                  <a:gd name="T67" fmla="*/ 27 h 113"/>
                  <a:gd name="T68" fmla="*/ 83 w 89"/>
                  <a:gd name="T69" fmla="*/ 16 h 113"/>
                  <a:gd name="T70" fmla="*/ 89 w 89"/>
                  <a:gd name="T71" fmla="*/ 13 h 113"/>
                  <a:gd name="T72" fmla="*/ 89 w 89"/>
                  <a:gd name="T73" fmla="*/ 29 h 113"/>
                  <a:gd name="T74" fmla="*/ 87 w 89"/>
                  <a:gd name="T75" fmla="*/ 46 h 113"/>
                  <a:gd name="T76" fmla="*/ 79 w 89"/>
                  <a:gd name="T77" fmla="*/ 51 h 113"/>
                  <a:gd name="T78" fmla="*/ 76 w 89"/>
                  <a:gd name="T79" fmla="*/ 61 h 113"/>
                  <a:gd name="T80" fmla="*/ 76 w 89"/>
                  <a:gd name="T81" fmla="*/ 73 h 113"/>
                  <a:gd name="T82" fmla="*/ 75 w 89"/>
                  <a:gd name="T83" fmla="*/ 87 h 113"/>
                  <a:gd name="T84" fmla="*/ 78 w 89"/>
                  <a:gd name="T85" fmla="*/ 87 h 113"/>
                  <a:gd name="T86" fmla="*/ 84 w 89"/>
                  <a:gd name="T87" fmla="*/ 87 h 113"/>
                  <a:gd name="T88" fmla="*/ 81 w 89"/>
                  <a:gd name="T89" fmla="*/ 103 h 113"/>
                  <a:gd name="T90" fmla="*/ 62 w 89"/>
                  <a:gd name="T91" fmla="*/ 111 h 113"/>
                  <a:gd name="T92" fmla="*/ 60 w 89"/>
                  <a:gd name="T93" fmla="*/ 97 h 113"/>
                  <a:gd name="T94" fmla="*/ 45 w 89"/>
                  <a:gd name="T95" fmla="*/ 95 h 113"/>
                  <a:gd name="T96" fmla="*/ 35 w 89"/>
                  <a:gd name="T97" fmla="*/ 102 h 113"/>
                  <a:gd name="T98" fmla="*/ 30 w 89"/>
                  <a:gd name="T99" fmla="*/ 91 h 113"/>
                  <a:gd name="T100" fmla="*/ 29 w 89"/>
                  <a:gd name="T101" fmla="*/ 83 h 113"/>
                  <a:gd name="T102" fmla="*/ 32 w 89"/>
                  <a:gd name="T103" fmla="*/ 70 h 113"/>
                  <a:gd name="T104" fmla="*/ 40 w 89"/>
                  <a:gd name="T105" fmla="*/ 68 h 113"/>
                  <a:gd name="T106" fmla="*/ 37 w 89"/>
                  <a:gd name="T107" fmla="*/ 65 h 113"/>
                  <a:gd name="T108" fmla="*/ 26 w 89"/>
                  <a:gd name="T109" fmla="*/ 61 h 113"/>
                  <a:gd name="T110" fmla="*/ 29 w 89"/>
                  <a:gd name="T111" fmla="*/ 54 h 113"/>
                  <a:gd name="T112" fmla="*/ 26 w 89"/>
                  <a:gd name="T113" fmla="*/ 45 h 113"/>
                  <a:gd name="T114" fmla="*/ 30 w 89"/>
                  <a:gd name="T115" fmla="*/ 37 h 113"/>
                  <a:gd name="T116" fmla="*/ 27 w 89"/>
                  <a:gd name="T117" fmla="*/ 34 h 113"/>
                  <a:gd name="T118" fmla="*/ 22 w 89"/>
                  <a:gd name="T119" fmla="*/ 32 h 113"/>
                  <a:gd name="T120" fmla="*/ 24 w 89"/>
                  <a:gd name="T121" fmla="*/ 24 h 113"/>
                  <a:gd name="T122" fmla="*/ 22 w 89"/>
                  <a:gd name="T123" fmla="*/ 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 h="113">
                    <a:moveTo>
                      <a:pt x="11" y="97"/>
                    </a:moveTo>
                    <a:lnTo>
                      <a:pt x="11" y="99"/>
                    </a:lnTo>
                    <a:lnTo>
                      <a:pt x="11" y="97"/>
                    </a:lnTo>
                    <a:lnTo>
                      <a:pt x="10" y="97"/>
                    </a:lnTo>
                    <a:lnTo>
                      <a:pt x="11" y="97"/>
                    </a:lnTo>
                    <a:close/>
                    <a:moveTo>
                      <a:pt x="33" y="97"/>
                    </a:moveTo>
                    <a:lnTo>
                      <a:pt x="33" y="99"/>
                    </a:lnTo>
                    <a:lnTo>
                      <a:pt x="32" y="99"/>
                    </a:lnTo>
                    <a:lnTo>
                      <a:pt x="32" y="97"/>
                    </a:lnTo>
                    <a:lnTo>
                      <a:pt x="33" y="97"/>
                    </a:lnTo>
                    <a:close/>
                    <a:moveTo>
                      <a:pt x="2" y="97"/>
                    </a:moveTo>
                    <a:lnTo>
                      <a:pt x="0" y="97"/>
                    </a:lnTo>
                    <a:lnTo>
                      <a:pt x="2" y="97"/>
                    </a:lnTo>
                    <a:lnTo>
                      <a:pt x="2" y="95"/>
                    </a:lnTo>
                    <a:lnTo>
                      <a:pt x="3" y="95"/>
                    </a:lnTo>
                    <a:lnTo>
                      <a:pt x="2" y="95"/>
                    </a:lnTo>
                    <a:lnTo>
                      <a:pt x="2" y="97"/>
                    </a:lnTo>
                    <a:close/>
                    <a:moveTo>
                      <a:pt x="8" y="94"/>
                    </a:moveTo>
                    <a:lnTo>
                      <a:pt x="7" y="94"/>
                    </a:lnTo>
                    <a:lnTo>
                      <a:pt x="5" y="94"/>
                    </a:lnTo>
                    <a:lnTo>
                      <a:pt x="5" y="95"/>
                    </a:lnTo>
                    <a:lnTo>
                      <a:pt x="3" y="95"/>
                    </a:lnTo>
                    <a:lnTo>
                      <a:pt x="3" y="94"/>
                    </a:lnTo>
                    <a:lnTo>
                      <a:pt x="5" y="94"/>
                    </a:lnTo>
                    <a:lnTo>
                      <a:pt x="7" y="94"/>
                    </a:lnTo>
                    <a:lnTo>
                      <a:pt x="8" y="94"/>
                    </a:lnTo>
                    <a:close/>
                    <a:moveTo>
                      <a:pt x="26" y="89"/>
                    </a:moveTo>
                    <a:lnTo>
                      <a:pt x="26" y="91"/>
                    </a:lnTo>
                    <a:lnTo>
                      <a:pt x="24" y="91"/>
                    </a:lnTo>
                    <a:lnTo>
                      <a:pt x="22" y="91"/>
                    </a:lnTo>
                    <a:lnTo>
                      <a:pt x="22" y="89"/>
                    </a:lnTo>
                    <a:lnTo>
                      <a:pt x="24" y="89"/>
                    </a:lnTo>
                    <a:lnTo>
                      <a:pt x="26" y="89"/>
                    </a:lnTo>
                    <a:close/>
                    <a:moveTo>
                      <a:pt x="14" y="89"/>
                    </a:moveTo>
                    <a:lnTo>
                      <a:pt x="14" y="91"/>
                    </a:lnTo>
                    <a:lnTo>
                      <a:pt x="13" y="91"/>
                    </a:lnTo>
                    <a:lnTo>
                      <a:pt x="13" y="92"/>
                    </a:lnTo>
                    <a:lnTo>
                      <a:pt x="13" y="94"/>
                    </a:lnTo>
                    <a:lnTo>
                      <a:pt x="13" y="95"/>
                    </a:lnTo>
                    <a:lnTo>
                      <a:pt x="11" y="95"/>
                    </a:lnTo>
                    <a:lnTo>
                      <a:pt x="11" y="94"/>
                    </a:lnTo>
                    <a:lnTo>
                      <a:pt x="11" y="92"/>
                    </a:lnTo>
                    <a:lnTo>
                      <a:pt x="11" y="91"/>
                    </a:lnTo>
                    <a:lnTo>
                      <a:pt x="13" y="91"/>
                    </a:lnTo>
                    <a:lnTo>
                      <a:pt x="13" y="89"/>
                    </a:lnTo>
                    <a:lnTo>
                      <a:pt x="14" y="89"/>
                    </a:lnTo>
                    <a:close/>
                    <a:moveTo>
                      <a:pt x="19" y="89"/>
                    </a:moveTo>
                    <a:lnTo>
                      <a:pt x="21" y="89"/>
                    </a:lnTo>
                    <a:lnTo>
                      <a:pt x="21" y="91"/>
                    </a:lnTo>
                    <a:lnTo>
                      <a:pt x="22" y="91"/>
                    </a:lnTo>
                    <a:lnTo>
                      <a:pt x="21" y="91"/>
                    </a:lnTo>
                    <a:lnTo>
                      <a:pt x="19" y="91"/>
                    </a:lnTo>
                    <a:lnTo>
                      <a:pt x="19" y="92"/>
                    </a:lnTo>
                    <a:lnTo>
                      <a:pt x="19" y="94"/>
                    </a:lnTo>
                    <a:lnTo>
                      <a:pt x="18" y="94"/>
                    </a:lnTo>
                    <a:lnTo>
                      <a:pt x="18" y="92"/>
                    </a:lnTo>
                    <a:lnTo>
                      <a:pt x="18" y="91"/>
                    </a:lnTo>
                    <a:lnTo>
                      <a:pt x="19" y="91"/>
                    </a:lnTo>
                    <a:lnTo>
                      <a:pt x="18" y="91"/>
                    </a:lnTo>
                    <a:lnTo>
                      <a:pt x="19" y="91"/>
                    </a:lnTo>
                    <a:lnTo>
                      <a:pt x="19" y="89"/>
                    </a:lnTo>
                    <a:close/>
                    <a:moveTo>
                      <a:pt x="19" y="83"/>
                    </a:moveTo>
                    <a:lnTo>
                      <a:pt x="21" y="83"/>
                    </a:lnTo>
                    <a:lnTo>
                      <a:pt x="19" y="83"/>
                    </a:lnTo>
                    <a:close/>
                    <a:moveTo>
                      <a:pt x="76" y="81"/>
                    </a:moveTo>
                    <a:lnTo>
                      <a:pt x="76" y="83"/>
                    </a:lnTo>
                    <a:lnTo>
                      <a:pt x="76" y="81"/>
                    </a:lnTo>
                    <a:close/>
                    <a:moveTo>
                      <a:pt x="10" y="76"/>
                    </a:moveTo>
                    <a:lnTo>
                      <a:pt x="11" y="76"/>
                    </a:lnTo>
                    <a:lnTo>
                      <a:pt x="11" y="78"/>
                    </a:lnTo>
                    <a:lnTo>
                      <a:pt x="11" y="80"/>
                    </a:lnTo>
                    <a:lnTo>
                      <a:pt x="11" y="81"/>
                    </a:lnTo>
                    <a:lnTo>
                      <a:pt x="11" y="83"/>
                    </a:lnTo>
                    <a:lnTo>
                      <a:pt x="13" y="83"/>
                    </a:lnTo>
                    <a:lnTo>
                      <a:pt x="14" y="83"/>
                    </a:lnTo>
                    <a:lnTo>
                      <a:pt x="13" y="83"/>
                    </a:lnTo>
                    <a:lnTo>
                      <a:pt x="13" y="84"/>
                    </a:lnTo>
                    <a:lnTo>
                      <a:pt x="11" y="84"/>
                    </a:lnTo>
                    <a:lnTo>
                      <a:pt x="11" y="86"/>
                    </a:lnTo>
                    <a:lnTo>
                      <a:pt x="10" y="86"/>
                    </a:lnTo>
                    <a:lnTo>
                      <a:pt x="10" y="87"/>
                    </a:lnTo>
                    <a:lnTo>
                      <a:pt x="10" y="86"/>
                    </a:lnTo>
                    <a:lnTo>
                      <a:pt x="10" y="84"/>
                    </a:lnTo>
                    <a:lnTo>
                      <a:pt x="11" y="84"/>
                    </a:lnTo>
                    <a:lnTo>
                      <a:pt x="11" y="83"/>
                    </a:lnTo>
                    <a:lnTo>
                      <a:pt x="10" y="83"/>
                    </a:lnTo>
                    <a:lnTo>
                      <a:pt x="10" y="81"/>
                    </a:lnTo>
                    <a:lnTo>
                      <a:pt x="10" y="80"/>
                    </a:lnTo>
                    <a:lnTo>
                      <a:pt x="8" y="80"/>
                    </a:lnTo>
                    <a:lnTo>
                      <a:pt x="10" y="80"/>
                    </a:lnTo>
                    <a:lnTo>
                      <a:pt x="10" y="78"/>
                    </a:lnTo>
                    <a:lnTo>
                      <a:pt x="10" y="76"/>
                    </a:lnTo>
                    <a:close/>
                    <a:moveTo>
                      <a:pt x="13" y="76"/>
                    </a:moveTo>
                    <a:lnTo>
                      <a:pt x="13" y="78"/>
                    </a:lnTo>
                    <a:lnTo>
                      <a:pt x="11" y="78"/>
                    </a:lnTo>
                    <a:lnTo>
                      <a:pt x="11" y="76"/>
                    </a:lnTo>
                    <a:lnTo>
                      <a:pt x="13" y="76"/>
                    </a:lnTo>
                    <a:close/>
                    <a:moveTo>
                      <a:pt x="81" y="59"/>
                    </a:moveTo>
                    <a:lnTo>
                      <a:pt x="81" y="61"/>
                    </a:lnTo>
                    <a:lnTo>
                      <a:pt x="81" y="59"/>
                    </a:lnTo>
                    <a:close/>
                    <a:moveTo>
                      <a:pt x="84" y="57"/>
                    </a:moveTo>
                    <a:lnTo>
                      <a:pt x="84" y="59"/>
                    </a:lnTo>
                    <a:lnTo>
                      <a:pt x="84" y="61"/>
                    </a:lnTo>
                    <a:lnTo>
                      <a:pt x="84" y="62"/>
                    </a:lnTo>
                    <a:lnTo>
                      <a:pt x="83" y="62"/>
                    </a:lnTo>
                    <a:lnTo>
                      <a:pt x="83" y="64"/>
                    </a:lnTo>
                    <a:lnTo>
                      <a:pt x="84" y="64"/>
                    </a:lnTo>
                    <a:lnTo>
                      <a:pt x="84" y="65"/>
                    </a:lnTo>
                    <a:lnTo>
                      <a:pt x="84" y="67"/>
                    </a:lnTo>
                    <a:lnTo>
                      <a:pt x="86" y="67"/>
                    </a:lnTo>
                    <a:lnTo>
                      <a:pt x="87" y="67"/>
                    </a:lnTo>
                    <a:lnTo>
                      <a:pt x="87" y="68"/>
                    </a:lnTo>
                    <a:lnTo>
                      <a:pt x="87" y="70"/>
                    </a:lnTo>
                    <a:lnTo>
                      <a:pt x="87" y="72"/>
                    </a:lnTo>
                    <a:lnTo>
                      <a:pt x="87" y="73"/>
                    </a:lnTo>
                    <a:lnTo>
                      <a:pt x="86" y="73"/>
                    </a:lnTo>
                    <a:lnTo>
                      <a:pt x="86" y="75"/>
                    </a:lnTo>
                    <a:lnTo>
                      <a:pt x="86" y="76"/>
                    </a:lnTo>
                    <a:lnTo>
                      <a:pt x="86" y="78"/>
                    </a:lnTo>
                    <a:lnTo>
                      <a:pt x="86" y="80"/>
                    </a:lnTo>
                    <a:lnTo>
                      <a:pt x="84" y="80"/>
                    </a:lnTo>
                    <a:lnTo>
                      <a:pt x="84" y="81"/>
                    </a:lnTo>
                    <a:lnTo>
                      <a:pt x="83" y="81"/>
                    </a:lnTo>
                    <a:lnTo>
                      <a:pt x="81" y="81"/>
                    </a:lnTo>
                    <a:lnTo>
                      <a:pt x="81" y="80"/>
                    </a:lnTo>
                    <a:lnTo>
                      <a:pt x="79" y="80"/>
                    </a:lnTo>
                    <a:lnTo>
                      <a:pt x="78" y="80"/>
                    </a:lnTo>
                    <a:lnTo>
                      <a:pt x="76" y="80"/>
                    </a:lnTo>
                    <a:lnTo>
                      <a:pt x="75" y="80"/>
                    </a:lnTo>
                    <a:lnTo>
                      <a:pt x="76" y="80"/>
                    </a:lnTo>
                    <a:lnTo>
                      <a:pt x="76" y="78"/>
                    </a:lnTo>
                    <a:lnTo>
                      <a:pt x="76" y="76"/>
                    </a:lnTo>
                    <a:lnTo>
                      <a:pt x="78" y="76"/>
                    </a:lnTo>
                    <a:lnTo>
                      <a:pt x="79" y="76"/>
                    </a:lnTo>
                    <a:lnTo>
                      <a:pt x="79" y="75"/>
                    </a:lnTo>
                    <a:lnTo>
                      <a:pt x="79" y="73"/>
                    </a:lnTo>
                    <a:lnTo>
                      <a:pt x="81" y="73"/>
                    </a:lnTo>
                    <a:lnTo>
                      <a:pt x="81" y="72"/>
                    </a:lnTo>
                    <a:lnTo>
                      <a:pt x="83" y="72"/>
                    </a:lnTo>
                    <a:lnTo>
                      <a:pt x="83" y="70"/>
                    </a:lnTo>
                    <a:lnTo>
                      <a:pt x="83" y="68"/>
                    </a:lnTo>
                    <a:lnTo>
                      <a:pt x="81" y="68"/>
                    </a:lnTo>
                    <a:lnTo>
                      <a:pt x="81" y="67"/>
                    </a:lnTo>
                    <a:lnTo>
                      <a:pt x="81" y="65"/>
                    </a:lnTo>
                    <a:lnTo>
                      <a:pt x="83" y="65"/>
                    </a:lnTo>
                    <a:lnTo>
                      <a:pt x="81" y="65"/>
                    </a:lnTo>
                    <a:lnTo>
                      <a:pt x="81" y="67"/>
                    </a:lnTo>
                    <a:lnTo>
                      <a:pt x="79" y="67"/>
                    </a:lnTo>
                    <a:lnTo>
                      <a:pt x="79" y="65"/>
                    </a:lnTo>
                    <a:lnTo>
                      <a:pt x="79" y="64"/>
                    </a:lnTo>
                    <a:lnTo>
                      <a:pt x="81" y="64"/>
                    </a:lnTo>
                    <a:lnTo>
                      <a:pt x="81" y="62"/>
                    </a:lnTo>
                    <a:lnTo>
                      <a:pt x="83" y="62"/>
                    </a:lnTo>
                    <a:lnTo>
                      <a:pt x="83" y="61"/>
                    </a:lnTo>
                    <a:lnTo>
                      <a:pt x="83" y="59"/>
                    </a:lnTo>
                    <a:lnTo>
                      <a:pt x="84" y="59"/>
                    </a:lnTo>
                    <a:lnTo>
                      <a:pt x="84" y="57"/>
                    </a:lnTo>
                    <a:close/>
                    <a:moveTo>
                      <a:pt x="19" y="48"/>
                    </a:moveTo>
                    <a:lnTo>
                      <a:pt x="21" y="48"/>
                    </a:lnTo>
                    <a:lnTo>
                      <a:pt x="21" y="49"/>
                    </a:lnTo>
                    <a:lnTo>
                      <a:pt x="19" y="49"/>
                    </a:lnTo>
                    <a:lnTo>
                      <a:pt x="21" y="49"/>
                    </a:lnTo>
                    <a:lnTo>
                      <a:pt x="19" y="49"/>
                    </a:lnTo>
                    <a:lnTo>
                      <a:pt x="19" y="51"/>
                    </a:lnTo>
                    <a:lnTo>
                      <a:pt x="19" y="53"/>
                    </a:lnTo>
                    <a:lnTo>
                      <a:pt x="18" y="53"/>
                    </a:lnTo>
                    <a:lnTo>
                      <a:pt x="18" y="54"/>
                    </a:lnTo>
                    <a:lnTo>
                      <a:pt x="19" y="54"/>
                    </a:lnTo>
                    <a:lnTo>
                      <a:pt x="18" y="54"/>
                    </a:lnTo>
                    <a:lnTo>
                      <a:pt x="18" y="56"/>
                    </a:lnTo>
                    <a:lnTo>
                      <a:pt x="18" y="57"/>
                    </a:lnTo>
                    <a:lnTo>
                      <a:pt x="18" y="59"/>
                    </a:lnTo>
                    <a:lnTo>
                      <a:pt x="18" y="61"/>
                    </a:lnTo>
                    <a:lnTo>
                      <a:pt x="16" y="61"/>
                    </a:lnTo>
                    <a:lnTo>
                      <a:pt x="16" y="62"/>
                    </a:lnTo>
                    <a:lnTo>
                      <a:pt x="16" y="64"/>
                    </a:lnTo>
                    <a:lnTo>
                      <a:pt x="16" y="65"/>
                    </a:lnTo>
                    <a:lnTo>
                      <a:pt x="14" y="65"/>
                    </a:lnTo>
                    <a:lnTo>
                      <a:pt x="14" y="67"/>
                    </a:lnTo>
                    <a:lnTo>
                      <a:pt x="14" y="68"/>
                    </a:lnTo>
                    <a:lnTo>
                      <a:pt x="14" y="70"/>
                    </a:lnTo>
                    <a:lnTo>
                      <a:pt x="14" y="72"/>
                    </a:lnTo>
                    <a:lnTo>
                      <a:pt x="14" y="73"/>
                    </a:lnTo>
                    <a:lnTo>
                      <a:pt x="14" y="75"/>
                    </a:lnTo>
                    <a:lnTo>
                      <a:pt x="13" y="75"/>
                    </a:lnTo>
                    <a:lnTo>
                      <a:pt x="11" y="75"/>
                    </a:lnTo>
                    <a:lnTo>
                      <a:pt x="11" y="76"/>
                    </a:lnTo>
                    <a:lnTo>
                      <a:pt x="10" y="76"/>
                    </a:lnTo>
                    <a:lnTo>
                      <a:pt x="11" y="76"/>
                    </a:lnTo>
                    <a:lnTo>
                      <a:pt x="11" y="75"/>
                    </a:lnTo>
                    <a:lnTo>
                      <a:pt x="10" y="75"/>
                    </a:lnTo>
                    <a:lnTo>
                      <a:pt x="11" y="75"/>
                    </a:lnTo>
                    <a:lnTo>
                      <a:pt x="11" y="73"/>
                    </a:lnTo>
                    <a:lnTo>
                      <a:pt x="10" y="73"/>
                    </a:lnTo>
                    <a:lnTo>
                      <a:pt x="10" y="72"/>
                    </a:lnTo>
                    <a:lnTo>
                      <a:pt x="11" y="72"/>
                    </a:lnTo>
                    <a:lnTo>
                      <a:pt x="11" y="70"/>
                    </a:lnTo>
                    <a:lnTo>
                      <a:pt x="11" y="68"/>
                    </a:lnTo>
                    <a:lnTo>
                      <a:pt x="11" y="67"/>
                    </a:lnTo>
                    <a:lnTo>
                      <a:pt x="13" y="67"/>
                    </a:lnTo>
                    <a:lnTo>
                      <a:pt x="13" y="65"/>
                    </a:lnTo>
                    <a:lnTo>
                      <a:pt x="13" y="64"/>
                    </a:lnTo>
                    <a:lnTo>
                      <a:pt x="13" y="62"/>
                    </a:lnTo>
                    <a:lnTo>
                      <a:pt x="13" y="61"/>
                    </a:lnTo>
                    <a:lnTo>
                      <a:pt x="13" y="59"/>
                    </a:lnTo>
                    <a:lnTo>
                      <a:pt x="14" y="59"/>
                    </a:lnTo>
                    <a:lnTo>
                      <a:pt x="14" y="57"/>
                    </a:lnTo>
                    <a:lnTo>
                      <a:pt x="14" y="56"/>
                    </a:lnTo>
                    <a:lnTo>
                      <a:pt x="14" y="54"/>
                    </a:lnTo>
                    <a:lnTo>
                      <a:pt x="16" y="54"/>
                    </a:lnTo>
                    <a:lnTo>
                      <a:pt x="16" y="53"/>
                    </a:lnTo>
                    <a:lnTo>
                      <a:pt x="18" y="53"/>
                    </a:lnTo>
                    <a:lnTo>
                      <a:pt x="18" y="51"/>
                    </a:lnTo>
                    <a:lnTo>
                      <a:pt x="18" y="49"/>
                    </a:lnTo>
                    <a:lnTo>
                      <a:pt x="18" y="48"/>
                    </a:lnTo>
                    <a:lnTo>
                      <a:pt x="19" y="48"/>
                    </a:lnTo>
                    <a:close/>
                    <a:moveTo>
                      <a:pt x="22" y="34"/>
                    </a:moveTo>
                    <a:lnTo>
                      <a:pt x="24" y="34"/>
                    </a:lnTo>
                    <a:lnTo>
                      <a:pt x="24" y="35"/>
                    </a:lnTo>
                    <a:lnTo>
                      <a:pt x="24" y="34"/>
                    </a:lnTo>
                    <a:lnTo>
                      <a:pt x="24" y="35"/>
                    </a:lnTo>
                    <a:lnTo>
                      <a:pt x="26" y="35"/>
                    </a:lnTo>
                    <a:lnTo>
                      <a:pt x="24" y="35"/>
                    </a:lnTo>
                    <a:lnTo>
                      <a:pt x="26" y="35"/>
                    </a:lnTo>
                    <a:lnTo>
                      <a:pt x="24" y="35"/>
                    </a:lnTo>
                    <a:lnTo>
                      <a:pt x="24" y="37"/>
                    </a:lnTo>
                    <a:lnTo>
                      <a:pt x="22" y="37"/>
                    </a:lnTo>
                    <a:lnTo>
                      <a:pt x="22" y="38"/>
                    </a:lnTo>
                    <a:lnTo>
                      <a:pt x="22" y="40"/>
                    </a:lnTo>
                    <a:lnTo>
                      <a:pt x="22" y="42"/>
                    </a:lnTo>
                    <a:lnTo>
                      <a:pt x="21" y="42"/>
                    </a:lnTo>
                    <a:lnTo>
                      <a:pt x="21" y="43"/>
                    </a:lnTo>
                    <a:lnTo>
                      <a:pt x="21" y="45"/>
                    </a:lnTo>
                    <a:lnTo>
                      <a:pt x="21" y="46"/>
                    </a:lnTo>
                    <a:lnTo>
                      <a:pt x="21" y="48"/>
                    </a:lnTo>
                    <a:lnTo>
                      <a:pt x="19" y="48"/>
                    </a:lnTo>
                    <a:lnTo>
                      <a:pt x="19" y="46"/>
                    </a:lnTo>
                    <a:lnTo>
                      <a:pt x="19" y="45"/>
                    </a:lnTo>
                    <a:lnTo>
                      <a:pt x="18" y="45"/>
                    </a:lnTo>
                    <a:lnTo>
                      <a:pt x="18" y="43"/>
                    </a:lnTo>
                    <a:lnTo>
                      <a:pt x="18" y="42"/>
                    </a:lnTo>
                    <a:lnTo>
                      <a:pt x="18" y="40"/>
                    </a:lnTo>
                    <a:lnTo>
                      <a:pt x="19" y="40"/>
                    </a:lnTo>
                    <a:lnTo>
                      <a:pt x="19" y="38"/>
                    </a:lnTo>
                    <a:lnTo>
                      <a:pt x="19" y="37"/>
                    </a:lnTo>
                    <a:lnTo>
                      <a:pt x="21" y="37"/>
                    </a:lnTo>
                    <a:lnTo>
                      <a:pt x="21" y="35"/>
                    </a:lnTo>
                    <a:lnTo>
                      <a:pt x="21" y="34"/>
                    </a:lnTo>
                    <a:lnTo>
                      <a:pt x="22" y="34"/>
                    </a:lnTo>
                    <a:close/>
                    <a:moveTo>
                      <a:pt x="67" y="29"/>
                    </a:moveTo>
                    <a:lnTo>
                      <a:pt x="67" y="30"/>
                    </a:lnTo>
                    <a:lnTo>
                      <a:pt x="68" y="30"/>
                    </a:lnTo>
                    <a:lnTo>
                      <a:pt x="68" y="32"/>
                    </a:lnTo>
                    <a:lnTo>
                      <a:pt x="67" y="32"/>
                    </a:lnTo>
                    <a:lnTo>
                      <a:pt x="67" y="30"/>
                    </a:lnTo>
                    <a:lnTo>
                      <a:pt x="67" y="29"/>
                    </a:lnTo>
                    <a:close/>
                    <a:moveTo>
                      <a:pt x="65" y="29"/>
                    </a:moveTo>
                    <a:lnTo>
                      <a:pt x="67" y="29"/>
                    </a:lnTo>
                    <a:lnTo>
                      <a:pt x="65" y="29"/>
                    </a:lnTo>
                    <a:lnTo>
                      <a:pt x="65" y="30"/>
                    </a:lnTo>
                    <a:lnTo>
                      <a:pt x="65" y="29"/>
                    </a:lnTo>
                    <a:close/>
                    <a:moveTo>
                      <a:pt x="65" y="26"/>
                    </a:moveTo>
                    <a:lnTo>
                      <a:pt x="67" y="26"/>
                    </a:lnTo>
                    <a:lnTo>
                      <a:pt x="67" y="27"/>
                    </a:lnTo>
                    <a:lnTo>
                      <a:pt x="65" y="27"/>
                    </a:lnTo>
                    <a:lnTo>
                      <a:pt x="65" y="26"/>
                    </a:lnTo>
                    <a:close/>
                    <a:moveTo>
                      <a:pt x="65" y="23"/>
                    </a:moveTo>
                    <a:lnTo>
                      <a:pt x="67" y="23"/>
                    </a:lnTo>
                    <a:lnTo>
                      <a:pt x="67" y="24"/>
                    </a:lnTo>
                    <a:lnTo>
                      <a:pt x="65" y="24"/>
                    </a:lnTo>
                    <a:lnTo>
                      <a:pt x="65" y="26"/>
                    </a:lnTo>
                    <a:lnTo>
                      <a:pt x="64" y="26"/>
                    </a:lnTo>
                    <a:lnTo>
                      <a:pt x="64" y="24"/>
                    </a:lnTo>
                    <a:lnTo>
                      <a:pt x="64" y="23"/>
                    </a:lnTo>
                    <a:lnTo>
                      <a:pt x="65" y="23"/>
                    </a:lnTo>
                    <a:close/>
                    <a:moveTo>
                      <a:pt x="26" y="8"/>
                    </a:moveTo>
                    <a:lnTo>
                      <a:pt x="24" y="8"/>
                    </a:lnTo>
                    <a:lnTo>
                      <a:pt x="24" y="10"/>
                    </a:lnTo>
                    <a:lnTo>
                      <a:pt x="24" y="8"/>
                    </a:lnTo>
                    <a:lnTo>
                      <a:pt x="22" y="8"/>
                    </a:lnTo>
                    <a:lnTo>
                      <a:pt x="22" y="7"/>
                    </a:lnTo>
                    <a:lnTo>
                      <a:pt x="24" y="7"/>
                    </a:lnTo>
                    <a:lnTo>
                      <a:pt x="24" y="8"/>
                    </a:lnTo>
                    <a:lnTo>
                      <a:pt x="26" y="8"/>
                    </a:lnTo>
                    <a:close/>
                    <a:moveTo>
                      <a:pt x="26" y="8"/>
                    </a:moveTo>
                    <a:lnTo>
                      <a:pt x="24" y="8"/>
                    </a:lnTo>
                    <a:lnTo>
                      <a:pt x="24" y="7"/>
                    </a:lnTo>
                    <a:lnTo>
                      <a:pt x="24" y="5"/>
                    </a:lnTo>
                    <a:lnTo>
                      <a:pt x="24" y="4"/>
                    </a:lnTo>
                    <a:lnTo>
                      <a:pt x="26" y="4"/>
                    </a:lnTo>
                    <a:lnTo>
                      <a:pt x="26" y="2"/>
                    </a:lnTo>
                    <a:lnTo>
                      <a:pt x="26" y="0"/>
                    </a:lnTo>
                    <a:lnTo>
                      <a:pt x="24" y="0"/>
                    </a:lnTo>
                    <a:lnTo>
                      <a:pt x="26" y="0"/>
                    </a:lnTo>
                    <a:lnTo>
                      <a:pt x="27" y="0"/>
                    </a:lnTo>
                    <a:lnTo>
                      <a:pt x="29" y="0"/>
                    </a:lnTo>
                    <a:lnTo>
                      <a:pt x="29" y="2"/>
                    </a:lnTo>
                    <a:lnTo>
                      <a:pt x="27" y="2"/>
                    </a:lnTo>
                    <a:lnTo>
                      <a:pt x="27" y="0"/>
                    </a:lnTo>
                    <a:lnTo>
                      <a:pt x="27" y="2"/>
                    </a:lnTo>
                    <a:lnTo>
                      <a:pt x="26" y="2"/>
                    </a:lnTo>
                    <a:lnTo>
                      <a:pt x="27" y="2"/>
                    </a:lnTo>
                    <a:lnTo>
                      <a:pt x="26" y="2"/>
                    </a:lnTo>
                    <a:lnTo>
                      <a:pt x="27" y="2"/>
                    </a:lnTo>
                    <a:lnTo>
                      <a:pt x="27" y="4"/>
                    </a:lnTo>
                    <a:lnTo>
                      <a:pt x="27" y="5"/>
                    </a:lnTo>
                    <a:lnTo>
                      <a:pt x="27" y="7"/>
                    </a:lnTo>
                    <a:lnTo>
                      <a:pt x="27" y="8"/>
                    </a:lnTo>
                    <a:lnTo>
                      <a:pt x="29" y="8"/>
                    </a:lnTo>
                    <a:lnTo>
                      <a:pt x="29" y="10"/>
                    </a:lnTo>
                    <a:lnTo>
                      <a:pt x="30" y="10"/>
                    </a:lnTo>
                    <a:lnTo>
                      <a:pt x="29" y="10"/>
                    </a:lnTo>
                    <a:lnTo>
                      <a:pt x="30" y="10"/>
                    </a:lnTo>
                    <a:lnTo>
                      <a:pt x="29" y="10"/>
                    </a:lnTo>
                    <a:lnTo>
                      <a:pt x="30" y="10"/>
                    </a:lnTo>
                    <a:lnTo>
                      <a:pt x="30" y="11"/>
                    </a:lnTo>
                    <a:lnTo>
                      <a:pt x="30" y="10"/>
                    </a:lnTo>
                    <a:lnTo>
                      <a:pt x="29" y="10"/>
                    </a:lnTo>
                    <a:lnTo>
                      <a:pt x="30" y="10"/>
                    </a:lnTo>
                    <a:lnTo>
                      <a:pt x="29" y="10"/>
                    </a:lnTo>
                    <a:lnTo>
                      <a:pt x="29" y="8"/>
                    </a:lnTo>
                    <a:lnTo>
                      <a:pt x="30" y="8"/>
                    </a:lnTo>
                    <a:lnTo>
                      <a:pt x="29" y="8"/>
                    </a:lnTo>
                    <a:lnTo>
                      <a:pt x="30" y="8"/>
                    </a:lnTo>
                    <a:lnTo>
                      <a:pt x="32" y="8"/>
                    </a:lnTo>
                    <a:lnTo>
                      <a:pt x="32" y="10"/>
                    </a:lnTo>
                    <a:lnTo>
                      <a:pt x="32" y="8"/>
                    </a:lnTo>
                    <a:lnTo>
                      <a:pt x="32" y="10"/>
                    </a:lnTo>
                    <a:lnTo>
                      <a:pt x="33" y="10"/>
                    </a:lnTo>
                    <a:lnTo>
                      <a:pt x="32" y="10"/>
                    </a:lnTo>
                    <a:lnTo>
                      <a:pt x="32" y="11"/>
                    </a:lnTo>
                    <a:lnTo>
                      <a:pt x="33" y="11"/>
                    </a:lnTo>
                    <a:lnTo>
                      <a:pt x="32" y="11"/>
                    </a:lnTo>
                    <a:lnTo>
                      <a:pt x="32" y="13"/>
                    </a:lnTo>
                    <a:lnTo>
                      <a:pt x="32" y="11"/>
                    </a:lnTo>
                    <a:lnTo>
                      <a:pt x="32" y="13"/>
                    </a:lnTo>
                    <a:lnTo>
                      <a:pt x="32" y="15"/>
                    </a:lnTo>
                    <a:lnTo>
                      <a:pt x="33" y="15"/>
                    </a:lnTo>
                    <a:lnTo>
                      <a:pt x="33" y="13"/>
                    </a:lnTo>
                    <a:lnTo>
                      <a:pt x="35" y="13"/>
                    </a:lnTo>
                    <a:lnTo>
                      <a:pt x="33" y="13"/>
                    </a:lnTo>
                    <a:lnTo>
                      <a:pt x="35" y="13"/>
                    </a:lnTo>
                    <a:lnTo>
                      <a:pt x="33" y="13"/>
                    </a:lnTo>
                    <a:lnTo>
                      <a:pt x="35" y="13"/>
                    </a:lnTo>
                    <a:lnTo>
                      <a:pt x="35" y="15"/>
                    </a:lnTo>
                    <a:lnTo>
                      <a:pt x="35" y="13"/>
                    </a:lnTo>
                    <a:lnTo>
                      <a:pt x="35" y="15"/>
                    </a:lnTo>
                    <a:lnTo>
                      <a:pt x="35" y="13"/>
                    </a:lnTo>
                    <a:lnTo>
                      <a:pt x="35" y="11"/>
                    </a:lnTo>
                    <a:lnTo>
                      <a:pt x="37" y="11"/>
                    </a:lnTo>
                    <a:lnTo>
                      <a:pt x="37" y="10"/>
                    </a:lnTo>
                    <a:lnTo>
                      <a:pt x="38" y="10"/>
                    </a:lnTo>
                    <a:lnTo>
                      <a:pt x="37" y="10"/>
                    </a:lnTo>
                    <a:lnTo>
                      <a:pt x="38" y="10"/>
                    </a:lnTo>
                    <a:lnTo>
                      <a:pt x="37" y="10"/>
                    </a:lnTo>
                    <a:lnTo>
                      <a:pt x="37" y="11"/>
                    </a:lnTo>
                    <a:lnTo>
                      <a:pt x="38" y="11"/>
                    </a:lnTo>
                    <a:lnTo>
                      <a:pt x="37" y="11"/>
                    </a:lnTo>
                    <a:lnTo>
                      <a:pt x="37" y="13"/>
                    </a:lnTo>
                    <a:lnTo>
                      <a:pt x="38" y="13"/>
                    </a:lnTo>
                    <a:lnTo>
                      <a:pt x="37" y="13"/>
                    </a:lnTo>
                    <a:lnTo>
                      <a:pt x="37" y="15"/>
                    </a:lnTo>
                    <a:lnTo>
                      <a:pt x="37" y="16"/>
                    </a:lnTo>
                    <a:lnTo>
                      <a:pt x="38" y="16"/>
                    </a:lnTo>
                    <a:lnTo>
                      <a:pt x="40" y="16"/>
                    </a:lnTo>
                    <a:lnTo>
                      <a:pt x="40" y="15"/>
                    </a:lnTo>
                    <a:lnTo>
                      <a:pt x="41" y="15"/>
                    </a:lnTo>
                    <a:lnTo>
                      <a:pt x="43" y="15"/>
                    </a:lnTo>
                    <a:lnTo>
                      <a:pt x="45" y="15"/>
                    </a:lnTo>
                    <a:lnTo>
                      <a:pt x="46" y="15"/>
                    </a:lnTo>
                    <a:lnTo>
                      <a:pt x="46" y="16"/>
                    </a:lnTo>
                    <a:lnTo>
                      <a:pt x="48" y="16"/>
                    </a:lnTo>
                    <a:lnTo>
                      <a:pt x="48" y="18"/>
                    </a:lnTo>
                    <a:lnTo>
                      <a:pt x="49" y="18"/>
                    </a:lnTo>
                    <a:lnTo>
                      <a:pt x="49" y="19"/>
                    </a:lnTo>
                    <a:lnTo>
                      <a:pt x="51" y="19"/>
                    </a:lnTo>
                    <a:lnTo>
                      <a:pt x="51" y="21"/>
                    </a:lnTo>
                    <a:lnTo>
                      <a:pt x="52" y="21"/>
                    </a:lnTo>
                    <a:lnTo>
                      <a:pt x="52" y="23"/>
                    </a:lnTo>
                    <a:lnTo>
                      <a:pt x="54" y="23"/>
                    </a:lnTo>
                    <a:lnTo>
                      <a:pt x="56" y="23"/>
                    </a:lnTo>
                    <a:lnTo>
                      <a:pt x="57" y="23"/>
                    </a:lnTo>
                    <a:lnTo>
                      <a:pt x="57" y="21"/>
                    </a:lnTo>
                    <a:lnTo>
                      <a:pt x="59" y="21"/>
                    </a:lnTo>
                    <a:lnTo>
                      <a:pt x="60" y="21"/>
                    </a:lnTo>
                    <a:lnTo>
                      <a:pt x="60" y="23"/>
                    </a:lnTo>
                    <a:lnTo>
                      <a:pt x="60" y="24"/>
                    </a:lnTo>
                    <a:lnTo>
                      <a:pt x="60" y="26"/>
                    </a:lnTo>
                    <a:lnTo>
                      <a:pt x="62" y="26"/>
                    </a:lnTo>
                    <a:lnTo>
                      <a:pt x="62" y="27"/>
                    </a:lnTo>
                    <a:lnTo>
                      <a:pt x="62" y="29"/>
                    </a:lnTo>
                    <a:lnTo>
                      <a:pt x="64" y="29"/>
                    </a:lnTo>
                    <a:lnTo>
                      <a:pt x="64" y="30"/>
                    </a:lnTo>
                    <a:lnTo>
                      <a:pt x="64" y="32"/>
                    </a:lnTo>
                    <a:lnTo>
                      <a:pt x="65" y="32"/>
                    </a:lnTo>
                    <a:lnTo>
                      <a:pt x="64" y="32"/>
                    </a:lnTo>
                    <a:lnTo>
                      <a:pt x="65" y="32"/>
                    </a:lnTo>
                    <a:lnTo>
                      <a:pt x="65" y="34"/>
                    </a:lnTo>
                    <a:lnTo>
                      <a:pt x="67" y="34"/>
                    </a:lnTo>
                    <a:lnTo>
                      <a:pt x="68" y="34"/>
                    </a:lnTo>
                    <a:lnTo>
                      <a:pt x="68" y="35"/>
                    </a:lnTo>
                    <a:lnTo>
                      <a:pt x="70" y="35"/>
                    </a:lnTo>
                    <a:lnTo>
                      <a:pt x="68" y="35"/>
                    </a:lnTo>
                    <a:lnTo>
                      <a:pt x="68" y="37"/>
                    </a:lnTo>
                    <a:lnTo>
                      <a:pt x="68" y="38"/>
                    </a:lnTo>
                    <a:lnTo>
                      <a:pt x="68" y="40"/>
                    </a:lnTo>
                    <a:lnTo>
                      <a:pt x="70" y="40"/>
                    </a:lnTo>
                    <a:lnTo>
                      <a:pt x="71" y="40"/>
                    </a:lnTo>
                    <a:lnTo>
                      <a:pt x="71" y="42"/>
                    </a:lnTo>
                    <a:lnTo>
                      <a:pt x="71" y="40"/>
                    </a:lnTo>
                    <a:lnTo>
                      <a:pt x="71" y="42"/>
                    </a:lnTo>
                    <a:lnTo>
                      <a:pt x="73" y="42"/>
                    </a:lnTo>
                    <a:lnTo>
                      <a:pt x="73" y="40"/>
                    </a:lnTo>
                    <a:lnTo>
                      <a:pt x="73" y="42"/>
                    </a:lnTo>
                    <a:lnTo>
                      <a:pt x="75" y="42"/>
                    </a:lnTo>
                    <a:lnTo>
                      <a:pt x="75" y="40"/>
                    </a:lnTo>
                    <a:lnTo>
                      <a:pt x="73" y="40"/>
                    </a:lnTo>
                    <a:lnTo>
                      <a:pt x="71" y="40"/>
                    </a:lnTo>
                    <a:lnTo>
                      <a:pt x="71" y="38"/>
                    </a:lnTo>
                    <a:lnTo>
                      <a:pt x="70" y="38"/>
                    </a:lnTo>
                    <a:lnTo>
                      <a:pt x="70" y="37"/>
                    </a:lnTo>
                    <a:lnTo>
                      <a:pt x="70" y="35"/>
                    </a:lnTo>
                    <a:lnTo>
                      <a:pt x="70" y="34"/>
                    </a:lnTo>
                    <a:lnTo>
                      <a:pt x="70" y="32"/>
                    </a:lnTo>
                    <a:lnTo>
                      <a:pt x="70" y="30"/>
                    </a:lnTo>
                    <a:lnTo>
                      <a:pt x="71" y="30"/>
                    </a:lnTo>
                    <a:lnTo>
                      <a:pt x="70" y="30"/>
                    </a:lnTo>
                    <a:lnTo>
                      <a:pt x="70" y="29"/>
                    </a:lnTo>
                    <a:lnTo>
                      <a:pt x="68" y="29"/>
                    </a:lnTo>
                    <a:lnTo>
                      <a:pt x="68" y="27"/>
                    </a:lnTo>
                    <a:lnTo>
                      <a:pt x="68" y="26"/>
                    </a:lnTo>
                    <a:lnTo>
                      <a:pt x="68" y="24"/>
                    </a:lnTo>
                    <a:lnTo>
                      <a:pt x="68" y="23"/>
                    </a:lnTo>
                    <a:lnTo>
                      <a:pt x="70" y="23"/>
                    </a:lnTo>
                    <a:lnTo>
                      <a:pt x="70" y="21"/>
                    </a:lnTo>
                    <a:lnTo>
                      <a:pt x="70" y="23"/>
                    </a:lnTo>
                    <a:lnTo>
                      <a:pt x="71" y="23"/>
                    </a:lnTo>
                    <a:lnTo>
                      <a:pt x="73" y="23"/>
                    </a:lnTo>
                    <a:lnTo>
                      <a:pt x="73" y="24"/>
                    </a:lnTo>
                    <a:lnTo>
                      <a:pt x="75" y="24"/>
                    </a:lnTo>
                    <a:lnTo>
                      <a:pt x="76" y="24"/>
                    </a:lnTo>
                    <a:lnTo>
                      <a:pt x="75" y="24"/>
                    </a:lnTo>
                    <a:lnTo>
                      <a:pt x="75" y="23"/>
                    </a:lnTo>
                    <a:lnTo>
                      <a:pt x="76" y="23"/>
                    </a:lnTo>
                    <a:lnTo>
                      <a:pt x="76" y="21"/>
                    </a:lnTo>
                    <a:lnTo>
                      <a:pt x="78" y="21"/>
                    </a:lnTo>
                    <a:lnTo>
                      <a:pt x="78" y="19"/>
                    </a:lnTo>
                    <a:lnTo>
                      <a:pt x="78" y="18"/>
                    </a:lnTo>
                    <a:lnTo>
                      <a:pt x="76" y="18"/>
                    </a:lnTo>
                    <a:lnTo>
                      <a:pt x="76" y="16"/>
                    </a:lnTo>
                    <a:lnTo>
                      <a:pt x="78" y="16"/>
                    </a:lnTo>
                    <a:lnTo>
                      <a:pt x="79" y="16"/>
                    </a:lnTo>
                    <a:lnTo>
                      <a:pt x="79" y="18"/>
                    </a:lnTo>
                    <a:lnTo>
                      <a:pt x="79" y="19"/>
                    </a:lnTo>
                    <a:lnTo>
                      <a:pt x="78" y="19"/>
                    </a:lnTo>
                    <a:lnTo>
                      <a:pt x="79" y="19"/>
                    </a:lnTo>
                    <a:lnTo>
                      <a:pt x="78" y="19"/>
                    </a:lnTo>
                    <a:lnTo>
                      <a:pt x="78" y="21"/>
                    </a:lnTo>
                    <a:lnTo>
                      <a:pt x="78" y="23"/>
                    </a:lnTo>
                    <a:lnTo>
                      <a:pt x="79" y="23"/>
                    </a:lnTo>
                    <a:lnTo>
                      <a:pt x="79" y="24"/>
                    </a:lnTo>
                    <a:lnTo>
                      <a:pt x="79" y="26"/>
                    </a:lnTo>
                    <a:lnTo>
                      <a:pt x="79" y="27"/>
                    </a:lnTo>
                    <a:lnTo>
                      <a:pt x="78" y="27"/>
                    </a:lnTo>
                    <a:lnTo>
                      <a:pt x="78" y="29"/>
                    </a:lnTo>
                    <a:lnTo>
                      <a:pt x="76" y="29"/>
                    </a:lnTo>
                    <a:lnTo>
                      <a:pt x="76" y="30"/>
                    </a:lnTo>
                    <a:lnTo>
                      <a:pt x="78" y="30"/>
                    </a:lnTo>
                    <a:lnTo>
                      <a:pt x="78" y="29"/>
                    </a:lnTo>
                    <a:lnTo>
                      <a:pt x="79" y="29"/>
                    </a:lnTo>
                    <a:lnTo>
                      <a:pt x="79" y="30"/>
                    </a:lnTo>
                    <a:lnTo>
                      <a:pt x="79" y="29"/>
                    </a:lnTo>
                    <a:lnTo>
                      <a:pt x="81" y="29"/>
                    </a:lnTo>
                    <a:lnTo>
                      <a:pt x="81" y="30"/>
                    </a:lnTo>
                    <a:lnTo>
                      <a:pt x="81" y="29"/>
                    </a:lnTo>
                    <a:lnTo>
                      <a:pt x="81" y="27"/>
                    </a:lnTo>
                    <a:lnTo>
                      <a:pt x="81" y="26"/>
                    </a:lnTo>
                    <a:lnTo>
                      <a:pt x="81" y="24"/>
                    </a:lnTo>
                    <a:lnTo>
                      <a:pt x="81" y="23"/>
                    </a:lnTo>
                    <a:lnTo>
                      <a:pt x="81" y="21"/>
                    </a:lnTo>
                    <a:lnTo>
                      <a:pt x="79" y="21"/>
                    </a:lnTo>
                    <a:lnTo>
                      <a:pt x="81" y="21"/>
                    </a:lnTo>
                    <a:lnTo>
                      <a:pt x="81" y="19"/>
                    </a:lnTo>
                    <a:lnTo>
                      <a:pt x="81" y="21"/>
                    </a:lnTo>
                    <a:lnTo>
                      <a:pt x="81" y="19"/>
                    </a:lnTo>
                    <a:lnTo>
                      <a:pt x="83" y="19"/>
                    </a:lnTo>
                    <a:lnTo>
                      <a:pt x="81" y="19"/>
                    </a:lnTo>
                    <a:lnTo>
                      <a:pt x="83" y="19"/>
                    </a:lnTo>
                    <a:lnTo>
                      <a:pt x="83" y="18"/>
                    </a:lnTo>
                    <a:lnTo>
                      <a:pt x="83" y="16"/>
                    </a:lnTo>
                    <a:lnTo>
                      <a:pt x="84" y="16"/>
                    </a:lnTo>
                    <a:lnTo>
                      <a:pt x="84" y="15"/>
                    </a:lnTo>
                    <a:lnTo>
                      <a:pt x="84" y="16"/>
                    </a:lnTo>
                    <a:lnTo>
                      <a:pt x="84" y="15"/>
                    </a:lnTo>
                    <a:lnTo>
                      <a:pt x="84" y="13"/>
                    </a:lnTo>
                    <a:lnTo>
                      <a:pt x="84" y="11"/>
                    </a:lnTo>
                    <a:lnTo>
                      <a:pt x="84" y="10"/>
                    </a:lnTo>
                    <a:lnTo>
                      <a:pt x="84" y="8"/>
                    </a:lnTo>
                    <a:lnTo>
                      <a:pt x="86" y="8"/>
                    </a:lnTo>
                    <a:lnTo>
                      <a:pt x="86" y="10"/>
                    </a:lnTo>
                    <a:lnTo>
                      <a:pt x="87" y="10"/>
                    </a:lnTo>
                    <a:lnTo>
                      <a:pt x="87" y="11"/>
                    </a:lnTo>
                    <a:lnTo>
                      <a:pt x="87" y="13"/>
                    </a:lnTo>
                    <a:lnTo>
                      <a:pt x="89" y="13"/>
                    </a:lnTo>
                    <a:lnTo>
                      <a:pt x="89" y="15"/>
                    </a:lnTo>
                    <a:lnTo>
                      <a:pt x="89" y="16"/>
                    </a:lnTo>
                    <a:lnTo>
                      <a:pt x="89" y="18"/>
                    </a:lnTo>
                    <a:lnTo>
                      <a:pt x="87" y="18"/>
                    </a:lnTo>
                    <a:lnTo>
                      <a:pt x="89" y="18"/>
                    </a:lnTo>
                    <a:lnTo>
                      <a:pt x="89" y="19"/>
                    </a:lnTo>
                    <a:lnTo>
                      <a:pt x="89" y="21"/>
                    </a:lnTo>
                    <a:lnTo>
                      <a:pt x="89" y="23"/>
                    </a:lnTo>
                    <a:lnTo>
                      <a:pt x="89" y="24"/>
                    </a:lnTo>
                    <a:lnTo>
                      <a:pt x="87" y="24"/>
                    </a:lnTo>
                    <a:lnTo>
                      <a:pt x="87" y="26"/>
                    </a:lnTo>
                    <a:lnTo>
                      <a:pt x="87" y="27"/>
                    </a:lnTo>
                    <a:lnTo>
                      <a:pt x="87" y="29"/>
                    </a:lnTo>
                    <a:lnTo>
                      <a:pt x="89" y="29"/>
                    </a:lnTo>
                    <a:lnTo>
                      <a:pt x="87" y="29"/>
                    </a:lnTo>
                    <a:lnTo>
                      <a:pt x="87" y="30"/>
                    </a:lnTo>
                    <a:lnTo>
                      <a:pt x="89" y="30"/>
                    </a:lnTo>
                    <a:lnTo>
                      <a:pt x="89" y="32"/>
                    </a:lnTo>
                    <a:lnTo>
                      <a:pt x="89" y="34"/>
                    </a:lnTo>
                    <a:lnTo>
                      <a:pt x="89" y="35"/>
                    </a:lnTo>
                    <a:lnTo>
                      <a:pt x="89" y="37"/>
                    </a:lnTo>
                    <a:lnTo>
                      <a:pt x="89" y="38"/>
                    </a:lnTo>
                    <a:lnTo>
                      <a:pt x="89" y="40"/>
                    </a:lnTo>
                    <a:lnTo>
                      <a:pt x="89" y="42"/>
                    </a:lnTo>
                    <a:lnTo>
                      <a:pt x="89" y="43"/>
                    </a:lnTo>
                    <a:lnTo>
                      <a:pt x="89" y="45"/>
                    </a:lnTo>
                    <a:lnTo>
                      <a:pt x="89" y="46"/>
                    </a:lnTo>
                    <a:lnTo>
                      <a:pt x="87" y="46"/>
                    </a:lnTo>
                    <a:lnTo>
                      <a:pt x="87" y="48"/>
                    </a:lnTo>
                    <a:lnTo>
                      <a:pt x="87" y="49"/>
                    </a:lnTo>
                    <a:lnTo>
                      <a:pt x="87" y="51"/>
                    </a:lnTo>
                    <a:lnTo>
                      <a:pt x="87" y="53"/>
                    </a:lnTo>
                    <a:lnTo>
                      <a:pt x="86" y="53"/>
                    </a:lnTo>
                    <a:lnTo>
                      <a:pt x="86" y="54"/>
                    </a:lnTo>
                    <a:lnTo>
                      <a:pt x="86" y="53"/>
                    </a:lnTo>
                    <a:lnTo>
                      <a:pt x="86" y="54"/>
                    </a:lnTo>
                    <a:lnTo>
                      <a:pt x="84" y="54"/>
                    </a:lnTo>
                    <a:lnTo>
                      <a:pt x="84" y="53"/>
                    </a:lnTo>
                    <a:lnTo>
                      <a:pt x="83" y="53"/>
                    </a:lnTo>
                    <a:lnTo>
                      <a:pt x="83" y="51"/>
                    </a:lnTo>
                    <a:lnTo>
                      <a:pt x="81" y="51"/>
                    </a:lnTo>
                    <a:lnTo>
                      <a:pt x="79" y="51"/>
                    </a:lnTo>
                    <a:lnTo>
                      <a:pt x="79" y="49"/>
                    </a:lnTo>
                    <a:lnTo>
                      <a:pt x="79" y="48"/>
                    </a:lnTo>
                    <a:lnTo>
                      <a:pt x="79" y="49"/>
                    </a:lnTo>
                    <a:lnTo>
                      <a:pt x="78" y="49"/>
                    </a:lnTo>
                    <a:lnTo>
                      <a:pt x="78" y="51"/>
                    </a:lnTo>
                    <a:lnTo>
                      <a:pt x="76" y="51"/>
                    </a:lnTo>
                    <a:lnTo>
                      <a:pt x="76" y="53"/>
                    </a:lnTo>
                    <a:lnTo>
                      <a:pt x="78" y="53"/>
                    </a:lnTo>
                    <a:lnTo>
                      <a:pt x="78" y="54"/>
                    </a:lnTo>
                    <a:lnTo>
                      <a:pt x="78" y="56"/>
                    </a:lnTo>
                    <a:lnTo>
                      <a:pt x="76" y="56"/>
                    </a:lnTo>
                    <a:lnTo>
                      <a:pt x="76" y="57"/>
                    </a:lnTo>
                    <a:lnTo>
                      <a:pt x="76" y="59"/>
                    </a:lnTo>
                    <a:lnTo>
                      <a:pt x="76" y="61"/>
                    </a:lnTo>
                    <a:lnTo>
                      <a:pt x="76" y="62"/>
                    </a:lnTo>
                    <a:lnTo>
                      <a:pt x="76" y="64"/>
                    </a:lnTo>
                    <a:lnTo>
                      <a:pt x="75" y="64"/>
                    </a:lnTo>
                    <a:lnTo>
                      <a:pt x="75" y="65"/>
                    </a:lnTo>
                    <a:lnTo>
                      <a:pt x="75" y="67"/>
                    </a:lnTo>
                    <a:lnTo>
                      <a:pt x="75" y="68"/>
                    </a:lnTo>
                    <a:lnTo>
                      <a:pt x="76" y="68"/>
                    </a:lnTo>
                    <a:lnTo>
                      <a:pt x="75" y="68"/>
                    </a:lnTo>
                    <a:lnTo>
                      <a:pt x="76" y="68"/>
                    </a:lnTo>
                    <a:lnTo>
                      <a:pt x="76" y="70"/>
                    </a:lnTo>
                    <a:lnTo>
                      <a:pt x="75" y="70"/>
                    </a:lnTo>
                    <a:lnTo>
                      <a:pt x="75" y="72"/>
                    </a:lnTo>
                    <a:lnTo>
                      <a:pt x="76" y="72"/>
                    </a:lnTo>
                    <a:lnTo>
                      <a:pt x="76" y="73"/>
                    </a:lnTo>
                    <a:lnTo>
                      <a:pt x="76" y="75"/>
                    </a:lnTo>
                    <a:lnTo>
                      <a:pt x="75" y="75"/>
                    </a:lnTo>
                    <a:lnTo>
                      <a:pt x="75" y="76"/>
                    </a:lnTo>
                    <a:lnTo>
                      <a:pt x="75" y="78"/>
                    </a:lnTo>
                    <a:lnTo>
                      <a:pt x="73" y="78"/>
                    </a:lnTo>
                    <a:lnTo>
                      <a:pt x="73" y="80"/>
                    </a:lnTo>
                    <a:lnTo>
                      <a:pt x="73" y="81"/>
                    </a:lnTo>
                    <a:lnTo>
                      <a:pt x="75" y="81"/>
                    </a:lnTo>
                    <a:lnTo>
                      <a:pt x="75" y="83"/>
                    </a:lnTo>
                    <a:lnTo>
                      <a:pt x="73" y="83"/>
                    </a:lnTo>
                    <a:lnTo>
                      <a:pt x="73" y="84"/>
                    </a:lnTo>
                    <a:lnTo>
                      <a:pt x="75" y="84"/>
                    </a:lnTo>
                    <a:lnTo>
                      <a:pt x="75" y="86"/>
                    </a:lnTo>
                    <a:lnTo>
                      <a:pt x="75" y="87"/>
                    </a:lnTo>
                    <a:lnTo>
                      <a:pt x="73" y="87"/>
                    </a:lnTo>
                    <a:lnTo>
                      <a:pt x="73" y="89"/>
                    </a:lnTo>
                    <a:lnTo>
                      <a:pt x="71" y="89"/>
                    </a:lnTo>
                    <a:lnTo>
                      <a:pt x="73" y="89"/>
                    </a:lnTo>
                    <a:lnTo>
                      <a:pt x="71" y="89"/>
                    </a:lnTo>
                    <a:lnTo>
                      <a:pt x="73" y="89"/>
                    </a:lnTo>
                    <a:lnTo>
                      <a:pt x="73" y="91"/>
                    </a:lnTo>
                    <a:lnTo>
                      <a:pt x="73" y="92"/>
                    </a:lnTo>
                    <a:lnTo>
                      <a:pt x="75" y="92"/>
                    </a:lnTo>
                    <a:lnTo>
                      <a:pt x="76" y="92"/>
                    </a:lnTo>
                    <a:lnTo>
                      <a:pt x="78" y="92"/>
                    </a:lnTo>
                    <a:lnTo>
                      <a:pt x="78" y="91"/>
                    </a:lnTo>
                    <a:lnTo>
                      <a:pt x="78" y="89"/>
                    </a:lnTo>
                    <a:lnTo>
                      <a:pt x="78" y="87"/>
                    </a:lnTo>
                    <a:lnTo>
                      <a:pt x="78" y="86"/>
                    </a:lnTo>
                    <a:lnTo>
                      <a:pt x="79" y="86"/>
                    </a:lnTo>
                    <a:lnTo>
                      <a:pt x="79" y="84"/>
                    </a:lnTo>
                    <a:lnTo>
                      <a:pt x="79" y="83"/>
                    </a:lnTo>
                    <a:lnTo>
                      <a:pt x="79" y="81"/>
                    </a:lnTo>
                    <a:lnTo>
                      <a:pt x="81" y="81"/>
                    </a:lnTo>
                    <a:lnTo>
                      <a:pt x="83" y="81"/>
                    </a:lnTo>
                    <a:lnTo>
                      <a:pt x="83" y="83"/>
                    </a:lnTo>
                    <a:lnTo>
                      <a:pt x="84" y="83"/>
                    </a:lnTo>
                    <a:lnTo>
                      <a:pt x="86" y="83"/>
                    </a:lnTo>
                    <a:lnTo>
                      <a:pt x="86" y="84"/>
                    </a:lnTo>
                    <a:lnTo>
                      <a:pt x="86" y="86"/>
                    </a:lnTo>
                    <a:lnTo>
                      <a:pt x="86" y="87"/>
                    </a:lnTo>
                    <a:lnTo>
                      <a:pt x="84" y="87"/>
                    </a:lnTo>
                    <a:lnTo>
                      <a:pt x="84" y="89"/>
                    </a:lnTo>
                    <a:lnTo>
                      <a:pt x="84" y="91"/>
                    </a:lnTo>
                    <a:lnTo>
                      <a:pt x="84" y="92"/>
                    </a:lnTo>
                    <a:lnTo>
                      <a:pt x="84" y="94"/>
                    </a:lnTo>
                    <a:lnTo>
                      <a:pt x="83" y="94"/>
                    </a:lnTo>
                    <a:lnTo>
                      <a:pt x="83" y="95"/>
                    </a:lnTo>
                    <a:lnTo>
                      <a:pt x="84" y="95"/>
                    </a:lnTo>
                    <a:lnTo>
                      <a:pt x="83" y="95"/>
                    </a:lnTo>
                    <a:lnTo>
                      <a:pt x="83" y="97"/>
                    </a:lnTo>
                    <a:lnTo>
                      <a:pt x="83" y="99"/>
                    </a:lnTo>
                    <a:lnTo>
                      <a:pt x="83" y="100"/>
                    </a:lnTo>
                    <a:lnTo>
                      <a:pt x="83" y="102"/>
                    </a:lnTo>
                    <a:lnTo>
                      <a:pt x="81" y="102"/>
                    </a:lnTo>
                    <a:lnTo>
                      <a:pt x="81" y="103"/>
                    </a:lnTo>
                    <a:lnTo>
                      <a:pt x="79" y="105"/>
                    </a:lnTo>
                    <a:lnTo>
                      <a:pt x="78" y="106"/>
                    </a:lnTo>
                    <a:lnTo>
                      <a:pt x="76" y="106"/>
                    </a:lnTo>
                    <a:lnTo>
                      <a:pt x="75" y="106"/>
                    </a:lnTo>
                    <a:lnTo>
                      <a:pt x="73" y="106"/>
                    </a:lnTo>
                    <a:lnTo>
                      <a:pt x="71" y="108"/>
                    </a:lnTo>
                    <a:lnTo>
                      <a:pt x="70" y="108"/>
                    </a:lnTo>
                    <a:lnTo>
                      <a:pt x="70" y="110"/>
                    </a:lnTo>
                    <a:lnTo>
                      <a:pt x="68" y="110"/>
                    </a:lnTo>
                    <a:lnTo>
                      <a:pt x="67" y="110"/>
                    </a:lnTo>
                    <a:lnTo>
                      <a:pt x="65" y="111"/>
                    </a:lnTo>
                    <a:lnTo>
                      <a:pt x="65" y="110"/>
                    </a:lnTo>
                    <a:lnTo>
                      <a:pt x="64" y="111"/>
                    </a:lnTo>
                    <a:lnTo>
                      <a:pt x="62" y="111"/>
                    </a:lnTo>
                    <a:lnTo>
                      <a:pt x="62" y="113"/>
                    </a:lnTo>
                    <a:lnTo>
                      <a:pt x="60" y="113"/>
                    </a:lnTo>
                    <a:lnTo>
                      <a:pt x="60" y="111"/>
                    </a:lnTo>
                    <a:lnTo>
                      <a:pt x="59" y="111"/>
                    </a:lnTo>
                    <a:lnTo>
                      <a:pt x="60" y="110"/>
                    </a:lnTo>
                    <a:lnTo>
                      <a:pt x="60" y="108"/>
                    </a:lnTo>
                    <a:lnTo>
                      <a:pt x="60" y="106"/>
                    </a:lnTo>
                    <a:lnTo>
                      <a:pt x="60" y="105"/>
                    </a:lnTo>
                    <a:lnTo>
                      <a:pt x="62" y="105"/>
                    </a:lnTo>
                    <a:lnTo>
                      <a:pt x="62" y="103"/>
                    </a:lnTo>
                    <a:lnTo>
                      <a:pt x="60" y="102"/>
                    </a:lnTo>
                    <a:lnTo>
                      <a:pt x="60" y="100"/>
                    </a:lnTo>
                    <a:lnTo>
                      <a:pt x="60" y="99"/>
                    </a:lnTo>
                    <a:lnTo>
                      <a:pt x="60" y="97"/>
                    </a:lnTo>
                    <a:lnTo>
                      <a:pt x="59" y="97"/>
                    </a:lnTo>
                    <a:lnTo>
                      <a:pt x="57" y="97"/>
                    </a:lnTo>
                    <a:lnTo>
                      <a:pt x="56" y="97"/>
                    </a:lnTo>
                    <a:lnTo>
                      <a:pt x="52" y="95"/>
                    </a:lnTo>
                    <a:lnTo>
                      <a:pt x="51" y="97"/>
                    </a:lnTo>
                    <a:lnTo>
                      <a:pt x="51" y="99"/>
                    </a:lnTo>
                    <a:lnTo>
                      <a:pt x="49" y="99"/>
                    </a:lnTo>
                    <a:lnTo>
                      <a:pt x="49" y="97"/>
                    </a:lnTo>
                    <a:lnTo>
                      <a:pt x="48" y="97"/>
                    </a:lnTo>
                    <a:lnTo>
                      <a:pt x="46" y="97"/>
                    </a:lnTo>
                    <a:lnTo>
                      <a:pt x="46" y="95"/>
                    </a:lnTo>
                    <a:lnTo>
                      <a:pt x="45" y="95"/>
                    </a:lnTo>
                    <a:lnTo>
                      <a:pt x="43" y="95"/>
                    </a:lnTo>
                    <a:lnTo>
                      <a:pt x="45" y="95"/>
                    </a:lnTo>
                    <a:lnTo>
                      <a:pt x="45" y="94"/>
                    </a:lnTo>
                    <a:lnTo>
                      <a:pt x="46" y="94"/>
                    </a:lnTo>
                    <a:lnTo>
                      <a:pt x="45" y="94"/>
                    </a:lnTo>
                    <a:lnTo>
                      <a:pt x="43" y="94"/>
                    </a:lnTo>
                    <a:lnTo>
                      <a:pt x="43" y="95"/>
                    </a:lnTo>
                    <a:lnTo>
                      <a:pt x="43" y="97"/>
                    </a:lnTo>
                    <a:lnTo>
                      <a:pt x="41" y="97"/>
                    </a:lnTo>
                    <a:lnTo>
                      <a:pt x="41" y="99"/>
                    </a:lnTo>
                    <a:lnTo>
                      <a:pt x="40" y="99"/>
                    </a:lnTo>
                    <a:lnTo>
                      <a:pt x="40" y="100"/>
                    </a:lnTo>
                    <a:lnTo>
                      <a:pt x="38" y="100"/>
                    </a:lnTo>
                    <a:lnTo>
                      <a:pt x="38" y="102"/>
                    </a:lnTo>
                    <a:lnTo>
                      <a:pt x="37" y="102"/>
                    </a:lnTo>
                    <a:lnTo>
                      <a:pt x="35" y="102"/>
                    </a:lnTo>
                    <a:lnTo>
                      <a:pt x="35" y="100"/>
                    </a:lnTo>
                    <a:lnTo>
                      <a:pt x="37" y="100"/>
                    </a:lnTo>
                    <a:lnTo>
                      <a:pt x="37" y="99"/>
                    </a:lnTo>
                    <a:lnTo>
                      <a:pt x="37" y="97"/>
                    </a:lnTo>
                    <a:lnTo>
                      <a:pt x="37" y="95"/>
                    </a:lnTo>
                    <a:lnTo>
                      <a:pt x="37" y="94"/>
                    </a:lnTo>
                    <a:lnTo>
                      <a:pt x="35" y="94"/>
                    </a:lnTo>
                    <a:lnTo>
                      <a:pt x="35" y="95"/>
                    </a:lnTo>
                    <a:lnTo>
                      <a:pt x="35" y="94"/>
                    </a:lnTo>
                    <a:lnTo>
                      <a:pt x="33" y="94"/>
                    </a:lnTo>
                    <a:lnTo>
                      <a:pt x="33" y="92"/>
                    </a:lnTo>
                    <a:lnTo>
                      <a:pt x="32" y="92"/>
                    </a:lnTo>
                    <a:lnTo>
                      <a:pt x="30" y="92"/>
                    </a:lnTo>
                    <a:lnTo>
                      <a:pt x="30" y="91"/>
                    </a:lnTo>
                    <a:lnTo>
                      <a:pt x="29" y="91"/>
                    </a:lnTo>
                    <a:lnTo>
                      <a:pt x="30" y="91"/>
                    </a:lnTo>
                    <a:lnTo>
                      <a:pt x="29" y="91"/>
                    </a:lnTo>
                    <a:lnTo>
                      <a:pt x="27" y="91"/>
                    </a:lnTo>
                    <a:lnTo>
                      <a:pt x="27" y="89"/>
                    </a:lnTo>
                    <a:lnTo>
                      <a:pt x="27" y="87"/>
                    </a:lnTo>
                    <a:lnTo>
                      <a:pt x="27" y="86"/>
                    </a:lnTo>
                    <a:lnTo>
                      <a:pt x="27" y="84"/>
                    </a:lnTo>
                    <a:lnTo>
                      <a:pt x="29" y="84"/>
                    </a:lnTo>
                    <a:lnTo>
                      <a:pt x="30" y="84"/>
                    </a:lnTo>
                    <a:lnTo>
                      <a:pt x="32" y="84"/>
                    </a:lnTo>
                    <a:lnTo>
                      <a:pt x="32" y="83"/>
                    </a:lnTo>
                    <a:lnTo>
                      <a:pt x="30" y="83"/>
                    </a:lnTo>
                    <a:lnTo>
                      <a:pt x="29" y="83"/>
                    </a:lnTo>
                    <a:lnTo>
                      <a:pt x="30" y="83"/>
                    </a:lnTo>
                    <a:lnTo>
                      <a:pt x="30" y="81"/>
                    </a:lnTo>
                    <a:lnTo>
                      <a:pt x="29" y="81"/>
                    </a:lnTo>
                    <a:lnTo>
                      <a:pt x="29" y="80"/>
                    </a:lnTo>
                    <a:lnTo>
                      <a:pt x="27" y="80"/>
                    </a:lnTo>
                    <a:lnTo>
                      <a:pt x="27" y="78"/>
                    </a:lnTo>
                    <a:lnTo>
                      <a:pt x="29" y="78"/>
                    </a:lnTo>
                    <a:lnTo>
                      <a:pt x="29" y="76"/>
                    </a:lnTo>
                    <a:lnTo>
                      <a:pt x="30" y="76"/>
                    </a:lnTo>
                    <a:lnTo>
                      <a:pt x="30" y="75"/>
                    </a:lnTo>
                    <a:lnTo>
                      <a:pt x="30" y="73"/>
                    </a:lnTo>
                    <a:lnTo>
                      <a:pt x="30" y="72"/>
                    </a:lnTo>
                    <a:lnTo>
                      <a:pt x="32" y="72"/>
                    </a:lnTo>
                    <a:lnTo>
                      <a:pt x="32" y="70"/>
                    </a:lnTo>
                    <a:lnTo>
                      <a:pt x="32" y="68"/>
                    </a:lnTo>
                    <a:lnTo>
                      <a:pt x="33" y="68"/>
                    </a:lnTo>
                    <a:lnTo>
                      <a:pt x="33" y="70"/>
                    </a:lnTo>
                    <a:lnTo>
                      <a:pt x="33" y="68"/>
                    </a:lnTo>
                    <a:lnTo>
                      <a:pt x="35" y="68"/>
                    </a:lnTo>
                    <a:lnTo>
                      <a:pt x="37" y="68"/>
                    </a:lnTo>
                    <a:lnTo>
                      <a:pt x="37" y="70"/>
                    </a:lnTo>
                    <a:lnTo>
                      <a:pt x="35" y="70"/>
                    </a:lnTo>
                    <a:lnTo>
                      <a:pt x="37" y="70"/>
                    </a:lnTo>
                    <a:lnTo>
                      <a:pt x="38" y="70"/>
                    </a:lnTo>
                    <a:lnTo>
                      <a:pt x="38" y="68"/>
                    </a:lnTo>
                    <a:lnTo>
                      <a:pt x="38" y="70"/>
                    </a:lnTo>
                    <a:lnTo>
                      <a:pt x="40" y="70"/>
                    </a:lnTo>
                    <a:lnTo>
                      <a:pt x="40" y="68"/>
                    </a:lnTo>
                    <a:lnTo>
                      <a:pt x="41" y="68"/>
                    </a:lnTo>
                    <a:lnTo>
                      <a:pt x="41" y="70"/>
                    </a:lnTo>
                    <a:lnTo>
                      <a:pt x="43" y="70"/>
                    </a:lnTo>
                    <a:lnTo>
                      <a:pt x="45" y="70"/>
                    </a:lnTo>
                    <a:lnTo>
                      <a:pt x="43" y="70"/>
                    </a:lnTo>
                    <a:lnTo>
                      <a:pt x="41" y="70"/>
                    </a:lnTo>
                    <a:lnTo>
                      <a:pt x="41" y="68"/>
                    </a:lnTo>
                    <a:lnTo>
                      <a:pt x="40" y="68"/>
                    </a:lnTo>
                    <a:lnTo>
                      <a:pt x="38" y="68"/>
                    </a:lnTo>
                    <a:lnTo>
                      <a:pt x="38" y="67"/>
                    </a:lnTo>
                    <a:lnTo>
                      <a:pt x="37" y="67"/>
                    </a:lnTo>
                    <a:lnTo>
                      <a:pt x="37" y="65"/>
                    </a:lnTo>
                    <a:lnTo>
                      <a:pt x="38" y="65"/>
                    </a:lnTo>
                    <a:lnTo>
                      <a:pt x="37" y="65"/>
                    </a:lnTo>
                    <a:lnTo>
                      <a:pt x="37" y="64"/>
                    </a:lnTo>
                    <a:lnTo>
                      <a:pt x="35" y="64"/>
                    </a:lnTo>
                    <a:lnTo>
                      <a:pt x="35" y="65"/>
                    </a:lnTo>
                    <a:lnTo>
                      <a:pt x="33" y="65"/>
                    </a:lnTo>
                    <a:lnTo>
                      <a:pt x="33" y="64"/>
                    </a:lnTo>
                    <a:lnTo>
                      <a:pt x="32" y="64"/>
                    </a:lnTo>
                    <a:lnTo>
                      <a:pt x="32" y="62"/>
                    </a:lnTo>
                    <a:lnTo>
                      <a:pt x="30" y="62"/>
                    </a:lnTo>
                    <a:lnTo>
                      <a:pt x="30" y="64"/>
                    </a:lnTo>
                    <a:lnTo>
                      <a:pt x="30" y="62"/>
                    </a:lnTo>
                    <a:lnTo>
                      <a:pt x="29" y="62"/>
                    </a:lnTo>
                    <a:lnTo>
                      <a:pt x="27" y="62"/>
                    </a:lnTo>
                    <a:lnTo>
                      <a:pt x="26" y="62"/>
                    </a:lnTo>
                    <a:lnTo>
                      <a:pt x="26" y="61"/>
                    </a:lnTo>
                    <a:lnTo>
                      <a:pt x="24" y="61"/>
                    </a:lnTo>
                    <a:lnTo>
                      <a:pt x="22" y="61"/>
                    </a:lnTo>
                    <a:lnTo>
                      <a:pt x="22" y="59"/>
                    </a:lnTo>
                    <a:lnTo>
                      <a:pt x="24" y="59"/>
                    </a:lnTo>
                    <a:lnTo>
                      <a:pt x="26" y="59"/>
                    </a:lnTo>
                    <a:lnTo>
                      <a:pt x="26" y="57"/>
                    </a:lnTo>
                    <a:lnTo>
                      <a:pt x="26" y="56"/>
                    </a:lnTo>
                    <a:lnTo>
                      <a:pt x="27" y="56"/>
                    </a:lnTo>
                    <a:lnTo>
                      <a:pt x="27" y="57"/>
                    </a:lnTo>
                    <a:lnTo>
                      <a:pt x="29" y="57"/>
                    </a:lnTo>
                    <a:lnTo>
                      <a:pt x="29" y="56"/>
                    </a:lnTo>
                    <a:lnTo>
                      <a:pt x="30" y="56"/>
                    </a:lnTo>
                    <a:lnTo>
                      <a:pt x="30" y="54"/>
                    </a:lnTo>
                    <a:lnTo>
                      <a:pt x="29" y="54"/>
                    </a:lnTo>
                    <a:lnTo>
                      <a:pt x="30" y="54"/>
                    </a:lnTo>
                    <a:lnTo>
                      <a:pt x="29" y="54"/>
                    </a:lnTo>
                    <a:lnTo>
                      <a:pt x="30" y="54"/>
                    </a:lnTo>
                    <a:lnTo>
                      <a:pt x="29" y="54"/>
                    </a:lnTo>
                    <a:lnTo>
                      <a:pt x="30" y="54"/>
                    </a:lnTo>
                    <a:lnTo>
                      <a:pt x="30" y="53"/>
                    </a:lnTo>
                    <a:lnTo>
                      <a:pt x="30" y="51"/>
                    </a:lnTo>
                    <a:lnTo>
                      <a:pt x="30" y="49"/>
                    </a:lnTo>
                    <a:lnTo>
                      <a:pt x="29" y="49"/>
                    </a:lnTo>
                    <a:lnTo>
                      <a:pt x="29" y="48"/>
                    </a:lnTo>
                    <a:lnTo>
                      <a:pt x="27" y="48"/>
                    </a:lnTo>
                    <a:lnTo>
                      <a:pt x="26" y="48"/>
                    </a:lnTo>
                    <a:lnTo>
                      <a:pt x="26" y="46"/>
                    </a:lnTo>
                    <a:lnTo>
                      <a:pt x="26" y="45"/>
                    </a:lnTo>
                    <a:lnTo>
                      <a:pt x="24" y="45"/>
                    </a:lnTo>
                    <a:lnTo>
                      <a:pt x="26" y="45"/>
                    </a:lnTo>
                    <a:lnTo>
                      <a:pt x="26" y="43"/>
                    </a:lnTo>
                    <a:lnTo>
                      <a:pt x="24" y="43"/>
                    </a:lnTo>
                    <a:lnTo>
                      <a:pt x="24" y="42"/>
                    </a:lnTo>
                    <a:lnTo>
                      <a:pt x="24" y="40"/>
                    </a:lnTo>
                    <a:lnTo>
                      <a:pt x="26" y="40"/>
                    </a:lnTo>
                    <a:lnTo>
                      <a:pt x="26" y="38"/>
                    </a:lnTo>
                    <a:lnTo>
                      <a:pt x="27" y="38"/>
                    </a:lnTo>
                    <a:lnTo>
                      <a:pt x="27" y="40"/>
                    </a:lnTo>
                    <a:lnTo>
                      <a:pt x="29" y="40"/>
                    </a:lnTo>
                    <a:lnTo>
                      <a:pt x="29" y="38"/>
                    </a:lnTo>
                    <a:lnTo>
                      <a:pt x="30" y="38"/>
                    </a:lnTo>
                    <a:lnTo>
                      <a:pt x="30" y="37"/>
                    </a:lnTo>
                    <a:lnTo>
                      <a:pt x="32" y="37"/>
                    </a:lnTo>
                    <a:lnTo>
                      <a:pt x="32" y="38"/>
                    </a:lnTo>
                    <a:lnTo>
                      <a:pt x="32" y="40"/>
                    </a:lnTo>
                    <a:lnTo>
                      <a:pt x="32" y="38"/>
                    </a:lnTo>
                    <a:lnTo>
                      <a:pt x="33" y="38"/>
                    </a:lnTo>
                    <a:lnTo>
                      <a:pt x="32" y="38"/>
                    </a:lnTo>
                    <a:lnTo>
                      <a:pt x="32" y="37"/>
                    </a:lnTo>
                    <a:lnTo>
                      <a:pt x="30" y="37"/>
                    </a:lnTo>
                    <a:lnTo>
                      <a:pt x="30" y="35"/>
                    </a:lnTo>
                    <a:lnTo>
                      <a:pt x="30" y="34"/>
                    </a:lnTo>
                    <a:lnTo>
                      <a:pt x="29" y="34"/>
                    </a:lnTo>
                    <a:lnTo>
                      <a:pt x="29" y="35"/>
                    </a:lnTo>
                    <a:lnTo>
                      <a:pt x="29" y="34"/>
                    </a:lnTo>
                    <a:lnTo>
                      <a:pt x="27" y="34"/>
                    </a:lnTo>
                    <a:lnTo>
                      <a:pt x="27" y="32"/>
                    </a:lnTo>
                    <a:lnTo>
                      <a:pt x="29" y="32"/>
                    </a:lnTo>
                    <a:lnTo>
                      <a:pt x="27" y="32"/>
                    </a:lnTo>
                    <a:lnTo>
                      <a:pt x="27" y="30"/>
                    </a:lnTo>
                    <a:lnTo>
                      <a:pt x="27" y="29"/>
                    </a:lnTo>
                    <a:lnTo>
                      <a:pt x="26" y="29"/>
                    </a:lnTo>
                    <a:lnTo>
                      <a:pt x="26" y="30"/>
                    </a:lnTo>
                    <a:lnTo>
                      <a:pt x="27" y="30"/>
                    </a:lnTo>
                    <a:lnTo>
                      <a:pt x="27" y="32"/>
                    </a:lnTo>
                    <a:lnTo>
                      <a:pt x="26" y="32"/>
                    </a:lnTo>
                    <a:lnTo>
                      <a:pt x="26" y="30"/>
                    </a:lnTo>
                    <a:lnTo>
                      <a:pt x="24" y="30"/>
                    </a:lnTo>
                    <a:lnTo>
                      <a:pt x="24" y="32"/>
                    </a:lnTo>
                    <a:lnTo>
                      <a:pt x="22" y="32"/>
                    </a:lnTo>
                    <a:lnTo>
                      <a:pt x="24" y="32"/>
                    </a:lnTo>
                    <a:lnTo>
                      <a:pt x="22" y="32"/>
                    </a:lnTo>
                    <a:lnTo>
                      <a:pt x="22" y="30"/>
                    </a:lnTo>
                    <a:lnTo>
                      <a:pt x="24" y="30"/>
                    </a:lnTo>
                    <a:lnTo>
                      <a:pt x="22" y="30"/>
                    </a:lnTo>
                    <a:lnTo>
                      <a:pt x="24" y="30"/>
                    </a:lnTo>
                    <a:lnTo>
                      <a:pt x="22" y="30"/>
                    </a:lnTo>
                    <a:lnTo>
                      <a:pt x="22" y="29"/>
                    </a:lnTo>
                    <a:lnTo>
                      <a:pt x="22" y="27"/>
                    </a:lnTo>
                    <a:lnTo>
                      <a:pt x="22" y="26"/>
                    </a:lnTo>
                    <a:lnTo>
                      <a:pt x="24" y="26"/>
                    </a:lnTo>
                    <a:lnTo>
                      <a:pt x="24" y="24"/>
                    </a:lnTo>
                    <a:lnTo>
                      <a:pt x="22" y="24"/>
                    </a:lnTo>
                    <a:lnTo>
                      <a:pt x="24" y="24"/>
                    </a:lnTo>
                    <a:lnTo>
                      <a:pt x="22" y="24"/>
                    </a:lnTo>
                    <a:lnTo>
                      <a:pt x="22" y="23"/>
                    </a:lnTo>
                    <a:lnTo>
                      <a:pt x="24" y="23"/>
                    </a:lnTo>
                    <a:lnTo>
                      <a:pt x="22" y="23"/>
                    </a:lnTo>
                    <a:lnTo>
                      <a:pt x="24" y="23"/>
                    </a:lnTo>
                    <a:lnTo>
                      <a:pt x="24" y="21"/>
                    </a:lnTo>
                    <a:lnTo>
                      <a:pt x="24" y="19"/>
                    </a:lnTo>
                    <a:lnTo>
                      <a:pt x="24" y="18"/>
                    </a:lnTo>
                    <a:lnTo>
                      <a:pt x="24" y="16"/>
                    </a:lnTo>
                    <a:lnTo>
                      <a:pt x="24" y="18"/>
                    </a:lnTo>
                    <a:lnTo>
                      <a:pt x="24" y="16"/>
                    </a:lnTo>
                    <a:lnTo>
                      <a:pt x="22" y="16"/>
                    </a:lnTo>
                    <a:lnTo>
                      <a:pt x="22" y="15"/>
                    </a:lnTo>
                    <a:lnTo>
                      <a:pt x="22" y="13"/>
                    </a:lnTo>
                    <a:lnTo>
                      <a:pt x="24" y="13"/>
                    </a:lnTo>
                    <a:lnTo>
                      <a:pt x="24" y="15"/>
                    </a:lnTo>
                    <a:lnTo>
                      <a:pt x="24" y="13"/>
                    </a:lnTo>
                    <a:lnTo>
                      <a:pt x="24" y="15"/>
                    </a:lnTo>
                    <a:lnTo>
                      <a:pt x="24" y="13"/>
                    </a:lnTo>
                    <a:lnTo>
                      <a:pt x="26" y="13"/>
                    </a:lnTo>
                    <a:lnTo>
                      <a:pt x="26" y="11"/>
                    </a:lnTo>
                    <a:lnTo>
                      <a:pt x="26" y="10"/>
                    </a:lnTo>
                    <a:lnTo>
                      <a:pt x="26" y="8"/>
                    </a:lnTo>
                    <a:close/>
                  </a:path>
                </a:pathLst>
              </a:custGeom>
              <a:solidFill>
                <a:srgbClr val="E1E1E1"/>
              </a:solidFill>
              <a:ln w="4763">
                <a:solidFill>
                  <a:srgbClr val="6E6E6E"/>
                </a:solidFill>
                <a:prstDash val="solid"/>
                <a:round/>
                <a:headEnd/>
                <a:tailEnd/>
              </a:ln>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41" name="Freeform 21"/>
              <p:cNvSpPr>
                <a:spLocks noEditPoints="1"/>
              </p:cNvSpPr>
              <p:nvPr/>
            </p:nvSpPr>
            <p:spPr bwMode="auto">
              <a:xfrm>
                <a:off x="5072" y="2077"/>
                <a:ext cx="68" cy="101"/>
              </a:xfrm>
              <a:custGeom>
                <a:avLst/>
                <a:gdLst>
                  <a:gd name="T0" fmla="*/ 8 w 68"/>
                  <a:gd name="T1" fmla="*/ 47 h 101"/>
                  <a:gd name="T2" fmla="*/ 65 w 68"/>
                  <a:gd name="T3" fmla="*/ 30 h 101"/>
                  <a:gd name="T4" fmla="*/ 22 w 68"/>
                  <a:gd name="T5" fmla="*/ 31 h 101"/>
                  <a:gd name="T6" fmla="*/ 22 w 68"/>
                  <a:gd name="T7" fmla="*/ 31 h 101"/>
                  <a:gd name="T8" fmla="*/ 33 w 68"/>
                  <a:gd name="T9" fmla="*/ 19 h 101"/>
                  <a:gd name="T10" fmla="*/ 30 w 68"/>
                  <a:gd name="T11" fmla="*/ 19 h 101"/>
                  <a:gd name="T12" fmla="*/ 32 w 68"/>
                  <a:gd name="T13" fmla="*/ 17 h 101"/>
                  <a:gd name="T14" fmla="*/ 32 w 68"/>
                  <a:gd name="T15" fmla="*/ 12 h 101"/>
                  <a:gd name="T16" fmla="*/ 14 w 68"/>
                  <a:gd name="T17" fmla="*/ 16 h 101"/>
                  <a:gd name="T18" fmla="*/ 14 w 68"/>
                  <a:gd name="T19" fmla="*/ 25 h 101"/>
                  <a:gd name="T20" fmla="*/ 19 w 68"/>
                  <a:gd name="T21" fmla="*/ 23 h 101"/>
                  <a:gd name="T22" fmla="*/ 19 w 68"/>
                  <a:gd name="T23" fmla="*/ 27 h 101"/>
                  <a:gd name="T24" fmla="*/ 19 w 68"/>
                  <a:gd name="T25" fmla="*/ 30 h 101"/>
                  <a:gd name="T26" fmla="*/ 16 w 68"/>
                  <a:gd name="T27" fmla="*/ 33 h 101"/>
                  <a:gd name="T28" fmla="*/ 17 w 68"/>
                  <a:gd name="T29" fmla="*/ 41 h 101"/>
                  <a:gd name="T30" fmla="*/ 11 w 68"/>
                  <a:gd name="T31" fmla="*/ 44 h 101"/>
                  <a:gd name="T32" fmla="*/ 9 w 68"/>
                  <a:gd name="T33" fmla="*/ 36 h 101"/>
                  <a:gd name="T34" fmla="*/ 9 w 68"/>
                  <a:gd name="T35" fmla="*/ 30 h 101"/>
                  <a:gd name="T36" fmla="*/ 11 w 68"/>
                  <a:gd name="T37" fmla="*/ 22 h 101"/>
                  <a:gd name="T38" fmla="*/ 11 w 68"/>
                  <a:gd name="T39" fmla="*/ 12 h 101"/>
                  <a:gd name="T40" fmla="*/ 41 w 68"/>
                  <a:gd name="T41" fmla="*/ 1 h 101"/>
                  <a:gd name="T42" fmla="*/ 46 w 68"/>
                  <a:gd name="T43" fmla="*/ 6 h 101"/>
                  <a:gd name="T44" fmla="*/ 49 w 68"/>
                  <a:gd name="T45" fmla="*/ 12 h 101"/>
                  <a:gd name="T46" fmla="*/ 54 w 68"/>
                  <a:gd name="T47" fmla="*/ 17 h 101"/>
                  <a:gd name="T48" fmla="*/ 55 w 68"/>
                  <a:gd name="T49" fmla="*/ 22 h 101"/>
                  <a:gd name="T50" fmla="*/ 57 w 68"/>
                  <a:gd name="T51" fmla="*/ 27 h 101"/>
                  <a:gd name="T52" fmla="*/ 57 w 68"/>
                  <a:gd name="T53" fmla="*/ 36 h 101"/>
                  <a:gd name="T54" fmla="*/ 55 w 68"/>
                  <a:gd name="T55" fmla="*/ 44 h 101"/>
                  <a:gd name="T56" fmla="*/ 55 w 68"/>
                  <a:gd name="T57" fmla="*/ 55 h 101"/>
                  <a:gd name="T58" fmla="*/ 57 w 68"/>
                  <a:gd name="T59" fmla="*/ 65 h 101"/>
                  <a:gd name="T60" fmla="*/ 59 w 68"/>
                  <a:gd name="T61" fmla="*/ 73 h 101"/>
                  <a:gd name="T62" fmla="*/ 62 w 68"/>
                  <a:gd name="T63" fmla="*/ 79 h 101"/>
                  <a:gd name="T64" fmla="*/ 63 w 68"/>
                  <a:gd name="T65" fmla="*/ 87 h 101"/>
                  <a:gd name="T66" fmla="*/ 68 w 68"/>
                  <a:gd name="T67" fmla="*/ 93 h 101"/>
                  <a:gd name="T68" fmla="*/ 60 w 68"/>
                  <a:gd name="T69" fmla="*/ 100 h 101"/>
                  <a:gd name="T70" fmla="*/ 51 w 68"/>
                  <a:gd name="T71" fmla="*/ 100 h 101"/>
                  <a:gd name="T72" fmla="*/ 36 w 68"/>
                  <a:gd name="T73" fmla="*/ 100 h 101"/>
                  <a:gd name="T74" fmla="*/ 13 w 68"/>
                  <a:gd name="T75" fmla="*/ 101 h 101"/>
                  <a:gd name="T76" fmla="*/ 6 w 68"/>
                  <a:gd name="T77" fmla="*/ 101 h 101"/>
                  <a:gd name="T78" fmla="*/ 3 w 68"/>
                  <a:gd name="T79" fmla="*/ 95 h 101"/>
                  <a:gd name="T80" fmla="*/ 0 w 68"/>
                  <a:gd name="T81" fmla="*/ 88 h 101"/>
                  <a:gd name="T82" fmla="*/ 0 w 68"/>
                  <a:gd name="T83" fmla="*/ 77 h 101"/>
                  <a:gd name="T84" fmla="*/ 2 w 68"/>
                  <a:gd name="T85" fmla="*/ 69 h 101"/>
                  <a:gd name="T86" fmla="*/ 0 w 68"/>
                  <a:gd name="T87" fmla="*/ 61 h 101"/>
                  <a:gd name="T88" fmla="*/ 3 w 68"/>
                  <a:gd name="T89" fmla="*/ 55 h 101"/>
                  <a:gd name="T90" fmla="*/ 6 w 68"/>
                  <a:gd name="T91" fmla="*/ 58 h 101"/>
                  <a:gd name="T92" fmla="*/ 6 w 68"/>
                  <a:gd name="T93" fmla="*/ 65 h 101"/>
                  <a:gd name="T94" fmla="*/ 9 w 68"/>
                  <a:gd name="T95" fmla="*/ 68 h 101"/>
                  <a:gd name="T96" fmla="*/ 9 w 68"/>
                  <a:gd name="T97" fmla="*/ 61 h 101"/>
                  <a:gd name="T98" fmla="*/ 13 w 68"/>
                  <a:gd name="T99" fmla="*/ 55 h 101"/>
                  <a:gd name="T100" fmla="*/ 17 w 68"/>
                  <a:gd name="T101" fmla="*/ 50 h 101"/>
                  <a:gd name="T102" fmla="*/ 24 w 68"/>
                  <a:gd name="T103" fmla="*/ 47 h 101"/>
                  <a:gd name="T104" fmla="*/ 30 w 68"/>
                  <a:gd name="T105" fmla="*/ 44 h 101"/>
                  <a:gd name="T106" fmla="*/ 32 w 68"/>
                  <a:gd name="T107" fmla="*/ 36 h 101"/>
                  <a:gd name="T108" fmla="*/ 33 w 68"/>
                  <a:gd name="T109" fmla="*/ 31 h 101"/>
                  <a:gd name="T110" fmla="*/ 35 w 68"/>
                  <a:gd name="T111" fmla="*/ 30 h 101"/>
                  <a:gd name="T112" fmla="*/ 36 w 68"/>
                  <a:gd name="T113" fmla="*/ 22 h 101"/>
                  <a:gd name="T114" fmla="*/ 35 w 68"/>
                  <a:gd name="T115" fmla="*/ 14 h 101"/>
                  <a:gd name="T116" fmla="*/ 35 w 68"/>
                  <a:gd name="T117" fmla="*/ 8 h 101"/>
                  <a:gd name="T118" fmla="*/ 36 w 68"/>
                  <a:gd name="T1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 h="101">
                    <a:moveTo>
                      <a:pt x="6" y="60"/>
                    </a:moveTo>
                    <a:lnTo>
                      <a:pt x="6" y="61"/>
                    </a:lnTo>
                    <a:lnTo>
                      <a:pt x="8" y="61"/>
                    </a:lnTo>
                    <a:lnTo>
                      <a:pt x="6" y="61"/>
                    </a:lnTo>
                    <a:lnTo>
                      <a:pt x="6" y="60"/>
                    </a:lnTo>
                    <a:close/>
                    <a:moveTo>
                      <a:pt x="8" y="47"/>
                    </a:moveTo>
                    <a:lnTo>
                      <a:pt x="8" y="49"/>
                    </a:lnTo>
                    <a:lnTo>
                      <a:pt x="8" y="47"/>
                    </a:lnTo>
                    <a:close/>
                    <a:moveTo>
                      <a:pt x="19" y="42"/>
                    </a:moveTo>
                    <a:lnTo>
                      <a:pt x="17" y="42"/>
                    </a:lnTo>
                    <a:lnTo>
                      <a:pt x="19" y="42"/>
                    </a:lnTo>
                    <a:close/>
                    <a:moveTo>
                      <a:pt x="65" y="30"/>
                    </a:moveTo>
                    <a:lnTo>
                      <a:pt x="65" y="31"/>
                    </a:lnTo>
                    <a:lnTo>
                      <a:pt x="65" y="30"/>
                    </a:lnTo>
                    <a:close/>
                    <a:moveTo>
                      <a:pt x="24" y="28"/>
                    </a:moveTo>
                    <a:lnTo>
                      <a:pt x="24" y="30"/>
                    </a:lnTo>
                    <a:lnTo>
                      <a:pt x="24" y="31"/>
                    </a:lnTo>
                    <a:lnTo>
                      <a:pt x="22" y="31"/>
                    </a:lnTo>
                    <a:lnTo>
                      <a:pt x="22" y="33"/>
                    </a:lnTo>
                    <a:lnTo>
                      <a:pt x="22" y="35"/>
                    </a:lnTo>
                    <a:lnTo>
                      <a:pt x="21" y="35"/>
                    </a:lnTo>
                    <a:lnTo>
                      <a:pt x="21" y="33"/>
                    </a:lnTo>
                    <a:lnTo>
                      <a:pt x="21" y="31"/>
                    </a:lnTo>
                    <a:lnTo>
                      <a:pt x="22" y="31"/>
                    </a:lnTo>
                    <a:lnTo>
                      <a:pt x="22" y="30"/>
                    </a:lnTo>
                    <a:lnTo>
                      <a:pt x="22" y="28"/>
                    </a:lnTo>
                    <a:lnTo>
                      <a:pt x="24" y="28"/>
                    </a:lnTo>
                    <a:close/>
                    <a:moveTo>
                      <a:pt x="32" y="17"/>
                    </a:moveTo>
                    <a:lnTo>
                      <a:pt x="32" y="19"/>
                    </a:lnTo>
                    <a:lnTo>
                      <a:pt x="33" y="19"/>
                    </a:lnTo>
                    <a:lnTo>
                      <a:pt x="33" y="20"/>
                    </a:lnTo>
                    <a:lnTo>
                      <a:pt x="32" y="20"/>
                    </a:lnTo>
                    <a:lnTo>
                      <a:pt x="30" y="20"/>
                    </a:lnTo>
                    <a:lnTo>
                      <a:pt x="30" y="19"/>
                    </a:lnTo>
                    <a:lnTo>
                      <a:pt x="30" y="20"/>
                    </a:lnTo>
                    <a:lnTo>
                      <a:pt x="30" y="19"/>
                    </a:lnTo>
                    <a:lnTo>
                      <a:pt x="32" y="19"/>
                    </a:lnTo>
                    <a:lnTo>
                      <a:pt x="32" y="17"/>
                    </a:lnTo>
                    <a:close/>
                    <a:moveTo>
                      <a:pt x="33" y="14"/>
                    </a:moveTo>
                    <a:lnTo>
                      <a:pt x="33" y="16"/>
                    </a:lnTo>
                    <a:lnTo>
                      <a:pt x="33" y="17"/>
                    </a:lnTo>
                    <a:lnTo>
                      <a:pt x="32" y="17"/>
                    </a:lnTo>
                    <a:lnTo>
                      <a:pt x="32" y="16"/>
                    </a:lnTo>
                    <a:lnTo>
                      <a:pt x="32" y="14"/>
                    </a:lnTo>
                    <a:lnTo>
                      <a:pt x="33" y="14"/>
                    </a:lnTo>
                    <a:close/>
                    <a:moveTo>
                      <a:pt x="32" y="12"/>
                    </a:moveTo>
                    <a:lnTo>
                      <a:pt x="33" y="12"/>
                    </a:lnTo>
                    <a:lnTo>
                      <a:pt x="32" y="12"/>
                    </a:lnTo>
                    <a:close/>
                    <a:moveTo>
                      <a:pt x="13" y="9"/>
                    </a:moveTo>
                    <a:lnTo>
                      <a:pt x="13" y="11"/>
                    </a:lnTo>
                    <a:lnTo>
                      <a:pt x="13" y="12"/>
                    </a:lnTo>
                    <a:lnTo>
                      <a:pt x="13" y="14"/>
                    </a:lnTo>
                    <a:lnTo>
                      <a:pt x="14" y="14"/>
                    </a:lnTo>
                    <a:lnTo>
                      <a:pt x="14" y="16"/>
                    </a:lnTo>
                    <a:lnTo>
                      <a:pt x="14" y="17"/>
                    </a:lnTo>
                    <a:lnTo>
                      <a:pt x="14" y="19"/>
                    </a:lnTo>
                    <a:lnTo>
                      <a:pt x="14" y="20"/>
                    </a:lnTo>
                    <a:lnTo>
                      <a:pt x="14" y="22"/>
                    </a:lnTo>
                    <a:lnTo>
                      <a:pt x="14" y="23"/>
                    </a:lnTo>
                    <a:lnTo>
                      <a:pt x="14" y="25"/>
                    </a:lnTo>
                    <a:lnTo>
                      <a:pt x="16" y="25"/>
                    </a:lnTo>
                    <a:lnTo>
                      <a:pt x="16" y="27"/>
                    </a:lnTo>
                    <a:lnTo>
                      <a:pt x="17" y="27"/>
                    </a:lnTo>
                    <a:lnTo>
                      <a:pt x="17" y="25"/>
                    </a:lnTo>
                    <a:lnTo>
                      <a:pt x="19" y="25"/>
                    </a:lnTo>
                    <a:lnTo>
                      <a:pt x="19" y="23"/>
                    </a:lnTo>
                    <a:lnTo>
                      <a:pt x="19" y="22"/>
                    </a:lnTo>
                    <a:lnTo>
                      <a:pt x="19" y="23"/>
                    </a:lnTo>
                    <a:lnTo>
                      <a:pt x="21" y="23"/>
                    </a:lnTo>
                    <a:lnTo>
                      <a:pt x="19" y="23"/>
                    </a:lnTo>
                    <a:lnTo>
                      <a:pt x="19" y="25"/>
                    </a:lnTo>
                    <a:lnTo>
                      <a:pt x="19" y="27"/>
                    </a:lnTo>
                    <a:lnTo>
                      <a:pt x="19" y="28"/>
                    </a:lnTo>
                    <a:lnTo>
                      <a:pt x="19" y="30"/>
                    </a:lnTo>
                    <a:lnTo>
                      <a:pt x="17" y="30"/>
                    </a:lnTo>
                    <a:lnTo>
                      <a:pt x="19" y="30"/>
                    </a:lnTo>
                    <a:lnTo>
                      <a:pt x="17" y="30"/>
                    </a:lnTo>
                    <a:lnTo>
                      <a:pt x="19" y="30"/>
                    </a:lnTo>
                    <a:lnTo>
                      <a:pt x="17" y="30"/>
                    </a:lnTo>
                    <a:lnTo>
                      <a:pt x="17" y="31"/>
                    </a:lnTo>
                    <a:lnTo>
                      <a:pt x="16" y="31"/>
                    </a:lnTo>
                    <a:lnTo>
                      <a:pt x="16" y="30"/>
                    </a:lnTo>
                    <a:lnTo>
                      <a:pt x="16" y="31"/>
                    </a:lnTo>
                    <a:lnTo>
                      <a:pt x="16" y="33"/>
                    </a:lnTo>
                    <a:lnTo>
                      <a:pt x="16" y="35"/>
                    </a:lnTo>
                    <a:lnTo>
                      <a:pt x="16" y="36"/>
                    </a:lnTo>
                    <a:lnTo>
                      <a:pt x="17" y="36"/>
                    </a:lnTo>
                    <a:lnTo>
                      <a:pt x="17" y="38"/>
                    </a:lnTo>
                    <a:lnTo>
                      <a:pt x="17" y="39"/>
                    </a:lnTo>
                    <a:lnTo>
                      <a:pt x="17" y="41"/>
                    </a:lnTo>
                    <a:lnTo>
                      <a:pt x="17" y="42"/>
                    </a:lnTo>
                    <a:lnTo>
                      <a:pt x="16" y="42"/>
                    </a:lnTo>
                    <a:lnTo>
                      <a:pt x="16" y="44"/>
                    </a:lnTo>
                    <a:lnTo>
                      <a:pt x="14" y="44"/>
                    </a:lnTo>
                    <a:lnTo>
                      <a:pt x="13" y="44"/>
                    </a:lnTo>
                    <a:lnTo>
                      <a:pt x="11" y="44"/>
                    </a:lnTo>
                    <a:lnTo>
                      <a:pt x="9" y="44"/>
                    </a:lnTo>
                    <a:lnTo>
                      <a:pt x="9" y="42"/>
                    </a:lnTo>
                    <a:lnTo>
                      <a:pt x="9" y="41"/>
                    </a:lnTo>
                    <a:lnTo>
                      <a:pt x="9" y="39"/>
                    </a:lnTo>
                    <a:lnTo>
                      <a:pt x="9" y="38"/>
                    </a:lnTo>
                    <a:lnTo>
                      <a:pt x="9" y="36"/>
                    </a:lnTo>
                    <a:lnTo>
                      <a:pt x="9" y="35"/>
                    </a:lnTo>
                    <a:lnTo>
                      <a:pt x="9" y="33"/>
                    </a:lnTo>
                    <a:lnTo>
                      <a:pt x="9" y="31"/>
                    </a:lnTo>
                    <a:lnTo>
                      <a:pt x="11" y="31"/>
                    </a:lnTo>
                    <a:lnTo>
                      <a:pt x="9" y="31"/>
                    </a:lnTo>
                    <a:lnTo>
                      <a:pt x="9" y="30"/>
                    </a:lnTo>
                    <a:lnTo>
                      <a:pt x="11" y="30"/>
                    </a:lnTo>
                    <a:lnTo>
                      <a:pt x="11" y="28"/>
                    </a:lnTo>
                    <a:lnTo>
                      <a:pt x="11" y="27"/>
                    </a:lnTo>
                    <a:lnTo>
                      <a:pt x="11" y="25"/>
                    </a:lnTo>
                    <a:lnTo>
                      <a:pt x="11" y="23"/>
                    </a:lnTo>
                    <a:lnTo>
                      <a:pt x="11" y="22"/>
                    </a:lnTo>
                    <a:lnTo>
                      <a:pt x="11" y="20"/>
                    </a:lnTo>
                    <a:lnTo>
                      <a:pt x="11" y="19"/>
                    </a:lnTo>
                    <a:lnTo>
                      <a:pt x="11" y="17"/>
                    </a:lnTo>
                    <a:lnTo>
                      <a:pt x="11" y="16"/>
                    </a:lnTo>
                    <a:lnTo>
                      <a:pt x="11" y="14"/>
                    </a:lnTo>
                    <a:lnTo>
                      <a:pt x="11" y="12"/>
                    </a:lnTo>
                    <a:lnTo>
                      <a:pt x="11" y="11"/>
                    </a:lnTo>
                    <a:lnTo>
                      <a:pt x="11" y="9"/>
                    </a:lnTo>
                    <a:lnTo>
                      <a:pt x="13" y="9"/>
                    </a:lnTo>
                    <a:close/>
                    <a:moveTo>
                      <a:pt x="40" y="0"/>
                    </a:moveTo>
                    <a:lnTo>
                      <a:pt x="41" y="0"/>
                    </a:lnTo>
                    <a:lnTo>
                      <a:pt x="41" y="1"/>
                    </a:lnTo>
                    <a:lnTo>
                      <a:pt x="43" y="1"/>
                    </a:lnTo>
                    <a:lnTo>
                      <a:pt x="43" y="3"/>
                    </a:lnTo>
                    <a:lnTo>
                      <a:pt x="43" y="4"/>
                    </a:lnTo>
                    <a:lnTo>
                      <a:pt x="44" y="4"/>
                    </a:lnTo>
                    <a:lnTo>
                      <a:pt x="44" y="6"/>
                    </a:lnTo>
                    <a:lnTo>
                      <a:pt x="46" y="6"/>
                    </a:lnTo>
                    <a:lnTo>
                      <a:pt x="46" y="8"/>
                    </a:lnTo>
                    <a:lnTo>
                      <a:pt x="47" y="8"/>
                    </a:lnTo>
                    <a:lnTo>
                      <a:pt x="47" y="9"/>
                    </a:lnTo>
                    <a:lnTo>
                      <a:pt x="47" y="11"/>
                    </a:lnTo>
                    <a:lnTo>
                      <a:pt x="49" y="11"/>
                    </a:lnTo>
                    <a:lnTo>
                      <a:pt x="49" y="12"/>
                    </a:lnTo>
                    <a:lnTo>
                      <a:pt x="51" y="12"/>
                    </a:lnTo>
                    <a:lnTo>
                      <a:pt x="51" y="14"/>
                    </a:lnTo>
                    <a:lnTo>
                      <a:pt x="52" y="14"/>
                    </a:lnTo>
                    <a:lnTo>
                      <a:pt x="52" y="16"/>
                    </a:lnTo>
                    <a:lnTo>
                      <a:pt x="52" y="17"/>
                    </a:lnTo>
                    <a:lnTo>
                      <a:pt x="54" y="17"/>
                    </a:lnTo>
                    <a:lnTo>
                      <a:pt x="54" y="19"/>
                    </a:lnTo>
                    <a:lnTo>
                      <a:pt x="54" y="20"/>
                    </a:lnTo>
                    <a:lnTo>
                      <a:pt x="55" y="20"/>
                    </a:lnTo>
                    <a:lnTo>
                      <a:pt x="54" y="20"/>
                    </a:lnTo>
                    <a:lnTo>
                      <a:pt x="55" y="20"/>
                    </a:lnTo>
                    <a:lnTo>
                      <a:pt x="55" y="22"/>
                    </a:lnTo>
                    <a:lnTo>
                      <a:pt x="55" y="23"/>
                    </a:lnTo>
                    <a:lnTo>
                      <a:pt x="57" y="23"/>
                    </a:lnTo>
                    <a:lnTo>
                      <a:pt x="57" y="25"/>
                    </a:lnTo>
                    <a:lnTo>
                      <a:pt x="55" y="25"/>
                    </a:lnTo>
                    <a:lnTo>
                      <a:pt x="57" y="25"/>
                    </a:lnTo>
                    <a:lnTo>
                      <a:pt x="57" y="27"/>
                    </a:lnTo>
                    <a:lnTo>
                      <a:pt x="57" y="28"/>
                    </a:lnTo>
                    <a:lnTo>
                      <a:pt x="57" y="30"/>
                    </a:lnTo>
                    <a:lnTo>
                      <a:pt x="57" y="31"/>
                    </a:lnTo>
                    <a:lnTo>
                      <a:pt x="57" y="33"/>
                    </a:lnTo>
                    <a:lnTo>
                      <a:pt x="57" y="35"/>
                    </a:lnTo>
                    <a:lnTo>
                      <a:pt x="57" y="36"/>
                    </a:lnTo>
                    <a:lnTo>
                      <a:pt x="57" y="38"/>
                    </a:lnTo>
                    <a:lnTo>
                      <a:pt x="57" y="39"/>
                    </a:lnTo>
                    <a:lnTo>
                      <a:pt x="57" y="41"/>
                    </a:lnTo>
                    <a:lnTo>
                      <a:pt x="55" y="41"/>
                    </a:lnTo>
                    <a:lnTo>
                      <a:pt x="55" y="42"/>
                    </a:lnTo>
                    <a:lnTo>
                      <a:pt x="55" y="44"/>
                    </a:lnTo>
                    <a:lnTo>
                      <a:pt x="55" y="46"/>
                    </a:lnTo>
                    <a:lnTo>
                      <a:pt x="55" y="47"/>
                    </a:lnTo>
                    <a:lnTo>
                      <a:pt x="55" y="49"/>
                    </a:lnTo>
                    <a:lnTo>
                      <a:pt x="55" y="52"/>
                    </a:lnTo>
                    <a:lnTo>
                      <a:pt x="55" y="54"/>
                    </a:lnTo>
                    <a:lnTo>
                      <a:pt x="55" y="55"/>
                    </a:lnTo>
                    <a:lnTo>
                      <a:pt x="55" y="57"/>
                    </a:lnTo>
                    <a:lnTo>
                      <a:pt x="55" y="58"/>
                    </a:lnTo>
                    <a:lnTo>
                      <a:pt x="55" y="61"/>
                    </a:lnTo>
                    <a:lnTo>
                      <a:pt x="55" y="63"/>
                    </a:lnTo>
                    <a:lnTo>
                      <a:pt x="57" y="63"/>
                    </a:lnTo>
                    <a:lnTo>
                      <a:pt x="57" y="65"/>
                    </a:lnTo>
                    <a:lnTo>
                      <a:pt x="57" y="66"/>
                    </a:lnTo>
                    <a:lnTo>
                      <a:pt x="57" y="68"/>
                    </a:lnTo>
                    <a:lnTo>
                      <a:pt x="59" y="68"/>
                    </a:lnTo>
                    <a:lnTo>
                      <a:pt x="59" y="69"/>
                    </a:lnTo>
                    <a:lnTo>
                      <a:pt x="59" y="71"/>
                    </a:lnTo>
                    <a:lnTo>
                      <a:pt x="59" y="73"/>
                    </a:lnTo>
                    <a:lnTo>
                      <a:pt x="60" y="73"/>
                    </a:lnTo>
                    <a:lnTo>
                      <a:pt x="60" y="74"/>
                    </a:lnTo>
                    <a:lnTo>
                      <a:pt x="60" y="76"/>
                    </a:lnTo>
                    <a:lnTo>
                      <a:pt x="60" y="77"/>
                    </a:lnTo>
                    <a:lnTo>
                      <a:pt x="60" y="79"/>
                    </a:lnTo>
                    <a:lnTo>
                      <a:pt x="62" y="79"/>
                    </a:lnTo>
                    <a:lnTo>
                      <a:pt x="62" y="80"/>
                    </a:lnTo>
                    <a:lnTo>
                      <a:pt x="62" y="82"/>
                    </a:lnTo>
                    <a:lnTo>
                      <a:pt x="63" y="82"/>
                    </a:lnTo>
                    <a:lnTo>
                      <a:pt x="63" y="84"/>
                    </a:lnTo>
                    <a:lnTo>
                      <a:pt x="63" y="85"/>
                    </a:lnTo>
                    <a:lnTo>
                      <a:pt x="63" y="87"/>
                    </a:lnTo>
                    <a:lnTo>
                      <a:pt x="63" y="88"/>
                    </a:lnTo>
                    <a:lnTo>
                      <a:pt x="65" y="88"/>
                    </a:lnTo>
                    <a:lnTo>
                      <a:pt x="65" y="90"/>
                    </a:lnTo>
                    <a:lnTo>
                      <a:pt x="66" y="92"/>
                    </a:lnTo>
                    <a:lnTo>
                      <a:pt x="66" y="93"/>
                    </a:lnTo>
                    <a:lnTo>
                      <a:pt x="68" y="93"/>
                    </a:lnTo>
                    <a:lnTo>
                      <a:pt x="68" y="95"/>
                    </a:lnTo>
                    <a:lnTo>
                      <a:pt x="66" y="96"/>
                    </a:lnTo>
                    <a:lnTo>
                      <a:pt x="65" y="96"/>
                    </a:lnTo>
                    <a:lnTo>
                      <a:pt x="63" y="98"/>
                    </a:lnTo>
                    <a:lnTo>
                      <a:pt x="62" y="100"/>
                    </a:lnTo>
                    <a:lnTo>
                      <a:pt x="60" y="100"/>
                    </a:lnTo>
                    <a:lnTo>
                      <a:pt x="59" y="100"/>
                    </a:lnTo>
                    <a:lnTo>
                      <a:pt x="57" y="100"/>
                    </a:lnTo>
                    <a:lnTo>
                      <a:pt x="55" y="100"/>
                    </a:lnTo>
                    <a:lnTo>
                      <a:pt x="54" y="100"/>
                    </a:lnTo>
                    <a:lnTo>
                      <a:pt x="52" y="100"/>
                    </a:lnTo>
                    <a:lnTo>
                      <a:pt x="51" y="100"/>
                    </a:lnTo>
                    <a:lnTo>
                      <a:pt x="49" y="100"/>
                    </a:lnTo>
                    <a:lnTo>
                      <a:pt x="47" y="100"/>
                    </a:lnTo>
                    <a:lnTo>
                      <a:pt x="46" y="100"/>
                    </a:lnTo>
                    <a:lnTo>
                      <a:pt x="44" y="98"/>
                    </a:lnTo>
                    <a:lnTo>
                      <a:pt x="41" y="100"/>
                    </a:lnTo>
                    <a:lnTo>
                      <a:pt x="36" y="100"/>
                    </a:lnTo>
                    <a:lnTo>
                      <a:pt x="33" y="100"/>
                    </a:lnTo>
                    <a:lnTo>
                      <a:pt x="30" y="101"/>
                    </a:lnTo>
                    <a:lnTo>
                      <a:pt x="22" y="100"/>
                    </a:lnTo>
                    <a:lnTo>
                      <a:pt x="21" y="101"/>
                    </a:lnTo>
                    <a:lnTo>
                      <a:pt x="16" y="101"/>
                    </a:lnTo>
                    <a:lnTo>
                      <a:pt x="13" y="101"/>
                    </a:lnTo>
                    <a:lnTo>
                      <a:pt x="11" y="100"/>
                    </a:lnTo>
                    <a:lnTo>
                      <a:pt x="9" y="101"/>
                    </a:lnTo>
                    <a:lnTo>
                      <a:pt x="8" y="101"/>
                    </a:lnTo>
                    <a:lnTo>
                      <a:pt x="6" y="101"/>
                    </a:lnTo>
                    <a:lnTo>
                      <a:pt x="6" y="100"/>
                    </a:lnTo>
                    <a:lnTo>
                      <a:pt x="6" y="101"/>
                    </a:lnTo>
                    <a:lnTo>
                      <a:pt x="5" y="101"/>
                    </a:lnTo>
                    <a:lnTo>
                      <a:pt x="5" y="100"/>
                    </a:lnTo>
                    <a:lnTo>
                      <a:pt x="5" y="98"/>
                    </a:lnTo>
                    <a:lnTo>
                      <a:pt x="3" y="98"/>
                    </a:lnTo>
                    <a:lnTo>
                      <a:pt x="3" y="96"/>
                    </a:lnTo>
                    <a:lnTo>
                      <a:pt x="3" y="95"/>
                    </a:lnTo>
                    <a:lnTo>
                      <a:pt x="3" y="93"/>
                    </a:lnTo>
                    <a:lnTo>
                      <a:pt x="2" y="93"/>
                    </a:lnTo>
                    <a:lnTo>
                      <a:pt x="2" y="92"/>
                    </a:lnTo>
                    <a:lnTo>
                      <a:pt x="2" y="90"/>
                    </a:lnTo>
                    <a:lnTo>
                      <a:pt x="2" y="88"/>
                    </a:lnTo>
                    <a:lnTo>
                      <a:pt x="0" y="88"/>
                    </a:lnTo>
                    <a:lnTo>
                      <a:pt x="0" y="87"/>
                    </a:lnTo>
                    <a:lnTo>
                      <a:pt x="0" y="85"/>
                    </a:lnTo>
                    <a:lnTo>
                      <a:pt x="0" y="84"/>
                    </a:lnTo>
                    <a:lnTo>
                      <a:pt x="0" y="82"/>
                    </a:lnTo>
                    <a:lnTo>
                      <a:pt x="0" y="80"/>
                    </a:lnTo>
                    <a:lnTo>
                      <a:pt x="0" y="77"/>
                    </a:lnTo>
                    <a:lnTo>
                      <a:pt x="0" y="76"/>
                    </a:lnTo>
                    <a:lnTo>
                      <a:pt x="0" y="74"/>
                    </a:lnTo>
                    <a:lnTo>
                      <a:pt x="0" y="73"/>
                    </a:lnTo>
                    <a:lnTo>
                      <a:pt x="0" y="71"/>
                    </a:lnTo>
                    <a:lnTo>
                      <a:pt x="0" y="69"/>
                    </a:lnTo>
                    <a:lnTo>
                      <a:pt x="2" y="69"/>
                    </a:lnTo>
                    <a:lnTo>
                      <a:pt x="2" y="68"/>
                    </a:lnTo>
                    <a:lnTo>
                      <a:pt x="2" y="66"/>
                    </a:lnTo>
                    <a:lnTo>
                      <a:pt x="2" y="65"/>
                    </a:lnTo>
                    <a:lnTo>
                      <a:pt x="0" y="65"/>
                    </a:lnTo>
                    <a:lnTo>
                      <a:pt x="0" y="63"/>
                    </a:lnTo>
                    <a:lnTo>
                      <a:pt x="0" y="61"/>
                    </a:lnTo>
                    <a:lnTo>
                      <a:pt x="0" y="60"/>
                    </a:lnTo>
                    <a:lnTo>
                      <a:pt x="0" y="58"/>
                    </a:lnTo>
                    <a:lnTo>
                      <a:pt x="2" y="58"/>
                    </a:lnTo>
                    <a:lnTo>
                      <a:pt x="2" y="57"/>
                    </a:lnTo>
                    <a:lnTo>
                      <a:pt x="3" y="57"/>
                    </a:lnTo>
                    <a:lnTo>
                      <a:pt x="3" y="55"/>
                    </a:lnTo>
                    <a:lnTo>
                      <a:pt x="5" y="55"/>
                    </a:lnTo>
                    <a:lnTo>
                      <a:pt x="5" y="57"/>
                    </a:lnTo>
                    <a:lnTo>
                      <a:pt x="5" y="55"/>
                    </a:lnTo>
                    <a:lnTo>
                      <a:pt x="6" y="55"/>
                    </a:lnTo>
                    <a:lnTo>
                      <a:pt x="6" y="57"/>
                    </a:lnTo>
                    <a:lnTo>
                      <a:pt x="6" y="58"/>
                    </a:lnTo>
                    <a:lnTo>
                      <a:pt x="6" y="60"/>
                    </a:lnTo>
                    <a:lnTo>
                      <a:pt x="5" y="60"/>
                    </a:lnTo>
                    <a:lnTo>
                      <a:pt x="5" y="61"/>
                    </a:lnTo>
                    <a:lnTo>
                      <a:pt x="6" y="61"/>
                    </a:lnTo>
                    <a:lnTo>
                      <a:pt x="6" y="63"/>
                    </a:lnTo>
                    <a:lnTo>
                      <a:pt x="6" y="65"/>
                    </a:lnTo>
                    <a:lnTo>
                      <a:pt x="6" y="66"/>
                    </a:lnTo>
                    <a:lnTo>
                      <a:pt x="6" y="68"/>
                    </a:lnTo>
                    <a:lnTo>
                      <a:pt x="8" y="68"/>
                    </a:lnTo>
                    <a:lnTo>
                      <a:pt x="8" y="69"/>
                    </a:lnTo>
                    <a:lnTo>
                      <a:pt x="9" y="69"/>
                    </a:lnTo>
                    <a:lnTo>
                      <a:pt x="9" y="68"/>
                    </a:lnTo>
                    <a:lnTo>
                      <a:pt x="8" y="68"/>
                    </a:lnTo>
                    <a:lnTo>
                      <a:pt x="8" y="66"/>
                    </a:lnTo>
                    <a:lnTo>
                      <a:pt x="8" y="65"/>
                    </a:lnTo>
                    <a:lnTo>
                      <a:pt x="8" y="63"/>
                    </a:lnTo>
                    <a:lnTo>
                      <a:pt x="9" y="63"/>
                    </a:lnTo>
                    <a:lnTo>
                      <a:pt x="9" y="61"/>
                    </a:lnTo>
                    <a:lnTo>
                      <a:pt x="9" y="60"/>
                    </a:lnTo>
                    <a:lnTo>
                      <a:pt x="11" y="60"/>
                    </a:lnTo>
                    <a:lnTo>
                      <a:pt x="13" y="60"/>
                    </a:lnTo>
                    <a:lnTo>
                      <a:pt x="13" y="58"/>
                    </a:lnTo>
                    <a:lnTo>
                      <a:pt x="13" y="57"/>
                    </a:lnTo>
                    <a:lnTo>
                      <a:pt x="13" y="55"/>
                    </a:lnTo>
                    <a:lnTo>
                      <a:pt x="13" y="54"/>
                    </a:lnTo>
                    <a:lnTo>
                      <a:pt x="14" y="54"/>
                    </a:lnTo>
                    <a:lnTo>
                      <a:pt x="14" y="52"/>
                    </a:lnTo>
                    <a:lnTo>
                      <a:pt x="16" y="52"/>
                    </a:lnTo>
                    <a:lnTo>
                      <a:pt x="16" y="50"/>
                    </a:lnTo>
                    <a:lnTo>
                      <a:pt x="17" y="50"/>
                    </a:lnTo>
                    <a:lnTo>
                      <a:pt x="19" y="50"/>
                    </a:lnTo>
                    <a:lnTo>
                      <a:pt x="21" y="50"/>
                    </a:lnTo>
                    <a:lnTo>
                      <a:pt x="21" y="49"/>
                    </a:lnTo>
                    <a:lnTo>
                      <a:pt x="22" y="49"/>
                    </a:lnTo>
                    <a:lnTo>
                      <a:pt x="24" y="49"/>
                    </a:lnTo>
                    <a:lnTo>
                      <a:pt x="24" y="47"/>
                    </a:lnTo>
                    <a:lnTo>
                      <a:pt x="25" y="47"/>
                    </a:lnTo>
                    <a:lnTo>
                      <a:pt x="27" y="47"/>
                    </a:lnTo>
                    <a:lnTo>
                      <a:pt x="28" y="47"/>
                    </a:lnTo>
                    <a:lnTo>
                      <a:pt x="28" y="46"/>
                    </a:lnTo>
                    <a:lnTo>
                      <a:pt x="30" y="46"/>
                    </a:lnTo>
                    <a:lnTo>
                      <a:pt x="30" y="44"/>
                    </a:lnTo>
                    <a:lnTo>
                      <a:pt x="30" y="42"/>
                    </a:lnTo>
                    <a:lnTo>
                      <a:pt x="30" y="41"/>
                    </a:lnTo>
                    <a:lnTo>
                      <a:pt x="32" y="41"/>
                    </a:lnTo>
                    <a:lnTo>
                      <a:pt x="32" y="39"/>
                    </a:lnTo>
                    <a:lnTo>
                      <a:pt x="32" y="38"/>
                    </a:lnTo>
                    <a:lnTo>
                      <a:pt x="32" y="36"/>
                    </a:lnTo>
                    <a:lnTo>
                      <a:pt x="32" y="35"/>
                    </a:lnTo>
                    <a:lnTo>
                      <a:pt x="33" y="35"/>
                    </a:lnTo>
                    <a:lnTo>
                      <a:pt x="33" y="33"/>
                    </a:lnTo>
                    <a:lnTo>
                      <a:pt x="33" y="35"/>
                    </a:lnTo>
                    <a:lnTo>
                      <a:pt x="33" y="33"/>
                    </a:lnTo>
                    <a:lnTo>
                      <a:pt x="33" y="31"/>
                    </a:lnTo>
                    <a:lnTo>
                      <a:pt x="35" y="31"/>
                    </a:lnTo>
                    <a:lnTo>
                      <a:pt x="35" y="30"/>
                    </a:lnTo>
                    <a:lnTo>
                      <a:pt x="33" y="30"/>
                    </a:lnTo>
                    <a:lnTo>
                      <a:pt x="33" y="31"/>
                    </a:lnTo>
                    <a:lnTo>
                      <a:pt x="33" y="30"/>
                    </a:lnTo>
                    <a:lnTo>
                      <a:pt x="35" y="30"/>
                    </a:lnTo>
                    <a:lnTo>
                      <a:pt x="35" y="28"/>
                    </a:lnTo>
                    <a:lnTo>
                      <a:pt x="35" y="27"/>
                    </a:lnTo>
                    <a:lnTo>
                      <a:pt x="35" y="25"/>
                    </a:lnTo>
                    <a:lnTo>
                      <a:pt x="35" y="23"/>
                    </a:lnTo>
                    <a:lnTo>
                      <a:pt x="36" y="23"/>
                    </a:lnTo>
                    <a:lnTo>
                      <a:pt x="36" y="22"/>
                    </a:lnTo>
                    <a:lnTo>
                      <a:pt x="36" y="20"/>
                    </a:lnTo>
                    <a:lnTo>
                      <a:pt x="36" y="19"/>
                    </a:lnTo>
                    <a:lnTo>
                      <a:pt x="35" y="19"/>
                    </a:lnTo>
                    <a:lnTo>
                      <a:pt x="35" y="17"/>
                    </a:lnTo>
                    <a:lnTo>
                      <a:pt x="35" y="16"/>
                    </a:lnTo>
                    <a:lnTo>
                      <a:pt x="35" y="14"/>
                    </a:lnTo>
                    <a:lnTo>
                      <a:pt x="35" y="12"/>
                    </a:lnTo>
                    <a:lnTo>
                      <a:pt x="35" y="11"/>
                    </a:lnTo>
                    <a:lnTo>
                      <a:pt x="33" y="11"/>
                    </a:lnTo>
                    <a:lnTo>
                      <a:pt x="33" y="9"/>
                    </a:lnTo>
                    <a:lnTo>
                      <a:pt x="35" y="9"/>
                    </a:lnTo>
                    <a:lnTo>
                      <a:pt x="35" y="8"/>
                    </a:lnTo>
                    <a:lnTo>
                      <a:pt x="35" y="6"/>
                    </a:lnTo>
                    <a:lnTo>
                      <a:pt x="35" y="4"/>
                    </a:lnTo>
                    <a:lnTo>
                      <a:pt x="35" y="3"/>
                    </a:lnTo>
                    <a:lnTo>
                      <a:pt x="35" y="1"/>
                    </a:lnTo>
                    <a:lnTo>
                      <a:pt x="35" y="0"/>
                    </a:lnTo>
                    <a:lnTo>
                      <a:pt x="36" y="0"/>
                    </a:lnTo>
                    <a:lnTo>
                      <a:pt x="38" y="0"/>
                    </a:lnTo>
                    <a:lnTo>
                      <a:pt x="40" y="0"/>
                    </a:lnTo>
                    <a:close/>
                  </a:path>
                </a:pathLst>
              </a:custGeom>
              <a:solidFill>
                <a:srgbClr val="E1E1E1"/>
              </a:solidFill>
              <a:ln w="4763">
                <a:solidFill>
                  <a:srgbClr val="6E6E6E"/>
                </a:solidFill>
                <a:prstDash val="solid"/>
                <a:round/>
                <a:headEnd/>
                <a:tailEnd/>
              </a:ln>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42" name="Freeform 22"/>
              <p:cNvSpPr>
                <a:spLocks/>
              </p:cNvSpPr>
              <p:nvPr/>
            </p:nvSpPr>
            <p:spPr bwMode="auto">
              <a:xfrm>
                <a:off x="1869" y="1136"/>
                <a:ext cx="703" cy="1283"/>
              </a:xfrm>
              <a:custGeom>
                <a:avLst/>
                <a:gdLst>
                  <a:gd name="T0" fmla="*/ 569 w 703"/>
                  <a:gd name="T1" fmla="*/ 54 h 1283"/>
                  <a:gd name="T2" fmla="*/ 548 w 703"/>
                  <a:gd name="T3" fmla="*/ 98 h 1283"/>
                  <a:gd name="T4" fmla="*/ 558 w 703"/>
                  <a:gd name="T5" fmla="*/ 115 h 1283"/>
                  <a:gd name="T6" fmla="*/ 583 w 703"/>
                  <a:gd name="T7" fmla="*/ 150 h 1283"/>
                  <a:gd name="T8" fmla="*/ 608 w 703"/>
                  <a:gd name="T9" fmla="*/ 199 h 1283"/>
                  <a:gd name="T10" fmla="*/ 613 w 703"/>
                  <a:gd name="T11" fmla="*/ 247 h 1283"/>
                  <a:gd name="T12" fmla="*/ 627 w 703"/>
                  <a:gd name="T13" fmla="*/ 288 h 1283"/>
                  <a:gd name="T14" fmla="*/ 657 w 703"/>
                  <a:gd name="T15" fmla="*/ 329 h 1283"/>
                  <a:gd name="T16" fmla="*/ 667 w 703"/>
                  <a:gd name="T17" fmla="*/ 374 h 1283"/>
                  <a:gd name="T18" fmla="*/ 656 w 703"/>
                  <a:gd name="T19" fmla="*/ 413 h 1283"/>
                  <a:gd name="T20" fmla="*/ 662 w 703"/>
                  <a:gd name="T21" fmla="*/ 454 h 1283"/>
                  <a:gd name="T22" fmla="*/ 680 w 703"/>
                  <a:gd name="T23" fmla="*/ 496 h 1283"/>
                  <a:gd name="T24" fmla="*/ 695 w 703"/>
                  <a:gd name="T25" fmla="*/ 532 h 1283"/>
                  <a:gd name="T26" fmla="*/ 702 w 703"/>
                  <a:gd name="T27" fmla="*/ 575 h 1283"/>
                  <a:gd name="T28" fmla="*/ 675 w 703"/>
                  <a:gd name="T29" fmla="*/ 611 h 1283"/>
                  <a:gd name="T30" fmla="*/ 664 w 703"/>
                  <a:gd name="T31" fmla="*/ 649 h 1283"/>
                  <a:gd name="T32" fmla="*/ 630 w 703"/>
                  <a:gd name="T33" fmla="*/ 683 h 1283"/>
                  <a:gd name="T34" fmla="*/ 621 w 703"/>
                  <a:gd name="T35" fmla="*/ 719 h 1283"/>
                  <a:gd name="T36" fmla="*/ 607 w 703"/>
                  <a:gd name="T37" fmla="*/ 768 h 1283"/>
                  <a:gd name="T38" fmla="*/ 613 w 703"/>
                  <a:gd name="T39" fmla="*/ 820 h 1283"/>
                  <a:gd name="T40" fmla="*/ 597 w 703"/>
                  <a:gd name="T41" fmla="*/ 857 h 1283"/>
                  <a:gd name="T42" fmla="*/ 559 w 703"/>
                  <a:gd name="T43" fmla="*/ 863 h 1283"/>
                  <a:gd name="T44" fmla="*/ 535 w 703"/>
                  <a:gd name="T45" fmla="*/ 820 h 1283"/>
                  <a:gd name="T46" fmla="*/ 509 w 703"/>
                  <a:gd name="T47" fmla="*/ 808 h 1283"/>
                  <a:gd name="T48" fmla="*/ 477 w 703"/>
                  <a:gd name="T49" fmla="*/ 790 h 1283"/>
                  <a:gd name="T50" fmla="*/ 352 w 703"/>
                  <a:gd name="T51" fmla="*/ 768 h 1283"/>
                  <a:gd name="T52" fmla="*/ 317 w 703"/>
                  <a:gd name="T53" fmla="*/ 803 h 1283"/>
                  <a:gd name="T54" fmla="*/ 265 w 703"/>
                  <a:gd name="T55" fmla="*/ 812 h 1283"/>
                  <a:gd name="T56" fmla="*/ 211 w 703"/>
                  <a:gd name="T57" fmla="*/ 817 h 1283"/>
                  <a:gd name="T58" fmla="*/ 249 w 703"/>
                  <a:gd name="T59" fmla="*/ 849 h 1283"/>
                  <a:gd name="T60" fmla="*/ 261 w 703"/>
                  <a:gd name="T61" fmla="*/ 901 h 1283"/>
                  <a:gd name="T62" fmla="*/ 271 w 703"/>
                  <a:gd name="T63" fmla="*/ 952 h 1283"/>
                  <a:gd name="T64" fmla="*/ 280 w 703"/>
                  <a:gd name="T65" fmla="*/ 1006 h 1283"/>
                  <a:gd name="T66" fmla="*/ 315 w 703"/>
                  <a:gd name="T67" fmla="*/ 1085 h 1283"/>
                  <a:gd name="T68" fmla="*/ 344 w 703"/>
                  <a:gd name="T69" fmla="*/ 1112 h 1283"/>
                  <a:gd name="T70" fmla="*/ 347 w 703"/>
                  <a:gd name="T71" fmla="*/ 1158 h 1283"/>
                  <a:gd name="T72" fmla="*/ 315 w 703"/>
                  <a:gd name="T73" fmla="*/ 1185 h 1283"/>
                  <a:gd name="T74" fmla="*/ 198 w 703"/>
                  <a:gd name="T75" fmla="*/ 1267 h 1283"/>
                  <a:gd name="T76" fmla="*/ 92 w 703"/>
                  <a:gd name="T77" fmla="*/ 958 h 1283"/>
                  <a:gd name="T78" fmla="*/ 10 w 703"/>
                  <a:gd name="T79" fmla="*/ 692 h 1283"/>
                  <a:gd name="T80" fmla="*/ 128 w 703"/>
                  <a:gd name="T81" fmla="*/ 529 h 1283"/>
                  <a:gd name="T82" fmla="*/ 155 w 703"/>
                  <a:gd name="T83" fmla="*/ 507 h 1283"/>
                  <a:gd name="T84" fmla="*/ 182 w 703"/>
                  <a:gd name="T85" fmla="*/ 500 h 1283"/>
                  <a:gd name="T86" fmla="*/ 209 w 703"/>
                  <a:gd name="T87" fmla="*/ 481 h 1283"/>
                  <a:gd name="T88" fmla="*/ 234 w 703"/>
                  <a:gd name="T89" fmla="*/ 467 h 1283"/>
                  <a:gd name="T90" fmla="*/ 244 w 703"/>
                  <a:gd name="T91" fmla="*/ 439 h 1283"/>
                  <a:gd name="T92" fmla="*/ 269 w 703"/>
                  <a:gd name="T93" fmla="*/ 418 h 1283"/>
                  <a:gd name="T94" fmla="*/ 288 w 703"/>
                  <a:gd name="T95" fmla="*/ 393 h 1283"/>
                  <a:gd name="T96" fmla="*/ 296 w 703"/>
                  <a:gd name="T97" fmla="*/ 359 h 1283"/>
                  <a:gd name="T98" fmla="*/ 317 w 703"/>
                  <a:gd name="T99" fmla="*/ 332 h 1283"/>
                  <a:gd name="T100" fmla="*/ 334 w 703"/>
                  <a:gd name="T101" fmla="*/ 309 h 1283"/>
                  <a:gd name="T102" fmla="*/ 352 w 703"/>
                  <a:gd name="T103" fmla="*/ 304 h 1283"/>
                  <a:gd name="T104" fmla="*/ 352 w 703"/>
                  <a:gd name="T105" fmla="*/ 277 h 1283"/>
                  <a:gd name="T106" fmla="*/ 366 w 703"/>
                  <a:gd name="T107" fmla="*/ 255 h 1283"/>
                  <a:gd name="T108" fmla="*/ 383 w 703"/>
                  <a:gd name="T109" fmla="*/ 225 h 1283"/>
                  <a:gd name="T110" fmla="*/ 421 w 703"/>
                  <a:gd name="T111" fmla="*/ 206 h 1283"/>
                  <a:gd name="T112" fmla="*/ 426 w 703"/>
                  <a:gd name="T113" fmla="*/ 174 h 1283"/>
                  <a:gd name="T114" fmla="*/ 458 w 703"/>
                  <a:gd name="T115" fmla="*/ 144 h 1283"/>
                  <a:gd name="T116" fmla="*/ 488 w 703"/>
                  <a:gd name="T117" fmla="*/ 136 h 1283"/>
                  <a:gd name="T118" fmla="*/ 490 w 703"/>
                  <a:gd name="T119" fmla="*/ 96 h 1283"/>
                  <a:gd name="T120" fmla="*/ 491 w 703"/>
                  <a:gd name="T121" fmla="*/ 57 h 1283"/>
                  <a:gd name="T122" fmla="*/ 521 w 703"/>
                  <a:gd name="T123" fmla="*/ 17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3" h="1283">
                    <a:moveTo>
                      <a:pt x="553" y="8"/>
                    </a:moveTo>
                    <a:lnTo>
                      <a:pt x="553" y="9"/>
                    </a:lnTo>
                    <a:lnTo>
                      <a:pt x="553" y="11"/>
                    </a:lnTo>
                    <a:lnTo>
                      <a:pt x="553" y="12"/>
                    </a:lnTo>
                    <a:lnTo>
                      <a:pt x="553" y="14"/>
                    </a:lnTo>
                    <a:lnTo>
                      <a:pt x="554" y="16"/>
                    </a:lnTo>
                    <a:lnTo>
                      <a:pt x="556" y="16"/>
                    </a:lnTo>
                    <a:lnTo>
                      <a:pt x="556" y="17"/>
                    </a:lnTo>
                    <a:lnTo>
                      <a:pt x="558" y="19"/>
                    </a:lnTo>
                    <a:lnTo>
                      <a:pt x="559" y="20"/>
                    </a:lnTo>
                    <a:lnTo>
                      <a:pt x="559" y="22"/>
                    </a:lnTo>
                    <a:lnTo>
                      <a:pt x="559" y="24"/>
                    </a:lnTo>
                    <a:lnTo>
                      <a:pt x="559" y="25"/>
                    </a:lnTo>
                    <a:lnTo>
                      <a:pt x="559" y="27"/>
                    </a:lnTo>
                    <a:lnTo>
                      <a:pt x="559" y="28"/>
                    </a:lnTo>
                    <a:lnTo>
                      <a:pt x="559" y="30"/>
                    </a:lnTo>
                    <a:lnTo>
                      <a:pt x="559" y="31"/>
                    </a:lnTo>
                    <a:lnTo>
                      <a:pt x="561" y="31"/>
                    </a:lnTo>
                    <a:lnTo>
                      <a:pt x="562" y="31"/>
                    </a:lnTo>
                    <a:lnTo>
                      <a:pt x="564" y="31"/>
                    </a:lnTo>
                    <a:lnTo>
                      <a:pt x="566" y="31"/>
                    </a:lnTo>
                    <a:lnTo>
                      <a:pt x="566" y="33"/>
                    </a:lnTo>
                    <a:lnTo>
                      <a:pt x="566" y="35"/>
                    </a:lnTo>
                    <a:lnTo>
                      <a:pt x="567" y="36"/>
                    </a:lnTo>
                    <a:lnTo>
                      <a:pt x="566" y="38"/>
                    </a:lnTo>
                    <a:lnTo>
                      <a:pt x="567" y="38"/>
                    </a:lnTo>
                    <a:lnTo>
                      <a:pt x="567" y="39"/>
                    </a:lnTo>
                    <a:lnTo>
                      <a:pt x="567" y="41"/>
                    </a:lnTo>
                    <a:lnTo>
                      <a:pt x="569" y="43"/>
                    </a:lnTo>
                    <a:lnTo>
                      <a:pt x="569" y="44"/>
                    </a:lnTo>
                    <a:lnTo>
                      <a:pt x="570" y="44"/>
                    </a:lnTo>
                    <a:lnTo>
                      <a:pt x="570" y="46"/>
                    </a:lnTo>
                    <a:lnTo>
                      <a:pt x="569" y="47"/>
                    </a:lnTo>
                    <a:lnTo>
                      <a:pt x="569" y="49"/>
                    </a:lnTo>
                    <a:lnTo>
                      <a:pt x="569" y="50"/>
                    </a:lnTo>
                    <a:lnTo>
                      <a:pt x="569" y="52"/>
                    </a:lnTo>
                    <a:lnTo>
                      <a:pt x="569" y="54"/>
                    </a:lnTo>
                    <a:lnTo>
                      <a:pt x="567" y="55"/>
                    </a:lnTo>
                    <a:lnTo>
                      <a:pt x="566" y="57"/>
                    </a:lnTo>
                    <a:lnTo>
                      <a:pt x="566" y="58"/>
                    </a:lnTo>
                    <a:lnTo>
                      <a:pt x="566" y="60"/>
                    </a:lnTo>
                    <a:lnTo>
                      <a:pt x="567" y="62"/>
                    </a:lnTo>
                    <a:lnTo>
                      <a:pt x="567" y="63"/>
                    </a:lnTo>
                    <a:lnTo>
                      <a:pt x="567" y="65"/>
                    </a:lnTo>
                    <a:lnTo>
                      <a:pt x="567" y="66"/>
                    </a:lnTo>
                    <a:lnTo>
                      <a:pt x="566" y="66"/>
                    </a:lnTo>
                    <a:lnTo>
                      <a:pt x="566" y="68"/>
                    </a:lnTo>
                    <a:lnTo>
                      <a:pt x="564" y="68"/>
                    </a:lnTo>
                    <a:lnTo>
                      <a:pt x="564" y="69"/>
                    </a:lnTo>
                    <a:lnTo>
                      <a:pt x="564" y="71"/>
                    </a:lnTo>
                    <a:lnTo>
                      <a:pt x="564" y="73"/>
                    </a:lnTo>
                    <a:lnTo>
                      <a:pt x="562" y="73"/>
                    </a:lnTo>
                    <a:lnTo>
                      <a:pt x="562" y="74"/>
                    </a:lnTo>
                    <a:lnTo>
                      <a:pt x="561" y="74"/>
                    </a:lnTo>
                    <a:lnTo>
                      <a:pt x="561" y="76"/>
                    </a:lnTo>
                    <a:lnTo>
                      <a:pt x="559" y="77"/>
                    </a:lnTo>
                    <a:lnTo>
                      <a:pt x="561" y="77"/>
                    </a:lnTo>
                    <a:lnTo>
                      <a:pt x="561" y="79"/>
                    </a:lnTo>
                    <a:lnTo>
                      <a:pt x="559" y="79"/>
                    </a:lnTo>
                    <a:lnTo>
                      <a:pt x="559" y="81"/>
                    </a:lnTo>
                    <a:lnTo>
                      <a:pt x="558" y="81"/>
                    </a:lnTo>
                    <a:lnTo>
                      <a:pt x="558" y="82"/>
                    </a:lnTo>
                    <a:lnTo>
                      <a:pt x="556" y="82"/>
                    </a:lnTo>
                    <a:lnTo>
                      <a:pt x="556" y="84"/>
                    </a:lnTo>
                    <a:lnTo>
                      <a:pt x="556" y="85"/>
                    </a:lnTo>
                    <a:lnTo>
                      <a:pt x="556" y="87"/>
                    </a:lnTo>
                    <a:lnTo>
                      <a:pt x="554" y="88"/>
                    </a:lnTo>
                    <a:lnTo>
                      <a:pt x="553" y="90"/>
                    </a:lnTo>
                    <a:lnTo>
                      <a:pt x="553" y="92"/>
                    </a:lnTo>
                    <a:lnTo>
                      <a:pt x="553" y="93"/>
                    </a:lnTo>
                    <a:lnTo>
                      <a:pt x="551" y="95"/>
                    </a:lnTo>
                    <a:lnTo>
                      <a:pt x="550" y="96"/>
                    </a:lnTo>
                    <a:lnTo>
                      <a:pt x="550" y="98"/>
                    </a:lnTo>
                    <a:lnTo>
                      <a:pt x="548" y="98"/>
                    </a:lnTo>
                    <a:lnTo>
                      <a:pt x="548" y="100"/>
                    </a:lnTo>
                    <a:lnTo>
                      <a:pt x="548" y="101"/>
                    </a:lnTo>
                    <a:lnTo>
                      <a:pt x="548" y="103"/>
                    </a:lnTo>
                    <a:lnTo>
                      <a:pt x="548" y="104"/>
                    </a:lnTo>
                    <a:lnTo>
                      <a:pt x="548" y="106"/>
                    </a:lnTo>
                    <a:lnTo>
                      <a:pt x="547" y="106"/>
                    </a:lnTo>
                    <a:lnTo>
                      <a:pt x="547" y="108"/>
                    </a:lnTo>
                    <a:lnTo>
                      <a:pt x="545" y="109"/>
                    </a:lnTo>
                    <a:lnTo>
                      <a:pt x="543" y="109"/>
                    </a:lnTo>
                    <a:lnTo>
                      <a:pt x="543" y="111"/>
                    </a:lnTo>
                    <a:lnTo>
                      <a:pt x="543" y="112"/>
                    </a:lnTo>
                    <a:lnTo>
                      <a:pt x="542" y="112"/>
                    </a:lnTo>
                    <a:lnTo>
                      <a:pt x="542" y="114"/>
                    </a:lnTo>
                    <a:lnTo>
                      <a:pt x="540" y="114"/>
                    </a:lnTo>
                    <a:lnTo>
                      <a:pt x="540" y="115"/>
                    </a:lnTo>
                    <a:lnTo>
                      <a:pt x="540" y="117"/>
                    </a:lnTo>
                    <a:lnTo>
                      <a:pt x="542" y="119"/>
                    </a:lnTo>
                    <a:lnTo>
                      <a:pt x="543" y="119"/>
                    </a:lnTo>
                    <a:lnTo>
                      <a:pt x="545" y="119"/>
                    </a:lnTo>
                    <a:lnTo>
                      <a:pt x="545" y="120"/>
                    </a:lnTo>
                    <a:lnTo>
                      <a:pt x="547" y="120"/>
                    </a:lnTo>
                    <a:lnTo>
                      <a:pt x="547" y="122"/>
                    </a:lnTo>
                    <a:lnTo>
                      <a:pt x="547" y="123"/>
                    </a:lnTo>
                    <a:lnTo>
                      <a:pt x="547" y="125"/>
                    </a:lnTo>
                    <a:lnTo>
                      <a:pt x="548" y="125"/>
                    </a:lnTo>
                    <a:lnTo>
                      <a:pt x="550" y="125"/>
                    </a:lnTo>
                    <a:lnTo>
                      <a:pt x="551" y="125"/>
                    </a:lnTo>
                    <a:lnTo>
                      <a:pt x="551" y="123"/>
                    </a:lnTo>
                    <a:lnTo>
                      <a:pt x="553" y="123"/>
                    </a:lnTo>
                    <a:lnTo>
                      <a:pt x="554" y="122"/>
                    </a:lnTo>
                    <a:lnTo>
                      <a:pt x="554" y="120"/>
                    </a:lnTo>
                    <a:lnTo>
                      <a:pt x="553" y="120"/>
                    </a:lnTo>
                    <a:lnTo>
                      <a:pt x="553" y="119"/>
                    </a:lnTo>
                    <a:lnTo>
                      <a:pt x="554" y="119"/>
                    </a:lnTo>
                    <a:lnTo>
                      <a:pt x="554" y="117"/>
                    </a:lnTo>
                    <a:lnTo>
                      <a:pt x="556" y="115"/>
                    </a:lnTo>
                    <a:lnTo>
                      <a:pt x="558" y="115"/>
                    </a:lnTo>
                    <a:lnTo>
                      <a:pt x="559" y="115"/>
                    </a:lnTo>
                    <a:lnTo>
                      <a:pt x="561" y="114"/>
                    </a:lnTo>
                    <a:lnTo>
                      <a:pt x="561" y="115"/>
                    </a:lnTo>
                    <a:lnTo>
                      <a:pt x="562" y="114"/>
                    </a:lnTo>
                    <a:lnTo>
                      <a:pt x="564" y="114"/>
                    </a:lnTo>
                    <a:lnTo>
                      <a:pt x="566" y="114"/>
                    </a:lnTo>
                    <a:lnTo>
                      <a:pt x="567" y="114"/>
                    </a:lnTo>
                    <a:lnTo>
                      <a:pt x="569" y="114"/>
                    </a:lnTo>
                    <a:lnTo>
                      <a:pt x="570" y="115"/>
                    </a:lnTo>
                    <a:lnTo>
                      <a:pt x="572" y="115"/>
                    </a:lnTo>
                    <a:lnTo>
                      <a:pt x="573" y="117"/>
                    </a:lnTo>
                    <a:lnTo>
                      <a:pt x="573" y="119"/>
                    </a:lnTo>
                    <a:lnTo>
                      <a:pt x="575" y="119"/>
                    </a:lnTo>
                    <a:lnTo>
                      <a:pt x="575" y="120"/>
                    </a:lnTo>
                    <a:lnTo>
                      <a:pt x="577" y="120"/>
                    </a:lnTo>
                    <a:lnTo>
                      <a:pt x="577" y="122"/>
                    </a:lnTo>
                    <a:lnTo>
                      <a:pt x="578" y="122"/>
                    </a:lnTo>
                    <a:lnTo>
                      <a:pt x="578" y="123"/>
                    </a:lnTo>
                    <a:lnTo>
                      <a:pt x="580" y="123"/>
                    </a:lnTo>
                    <a:lnTo>
                      <a:pt x="580" y="125"/>
                    </a:lnTo>
                    <a:lnTo>
                      <a:pt x="581" y="127"/>
                    </a:lnTo>
                    <a:lnTo>
                      <a:pt x="581" y="128"/>
                    </a:lnTo>
                    <a:lnTo>
                      <a:pt x="581" y="130"/>
                    </a:lnTo>
                    <a:lnTo>
                      <a:pt x="583" y="130"/>
                    </a:lnTo>
                    <a:lnTo>
                      <a:pt x="583" y="131"/>
                    </a:lnTo>
                    <a:lnTo>
                      <a:pt x="583" y="133"/>
                    </a:lnTo>
                    <a:lnTo>
                      <a:pt x="583" y="134"/>
                    </a:lnTo>
                    <a:lnTo>
                      <a:pt x="583" y="136"/>
                    </a:lnTo>
                    <a:lnTo>
                      <a:pt x="581" y="138"/>
                    </a:lnTo>
                    <a:lnTo>
                      <a:pt x="581" y="139"/>
                    </a:lnTo>
                    <a:lnTo>
                      <a:pt x="581" y="141"/>
                    </a:lnTo>
                    <a:lnTo>
                      <a:pt x="581" y="142"/>
                    </a:lnTo>
                    <a:lnTo>
                      <a:pt x="581" y="144"/>
                    </a:lnTo>
                    <a:lnTo>
                      <a:pt x="583" y="146"/>
                    </a:lnTo>
                    <a:lnTo>
                      <a:pt x="583" y="147"/>
                    </a:lnTo>
                    <a:lnTo>
                      <a:pt x="583" y="149"/>
                    </a:lnTo>
                    <a:lnTo>
                      <a:pt x="583" y="150"/>
                    </a:lnTo>
                    <a:lnTo>
                      <a:pt x="585" y="152"/>
                    </a:lnTo>
                    <a:lnTo>
                      <a:pt x="585" y="153"/>
                    </a:lnTo>
                    <a:lnTo>
                      <a:pt x="585" y="155"/>
                    </a:lnTo>
                    <a:lnTo>
                      <a:pt x="586" y="157"/>
                    </a:lnTo>
                    <a:lnTo>
                      <a:pt x="586" y="158"/>
                    </a:lnTo>
                    <a:lnTo>
                      <a:pt x="586" y="160"/>
                    </a:lnTo>
                    <a:lnTo>
                      <a:pt x="588" y="160"/>
                    </a:lnTo>
                    <a:lnTo>
                      <a:pt x="588" y="161"/>
                    </a:lnTo>
                    <a:lnTo>
                      <a:pt x="588" y="163"/>
                    </a:lnTo>
                    <a:lnTo>
                      <a:pt x="588" y="165"/>
                    </a:lnTo>
                    <a:lnTo>
                      <a:pt x="588" y="166"/>
                    </a:lnTo>
                    <a:lnTo>
                      <a:pt x="589" y="168"/>
                    </a:lnTo>
                    <a:lnTo>
                      <a:pt x="591" y="168"/>
                    </a:lnTo>
                    <a:lnTo>
                      <a:pt x="591" y="169"/>
                    </a:lnTo>
                    <a:lnTo>
                      <a:pt x="592" y="169"/>
                    </a:lnTo>
                    <a:lnTo>
                      <a:pt x="592" y="171"/>
                    </a:lnTo>
                    <a:lnTo>
                      <a:pt x="592" y="172"/>
                    </a:lnTo>
                    <a:lnTo>
                      <a:pt x="592" y="174"/>
                    </a:lnTo>
                    <a:lnTo>
                      <a:pt x="592" y="176"/>
                    </a:lnTo>
                    <a:lnTo>
                      <a:pt x="592" y="177"/>
                    </a:lnTo>
                    <a:lnTo>
                      <a:pt x="592" y="179"/>
                    </a:lnTo>
                    <a:lnTo>
                      <a:pt x="594" y="180"/>
                    </a:lnTo>
                    <a:lnTo>
                      <a:pt x="594" y="182"/>
                    </a:lnTo>
                    <a:lnTo>
                      <a:pt x="596" y="182"/>
                    </a:lnTo>
                    <a:lnTo>
                      <a:pt x="596" y="184"/>
                    </a:lnTo>
                    <a:lnTo>
                      <a:pt x="599" y="185"/>
                    </a:lnTo>
                    <a:lnTo>
                      <a:pt x="599" y="187"/>
                    </a:lnTo>
                    <a:lnTo>
                      <a:pt x="600" y="187"/>
                    </a:lnTo>
                    <a:lnTo>
                      <a:pt x="600" y="188"/>
                    </a:lnTo>
                    <a:lnTo>
                      <a:pt x="602" y="190"/>
                    </a:lnTo>
                    <a:lnTo>
                      <a:pt x="602" y="191"/>
                    </a:lnTo>
                    <a:lnTo>
                      <a:pt x="604" y="191"/>
                    </a:lnTo>
                    <a:lnTo>
                      <a:pt x="604" y="193"/>
                    </a:lnTo>
                    <a:lnTo>
                      <a:pt x="605" y="195"/>
                    </a:lnTo>
                    <a:lnTo>
                      <a:pt x="605" y="196"/>
                    </a:lnTo>
                    <a:lnTo>
                      <a:pt x="607" y="198"/>
                    </a:lnTo>
                    <a:lnTo>
                      <a:pt x="608" y="199"/>
                    </a:lnTo>
                    <a:lnTo>
                      <a:pt x="608" y="201"/>
                    </a:lnTo>
                    <a:lnTo>
                      <a:pt x="610" y="203"/>
                    </a:lnTo>
                    <a:lnTo>
                      <a:pt x="610" y="204"/>
                    </a:lnTo>
                    <a:lnTo>
                      <a:pt x="611" y="204"/>
                    </a:lnTo>
                    <a:lnTo>
                      <a:pt x="611" y="206"/>
                    </a:lnTo>
                    <a:lnTo>
                      <a:pt x="613" y="207"/>
                    </a:lnTo>
                    <a:lnTo>
                      <a:pt x="613" y="209"/>
                    </a:lnTo>
                    <a:lnTo>
                      <a:pt x="611" y="210"/>
                    </a:lnTo>
                    <a:lnTo>
                      <a:pt x="611" y="212"/>
                    </a:lnTo>
                    <a:lnTo>
                      <a:pt x="611" y="214"/>
                    </a:lnTo>
                    <a:lnTo>
                      <a:pt x="611" y="215"/>
                    </a:lnTo>
                    <a:lnTo>
                      <a:pt x="610" y="217"/>
                    </a:lnTo>
                    <a:lnTo>
                      <a:pt x="610" y="218"/>
                    </a:lnTo>
                    <a:lnTo>
                      <a:pt x="608" y="218"/>
                    </a:lnTo>
                    <a:lnTo>
                      <a:pt x="608" y="220"/>
                    </a:lnTo>
                    <a:lnTo>
                      <a:pt x="608" y="222"/>
                    </a:lnTo>
                    <a:lnTo>
                      <a:pt x="608" y="223"/>
                    </a:lnTo>
                    <a:lnTo>
                      <a:pt x="610" y="223"/>
                    </a:lnTo>
                    <a:lnTo>
                      <a:pt x="610" y="225"/>
                    </a:lnTo>
                    <a:lnTo>
                      <a:pt x="611" y="225"/>
                    </a:lnTo>
                    <a:lnTo>
                      <a:pt x="611" y="226"/>
                    </a:lnTo>
                    <a:lnTo>
                      <a:pt x="613" y="226"/>
                    </a:lnTo>
                    <a:lnTo>
                      <a:pt x="613" y="228"/>
                    </a:lnTo>
                    <a:lnTo>
                      <a:pt x="613" y="229"/>
                    </a:lnTo>
                    <a:lnTo>
                      <a:pt x="613" y="231"/>
                    </a:lnTo>
                    <a:lnTo>
                      <a:pt x="613" y="233"/>
                    </a:lnTo>
                    <a:lnTo>
                      <a:pt x="613" y="234"/>
                    </a:lnTo>
                    <a:lnTo>
                      <a:pt x="613" y="236"/>
                    </a:lnTo>
                    <a:lnTo>
                      <a:pt x="613" y="237"/>
                    </a:lnTo>
                    <a:lnTo>
                      <a:pt x="611" y="237"/>
                    </a:lnTo>
                    <a:lnTo>
                      <a:pt x="613" y="239"/>
                    </a:lnTo>
                    <a:lnTo>
                      <a:pt x="613" y="241"/>
                    </a:lnTo>
                    <a:lnTo>
                      <a:pt x="613" y="242"/>
                    </a:lnTo>
                    <a:lnTo>
                      <a:pt x="615" y="244"/>
                    </a:lnTo>
                    <a:lnTo>
                      <a:pt x="613" y="244"/>
                    </a:lnTo>
                    <a:lnTo>
                      <a:pt x="613" y="245"/>
                    </a:lnTo>
                    <a:lnTo>
                      <a:pt x="613" y="247"/>
                    </a:lnTo>
                    <a:lnTo>
                      <a:pt x="613" y="248"/>
                    </a:lnTo>
                    <a:lnTo>
                      <a:pt x="613" y="250"/>
                    </a:lnTo>
                    <a:lnTo>
                      <a:pt x="615" y="250"/>
                    </a:lnTo>
                    <a:lnTo>
                      <a:pt x="615" y="252"/>
                    </a:lnTo>
                    <a:lnTo>
                      <a:pt x="615" y="253"/>
                    </a:lnTo>
                    <a:lnTo>
                      <a:pt x="613" y="253"/>
                    </a:lnTo>
                    <a:lnTo>
                      <a:pt x="613" y="255"/>
                    </a:lnTo>
                    <a:lnTo>
                      <a:pt x="613" y="256"/>
                    </a:lnTo>
                    <a:lnTo>
                      <a:pt x="613" y="258"/>
                    </a:lnTo>
                    <a:lnTo>
                      <a:pt x="613" y="260"/>
                    </a:lnTo>
                    <a:lnTo>
                      <a:pt x="613" y="261"/>
                    </a:lnTo>
                    <a:lnTo>
                      <a:pt x="615" y="261"/>
                    </a:lnTo>
                    <a:lnTo>
                      <a:pt x="615" y="263"/>
                    </a:lnTo>
                    <a:lnTo>
                      <a:pt x="616" y="264"/>
                    </a:lnTo>
                    <a:lnTo>
                      <a:pt x="616" y="266"/>
                    </a:lnTo>
                    <a:lnTo>
                      <a:pt x="616" y="267"/>
                    </a:lnTo>
                    <a:lnTo>
                      <a:pt x="616" y="269"/>
                    </a:lnTo>
                    <a:lnTo>
                      <a:pt x="616" y="271"/>
                    </a:lnTo>
                    <a:lnTo>
                      <a:pt x="618" y="271"/>
                    </a:lnTo>
                    <a:lnTo>
                      <a:pt x="618" y="272"/>
                    </a:lnTo>
                    <a:lnTo>
                      <a:pt x="616" y="272"/>
                    </a:lnTo>
                    <a:lnTo>
                      <a:pt x="618" y="274"/>
                    </a:lnTo>
                    <a:lnTo>
                      <a:pt x="618" y="275"/>
                    </a:lnTo>
                    <a:lnTo>
                      <a:pt x="616" y="275"/>
                    </a:lnTo>
                    <a:lnTo>
                      <a:pt x="618" y="275"/>
                    </a:lnTo>
                    <a:lnTo>
                      <a:pt x="618" y="277"/>
                    </a:lnTo>
                    <a:lnTo>
                      <a:pt x="619" y="279"/>
                    </a:lnTo>
                    <a:lnTo>
                      <a:pt x="621" y="280"/>
                    </a:lnTo>
                    <a:lnTo>
                      <a:pt x="621" y="282"/>
                    </a:lnTo>
                    <a:lnTo>
                      <a:pt x="623" y="282"/>
                    </a:lnTo>
                    <a:lnTo>
                      <a:pt x="623" y="283"/>
                    </a:lnTo>
                    <a:lnTo>
                      <a:pt x="624" y="283"/>
                    </a:lnTo>
                    <a:lnTo>
                      <a:pt x="624" y="285"/>
                    </a:lnTo>
                    <a:lnTo>
                      <a:pt x="626" y="285"/>
                    </a:lnTo>
                    <a:lnTo>
                      <a:pt x="626" y="287"/>
                    </a:lnTo>
                    <a:lnTo>
                      <a:pt x="627" y="287"/>
                    </a:lnTo>
                    <a:lnTo>
                      <a:pt x="627" y="288"/>
                    </a:lnTo>
                    <a:lnTo>
                      <a:pt x="629" y="288"/>
                    </a:lnTo>
                    <a:lnTo>
                      <a:pt x="629" y="290"/>
                    </a:lnTo>
                    <a:lnTo>
                      <a:pt x="630" y="290"/>
                    </a:lnTo>
                    <a:lnTo>
                      <a:pt x="630" y="291"/>
                    </a:lnTo>
                    <a:lnTo>
                      <a:pt x="632" y="291"/>
                    </a:lnTo>
                    <a:lnTo>
                      <a:pt x="634" y="293"/>
                    </a:lnTo>
                    <a:lnTo>
                      <a:pt x="634" y="294"/>
                    </a:lnTo>
                    <a:lnTo>
                      <a:pt x="635" y="294"/>
                    </a:lnTo>
                    <a:lnTo>
                      <a:pt x="637" y="296"/>
                    </a:lnTo>
                    <a:lnTo>
                      <a:pt x="638" y="298"/>
                    </a:lnTo>
                    <a:lnTo>
                      <a:pt x="640" y="298"/>
                    </a:lnTo>
                    <a:lnTo>
                      <a:pt x="640" y="299"/>
                    </a:lnTo>
                    <a:lnTo>
                      <a:pt x="642" y="299"/>
                    </a:lnTo>
                    <a:lnTo>
                      <a:pt x="642" y="301"/>
                    </a:lnTo>
                    <a:lnTo>
                      <a:pt x="643" y="301"/>
                    </a:lnTo>
                    <a:lnTo>
                      <a:pt x="643" y="302"/>
                    </a:lnTo>
                    <a:lnTo>
                      <a:pt x="645" y="304"/>
                    </a:lnTo>
                    <a:lnTo>
                      <a:pt x="646" y="306"/>
                    </a:lnTo>
                    <a:lnTo>
                      <a:pt x="646" y="307"/>
                    </a:lnTo>
                    <a:lnTo>
                      <a:pt x="646" y="309"/>
                    </a:lnTo>
                    <a:lnTo>
                      <a:pt x="646" y="310"/>
                    </a:lnTo>
                    <a:lnTo>
                      <a:pt x="646" y="312"/>
                    </a:lnTo>
                    <a:lnTo>
                      <a:pt x="646" y="313"/>
                    </a:lnTo>
                    <a:lnTo>
                      <a:pt x="648" y="315"/>
                    </a:lnTo>
                    <a:lnTo>
                      <a:pt x="650" y="317"/>
                    </a:lnTo>
                    <a:lnTo>
                      <a:pt x="650" y="318"/>
                    </a:lnTo>
                    <a:lnTo>
                      <a:pt x="650" y="320"/>
                    </a:lnTo>
                    <a:lnTo>
                      <a:pt x="651" y="320"/>
                    </a:lnTo>
                    <a:lnTo>
                      <a:pt x="651" y="321"/>
                    </a:lnTo>
                    <a:lnTo>
                      <a:pt x="653" y="321"/>
                    </a:lnTo>
                    <a:lnTo>
                      <a:pt x="653" y="323"/>
                    </a:lnTo>
                    <a:lnTo>
                      <a:pt x="654" y="323"/>
                    </a:lnTo>
                    <a:lnTo>
                      <a:pt x="654" y="325"/>
                    </a:lnTo>
                    <a:lnTo>
                      <a:pt x="656" y="326"/>
                    </a:lnTo>
                    <a:lnTo>
                      <a:pt x="656" y="328"/>
                    </a:lnTo>
                    <a:lnTo>
                      <a:pt x="657" y="328"/>
                    </a:lnTo>
                    <a:lnTo>
                      <a:pt x="657" y="329"/>
                    </a:lnTo>
                    <a:lnTo>
                      <a:pt x="656" y="329"/>
                    </a:lnTo>
                    <a:lnTo>
                      <a:pt x="656" y="331"/>
                    </a:lnTo>
                    <a:lnTo>
                      <a:pt x="656" y="332"/>
                    </a:lnTo>
                    <a:lnTo>
                      <a:pt x="657" y="334"/>
                    </a:lnTo>
                    <a:lnTo>
                      <a:pt x="657" y="336"/>
                    </a:lnTo>
                    <a:lnTo>
                      <a:pt x="659" y="336"/>
                    </a:lnTo>
                    <a:lnTo>
                      <a:pt x="659" y="337"/>
                    </a:lnTo>
                    <a:lnTo>
                      <a:pt x="659" y="339"/>
                    </a:lnTo>
                    <a:lnTo>
                      <a:pt x="659" y="340"/>
                    </a:lnTo>
                    <a:lnTo>
                      <a:pt x="659" y="342"/>
                    </a:lnTo>
                    <a:lnTo>
                      <a:pt x="657" y="342"/>
                    </a:lnTo>
                    <a:lnTo>
                      <a:pt x="659" y="342"/>
                    </a:lnTo>
                    <a:lnTo>
                      <a:pt x="659" y="344"/>
                    </a:lnTo>
                    <a:lnTo>
                      <a:pt x="659" y="345"/>
                    </a:lnTo>
                    <a:lnTo>
                      <a:pt x="659" y="347"/>
                    </a:lnTo>
                    <a:lnTo>
                      <a:pt x="659" y="348"/>
                    </a:lnTo>
                    <a:lnTo>
                      <a:pt x="659" y="350"/>
                    </a:lnTo>
                    <a:lnTo>
                      <a:pt x="661" y="350"/>
                    </a:lnTo>
                    <a:lnTo>
                      <a:pt x="661" y="351"/>
                    </a:lnTo>
                    <a:lnTo>
                      <a:pt x="662" y="353"/>
                    </a:lnTo>
                    <a:lnTo>
                      <a:pt x="662" y="355"/>
                    </a:lnTo>
                    <a:lnTo>
                      <a:pt x="662" y="356"/>
                    </a:lnTo>
                    <a:lnTo>
                      <a:pt x="662" y="358"/>
                    </a:lnTo>
                    <a:lnTo>
                      <a:pt x="664" y="358"/>
                    </a:lnTo>
                    <a:lnTo>
                      <a:pt x="664" y="359"/>
                    </a:lnTo>
                    <a:lnTo>
                      <a:pt x="664" y="361"/>
                    </a:lnTo>
                    <a:lnTo>
                      <a:pt x="664" y="363"/>
                    </a:lnTo>
                    <a:lnTo>
                      <a:pt x="664" y="364"/>
                    </a:lnTo>
                    <a:lnTo>
                      <a:pt x="665" y="364"/>
                    </a:lnTo>
                    <a:lnTo>
                      <a:pt x="665" y="366"/>
                    </a:lnTo>
                    <a:lnTo>
                      <a:pt x="667" y="367"/>
                    </a:lnTo>
                    <a:lnTo>
                      <a:pt x="665" y="367"/>
                    </a:lnTo>
                    <a:lnTo>
                      <a:pt x="665" y="369"/>
                    </a:lnTo>
                    <a:lnTo>
                      <a:pt x="667" y="369"/>
                    </a:lnTo>
                    <a:lnTo>
                      <a:pt x="667" y="370"/>
                    </a:lnTo>
                    <a:lnTo>
                      <a:pt x="667" y="372"/>
                    </a:lnTo>
                    <a:lnTo>
                      <a:pt x="667" y="374"/>
                    </a:lnTo>
                    <a:lnTo>
                      <a:pt x="665" y="375"/>
                    </a:lnTo>
                    <a:lnTo>
                      <a:pt x="667" y="375"/>
                    </a:lnTo>
                    <a:lnTo>
                      <a:pt x="667" y="377"/>
                    </a:lnTo>
                    <a:lnTo>
                      <a:pt x="667" y="378"/>
                    </a:lnTo>
                    <a:lnTo>
                      <a:pt x="667" y="380"/>
                    </a:lnTo>
                    <a:lnTo>
                      <a:pt x="665" y="380"/>
                    </a:lnTo>
                    <a:lnTo>
                      <a:pt x="665" y="382"/>
                    </a:lnTo>
                    <a:lnTo>
                      <a:pt x="667" y="382"/>
                    </a:lnTo>
                    <a:lnTo>
                      <a:pt x="667" y="383"/>
                    </a:lnTo>
                    <a:lnTo>
                      <a:pt x="665" y="383"/>
                    </a:lnTo>
                    <a:lnTo>
                      <a:pt x="665" y="385"/>
                    </a:lnTo>
                    <a:lnTo>
                      <a:pt x="667" y="385"/>
                    </a:lnTo>
                    <a:lnTo>
                      <a:pt x="669" y="386"/>
                    </a:lnTo>
                    <a:lnTo>
                      <a:pt x="667" y="386"/>
                    </a:lnTo>
                    <a:lnTo>
                      <a:pt x="667" y="388"/>
                    </a:lnTo>
                    <a:lnTo>
                      <a:pt x="667" y="389"/>
                    </a:lnTo>
                    <a:lnTo>
                      <a:pt x="665" y="389"/>
                    </a:lnTo>
                    <a:lnTo>
                      <a:pt x="665" y="391"/>
                    </a:lnTo>
                    <a:lnTo>
                      <a:pt x="664" y="393"/>
                    </a:lnTo>
                    <a:lnTo>
                      <a:pt x="664" y="394"/>
                    </a:lnTo>
                    <a:lnTo>
                      <a:pt x="662" y="394"/>
                    </a:lnTo>
                    <a:lnTo>
                      <a:pt x="661" y="393"/>
                    </a:lnTo>
                    <a:lnTo>
                      <a:pt x="661" y="394"/>
                    </a:lnTo>
                    <a:lnTo>
                      <a:pt x="661" y="396"/>
                    </a:lnTo>
                    <a:lnTo>
                      <a:pt x="661" y="397"/>
                    </a:lnTo>
                    <a:lnTo>
                      <a:pt x="661" y="399"/>
                    </a:lnTo>
                    <a:lnTo>
                      <a:pt x="661" y="401"/>
                    </a:lnTo>
                    <a:lnTo>
                      <a:pt x="659" y="401"/>
                    </a:lnTo>
                    <a:lnTo>
                      <a:pt x="657" y="401"/>
                    </a:lnTo>
                    <a:lnTo>
                      <a:pt x="657" y="402"/>
                    </a:lnTo>
                    <a:lnTo>
                      <a:pt x="657" y="404"/>
                    </a:lnTo>
                    <a:lnTo>
                      <a:pt x="657" y="405"/>
                    </a:lnTo>
                    <a:lnTo>
                      <a:pt x="656" y="407"/>
                    </a:lnTo>
                    <a:lnTo>
                      <a:pt x="656" y="408"/>
                    </a:lnTo>
                    <a:lnTo>
                      <a:pt x="656" y="410"/>
                    </a:lnTo>
                    <a:lnTo>
                      <a:pt x="656" y="412"/>
                    </a:lnTo>
                    <a:lnTo>
                      <a:pt x="656" y="413"/>
                    </a:lnTo>
                    <a:lnTo>
                      <a:pt x="656" y="415"/>
                    </a:lnTo>
                    <a:lnTo>
                      <a:pt x="654" y="416"/>
                    </a:lnTo>
                    <a:lnTo>
                      <a:pt x="654" y="418"/>
                    </a:lnTo>
                    <a:lnTo>
                      <a:pt x="653" y="418"/>
                    </a:lnTo>
                    <a:lnTo>
                      <a:pt x="653" y="420"/>
                    </a:lnTo>
                    <a:lnTo>
                      <a:pt x="653" y="421"/>
                    </a:lnTo>
                    <a:lnTo>
                      <a:pt x="653" y="423"/>
                    </a:lnTo>
                    <a:lnTo>
                      <a:pt x="651" y="423"/>
                    </a:lnTo>
                    <a:lnTo>
                      <a:pt x="651" y="424"/>
                    </a:lnTo>
                    <a:lnTo>
                      <a:pt x="651" y="426"/>
                    </a:lnTo>
                    <a:lnTo>
                      <a:pt x="651" y="427"/>
                    </a:lnTo>
                    <a:lnTo>
                      <a:pt x="651" y="429"/>
                    </a:lnTo>
                    <a:lnTo>
                      <a:pt x="653" y="429"/>
                    </a:lnTo>
                    <a:lnTo>
                      <a:pt x="653" y="431"/>
                    </a:lnTo>
                    <a:lnTo>
                      <a:pt x="654" y="431"/>
                    </a:lnTo>
                    <a:lnTo>
                      <a:pt x="654" y="432"/>
                    </a:lnTo>
                    <a:lnTo>
                      <a:pt x="654" y="434"/>
                    </a:lnTo>
                    <a:lnTo>
                      <a:pt x="654" y="435"/>
                    </a:lnTo>
                    <a:lnTo>
                      <a:pt x="656" y="435"/>
                    </a:lnTo>
                    <a:lnTo>
                      <a:pt x="656" y="437"/>
                    </a:lnTo>
                    <a:lnTo>
                      <a:pt x="657" y="437"/>
                    </a:lnTo>
                    <a:lnTo>
                      <a:pt x="656" y="439"/>
                    </a:lnTo>
                    <a:lnTo>
                      <a:pt x="656" y="440"/>
                    </a:lnTo>
                    <a:lnTo>
                      <a:pt x="656" y="442"/>
                    </a:lnTo>
                    <a:lnTo>
                      <a:pt x="656" y="443"/>
                    </a:lnTo>
                    <a:lnTo>
                      <a:pt x="656" y="445"/>
                    </a:lnTo>
                    <a:lnTo>
                      <a:pt x="657" y="445"/>
                    </a:lnTo>
                    <a:lnTo>
                      <a:pt x="657" y="446"/>
                    </a:lnTo>
                    <a:lnTo>
                      <a:pt x="657" y="448"/>
                    </a:lnTo>
                    <a:lnTo>
                      <a:pt x="656" y="450"/>
                    </a:lnTo>
                    <a:lnTo>
                      <a:pt x="657" y="451"/>
                    </a:lnTo>
                    <a:lnTo>
                      <a:pt x="657" y="453"/>
                    </a:lnTo>
                    <a:lnTo>
                      <a:pt x="657" y="454"/>
                    </a:lnTo>
                    <a:lnTo>
                      <a:pt x="657" y="456"/>
                    </a:lnTo>
                    <a:lnTo>
                      <a:pt x="659" y="456"/>
                    </a:lnTo>
                    <a:lnTo>
                      <a:pt x="661" y="456"/>
                    </a:lnTo>
                    <a:lnTo>
                      <a:pt x="662" y="454"/>
                    </a:lnTo>
                    <a:lnTo>
                      <a:pt x="662" y="456"/>
                    </a:lnTo>
                    <a:lnTo>
                      <a:pt x="662" y="458"/>
                    </a:lnTo>
                    <a:lnTo>
                      <a:pt x="664" y="458"/>
                    </a:lnTo>
                    <a:lnTo>
                      <a:pt x="664" y="459"/>
                    </a:lnTo>
                    <a:lnTo>
                      <a:pt x="662" y="459"/>
                    </a:lnTo>
                    <a:lnTo>
                      <a:pt x="662" y="461"/>
                    </a:lnTo>
                    <a:lnTo>
                      <a:pt x="662" y="462"/>
                    </a:lnTo>
                    <a:lnTo>
                      <a:pt x="661" y="462"/>
                    </a:lnTo>
                    <a:lnTo>
                      <a:pt x="661" y="464"/>
                    </a:lnTo>
                    <a:lnTo>
                      <a:pt x="662" y="465"/>
                    </a:lnTo>
                    <a:lnTo>
                      <a:pt x="662" y="467"/>
                    </a:lnTo>
                    <a:lnTo>
                      <a:pt x="662" y="469"/>
                    </a:lnTo>
                    <a:lnTo>
                      <a:pt x="664" y="470"/>
                    </a:lnTo>
                    <a:lnTo>
                      <a:pt x="664" y="472"/>
                    </a:lnTo>
                    <a:lnTo>
                      <a:pt x="665" y="472"/>
                    </a:lnTo>
                    <a:lnTo>
                      <a:pt x="665" y="473"/>
                    </a:lnTo>
                    <a:lnTo>
                      <a:pt x="667" y="473"/>
                    </a:lnTo>
                    <a:lnTo>
                      <a:pt x="667" y="475"/>
                    </a:lnTo>
                    <a:lnTo>
                      <a:pt x="667" y="477"/>
                    </a:lnTo>
                    <a:lnTo>
                      <a:pt x="669" y="477"/>
                    </a:lnTo>
                    <a:lnTo>
                      <a:pt x="669" y="478"/>
                    </a:lnTo>
                    <a:lnTo>
                      <a:pt x="670" y="478"/>
                    </a:lnTo>
                    <a:lnTo>
                      <a:pt x="670" y="480"/>
                    </a:lnTo>
                    <a:lnTo>
                      <a:pt x="670" y="481"/>
                    </a:lnTo>
                    <a:lnTo>
                      <a:pt x="672" y="481"/>
                    </a:lnTo>
                    <a:lnTo>
                      <a:pt x="672" y="483"/>
                    </a:lnTo>
                    <a:lnTo>
                      <a:pt x="673" y="485"/>
                    </a:lnTo>
                    <a:lnTo>
                      <a:pt x="675" y="486"/>
                    </a:lnTo>
                    <a:lnTo>
                      <a:pt x="676" y="486"/>
                    </a:lnTo>
                    <a:lnTo>
                      <a:pt x="676" y="488"/>
                    </a:lnTo>
                    <a:lnTo>
                      <a:pt x="676" y="489"/>
                    </a:lnTo>
                    <a:lnTo>
                      <a:pt x="678" y="489"/>
                    </a:lnTo>
                    <a:lnTo>
                      <a:pt x="678" y="491"/>
                    </a:lnTo>
                    <a:lnTo>
                      <a:pt x="678" y="492"/>
                    </a:lnTo>
                    <a:lnTo>
                      <a:pt x="678" y="494"/>
                    </a:lnTo>
                    <a:lnTo>
                      <a:pt x="680" y="494"/>
                    </a:lnTo>
                    <a:lnTo>
                      <a:pt x="680" y="496"/>
                    </a:lnTo>
                    <a:lnTo>
                      <a:pt x="680" y="497"/>
                    </a:lnTo>
                    <a:lnTo>
                      <a:pt x="680" y="499"/>
                    </a:lnTo>
                    <a:lnTo>
                      <a:pt x="680" y="500"/>
                    </a:lnTo>
                    <a:lnTo>
                      <a:pt x="680" y="502"/>
                    </a:lnTo>
                    <a:lnTo>
                      <a:pt x="680" y="504"/>
                    </a:lnTo>
                    <a:lnTo>
                      <a:pt x="680" y="505"/>
                    </a:lnTo>
                    <a:lnTo>
                      <a:pt x="680" y="507"/>
                    </a:lnTo>
                    <a:lnTo>
                      <a:pt x="680" y="508"/>
                    </a:lnTo>
                    <a:lnTo>
                      <a:pt x="680" y="510"/>
                    </a:lnTo>
                    <a:lnTo>
                      <a:pt x="680" y="511"/>
                    </a:lnTo>
                    <a:lnTo>
                      <a:pt x="681" y="511"/>
                    </a:lnTo>
                    <a:lnTo>
                      <a:pt x="681" y="513"/>
                    </a:lnTo>
                    <a:lnTo>
                      <a:pt x="681" y="515"/>
                    </a:lnTo>
                    <a:lnTo>
                      <a:pt x="681" y="516"/>
                    </a:lnTo>
                    <a:lnTo>
                      <a:pt x="681" y="518"/>
                    </a:lnTo>
                    <a:lnTo>
                      <a:pt x="681" y="519"/>
                    </a:lnTo>
                    <a:lnTo>
                      <a:pt x="681" y="521"/>
                    </a:lnTo>
                    <a:lnTo>
                      <a:pt x="681" y="523"/>
                    </a:lnTo>
                    <a:lnTo>
                      <a:pt x="681" y="524"/>
                    </a:lnTo>
                    <a:lnTo>
                      <a:pt x="683" y="526"/>
                    </a:lnTo>
                    <a:lnTo>
                      <a:pt x="683" y="527"/>
                    </a:lnTo>
                    <a:lnTo>
                      <a:pt x="684" y="529"/>
                    </a:lnTo>
                    <a:lnTo>
                      <a:pt x="686" y="529"/>
                    </a:lnTo>
                    <a:lnTo>
                      <a:pt x="686" y="527"/>
                    </a:lnTo>
                    <a:lnTo>
                      <a:pt x="688" y="526"/>
                    </a:lnTo>
                    <a:lnTo>
                      <a:pt x="688" y="524"/>
                    </a:lnTo>
                    <a:lnTo>
                      <a:pt x="689" y="524"/>
                    </a:lnTo>
                    <a:lnTo>
                      <a:pt x="691" y="523"/>
                    </a:lnTo>
                    <a:lnTo>
                      <a:pt x="692" y="523"/>
                    </a:lnTo>
                    <a:lnTo>
                      <a:pt x="692" y="524"/>
                    </a:lnTo>
                    <a:lnTo>
                      <a:pt x="694" y="524"/>
                    </a:lnTo>
                    <a:lnTo>
                      <a:pt x="694" y="526"/>
                    </a:lnTo>
                    <a:lnTo>
                      <a:pt x="695" y="526"/>
                    </a:lnTo>
                    <a:lnTo>
                      <a:pt x="695" y="527"/>
                    </a:lnTo>
                    <a:lnTo>
                      <a:pt x="695" y="529"/>
                    </a:lnTo>
                    <a:lnTo>
                      <a:pt x="695" y="530"/>
                    </a:lnTo>
                    <a:lnTo>
                      <a:pt x="695" y="532"/>
                    </a:lnTo>
                    <a:lnTo>
                      <a:pt x="694" y="532"/>
                    </a:lnTo>
                    <a:lnTo>
                      <a:pt x="694" y="534"/>
                    </a:lnTo>
                    <a:lnTo>
                      <a:pt x="694" y="535"/>
                    </a:lnTo>
                    <a:lnTo>
                      <a:pt x="692" y="535"/>
                    </a:lnTo>
                    <a:lnTo>
                      <a:pt x="692" y="537"/>
                    </a:lnTo>
                    <a:lnTo>
                      <a:pt x="692" y="538"/>
                    </a:lnTo>
                    <a:lnTo>
                      <a:pt x="692" y="540"/>
                    </a:lnTo>
                    <a:lnTo>
                      <a:pt x="694" y="540"/>
                    </a:lnTo>
                    <a:lnTo>
                      <a:pt x="694" y="542"/>
                    </a:lnTo>
                    <a:lnTo>
                      <a:pt x="694" y="543"/>
                    </a:lnTo>
                    <a:lnTo>
                      <a:pt x="694" y="545"/>
                    </a:lnTo>
                    <a:lnTo>
                      <a:pt x="694" y="546"/>
                    </a:lnTo>
                    <a:lnTo>
                      <a:pt x="694" y="548"/>
                    </a:lnTo>
                    <a:lnTo>
                      <a:pt x="692" y="548"/>
                    </a:lnTo>
                    <a:lnTo>
                      <a:pt x="692" y="549"/>
                    </a:lnTo>
                    <a:lnTo>
                      <a:pt x="694" y="549"/>
                    </a:lnTo>
                    <a:lnTo>
                      <a:pt x="695" y="551"/>
                    </a:lnTo>
                    <a:lnTo>
                      <a:pt x="697" y="553"/>
                    </a:lnTo>
                    <a:lnTo>
                      <a:pt x="697" y="554"/>
                    </a:lnTo>
                    <a:lnTo>
                      <a:pt x="699" y="556"/>
                    </a:lnTo>
                    <a:lnTo>
                      <a:pt x="697" y="557"/>
                    </a:lnTo>
                    <a:lnTo>
                      <a:pt x="699" y="557"/>
                    </a:lnTo>
                    <a:lnTo>
                      <a:pt x="700" y="559"/>
                    </a:lnTo>
                    <a:lnTo>
                      <a:pt x="699" y="561"/>
                    </a:lnTo>
                    <a:lnTo>
                      <a:pt x="699" y="562"/>
                    </a:lnTo>
                    <a:lnTo>
                      <a:pt x="699" y="564"/>
                    </a:lnTo>
                    <a:lnTo>
                      <a:pt x="699" y="565"/>
                    </a:lnTo>
                    <a:lnTo>
                      <a:pt x="699" y="567"/>
                    </a:lnTo>
                    <a:lnTo>
                      <a:pt x="700" y="567"/>
                    </a:lnTo>
                    <a:lnTo>
                      <a:pt x="700" y="568"/>
                    </a:lnTo>
                    <a:lnTo>
                      <a:pt x="700" y="570"/>
                    </a:lnTo>
                    <a:lnTo>
                      <a:pt x="702" y="570"/>
                    </a:lnTo>
                    <a:lnTo>
                      <a:pt x="702" y="572"/>
                    </a:lnTo>
                    <a:lnTo>
                      <a:pt x="703" y="572"/>
                    </a:lnTo>
                    <a:lnTo>
                      <a:pt x="703" y="573"/>
                    </a:lnTo>
                    <a:lnTo>
                      <a:pt x="703" y="575"/>
                    </a:lnTo>
                    <a:lnTo>
                      <a:pt x="702" y="575"/>
                    </a:lnTo>
                    <a:lnTo>
                      <a:pt x="702" y="576"/>
                    </a:lnTo>
                    <a:lnTo>
                      <a:pt x="702" y="578"/>
                    </a:lnTo>
                    <a:lnTo>
                      <a:pt x="702" y="580"/>
                    </a:lnTo>
                    <a:lnTo>
                      <a:pt x="703" y="580"/>
                    </a:lnTo>
                    <a:lnTo>
                      <a:pt x="703" y="581"/>
                    </a:lnTo>
                    <a:lnTo>
                      <a:pt x="703" y="583"/>
                    </a:lnTo>
                    <a:lnTo>
                      <a:pt x="703" y="584"/>
                    </a:lnTo>
                    <a:lnTo>
                      <a:pt x="703" y="586"/>
                    </a:lnTo>
                    <a:lnTo>
                      <a:pt x="702" y="587"/>
                    </a:lnTo>
                    <a:lnTo>
                      <a:pt x="702" y="589"/>
                    </a:lnTo>
                    <a:lnTo>
                      <a:pt x="702" y="591"/>
                    </a:lnTo>
                    <a:lnTo>
                      <a:pt x="700" y="592"/>
                    </a:lnTo>
                    <a:lnTo>
                      <a:pt x="700" y="594"/>
                    </a:lnTo>
                    <a:lnTo>
                      <a:pt x="699" y="594"/>
                    </a:lnTo>
                    <a:lnTo>
                      <a:pt x="699" y="595"/>
                    </a:lnTo>
                    <a:lnTo>
                      <a:pt x="697" y="597"/>
                    </a:lnTo>
                    <a:lnTo>
                      <a:pt x="697" y="599"/>
                    </a:lnTo>
                    <a:lnTo>
                      <a:pt x="695" y="599"/>
                    </a:lnTo>
                    <a:lnTo>
                      <a:pt x="695" y="600"/>
                    </a:lnTo>
                    <a:lnTo>
                      <a:pt x="695" y="602"/>
                    </a:lnTo>
                    <a:lnTo>
                      <a:pt x="694" y="603"/>
                    </a:lnTo>
                    <a:lnTo>
                      <a:pt x="692" y="603"/>
                    </a:lnTo>
                    <a:lnTo>
                      <a:pt x="692" y="605"/>
                    </a:lnTo>
                    <a:lnTo>
                      <a:pt x="691" y="606"/>
                    </a:lnTo>
                    <a:lnTo>
                      <a:pt x="689" y="606"/>
                    </a:lnTo>
                    <a:lnTo>
                      <a:pt x="689" y="608"/>
                    </a:lnTo>
                    <a:lnTo>
                      <a:pt x="688" y="608"/>
                    </a:lnTo>
                    <a:lnTo>
                      <a:pt x="686" y="608"/>
                    </a:lnTo>
                    <a:lnTo>
                      <a:pt x="684" y="610"/>
                    </a:lnTo>
                    <a:lnTo>
                      <a:pt x="683" y="610"/>
                    </a:lnTo>
                    <a:lnTo>
                      <a:pt x="683" y="608"/>
                    </a:lnTo>
                    <a:lnTo>
                      <a:pt x="681" y="608"/>
                    </a:lnTo>
                    <a:lnTo>
                      <a:pt x="680" y="608"/>
                    </a:lnTo>
                    <a:lnTo>
                      <a:pt x="678" y="608"/>
                    </a:lnTo>
                    <a:lnTo>
                      <a:pt x="676" y="608"/>
                    </a:lnTo>
                    <a:lnTo>
                      <a:pt x="675" y="610"/>
                    </a:lnTo>
                    <a:lnTo>
                      <a:pt x="675" y="611"/>
                    </a:lnTo>
                    <a:lnTo>
                      <a:pt x="675" y="613"/>
                    </a:lnTo>
                    <a:lnTo>
                      <a:pt x="673" y="613"/>
                    </a:lnTo>
                    <a:lnTo>
                      <a:pt x="672" y="613"/>
                    </a:lnTo>
                    <a:lnTo>
                      <a:pt x="672" y="614"/>
                    </a:lnTo>
                    <a:lnTo>
                      <a:pt x="670" y="616"/>
                    </a:lnTo>
                    <a:lnTo>
                      <a:pt x="670" y="618"/>
                    </a:lnTo>
                    <a:lnTo>
                      <a:pt x="670" y="619"/>
                    </a:lnTo>
                    <a:lnTo>
                      <a:pt x="672" y="619"/>
                    </a:lnTo>
                    <a:lnTo>
                      <a:pt x="672" y="621"/>
                    </a:lnTo>
                    <a:lnTo>
                      <a:pt x="672" y="622"/>
                    </a:lnTo>
                    <a:lnTo>
                      <a:pt x="673" y="624"/>
                    </a:lnTo>
                    <a:lnTo>
                      <a:pt x="673" y="625"/>
                    </a:lnTo>
                    <a:lnTo>
                      <a:pt x="673" y="627"/>
                    </a:lnTo>
                    <a:lnTo>
                      <a:pt x="673" y="629"/>
                    </a:lnTo>
                    <a:lnTo>
                      <a:pt x="673" y="630"/>
                    </a:lnTo>
                    <a:lnTo>
                      <a:pt x="675" y="630"/>
                    </a:lnTo>
                    <a:lnTo>
                      <a:pt x="675" y="629"/>
                    </a:lnTo>
                    <a:lnTo>
                      <a:pt x="675" y="630"/>
                    </a:lnTo>
                    <a:lnTo>
                      <a:pt x="675" y="632"/>
                    </a:lnTo>
                    <a:lnTo>
                      <a:pt x="675" y="633"/>
                    </a:lnTo>
                    <a:lnTo>
                      <a:pt x="673" y="635"/>
                    </a:lnTo>
                    <a:lnTo>
                      <a:pt x="673" y="637"/>
                    </a:lnTo>
                    <a:lnTo>
                      <a:pt x="673" y="638"/>
                    </a:lnTo>
                    <a:lnTo>
                      <a:pt x="673" y="640"/>
                    </a:lnTo>
                    <a:lnTo>
                      <a:pt x="675" y="641"/>
                    </a:lnTo>
                    <a:lnTo>
                      <a:pt x="675" y="643"/>
                    </a:lnTo>
                    <a:lnTo>
                      <a:pt x="673" y="643"/>
                    </a:lnTo>
                    <a:lnTo>
                      <a:pt x="672" y="643"/>
                    </a:lnTo>
                    <a:lnTo>
                      <a:pt x="672" y="644"/>
                    </a:lnTo>
                    <a:lnTo>
                      <a:pt x="670" y="643"/>
                    </a:lnTo>
                    <a:lnTo>
                      <a:pt x="669" y="643"/>
                    </a:lnTo>
                    <a:lnTo>
                      <a:pt x="667" y="643"/>
                    </a:lnTo>
                    <a:lnTo>
                      <a:pt x="667" y="644"/>
                    </a:lnTo>
                    <a:lnTo>
                      <a:pt x="667" y="646"/>
                    </a:lnTo>
                    <a:lnTo>
                      <a:pt x="665" y="648"/>
                    </a:lnTo>
                    <a:lnTo>
                      <a:pt x="664" y="648"/>
                    </a:lnTo>
                    <a:lnTo>
                      <a:pt x="664" y="649"/>
                    </a:lnTo>
                    <a:lnTo>
                      <a:pt x="664" y="651"/>
                    </a:lnTo>
                    <a:lnTo>
                      <a:pt x="664" y="652"/>
                    </a:lnTo>
                    <a:lnTo>
                      <a:pt x="662" y="654"/>
                    </a:lnTo>
                    <a:lnTo>
                      <a:pt x="662" y="656"/>
                    </a:lnTo>
                    <a:lnTo>
                      <a:pt x="661" y="656"/>
                    </a:lnTo>
                    <a:lnTo>
                      <a:pt x="659" y="657"/>
                    </a:lnTo>
                    <a:lnTo>
                      <a:pt x="657" y="659"/>
                    </a:lnTo>
                    <a:lnTo>
                      <a:pt x="657" y="660"/>
                    </a:lnTo>
                    <a:lnTo>
                      <a:pt x="656" y="660"/>
                    </a:lnTo>
                    <a:lnTo>
                      <a:pt x="656" y="662"/>
                    </a:lnTo>
                    <a:lnTo>
                      <a:pt x="656" y="664"/>
                    </a:lnTo>
                    <a:lnTo>
                      <a:pt x="654" y="664"/>
                    </a:lnTo>
                    <a:lnTo>
                      <a:pt x="654" y="665"/>
                    </a:lnTo>
                    <a:lnTo>
                      <a:pt x="653" y="665"/>
                    </a:lnTo>
                    <a:lnTo>
                      <a:pt x="651" y="665"/>
                    </a:lnTo>
                    <a:lnTo>
                      <a:pt x="651" y="667"/>
                    </a:lnTo>
                    <a:lnTo>
                      <a:pt x="651" y="668"/>
                    </a:lnTo>
                    <a:lnTo>
                      <a:pt x="650" y="668"/>
                    </a:lnTo>
                    <a:lnTo>
                      <a:pt x="650" y="670"/>
                    </a:lnTo>
                    <a:lnTo>
                      <a:pt x="648" y="671"/>
                    </a:lnTo>
                    <a:lnTo>
                      <a:pt x="648" y="673"/>
                    </a:lnTo>
                    <a:lnTo>
                      <a:pt x="648" y="675"/>
                    </a:lnTo>
                    <a:lnTo>
                      <a:pt x="648" y="676"/>
                    </a:lnTo>
                    <a:lnTo>
                      <a:pt x="646" y="678"/>
                    </a:lnTo>
                    <a:lnTo>
                      <a:pt x="645" y="678"/>
                    </a:lnTo>
                    <a:lnTo>
                      <a:pt x="643" y="679"/>
                    </a:lnTo>
                    <a:lnTo>
                      <a:pt x="642" y="679"/>
                    </a:lnTo>
                    <a:lnTo>
                      <a:pt x="642" y="681"/>
                    </a:lnTo>
                    <a:lnTo>
                      <a:pt x="640" y="681"/>
                    </a:lnTo>
                    <a:lnTo>
                      <a:pt x="638" y="681"/>
                    </a:lnTo>
                    <a:lnTo>
                      <a:pt x="637" y="683"/>
                    </a:lnTo>
                    <a:lnTo>
                      <a:pt x="635" y="683"/>
                    </a:lnTo>
                    <a:lnTo>
                      <a:pt x="634" y="683"/>
                    </a:lnTo>
                    <a:lnTo>
                      <a:pt x="634" y="681"/>
                    </a:lnTo>
                    <a:lnTo>
                      <a:pt x="632" y="681"/>
                    </a:lnTo>
                    <a:lnTo>
                      <a:pt x="630" y="681"/>
                    </a:lnTo>
                    <a:lnTo>
                      <a:pt x="630" y="683"/>
                    </a:lnTo>
                    <a:lnTo>
                      <a:pt x="629" y="683"/>
                    </a:lnTo>
                    <a:lnTo>
                      <a:pt x="627" y="684"/>
                    </a:lnTo>
                    <a:lnTo>
                      <a:pt x="626" y="686"/>
                    </a:lnTo>
                    <a:lnTo>
                      <a:pt x="624" y="686"/>
                    </a:lnTo>
                    <a:lnTo>
                      <a:pt x="624" y="687"/>
                    </a:lnTo>
                    <a:lnTo>
                      <a:pt x="623" y="687"/>
                    </a:lnTo>
                    <a:lnTo>
                      <a:pt x="621" y="687"/>
                    </a:lnTo>
                    <a:lnTo>
                      <a:pt x="619" y="689"/>
                    </a:lnTo>
                    <a:lnTo>
                      <a:pt x="618" y="689"/>
                    </a:lnTo>
                    <a:lnTo>
                      <a:pt x="616" y="689"/>
                    </a:lnTo>
                    <a:lnTo>
                      <a:pt x="616" y="690"/>
                    </a:lnTo>
                    <a:lnTo>
                      <a:pt x="616" y="692"/>
                    </a:lnTo>
                    <a:lnTo>
                      <a:pt x="618" y="694"/>
                    </a:lnTo>
                    <a:lnTo>
                      <a:pt x="618" y="695"/>
                    </a:lnTo>
                    <a:lnTo>
                      <a:pt x="619" y="695"/>
                    </a:lnTo>
                    <a:lnTo>
                      <a:pt x="619" y="697"/>
                    </a:lnTo>
                    <a:lnTo>
                      <a:pt x="621" y="697"/>
                    </a:lnTo>
                    <a:lnTo>
                      <a:pt x="621" y="698"/>
                    </a:lnTo>
                    <a:lnTo>
                      <a:pt x="623" y="700"/>
                    </a:lnTo>
                    <a:lnTo>
                      <a:pt x="623" y="702"/>
                    </a:lnTo>
                    <a:lnTo>
                      <a:pt x="624" y="702"/>
                    </a:lnTo>
                    <a:lnTo>
                      <a:pt x="624" y="703"/>
                    </a:lnTo>
                    <a:lnTo>
                      <a:pt x="624" y="705"/>
                    </a:lnTo>
                    <a:lnTo>
                      <a:pt x="626" y="705"/>
                    </a:lnTo>
                    <a:lnTo>
                      <a:pt x="626" y="706"/>
                    </a:lnTo>
                    <a:lnTo>
                      <a:pt x="627" y="706"/>
                    </a:lnTo>
                    <a:lnTo>
                      <a:pt x="627" y="708"/>
                    </a:lnTo>
                    <a:lnTo>
                      <a:pt x="627" y="709"/>
                    </a:lnTo>
                    <a:lnTo>
                      <a:pt x="627" y="711"/>
                    </a:lnTo>
                    <a:lnTo>
                      <a:pt x="626" y="711"/>
                    </a:lnTo>
                    <a:lnTo>
                      <a:pt x="626" y="713"/>
                    </a:lnTo>
                    <a:lnTo>
                      <a:pt x="624" y="714"/>
                    </a:lnTo>
                    <a:lnTo>
                      <a:pt x="624" y="716"/>
                    </a:lnTo>
                    <a:lnTo>
                      <a:pt x="623" y="716"/>
                    </a:lnTo>
                    <a:lnTo>
                      <a:pt x="623" y="717"/>
                    </a:lnTo>
                    <a:lnTo>
                      <a:pt x="623" y="719"/>
                    </a:lnTo>
                    <a:lnTo>
                      <a:pt x="621" y="719"/>
                    </a:lnTo>
                    <a:lnTo>
                      <a:pt x="621" y="721"/>
                    </a:lnTo>
                    <a:lnTo>
                      <a:pt x="619" y="722"/>
                    </a:lnTo>
                    <a:lnTo>
                      <a:pt x="619" y="724"/>
                    </a:lnTo>
                    <a:lnTo>
                      <a:pt x="619" y="725"/>
                    </a:lnTo>
                    <a:lnTo>
                      <a:pt x="619" y="727"/>
                    </a:lnTo>
                    <a:lnTo>
                      <a:pt x="619" y="728"/>
                    </a:lnTo>
                    <a:lnTo>
                      <a:pt x="618" y="730"/>
                    </a:lnTo>
                    <a:lnTo>
                      <a:pt x="618" y="732"/>
                    </a:lnTo>
                    <a:lnTo>
                      <a:pt x="618" y="733"/>
                    </a:lnTo>
                    <a:lnTo>
                      <a:pt x="618" y="735"/>
                    </a:lnTo>
                    <a:lnTo>
                      <a:pt x="616" y="735"/>
                    </a:lnTo>
                    <a:lnTo>
                      <a:pt x="616" y="736"/>
                    </a:lnTo>
                    <a:lnTo>
                      <a:pt x="616" y="738"/>
                    </a:lnTo>
                    <a:lnTo>
                      <a:pt x="616" y="740"/>
                    </a:lnTo>
                    <a:lnTo>
                      <a:pt x="615" y="740"/>
                    </a:lnTo>
                    <a:lnTo>
                      <a:pt x="615" y="741"/>
                    </a:lnTo>
                    <a:lnTo>
                      <a:pt x="615" y="743"/>
                    </a:lnTo>
                    <a:lnTo>
                      <a:pt x="613" y="743"/>
                    </a:lnTo>
                    <a:lnTo>
                      <a:pt x="613" y="744"/>
                    </a:lnTo>
                    <a:lnTo>
                      <a:pt x="611" y="746"/>
                    </a:lnTo>
                    <a:lnTo>
                      <a:pt x="611" y="747"/>
                    </a:lnTo>
                    <a:lnTo>
                      <a:pt x="610" y="747"/>
                    </a:lnTo>
                    <a:lnTo>
                      <a:pt x="610" y="749"/>
                    </a:lnTo>
                    <a:lnTo>
                      <a:pt x="610" y="751"/>
                    </a:lnTo>
                    <a:lnTo>
                      <a:pt x="608" y="752"/>
                    </a:lnTo>
                    <a:lnTo>
                      <a:pt x="608" y="754"/>
                    </a:lnTo>
                    <a:lnTo>
                      <a:pt x="608" y="755"/>
                    </a:lnTo>
                    <a:lnTo>
                      <a:pt x="608" y="757"/>
                    </a:lnTo>
                    <a:lnTo>
                      <a:pt x="607" y="757"/>
                    </a:lnTo>
                    <a:lnTo>
                      <a:pt x="607" y="759"/>
                    </a:lnTo>
                    <a:lnTo>
                      <a:pt x="607" y="760"/>
                    </a:lnTo>
                    <a:lnTo>
                      <a:pt x="607" y="762"/>
                    </a:lnTo>
                    <a:lnTo>
                      <a:pt x="607" y="763"/>
                    </a:lnTo>
                    <a:lnTo>
                      <a:pt x="608" y="765"/>
                    </a:lnTo>
                    <a:lnTo>
                      <a:pt x="608" y="766"/>
                    </a:lnTo>
                    <a:lnTo>
                      <a:pt x="608" y="768"/>
                    </a:lnTo>
                    <a:lnTo>
                      <a:pt x="607" y="768"/>
                    </a:lnTo>
                    <a:lnTo>
                      <a:pt x="607" y="770"/>
                    </a:lnTo>
                    <a:lnTo>
                      <a:pt x="607" y="771"/>
                    </a:lnTo>
                    <a:lnTo>
                      <a:pt x="605" y="771"/>
                    </a:lnTo>
                    <a:lnTo>
                      <a:pt x="605" y="773"/>
                    </a:lnTo>
                    <a:lnTo>
                      <a:pt x="605" y="774"/>
                    </a:lnTo>
                    <a:lnTo>
                      <a:pt x="604" y="774"/>
                    </a:lnTo>
                    <a:lnTo>
                      <a:pt x="604" y="776"/>
                    </a:lnTo>
                    <a:lnTo>
                      <a:pt x="604" y="778"/>
                    </a:lnTo>
                    <a:lnTo>
                      <a:pt x="604" y="779"/>
                    </a:lnTo>
                    <a:lnTo>
                      <a:pt x="604" y="781"/>
                    </a:lnTo>
                    <a:lnTo>
                      <a:pt x="605" y="781"/>
                    </a:lnTo>
                    <a:lnTo>
                      <a:pt x="605" y="782"/>
                    </a:lnTo>
                    <a:lnTo>
                      <a:pt x="605" y="784"/>
                    </a:lnTo>
                    <a:lnTo>
                      <a:pt x="605" y="785"/>
                    </a:lnTo>
                    <a:lnTo>
                      <a:pt x="605" y="787"/>
                    </a:lnTo>
                    <a:lnTo>
                      <a:pt x="605" y="789"/>
                    </a:lnTo>
                    <a:lnTo>
                      <a:pt x="607" y="789"/>
                    </a:lnTo>
                    <a:lnTo>
                      <a:pt x="607" y="790"/>
                    </a:lnTo>
                    <a:lnTo>
                      <a:pt x="607" y="792"/>
                    </a:lnTo>
                    <a:lnTo>
                      <a:pt x="607" y="793"/>
                    </a:lnTo>
                    <a:lnTo>
                      <a:pt x="607" y="795"/>
                    </a:lnTo>
                    <a:lnTo>
                      <a:pt x="608" y="797"/>
                    </a:lnTo>
                    <a:lnTo>
                      <a:pt x="608" y="798"/>
                    </a:lnTo>
                    <a:lnTo>
                      <a:pt x="608" y="800"/>
                    </a:lnTo>
                    <a:lnTo>
                      <a:pt x="608" y="801"/>
                    </a:lnTo>
                    <a:lnTo>
                      <a:pt x="610" y="803"/>
                    </a:lnTo>
                    <a:lnTo>
                      <a:pt x="610" y="804"/>
                    </a:lnTo>
                    <a:lnTo>
                      <a:pt x="610" y="806"/>
                    </a:lnTo>
                    <a:lnTo>
                      <a:pt x="610" y="808"/>
                    </a:lnTo>
                    <a:lnTo>
                      <a:pt x="610" y="809"/>
                    </a:lnTo>
                    <a:lnTo>
                      <a:pt x="611" y="811"/>
                    </a:lnTo>
                    <a:lnTo>
                      <a:pt x="611" y="812"/>
                    </a:lnTo>
                    <a:lnTo>
                      <a:pt x="611" y="814"/>
                    </a:lnTo>
                    <a:lnTo>
                      <a:pt x="611" y="816"/>
                    </a:lnTo>
                    <a:lnTo>
                      <a:pt x="611" y="817"/>
                    </a:lnTo>
                    <a:lnTo>
                      <a:pt x="613" y="819"/>
                    </a:lnTo>
                    <a:lnTo>
                      <a:pt x="613" y="820"/>
                    </a:lnTo>
                    <a:lnTo>
                      <a:pt x="613" y="822"/>
                    </a:lnTo>
                    <a:lnTo>
                      <a:pt x="613" y="823"/>
                    </a:lnTo>
                    <a:lnTo>
                      <a:pt x="613" y="825"/>
                    </a:lnTo>
                    <a:lnTo>
                      <a:pt x="613" y="827"/>
                    </a:lnTo>
                    <a:lnTo>
                      <a:pt x="615" y="827"/>
                    </a:lnTo>
                    <a:lnTo>
                      <a:pt x="615" y="828"/>
                    </a:lnTo>
                    <a:lnTo>
                      <a:pt x="615" y="830"/>
                    </a:lnTo>
                    <a:lnTo>
                      <a:pt x="615" y="831"/>
                    </a:lnTo>
                    <a:lnTo>
                      <a:pt x="615" y="833"/>
                    </a:lnTo>
                    <a:lnTo>
                      <a:pt x="616" y="835"/>
                    </a:lnTo>
                    <a:lnTo>
                      <a:pt x="616" y="836"/>
                    </a:lnTo>
                    <a:lnTo>
                      <a:pt x="616" y="838"/>
                    </a:lnTo>
                    <a:lnTo>
                      <a:pt x="618" y="839"/>
                    </a:lnTo>
                    <a:lnTo>
                      <a:pt x="618" y="841"/>
                    </a:lnTo>
                    <a:lnTo>
                      <a:pt x="618" y="842"/>
                    </a:lnTo>
                    <a:lnTo>
                      <a:pt x="619" y="844"/>
                    </a:lnTo>
                    <a:lnTo>
                      <a:pt x="619" y="846"/>
                    </a:lnTo>
                    <a:lnTo>
                      <a:pt x="619" y="847"/>
                    </a:lnTo>
                    <a:lnTo>
                      <a:pt x="619" y="849"/>
                    </a:lnTo>
                    <a:lnTo>
                      <a:pt x="619" y="850"/>
                    </a:lnTo>
                    <a:lnTo>
                      <a:pt x="619" y="852"/>
                    </a:lnTo>
                    <a:lnTo>
                      <a:pt x="619" y="854"/>
                    </a:lnTo>
                    <a:lnTo>
                      <a:pt x="618" y="854"/>
                    </a:lnTo>
                    <a:lnTo>
                      <a:pt x="616" y="855"/>
                    </a:lnTo>
                    <a:lnTo>
                      <a:pt x="615" y="855"/>
                    </a:lnTo>
                    <a:lnTo>
                      <a:pt x="613" y="855"/>
                    </a:lnTo>
                    <a:lnTo>
                      <a:pt x="611" y="855"/>
                    </a:lnTo>
                    <a:lnTo>
                      <a:pt x="610" y="857"/>
                    </a:lnTo>
                    <a:lnTo>
                      <a:pt x="608" y="857"/>
                    </a:lnTo>
                    <a:lnTo>
                      <a:pt x="607" y="857"/>
                    </a:lnTo>
                    <a:lnTo>
                      <a:pt x="605" y="858"/>
                    </a:lnTo>
                    <a:lnTo>
                      <a:pt x="604" y="858"/>
                    </a:lnTo>
                    <a:lnTo>
                      <a:pt x="602" y="858"/>
                    </a:lnTo>
                    <a:lnTo>
                      <a:pt x="602" y="857"/>
                    </a:lnTo>
                    <a:lnTo>
                      <a:pt x="600" y="857"/>
                    </a:lnTo>
                    <a:lnTo>
                      <a:pt x="599" y="857"/>
                    </a:lnTo>
                    <a:lnTo>
                      <a:pt x="597" y="857"/>
                    </a:lnTo>
                    <a:lnTo>
                      <a:pt x="597" y="858"/>
                    </a:lnTo>
                    <a:lnTo>
                      <a:pt x="596" y="858"/>
                    </a:lnTo>
                    <a:lnTo>
                      <a:pt x="594" y="858"/>
                    </a:lnTo>
                    <a:lnTo>
                      <a:pt x="594" y="860"/>
                    </a:lnTo>
                    <a:lnTo>
                      <a:pt x="592" y="860"/>
                    </a:lnTo>
                    <a:lnTo>
                      <a:pt x="591" y="860"/>
                    </a:lnTo>
                    <a:lnTo>
                      <a:pt x="589" y="860"/>
                    </a:lnTo>
                    <a:lnTo>
                      <a:pt x="589" y="862"/>
                    </a:lnTo>
                    <a:lnTo>
                      <a:pt x="588" y="862"/>
                    </a:lnTo>
                    <a:lnTo>
                      <a:pt x="586" y="862"/>
                    </a:lnTo>
                    <a:lnTo>
                      <a:pt x="586" y="863"/>
                    </a:lnTo>
                    <a:lnTo>
                      <a:pt x="585" y="863"/>
                    </a:lnTo>
                    <a:lnTo>
                      <a:pt x="583" y="863"/>
                    </a:lnTo>
                    <a:lnTo>
                      <a:pt x="581" y="863"/>
                    </a:lnTo>
                    <a:lnTo>
                      <a:pt x="581" y="865"/>
                    </a:lnTo>
                    <a:lnTo>
                      <a:pt x="580" y="865"/>
                    </a:lnTo>
                    <a:lnTo>
                      <a:pt x="580" y="866"/>
                    </a:lnTo>
                    <a:lnTo>
                      <a:pt x="578" y="866"/>
                    </a:lnTo>
                    <a:lnTo>
                      <a:pt x="577" y="866"/>
                    </a:lnTo>
                    <a:lnTo>
                      <a:pt x="575" y="866"/>
                    </a:lnTo>
                    <a:lnTo>
                      <a:pt x="573" y="868"/>
                    </a:lnTo>
                    <a:lnTo>
                      <a:pt x="572" y="868"/>
                    </a:lnTo>
                    <a:lnTo>
                      <a:pt x="570" y="868"/>
                    </a:lnTo>
                    <a:lnTo>
                      <a:pt x="569" y="868"/>
                    </a:lnTo>
                    <a:lnTo>
                      <a:pt x="569" y="869"/>
                    </a:lnTo>
                    <a:lnTo>
                      <a:pt x="567" y="869"/>
                    </a:lnTo>
                    <a:lnTo>
                      <a:pt x="567" y="871"/>
                    </a:lnTo>
                    <a:lnTo>
                      <a:pt x="566" y="871"/>
                    </a:lnTo>
                    <a:lnTo>
                      <a:pt x="564" y="871"/>
                    </a:lnTo>
                    <a:lnTo>
                      <a:pt x="562" y="871"/>
                    </a:lnTo>
                    <a:lnTo>
                      <a:pt x="562" y="869"/>
                    </a:lnTo>
                    <a:lnTo>
                      <a:pt x="561" y="869"/>
                    </a:lnTo>
                    <a:lnTo>
                      <a:pt x="561" y="868"/>
                    </a:lnTo>
                    <a:lnTo>
                      <a:pt x="561" y="866"/>
                    </a:lnTo>
                    <a:lnTo>
                      <a:pt x="561" y="865"/>
                    </a:lnTo>
                    <a:lnTo>
                      <a:pt x="559" y="865"/>
                    </a:lnTo>
                    <a:lnTo>
                      <a:pt x="559" y="863"/>
                    </a:lnTo>
                    <a:lnTo>
                      <a:pt x="559" y="862"/>
                    </a:lnTo>
                    <a:lnTo>
                      <a:pt x="559" y="860"/>
                    </a:lnTo>
                    <a:lnTo>
                      <a:pt x="559" y="858"/>
                    </a:lnTo>
                    <a:lnTo>
                      <a:pt x="558" y="858"/>
                    </a:lnTo>
                    <a:lnTo>
                      <a:pt x="558" y="857"/>
                    </a:lnTo>
                    <a:lnTo>
                      <a:pt x="558" y="855"/>
                    </a:lnTo>
                    <a:lnTo>
                      <a:pt x="558" y="854"/>
                    </a:lnTo>
                    <a:lnTo>
                      <a:pt x="558" y="852"/>
                    </a:lnTo>
                    <a:lnTo>
                      <a:pt x="558" y="850"/>
                    </a:lnTo>
                    <a:lnTo>
                      <a:pt x="558" y="849"/>
                    </a:lnTo>
                    <a:lnTo>
                      <a:pt x="558" y="847"/>
                    </a:lnTo>
                    <a:lnTo>
                      <a:pt x="556" y="847"/>
                    </a:lnTo>
                    <a:lnTo>
                      <a:pt x="556" y="846"/>
                    </a:lnTo>
                    <a:lnTo>
                      <a:pt x="556" y="844"/>
                    </a:lnTo>
                    <a:lnTo>
                      <a:pt x="556" y="842"/>
                    </a:lnTo>
                    <a:lnTo>
                      <a:pt x="554" y="842"/>
                    </a:lnTo>
                    <a:lnTo>
                      <a:pt x="554" y="841"/>
                    </a:lnTo>
                    <a:lnTo>
                      <a:pt x="554" y="839"/>
                    </a:lnTo>
                    <a:lnTo>
                      <a:pt x="553" y="839"/>
                    </a:lnTo>
                    <a:lnTo>
                      <a:pt x="553" y="838"/>
                    </a:lnTo>
                    <a:lnTo>
                      <a:pt x="551" y="838"/>
                    </a:lnTo>
                    <a:lnTo>
                      <a:pt x="550" y="836"/>
                    </a:lnTo>
                    <a:lnTo>
                      <a:pt x="548" y="835"/>
                    </a:lnTo>
                    <a:lnTo>
                      <a:pt x="547" y="835"/>
                    </a:lnTo>
                    <a:lnTo>
                      <a:pt x="547" y="833"/>
                    </a:lnTo>
                    <a:lnTo>
                      <a:pt x="545" y="831"/>
                    </a:lnTo>
                    <a:lnTo>
                      <a:pt x="545" y="830"/>
                    </a:lnTo>
                    <a:lnTo>
                      <a:pt x="545" y="828"/>
                    </a:lnTo>
                    <a:lnTo>
                      <a:pt x="545" y="827"/>
                    </a:lnTo>
                    <a:lnTo>
                      <a:pt x="545" y="825"/>
                    </a:lnTo>
                    <a:lnTo>
                      <a:pt x="543" y="823"/>
                    </a:lnTo>
                    <a:lnTo>
                      <a:pt x="543" y="822"/>
                    </a:lnTo>
                    <a:lnTo>
                      <a:pt x="542" y="822"/>
                    </a:lnTo>
                    <a:lnTo>
                      <a:pt x="540" y="822"/>
                    </a:lnTo>
                    <a:lnTo>
                      <a:pt x="539" y="822"/>
                    </a:lnTo>
                    <a:lnTo>
                      <a:pt x="537" y="822"/>
                    </a:lnTo>
                    <a:lnTo>
                      <a:pt x="535" y="820"/>
                    </a:lnTo>
                    <a:lnTo>
                      <a:pt x="534" y="820"/>
                    </a:lnTo>
                    <a:lnTo>
                      <a:pt x="534" y="819"/>
                    </a:lnTo>
                    <a:lnTo>
                      <a:pt x="532" y="819"/>
                    </a:lnTo>
                    <a:lnTo>
                      <a:pt x="531" y="817"/>
                    </a:lnTo>
                    <a:lnTo>
                      <a:pt x="531" y="816"/>
                    </a:lnTo>
                    <a:lnTo>
                      <a:pt x="531" y="814"/>
                    </a:lnTo>
                    <a:lnTo>
                      <a:pt x="531" y="812"/>
                    </a:lnTo>
                    <a:lnTo>
                      <a:pt x="531" y="811"/>
                    </a:lnTo>
                    <a:lnTo>
                      <a:pt x="529" y="811"/>
                    </a:lnTo>
                    <a:lnTo>
                      <a:pt x="529" y="809"/>
                    </a:lnTo>
                    <a:lnTo>
                      <a:pt x="528" y="809"/>
                    </a:lnTo>
                    <a:lnTo>
                      <a:pt x="528" y="808"/>
                    </a:lnTo>
                    <a:lnTo>
                      <a:pt x="526" y="808"/>
                    </a:lnTo>
                    <a:lnTo>
                      <a:pt x="526" y="806"/>
                    </a:lnTo>
                    <a:lnTo>
                      <a:pt x="526" y="804"/>
                    </a:lnTo>
                    <a:lnTo>
                      <a:pt x="526" y="803"/>
                    </a:lnTo>
                    <a:lnTo>
                      <a:pt x="528" y="803"/>
                    </a:lnTo>
                    <a:lnTo>
                      <a:pt x="526" y="801"/>
                    </a:lnTo>
                    <a:lnTo>
                      <a:pt x="526" y="800"/>
                    </a:lnTo>
                    <a:lnTo>
                      <a:pt x="526" y="798"/>
                    </a:lnTo>
                    <a:lnTo>
                      <a:pt x="524" y="798"/>
                    </a:lnTo>
                    <a:lnTo>
                      <a:pt x="524" y="797"/>
                    </a:lnTo>
                    <a:lnTo>
                      <a:pt x="523" y="797"/>
                    </a:lnTo>
                    <a:lnTo>
                      <a:pt x="521" y="797"/>
                    </a:lnTo>
                    <a:lnTo>
                      <a:pt x="521" y="798"/>
                    </a:lnTo>
                    <a:lnTo>
                      <a:pt x="520" y="798"/>
                    </a:lnTo>
                    <a:lnTo>
                      <a:pt x="518" y="800"/>
                    </a:lnTo>
                    <a:lnTo>
                      <a:pt x="518" y="801"/>
                    </a:lnTo>
                    <a:lnTo>
                      <a:pt x="516" y="801"/>
                    </a:lnTo>
                    <a:lnTo>
                      <a:pt x="516" y="803"/>
                    </a:lnTo>
                    <a:lnTo>
                      <a:pt x="515" y="803"/>
                    </a:lnTo>
                    <a:lnTo>
                      <a:pt x="515" y="804"/>
                    </a:lnTo>
                    <a:lnTo>
                      <a:pt x="513" y="804"/>
                    </a:lnTo>
                    <a:lnTo>
                      <a:pt x="512" y="806"/>
                    </a:lnTo>
                    <a:lnTo>
                      <a:pt x="510" y="806"/>
                    </a:lnTo>
                    <a:lnTo>
                      <a:pt x="510" y="808"/>
                    </a:lnTo>
                    <a:lnTo>
                      <a:pt x="509" y="808"/>
                    </a:lnTo>
                    <a:lnTo>
                      <a:pt x="507" y="808"/>
                    </a:lnTo>
                    <a:lnTo>
                      <a:pt x="507" y="809"/>
                    </a:lnTo>
                    <a:lnTo>
                      <a:pt x="505" y="808"/>
                    </a:lnTo>
                    <a:lnTo>
                      <a:pt x="505" y="809"/>
                    </a:lnTo>
                    <a:lnTo>
                      <a:pt x="504" y="809"/>
                    </a:lnTo>
                    <a:lnTo>
                      <a:pt x="502" y="809"/>
                    </a:lnTo>
                    <a:lnTo>
                      <a:pt x="501" y="809"/>
                    </a:lnTo>
                    <a:lnTo>
                      <a:pt x="501" y="811"/>
                    </a:lnTo>
                    <a:lnTo>
                      <a:pt x="499" y="811"/>
                    </a:lnTo>
                    <a:lnTo>
                      <a:pt x="497" y="811"/>
                    </a:lnTo>
                    <a:lnTo>
                      <a:pt x="496" y="811"/>
                    </a:lnTo>
                    <a:lnTo>
                      <a:pt x="494" y="811"/>
                    </a:lnTo>
                    <a:lnTo>
                      <a:pt x="493" y="811"/>
                    </a:lnTo>
                    <a:lnTo>
                      <a:pt x="491" y="811"/>
                    </a:lnTo>
                    <a:lnTo>
                      <a:pt x="491" y="809"/>
                    </a:lnTo>
                    <a:lnTo>
                      <a:pt x="490" y="809"/>
                    </a:lnTo>
                    <a:lnTo>
                      <a:pt x="488" y="808"/>
                    </a:lnTo>
                    <a:lnTo>
                      <a:pt x="488" y="806"/>
                    </a:lnTo>
                    <a:lnTo>
                      <a:pt x="488" y="804"/>
                    </a:lnTo>
                    <a:lnTo>
                      <a:pt x="488" y="803"/>
                    </a:lnTo>
                    <a:lnTo>
                      <a:pt x="488" y="801"/>
                    </a:lnTo>
                    <a:lnTo>
                      <a:pt x="488" y="800"/>
                    </a:lnTo>
                    <a:lnTo>
                      <a:pt x="488" y="798"/>
                    </a:lnTo>
                    <a:lnTo>
                      <a:pt x="488" y="797"/>
                    </a:lnTo>
                    <a:lnTo>
                      <a:pt x="488" y="795"/>
                    </a:lnTo>
                    <a:lnTo>
                      <a:pt x="490" y="795"/>
                    </a:lnTo>
                    <a:lnTo>
                      <a:pt x="490" y="793"/>
                    </a:lnTo>
                    <a:lnTo>
                      <a:pt x="490" y="792"/>
                    </a:lnTo>
                    <a:lnTo>
                      <a:pt x="488" y="792"/>
                    </a:lnTo>
                    <a:lnTo>
                      <a:pt x="488" y="790"/>
                    </a:lnTo>
                    <a:lnTo>
                      <a:pt x="486" y="790"/>
                    </a:lnTo>
                    <a:lnTo>
                      <a:pt x="485" y="790"/>
                    </a:lnTo>
                    <a:lnTo>
                      <a:pt x="483" y="790"/>
                    </a:lnTo>
                    <a:lnTo>
                      <a:pt x="482" y="790"/>
                    </a:lnTo>
                    <a:lnTo>
                      <a:pt x="480" y="790"/>
                    </a:lnTo>
                    <a:lnTo>
                      <a:pt x="478" y="790"/>
                    </a:lnTo>
                    <a:lnTo>
                      <a:pt x="477" y="790"/>
                    </a:lnTo>
                    <a:lnTo>
                      <a:pt x="477" y="789"/>
                    </a:lnTo>
                    <a:lnTo>
                      <a:pt x="475" y="789"/>
                    </a:lnTo>
                    <a:lnTo>
                      <a:pt x="475" y="787"/>
                    </a:lnTo>
                    <a:lnTo>
                      <a:pt x="474" y="785"/>
                    </a:lnTo>
                    <a:lnTo>
                      <a:pt x="474" y="784"/>
                    </a:lnTo>
                    <a:lnTo>
                      <a:pt x="472" y="782"/>
                    </a:lnTo>
                    <a:lnTo>
                      <a:pt x="471" y="782"/>
                    </a:lnTo>
                    <a:lnTo>
                      <a:pt x="471" y="781"/>
                    </a:lnTo>
                    <a:lnTo>
                      <a:pt x="469" y="781"/>
                    </a:lnTo>
                    <a:lnTo>
                      <a:pt x="469" y="779"/>
                    </a:lnTo>
                    <a:lnTo>
                      <a:pt x="467" y="779"/>
                    </a:lnTo>
                    <a:lnTo>
                      <a:pt x="467" y="778"/>
                    </a:lnTo>
                    <a:lnTo>
                      <a:pt x="467" y="776"/>
                    </a:lnTo>
                    <a:lnTo>
                      <a:pt x="466" y="776"/>
                    </a:lnTo>
                    <a:lnTo>
                      <a:pt x="466" y="774"/>
                    </a:lnTo>
                    <a:lnTo>
                      <a:pt x="466" y="773"/>
                    </a:lnTo>
                    <a:lnTo>
                      <a:pt x="464" y="771"/>
                    </a:lnTo>
                    <a:lnTo>
                      <a:pt x="464" y="770"/>
                    </a:lnTo>
                    <a:lnTo>
                      <a:pt x="464" y="768"/>
                    </a:lnTo>
                    <a:lnTo>
                      <a:pt x="464" y="766"/>
                    </a:lnTo>
                    <a:lnTo>
                      <a:pt x="458" y="766"/>
                    </a:lnTo>
                    <a:lnTo>
                      <a:pt x="455" y="766"/>
                    </a:lnTo>
                    <a:lnTo>
                      <a:pt x="450" y="766"/>
                    </a:lnTo>
                    <a:lnTo>
                      <a:pt x="447" y="768"/>
                    </a:lnTo>
                    <a:lnTo>
                      <a:pt x="442" y="768"/>
                    </a:lnTo>
                    <a:lnTo>
                      <a:pt x="439" y="768"/>
                    </a:lnTo>
                    <a:lnTo>
                      <a:pt x="431" y="768"/>
                    </a:lnTo>
                    <a:lnTo>
                      <a:pt x="423" y="768"/>
                    </a:lnTo>
                    <a:lnTo>
                      <a:pt x="415" y="768"/>
                    </a:lnTo>
                    <a:lnTo>
                      <a:pt x="406" y="768"/>
                    </a:lnTo>
                    <a:lnTo>
                      <a:pt x="396" y="770"/>
                    </a:lnTo>
                    <a:lnTo>
                      <a:pt x="388" y="768"/>
                    </a:lnTo>
                    <a:lnTo>
                      <a:pt x="379" y="766"/>
                    </a:lnTo>
                    <a:lnTo>
                      <a:pt x="369" y="766"/>
                    </a:lnTo>
                    <a:lnTo>
                      <a:pt x="364" y="766"/>
                    </a:lnTo>
                    <a:lnTo>
                      <a:pt x="358" y="768"/>
                    </a:lnTo>
                    <a:lnTo>
                      <a:pt x="352" y="768"/>
                    </a:lnTo>
                    <a:lnTo>
                      <a:pt x="350" y="768"/>
                    </a:lnTo>
                    <a:lnTo>
                      <a:pt x="349" y="768"/>
                    </a:lnTo>
                    <a:lnTo>
                      <a:pt x="347" y="768"/>
                    </a:lnTo>
                    <a:lnTo>
                      <a:pt x="347" y="770"/>
                    </a:lnTo>
                    <a:lnTo>
                      <a:pt x="345" y="771"/>
                    </a:lnTo>
                    <a:lnTo>
                      <a:pt x="344" y="773"/>
                    </a:lnTo>
                    <a:lnTo>
                      <a:pt x="342" y="774"/>
                    </a:lnTo>
                    <a:lnTo>
                      <a:pt x="342" y="776"/>
                    </a:lnTo>
                    <a:lnTo>
                      <a:pt x="341" y="776"/>
                    </a:lnTo>
                    <a:lnTo>
                      <a:pt x="341" y="778"/>
                    </a:lnTo>
                    <a:lnTo>
                      <a:pt x="339" y="778"/>
                    </a:lnTo>
                    <a:lnTo>
                      <a:pt x="339" y="779"/>
                    </a:lnTo>
                    <a:lnTo>
                      <a:pt x="337" y="779"/>
                    </a:lnTo>
                    <a:lnTo>
                      <a:pt x="337" y="781"/>
                    </a:lnTo>
                    <a:lnTo>
                      <a:pt x="336" y="781"/>
                    </a:lnTo>
                    <a:lnTo>
                      <a:pt x="336" y="782"/>
                    </a:lnTo>
                    <a:lnTo>
                      <a:pt x="334" y="782"/>
                    </a:lnTo>
                    <a:lnTo>
                      <a:pt x="334" y="784"/>
                    </a:lnTo>
                    <a:lnTo>
                      <a:pt x="333" y="784"/>
                    </a:lnTo>
                    <a:lnTo>
                      <a:pt x="333" y="785"/>
                    </a:lnTo>
                    <a:lnTo>
                      <a:pt x="331" y="785"/>
                    </a:lnTo>
                    <a:lnTo>
                      <a:pt x="331" y="787"/>
                    </a:lnTo>
                    <a:lnTo>
                      <a:pt x="330" y="787"/>
                    </a:lnTo>
                    <a:lnTo>
                      <a:pt x="328" y="789"/>
                    </a:lnTo>
                    <a:lnTo>
                      <a:pt x="328" y="790"/>
                    </a:lnTo>
                    <a:lnTo>
                      <a:pt x="326" y="790"/>
                    </a:lnTo>
                    <a:lnTo>
                      <a:pt x="325" y="792"/>
                    </a:lnTo>
                    <a:lnTo>
                      <a:pt x="325" y="793"/>
                    </a:lnTo>
                    <a:lnTo>
                      <a:pt x="323" y="793"/>
                    </a:lnTo>
                    <a:lnTo>
                      <a:pt x="323" y="795"/>
                    </a:lnTo>
                    <a:lnTo>
                      <a:pt x="322" y="795"/>
                    </a:lnTo>
                    <a:lnTo>
                      <a:pt x="322" y="797"/>
                    </a:lnTo>
                    <a:lnTo>
                      <a:pt x="320" y="797"/>
                    </a:lnTo>
                    <a:lnTo>
                      <a:pt x="320" y="798"/>
                    </a:lnTo>
                    <a:lnTo>
                      <a:pt x="318" y="800"/>
                    </a:lnTo>
                    <a:lnTo>
                      <a:pt x="317" y="801"/>
                    </a:lnTo>
                    <a:lnTo>
                      <a:pt x="317" y="803"/>
                    </a:lnTo>
                    <a:lnTo>
                      <a:pt x="315" y="803"/>
                    </a:lnTo>
                    <a:lnTo>
                      <a:pt x="315" y="804"/>
                    </a:lnTo>
                    <a:lnTo>
                      <a:pt x="314" y="804"/>
                    </a:lnTo>
                    <a:lnTo>
                      <a:pt x="314" y="806"/>
                    </a:lnTo>
                    <a:lnTo>
                      <a:pt x="312" y="806"/>
                    </a:lnTo>
                    <a:lnTo>
                      <a:pt x="312" y="808"/>
                    </a:lnTo>
                    <a:lnTo>
                      <a:pt x="311" y="808"/>
                    </a:lnTo>
                    <a:lnTo>
                      <a:pt x="309" y="809"/>
                    </a:lnTo>
                    <a:lnTo>
                      <a:pt x="307" y="809"/>
                    </a:lnTo>
                    <a:lnTo>
                      <a:pt x="307" y="811"/>
                    </a:lnTo>
                    <a:lnTo>
                      <a:pt x="306" y="811"/>
                    </a:lnTo>
                    <a:lnTo>
                      <a:pt x="304" y="811"/>
                    </a:lnTo>
                    <a:lnTo>
                      <a:pt x="303" y="812"/>
                    </a:lnTo>
                    <a:lnTo>
                      <a:pt x="301" y="812"/>
                    </a:lnTo>
                    <a:lnTo>
                      <a:pt x="299" y="812"/>
                    </a:lnTo>
                    <a:lnTo>
                      <a:pt x="298" y="812"/>
                    </a:lnTo>
                    <a:lnTo>
                      <a:pt x="296" y="812"/>
                    </a:lnTo>
                    <a:lnTo>
                      <a:pt x="295" y="812"/>
                    </a:lnTo>
                    <a:lnTo>
                      <a:pt x="293" y="812"/>
                    </a:lnTo>
                    <a:lnTo>
                      <a:pt x="292" y="812"/>
                    </a:lnTo>
                    <a:lnTo>
                      <a:pt x="290" y="812"/>
                    </a:lnTo>
                    <a:lnTo>
                      <a:pt x="288" y="812"/>
                    </a:lnTo>
                    <a:lnTo>
                      <a:pt x="287" y="812"/>
                    </a:lnTo>
                    <a:lnTo>
                      <a:pt x="285" y="812"/>
                    </a:lnTo>
                    <a:lnTo>
                      <a:pt x="284" y="812"/>
                    </a:lnTo>
                    <a:lnTo>
                      <a:pt x="282" y="812"/>
                    </a:lnTo>
                    <a:lnTo>
                      <a:pt x="280" y="812"/>
                    </a:lnTo>
                    <a:lnTo>
                      <a:pt x="279" y="812"/>
                    </a:lnTo>
                    <a:lnTo>
                      <a:pt x="277" y="812"/>
                    </a:lnTo>
                    <a:lnTo>
                      <a:pt x="276" y="812"/>
                    </a:lnTo>
                    <a:lnTo>
                      <a:pt x="274" y="812"/>
                    </a:lnTo>
                    <a:lnTo>
                      <a:pt x="273" y="812"/>
                    </a:lnTo>
                    <a:lnTo>
                      <a:pt x="271" y="812"/>
                    </a:lnTo>
                    <a:lnTo>
                      <a:pt x="269" y="812"/>
                    </a:lnTo>
                    <a:lnTo>
                      <a:pt x="268" y="812"/>
                    </a:lnTo>
                    <a:lnTo>
                      <a:pt x="266" y="812"/>
                    </a:lnTo>
                    <a:lnTo>
                      <a:pt x="265" y="812"/>
                    </a:lnTo>
                    <a:lnTo>
                      <a:pt x="263" y="812"/>
                    </a:lnTo>
                    <a:lnTo>
                      <a:pt x="261" y="812"/>
                    </a:lnTo>
                    <a:lnTo>
                      <a:pt x="260" y="812"/>
                    </a:lnTo>
                    <a:lnTo>
                      <a:pt x="258" y="812"/>
                    </a:lnTo>
                    <a:lnTo>
                      <a:pt x="257" y="812"/>
                    </a:lnTo>
                    <a:lnTo>
                      <a:pt x="255" y="812"/>
                    </a:lnTo>
                    <a:lnTo>
                      <a:pt x="253" y="812"/>
                    </a:lnTo>
                    <a:lnTo>
                      <a:pt x="252" y="812"/>
                    </a:lnTo>
                    <a:lnTo>
                      <a:pt x="250" y="814"/>
                    </a:lnTo>
                    <a:lnTo>
                      <a:pt x="249" y="814"/>
                    </a:lnTo>
                    <a:lnTo>
                      <a:pt x="247" y="814"/>
                    </a:lnTo>
                    <a:lnTo>
                      <a:pt x="246" y="814"/>
                    </a:lnTo>
                    <a:lnTo>
                      <a:pt x="244" y="814"/>
                    </a:lnTo>
                    <a:lnTo>
                      <a:pt x="242" y="814"/>
                    </a:lnTo>
                    <a:lnTo>
                      <a:pt x="241" y="814"/>
                    </a:lnTo>
                    <a:lnTo>
                      <a:pt x="239" y="814"/>
                    </a:lnTo>
                    <a:lnTo>
                      <a:pt x="238" y="814"/>
                    </a:lnTo>
                    <a:lnTo>
                      <a:pt x="236" y="814"/>
                    </a:lnTo>
                    <a:lnTo>
                      <a:pt x="234" y="814"/>
                    </a:lnTo>
                    <a:lnTo>
                      <a:pt x="233" y="814"/>
                    </a:lnTo>
                    <a:lnTo>
                      <a:pt x="231" y="814"/>
                    </a:lnTo>
                    <a:lnTo>
                      <a:pt x="230" y="814"/>
                    </a:lnTo>
                    <a:lnTo>
                      <a:pt x="228" y="814"/>
                    </a:lnTo>
                    <a:lnTo>
                      <a:pt x="227" y="814"/>
                    </a:lnTo>
                    <a:lnTo>
                      <a:pt x="225" y="814"/>
                    </a:lnTo>
                    <a:lnTo>
                      <a:pt x="223" y="814"/>
                    </a:lnTo>
                    <a:lnTo>
                      <a:pt x="222" y="814"/>
                    </a:lnTo>
                    <a:lnTo>
                      <a:pt x="220" y="814"/>
                    </a:lnTo>
                    <a:lnTo>
                      <a:pt x="219" y="814"/>
                    </a:lnTo>
                    <a:lnTo>
                      <a:pt x="217" y="814"/>
                    </a:lnTo>
                    <a:lnTo>
                      <a:pt x="215" y="814"/>
                    </a:lnTo>
                    <a:lnTo>
                      <a:pt x="214" y="814"/>
                    </a:lnTo>
                    <a:lnTo>
                      <a:pt x="212" y="814"/>
                    </a:lnTo>
                    <a:lnTo>
                      <a:pt x="211" y="814"/>
                    </a:lnTo>
                    <a:lnTo>
                      <a:pt x="209" y="814"/>
                    </a:lnTo>
                    <a:lnTo>
                      <a:pt x="209" y="816"/>
                    </a:lnTo>
                    <a:lnTo>
                      <a:pt x="211" y="817"/>
                    </a:lnTo>
                    <a:lnTo>
                      <a:pt x="212" y="817"/>
                    </a:lnTo>
                    <a:lnTo>
                      <a:pt x="212" y="819"/>
                    </a:lnTo>
                    <a:lnTo>
                      <a:pt x="214" y="819"/>
                    </a:lnTo>
                    <a:lnTo>
                      <a:pt x="214" y="820"/>
                    </a:lnTo>
                    <a:lnTo>
                      <a:pt x="215" y="820"/>
                    </a:lnTo>
                    <a:lnTo>
                      <a:pt x="215" y="822"/>
                    </a:lnTo>
                    <a:lnTo>
                      <a:pt x="217" y="822"/>
                    </a:lnTo>
                    <a:lnTo>
                      <a:pt x="217" y="823"/>
                    </a:lnTo>
                    <a:lnTo>
                      <a:pt x="219" y="823"/>
                    </a:lnTo>
                    <a:lnTo>
                      <a:pt x="219" y="825"/>
                    </a:lnTo>
                    <a:lnTo>
                      <a:pt x="220" y="825"/>
                    </a:lnTo>
                    <a:lnTo>
                      <a:pt x="222" y="827"/>
                    </a:lnTo>
                    <a:lnTo>
                      <a:pt x="223" y="828"/>
                    </a:lnTo>
                    <a:lnTo>
                      <a:pt x="223" y="830"/>
                    </a:lnTo>
                    <a:lnTo>
                      <a:pt x="225" y="830"/>
                    </a:lnTo>
                    <a:lnTo>
                      <a:pt x="227" y="831"/>
                    </a:lnTo>
                    <a:lnTo>
                      <a:pt x="228" y="833"/>
                    </a:lnTo>
                    <a:lnTo>
                      <a:pt x="230" y="835"/>
                    </a:lnTo>
                    <a:lnTo>
                      <a:pt x="231" y="835"/>
                    </a:lnTo>
                    <a:lnTo>
                      <a:pt x="231" y="836"/>
                    </a:lnTo>
                    <a:lnTo>
                      <a:pt x="233" y="836"/>
                    </a:lnTo>
                    <a:lnTo>
                      <a:pt x="233" y="838"/>
                    </a:lnTo>
                    <a:lnTo>
                      <a:pt x="234" y="838"/>
                    </a:lnTo>
                    <a:lnTo>
                      <a:pt x="234" y="839"/>
                    </a:lnTo>
                    <a:lnTo>
                      <a:pt x="236" y="839"/>
                    </a:lnTo>
                    <a:lnTo>
                      <a:pt x="238" y="841"/>
                    </a:lnTo>
                    <a:lnTo>
                      <a:pt x="239" y="841"/>
                    </a:lnTo>
                    <a:lnTo>
                      <a:pt x="239" y="842"/>
                    </a:lnTo>
                    <a:lnTo>
                      <a:pt x="241" y="842"/>
                    </a:lnTo>
                    <a:lnTo>
                      <a:pt x="241" y="844"/>
                    </a:lnTo>
                    <a:lnTo>
                      <a:pt x="242" y="844"/>
                    </a:lnTo>
                    <a:lnTo>
                      <a:pt x="244" y="846"/>
                    </a:lnTo>
                    <a:lnTo>
                      <a:pt x="246" y="846"/>
                    </a:lnTo>
                    <a:lnTo>
                      <a:pt x="246" y="847"/>
                    </a:lnTo>
                    <a:lnTo>
                      <a:pt x="247" y="847"/>
                    </a:lnTo>
                    <a:lnTo>
                      <a:pt x="247" y="849"/>
                    </a:lnTo>
                    <a:lnTo>
                      <a:pt x="249" y="849"/>
                    </a:lnTo>
                    <a:lnTo>
                      <a:pt x="249" y="850"/>
                    </a:lnTo>
                    <a:lnTo>
                      <a:pt x="250" y="850"/>
                    </a:lnTo>
                    <a:lnTo>
                      <a:pt x="250" y="852"/>
                    </a:lnTo>
                    <a:lnTo>
                      <a:pt x="252" y="852"/>
                    </a:lnTo>
                    <a:lnTo>
                      <a:pt x="252" y="854"/>
                    </a:lnTo>
                    <a:lnTo>
                      <a:pt x="253" y="855"/>
                    </a:lnTo>
                    <a:lnTo>
                      <a:pt x="253" y="857"/>
                    </a:lnTo>
                    <a:lnTo>
                      <a:pt x="253" y="858"/>
                    </a:lnTo>
                    <a:lnTo>
                      <a:pt x="253" y="860"/>
                    </a:lnTo>
                    <a:lnTo>
                      <a:pt x="253" y="862"/>
                    </a:lnTo>
                    <a:lnTo>
                      <a:pt x="253" y="863"/>
                    </a:lnTo>
                    <a:lnTo>
                      <a:pt x="253" y="865"/>
                    </a:lnTo>
                    <a:lnTo>
                      <a:pt x="255" y="866"/>
                    </a:lnTo>
                    <a:lnTo>
                      <a:pt x="255" y="868"/>
                    </a:lnTo>
                    <a:lnTo>
                      <a:pt x="255" y="869"/>
                    </a:lnTo>
                    <a:lnTo>
                      <a:pt x="255" y="871"/>
                    </a:lnTo>
                    <a:lnTo>
                      <a:pt x="255" y="873"/>
                    </a:lnTo>
                    <a:lnTo>
                      <a:pt x="255" y="874"/>
                    </a:lnTo>
                    <a:lnTo>
                      <a:pt x="257" y="876"/>
                    </a:lnTo>
                    <a:lnTo>
                      <a:pt x="257" y="877"/>
                    </a:lnTo>
                    <a:lnTo>
                      <a:pt x="257" y="879"/>
                    </a:lnTo>
                    <a:lnTo>
                      <a:pt x="257" y="881"/>
                    </a:lnTo>
                    <a:lnTo>
                      <a:pt x="257" y="882"/>
                    </a:lnTo>
                    <a:lnTo>
                      <a:pt x="257" y="884"/>
                    </a:lnTo>
                    <a:lnTo>
                      <a:pt x="258" y="885"/>
                    </a:lnTo>
                    <a:lnTo>
                      <a:pt x="258" y="887"/>
                    </a:lnTo>
                    <a:lnTo>
                      <a:pt x="258" y="888"/>
                    </a:lnTo>
                    <a:lnTo>
                      <a:pt x="258" y="890"/>
                    </a:lnTo>
                    <a:lnTo>
                      <a:pt x="258" y="892"/>
                    </a:lnTo>
                    <a:lnTo>
                      <a:pt x="260" y="892"/>
                    </a:lnTo>
                    <a:lnTo>
                      <a:pt x="260" y="893"/>
                    </a:lnTo>
                    <a:lnTo>
                      <a:pt x="260" y="895"/>
                    </a:lnTo>
                    <a:lnTo>
                      <a:pt x="260" y="896"/>
                    </a:lnTo>
                    <a:lnTo>
                      <a:pt x="260" y="898"/>
                    </a:lnTo>
                    <a:lnTo>
                      <a:pt x="260" y="900"/>
                    </a:lnTo>
                    <a:lnTo>
                      <a:pt x="261" y="900"/>
                    </a:lnTo>
                    <a:lnTo>
                      <a:pt x="261" y="901"/>
                    </a:lnTo>
                    <a:lnTo>
                      <a:pt x="261" y="903"/>
                    </a:lnTo>
                    <a:lnTo>
                      <a:pt x="261" y="904"/>
                    </a:lnTo>
                    <a:lnTo>
                      <a:pt x="261" y="906"/>
                    </a:lnTo>
                    <a:lnTo>
                      <a:pt x="261" y="907"/>
                    </a:lnTo>
                    <a:lnTo>
                      <a:pt x="261" y="909"/>
                    </a:lnTo>
                    <a:lnTo>
                      <a:pt x="263" y="909"/>
                    </a:lnTo>
                    <a:lnTo>
                      <a:pt x="263" y="911"/>
                    </a:lnTo>
                    <a:lnTo>
                      <a:pt x="263" y="912"/>
                    </a:lnTo>
                    <a:lnTo>
                      <a:pt x="263" y="914"/>
                    </a:lnTo>
                    <a:lnTo>
                      <a:pt x="263" y="915"/>
                    </a:lnTo>
                    <a:lnTo>
                      <a:pt x="263" y="917"/>
                    </a:lnTo>
                    <a:lnTo>
                      <a:pt x="263" y="919"/>
                    </a:lnTo>
                    <a:lnTo>
                      <a:pt x="265" y="919"/>
                    </a:lnTo>
                    <a:lnTo>
                      <a:pt x="265" y="920"/>
                    </a:lnTo>
                    <a:lnTo>
                      <a:pt x="265" y="922"/>
                    </a:lnTo>
                    <a:lnTo>
                      <a:pt x="265" y="923"/>
                    </a:lnTo>
                    <a:lnTo>
                      <a:pt x="265" y="925"/>
                    </a:lnTo>
                    <a:lnTo>
                      <a:pt x="265" y="926"/>
                    </a:lnTo>
                    <a:lnTo>
                      <a:pt x="266" y="926"/>
                    </a:lnTo>
                    <a:lnTo>
                      <a:pt x="266" y="928"/>
                    </a:lnTo>
                    <a:lnTo>
                      <a:pt x="266" y="930"/>
                    </a:lnTo>
                    <a:lnTo>
                      <a:pt x="266" y="931"/>
                    </a:lnTo>
                    <a:lnTo>
                      <a:pt x="266" y="933"/>
                    </a:lnTo>
                    <a:lnTo>
                      <a:pt x="266" y="934"/>
                    </a:lnTo>
                    <a:lnTo>
                      <a:pt x="268" y="934"/>
                    </a:lnTo>
                    <a:lnTo>
                      <a:pt x="268" y="936"/>
                    </a:lnTo>
                    <a:lnTo>
                      <a:pt x="268" y="938"/>
                    </a:lnTo>
                    <a:lnTo>
                      <a:pt x="268" y="939"/>
                    </a:lnTo>
                    <a:lnTo>
                      <a:pt x="268" y="941"/>
                    </a:lnTo>
                    <a:lnTo>
                      <a:pt x="268" y="942"/>
                    </a:lnTo>
                    <a:lnTo>
                      <a:pt x="269" y="942"/>
                    </a:lnTo>
                    <a:lnTo>
                      <a:pt x="269" y="944"/>
                    </a:lnTo>
                    <a:lnTo>
                      <a:pt x="269" y="945"/>
                    </a:lnTo>
                    <a:lnTo>
                      <a:pt x="269" y="947"/>
                    </a:lnTo>
                    <a:lnTo>
                      <a:pt x="269" y="949"/>
                    </a:lnTo>
                    <a:lnTo>
                      <a:pt x="271" y="950"/>
                    </a:lnTo>
                    <a:lnTo>
                      <a:pt x="271" y="952"/>
                    </a:lnTo>
                    <a:lnTo>
                      <a:pt x="271" y="953"/>
                    </a:lnTo>
                    <a:lnTo>
                      <a:pt x="271" y="955"/>
                    </a:lnTo>
                    <a:lnTo>
                      <a:pt x="271" y="957"/>
                    </a:lnTo>
                    <a:lnTo>
                      <a:pt x="273" y="958"/>
                    </a:lnTo>
                    <a:lnTo>
                      <a:pt x="273" y="960"/>
                    </a:lnTo>
                    <a:lnTo>
                      <a:pt x="273" y="961"/>
                    </a:lnTo>
                    <a:lnTo>
                      <a:pt x="273" y="963"/>
                    </a:lnTo>
                    <a:lnTo>
                      <a:pt x="273" y="964"/>
                    </a:lnTo>
                    <a:lnTo>
                      <a:pt x="274" y="966"/>
                    </a:lnTo>
                    <a:lnTo>
                      <a:pt x="274" y="968"/>
                    </a:lnTo>
                    <a:lnTo>
                      <a:pt x="274" y="969"/>
                    </a:lnTo>
                    <a:lnTo>
                      <a:pt x="274" y="971"/>
                    </a:lnTo>
                    <a:lnTo>
                      <a:pt x="274" y="972"/>
                    </a:lnTo>
                    <a:lnTo>
                      <a:pt x="274" y="974"/>
                    </a:lnTo>
                    <a:lnTo>
                      <a:pt x="276" y="974"/>
                    </a:lnTo>
                    <a:lnTo>
                      <a:pt x="276" y="976"/>
                    </a:lnTo>
                    <a:lnTo>
                      <a:pt x="276" y="977"/>
                    </a:lnTo>
                    <a:lnTo>
                      <a:pt x="276" y="979"/>
                    </a:lnTo>
                    <a:lnTo>
                      <a:pt x="276" y="980"/>
                    </a:lnTo>
                    <a:lnTo>
                      <a:pt x="277" y="982"/>
                    </a:lnTo>
                    <a:lnTo>
                      <a:pt x="277" y="983"/>
                    </a:lnTo>
                    <a:lnTo>
                      <a:pt x="277" y="985"/>
                    </a:lnTo>
                    <a:lnTo>
                      <a:pt x="277" y="987"/>
                    </a:lnTo>
                    <a:lnTo>
                      <a:pt x="277" y="988"/>
                    </a:lnTo>
                    <a:lnTo>
                      <a:pt x="277" y="990"/>
                    </a:lnTo>
                    <a:lnTo>
                      <a:pt x="279" y="990"/>
                    </a:lnTo>
                    <a:lnTo>
                      <a:pt x="279" y="991"/>
                    </a:lnTo>
                    <a:lnTo>
                      <a:pt x="279" y="993"/>
                    </a:lnTo>
                    <a:lnTo>
                      <a:pt x="279" y="995"/>
                    </a:lnTo>
                    <a:lnTo>
                      <a:pt x="279" y="996"/>
                    </a:lnTo>
                    <a:lnTo>
                      <a:pt x="279" y="998"/>
                    </a:lnTo>
                    <a:lnTo>
                      <a:pt x="279" y="999"/>
                    </a:lnTo>
                    <a:lnTo>
                      <a:pt x="279" y="1001"/>
                    </a:lnTo>
                    <a:lnTo>
                      <a:pt x="279" y="1002"/>
                    </a:lnTo>
                    <a:lnTo>
                      <a:pt x="279" y="1004"/>
                    </a:lnTo>
                    <a:lnTo>
                      <a:pt x="280" y="1004"/>
                    </a:lnTo>
                    <a:lnTo>
                      <a:pt x="280" y="1006"/>
                    </a:lnTo>
                    <a:lnTo>
                      <a:pt x="282" y="1007"/>
                    </a:lnTo>
                    <a:lnTo>
                      <a:pt x="282" y="1009"/>
                    </a:lnTo>
                    <a:lnTo>
                      <a:pt x="282" y="1010"/>
                    </a:lnTo>
                    <a:lnTo>
                      <a:pt x="284" y="1010"/>
                    </a:lnTo>
                    <a:lnTo>
                      <a:pt x="284" y="1012"/>
                    </a:lnTo>
                    <a:lnTo>
                      <a:pt x="284" y="1014"/>
                    </a:lnTo>
                    <a:lnTo>
                      <a:pt x="285" y="1014"/>
                    </a:lnTo>
                    <a:lnTo>
                      <a:pt x="285" y="1015"/>
                    </a:lnTo>
                    <a:lnTo>
                      <a:pt x="285" y="1017"/>
                    </a:lnTo>
                    <a:lnTo>
                      <a:pt x="287" y="1017"/>
                    </a:lnTo>
                    <a:lnTo>
                      <a:pt x="287" y="1018"/>
                    </a:lnTo>
                    <a:lnTo>
                      <a:pt x="287" y="1020"/>
                    </a:lnTo>
                    <a:lnTo>
                      <a:pt x="288" y="1023"/>
                    </a:lnTo>
                    <a:lnTo>
                      <a:pt x="290" y="1031"/>
                    </a:lnTo>
                    <a:lnTo>
                      <a:pt x="288" y="1031"/>
                    </a:lnTo>
                    <a:lnTo>
                      <a:pt x="288" y="1033"/>
                    </a:lnTo>
                    <a:lnTo>
                      <a:pt x="290" y="1033"/>
                    </a:lnTo>
                    <a:lnTo>
                      <a:pt x="292" y="1033"/>
                    </a:lnTo>
                    <a:lnTo>
                      <a:pt x="293" y="1034"/>
                    </a:lnTo>
                    <a:lnTo>
                      <a:pt x="293" y="1036"/>
                    </a:lnTo>
                    <a:lnTo>
                      <a:pt x="293" y="1037"/>
                    </a:lnTo>
                    <a:lnTo>
                      <a:pt x="295" y="1039"/>
                    </a:lnTo>
                    <a:lnTo>
                      <a:pt x="296" y="1039"/>
                    </a:lnTo>
                    <a:lnTo>
                      <a:pt x="296" y="1041"/>
                    </a:lnTo>
                    <a:lnTo>
                      <a:pt x="298" y="1041"/>
                    </a:lnTo>
                    <a:lnTo>
                      <a:pt x="299" y="1042"/>
                    </a:lnTo>
                    <a:lnTo>
                      <a:pt x="311" y="1072"/>
                    </a:lnTo>
                    <a:lnTo>
                      <a:pt x="311" y="1074"/>
                    </a:lnTo>
                    <a:lnTo>
                      <a:pt x="312" y="1074"/>
                    </a:lnTo>
                    <a:lnTo>
                      <a:pt x="312" y="1075"/>
                    </a:lnTo>
                    <a:lnTo>
                      <a:pt x="312" y="1077"/>
                    </a:lnTo>
                    <a:lnTo>
                      <a:pt x="314" y="1079"/>
                    </a:lnTo>
                    <a:lnTo>
                      <a:pt x="314" y="1080"/>
                    </a:lnTo>
                    <a:lnTo>
                      <a:pt x="314" y="1082"/>
                    </a:lnTo>
                    <a:lnTo>
                      <a:pt x="315" y="1082"/>
                    </a:lnTo>
                    <a:lnTo>
                      <a:pt x="315" y="1083"/>
                    </a:lnTo>
                    <a:lnTo>
                      <a:pt x="315" y="1085"/>
                    </a:lnTo>
                    <a:lnTo>
                      <a:pt x="317" y="1085"/>
                    </a:lnTo>
                    <a:lnTo>
                      <a:pt x="317" y="1086"/>
                    </a:lnTo>
                    <a:lnTo>
                      <a:pt x="317" y="1088"/>
                    </a:lnTo>
                    <a:lnTo>
                      <a:pt x="318" y="1088"/>
                    </a:lnTo>
                    <a:lnTo>
                      <a:pt x="318" y="1090"/>
                    </a:lnTo>
                    <a:lnTo>
                      <a:pt x="318" y="1091"/>
                    </a:lnTo>
                    <a:lnTo>
                      <a:pt x="318" y="1093"/>
                    </a:lnTo>
                    <a:lnTo>
                      <a:pt x="320" y="1093"/>
                    </a:lnTo>
                    <a:lnTo>
                      <a:pt x="320" y="1094"/>
                    </a:lnTo>
                    <a:lnTo>
                      <a:pt x="322" y="1096"/>
                    </a:lnTo>
                    <a:lnTo>
                      <a:pt x="322" y="1098"/>
                    </a:lnTo>
                    <a:lnTo>
                      <a:pt x="323" y="1098"/>
                    </a:lnTo>
                    <a:lnTo>
                      <a:pt x="323" y="1099"/>
                    </a:lnTo>
                    <a:lnTo>
                      <a:pt x="325" y="1099"/>
                    </a:lnTo>
                    <a:lnTo>
                      <a:pt x="326" y="1099"/>
                    </a:lnTo>
                    <a:lnTo>
                      <a:pt x="328" y="1098"/>
                    </a:lnTo>
                    <a:lnTo>
                      <a:pt x="330" y="1098"/>
                    </a:lnTo>
                    <a:lnTo>
                      <a:pt x="331" y="1098"/>
                    </a:lnTo>
                    <a:lnTo>
                      <a:pt x="331" y="1096"/>
                    </a:lnTo>
                    <a:lnTo>
                      <a:pt x="333" y="1096"/>
                    </a:lnTo>
                    <a:lnTo>
                      <a:pt x="334" y="1096"/>
                    </a:lnTo>
                    <a:lnTo>
                      <a:pt x="334" y="1098"/>
                    </a:lnTo>
                    <a:lnTo>
                      <a:pt x="336" y="1098"/>
                    </a:lnTo>
                    <a:lnTo>
                      <a:pt x="337" y="1098"/>
                    </a:lnTo>
                    <a:lnTo>
                      <a:pt x="339" y="1098"/>
                    </a:lnTo>
                    <a:lnTo>
                      <a:pt x="339" y="1099"/>
                    </a:lnTo>
                    <a:lnTo>
                      <a:pt x="341" y="1099"/>
                    </a:lnTo>
                    <a:lnTo>
                      <a:pt x="341" y="1101"/>
                    </a:lnTo>
                    <a:lnTo>
                      <a:pt x="342" y="1101"/>
                    </a:lnTo>
                    <a:lnTo>
                      <a:pt x="342" y="1102"/>
                    </a:lnTo>
                    <a:lnTo>
                      <a:pt x="344" y="1102"/>
                    </a:lnTo>
                    <a:lnTo>
                      <a:pt x="344" y="1104"/>
                    </a:lnTo>
                    <a:lnTo>
                      <a:pt x="344" y="1105"/>
                    </a:lnTo>
                    <a:lnTo>
                      <a:pt x="344" y="1107"/>
                    </a:lnTo>
                    <a:lnTo>
                      <a:pt x="344" y="1109"/>
                    </a:lnTo>
                    <a:lnTo>
                      <a:pt x="344" y="1110"/>
                    </a:lnTo>
                    <a:lnTo>
                      <a:pt x="344" y="1112"/>
                    </a:lnTo>
                    <a:lnTo>
                      <a:pt x="344" y="1113"/>
                    </a:lnTo>
                    <a:lnTo>
                      <a:pt x="342" y="1115"/>
                    </a:lnTo>
                    <a:lnTo>
                      <a:pt x="342" y="1117"/>
                    </a:lnTo>
                    <a:lnTo>
                      <a:pt x="342" y="1118"/>
                    </a:lnTo>
                    <a:lnTo>
                      <a:pt x="341" y="1118"/>
                    </a:lnTo>
                    <a:lnTo>
                      <a:pt x="342" y="1120"/>
                    </a:lnTo>
                    <a:lnTo>
                      <a:pt x="342" y="1121"/>
                    </a:lnTo>
                    <a:lnTo>
                      <a:pt x="342" y="1123"/>
                    </a:lnTo>
                    <a:lnTo>
                      <a:pt x="342" y="1124"/>
                    </a:lnTo>
                    <a:lnTo>
                      <a:pt x="341" y="1124"/>
                    </a:lnTo>
                    <a:lnTo>
                      <a:pt x="341" y="1126"/>
                    </a:lnTo>
                    <a:lnTo>
                      <a:pt x="339" y="1126"/>
                    </a:lnTo>
                    <a:lnTo>
                      <a:pt x="339" y="1128"/>
                    </a:lnTo>
                    <a:lnTo>
                      <a:pt x="339" y="1129"/>
                    </a:lnTo>
                    <a:lnTo>
                      <a:pt x="339" y="1131"/>
                    </a:lnTo>
                    <a:lnTo>
                      <a:pt x="339" y="1132"/>
                    </a:lnTo>
                    <a:lnTo>
                      <a:pt x="341" y="1132"/>
                    </a:lnTo>
                    <a:lnTo>
                      <a:pt x="341" y="1134"/>
                    </a:lnTo>
                    <a:lnTo>
                      <a:pt x="342" y="1134"/>
                    </a:lnTo>
                    <a:lnTo>
                      <a:pt x="342" y="1136"/>
                    </a:lnTo>
                    <a:lnTo>
                      <a:pt x="344" y="1136"/>
                    </a:lnTo>
                    <a:lnTo>
                      <a:pt x="344" y="1137"/>
                    </a:lnTo>
                    <a:lnTo>
                      <a:pt x="345" y="1137"/>
                    </a:lnTo>
                    <a:lnTo>
                      <a:pt x="345" y="1139"/>
                    </a:lnTo>
                    <a:lnTo>
                      <a:pt x="345" y="1140"/>
                    </a:lnTo>
                    <a:lnTo>
                      <a:pt x="345" y="1142"/>
                    </a:lnTo>
                    <a:lnTo>
                      <a:pt x="345" y="1143"/>
                    </a:lnTo>
                    <a:lnTo>
                      <a:pt x="345" y="1145"/>
                    </a:lnTo>
                    <a:lnTo>
                      <a:pt x="345" y="1147"/>
                    </a:lnTo>
                    <a:lnTo>
                      <a:pt x="345" y="1148"/>
                    </a:lnTo>
                    <a:lnTo>
                      <a:pt x="345" y="1150"/>
                    </a:lnTo>
                    <a:lnTo>
                      <a:pt x="345" y="1151"/>
                    </a:lnTo>
                    <a:lnTo>
                      <a:pt x="345" y="1153"/>
                    </a:lnTo>
                    <a:lnTo>
                      <a:pt x="345" y="1155"/>
                    </a:lnTo>
                    <a:lnTo>
                      <a:pt x="347" y="1155"/>
                    </a:lnTo>
                    <a:lnTo>
                      <a:pt x="347" y="1156"/>
                    </a:lnTo>
                    <a:lnTo>
                      <a:pt x="347" y="1158"/>
                    </a:lnTo>
                    <a:lnTo>
                      <a:pt x="347" y="1159"/>
                    </a:lnTo>
                    <a:lnTo>
                      <a:pt x="345" y="1159"/>
                    </a:lnTo>
                    <a:lnTo>
                      <a:pt x="345" y="1161"/>
                    </a:lnTo>
                    <a:lnTo>
                      <a:pt x="344" y="1161"/>
                    </a:lnTo>
                    <a:lnTo>
                      <a:pt x="344" y="1162"/>
                    </a:lnTo>
                    <a:lnTo>
                      <a:pt x="342" y="1162"/>
                    </a:lnTo>
                    <a:lnTo>
                      <a:pt x="341" y="1162"/>
                    </a:lnTo>
                    <a:lnTo>
                      <a:pt x="339" y="1162"/>
                    </a:lnTo>
                    <a:lnTo>
                      <a:pt x="337" y="1162"/>
                    </a:lnTo>
                    <a:lnTo>
                      <a:pt x="336" y="1164"/>
                    </a:lnTo>
                    <a:lnTo>
                      <a:pt x="336" y="1166"/>
                    </a:lnTo>
                    <a:lnTo>
                      <a:pt x="334" y="1166"/>
                    </a:lnTo>
                    <a:lnTo>
                      <a:pt x="334" y="1167"/>
                    </a:lnTo>
                    <a:lnTo>
                      <a:pt x="333" y="1169"/>
                    </a:lnTo>
                    <a:lnTo>
                      <a:pt x="331" y="1169"/>
                    </a:lnTo>
                    <a:lnTo>
                      <a:pt x="330" y="1169"/>
                    </a:lnTo>
                    <a:lnTo>
                      <a:pt x="330" y="1170"/>
                    </a:lnTo>
                    <a:lnTo>
                      <a:pt x="328" y="1170"/>
                    </a:lnTo>
                    <a:lnTo>
                      <a:pt x="326" y="1170"/>
                    </a:lnTo>
                    <a:lnTo>
                      <a:pt x="326" y="1172"/>
                    </a:lnTo>
                    <a:lnTo>
                      <a:pt x="325" y="1172"/>
                    </a:lnTo>
                    <a:lnTo>
                      <a:pt x="323" y="1172"/>
                    </a:lnTo>
                    <a:lnTo>
                      <a:pt x="323" y="1174"/>
                    </a:lnTo>
                    <a:lnTo>
                      <a:pt x="322" y="1174"/>
                    </a:lnTo>
                    <a:lnTo>
                      <a:pt x="320" y="1174"/>
                    </a:lnTo>
                    <a:lnTo>
                      <a:pt x="320" y="1175"/>
                    </a:lnTo>
                    <a:lnTo>
                      <a:pt x="318" y="1175"/>
                    </a:lnTo>
                    <a:lnTo>
                      <a:pt x="317" y="1175"/>
                    </a:lnTo>
                    <a:lnTo>
                      <a:pt x="317" y="1177"/>
                    </a:lnTo>
                    <a:lnTo>
                      <a:pt x="315" y="1177"/>
                    </a:lnTo>
                    <a:lnTo>
                      <a:pt x="315" y="1178"/>
                    </a:lnTo>
                    <a:lnTo>
                      <a:pt x="315" y="1180"/>
                    </a:lnTo>
                    <a:lnTo>
                      <a:pt x="317" y="1180"/>
                    </a:lnTo>
                    <a:lnTo>
                      <a:pt x="317" y="1181"/>
                    </a:lnTo>
                    <a:lnTo>
                      <a:pt x="317" y="1183"/>
                    </a:lnTo>
                    <a:lnTo>
                      <a:pt x="315" y="1183"/>
                    </a:lnTo>
                    <a:lnTo>
                      <a:pt x="315" y="1185"/>
                    </a:lnTo>
                    <a:lnTo>
                      <a:pt x="314" y="1185"/>
                    </a:lnTo>
                    <a:lnTo>
                      <a:pt x="312" y="1186"/>
                    </a:lnTo>
                    <a:lnTo>
                      <a:pt x="312" y="1188"/>
                    </a:lnTo>
                    <a:lnTo>
                      <a:pt x="312" y="1189"/>
                    </a:lnTo>
                    <a:lnTo>
                      <a:pt x="312" y="1191"/>
                    </a:lnTo>
                    <a:lnTo>
                      <a:pt x="312" y="1193"/>
                    </a:lnTo>
                    <a:lnTo>
                      <a:pt x="311" y="1193"/>
                    </a:lnTo>
                    <a:lnTo>
                      <a:pt x="311" y="1194"/>
                    </a:lnTo>
                    <a:lnTo>
                      <a:pt x="311" y="1196"/>
                    </a:lnTo>
                    <a:lnTo>
                      <a:pt x="309" y="1197"/>
                    </a:lnTo>
                    <a:lnTo>
                      <a:pt x="309" y="1199"/>
                    </a:lnTo>
                    <a:lnTo>
                      <a:pt x="309" y="1200"/>
                    </a:lnTo>
                    <a:lnTo>
                      <a:pt x="307" y="1200"/>
                    </a:lnTo>
                    <a:lnTo>
                      <a:pt x="307" y="1202"/>
                    </a:lnTo>
                    <a:lnTo>
                      <a:pt x="307" y="1204"/>
                    </a:lnTo>
                    <a:lnTo>
                      <a:pt x="307" y="1205"/>
                    </a:lnTo>
                    <a:lnTo>
                      <a:pt x="307" y="1207"/>
                    </a:lnTo>
                    <a:lnTo>
                      <a:pt x="306" y="1207"/>
                    </a:lnTo>
                    <a:lnTo>
                      <a:pt x="306" y="1208"/>
                    </a:lnTo>
                    <a:lnTo>
                      <a:pt x="306" y="1210"/>
                    </a:lnTo>
                    <a:lnTo>
                      <a:pt x="304" y="1210"/>
                    </a:lnTo>
                    <a:lnTo>
                      <a:pt x="304" y="1212"/>
                    </a:lnTo>
                    <a:lnTo>
                      <a:pt x="304" y="1213"/>
                    </a:lnTo>
                    <a:lnTo>
                      <a:pt x="303" y="1213"/>
                    </a:lnTo>
                    <a:lnTo>
                      <a:pt x="303" y="1215"/>
                    </a:lnTo>
                    <a:lnTo>
                      <a:pt x="303" y="1216"/>
                    </a:lnTo>
                    <a:lnTo>
                      <a:pt x="299" y="1221"/>
                    </a:lnTo>
                    <a:lnTo>
                      <a:pt x="299" y="1220"/>
                    </a:lnTo>
                    <a:lnTo>
                      <a:pt x="298" y="1218"/>
                    </a:lnTo>
                    <a:lnTo>
                      <a:pt x="295" y="1221"/>
                    </a:lnTo>
                    <a:lnTo>
                      <a:pt x="228" y="1277"/>
                    </a:lnTo>
                    <a:lnTo>
                      <a:pt x="220" y="1283"/>
                    </a:lnTo>
                    <a:lnTo>
                      <a:pt x="219" y="1283"/>
                    </a:lnTo>
                    <a:lnTo>
                      <a:pt x="217" y="1281"/>
                    </a:lnTo>
                    <a:lnTo>
                      <a:pt x="214" y="1278"/>
                    </a:lnTo>
                    <a:lnTo>
                      <a:pt x="208" y="1275"/>
                    </a:lnTo>
                    <a:lnTo>
                      <a:pt x="198" y="1267"/>
                    </a:lnTo>
                    <a:lnTo>
                      <a:pt x="189" y="1261"/>
                    </a:lnTo>
                    <a:lnTo>
                      <a:pt x="181" y="1254"/>
                    </a:lnTo>
                    <a:lnTo>
                      <a:pt x="163" y="1240"/>
                    </a:lnTo>
                    <a:lnTo>
                      <a:pt x="152" y="1229"/>
                    </a:lnTo>
                    <a:lnTo>
                      <a:pt x="151" y="1227"/>
                    </a:lnTo>
                    <a:lnTo>
                      <a:pt x="149" y="1224"/>
                    </a:lnTo>
                    <a:lnTo>
                      <a:pt x="147" y="1223"/>
                    </a:lnTo>
                    <a:lnTo>
                      <a:pt x="146" y="1221"/>
                    </a:lnTo>
                    <a:lnTo>
                      <a:pt x="139" y="1213"/>
                    </a:lnTo>
                    <a:lnTo>
                      <a:pt x="136" y="1210"/>
                    </a:lnTo>
                    <a:lnTo>
                      <a:pt x="125" y="1194"/>
                    </a:lnTo>
                    <a:lnTo>
                      <a:pt x="114" y="1177"/>
                    </a:lnTo>
                    <a:lnTo>
                      <a:pt x="113" y="1174"/>
                    </a:lnTo>
                    <a:lnTo>
                      <a:pt x="109" y="1169"/>
                    </a:lnTo>
                    <a:lnTo>
                      <a:pt x="106" y="1164"/>
                    </a:lnTo>
                    <a:lnTo>
                      <a:pt x="105" y="1159"/>
                    </a:lnTo>
                    <a:lnTo>
                      <a:pt x="97" y="1140"/>
                    </a:lnTo>
                    <a:lnTo>
                      <a:pt x="97" y="1139"/>
                    </a:lnTo>
                    <a:lnTo>
                      <a:pt x="97" y="1136"/>
                    </a:lnTo>
                    <a:lnTo>
                      <a:pt x="95" y="1132"/>
                    </a:lnTo>
                    <a:lnTo>
                      <a:pt x="94" y="1131"/>
                    </a:lnTo>
                    <a:lnTo>
                      <a:pt x="94" y="1129"/>
                    </a:lnTo>
                    <a:lnTo>
                      <a:pt x="90" y="1121"/>
                    </a:lnTo>
                    <a:lnTo>
                      <a:pt x="87" y="1112"/>
                    </a:lnTo>
                    <a:lnTo>
                      <a:pt x="86" y="1102"/>
                    </a:lnTo>
                    <a:lnTo>
                      <a:pt x="82" y="1080"/>
                    </a:lnTo>
                    <a:lnTo>
                      <a:pt x="82" y="1079"/>
                    </a:lnTo>
                    <a:lnTo>
                      <a:pt x="82" y="1063"/>
                    </a:lnTo>
                    <a:lnTo>
                      <a:pt x="82" y="1039"/>
                    </a:lnTo>
                    <a:lnTo>
                      <a:pt x="82" y="1036"/>
                    </a:lnTo>
                    <a:lnTo>
                      <a:pt x="82" y="1018"/>
                    </a:lnTo>
                    <a:lnTo>
                      <a:pt x="82" y="1014"/>
                    </a:lnTo>
                    <a:lnTo>
                      <a:pt x="82" y="1012"/>
                    </a:lnTo>
                    <a:lnTo>
                      <a:pt x="86" y="999"/>
                    </a:lnTo>
                    <a:lnTo>
                      <a:pt x="89" y="983"/>
                    </a:lnTo>
                    <a:lnTo>
                      <a:pt x="90" y="968"/>
                    </a:lnTo>
                    <a:lnTo>
                      <a:pt x="92" y="958"/>
                    </a:lnTo>
                    <a:lnTo>
                      <a:pt x="92" y="955"/>
                    </a:lnTo>
                    <a:lnTo>
                      <a:pt x="90" y="950"/>
                    </a:lnTo>
                    <a:lnTo>
                      <a:pt x="89" y="922"/>
                    </a:lnTo>
                    <a:lnTo>
                      <a:pt x="87" y="917"/>
                    </a:lnTo>
                    <a:lnTo>
                      <a:pt x="86" y="907"/>
                    </a:lnTo>
                    <a:lnTo>
                      <a:pt x="84" y="904"/>
                    </a:lnTo>
                    <a:lnTo>
                      <a:pt x="82" y="892"/>
                    </a:lnTo>
                    <a:lnTo>
                      <a:pt x="81" y="887"/>
                    </a:lnTo>
                    <a:lnTo>
                      <a:pt x="79" y="882"/>
                    </a:lnTo>
                    <a:lnTo>
                      <a:pt x="79" y="881"/>
                    </a:lnTo>
                    <a:lnTo>
                      <a:pt x="78" y="877"/>
                    </a:lnTo>
                    <a:lnTo>
                      <a:pt x="78" y="873"/>
                    </a:lnTo>
                    <a:lnTo>
                      <a:pt x="76" y="871"/>
                    </a:lnTo>
                    <a:lnTo>
                      <a:pt x="76" y="869"/>
                    </a:lnTo>
                    <a:lnTo>
                      <a:pt x="73" y="860"/>
                    </a:lnTo>
                    <a:lnTo>
                      <a:pt x="67" y="841"/>
                    </a:lnTo>
                    <a:lnTo>
                      <a:pt x="67" y="839"/>
                    </a:lnTo>
                    <a:lnTo>
                      <a:pt x="65" y="839"/>
                    </a:lnTo>
                    <a:lnTo>
                      <a:pt x="65" y="836"/>
                    </a:lnTo>
                    <a:lnTo>
                      <a:pt x="63" y="836"/>
                    </a:lnTo>
                    <a:lnTo>
                      <a:pt x="63" y="835"/>
                    </a:lnTo>
                    <a:lnTo>
                      <a:pt x="57" y="817"/>
                    </a:lnTo>
                    <a:lnTo>
                      <a:pt x="55" y="816"/>
                    </a:lnTo>
                    <a:lnTo>
                      <a:pt x="52" y="811"/>
                    </a:lnTo>
                    <a:lnTo>
                      <a:pt x="49" y="801"/>
                    </a:lnTo>
                    <a:lnTo>
                      <a:pt x="46" y="795"/>
                    </a:lnTo>
                    <a:lnTo>
                      <a:pt x="46" y="793"/>
                    </a:lnTo>
                    <a:lnTo>
                      <a:pt x="36" y="771"/>
                    </a:lnTo>
                    <a:lnTo>
                      <a:pt x="33" y="763"/>
                    </a:lnTo>
                    <a:lnTo>
                      <a:pt x="33" y="760"/>
                    </a:lnTo>
                    <a:lnTo>
                      <a:pt x="27" y="746"/>
                    </a:lnTo>
                    <a:lnTo>
                      <a:pt x="24" y="735"/>
                    </a:lnTo>
                    <a:lnTo>
                      <a:pt x="22" y="728"/>
                    </a:lnTo>
                    <a:lnTo>
                      <a:pt x="21" y="725"/>
                    </a:lnTo>
                    <a:lnTo>
                      <a:pt x="21" y="724"/>
                    </a:lnTo>
                    <a:lnTo>
                      <a:pt x="14" y="706"/>
                    </a:lnTo>
                    <a:lnTo>
                      <a:pt x="10" y="692"/>
                    </a:lnTo>
                    <a:lnTo>
                      <a:pt x="10" y="684"/>
                    </a:lnTo>
                    <a:lnTo>
                      <a:pt x="3" y="657"/>
                    </a:lnTo>
                    <a:lnTo>
                      <a:pt x="2" y="644"/>
                    </a:lnTo>
                    <a:lnTo>
                      <a:pt x="2" y="640"/>
                    </a:lnTo>
                    <a:lnTo>
                      <a:pt x="2" y="632"/>
                    </a:lnTo>
                    <a:lnTo>
                      <a:pt x="0" y="614"/>
                    </a:lnTo>
                    <a:lnTo>
                      <a:pt x="0" y="608"/>
                    </a:lnTo>
                    <a:lnTo>
                      <a:pt x="2" y="603"/>
                    </a:lnTo>
                    <a:lnTo>
                      <a:pt x="2" y="602"/>
                    </a:lnTo>
                    <a:lnTo>
                      <a:pt x="3" y="592"/>
                    </a:lnTo>
                    <a:lnTo>
                      <a:pt x="10" y="578"/>
                    </a:lnTo>
                    <a:lnTo>
                      <a:pt x="14" y="565"/>
                    </a:lnTo>
                    <a:lnTo>
                      <a:pt x="19" y="556"/>
                    </a:lnTo>
                    <a:lnTo>
                      <a:pt x="22" y="545"/>
                    </a:lnTo>
                    <a:lnTo>
                      <a:pt x="22" y="542"/>
                    </a:lnTo>
                    <a:lnTo>
                      <a:pt x="22" y="535"/>
                    </a:lnTo>
                    <a:lnTo>
                      <a:pt x="21" y="526"/>
                    </a:lnTo>
                    <a:lnTo>
                      <a:pt x="48" y="526"/>
                    </a:lnTo>
                    <a:lnTo>
                      <a:pt x="55" y="526"/>
                    </a:lnTo>
                    <a:lnTo>
                      <a:pt x="78" y="524"/>
                    </a:lnTo>
                    <a:lnTo>
                      <a:pt x="89" y="526"/>
                    </a:lnTo>
                    <a:lnTo>
                      <a:pt x="106" y="526"/>
                    </a:lnTo>
                    <a:lnTo>
                      <a:pt x="109" y="526"/>
                    </a:lnTo>
                    <a:lnTo>
                      <a:pt x="111" y="527"/>
                    </a:lnTo>
                    <a:lnTo>
                      <a:pt x="111" y="526"/>
                    </a:lnTo>
                    <a:lnTo>
                      <a:pt x="113" y="526"/>
                    </a:lnTo>
                    <a:lnTo>
                      <a:pt x="116" y="527"/>
                    </a:lnTo>
                    <a:lnTo>
                      <a:pt x="117" y="527"/>
                    </a:lnTo>
                    <a:lnTo>
                      <a:pt x="119" y="527"/>
                    </a:lnTo>
                    <a:lnTo>
                      <a:pt x="120" y="527"/>
                    </a:lnTo>
                    <a:lnTo>
                      <a:pt x="120" y="529"/>
                    </a:lnTo>
                    <a:lnTo>
                      <a:pt x="122" y="530"/>
                    </a:lnTo>
                    <a:lnTo>
                      <a:pt x="124" y="530"/>
                    </a:lnTo>
                    <a:lnTo>
                      <a:pt x="125" y="530"/>
                    </a:lnTo>
                    <a:lnTo>
                      <a:pt x="125" y="529"/>
                    </a:lnTo>
                    <a:lnTo>
                      <a:pt x="127" y="529"/>
                    </a:lnTo>
                    <a:lnTo>
                      <a:pt x="128" y="529"/>
                    </a:lnTo>
                    <a:lnTo>
                      <a:pt x="128" y="530"/>
                    </a:lnTo>
                    <a:lnTo>
                      <a:pt x="130" y="530"/>
                    </a:lnTo>
                    <a:lnTo>
                      <a:pt x="132" y="530"/>
                    </a:lnTo>
                    <a:lnTo>
                      <a:pt x="133" y="529"/>
                    </a:lnTo>
                    <a:lnTo>
                      <a:pt x="135" y="529"/>
                    </a:lnTo>
                    <a:lnTo>
                      <a:pt x="136" y="529"/>
                    </a:lnTo>
                    <a:lnTo>
                      <a:pt x="136" y="530"/>
                    </a:lnTo>
                    <a:lnTo>
                      <a:pt x="136" y="532"/>
                    </a:lnTo>
                    <a:lnTo>
                      <a:pt x="138" y="534"/>
                    </a:lnTo>
                    <a:lnTo>
                      <a:pt x="139" y="534"/>
                    </a:lnTo>
                    <a:lnTo>
                      <a:pt x="141" y="534"/>
                    </a:lnTo>
                    <a:lnTo>
                      <a:pt x="141" y="532"/>
                    </a:lnTo>
                    <a:lnTo>
                      <a:pt x="144" y="529"/>
                    </a:lnTo>
                    <a:lnTo>
                      <a:pt x="144" y="527"/>
                    </a:lnTo>
                    <a:lnTo>
                      <a:pt x="143" y="527"/>
                    </a:lnTo>
                    <a:lnTo>
                      <a:pt x="143" y="526"/>
                    </a:lnTo>
                    <a:lnTo>
                      <a:pt x="143" y="524"/>
                    </a:lnTo>
                    <a:lnTo>
                      <a:pt x="143" y="523"/>
                    </a:lnTo>
                    <a:lnTo>
                      <a:pt x="143" y="521"/>
                    </a:lnTo>
                    <a:lnTo>
                      <a:pt x="143" y="519"/>
                    </a:lnTo>
                    <a:lnTo>
                      <a:pt x="143" y="518"/>
                    </a:lnTo>
                    <a:lnTo>
                      <a:pt x="144" y="518"/>
                    </a:lnTo>
                    <a:lnTo>
                      <a:pt x="144" y="516"/>
                    </a:lnTo>
                    <a:lnTo>
                      <a:pt x="146" y="516"/>
                    </a:lnTo>
                    <a:lnTo>
                      <a:pt x="146" y="515"/>
                    </a:lnTo>
                    <a:lnTo>
                      <a:pt x="147" y="515"/>
                    </a:lnTo>
                    <a:lnTo>
                      <a:pt x="149" y="515"/>
                    </a:lnTo>
                    <a:lnTo>
                      <a:pt x="147" y="515"/>
                    </a:lnTo>
                    <a:lnTo>
                      <a:pt x="149" y="515"/>
                    </a:lnTo>
                    <a:lnTo>
                      <a:pt x="149" y="513"/>
                    </a:lnTo>
                    <a:lnTo>
                      <a:pt x="151" y="513"/>
                    </a:lnTo>
                    <a:lnTo>
                      <a:pt x="151" y="511"/>
                    </a:lnTo>
                    <a:lnTo>
                      <a:pt x="152" y="511"/>
                    </a:lnTo>
                    <a:lnTo>
                      <a:pt x="152" y="510"/>
                    </a:lnTo>
                    <a:lnTo>
                      <a:pt x="154" y="510"/>
                    </a:lnTo>
                    <a:lnTo>
                      <a:pt x="154" y="508"/>
                    </a:lnTo>
                    <a:lnTo>
                      <a:pt x="155" y="507"/>
                    </a:lnTo>
                    <a:lnTo>
                      <a:pt x="155" y="505"/>
                    </a:lnTo>
                    <a:lnTo>
                      <a:pt x="155" y="504"/>
                    </a:lnTo>
                    <a:lnTo>
                      <a:pt x="157" y="504"/>
                    </a:lnTo>
                    <a:lnTo>
                      <a:pt x="157" y="502"/>
                    </a:lnTo>
                    <a:lnTo>
                      <a:pt x="158" y="502"/>
                    </a:lnTo>
                    <a:lnTo>
                      <a:pt x="158" y="500"/>
                    </a:lnTo>
                    <a:lnTo>
                      <a:pt x="158" y="499"/>
                    </a:lnTo>
                    <a:lnTo>
                      <a:pt x="160" y="499"/>
                    </a:lnTo>
                    <a:lnTo>
                      <a:pt x="160" y="500"/>
                    </a:lnTo>
                    <a:lnTo>
                      <a:pt x="160" y="499"/>
                    </a:lnTo>
                    <a:lnTo>
                      <a:pt x="162" y="499"/>
                    </a:lnTo>
                    <a:lnTo>
                      <a:pt x="163" y="497"/>
                    </a:lnTo>
                    <a:lnTo>
                      <a:pt x="163" y="499"/>
                    </a:lnTo>
                    <a:lnTo>
                      <a:pt x="165" y="499"/>
                    </a:lnTo>
                    <a:lnTo>
                      <a:pt x="163" y="500"/>
                    </a:lnTo>
                    <a:lnTo>
                      <a:pt x="165" y="500"/>
                    </a:lnTo>
                    <a:lnTo>
                      <a:pt x="166" y="500"/>
                    </a:lnTo>
                    <a:lnTo>
                      <a:pt x="168" y="500"/>
                    </a:lnTo>
                    <a:lnTo>
                      <a:pt x="168" y="502"/>
                    </a:lnTo>
                    <a:lnTo>
                      <a:pt x="170" y="502"/>
                    </a:lnTo>
                    <a:lnTo>
                      <a:pt x="170" y="504"/>
                    </a:lnTo>
                    <a:lnTo>
                      <a:pt x="171" y="504"/>
                    </a:lnTo>
                    <a:lnTo>
                      <a:pt x="171" y="505"/>
                    </a:lnTo>
                    <a:lnTo>
                      <a:pt x="173" y="505"/>
                    </a:lnTo>
                    <a:lnTo>
                      <a:pt x="174" y="504"/>
                    </a:lnTo>
                    <a:lnTo>
                      <a:pt x="174" y="505"/>
                    </a:lnTo>
                    <a:lnTo>
                      <a:pt x="176" y="505"/>
                    </a:lnTo>
                    <a:lnTo>
                      <a:pt x="177" y="505"/>
                    </a:lnTo>
                    <a:lnTo>
                      <a:pt x="177" y="504"/>
                    </a:lnTo>
                    <a:lnTo>
                      <a:pt x="177" y="505"/>
                    </a:lnTo>
                    <a:lnTo>
                      <a:pt x="179" y="504"/>
                    </a:lnTo>
                    <a:lnTo>
                      <a:pt x="177" y="504"/>
                    </a:lnTo>
                    <a:lnTo>
                      <a:pt x="177" y="502"/>
                    </a:lnTo>
                    <a:lnTo>
                      <a:pt x="177" y="500"/>
                    </a:lnTo>
                    <a:lnTo>
                      <a:pt x="179" y="500"/>
                    </a:lnTo>
                    <a:lnTo>
                      <a:pt x="181" y="500"/>
                    </a:lnTo>
                    <a:lnTo>
                      <a:pt x="182" y="500"/>
                    </a:lnTo>
                    <a:lnTo>
                      <a:pt x="181" y="500"/>
                    </a:lnTo>
                    <a:lnTo>
                      <a:pt x="182" y="500"/>
                    </a:lnTo>
                    <a:lnTo>
                      <a:pt x="182" y="499"/>
                    </a:lnTo>
                    <a:lnTo>
                      <a:pt x="181" y="499"/>
                    </a:lnTo>
                    <a:lnTo>
                      <a:pt x="182" y="499"/>
                    </a:lnTo>
                    <a:lnTo>
                      <a:pt x="182" y="497"/>
                    </a:lnTo>
                    <a:lnTo>
                      <a:pt x="182" y="496"/>
                    </a:lnTo>
                    <a:lnTo>
                      <a:pt x="182" y="497"/>
                    </a:lnTo>
                    <a:lnTo>
                      <a:pt x="184" y="497"/>
                    </a:lnTo>
                    <a:lnTo>
                      <a:pt x="184" y="496"/>
                    </a:lnTo>
                    <a:lnTo>
                      <a:pt x="185" y="496"/>
                    </a:lnTo>
                    <a:lnTo>
                      <a:pt x="187" y="496"/>
                    </a:lnTo>
                    <a:lnTo>
                      <a:pt x="187" y="497"/>
                    </a:lnTo>
                    <a:lnTo>
                      <a:pt x="187" y="496"/>
                    </a:lnTo>
                    <a:lnTo>
                      <a:pt x="189" y="496"/>
                    </a:lnTo>
                    <a:lnTo>
                      <a:pt x="190" y="494"/>
                    </a:lnTo>
                    <a:lnTo>
                      <a:pt x="190" y="496"/>
                    </a:lnTo>
                    <a:lnTo>
                      <a:pt x="192" y="496"/>
                    </a:lnTo>
                    <a:lnTo>
                      <a:pt x="192" y="494"/>
                    </a:lnTo>
                    <a:lnTo>
                      <a:pt x="190" y="494"/>
                    </a:lnTo>
                    <a:lnTo>
                      <a:pt x="192" y="494"/>
                    </a:lnTo>
                    <a:lnTo>
                      <a:pt x="193" y="494"/>
                    </a:lnTo>
                    <a:lnTo>
                      <a:pt x="195" y="494"/>
                    </a:lnTo>
                    <a:lnTo>
                      <a:pt x="196" y="492"/>
                    </a:lnTo>
                    <a:lnTo>
                      <a:pt x="198" y="492"/>
                    </a:lnTo>
                    <a:lnTo>
                      <a:pt x="200" y="491"/>
                    </a:lnTo>
                    <a:lnTo>
                      <a:pt x="201" y="491"/>
                    </a:lnTo>
                    <a:lnTo>
                      <a:pt x="201" y="489"/>
                    </a:lnTo>
                    <a:lnTo>
                      <a:pt x="203" y="489"/>
                    </a:lnTo>
                    <a:lnTo>
                      <a:pt x="203" y="488"/>
                    </a:lnTo>
                    <a:lnTo>
                      <a:pt x="204" y="488"/>
                    </a:lnTo>
                    <a:lnTo>
                      <a:pt x="206" y="488"/>
                    </a:lnTo>
                    <a:lnTo>
                      <a:pt x="206" y="486"/>
                    </a:lnTo>
                    <a:lnTo>
                      <a:pt x="208" y="486"/>
                    </a:lnTo>
                    <a:lnTo>
                      <a:pt x="208" y="485"/>
                    </a:lnTo>
                    <a:lnTo>
                      <a:pt x="208" y="483"/>
                    </a:lnTo>
                    <a:lnTo>
                      <a:pt x="209" y="481"/>
                    </a:lnTo>
                    <a:lnTo>
                      <a:pt x="209" y="480"/>
                    </a:lnTo>
                    <a:lnTo>
                      <a:pt x="209" y="478"/>
                    </a:lnTo>
                    <a:lnTo>
                      <a:pt x="211" y="478"/>
                    </a:lnTo>
                    <a:lnTo>
                      <a:pt x="212" y="478"/>
                    </a:lnTo>
                    <a:lnTo>
                      <a:pt x="214" y="478"/>
                    </a:lnTo>
                    <a:lnTo>
                      <a:pt x="214" y="477"/>
                    </a:lnTo>
                    <a:lnTo>
                      <a:pt x="215" y="477"/>
                    </a:lnTo>
                    <a:lnTo>
                      <a:pt x="215" y="478"/>
                    </a:lnTo>
                    <a:lnTo>
                      <a:pt x="217" y="478"/>
                    </a:lnTo>
                    <a:lnTo>
                      <a:pt x="217" y="477"/>
                    </a:lnTo>
                    <a:lnTo>
                      <a:pt x="217" y="478"/>
                    </a:lnTo>
                    <a:lnTo>
                      <a:pt x="219" y="478"/>
                    </a:lnTo>
                    <a:lnTo>
                      <a:pt x="219" y="477"/>
                    </a:lnTo>
                    <a:lnTo>
                      <a:pt x="220" y="477"/>
                    </a:lnTo>
                    <a:lnTo>
                      <a:pt x="220" y="475"/>
                    </a:lnTo>
                    <a:lnTo>
                      <a:pt x="220" y="473"/>
                    </a:lnTo>
                    <a:lnTo>
                      <a:pt x="220" y="472"/>
                    </a:lnTo>
                    <a:lnTo>
                      <a:pt x="222" y="472"/>
                    </a:lnTo>
                    <a:lnTo>
                      <a:pt x="223" y="473"/>
                    </a:lnTo>
                    <a:lnTo>
                      <a:pt x="225" y="472"/>
                    </a:lnTo>
                    <a:lnTo>
                      <a:pt x="223" y="472"/>
                    </a:lnTo>
                    <a:lnTo>
                      <a:pt x="223" y="470"/>
                    </a:lnTo>
                    <a:lnTo>
                      <a:pt x="225" y="470"/>
                    </a:lnTo>
                    <a:lnTo>
                      <a:pt x="227" y="470"/>
                    </a:lnTo>
                    <a:lnTo>
                      <a:pt x="227" y="472"/>
                    </a:lnTo>
                    <a:lnTo>
                      <a:pt x="228" y="472"/>
                    </a:lnTo>
                    <a:lnTo>
                      <a:pt x="228" y="470"/>
                    </a:lnTo>
                    <a:lnTo>
                      <a:pt x="228" y="472"/>
                    </a:lnTo>
                    <a:lnTo>
                      <a:pt x="228" y="470"/>
                    </a:lnTo>
                    <a:lnTo>
                      <a:pt x="230" y="470"/>
                    </a:lnTo>
                    <a:lnTo>
                      <a:pt x="230" y="469"/>
                    </a:lnTo>
                    <a:lnTo>
                      <a:pt x="230" y="470"/>
                    </a:lnTo>
                    <a:lnTo>
                      <a:pt x="231" y="470"/>
                    </a:lnTo>
                    <a:lnTo>
                      <a:pt x="233" y="470"/>
                    </a:lnTo>
                    <a:lnTo>
                      <a:pt x="233" y="469"/>
                    </a:lnTo>
                    <a:lnTo>
                      <a:pt x="233" y="467"/>
                    </a:lnTo>
                    <a:lnTo>
                      <a:pt x="234" y="467"/>
                    </a:lnTo>
                    <a:lnTo>
                      <a:pt x="234" y="465"/>
                    </a:lnTo>
                    <a:lnTo>
                      <a:pt x="234" y="464"/>
                    </a:lnTo>
                    <a:lnTo>
                      <a:pt x="233" y="464"/>
                    </a:lnTo>
                    <a:lnTo>
                      <a:pt x="234" y="464"/>
                    </a:lnTo>
                    <a:lnTo>
                      <a:pt x="236" y="464"/>
                    </a:lnTo>
                    <a:lnTo>
                      <a:pt x="236" y="465"/>
                    </a:lnTo>
                    <a:lnTo>
                      <a:pt x="236" y="464"/>
                    </a:lnTo>
                    <a:lnTo>
                      <a:pt x="236" y="462"/>
                    </a:lnTo>
                    <a:lnTo>
                      <a:pt x="236" y="461"/>
                    </a:lnTo>
                    <a:lnTo>
                      <a:pt x="234" y="461"/>
                    </a:lnTo>
                    <a:lnTo>
                      <a:pt x="236" y="461"/>
                    </a:lnTo>
                    <a:lnTo>
                      <a:pt x="236" y="459"/>
                    </a:lnTo>
                    <a:lnTo>
                      <a:pt x="234" y="459"/>
                    </a:lnTo>
                    <a:lnTo>
                      <a:pt x="236" y="459"/>
                    </a:lnTo>
                    <a:lnTo>
                      <a:pt x="238" y="459"/>
                    </a:lnTo>
                    <a:lnTo>
                      <a:pt x="238" y="458"/>
                    </a:lnTo>
                    <a:lnTo>
                      <a:pt x="236" y="458"/>
                    </a:lnTo>
                    <a:lnTo>
                      <a:pt x="238" y="458"/>
                    </a:lnTo>
                    <a:lnTo>
                      <a:pt x="238" y="456"/>
                    </a:lnTo>
                    <a:lnTo>
                      <a:pt x="238" y="454"/>
                    </a:lnTo>
                    <a:lnTo>
                      <a:pt x="236" y="454"/>
                    </a:lnTo>
                    <a:lnTo>
                      <a:pt x="238" y="454"/>
                    </a:lnTo>
                    <a:lnTo>
                      <a:pt x="236" y="454"/>
                    </a:lnTo>
                    <a:lnTo>
                      <a:pt x="236" y="453"/>
                    </a:lnTo>
                    <a:lnTo>
                      <a:pt x="238" y="453"/>
                    </a:lnTo>
                    <a:lnTo>
                      <a:pt x="238" y="451"/>
                    </a:lnTo>
                    <a:lnTo>
                      <a:pt x="238" y="450"/>
                    </a:lnTo>
                    <a:lnTo>
                      <a:pt x="239" y="450"/>
                    </a:lnTo>
                    <a:lnTo>
                      <a:pt x="239" y="448"/>
                    </a:lnTo>
                    <a:lnTo>
                      <a:pt x="239" y="446"/>
                    </a:lnTo>
                    <a:lnTo>
                      <a:pt x="241" y="445"/>
                    </a:lnTo>
                    <a:lnTo>
                      <a:pt x="242" y="445"/>
                    </a:lnTo>
                    <a:lnTo>
                      <a:pt x="242" y="443"/>
                    </a:lnTo>
                    <a:lnTo>
                      <a:pt x="242" y="442"/>
                    </a:lnTo>
                    <a:lnTo>
                      <a:pt x="242" y="440"/>
                    </a:lnTo>
                    <a:lnTo>
                      <a:pt x="242" y="439"/>
                    </a:lnTo>
                    <a:lnTo>
                      <a:pt x="244" y="439"/>
                    </a:lnTo>
                    <a:lnTo>
                      <a:pt x="242" y="439"/>
                    </a:lnTo>
                    <a:lnTo>
                      <a:pt x="244" y="439"/>
                    </a:lnTo>
                    <a:lnTo>
                      <a:pt x="244" y="437"/>
                    </a:lnTo>
                    <a:lnTo>
                      <a:pt x="244" y="435"/>
                    </a:lnTo>
                    <a:lnTo>
                      <a:pt x="246" y="435"/>
                    </a:lnTo>
                    <a:lnTo>
                      <a:pt x="246" y="434"/>
                    </a:lnTo>
                    <a:lnTo>
                      <a:pt x="247" y="434"/>
                    </a:lnTo>
                    <a:lnTo>
                      <a:pt x="247" y="432"/>
                    </a:lnTo>
                    <a:lnTo>
                      <a:pt x="249" y="432"/>
                    </a:lnTo>
                    <a:lnTo>
                      <a:pt x="250" y="432"/>
                    </a:lnTo>
                    <a:lnTo>
                      <a:pt x="250" y="431"/>
                    </a:lnTo>
                    <a:lnTo>
                      <a:pt x="252" y="431"/>
                    </a:lnTo>
                    <a:lnTo>
                      <a:pt x="253" y="431"/>
                    </a:lnTo>
                    <a:lnTo>
                      <a:pt x="255" y="431"/>
                    </a:lnTo>
                    <a:lnTo>
                      <a:pt x="255" y="429"/>
                    </a:lnTo>
                    <a:lnTo>
                      <a:pt x="257" y="429"/>
                    </a:lnTo>
                    <a:lnTo>
                      <a:pt x="255" y="429"/>
                    </a:lnTo>
                    <a:lnTo>
                      <a:pt x="255" y="427"/>
                    </a:lnTo>
                    <a:lnTo>
                      <a:pt x="257" y="427"/>
                    </a:lnTo>
                    <a:lnTo>
                      <a:pt x="257" y="426"/>
                    </a:lnTo>
                    <a:lnTo>
                      <a:pt x="258" y="426"/>
                    </a:lnTo>
                    <a:lnTo>
                      <a:pt x="260" y="426"/>
                    </a:lnTo>
                    <a:lnTo>
                      <a:pt x="258" y="426"/>
                    </a:lnTo>
                    <a:lnTo>
                      <a:pt x="260" y="426"/>
                    </a:lnTo>
                    <a:lnTo>
                      <a:pt x="260" y="424"/>
                    </a:lnTo>
                    <a:lnTo>
                      <a:pt x="261" y="424"/>
                    </a:lnTo>
                    <a:lnTo>
                      <a:pt x="263" y="424"/>
                    </a:lnTo>
                    <a:lnTo>
                      <a:pt x="263" y="423"/>
                    </a:lnTo>
                    <a:lnTo>
                      <a:pt x="265" y="423"/>
                    </a:lnTo>
                    <a:lnTo>
                      <a:pt x="265" y="421"/>
                    </a:lnTo>
                    <a:lnTo>
                      <a:pt x="265" y="423"/>
                    </a:lnTo>
                    <a:lnTo>
                      <a:pt x="265" y="421"/>
                    </a:lnTo>
                    <a:lnTo>
                      <a:pt x="266" y="421"/>
                    </a:lnTo>
                    <a:lnTo>
                      <a:pt x="268" y="421"/>
                    </a:lnTo>
                    <a:lnTo>
                      <a:pt x="268" y="420"/>
                    </a:lnTo>
                    <a:lnTo>
                      <a:pt x="269" y="420"/>
                    </a:lnTo>
                    <a:lnTo>
                      <a:pt x="269" y="418"/>
                    </a:lnTo>
                    <a:lnTo>
                      <a:pt x="269" y="420"/>
                    </a:lnTo>
                    <a:lnTo>
                      <a:pt x="269" y="418"/>
                    </a:lnTo>
                    <a:lnTo>
                      <a:pt x="271" y="418"/>
                    </a:lnTo>
                    <a:lnTo>
                      <a:pt x="271" y="416"/>
                    </a:lnTo>
                    <a:lnTo>
                      <a:pt x="273" y="416"/>
                    </a:lnTo>
                    <a:lnTo>
                      <a:pt x="271" y="416"/>
                    </a:lnTo>
                    <a:lnTo>
                      <a:pt x="273" y="416"/>
                    </a:lnTo>
                    <a:lnTo>
                      <a:pt x="273" y="415"/>
                    </a:lnTo>
                    <a:lnTo>
                      <a:pt x="274" y="415"/>
                    </a:lnTo>
                    <a:lnTo>
                      <a:pt x="274" y="413"/>
                    </a:lnTo>
                    <a:lnTo>
                      <a:pt x="273" y="413"/>
                    </a:lnTo>
                    <a:lnTo>
                      <a:pt x="274" y="413"/>
                    </a:lnTo>
                    <a:lnTo>
                      <a:pt x="274" y="412"/>
                    </a:lnTo>
                    <a:lnTo>
                      <a:pt x="276" y="412"/>
                    </a:lnTo>
                    <a:lnTo>
                      <a:pt x="276" y="410"/>
                    </a:lnTo>
                    <a:lnTo>
                      <a:pt x="277" y="410"/>
                    </a:lnTo>
                    <a:lnTo>
                      <a:pt x="277" y="408"/>
                    </a:lnTo>
                    <a:lnTo>
                      <a:pt x="276" y="408"/>
                    </a:lnTo>
                    <a:lnTo>
                      <a:pt x="277" y="408"/>
                    </a:lnTo>
                    <a:lnTo>
                      <a:pt x="277" y="407"/>
                    </a:lnTo>
                    <a:lnTo>
                      <a:pt x="279" y="407"/>
                    </a:lnTo>
                    <a:lnTo>
                      <a:pt x="279" y="405"/>
                    </a:lnTo>
                    <a:lnTo>
                      <a:pt x="279" y="407"/>
                    </a:lnTo>
                    <a:lnTo>
                      <a:pt x="279" y="405"/>
                    </a:lnTo>
                    <a:lnTo>
                      <a:pt x="279" y="404"/>
                    </a:lnTo>
                    <a:lnTo>
                      <a:pt x="279" y="402"/>
                    </a:lnTo>
                    <a:lnTo>
                      <a:pt x="280" y="402"/>
                    </a:lnTo>
                    <a:lnTo>
                      <a:pt x="280" y="401"/>
                    </a:lnTo>
                    <a:lnTo>
                      <a:pt x="280" y="399"/>
                    </a:lnTo>
                    <a:lnTo>
                      <a:pt x="282" y="397"/>
                    </a:lnTo>
                    <a:lnTo>
                      <a:pt x="280" y="397"/>
                    </a:lnTo>
                    <a:lnTo>
                      <a:pt x="282" y="397"/>
                    </a:lnTo>
                    <a:lnTo>
                      <a:pt x="282" y="396"/>
                    </a:lnTo>
                    <a:lnTo>
                      <a:pt x="284" y="396"/>
                    </a:lnTo>
                    <a:lnTo>
                      <a:pt x="285" y="396"/>
                    </a:lnTo>
                    <a:lnTo>
                      <a:pt x="287" y="394"/>
                    </a:lnTo>
                    <a:lnTo>
                      <a:pt x="288" y="393"/>
                    </a:lnTo>
                    <a:lnTo>
                      <a:pt x="288" y="391"/>
                    </a:lnTo>
                    <a:lnTo>
                      <a:pt x="290" y="391"/>
                    </a:lnTo>
                    <a:lnTo>
                      <a:pt x="288" y="391"/>
                    </a:lnTo>
                    <a:lnTo>
                      <a:pt x="290" y="391"/>
                    </a:lnTo>
                    <a:lnTo>
                      <a:pt x="290" y="389"/>
                    </a:lnTo>
                    <a:lnTo>
                      <a:pt x="292" y="389"/>
                    </a:lnTo>
                    <a:lnTo>
                      <a:pt x="292" y="388"/>
                    </a:lnTo>
                    <a:lnTo>
                      <a:pt x="292" y="386"/>
                    </a:lnTo>
                    <a:lnTo>
                      <a:pt x="293" y="386"/>
                    </a:lnTo>
                    <a:lnTo>
                      <a:pt x="293" y="385"/>
                    </a:lnTo>
                    <a:lnTo>
                      <a:pt x="293" y="383"/>
                    </a:lnTo>
                    <a:lnTo>
                      <a:pt x="292" y="383"/>
                    </a:lnTo>
                    <a:lnTo>
                      <a:pt x="290" y="383"/>
                    </a:lnTo>
                    <a:lnTo>
                      <a:pt x="290" y="382"/>
                    </a:lnTo>
                    <a:lnTo>
                      <a:pt x="290" y="380"/>
                    </a:lnTo>
                    <a:lnTo>
                      <a:pt x="288" y="378"/>
                    </a:lnTo>
                    <a:lnTo>
                      <a:pt x="288" y="377"/>
                    </a:lnTo>
                    <a:lnTo>
                      <a:pt x="290" y="377"/>
                    </a:lnTo>
                    <a:lnTo>
                      <a:pt x="290" y="375"/>
                    </a:lnTo>
                    <a:lnTo>
                      <a:pt x="292" y="375"/>
                    </a:lnTo>
                    <a:lnTo>
                      <a:pt x="292" y="374"/>
                    </a:lnTo>
                    <a:lnTo>
                      <a:pt x="293" y="374"/>
                    </a:lnTo>
                    <a:lnTo>
                      <a:pt x="293" y="372"/>
                    </a:lnTo>
                    <a:lnTo>
                      <a:pt x="293" y="370"/>
                    </a:lnTo>
                    <a:lnTo>
                      <a:pt x="293" y="369"/>
                    </a:lnTo>
                    <a:lnTo>
                      <a:pt x="295" y="369"/>
                    </a:lnTo>
                    <a:lnTo>
                      <a:pt x="295" y="367"/>
                    </a:lnTo>
                    <a:lnTo>
                      <a:pt x="293" y="367"/>
                    </a:lnTo>
                    <a:lnTo>
                      <a:pt x="295" y="366"/>
                    </a:lnTo>
                    <a:lnTo>
                      <a:pt x="293" y="366"/>
                    </a:lnTo>
                    <a:lnTo>
                      <a:pt x="295" y="366"/>
                    </a:lnTo>
                    <a:lnTo>
                      <a:pt x="295" y="364"/>
                    </a:lnTo>
                    <a:lnTo>
                      <a:pt x="295" y="363"/>
                    </a:lnTo>
                    <a:lnTo>
                      <a:pt x="295" y="361"/>
                    </a:lnTo>
                    <a:lnTo>
                      <a:pt x="295" y="363"/>
                    </a:lnTo>
                    <a:lnTo>
                      <a:pt x="295" y="361"/>
                    </a:lnTo>
                    <a:lnTo>
                      <a:pt x="296" y="359"/>
                    </a:lnTo>
                    <a:lnTo>
                      <a:pt x="296" y="358"/>
                    </a:lnTo>
                    <a:lnTo>
                      <a:pt x="298" y="358"/>
                    </a:lnTo>
                    <a:lnTo>
                      <a:pt x="298" y="356"/>
                    </a:lnTo>
                    <a:lnTo>
                      <a:pt x="298" y="355"/>
                    </a:lnTo>
                    <a:lnTo>
                      <a:pt x="298" y="356"/>
                    </a:lnTo>
                    <a:lnTo>
                      <a:pt x="298" y="355"/>
                    </a:lnTo>
                    <a:lnTo>
                      <a:pt x="299" y="355"/>
                    </a:lnTo>
                    <a:lnTo>
                      <a:pt x="301" y="355"/>
                    </a:lnTo>
                    <a:lnTo>
                      <a:pt x="301" y="353"/>
                    </a:lnTo>
                    <a:lnTo>
                      <a:pt x="301" y="351"/>
                    </a:lnTo>
                    <a:lnTo>
                      <a:pt x="301" y="350"/>
                    </a:lnTo>
                    <a:lnTo>
                      <a:pt x="303" y="350"/>
                    </a:lnTo>
                    <a:lnTo>
                      <a:pt x="303" y="348"/>
                    </a:lnTo>
                    <a:lnTo>
                      <a:pt x="303" y="347"/>
                    </a:lnTo>
                    <a:lnTo>
                      <a:pt x="303" y="345"/>
                    </a:lnTo>
                    <a:lnTo>
                      <a:pt x="304" y="345"/>
                    </a:lnTo>
                    <a:lnTo>
                      <a:pt x="303" y="345"/>
                    </a:lnTo>
                    <a:lnTo>
                      <a:pt x="303" y="344"/>
                    </a:lnTo>
                    <a:lnTo>
                      <a:pt x="304" y="344"/>
                    </a:lnTo>
                    <a:lnTo>
                      <a:pt x="304" y="342"/>
                    </a:lnTo>
                    <a:lnTo>
                      <a:pt x="306" y="342"/>
                    </a:lnTo>
                    <a:lnTo>
                      <a:pt x="306" y="340"/>
                    </a:lnTo>
                    <a:lnTo>
                      <a:pt x="307" y="340"/>
                    </a:lnTo>
                    <a:lnTo>
                      <a:pt x="309" y="340"/>
                    </a:lnTo>
                    <a:lnTo>
                      <a:pt x="309" y="339"/>
                    </a:lnTo>
                    <a:lnTo>
                      <a:pt x="309" y="340"/>
                    </a:lnTo>
                    <a:lnTo>
                      <a:pt x="311" y="340"/>
                    </a:lnTo>
                    <a:lnTo>
                      <a:pt x="311" y="339"/>
                    </a:lnTo>
                    <a:lnTo>
                      <a:pt x="311" y="337"/>
                    </a:lnTo>
                    <a:lnTo>
                      <a:pt x="311" y="339"/>
                    </a:lnTo>
                    <a:lnTo>
                      <a:pt x="312" y="337"/>
                    </a:lnTo>
                    <a:lnTo>
                      <a:pt x="312" y="336"/>
                    </a:lnTo>
                    <a:lnTo>
                      <a:pt x="314" y="336"/>
                    </a:lnTo>
                    <a:lnTo>
                      <a:pt x="315" y="336"/>
                    </a:lnTo>
                    <a:lnTo>
                      <a:pt x="315" y="334"/>
                    </a:lnTo>
                    <a:lnTo>
                      <a:pt x="317" y="334"/>
                    </a:lnTo>
                    <a:lnTo>
                      <a:pt x="317" y="332"/>
                    </a:lnTo>
                    <a:lnTo>
                      <a:pt x="315" y="332"/>
                    </a:lnTo>
                    <a:lnTo>
                      <a:pt x="317" y="332"/>
                    </a:lnTo>
                    <a:lnTo>
                      <a:pt x="318" y="332"/>
                    </a:lnTo>
                    <a:lnTo>
                      <a:pt x="318" y="331"/>
                    </a:lnTo>
                    <a:lnTo>
                      <a:pt x="320" y="331"/>
                    </a:lnTo>
                    <a:lnTo>
                      <a:pt x="320" y="329"/>
                    </a:lnTo>
                    <a:lnTo>
                      <a:pt x="320" y="328"/>
                    </a:lnTo>
                    <a:lnTo>
                      <a:pt x="320" y="326"/>
                    </a:lnTo>
                    <a:lnTo>
                      <a:pt x="322" y="325"/>
                    </a:lnTo>
                    <a:lnTo>
                      <a:pt x="322" y="323"/>
                    </a:lnTo>
                    <a:lnTo>
                      <a:pt x="322" y="321"/>
                    </a:lnTo>
                    <a:lnTo>
                      <a:pt x="323" y="321"/>
                    </a:lnTo>
                    <a:lnTo>
                      <a:pt x="325" y="321"/>
                    </a:lnTo>
                    <a:lnTo>
                      <a:pt x="325" y="320"/>
                    </a:lnTo>
                    <a:lnTo>
                      <a:pt x="323" y="320"/>
                    </a:lnTo>
                    <a:lnTo>
                      <a:pt x="325" y="320"/>
                    </a:lnTo>
                    <a:lnTo>
                      <a:pt x="325" y="318"/>
                    </a:lnTo>
                    <a:lnTo>
                      <a:pt x="323" y="318"/>
                    </a:lnTo>
                    <a:lnTo>
                      <a:pt x="325" y="318"/>
                    </a:lnTo>
                    <a:lnTo>
                      <a:pt x="325" y="317"/>
                    </a:lnTo>
                    <a:lnTo>
                      <a:pt x="325" y="315"/>
                    </a:lnTo>
                    <a:lnTo>
                      <a:pt x="325" y="317"/>
                    </a:lnTo>
                    <a:lnTo>
                      <a:pt x="325" y="315"/>
                    </a:lnTo>
                    <a:lnTo>
                      <a:pt x="325" y="313"/>
                    </a:lnTo>
                    <a:lnTo>
                      <a:pt x="326" y="313"/>
                    </a:lnTo>
                    <a:lnTo>
                      <a:pt x="325" y="312"/>
                    </a:lnTo>
                    <a:lnTo>
                      <a:pt x="326" y="312"/>
                    </a:lnTo>
                    <a:lnTo>
                      <a:pt x="326" y="310"/>
                    </a:lnTo>
                    <a:lnTo>
                      <a:pt x="328" y="310"/>
                    </a:lnTo>
                    <a:lnTo>
                      <a:pt x="328" y="309"/>
                    </a:lnTo>
                    <a:lnTo>
                      <a:pt x="330" y="310"/>
                    </a:lnTo>
                    <a:lnTo>
                      <a:pt x="330" y="309"/>
                    </a:lnTo>
                    <a:lnTo>
                      <a:pt x="331" y="309"/>
                    </a:lnTo>
                    <a:lnTo>
                      <a:pt x="331" y="307"/>
                    </a:lnTo>
                    <a:lnTo>
                      <a:pt x="333" y="307"/>
                    </a:lnTo>
                    <a:lnTo>
                      <a:pt x="334" y="307"/>
                    </a:lnTo>
                    <a:lnTo>
                      <a:pt x="334" y="309"/>
                    </a:lnTo>
                    <a:lnTo>
                      <a:pt x="336" y="309"/>
                    </a:lnTo>
                    <a:lnTo>
                      <a:pt x="334" y="309"/>
                    </a:lnTo>
                    <a:lnTo>
                      <a:pt x="336" y="309"/>
                    </a:lnTo>
                    <a:lnTo>
                      <a:pt x="336" y="310"/>
                    </a:lnTo>
                    <a:lnTo>
                      <a:pt x="336" y="309"/>
                    </a:lnTo>
                    <a:lnTo>
                      <a:pt x="337" y="309"/>
                    </a:lnTo>
                    <a:lnTo>
                      <a:pt x="339" y="307"/>
                    </a:lnTo>
                    <a:lnTo>
                      <a:pt x="341" y="307"/>
                    </a:lnTo>
                    <a:lnTo>
                      <a:pt x="341" y="309"/>
                    </a:lnTo>
                    <a:lnTo>
                      <a:pt x="341" y="307"/>
                    </a:lnTo>
                    <a:lnTo>
                      <a:pt x="342" y="309"/>
                    </a:lnTo>
                    <a:lnTo>
                      <a:pt x="344" y="309"/>
                    </a:lnTo>
                    <a:lnTo>
                      <a:pt x="344" y="310"/>
                    </a:lnTo>
                    <a:lnTo>
                      <a:pt x="344" y="312"/>
                    </a:lnTo>
                    <a:lnTo>
                      <a:pt x="345" y="312"/>
                    </a:lnTo>
                    <a:lnTo>
                      <a:pt x="345" y="313"/>
                    </a:lnTo>
                    <a:lnTo>
                      <a:pt x="347" y="313"/>
                    </a:lnTo>
                    <a:lnTo>
                      <a:pt x="347" y="312"/>
                    </a:lnTo>
                    <a:lnTo>
                      <a:pt x="349" y="313"/>
                    </a:lnTo>
                    <a:lnTo>
                      <a:pt x="347" y="313"/>
                    </a:lnTo>
                    <a:lnTo>
                      <a:pt x="347" y="315"/>
                    </a:lnTo>
                    <a:lnTo>
                      <a:pt x="349" y="315"/>
                    </a:lnTo>
                    <a:lnTo>
                      <a:pt x="349" y="313"/>
                    </a:lnTo>
                    <a:lnTo>
                      <a:pt x="349" y="315"/>
                    </a:lnTo>
                    <a:lnTo>
                      <a:pt x="350" y="315"/>
                    </a:lnTo>
                    <a:lnTo>
                      <a:pt x="350" y="313"/>
                    </a:lnTo>
                    <a:lnTo>
                      <a:pt x="350" y="312"/>
                    </a:lnTo>
                    <a:lnTo>
                      <a:pt x="352" y="312"/>
                    </a:lnTo>
                    <a:lnTo>
                      <a:pt x="350" y="312"/>
                    </a:lnTo>
                    <a:lnTo>
                      <a:pt x="352" y="312"/>
                    </a:lnTo>
                    <a:lnTo>
                      <a:pt x="352" y="310"/>
                    </a:lnTo>
                    <a:lnTo>
                      <a:pt x="353" y="310"/>
                    </a:lnTo>
                    <a:lnTo>
                      <a:pt x="353" y="309"/>
                    </a:lnTo>
                    <a:lnTo>
                      <a:pt x="352" y="309"/>
                    </a:lnTo>
                    <a:lnTo>
                      <a:pt x="352" y="307"/>
                    </a:lnTo>
                    <a:lnTo>
                      <a:pt x="352" y="306"/>
                    </a:lnTo>
                    <a:lnTo>
                      <a:pt x="352" y="304"/>
                    </a:lnTo>
                    <a:lnTo>
                      <a:pt x="350" y="302"/>
                    </a:lnTo>
                    <a:lnTo>
                      <a:pt x="350" y="301"/>
                    </a:lnTo>
                    <a:lnTo>
                      <a:pt x="350" y="299"/>
                    </a:lnTo>
                    <a:lnTo>
                      <a:pt x="350" y="298"/>
                    </a:lnTo>
                    <a:lnTo>
                      <a:pt x="349" y="298"/>
                    </a:lnTo>
                    <a:lnTo>
                      <a:pt x="350" y="298"/>
                    </a:lnTo>
                    <a:lnTo>
                      <a:pt x="349" y="298"/>
                    </a:lnTo>
                    <a:lnTo>
                      <a:pt x="350" y="298"/>
                    </a:lnTo>
                    <a:lnTo>
                      <a:pt x="349" y="296"/>
                    </a:lnTo>
                    <a:lnTo>
                      <a:pt x="349" y="294"/>
                    </a:lnTo>
                    <a:lnTo>
                      <a:pt x="349" y="296"/>
                    </a:lnTo>
                    <a:lnTo>
                      <a:pt x="349" y="294"/>
                    </a:lnTo>
                    <a:lnTo>
                      <a:pt x="349" y="293"/>
                    </a:lnTo>
                    <a:lnTo>
                      <a:pt x="347" y="293"/>
                    </a:lnTo>
                    <a:lnTo>
                      <a:pt x="345" y="293"/>
                    </a:lnTo>
                    <a:lnTo>
                      <a:pt x="345" y="291"/>
                    </a:lnTo>
                    <a:lnTo>
                      <a:pt x="345" y="290"/>
                    </a:lnTo>
                    <a:lnTo>
                      <a:pt x="347" y="290"/>
                    </a:lnTo>
                    <a:lnTo>
                      <a:pt x="347" y="288"/>
                    </a:lnTo>
                    <a:lnTo>
                      <a:pt x="345" y="288"/>
                    </a:lnTo>
                    <a:lnTo>
                      <a:pt x="345" y="287"/>
                    </a:lnTo>
                    <a:lnTo>
                      <a:pt x="347" y="287"/>
                    </a:lnTo>
                    <a:lnTo>
                      <a:pt x="347" y="285"/>
                    </a:lnTo>
                    <a:lnTo>
                      <a:pt x="345" y="285"/>
                    </a:lnTo>
                    <a:lnTo>
                      <a:pt x="347" y="285"/>
                    </a:lnTo>
                    <a:lnTo>
                      <a:pt x="349" y="285"/>
                    </a:lnTo>
                    <a:lnTo>
                      <a:pt x="349" y="283"/>
                    </a:lnTo>
                    <a:lnTo>
                      <a:pt x="349" y="282"/>
                    </a:lnTo>
                    <a:lnTo>
                      <a:pt x="350" y="282"/>
                    </a:lnTo>
                    <a:lnTo>
                      <a:pt x="350" y="280"/>
                    </a:lnTo>
                    <a:lnTo>
                      <a:pt x="350" y="279"/>
                    </a:lnTo>
                    <a:lnTo>
                      <a:pt x="352" y="279"/>
                    </a:lnTo>
                    <a:lnTo>
                      <a:pt x="352" y="280"/>
                    </a:lnTo>
                    <a:lnTo>
                      <a:pt x="352" y="279"/>
                    </a:lnTo>
                    <a:lnTo>
                      <a:pt x="352" y="277"/>
                    </a:lnTo>
                    <a:lnTo>
                      <a:pt x="350" y="277"/>
                    </a:lnTo>
                    <a:lnTo>
                      <a:pt x="352" y="277"/>
                    </a:lnTo>
                    <a:lnTo>
                      <a:pt x="353" y="275"/>
                    </a:lnTo>
                    <a:lnTo>
                      <a:pt x="352" y="275"/>
                    </a:lnTo>
                    <a:lnTo>
                      <a:pt x="352" y="274"/>
                    </a:lnTo>
                    <a:lnTo>
                      <a:pt x="352" y="272"/>
                    </a:lnTo>
                    <a:lnTo>
                      <a:pt x="353" y="272"/>
                    </a:lnTo>
                    <a:lnTo>
                      <a:pt x="355" y="272"/>
                    </a:lnTo>
                    <a:lnTo>
                      <a:pt x="353" y="272"/>
                    </a:lnTo>
                    <a:lnTo>
                      <a:pt x="355" y="271"/>
                    </a:lnTo>
                    <a:lnTo>
                      <a:pt x="353" y="271"/>
                    </a:lnTo>
                    <a:lnTo>
                      <a:pt x="355" y="271"/>
                    </a:lnTo>
                    <a:lnTo>
                      <a:pt x="355" y="269"/>
                    </a:lnTo>
                    <a:lnTo>
                      <a:pt x="355" y="267"/>
                    </a:lnTo>
                    <a:lnTo>
                      <a:pt x="355" y="269"/>
                    </a:lnTo>
                    <a:lnTo>
                      <a:pt x="355" y="267"/>
                    </a:lnTo>
                    <a:lnTo>
                      <a:pt x="356" y="267"/>
                    </a:lnTo>
                    <a:lnTo>
                      <a:pt x="355" y="267"/>
                    </a:lnTo>
                    <a:lnTo>
                      <a:pt x="356" y="267"/>
                    </a:lnTo>
                    <a:lnTo>
                      <a:pt x="356" y="266"/>
                    </a:lnTo>
                    <a:lnTo>
                      <a:pt x="356" y="264"/>
                    </a:lnTo>
                    <a:lnTo>
                      <a:pt x="358" y="264"/>
                    </a:lnTo>
                    <a:lnTo>
                      <a:pt x="358" y="263"/>
                    </a:lnTo>
                    <a:lnTo>
                      <a:pt x="360" y="263"/>
                    </a:lnTo>
                    <a:lnTo>
                      <a:pt x="358" y="263"/>
                    </a:lnTo>
                    <a:lnTo>
                      <a:pt x="358" y="261"/>
                    </a:lnTo>
                    <a:lnTo>
                      <a:pt x="360" y="261"/>
                    </a:lnTo>
                    <a:lnTo>
                      <a:pt x="360" y="260"/>
                    </a:lnTo>
                    <a:lnTo>
                      <a:pt x="358" y="260"/>
                    </a:lnTo>
                    <a:lnTo>
                      <a:pt x="358" y="258"/>
                    </a:lnTo>
                    <a:lnTo>
                      <a:pt x="360" y="258"/>
                    </a:lnTo>
                    <a:lnTo>
                      <a:pt x="361" y="258"/>
                    </a:lnTo>
                    <a:lnTo>
                      <a:pt x="361" y="256"/>
                    </a:lnTo>
                    <a:lnTo>
                      <a:pt x="361" y="258"/>
                    </a:lnTo>
                    <a:lnTo>
                      <a:pt x="363" y="258"/>
                    </a:lnTo>
                    <a:lnTo>
                      <a:pt x="363" y="256"/>
                    </a:lnTo>
                    <a:lnTo>
                      <a:pt x="364" y="256"/>
                    </a:lnTo>
                    <a:lnTo>
                      <a:pt x="364" y="255"/>
                    </a:lnTo>
                    <a:lnTo>
                      <a:pt x="366" y="255"/>
                    </a:lnTo>
                    <a:lnTo>
                      <a:pt x="366" y="253"/>
                    </a:lnTo>
                    <a:lnTo>
                      <a:pt x="368" y="253"/>
                    </a:lnTo>
                    <a:lnTo>
                      <a:pt x="368" y="252"/>
                    </a:lnTo>
                    <a:lnTo>
                      <a:pt x="368" y="250"/>
                    </a:lnTo>
                    <a:lnTo>
                      <a:pt x="368" y="248"/>
                    </a:lnTo>
                    <a:lnTo>
                      <a:pt x="366" y="248"/>
                    </a:lnTo>
                    <a:lnTo>
                      <a:pt x="366" y="247"/>
                    </a:lnTo>
                    <a:lnTo>
                      <a:pt x="368" y="247"/>
                    </a:lnTo>
                    <a:lnTo>
                      <a:pt x="366" y="247"/>
                    </a:lnTo>
                    <a:lnTo>
                      <a:pt x="368" y="247"/>
                    </a:lnTo>
                    <a:lnTo>
                      <a:pt x="368" y="245"/>
                    </a:lnTo>
                    <a:lnTo>
                      <a:pt x="368" y="244"/>
                    </a:lnTo>
                    <a:lnTo>
                      <a:pt x="368" y="242"/>
                    </a:lnTo>
                    <a:lnTo>
                      <a:pt x="366" y="242"/>
                    </a:lnTo>
                    <a:lnTo>
                      <a:pt x="366" y="244"/>
                    </a:lnTo>
                    <a:lnTo>
                      <a:pt x="364" y="242"/>
                    </a:lnTo>
                    <a:lnTo>
                      <a:pt x="364" y="241"/>
                    </a:lnTo>
                    <a:lnTo>
                      <a:pt x="364" y="239"/>
                    </a:lnTo>
                    <a:lnTo>
                      <a:pt x="366" y="239"/>
                    </a:lnTo>
                    <a:lnTo>
                      <a:pt x="366" y="237"/>
                    </a:lnTo>
                    <a:lnTo>
                      <a:pt x="368" y="237"/>
                    </a:lnTo>
                    <a:lnTo>
                      <a:pt x="369" y="236"/>
                    </a:lnTo>
                    <a:lnTo>
                      <a:pt x="369" y="234"/>
                    </a:lnTo>
                    <a:lnTo>
                      <a:pt x="371" y="234"/>
                    </a:lnTo>
                    <a:lnTo>
                      <a:pt x="371" y="233"/>
                    </a:lnTo>
                    <a:lnTo>
                      <a:pt x="372" y="233"/>
                    </a:lnTo>
                    <a:lnTo>
                      <a:pt x="372" y="231"/>
                    </a:lnTo>
                    <a:lnTo>
                      <a:pt x="374" y="231"/>
                    </a:lnTo>
                    <a:lnTo>
                      <a:pt x="375" y="229"/>
                    </a:lnTo>
                    <a:lnTo>
                      <a:pt x="377" y="228"/>
                    </a:lnTo>
                    <a:lnTo>
                      <a:pt x="379" y="228"/>
                    </a:lnTo>
                    <a:lnTo>
                      <a:pt x="379" y="226"/>
                    </a:lnTo>
                    <a:lnTo>
                      <a:pt x="379" y="225"/>
                    </a:lnTo>
                    <a:lnTo>
                      <a:pt x="380" y="225"/>
                    </a:lnTo>
                    <a:lnTo>
                      <a:pt x="382" y="223"/>
                    </a:lnTo>
                    <a:lnTo>
                      <a:pt x="382" y="225"/>
                    </a:lnTo>
                    <a:lnTo>
                      <a:pt x="383" y="225"/>
                    </a:lnTo>
                    <a:lnTo>
                      <a:pt x="385" y="225"/>
                    </a:lnTo>
                    <a:lnTo>
                      <a:pt x="385" y="226"/>
                    </a:lnTo>
                    <a:lnTo>
                      <a:pt x="385" y="228"/>
                    </a:lnTo>
                    <a:lnTo>
                      <a:pt x="387" y="228"/>
                    </a:lnTo>
                    <a:lnTo>
                      <a:pt x="387" y="226"/>
                    </a:lnTo>
                    <a:lnTo>
                      <a:pt x="388" y="226"/>
                    </a:lnTo>
                    <a:lnTo>
                      <a:pt x="388" y="225"/>
                    </a:lnTo>
                    <a:lnTo>
                      <a:pt x="390" y="223"/>
                    </a:lnTo>
                    <a:lnTo>
                      <a:pt x="390" y="222"/>
                    </a:lnTo>
                    <a:lnTo>
                      <a:pt x="391" y="222"/>
                    </a:lnTo>
                    <a:lnTo>
                      <a:pt x="391" y="220"/>
                    </a:lnTo>
                    <a:lnTo>
                      <a:pt x="393" y="220"/>
                    </a:lnTo>
                    <a:lnTo>
                      <a:pt x="393" y="218"/>
                    </a:lnTo>
                    <a:lnTo>
                      <a:pt x="394" y="218"/>
                    </a:lnTo>
                    <a:lnTo>
                      <a:pt x="396" y="218"/>
                    </a:lnTo>
                    <a:lnTo>
                      <a:pt x="398" y="217"/>
                    </a:lnTo>
                    <a:lnTo>
                      <a:pt x="399" y="217"/>
                    </a:lnTo>
                    <a:lnTo>
                      <a:pt x="401" y="217"/>
                    </a:lnTo>
                    <a:lnTo>
                      <a:pt x="402" y="217"/>
                    </a:lnTo>
                    <a:lnTo>
                      <a:pt x="402" y="215"/>
                    </a:lnTo>
                    <a:lnTo>
                      <a:pt x="404" y="215"/>
                    </a:lnTo>
                    <a:lnTo>
                      <a:pt x="406" y="215"/>
                    </a:lnTo>
                    <a:lnTo>
                      <a:pt x="406" y="214"/>
                    </a:lnTo>
                    <a:lnTo>
                      <a:pt x="407" y="214"/>
                    </a:lnTo>
                    <a:lnTo>
                      <a:pt x="409" y="214"/>
                    </a:lnTo>
                    <a:lnTo>
                      <a:pt x="409" y="212"/>
                    </a:lnTo>
                    <a:lnTo>
                      <a:pt x="410" y="212"/>
                    </a:lnTo>
                    <a:lnTo>
                      <a:pt x="412" y="212"/>
                    </a:lnTo>
                    <a:lnTo>
                      <a:pt x="412" y="210"/>
                    </a:lnTo>
                    <a:lnTo>
                      <a:pt x="413" y="210"/>
                    </a:lnTo>
                    <a:lnTo>
                      <a:pt x="413" y="209"/>
                    </a:lnTo>
                    <a:lnTo>
                      <a:pt x="415" y="209"/>
                    </a:lnTo>
                    <a:lnTo>
                      <a:pt x="417" y="207"/>
                    </a:lnTo>
                    <a:lnTo>
                      <a:pt x="418" y="207"/>
                    </a:lnTo>
                    <a:lnTo>
                      <a:pt x="420" y="207"/>
                    </a:lnTo>
                    <a:lnTo>
                      <a:pt x="421" y="207"/>
                    </a:lnTo>
                    <a:lnTo>
                      <a:pt x="421" y="206"/>
                    </a:lnTo>
                    <a:lnTo>
                      <a:pt x="423" y="206"/>
                    </a:lnTo>
                    <a:lnTo>
                      <a:pt x="425" y="204"/>
                    </a:lnTo>
                    <a:lnTo>
                      <a:pt x="426" y="204"/>
                    </a:lnTo>
                    <a:lnTo>
                      <a:pt x="426" y="203"/>
                    </a:lnTo>
                    <a:lnTo>
                      <a:pt x="426" y="201"/>
                    </a:lnTo>
                    <a:lnTo>
                      <a:pt x="428" y="201"/>
                    </a:lnTo>
                    <a:lnTo>
                      <a:pt x="428" y="199"/>
                    </a:lnTo>
                    <a:lnTo>
                      <a:pt x="429" y="199"/>
                    </a:lnTo>
                    <a:lnTo>
                      <a:pt x="431" y="199"/>
                    </a:lnTo>
                    <a:lnTo>
                      <a:pt x="431" y="198"/>
                    </a:lnTo>
                    <a:lnTo>
                      <a:pt x="432" y="198"/>
                    </a:lnTo>
                    <a:lnTo>
                      <a:pt x="432" y="196"/>
                    </a:lnTo>
                    <a:lnTo>
                      <a:pt x="434" y="196"/>
                    </a:lnTo>
                    <a:lnTo>
                      <a:pt x="434" y="195"/>
                    </a:lnTo>
                    <a:lnTo>
                      <a:pt x="436" y="195"/>
                    </a:lnTo>
                    <a:lnTo>
                      <a:pt x="436" y="193"/>
                    </a:lnTo>
                    <a:lnTo>
                      <a:pt x="437" y="193"/>
                    </a:lnTo>
                    <a:lnTo>
                      <a:pt x="437" y="191"/>
                    </a:lnTo>
                    <a:lnTo>
                      <a:pt x="437" y="190"/>
                    </a:lnTo>
                    <a:lnTo>
                      <a:pt x="439" y="190"/>
                    </a:lnTo>
                    <a:lnTo>
                      <a:pt x="437" y="188"/>
                    </a:lnTo>
                    <a:lnTo>
                      <a:pt x="439" y="187"/>
                    </a:lnTo>
                    <a:lnTo>
                      <a:pt x="439" y="185"/>
                    </a:lnTo>
                    <a:lnTo>
                      <a:pt x="439" y="184"/>
                    </a:lnTo>
                    <a:lnTo>
                      <a:pt x="437" y="184"/>
                    </a:lnTo>
                    <a:lnTo>
                      <a:pt x="437" y="182"/>
                    </a:lnTo>
                    <a:lnTo>
                      <a:pt x="436" y="182"/>
                    </a:lnTo>
                    <a:lnTo>
                      <a:pt x="434" y="180"/>
                    </a:lnTo>
                    <a:lnTo>
                      <a:pt x="432" y="180"/>
                    </a:lnTo>
                    <a:lnTo>
                      <a:pt x="431" y="180"/>
                    </a:lnTo>
                    <a:lnTo>
                      <a:pt x="429" y="180"/>
                    </a:lnTo>
                    <a:lnTo>
                      <a:pt x="429" y="179"/>
                    </a:lnTo>
                    <a:lnTo>
                      <a:pt x="429" y="177"/>
                    </a:lnTo>
                    <a:lnTo>
                      <a:pt x="428" y="177"/>
                    </a:lnTo>
                    <a:lnTo>
                      <a:pt x="428" y="176"/>
                    </a:lnTo>
                    <a:lnTo>
                      <a:pt x="426" y="176"/>
                    </a:lnTo>
                    <a:lnTo>
                      <a:pt x="426" y="174"/>
                    </a:lnTo>
                    <a:lnTo>
                      <a:pt x="426" y="172"/>
                    </a:lnTo>
                    <a:lnTo>
                      <a:pt x="425" y="172"/>
                    </a:lnTo>
                    <a:lnTo>
                      <a:pt x="426" y="172"/>
                    </a:lnTo>
                    <a:lnTo>
                      <a:pt x="425" y="172"/>
                    </a:lnTo>
                    <a:lnTo>
                      <a:pt x="426" y="172"/>
                    </a:lnTo>
                    <a:lnTo>
                      <a:pt x="426" y="171"/>
                    </a:lnTo>
                    <a:lnTo>
                      <a:pt x="428" y="169"/>
                    </a:lnTo>
                    <a:lnTo>
                      <a:pt x="429" y="169"/>
                    </a:lnTo>
                    <a:lnTo>
                      <a:pt x="429" y="168"/>
                    </a:lnTo>
                    <a:lnTo>
                      <a:pt x="431" y="168"/>
                    </a:lnTo>
                    <a:lnTo>
                      <a:pt x="431" y="166"/>
                    </a:lnTo>
                    <a:lnTo>
                      <a:pt x="432" y="166"/>
                    </a:lnTo>
                    <a:lnTo>
                      <a:pt x="432" y="165"/>
                    </a:lnTo>
                    <a:lnTo>
                      <a:pt x="434" y="165"/>
                    </a:lnTo>
                    <a:lnTo>
                      <a:pt x="434" y="163"/>
                    </a:lnTo>
                    <a:lnTo>
                      <a:pt x="436" y="161"/>
                    </a:lnTo>
                    <a:lnTo>
                      <a:pt x="436" y="160"/>
                    </a:lnTo>
                    <a:lnTo>
                      <a:pt x="437" y="160"/>
                    </a:lnTo>
                    <a:lnTo>
                      <a:pt x="439" y="160"/>
                    </a:lnTo>
                    <a:lnTo>
                      <a:pt x="440" y="160"/>
                    </a:lnTo>
                    <a:lnTo>
                      <a:pt x="442" y="158"/>
                    </a:lnTo>
                    <a:lnTo>
                      <a:pt x="444" y="158"/>
                    </a:lnTo>
                    <a:lnTo>
                      <a:pt x="447" y="157"/>
                    </a:lnTo>
                    <a:lnTo>
                      <a:pt x="448" y="157"/>
                    </a:lnTo>
                    <a:lnTo>
                      <a:pt x="450" y="157"/>
                    </a:lnTo>
                    <a:lnTo>
                      <a:pt x="450" y="155"/>
                    </a:lnTo>
                    <a:lnTo>
                      <a:pt x="452" y="155"/>
                    </a:lnTo>
                    <a:lnTo>
                      <a:pt x="453" y="155"/>
                    </a:lnTo>
                    <a:lnTo>
                      <a:pt x="453" y="153"/>
                    </a:lnTo>
                    <a:lnTo>
                      <a:pt x="455" y="152"/>
                    </a:lnTo>
                    <a:lnTo>
                      <a:pt x="455" y="150"/>
                    </a:lnTo>
                    <a:lnTo>
                      <a:pt x="456" y="150"/>
                    </a:lnTo>
                    <a:lnTo>
                      <a:pt x="456" y="149"/>
                    </a:lnTo>
                    <a:lnTo>
                      <a:pt x="456" y="147"/>
                    </a:lnTo>
                    <a:lnTo>
                      <a:pt x="456" y="146"/>
                    </a:lnTo>
                    <a:lnTo>
                      <a:pt x="456" y="144"/>
                    </a:lnTo>
                    <a:lnTo>
                      <a:pt x="458" y="144"/>
                    </a:lnTo>
                    <a:lnTo>
                      <a:pt x="459" y="142"/>
                    </a:lnTo>
                    <a:lnTo>
                      <a:pt x="461" y="142"/>
                    </a:lnTo>
                    <a:lnTo>
                      <a:pt x="461" y="144"/>
                    </a:lnTo>
                    <a:lnTo>
                      <a:pt x="461" y="146"/>
                    </a:lnTo>
                    <a:lnTo>
                      <a:pt x="461" y="147"/>
                    </a:lnTo>
                    <a:lnTo>
                      <a:pt x="461" y="149"/>
                    </a:lnTo>
                    <a:lnTo>
                      <a:pt x="463" y="149"/>
                    </a:lnTo>
                    <a:lnTo>
                      <a:pt x="463" y="150"/>
                    </a:lnTo>
                    <a:lnTo>
                      <a:pt x="464" y="150"/>
                    </a:lnTo>
                    <a:lnTo>
                      <a:pt x="466" y="150"/>
                    </a:lnTo>
                    <a:lnTo>
                      <a:pt x="467" y="150"/>
                    </a:lnTo>
                    <a:lnTo>
                      <a:pt x="467" y="149"/>
                    </a:lnTo>
                    <a:lnTo>
                      <a:pt x="469" y="149"/>
                    </a:lnTo>
                    <a:lnTo>
                      <a:pt x="471" y="149"/>
                    </a:lnTo>
                    <a:lnTo>
                      <a:pt x="472" y="149"/>
                    </a:lnTo>
                    <a:lnTo>
                      <a:pt x="472" y="147"/>
                    </a:lnTo>
                    <a:lnTo>
                      <a:pt x="474" y="147"/>
                    </a:lnTo>
                    <a:lnTo>
                      <a:pt x="475" y="147"/>
                    </a:lnTo>
                    <a:lnTo>
                      <a:pt x="477" y="147"/>
                    </a:lnTo>
                    <a:lnTo>
                      <a:pt x="478" y="147"/>
                    </a:lnTo>
                    <a:lnTo>
                      <a:pt x="480" y="146"/>
                    </a:lnTo>
                    <a:lnTo>
                      <a:pt x="480" y="144"/>
                    </a:lnTo>
                    <a:lnTo>
                      <a:pt x="482" y="144"/>
                    </a:lnTo>
                    <a:lnTo>
                      <a:pt x="483" y="144"/>
                    </a:lnTo>
                    <a:lnTo>
                      <a:pt x="485" y="142"/>
                    </a:lnTo>
                    <a:lnTo>
                      <a:pt x="486" y="142"/>
                    </a:lnTo>
                    <a:lnTo>
                      <a:pt x="488" y="142"/>
                    </a:lnTo>
                    <a:lnTo>
                      <a:pt x="488" y="141"/>
                    </a:lnTo>
                    <a:lnTo>
                      <a:pt x="490" y="141"/>
                    </a:lnTo>
                    <a:lnTo>
                      <a:pt x="490" y="139"/>
                    </a:lnTo>
                    <a:lnTo>
                      <a:pt x="491" y="139"/>
                    </a:lnTo>
                    <a:lnTo>
                      <a:pt x="493" y="139"/>
                    </a:lnTo>
                    <a:lnTo>
                      <a:pt x="493" y="138"/>
                    </a:lnTo>
                    <a:lnTo>
                      <a:pt x="491" y="138"/>
                    </a:lnTo>
                    <a:lnTo>
                      <a:pt x="490" y="138"/>
                    </a:lnTo>
                    <a:lnTo>
                      <a:pt x="490" y="136"/>
                    </a:lnTo>
                    <a:lnTo>
                      <a:pt x="488" y="136"/>
                    </a:lnTo>
                    <a:lnTo>
                      <a:pt x="486" y="136"/>
                    </a:lnTo>
                    <a:lnTo>
                      <a:pt x="486" y="134"/>
                    </a:lnTo>
                    <a:lnTo>
                      <a:pt x="486" y="133"/>
                    </a:lnTo>
                    <a:lnTo>
                      <a:pt x="485" y="133"/>
                    </a:lnTo>
                    <a:lnTo>
                      <a:pt x="485" y="131"/>
                    </a:lnTo>
                    <a:lnTo>
                      <a:pt x="485" y="130"/>
                    </a:lnTo>
                    <a:lnTo>
                      <a:pt x="483" y="130"/>
                    </a:lnTo>
                    <a:lnTo>
                      <a:pt x="483" y="128"/>
                    </a:lnTo>
                    <a:lnTo>
                      <a:pt x="485" y="127"/>
                    </a:lnTo>
                    <a:lnTo>
                      <a:pt x="486" y="125"/>
                    </a:lnTo>
                    <a:lnTo>
                      <a:pt x="488" y="125"/>
                    </a:lnTo>
                    <a:lnTo>
                      <a:pt x="490" y="123"/>
                    </a:lnTo>
                    <a:lnTo>
                      <a:pt x="491" y="123"/>
                    </a:lnTo>
                    <a:lnTo>
                      <a:pt x="493" y="123"/>
                    </a:lnTo>
                    <a:lnTo>
                      <a:pt x="494" y="123"/>
                    </a:lnTo>
                    <a:lnTo>
                      <a:pt x="493" y="122"/>
                    </a:lnTo>
                    <a:lnTo>
                      <a:pt x="493" y="120"/>
                    </a:lnTo>
                    <a:lnTo>
                      <a:pt x="491" y="119"/>
                    </a:lnTo>
                    <a:lnTo>
                      <a:pt x="491" y="117"/>
                    </a:lnTo>
                    <a:lnTo>
                      <a:pt x="493" y="115"/>
                    </a:lnTo>
                    <a:lnTo>
                      <a:pt x="493" y="114"/>
                    </a:lnTo>
                    <a:lnTo>
                      <a:pt x="493" y="112"/>
                    </a:lnTo>
                    <a:lnTo>
                      <a:pt x="493" y="111"/>
                    </a:lnTo>
                    <a:lnTo>
                      <a:pt x="494" y="109"/>
                    </a:lnTo>
                    <a:lnTo>
                      <a:pt x="493" y="106"/>
                    </a:lnTo>
                    <a:lnTo>
                      <a:pt x="491" y="104"/>
                    </a:lnTo>
                    <a:lnTo>
                      <a:pt x="490" y="103"/>
                    </a:lnTo>
                    <a:lnTo>
                      <a:pt x="488" y="103"/>
                    </a:lnTo>
                    <a:lnTo>
                      <a:pt x="486" y="104"/>
                    </a:lnTo>
                    <a:lnTo>
                      <a:pt x="485" y="104"/>
                    </a:lnTo>
                    <a:lnTo>
                      <a:pt x="485" y="103"/>
                    </a:lnTo>
                    <a:lnTo>
                      <a:pt x="486" y="101"/>
                    </a:lnTo>
                    <a:lnTo>
                      <a:pt x="488" y="101"/>
                    </a:lnTo>
                    <a:lnTo>
                      <a:pt x="488" y="100"/>
                    </a:lnTo>
                    <a:lnTo>
                      <a:pt x="490" y="98"/>
                    </a:lnTo>
                    <a:lnTo>
                      <a:pt x="488" y="96"/>
                    </a:lnTo>
                    <a:lnTo>
                      <a:pt x="490" y="96"/>
                    </a:lnTo>
                    <a:lnTo>
                      <a:pt x="490" y="95"/>
                    </a:lnTo>
                    <a:lnTo>
                      <a:pt x="490" y="93"/>
                    </a:lnTo>
                    <a:lnTo>
                      <a:pt x="490" y="92"/>
                    </a:lnTo>
                    <a:lnTo>
                      <a:pt x="490" y="90"/>
                    </a:lnTo>
                    <a:lnTo>
                      <a:pt x="490" y="88"/>
                    </a:lnTo>
                    <a:lnTo>
                      <a:pt x="491" y="87"/>
                    </a:lnTo>
                    <a:lnTo>
                      <a:pt x="491" y="85"/>
                    </a:lnTo>
                    <a:lnTo>
                      <a:pt x="490" y="85"/>
                    </a:lnTo>
                    <a:lnTo>
                      <a:pt x="490" y="84"/>
                    </a:lnTo>
                    <a:lnTo>
                      <a:pt x="488" y="82"/>
                    </a:lnTo>
                    <a:lnTo>
                      <a:pt x="486" y="82"/>
                    </a:lnTo>
                    <a:lnTo>
                      <a:pt x="485" y="82"/>
                    </a:lnTo>
                    <a:lnTo>
                      <a:pt x="483" y="82"/>
                    </a:lnTo>
                    <a:lnTo>
                      <a:pt x="483" y="81"/>
                    </a:lnTo>
                    <a:lnTo>
                      <a:pt x="482" y="79"/>
                    </a:lnTo>
                    <a:lnTo>
                      <a:pt x="480" y="79"/>
                    </a:lnTo>
                    <a:lnTo>
                      <a:pt x="480" y="77"/>
                    </a:lnTo>
                    <a:lnTo>
                      <a:pt x="480" y="76"/>
                    </a:lnTo>
                    <a:lnTo>
                      <a:pt x="478" y="76"/>
                    </a:lnTo>
                    <a:lnTo>
                      <a:pt x="478" y="74"/>
                    </a:lnTo>
                    <a:lnTo>
                      <a:pt x="477" y="73"/>
                    </a:lnTo>
                    <a:lnTo>
                      <a:pt x="480" y="73"/>
                    </a:lnTo>
                    <a:lnTo>
                      <a:pt x="480" y="71"/>
                    </a:lnTo>
                    <a:lnTo>
                      <a:pt x="482" y="71"/>
                    </a:lnTo>
                    <a:lnTo>
                      <a:pt x="483" y="71"/>
                    </a:lnTo>
                    <a:lnTo>
                      <a:pt x="483" y="69"/>
                    </a:lnTo>
                    <a:lnTo>
                      <a:pt x="485" y="68"/>
                    </a:lnTo>
                    <a:lnTo>
                      <a:pt x="485" y="66"/>
                    </a:lnTo>
                    <a:lnTo>
                      <a:pt x="485" y="65"/>
                    </a:lnTo>
                    <a:lnTo>
                      <a:pt x="486" y="63"/>
                    </a:lnTo>
                    <a:lnTo>
                      <a:pt x="486" y="62"/>
                    </a:lnTo>
                    <a:lnTo>
                      <a:pt x="488" y="62"/>
                    </a:lnTo>
                    <a:lnTo>
                      <a:pt x="488" y="60"/>
                    </a:lnTo>
                    <a:lnTo>
                      <a:pt x="488" y="58"/>
                    </a:lnTo>
                    <a:lnTo>
                      <a:pt x="490" y="58"/>
                    </a:lnTo>
                    <a:lnTo>
                      <a:pt x="490" y="57"/>
                    </a:lnTo>
                    <a:lnTo>
                      <a:pt x="491" y="57"/>
                    </a:lnTo>
                    <a:lnTo>
                      <a:pt x="491" y="55"/>
                    </a:lnTo>
                    <a:lnTo>
                      <a:pt x="491" y="54"/>
                    </a:lnTo>
                    <a:lnTo>
                      <a:pt x="493" y="52"/>
                    </a:lnTo>
                    <a:lnTo>
                      <a:pt x="494" y="50"/>
                    </a:lnTo>
                    <a:lnTo>
                      <a:pt x="494" y="49"/>
                    </a:lnTo>
                    <a:lnTo>
                      <a:pt x="496" y="49"/>
                    </a:lnTo>
                    <a:lnTo>
                      <a:pt x="494" y="49"/>
                    </a:lnTo>
                    <a:lnTo>
                      <a:pt x="494" y="47"/>
                    </a:lnTo>
                    <a:lnTo>
                      <a:pt x="494" y="49"/>
                    </a:lnTo>
                    <a:lnTo>
                      <a:pt x="496" y="47"/>
                    </a:lnTo>
                    <a:lnTo>
                      <a:pt x="496" y="46"/>
                    </a:lnTo>
                    <a:lnTo>
                      <a:pt x="496" y="44"/>
                    </a:lnTo>
                    <a:lnTo>
                      <a:pt x="497" y="44"/>
                    </a:lnTo>
                    <a:lnTo>
                      <a:pt x="497" y="43"/>
                    </a:lnTo>
                    <a:lnTo>
                      <a:pt x="497" y="41"/>
                    </a:lnTo>
                    <a:lnTo>
                      <a:pt x="499" y="41"/>
                    </a:lnTo>
                    <a:lnTo>
                      <a:pt x="499" y="39"/>
                    </a:lnTo>
                    <a:lnTo>
                      <a:pt x="501" y="38"/>
                    </a:lnTo>
                    <a:lnTo>
                      <a:pt x="502" y="36"/>
                    </a:lnTo>
                    <a:lnTo>
                      <a:pt x="504" y="35"/>
                    </a:lnTo>
                    <a:lnTo>
                      <a:pt x="504" y="33"/>
                    </a:lnTo>
                    <a:lnTo>
                      <a:pt x="505" y="31"/>
                    </a:lnTo>
                    <a:lnTo>
                      <a:pt x="507" y="31"/>
                    </a:lnTo>
                    <a:lnTo>
                      <a:pt x="509" y="30"/>
                    </a:lnTo>
                    <a:lnTo>
                      <a:pt x="510" y="30"/>
                    </a:lnTo>
                    <a:lnTo>
                      <a:pt x="510" y="28"/>
                    </a:lnTo>
                    <a:lnTo>
                      <a:pt x="512" y="28"/>
                    </a:lnTo>
                    <a:lnTo>
                      <a:pt x="512" y="27"/>
                    </a:lnTo>
                    <a:lnTo>
                      <a:pt x="512" y="25"/>
                    </a:lnTo>
                    <a:lnTo>
                      <a:pt x="513" y="25"/>
                    </a:lnTo>
                    <a:lnTo>
                      <a:pt x="515" y="24"/>
                    </a:lnTo>
                    <a:lnTo>
                      <a:pt x="515" y="22"/>
                    </a:lnTo>
                    <a:lnTo>
                      <a:pt x="516" y="20"/>
                    </a:lnTo>
                    <a:lnTo>
                      <a:pt x="518" y="19"/>
                    </a:lnTo>
                    <a:lnTo>
                      <a:pt x="520" y="19"/>
                    </a:lnTo>
                    <a:lnTo>
                      <a:pt x="520" y="17"/>
                    </a:lnTo>
                    <a:lnTo>
                      <a:pt x="521" y="17"/>
                    </a:lnTo>
                    <a:lnTo>
                      <a:pt x="523" y="17"/>
                    </a:lnTo>
                    <a:lnTo>
                      <a:pt x="523" y="16"/>
                    </a:lnTo>
                    <a:lnTo>
                      <a:pt x="524" y="16"/>
                    </a:lnTo>
                    <a:lnTo>
                      <a:pt x="526" y="14"/>
                    </a:lnTo>
                    <a:lnTo>
                      <a:pt x="526" y="12"/>
                    </a:lnTo>
                    <a:lnTo>
                      <a:pt x="528" y="12"/>
                    </a:lnTo>
                    <a:lnTo>
                      <a:pt x="528" y="11"/>
                    </a:lnTo>
                    <a:lnTo>
                      <a:pt x="529" y="11"/>
                    </a:lnTo>
                    <a:lnTo>
                      <a:pt x="529" y="9"/>
                    </a:lnTo>
                    <a:lnTo>
                      <a:pt x="531" y="9"/>
                    </a:lnTo>
                    <a:lnTo>
                      <a:pt x="531" y="8"/>
                    </a:lnTo>
                    <a:lnTo>
                      <a:pt x="532" y="8"/>
                    </a:lnTo>
                    <a:lnTo>
                      <a:pt x="534" y="8"/>
                    </a:lnTo>
                    <a:lnTo>
                      <a:pt x="534" y="6"/>
                    </a:lnTo>
                    <a:lnTo>
                      <a:pt x="535" y="6"/>
                    </a:lnTo>
                    <a:lnTo>
                      <a:pt x="537" y="6"/>
                    </a:lnTo>
                    <a:lnTo>
                      <a:pt x="537" y="5"/>
                    </a:lnTo>
                    <a:lnTo>
                      <a:pt x="539" y="5"/>
                    </a:lnTo>
                    <a:lnTo>
                      <a:pt x="539" y="3"/>
                    </a:lnTo>
                    <a:lnTo>
                      <a:pt x="540" y="1"/>
                    </a:lnTo>
                    <a:lnTo>
                      <a:pt x="542" y="1"/>
                    </a:lnTo>
                    <a:lnTo>
                      <a:pt x="543" y="1"/>
                    </a:lnTo>
                    <a:lnTo>
                      <a:pt x="545" y="0"/>
                    </a:lnTo>
                    <a:lnTo>
                      <a:pt x="547" y="0"/>
                    </a:lnTo>
                    <a:lnTo>
                      <a:pt x="548" y="1"/>
                    </a:lnTo>
                    <a:lnTo>
                      <a:pt x="548" y="3"/>
                    </a:lnTo>
                    <a:lnTo>
                      <a:pt x="550" y="5"/>
                    </a:lnTo>
                    <a:lnTo>
                      <a:pt x="550" y="6"/>
                    </a:lnTo>
                    <a:lnTo>
                      <a:pt x="551" y="6"/>
                    </a:lnTo>
                    <a:lnTo>
                      <a:pt x="553" y="8"/>
                    </a:lnTo>
                    <a:close/>
                  </a:path>
                </a:pathLst>
              </a:custGeom>
              <a:solidFill>
                <a:srgbClr val="B4D7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43" name="Freeform 23"/>
              <p:cNvSpPr>
                <a:spLocks/>
              </p:cNvSpPr>
              <p:nvPr/>
            </p:nvSpPr>
            <p:spPr bwMode="auto">
              <a:xfrm>
                <a:off x="2153" y="1144"/>
                <a:ext cx="419" cy="863"/>
              </a:xfrm>
              <a:custGeom>
                <a:avLst/>
                <a:gdLst>
                  <a:gd name="T0" fmla="*/ 275 w 419"/>
                  <a:gd name="T1" fmla="*/ 23 h 863"/>
                  <a:gd name="T2" fmla="*/ 285 w 419"/>
                  <a:gd name="T3" fmla="*/ 41 h 863"/>
                  <a:gd name="T4" fmla="*/ 280 w 419"/>
                  <a:gd name="T5" fmla="*/ 65 h 863"/>
                  <a:gd name="T6" fmla="*/ 269 w 419"/>
                  <a:gd name="T7" fmla="*/ 82 h 863"/>
                  <a:gd name="T8" fmla="*/ 259 w 419"/>
                  <a:gd name="T9" fmla="*/ 104 h 863"/>
                  <a:gd name="T10" fmla="*/ 267 w 419"/>
                  <a:gd name="T11" fmla="*/ 115 h 863"/>
                  <a:gd name="T12" fmla="*/ 285 w 419"/>
                  <a:gd name="T13" fmla="*/ 106 h 863"/>
                  <a:gd name="T14" fmla="*/ 299 w 419"/>
                  <a:gd name="T15" fmla="*/ 123 h 863"/>
                  <a:gd name="T16" fmla="*/ 302 w 419"/>
                  <a:gd name="T17" fmla="*/ 150 h 863"/>
                  <a:gd name="T18" fmla="*/ 310 w 419"/>
                  <a:gd name="T19" fmla="*/ 172 h 863"/>
                  <a:gd name="T20" fmla="*/ 326 w 419"/>
                  <a:gd name="T21" fmla="*/ 195 h 863"/>
                  <a:gd name="T22" fmla="*/ 326 w 419"/>
                  <a:gd name="T23" fmla="*/ 217 h 863"/>
                  <a:gd name="T24" fmla="*/ 329 w 419"/>
                  <a:gd name="T25" fmla="*/ 237 h 863"/>
                  <a:gd name="T26" fmla="*/ 332 w 419"/>
                  <a:gd name="T27" fmla="*/ 259 h 863"/>
                  <a:gd name="T28" fmla="*/ 340 w 419"/>
                  <a:gd name="T29" fmla="*/ 277 h 863"/>
                  <a:gd name="T30" fmla="*/ 358 w 419"/>
                  <a:gd name="T31" fmla="*/ 291 h 863"/>
                  <a:gd name="T32" fmla="*/ 369 w 419"/>
                  <a:gd name="T33" fmla="*/ 313 h 863"/>
                  <a:gd name="T34" fmla="*/ 375 w 419"/>
                  <a:gd name="T35" fmla="*/ 334 h 863"/>
                  <a:gd name="T36" fmla="*/ 380 w 419"/>
                  <a:gd name="T37" fmla="*/ 355 h 863"/>
                  <a:gd name="T38" fmla="*/ 381 w 419"/>
                  <a:gd name="T39" fmla="*/ 374 h 863"/>
                  <a:gd name="T40" fmla="*/ 377 w 419"/>
                  <a:gd name="T41" fmla="*/ 388 h 863"/>
                  <a:gd name="T42" fmla="*/ 369 w 419"/>
                  <a:gd name="T43" fmla="*/ 410 h 863"/>
                  <a:gd name="T44" fmla="*/ 373 w 419"/>
                  <a:gd name="T45" fmla="*/ 429 h 863"/>
                  <a:gd name="T46" fmla="*/ 378 w 419"/>
                  <a:gd name="T47" fmla="*/ 448 h 863"/>
                  <a:gd name="T48" fmla="*/ 383 w 419"/>
                  <a:gd name="T49" fmla="*/ 467 h 863"/>
                  <a:gd name="T50" fmla="*/ 394 w 419"/>
                  <a:gd name="T51" fmla="*/ 486 h 863"/>
                  <a:gd name="T52" fmla="*/ 397 w 419"/>
                  <a:gd name="T53" fmla="*/ 510 h 863"/>
                  <a:gd name="T54" fmla="*/ 410 w 419"/>
                  <a:gd name="T55" fmla="*/ 518 h 863"/>
                  <a:gd name="T56" fmla="*/ 410 w 419"/>
                  <a:gd name="T57" fmla="*/ 538 h 863"/>
                  <a:gd name="T58" fmla="*/ 416 w 419"/>
                  <a:gd name="T59" fmla="*/ 559 h 863"/>
                  <a:gd name="T60" fmla="*/ 418 w 419"/>
                  <a:gd name="T61" fmla="*/ 579 h 863"/>
                  <a:gd name="T62" fmla="*/ 405 w 419"/>
                  <a:gd name="T63" fmla="*/ 600 h 863"/>
                  <a:gd name="T64" fmla="*/ 386 w 419"/>
                  <a:gd name="T65" fmla="*/ 610 h 863"/>
                  <a:gd name="T66" fmla="*/ 389 w 419"/>
                  <a:gd name="T67" fmla="*/ 630 h 863"/>
                  <a:gd name="T68" fmla="*/ 378 w 419"/>
                  <a:gd name="T69" fmla="*/ 646 h 863"/>
                  <a:gd name="T70" fmla="*/ 364 w 419"/>
                  <a:gd name="T71" fmla="*/ 663 h 863"/>
                  <a:gd name="T72" fmla="*/ 346 w 419"/>
                  <a:gd name="T73" fmla="*/ 675 h 863"/>
                  <a:gd name="T74" fmla="*/ 337 w 419"/>
                  <a:gd name="T75" fmla="*/ 689 h 863"/>
                  <a:gd name="T76" fmla="*/ 339 w 419"/>
                  <a:gd name="T77" fmla="*/ 708 h 863"/>
                  <a:gd name="T78" fmla="*/ 332 w 419"/>
                  <a:gd name="T79" fmla="*/ 732 h 863"/>
                  <a:gd name="T80" fmla="*/ 323 w 419"/>
                  <a:gd name="T81" fmla="*/ 752 h 863"/>
                  <a:gd name="T82" fmla="*/ 321 w 419"/>
                  <a:gd name="T83" fmla="*/ 773 h 863"/>
                  <a:gd name="T84" fmla="*/ 326 w 419"/>
                  <a:gd name="T85" fmla="*/ 798 h 863"/>
                  <a:gd name="T86" fmla="*/ 331 w 419"/>
                  <a:gd name="T87" fmla="*/ 823 h 863"/>
                  <a:gd name="T88" fmla="*/ 331 w 419"/>
                  <a:gd name="T89" fmla="*/ 847 h 863"/>
                  <a:gd name="T90" fmla="*/ 308 w 419"/>
                  <a:gd name="T91" fmla="*/ 852 h 863"/>
                  <a:gd name="T92" fmla="*/ 288 w 419"/>
                  <a:gd name="T93" fmla="*/ 860 h 863"/>
                  <a:gd name="T94" fmla="*/ 275 w 419"/>
                  <a:gd name="T95" fmla="*/ 852 h 863"/>
                  <a:gd name="T96" fmla="*/ 269 w 419"/>
                  <a:gd name="T97" fmla="*/ 831 h 863"/>
                  <a:gd name="T98" fmla="*/ 253 w 419"/>
                  <a:gd name="T99" fmla="*/ 814 h 863"/>
                  <a:gd name="T100" fmla="*/ 242 w 419"/>
                  <a:gd name="T101" fmla="*/ 795 h 863"/>
                  <a:gd name="T102" fmla="*/ 229 w 419"/>
                  <a:gd name="T103" fmla="*/ 796 h 863"/>
                  <a:gd name="T104" fmla="*/ 209 w 419"/>
                  <a:gd name="T105" fmla="*/ 803 h 863"/>
                  <a:gd name="T106" fmla="*/ 204 w 419"/>
                  <a:gd name="T107" fmla="*/ 782 h 863"/>
                  <a:gd name="T108" fmla="*/ 185 w 419"/>
                  <a:gd name="T109" fmla="*/ 771 h 863"/>
                  <a:gd name="T110" fmla="*/ 147 w 419"/>
                  <a:gd name="T111" fmla="*/ 760 h 863"/>
                  <a:gd name="T112" fmla="*/ 58 w 419"/>
                  <a:gd name="T113" fmla="*/ 766 h 863"/>
                  <a:gd name="T114" fmla="*/ 44 w 419"/>
                  <a:gd name="T115" fmla="*/ 781 h 863"/>
                  <a:gd name="T116" fmla="*/ 30 w 419"/>
                  <a:gd name="T117" fmla="*/ 798 h 863"/>
                  <a:gd name="T118" fmla="*/ 6 w 419"/>
                  <a:gd name="T119" fmla="*/ 804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9" h="863">
                    <a:moveTo>
                      <a:pt x="269" y="0"/>
                    </a:moveTo>
                    <a:lnTo>
                      <a:pt x="269" y="1"/>
                    </a:lnTo>
                    <a:lnTo>
                      <a:pt x="269" y="3"/>
                    </a:lnTo>
                    <a:lnTo>
                      <a:pt x="269" y="4"/>
                    </a:lnTo>
                    <a:lnTo>
                      <a:pt x="269" y="6"/>
                    </a:lnTo>
                    <a:lnTo>
                      <a:pt x="270" y="8"/>
                    </a:lnTo>
                    <a:lnTo>
                      <a:pt x="272" y="8"/>
                    </a:lnTo>
                    <a:lnTo>
                      <a:pt x="272" y="9"/>
                    </a:lnTo>
                    <a:lnTo>
                      <a:pt x="274" y="11"/>
                    </a:lnTo>
                    <a:lnTo>
                      <a:pt x="275" y="12"/>
                    </a:lnTo>
                    <a:lnTo>
                      <a:pt x="275" y="14"/>
                    </a:lnTo>
                    <a:lnTo>
                      <a:pt x="275" y="16"/>
                    </a:lnTo>
                    <a:lnTo>
                      <a:pt x="275" y="17"/>
                    </a:lnTo>
                    <a:lnTo>
                      <a:pt x="275" y="19"/>
                    </a:lnTo>
                    <a:lnTo>
                      <a:pt x="275" y="20"/>
                    </a:lnTo>
                    <a:lnTo>
                      <a:pt x="275" y="22"/>
                    </a:lnTo>
                    <a:lnTo>
                      <a:pt x="275" y="23"/>
                    </a:lnTo>
                    <a:lnTo>
                      <a:pt x="277" y="23"/>
                    </a:lnTo>
                    <a:lnTo>
                      <a:pt x="278" y="23"/>
                    </a:lnTo>
                    <a:lnTo>
                      <a:pt x="280" y="23"/>
                    </a:lnTo>
                    <a:lnTo>
                      <a:pt x="282" y="23"/>
                    </a:lnTo>
                    <a:lnTo>
                      <a:pt x="282" y="25"/>
                    </a:lnTo>
                    <a:lnTo>
                      <a:pt x="282" y="27"/>
                    </a:lnTo>
                    <a:lnTo>
                      <a:pt x="283" y="28"/>
                    </a:lnTo>
                    <a:lnTo>
                      <a:pt x="282" y="30"/>
                    </a:lnTo>
                    <a:lnTo>
                      <a:pt x="283" y="30"/>
                    </a:lnTo>
                    <a:lnTo>
                      <a:pt x="283" y="31"/>
                    </a:lnTo>
                    <a:lnTo>
                      <a:pt x="283" y="33"/>
                    </a:lnTo>
                    <a:lnTo>
                      <a:pt x="285" y="35"/>
                    </a:lnTo>
                    <a:lnTo>
                      <a:pt x="285" y="36"/>
                    </a:lnTo>
                    <a:lnTo>
                      <a:pt x="286" y="36"/>
                    </a:lnTo>
                    <a:lnTo>
                      <a:pt x="286" y="38"/>
                    </a:lnTo>
                    <a:lnTo>
                      <a:pt x="285" y="39"/>
                    </a:lnTo>
                    <a:lnTo>
                      <a:pt x="285" y="41"/>
                    </a:lnTo>
                    <a:lnTo>
                      <a:pt x="285" y="42"/>
                    </a:lnTo>
                    <a:lnTo>
                      <a:pt x="285" y="44"/>
                    </a:lnTo>
                    <a:lnTo>
                      <a:pt x="285" y="46"/>
                    </a:lnTo>
                    <a:lnTo>
                      <a:pt x="283" y="47"/>
                    </a:lnTo>
                    <a:lnTo>
                      <a:pt x="282" y="49"/>
                    </a:lnTo>
                    <a:lnTo>
                      <a:pt x="282" y="50"/>
                    </a:lnTo>
                    <a:lnTo>
                      <a:pt x="282" y="52"/>
                    </a:lnTo>
                    <a:lnTo>
                      <a:pt x="283" y="54"/>
                    </a:lnTo>
                    <a:lnTo>
                      <a:pt x="283" y="55"/>
                    </a:lnTo>
                    <a:lnTo>
                      <a:pt x="283" y="57"/>
                    </a:lnTo>
                    <a:lnTo>
                      <a:pt x="283" y="58"/>
                    </a:lnTo>
                    <a:lnTo>
                      <a:pt x="282" y="58"/>
                    </a:lnTo>
                    <a:lnTo>
                      <a:pt x="282" y="60"/>
                    </a:lnTo>
                    <a:lnTo>
                      <a:pt x="280" y="60"/>
                    </a:lnTo>
                    <a:lnTo>
                      <a:pt x="280" y="61"/>
                    </a:lnTo>
                    <a:lnTo>
                      <a:pt x="280" y="63"/>
                    </a:lnTo>
                    <a:lnTo>
                      <a:pt x="280" y="65"/>
                    </a:lnTo>
                    <a:lnTo>
                      <a:pt x="278" y="65"/>
                    </a:lnTo>
                    <a:lnTo>
                      <a:pt x="278" y="66"/>
                    </a:lnTo>
                    <a:lnTo>
                      <a:pt x="277" y="66"/>
                    </a:lnTo>
                    <a:lnTo>
                      <a:pt x="277" y="68"/>
                    </a:lnTo>
                    <a:lnTo>
                      <a:pt x="275" y="69"/>
                    </a:lnTo>
                    <a:lnTo>
                      <a:pt x="277" y="69"/>
                    </a:lnTo>
                    <a:lnTo>
                      <a:pt x="277" y="71"/>
                    </a:lnTo>
                    <a:lnTo>
                      <a:pt x="275" y="71"/>
                    </a:lnTo>
                    <a:lnTo>
                      <a:pt x="275" y="73"/>
                    </a:lnTo>
                    <a:lnTo>
                      <a:pt x="274" y="73"/>
                    </a:lnTo>
                    <a:lnTo>
                      <a:pt x="274" y="74"/>
                    </a:lnTo>
                    <a:lnTo>
                      <a:pt x="272" y="74"/>
                    </a:lnTo>
                    <a:lnTo>
                      <a:pt x="272" y="76"/>
                    </a:lnTo>
                    <a:lnTo>
                      <a:pt x="272" y="77"/>
                    </a:lnTo>
                    <a:lnTo>
                      <a:pt x="272" y="79"/>
                    </a:lnTo>
                    <a:lnTo>
                      <a:pt x="270" y="80"/>
                    </a:lnTo>
                    <a:lnTo>
                      <a:pt x="269" y="82"/>
                    </a:lnTo>
                    <a:lnTo>
                      <a:pt x="269" y="84"/>
                    </a:lnTo>
                    <a:lnTo>
                      <a:pt x="269" y="85"/>
                    </a:lnTo>
                    <a:lnTo>
                      <a:pt x="267" y="87"/>
                    </a:lnTo>
                    <a:lnTo>
                      <a:pt x="266" y="88"/>
                    </a:lnTo>
                    <a:lnTo>
                      <a:pt x="266" y="90"/>
                    </a:lnTo>
                    <a:lnTo>
                      <a:pt x="264" y="90"/>
                    </a:lnTo>
                    <a:lnTo>
                      <a:pt x="264" y="92"/>
                    </a:lnTo>
                    <a:lnTo>
                      <a:pt x="264" y="93"/>
                    </a:lnTo>
                    <a:lnTo>
                      <a:pt x="264" y="95"/>
                    </a:lnTo>
                    <a:lnTo>
                      <a:pt x="264" y="96"/>
                    </a:lnTo>
                    <a:lnTo>
                      <a:pt x="264" y="98"/>
                    </a:lnTo>
                    <a:lnTo>
                      <a:pt x="263" y="98"/>
                    </a:lnTo>
                    <a:lnTo>
                      <a:pt x="263" y="100"/>
                    </a:lnTo>
                    <a:lnTo>
                      <a:pt x="261" y="101"/>
                    </a:lnTo>
                    <a:lnTo>
                      <a:pt x="259" y="101"/>
                    </a:lnTo>
                    <a:lnTo>
                      <a:pt x="259" y="103"/>
                    </a:lnTo>
                    <a:lnTo>
                      <a:pt x="259" y="104"/>
                    </a:lnTo>
                    <a:lnTo>
                      <a:pt x="258" y="104"/>
                    </a:lnTo>
                    <a:lnTo>
                      <a:pt x="258" y="106"/>
                    </a:lnTo>
                    <a:lnTo>
                      <a:pt x="256" y="106"/>
                    </a:lnTo>
                    <a:lnTo>
                      <a:pt x="256" y="107"/>
                    </a:lnTo>
                    <a:lnTo>
                      <a:pt x="256" y="109"/>
                    </a:lnTo>
                    <a:lnTo>
                      <a:pt x="258" y="111"/>
                    </a:lnTo>
                    <a:lnTo>
                      <a:pt x="259" y="111"/>
                    </a:lnTo>
                    <a:lnTo>
                      <a:pt x="261" y="111"/>
                    </a:lnTo>
                    <a:lnTo>
                      <a:pt x="261" y="112"/>
                    </a:lnTo>
                    <a:lnTo>
                      <a:pt x="263" y="112"/>
                    </a:lnTo>
                    <a:lnTo>
                      <a:pt x="263" y="114"/>
                    </a:lnTo>
                    <a:lnTo>
                      <a:pt x="263" y="115"/>
                    </a:lnTo>
                    <a:lnTo>
                      <a:pt x="263" y="117"/>
                    </a:lnTo>
                    <a:lnTo>
                      <a:pt x="264" y="117"/>
                    </a:lnTo>
                    <a:lnTo>
                      <a:pt x="266" y="117"/>
                    </a:lnTo>
                    <a:lnTo>
                      <a:pt x="267" y="117"/>
                    </a:lnTo>
                    <a:lnTo>
                      <a:pt x="267" y="115"/>
                    </a:lnTo>
                    <a:lnTo>
                      <a:pt x="269" y="115"/>
                    </a:lnTo>
                    <a:lnTo>
                      <a:pt x="270" y="114"/>
                    </a:lnTo>
                    <a:lnTo>
                      <a:pt x="270" y="112"/>
                    </a:lnTo>
                    <a:lnTo>
                      <a:pt x="269" y="112"/>
                    </a:lnTo>
                    <a:lnTo>
                      <a:pt x="269" y="111"/>
                    </a:lnTo>
                    <a:lnTo>
                      <a:pt x="270" y="111"/>
                    </a:lnTo>
                    <a:lnTo>
                      <a:pt x="270" y="109"/>
                    </a:lnTo>
                    <a:lnTo>
                      <a:pt x="272" y="107"/>
                    </a:lnTo>
                    <a:lnTo>
                      <a:pt x="274" y="107"/>
                    </a:lnTo>
                    <a:lnTo>
                      <a:pt x="275" y="107"/>
                    </a:lnTo>
                    <a:lnTo>
                      <a:pt x="277" y="106"/>
                    </a:lnTo>
                    <a:lnTo>
                      <a:pt x="277" y="107"/>
                    </a:lnTo>
                    <a:lnTo>
                      <a:pt x="278" y="106"/>
                    </a:lnTo>
                    <a:lnTo>
                      <a:pt x="280" y="106"/>
                    </a:lnTo>
                    <a:lnTo>
                      <a:pt x="282" y="106"/>
                    </a:lnTo>
                    <a:lnTo>
                      <a:pt x="283" y="106"/>
                    </a:lnTo>
                    <a:lnTo>
                      <a:pt x="285" y="106"/>
                    </a:lnTo>
                    <a:lnTo>
                      <a:pt x="286" y="107"/>
                    </a:lnTo>
                    <a:lnTo>
                      <a:pt x="288" y="107"/>
                    </a:lnTo>
                    <a:lnTo>
                      <a:pt x="289" y="109"/>
                    </a:lnTo>
                    <a:lnTo>
                      <a:pt x="289" y="111"/>
                    </a:lnTo>
                    <a:lnTo>
                      <a:pt x="291" y="111"/>
                    </a:lnTo>
                    <a:lnTo>
                      <a:pt x="291" y="112"/>
                    </a:lnTo>
                    <a:lnTo>
                      <a:pt x="293" y="112"/>
                    </a:lnTo>
                    <a:lnTo>
                      <a:pt x="293" y="114"/>
                    </a:lnTo>
                    <a:lnTo>
                      <a:pt x="294" y="114"/>
                    </a:lnTo>
                    <a:lnTo>
                      <a:pt x="294" y="115"/>
                    </a:lnTo>
                    <a:lnTo>
                      <a:pt x="296" y="115"/>
                    </a:lnTo>
                    <a:lnTo>
                      <a:pt x="296" y="117"/>
                    </a:lnTo>
                    <a:lnTo>
                      <a:pt x="297" y="119"/>
                    </a:lnTo>
                    <a:lnTo>
                      <a:pt x="297" y="120"/>
                    </a:lnTo>
                    <a:lnTo>
                      <a:pt x="297" y="122"/>
                    </a:lnTo>
                    <a:lnTo>
                      <a:pt x="299" y="122"/>
                    </a:lnTo>
                    <a:lnTo>
                      <a:pt x="299" y="123"/>
                    </a:lnTo>
                    <a:lnTo>
                      <a:pt x="299" y="125"/>
                    </a:lnTo>
                    <a:lnTo>
                      <a:pt x="299" y="126"/>
                    </a:lnTo>
                    <a:lnTo>
                      <a:pt x="299" y="128"/>
                    </a:lnTo>
                    <a:lnTo>
                      <a:pt x="297" y="130"/>
                    </a:lnTo>
                    <a:lnTo>
                      <a:pt x="297" y="131"/>
                    </a:lnTo>
                    <a:lnTo>
                      <a:pt x="297" y="133"/>
                    </a:lnTo>
                    <a:lnTo>
                      <a:pt x="297" y="134"/>
                    </a:lnTo>
                    <a:lnTo>
                      <a:pt x="297" y="136"/>
                    </a:lnTo>
                    <a:lnTo>
                      <a:pt x="299" y="138"/>
                    </a:lnTo>
                    <a:lnTo>
                      <a:pt x="299" y="139"/>
                    </a:lnTo>
                    <a:lnTo>
                      <a:pt x="299" y="141"/>
                    </a:lnTo>
                    <a:lnTo>
                      <a:pt x="299" y="142"/>
                    </a:lnTo>
                    <a:lnTo>
                      <a:pt x="301" y="144"/>
                    </a:lnTo>
                    <a:lnTo>
                      <a:pt x="301" y="145"/>
                    </a:lnTo>
                    <a:lnTo>
                      <a:pt x="301" y="147"/>
                    </a:lnTo>
                    <a:lnTo>
                      <a:pt x="302" y="149"/>
                    </a:lnTo>
                    <a:lnTo>
                      <a:pt x="302" y="150"/>
                    </a:lnTo>
                    <a:lnTo>
                      <a:pt x="302" y="152"/>
                    </a:lnTo>
                    <a:lnTo>
                      <a:pt x="304" y="152"/>
                    </a:lnTo>
                    <a:lnTo>
                      <a:pt x="304" y="153"/>
                    </a:lnTo>
                    <a:lnTo>
                      <a:pt x="304" y="155"/>
                    </a:lnTo>
                    <a:lnTo>
                      <a:pt x="304" y="157"/>
                    </a:lnTo>
                    <a:lnTo>
                      <a:pt x="304" y="158"/>
                    </a:lnTo>
                    <a:lnTo>
                      <a:pt x="305" y="160"/>
                    </a:lnTo>
                    <a:lnTo>
                      <a:pt x="307" y="160"/>
                    </a:lnTo>
                    <a:lnTo>
                      <a:pt x="307" y="161"/>
                    </a:lnTo>
                    <a:lnTo>
                      <a:pt x="308" y="161"/>
                    </a:lnTo>
                    <a:lnTo>
                      <a:pt x="308" y="163"/>
                    </a:lnTo>
                    <a:lnTo>
                      <a:pt x="308" y="164"/>
                    </a:lnTo>
                    <a:lnTo>
                      <a:pt x="308" y="166"/>
                    </a:lnTo>
                    <a:lnTo>
                      <a:pt x="308" y="168"/>
                    </a:lnTo>
                    <a:lnTo>
                      <a:pt x="308" y="169"/>
                    </a:lnTo>
                    <a:lnTo>
                      <a:pt x="308" y="171"/>
                    </a:lnTo>
                    <a:lnTo>
                      <a:pt x="310" y="172"/>
                    </a:lnTo>
                    <a:lnTo>
                      <a:pt x="310" y="174"/>
                    </a:lnTo>
                    <a:lnTo>
                      <a:pt x="312" y="174"/>
                    </a:lnTo>
                    <a:lnTo>
                      <a:pt x="312" y="176"/>
                    </a:lnTo>
                    <a:lnTo>
                      <a:pt x="315" y="177"/>
                    </a:lnTo>
                    <a:lnTo>
                      <a:pt x="315" y="179"/>
                    </a:lnTo>
                    <a:lnTo>
                      <a:pt x="316" y="179"/>
                    </a:lnTo>
                    <a:lnTo>
                      <a:pt x="316" y="180"/>
                    </a:lnTo>
                    <a:lnTo>
                      <a:pt x="318" y="182"/>
                    </a:lnTo>
                    <a:lnTo>
                      <a:pt x="318" y="183"/>
                    </a:lnTo>
                    <a:lnTo>
                      <a:pt x="320" y="183"/>
                    </a:lnTo>
                    <a:lnTo>
                      <a:pt x="320" y="185"/>
                    </a:lnTo>
                    <a:lnTo>
                      <a:pt x="321" y="187"/>
                    </a:lnTo>
                    <a:lnTo>
                      <a:pt x="321" y="188"/>
                    </a:lnTo>
                    <a:lnTo>
                      <a:pt x="323" y="190"/>
                    </a:lnTo>
                    <a:lnTo>
                      <a:pt x="324" y="191"/>
                    </a:lnTo>
                    <a:lnTo>
                      <a:pt x="324" y="193"/>
                    </a:lnTo>
                    <a:lnTo>
                      <a:pt x="326" y="195"/>
                    </a:lnTo>
                    <a:lnTo>
                      <a:pt x="326" y="196"/>
                    </a:lnTo>
                    <a:lnTo>
                      <a:pt x="327" y="196"/>
                    </a:lnTo>
                    <a:lnTo>
                      <a:pt x="327" y="198"/>
                    </a:lnTo>
                    <a:lnTo>
                      <a:pt x="329" y="199"/>
                    </a:lnTo>
                    <a:lnTo>
                      <a:pt x="329" y="201"/>
                    </a:lnTo>
                    <a:lnTo>
                      <a:pt x="327" y="202"/>
                    </a:lnTo>
                    <a:lnTo>
                      <a:pt x="327" y="204"/>
                    </a:lnTo>
                    <a:lnTo>
                      <a:pt x="327" y="206"/>
                    </a:lnTo>
                    <a:lnTo>
                      <a:pt x="327" y="207"/>
                    </a:lnTo>
                    <a:lnTo>
                      <a:pt x="326" y="209"/>
                    </a:lnTo>
                    <a:lnTo>
                      <a:pt x="326" y="210"/>
                    </a:lnTo>
                    <a:lnTo>
                      <a:pt x="324" y="210"/>
                    </a:lnTo>
                    <a:lnTo>
                      <a:pt x="324" y="212"/>
                    </a:lnTo>
                    <a:lnTo>
                      <a:pt x="324" y="214"/>
                    </a:lnTo>
                    <a:lnTo>
                      <a:pt x="324" y="215"/>
                    </a:lnTo>
                    <a:lnTo>
                      <a:pt x="326" y="215"/>
                    </a:lnTo>
                    <a:lnTo>
                      <a:pt x="326" y="217"/>
                    </a:lnTo>
                    <a:lnTo>
                      <a:pt x="327" y="217"/>
                    </a:lnTo>
                    <a:lnTo>
                      <a:pt x="327" y="218"/>
                    </a:lnTo>
                    <a:lnTo>
                      <a:pt x="329" y="218"/>
                    </a:lnTo>
                    <a:lnTo>
                      <a:pt x="329" y="220"/>
                    </a:lnTo>
                    <a:lnTo>
                      <a:pt x="329" y="221"/>
                    </a:lnTo>
                    <a:lnTo>
                      <a:pt x="329" y="223"/>
                    </a:lnTo>
                    <a:lnTo>
                      <a:pt x="329" y="225"/>
                    </a:lnTo>
                    <a:lnTo>
                      <a:pt x="329" y="226"/>
                    </a:lnTo>
                    <a:lnTo>
                      <a:pt x="329" y="228"/>
                    </a:lnTo>
                    <a:lnTo>
                      <a:pt x="329" y="229"/>
                    </a:lnTo>
                    <a:lnTo>
                      <a:pt x="327" y="229"/>
                    </a:lnTo>
                    <a:lnTo>
                      <a:pt x="329" y="231"/>
                    </a:lnTo>
                    <a:lnTo>
                      <a:pt x="329" y="233"/>
                    </a:lnTo>
                    <a:lnTo>
                      <a:pt x="329" y="234"/>
                    </a:lnTo>
                    <a:lnTo>
                      <a:pt x="331" y="236"/>
                    </a:lnTo>
                    <a:lnTo>
                      <a:pt x="329" y="236"/>
                    </a:lnTo>
                    <a:lnTo>
                      <a:pt x="329" y="237"/>
                    </a:lnTo>
                    <a:lnTo>
                      <a:pt x="329" y="239"/>
                    </a:lnTo>
                    <a:lnTo>
                      <a:pt x="329" y="240"/>
                    </a:lnTo>
                    <a:lnTo>
                      <a:pt x="329" y="242"/>
                    </a:lnTo>
                    <a:lnTo>
                      <a:pt x="331" y="242"/>
                    </a:lnTo>
                    <a:lnTo>
                      <a:pt x="331" y="244"/>
                    </a:lnTo>
                    <a:lnTo>
                      <a:pt x="331" y="245"/>
                    </a:lnTo>
                    <a:lnTo>
                      <a:pt x="329" y="245"/>
                    </a:lnTo>
                    <a:lnTo>
                      <a:pt x="329" y="247"/>
                    </a:lnTo>
                    <a:lnTo>
                      <a:pt x="329" y="248"/>
                    </a:lnTo>
                    <a:lnTo>
                      <a:pt x="329" y="250"/>
                    </a:lnTo>
                    <a:lnTo>
                      <a:pt x="329" y="252"/>
                    </a:lnTo>
                    <a:lnTo>
                      <a:pt x="329" y="253"/>
                    </a:lnTo>
                    <a:lnTo>
                      <a:pt x="331" y="253"/>
                    </a:lnTo>
                    <a:lnTo>
                      <a:pt x="331" y="255"/>
                    </a:lnTo>
                    <a:lnTo>
                      <a:pt x="332" y="256"/>
                    </a:lnTo>
                    <a:lnTo>
                      <a:pt x="332" y="258"/>
                    </a:lnTo>
                    <a:lnTo>
                      <a:pt x="332" y="259"/>
                    </a:lnTo>
                    <a:lnTo>
                      <a:pt x="332" y="261"/>
                    </a:lnTo>
                    <a:lnTo>
                      <a:pt x="332" y="263"/>
                    </a:lnTo>
                    <a:lnTo>
                      <a:pt x="334" y="263"/>
                    </a:lnTo>
                    <a:lnTo>
                      <a:pt x="334" y="264"/>
                    </a:lnTo>
                    <a:lnTo>
                      <a:pt x="332" y="264"/>
                    </a:lnTo>
                    <a:lnTo>
                      <a:pt x="334" y="266"/>
                    </a:lnTo>
                    <a:lnTo>
                      <a:pt x="334" y="267"/>
                    </a:lnTo>
                    <a:lnTo>
                      <a:pt x="332" y="267"/>
                    </a:lnTo>
                    <a:lnTo>
                      <a:pt x="334" y="267"/>
                    </a:lnTo>
                    <a:lnTo>
                      <a:pt x="334" y="269"/>
                    </a:lnTo>
                    <a:lnTo>
                      <a:pt x="335" y="271"/>
                    </a:lnTo>
                    <a:lnTo>
                      <a:pt x="337" y="272"/>
                    </a:lnTo>
                    <a:lnTo>
                      <a:pt x="337" y="274"/>
                    </a:lnTo>
                    <a:lnTo>
                      <a:pt x="339" y="274"/>
                    </a:lnTo>
                    <a:lnTo>
                      <a:pt x="339" y="275"/>
                    </a:lnTo>
                    <a:lnTo>
                      <a:pt x="340" y="275"/>
                    </a:lnTo>
                    <a:lnTo>
                      <a:pt x="340" y="277"/>
                    </a:lnTo>
                    <a:lnTo>
                      <a:pt x="342" y="277"/>
                    </a:lnTo>
                    <a:lnTo>
                      <a:pt x="342" y="279"/>
                    </a:lnTo>
                    <a:lnTo>
                      <a:pt x="343" y="279"/>
                    </a:lnTo>
                    <a:lnTo>
                      <a:pt x="343" y="280"/>
                    </a:lnTo>
                    <a:lnTo>
                      <a:pt x="345" y="280"/>
                    </a:lnTo>
                    <a:lnTo>
                      <a:pt x="345" y="282"/>
                    </a:lnTo>
                    <a:lnTo>
                      <a:pt x="346" y="282"/>
                    </a:lnTo>
                    <a:lnTo>
                      <a:pt x="346" y="283"/>
                    </a:lnTo>
                    <a:lnTo>
                      <a:pt x="348" y="283"/>
                    </a:lnTo>
                    <a:lnTo>
                      <a:pt x="350" y="285"/>
                    </a:lnTo>
                    <a:lnTo>
                      <a:pt x="350" y="286"/>
                    </a:lnTo>
                    <a:lnTo>
                      <a:pt x="351" y="286"/>
                    </a:lnTo>
                    <a:lnTo>
                      <a:pt x="353" y="288"/>
                    </a:lnTo>
                    <a:lnTo>
                      <a:pt x="354" y="290"/>
                    </a:lnTo>
                    <a:lnTo>
                      <a:pt x="356" y="290"/>
                    </a:lnTo>
                    <a:lnTo>
                      <a:pt x="356" y="291"/>
                    </a:lnTo>
                    <a:lnTo>
                      <a:pt x="358" y="291"/>
                    </a:lnTo>
                    <a:lnTo>
                      <a:pt x="358" y="293"/>
                    </a:lnTo>
                    <a:lnTo>
                      <a:pt x="359" y="293"/>
                    </a:lnTo>
                    <a:lnTo>
                      <a:pt x="359" y="294"/>
                    </a:lnTo>
                    <a:lnTo>
                      <a:pt x="361" y="296"/>
                    </a:lnTo>
                    <a:lnTo>
                      <a:pt x="362" y="298"/>
                    </a:lnTo>
                    <a:lnTo>
                      <a:pt x="362" y="299"/>
                    </a:lnTo>
                    <a:lnTo>
                      <a:pt x="362" y="301"/>
                    </a:lnTo>
                    <a:lnTo>
                      <a:pt x="362" y="302"/>
                    </a:lnTo>
                    <a:lnTo>
                      <a:pt x="362" y="304"/>
                    </a:lnTo>
                    <a:lnTo>
                      <a:pt x="362" y="305"/>
                    </a:lnTo>
                    <a:lnTo>
                      <a:pt x="364" y="307"/>
                    </a:lnTo>
                    <a:lnTo>
                      <a:pt x="366" y="309"/>
                    </a:lnTo>
                    <a:lnTo>
                      <a:pt x="366" y="310"/>
                    </a:lnTo>
                    <a:lnTo>
                      <a:pt x="366" y="312"/>
                    </a:lnTo>
                    <a:lnTo>
                      <a:pt x="367" y="312"/>
                    </a:lnTo>
                    <a:lnTo>
                      <a:pt x="367" y="313"/>
                    </a:lnTo>
                    <a:lnTo>
                      <a:pt x="369" y="313"/>
                    </a:lnTo>
                    <a:lnTo>
                      <a:pt x="369" y="315"/>
                    </a:lnTo>
                    <a:lnTo>
                      <a:pt x="370" y="315"/>
                    </a:lnTo>
                    <a:lnTo>
                      <a:pt x="370" y="317"/>
                    </a:lnTo>
                    <a:lnTo>
                      <a:pt x="372" y="318"/>
                    </a:lnTo>
                    <a:lnTo>
                      <a:pt x="372" y="320"/>
                    </a:lnTo>
                    <a:lnTo>
                      <a:pt x="373" y="320"/>
                    </a:lnTo>
                    <a:lnTo>
                      <a:pt x="373" y="321"/>
                    </a:lnTo>
                    <a:lnTo>
                      <a:pt x="372" y="321"/>
                    </a:lnTo>
                    <a:lnTo>
                      <a:pt x="372" y="323"/>
                    </a:lnTo>
                    <a:lnTo>
                      <a:pt x="372" y="324"/>
                    </a:lnTo>
                    <a:lnTo>
                      <a:pt x="373" y="326"/>
                    </a:lnTo>
                    <a:lnTo>
                      <a:pt x="373" y="328"/>
                    </a:lnTo>
                    <a:lnTo>
                      <a:pt x="375" y="328"/>
                    </a:lnTo>
                    <a:lnTo>
                      <a:pt x="375" y="329"/>
                    </a:lnTo>
                    <a:lnTo>
                      <a:pt x="375" y="331"/>
                    </a:lnTo>
                    <a:lnTo>
                      <a:pt x="375" y="332"/>
                    </a:lnTo>
                    <a:lnTo>
                      <a:pt x="375" y="334"/>
                    </a:lnTo>
                    <a:lnTo>
                      <a:pt x="373" y="334"/>
                    </a:lnTo>
                    <a:lnTo>
                      <a:pt x="375" y="334"/>
                    </a:lnTo>
                    <a:lnTo>
                      <a:pt x="375" y="336"/>
                    </a:lnTo>
                    <a:lnTo>
                      <a:pt x="375" y="337"/>
                    </a:lnTo>
                    <a:lnTo>
                      <a:pt x="375" y="339"/>
                    </a:lnTo>
                    <a:lnTo>
                      <a:pt x="375" y="340"/>
                    </a:lnTo>
                    <a:lnTo>
                      <a:pt x="375" y="342"/>
                    </a:lnTo>
                    <a:lnTo>
                      <a:pt x="377" y="342"/>
                    </a:lnTo>
                    <a:lnTo>
                      <a:pt x="377" y="343"/>
                    </a:lnTo>
                    <a:lnTo>
                      <a:pt x="378" y="345"/>
                    </a:lnTo>
                    <a:lnTo>
                      <a:pt x="378" y="347"/>
                    </a:lnTo>
                    <a:lnTo>
                      <a:pt x="378" y="348"/>
                    </a:lnTo>
                    <a:lnTo>
                      <a:pt x="378" y="350"/>
                    </a:lnTo>
                    <a:lnTo>
                      <a:pt x="380" y="350"/>
                    </a:lnTo>
                    <a:lnTo>
                      <a:pt x="380" y="351"/>
                    </a:lnTo>
                    <a:lnTo>
                      <a:pt x="380" y="353"/>
                    </a:lnTo>
                    <a:lnTo>
                      <a:pt x="380" y="355"/>
                    </a:lnTo>
                    <a:lnTo>
                      <a:pt x="380" y="356"/>
                    </a:lnTo>
                    <a:lnTo>
                      <a:pt x="381" y="356"/>
                    </a:lnTo>
                    <a:lnTo>
                      <a:pt x="381" y="358"/>
                    </a:lnTo>
                    <a:lnTo>
                      <a:pt x="383" y="359"/>
                    </a:lnTo>
                    <a:lnTo>
                      <a:pt x="381" y="359"/>
                    </a:lnTo>
                    <a:lnTo>
                      <a:pt x="381" y="361"/>
                    </a:lnTo>
                    <a:lnTo>
                      <a:pt x="383" y="361"/>
                    </a:lnTo>
                    <a:lnTo>
                      <a:pt x="383" y="362"/>
                    </a:lnTo>
                    <a:lnTo>
                      <a:pt x="383" y="364"/>
                    </a:lnTo>
                    <a:lnTo>
                      <a:pt x="383" y="366"/>
                    </a:lnTo>
                    <a:lnTo>
                      <a:pt x="381" y="367"/>
                    </a:lnTo>
                    <a:lnTo>
                      <a:pt x="383" y="367"/>
                    </a:lnTo>
                    <a:lnTo>
                      <a:pt x="383" y="369"/>
                    </a:lnTo>
                    <a:lnTo>
                      <a:pt x="383" y="370"/>
                    </a:lnTo>
                    <a:lnTo>
                      <a:pt x="383" y="372"/>
                    </a:lnTo>
                    <a:lnTo>
                      <a:pt x="381" y="372"/>
                    </a:lnTo>
                    <a:lnTo>
                      <a:pt x="381" y="374"/>
                    </a:lnTo>
                    <a:lnTo>
                      <a:pt x="383" y="374"/>
                    </a:lnTo>
                    <a:lnTo>
                      <a:pt x="383" y="375"/>
                    </a:lnTo>
                    <a:lnTo>
                      <a:pt x="381" y="375"/>
                    </a:lnTo>
                    <a:lnTo>
                      <a:pt x="381" y="377"/>
                    </a:lnTo>
                    <a:lnTo>
                      <a:pt x="383" y="377"/>
                    </a:lnTo>
                    <a:lnTo>
                      <a:pt x="385" y="378"/>
                    </a:lnTo>
                    <a:lnTo>
                      <a:pt x="383" y="378"/>
                    </a:lnTo>
                    <a:lnTo>
                      <a:pt x="383" y="380"/>
                    </a:lnTo>
                    <a:lnTo>
                      <a:pt x="383" y="381"/>
                    </a:lnTo>
                    <a:lnTo>
                      <a:pt x="381" y="381"/>
                    </a:lnTo>
                    <a:lnTo>
                      <a:pt x="381" y="383"/>
                    </a:lnTo>
                    <a:lnTo>
                      <a:pt x="380" y="385"/>
                    </a:lnTo>
                    <a:lnTo>
                      <a:pt x="380" y="386"/>
                    </a:lnTo>
                    <a:lnTo>
                      <a:pt x="378" y="386"/>
                    </a:lnTo>
                    <a:lnTo>
                      <a:pt x="377" y="385"/>
                    </a:lnTo>
                    <a:lnTo>
                      <a:pt x="377" y="386"/>
                    </a:lnTo>
                    <a:lnTo>
                      <a:pt x="377" y="388"/>
                    </a:lnTo>
                    <a:lnTo>
                      <a:pt x="377" y="389"/>
                    </a:lnTo>
                    <a:lnTo>
                      <a:pt x="377" y="391"/>
                    </a:lnTo>
                    <a:lnTo>
                      <a:pt x="377" y="393"/>
                    </a:lnTo>
                    <a:lnTo>
                      <a:pt x="375" y="393"/>
                    </a:lnTo>
                    <a:lnTo>
                      <a:pt x="373" y="393"/>
                    </a:lnTo>
                    <a:lnTo>
                      <a:pt x="373" y="394"/>
                    </a:lnTo>
                    <a:lnTo>
                      <a:pt x="373" y="396"/>
                    </a:lnTo>
                    <a:lnTo>
                      <a:pt x="373" y="397"/>
                    </a:lnTo>
                    <a:lnTo>
                      <a:pt x="372" y="399"/>
                    </a:lnTo>
                    <a:lnTo>
                      <a:pt x="372" y="400"/>
                    </a:lnTo>
                    <a:lnTo>
                      <a:pt x="372" y="402"/>
                    </a:lnTo>
                    <a:lnTo>
                      <a:pt x="372" y="404"/>
                    </a:lnTo>
                    <a:lnTo>
                      <a:pt x="372" y="405"/>
                    </a:lnTo>
                    <a:lnTo>
                      <a:pt x="372" y="407"/>
                    </a:lnTo>
                    <a:lnTo>
                      <a:pt x="370" y="408"/>
                    </a:lnTo>
                    <a:lnTo>
                      <a:pt x="370" y="410"/>
                    </a:lnTo>
                    <a:lnTo>
                      <a:pt x="369" y="410"/>
                    </a:lnTo>
                    <a:lnTo>
                      <a:pt x="369" y="412"/>
                    </a:lnTo>
                    <a:lnTo>
                      <a:pt x="369" y="413"/>
                    </a:lnTo>
                    <a:lnTo>
                      <a:pt x="369" y="415"/>
                    </a:lnTo>
                    <a:lnTo>
                      <a:pt x="367" y="415"/>
                    </a:lnTo>
                    <a:lnTo>
                      <a:pt x="367" y="416"/>
                    </a:lnTo>
                    <a:lnTo>
                      <a:pt x="367" y="418"/>
                    </a:lnTo>
                    <a:lnTo>
                      <a:pt x="367" y="419"/>
                    </a:lnTo>
                    <a:lnTo>
                      <a:pt x="367" y="421"/>
                    </a:lnTo>
                    <a:lnTo>
                      <a:pt x="369" y="421"/>
                    </a:lnTo>
                    <a:lnTo>
                      <a:pt x="369" y="423"/>
                    </a:lnTo>
                    <a:lnTo>
                      <a:pt x="370" y="423"/>
                    </a:lnTo>
                    <a:lnTo>
                      <a:pt x="370" y="424"/>
                    </a:lnTo>
                    <a:lnTo>
                      <a:pt x="370" y="426"/>
                    </a:lnTo>
                    <a:lnTo>
                      <a:pt x="370" y="427"/>
                    </a:lnTo>
                    <a:lnTo>
                      <a:pt x="372" y="427"/>
                    </a:lnTo>
                    <a:lnTo>
                      <a:pt x="372" y="429"/>
                    </a:lnTo>
                    <a:lnTo>
                      <a:pt x="373" y="429"/>
                    </a:lnTo>
                    <a:lnTo>
                      <a:pt x="372" y="431"/>
                    </a:lnTo>
                    <a:lnTo>
                      <a:pt x="372" y="432"/>
                    </a:lnTo>
                    <a:lnTo>
                      <a:pt x="372" y="434"/>
                    </a:lnTo>
                    <a:lnTo>
                      <a:pt x="372" y="435"/>
                    </a:lnTo>
                    <a:lnTo>
                      <a:pt x="372" y="437"/>
                    </a:lnTo>
                    <a:lnTo>
                      <a:pt x="373" y="437"/>
                    </a:lnTo>
                    <a:lnTo>
                      <a:pt x="373" y="438"/>
                    </a:lnTo>
                    <a:lnTo>
                      <a:pt x="373" y="440"/>
                    </a:lnTo>
                    <a:lnTo>
                      <a:pt x="372" y="442"/>
                    </a:lnTo>
                    <a:lnTo>
                      <a:pt x="373" y="443"/>
                    </a:lnTo>
                    <a:lnTo>
                      <a:pt x="373" y="445"/>
                    </a:lnTo>
                    <a:lnTo>
                      <a:pt x="373" y="446"/>
                    </a:lnTo>
                    <a:lnTo>
                      <a:pt x="373" y="448"/>
                    </a:lnTo>
                    <a:lnTo>
                      <a:pt x="375" y="448"/>
                    </a:lnTo>
                    <a:lnTo>
                      <a:pt x="377" y="448"/>
                    </a:lnTo>
                    <a:lnTo>
                      <a:pt x="378" y="446"/>
                    </a:lnTo>
                    <a:lnTo>
                      <a:pt x="378" y="448"/>
                    </a:lnTo>
                    <a:lnTo>
                      <a:pt x="378" y="450"/>
                    </a:lnTo>
                    <a:lnTo>
                      <a:pt x="380" y="450"/>
                    </a:lnTo>
                    <a:lnTo>
                      <a:pt x="380" y="451"/>
                    </a:lnTo>
                    <a:lnTo>
                      <a:pt x="378" y="451"/>
                    </a:lnTo>
                    <a:lnTo>
                      <a:pt x="378" y="453"/>
                    </a:lnTo>
                    <a:lnTo>
                      <a:pt x="378" y="454"/>
                    </a:lnTo>
                    <a:lnTo>
                      <a:pt x="377" y="454"/>
                    </a:lnTo>
                    <a:lnTo>
                      <a:pt x="377" y="456"/>
                    </a:lnTo>
                    <a:lnTo>
                      <a:pt x="378" y="457"/>
                    </a:lnTo>
                    <a:lnTo>
                      <a:pt x="378" y="459"/>
                    </a:lnTo>
                    <a:lnTo>
                      <a:pt x="378" y="461"/>
                    </a:lnTo>
                    <a:lnTo>
                      <a:pt x="380" y="462"/>
                    </a:lnTo>
                    <a:lnTo>
                      <a:pt x="380" y="464"/>
                    </a:lnTo>
                    <a:lnTo>
                      <a:pt x="381" y="464"/>
                    </a:lnTo>
                    <a:lnTo>
                      <a:pt x="381" y="465"/>
                    </a:lnTo>
                    <a:lnTo>
                      <a:pt x="383" y="465"/>
                    </a:lnTo>
                    <a:lnTo>
                      <a:pt x="383" y="467"/>
                    </a:lnTo>
                    <a:lnTo>
                      <a:pt x="383" y="469"/>
                    </a:lnTo>
                    <a:lnTo>
                      <a:pt x="385" y="469"/>
                    </a:lnTo>
                    <a:lnTo>
                      <a:pt x="385" y="470"/>
                    </a:lnTo>
                    <a:lnTo>
                      <a:pt x="386" y="470"/>
                    </a:lnTo>
                    <a:lnTo>
                      <a:pt x="386" y="472"/>
                    </a:lnTo>
                    <a:lnTo>
                      <a:pt x="386" y="473"/>
                    </a:lnTo>
                    <a:lnTo>
                      <a:pt x="388" y="473"/>
                    </a:lnTo>
                    <a:lnTo>
                      <a:pt x="388" y="475"/>
                    </a:lnTo>
                    <a:lnTo>
                      <a:pt x="389" y="477"/>
                    </a:lnTo>
                    <a:lnTo>
                      <a:pt x="391" y="478"/>
                    </a:lnTo>
                    <a:lnTo>
                      <a:pt x="392" y="478"/>
                    </a:lnTo>
                    <a:lnTo>
                      <a:pt x="392" y="480"/>
                    </a:lnTo>
                    <a:lnTo>
                      <a:pt x="392" y="481"/>
                    </a:lnTo>
                    <a:lnTo>
                      <a:pt x="394" y="481"/>
                    </a:lnTo>
                    <a:lnTo>
                      <a:pt x="394" y="483"/>
                    </a:lnTo>
                    <a:lnTo>
                      <a:pt x="394" y="484"/>
                    </a:lnTo>
                    <a:lnTo>
                      <a:pt x="394" y="486"/>
                    </a:lnTo>
                    <a:lnTo>
                      <a:pt x="396" y="486"/>
                    </a:lnTo>
                    <a:lnTo>
                      <a:pt x="396" y="488"/>
                    </a:lnTo>
                    <a:lnTo>
                      <a:pt x="396" y="489"/>
                    </a:lnTo>
                    <a:lnTo>
                      <a:pt x="396" y="491"/>
                    </a:lnTo>
                    <a:lnTo>
                      <a:pt x="396" y="492"/>
                    </a:lnTo>
                    <a:lnTo>
                      <a:pt x="396" y="494"/>
                    </a:lnTo>
                    <a:lnTo>
                      <a:pt x="396" y="496"/>
                    </a:lnTo>
                    <a:lnTo>
                      <a:pt x="396" y="497"/>
                    </a:lnTo>
                    <a:lnTo>
                      <a:pt x="396" y="499"/>
                    </a:lnTo>
                    <a:lnTo>
                      <a:pt x="396" y="500"/>
                    </a:lnTo>
                    <a:lnTo>
                      <a:pt x="396" y="502"/>
                    </a:lnTo>
                    <a:lnTo>
                      <a:pt x="396" y="503"/>
                    </a:lnTo>
                    <a:lnTo>
                      <a:pt x="397" y="503"/>
                    </a:lnTo>
                    <a:lnTo>
                      <a:pt x="397" y="505"/>
                    </a:lnTo>
                    <a:lnTo>
                      <a:pt x="397" y="507"/>
                    </a:lnTo>
                    <a:lnTo>
                      <a:pt x="397" y="508"/>
                    </a:lnTo>
                    <a:lnTo>
                      <a:pt x="397" y="510"/>
                    </a:lnTo>
                    <a:lnTo>
                      <a:pt x="397" y="511"/>
                    </a:lnTo>
                    <a:lnTo>
                      <a:pt x="397" y="513"/>
                    </a:lnTo>
                    <a:lnTo>
                      <a:pt x="397" y="515"/>
                    </a:lnTo>
                    <a:lnTo>
                      <a:pt x="397" y="516"/>
                    </a:lnTo>
                    <a:lnTo>
                      <a:pt x="399" y="518"/>
                    </a:lnTo>
                    <a:lnTo>
                      <a:pt x="399" y="519"/>
                    </a:lnTo>
                    <a:lnTo>
                      <a:pt x="400" y="521"/>
                    </a:lnTo>
                    <a:lnTo>
                      <a:pt x="402" y="521"/>
                    </a:lnTo>
                    <a:lnTo>
                      <a:pt x="402" y="519"/>
                    </a:lnTo>
                    <a:lnTo>
                      <a:pt x="404" y="518"/>
                    </a:lnTo>
                    <a:lnTo>
                      <a:pt x="404" y="516"/>
                    </a:lnTo>
                    <a:lnTo>
                      <a:pt x="405" y="516"/>
                    </a:lnTo>
                    <a:lnTo>
                      <a:pt x="407" y="515"/>
                    </a:lnTo>
                    <a:lnTo>
                      <a:pt x="408" y="515"/>
                    </a:lnTo>
                    <a:lnTo>
                      <a:pt x="408" y="516"/>
                    </a:lnTo>
                    <a:lnTo>
                      <a:pt x="410" y="516"/>
                    </a:lnTo>
                    <a:lnTo>
                      <a:pt x="410" y="518"/>
                    </a:lnTo>
                    <a:lnTo>
                      <a:pt x="411" y="518"/>
                    </a:lnTo>
                    <a:lnTo>
                      <a:pt x="411" y="519"/>
                    </a:lnTo>
                    <a:lnTo>
                      <a:pt x="411" y="521"/>
                    </a:lnTo>
                    <a:lnTo>
                      <a:pt x="411" y="522"/>
                    </a:lnTo>
                    <a:lnTo>
                      <a:pt x="411" y="524"/>
                    </a:lnTo>
                    <a:lnTo>
                      <a:pt x="410" y="524"/>
                    </a:lnTo>
                    <a:lnTo>
                      <a:pt x="410" y="526"/>
                    </a:lnTo>
                    <a:lnTo>
                      <a:pt x="410" y="527"/>
                    </a:lnTo>
                    <a:lnTo>
                      <a:pt x="408" y="527"/>
                    </a:lnTo>
                    <a:lnTo>
                      <a:pt x="408" y="529"/>
                    </a:lnTo>
                    <a:lnTo>
                      <a:pt x="408" y="530"/>
                    </a:lnTo>
                    <a:lnTo>
                      <a:pt x="408" y="532"/>
                    </a:lnTo>
                    <a:lnTo>
                      <a:pt x="410" y="532"/>
                    </a:lnTo>
                    <a:lnTo>
                      <a:pt x="410" y="534"/>
                    </a:lnTo>
                    <a:lnTo>
                      <a:pt x="410" y="535"/>
                    </a:lnTo>
                    <a:lnTo>
                      <a:pt x="410" y="537"/>
                    </a:lnTo>
                    <a:lnTo>
                      <a:pt x="410" y="538"/>
                    </a:lnTo>
                    <a:lnTo>
                      <a:pt x="410" y="540"/>
                    </a:lnTo>
                    <a:lnTo>
                      <a:pt x="408" y="540"/>
                    </a:lnTo>
                    <a:lnTo>
                      <a:pt x="408" y="541"/>
                    </a:lnTo>
                    <a:lnTo>
                      <a:pt x="410" y="541"/>
                    </a:lnTo>
                    <a:lnTo>
                      <a:pt x="411" y="543"/>
                    </a:lnTo>
                    <a:lnTo>
                      <a:pt x="413" y="545"/>
                    </a:lnTo>
                    <a:lnTo>
                      <a:pt x="413" y="546"/>
                    </a:lnTo>
                    <a:lnTo>
                      <a:pt x="415" y="548"/>
                    </a:lnTo>
                    <a:lnTo>
                      <a:pt x="413" y="549"/>
                    </a:lnTo>
                    <a:lnTo>
                      <a:pt x="415" y="549"/>
                    </a:lnTo>
                    <a:lnTo>
                      <a:pt x="416" y="551"/>
                    </a:lnTo>
                    <a:lnTo>
                      <a:pt x="415" y="553"/>
                    </a:lnTo>
                    <a:lnTo>
                      <a:pt x="415" y="554"/>
                    </a:lnTo>
                    <a:lnTo>
                      <a:pt x="415" y="556"/>
                    </a:lnTo>
                    <a:lnTo>
                      <a:pt x="415" y="557"/>
                    </a:lnTo>
                    <a:lnTo>
                      <a:pt x="415" y="559"/>
                    </a:lnTo>
                    <a:lnTo>
                      <a:pt x="416" y="559"/>
                    </a:lnTo>
                    <a:lnTo>
                      <a:pt x="416" y="560"/>
                    </a:lnTo>
                    <a:lnTo>
                      <a:pt x="416" y="562"/>
                    </a:lnTo>
                    <a:lnTo>
                      <a:pt x="418" y="562"/>
                    </a:lnTo>
                    <a:lnTo>
                      <a:pt x="418" y="564"/>
                    </a:lnTo>
                    <a:lnTo>
                      <a:pt x="419" y="564"/>
                    </a:lnTo>
                    <a:lnTo>
                      <a:pt x="419" y="565"/>
                    </a:lnTo>
                    <a:lnTo>
                      <a:pt x="419" y="567"/>
                    </a:lnTo>
                    <a:lnTo>
                      <a:pt x="418" y="567"/>
                    </a:lnTo>
                    <a:lnTo>
                      <a:pt x="418" y="568"/>
                    </a:lnTo>
                    <a:lnTo>
                      <a:pt x="418" y="570"/>
                    </a:lnTo>
                    <a:lnTo>
                      <a:pt x="418" y="572"/>
                    </a:lnTo>
                    <a:lnTo>
                      <a:pt x="419" y="572"/>
                    </a:lnTo>
                    <a:lnTo>
                      <a:pt x="419" y="573"/>
                    </a:lnTo>
                    <a:lnTo>
                      <a:pt x="419" y="575"/>
                    </a:lnTo>
                    <a:lnTo>
                      <a:pt x="419" y="576"/>
                    </a:lnTo>
                    <a:lnTo>
                      <a:pt x="419" y="578"/>
                    </a:lnTo>
                    <a:lnTo>
                      <a:pt x="418" y="579"/>
                    </a:lnTo>
                    <a:lnTo>
                      <a:pt x="418" y="581"/>
                    </a:lnTo>
                    <a:lnTo>
                      <a:pt x="418" y="583"/>
                    </a:lnTo>
                    <a:lnTo>
                      <a:pt x="416" y="584"/>
                    </a:lnTo>
                    <a:lnTo>
                      <a:pt x="416" y="586"/>
                    </a:lnTo>
                    <a:lnTo>
                      <a:pt x="415" y="586"/>
                    </a:lnTo>
                    <a:lnTo>
                      <a:pt x="415" y="587"/>
                    </a:lnTo>
                    <a:lnTo>
                      <a:pt x="413" y="589"/>
                    </a:lnTo>
                    <a:lnTo>
                      <a:pt x="413" y="591"/>
                    </a:lnTo>
                    <a:lnTo>
                      <a:pt x="411" y="591"/>
                    </a:lnTo>
                    <a:lnTo>
                      <a:pt x="411" y="592"/>
                    </a:lnTo>
                    <a:lnTo>
                      <a:pt x="411" y="594"/>
                    </a:lnTo>
                    <a:lnTo>
                      <a:pt x="410" y="595"/>
                    </a:lnTo>
                    <a:lnTo>
                      <a:pt x="408" y="595"/>
                    </a:lnTo>
                    <a:lnTo>
                      <a:pt x="408" y="597"/>
                    </a:lnTo>
                    <a:lnTo>
                      <a:pt x="407" y="598"/>
                    </a:lnTo>
                    <a:lnTo>
                      <a:pt x="405" y="598"/>
                    </a:lnTo>
                    <a:lnTo>
                      <a:pt x="405" y="600"/>
                    </a:lnTo>
                    <a:lnTo>
                      <a:pt x="404" y="600"/>
                    </a:lnTo>
                    <a:lnTo>
                      <a:pt x="402" y="600"/>
                    </a:lnTo>
                    <a:lnTo>
                      <a:pt x="400" y="602"/>
                    </a:lnTo>
                    <a:lnTo>
                      <a:pt x="399" y="602"/>
                    </a:lnTo>
                    <a:lnTo>
                      <a:pt x="399" y="600"/>
                    </a:lnTo>
                    <a:lnTo>
                      <a:pt x="397" y="600"/>
                    </a:lnTo>
                    <a:lnTo>
                      <a:pt x="396" y="600"/>
                    </a:lnTo>
                    <a:lnTo>
                      <a:pt x="394" y="600"/>
                    </a:lnTo>
                    <a:lnTo>
                      <a:pt x="392" y="600"/>
                    </a:lnTo>
                    <a:lnTo>
                      <a:pt x="391" y="602"/>
                    </a:lnTo>
                    <a:lnTo>
                      <a:pt x="391" y="603"/>
                    </a:lnTo>
                    <a:lnTo>
                      <a:pt x="391" y="605"/>
                    </a:lnTo>
                    <a:lnTo>
                      <a:pt x="389" y="605"/>
                    </a:lnTo>
                    <a:lnTo>
                      <a:pt x="388" y="605"/>
                    </a:lnTo>
                    <a:lnTo>
                      <a:pt x="388" y="606"/>
                    </a:lnTo>
                    <a:lnTo>
                      <a:pt x="386" y="608"/>
                    </a:lnTo>
                    <a:lnTo>
                      <a:pt x="386" y="610"/>
                    </a:lnTo>
                    <a:lnTo>
                      <a:pt x="386" y="611"/>
                    </a:lnTo>
                    <a:lnTo>
                      <a:pt x="388" y="611"/>
                    </a:lnTo>
                    <a:lnTo>
                      <a:pt x="388" y="613"/>
                    </a:lnTo>
                    <a:lnTo>
                      <a:pt x="388" y="614"/>
                    </a:lnTo>
                    <a:lnTo>
                      <a:pt x="389" y="616"/>
                    </a:lnTo>
                    <a:lnTo>
                      <a:pt x="389" y="617"/>
                    </a:lnTo>
                    <a:lnTo>
                      <a:pt x="389" y="619"/>
                    </a:lnTo>
                    <a:lnTo>
                      <a:pt x="389" y="621"/>
                    </a:lnTo>
                    <a:lnTo>
                      <a:pt x="389" y="622"/>
                    </a:lnTo>
                    <a:lnTo>
                      <a:pt x="391" y="622"/>
                    </a:lnTo>
                    <a:lnTo>
                      <a:pt x="391" y="621"/>
                    </a:lnTo>
                    <a:lnTo>
                      <a:pt x="391" y="622"/>
                    </a:lnTo>
                    <a:lnTo>
                      <a:pt x="391" y="624"/>
                    </a:lnTo>
                    <a:lnTo>
                      <a:pt x="391" y="625"/>
                    </a:lnTo>
                    <a:lnTo>
                      <a:pt x="389" y="627"/>
                    </a:lnTo>
                    <a:lnTo>
                      <a:pt x="389" y="629"/>
                    </a:lnTo>
                    <a:lnTo>
                      <a:pt x="389" y="630"/>
                    </a:lnTo>
                    <a:lnTo>
                      <a:pt x="389" y="632"/>
                    </a:lnTo>
                    <a:lnTo>
                      <a:pt x="391" y="633"/>
                    </a:lnTo>
                    <a:lnTo>
                      <a:pt x="391" y="635"/>
                    </a:lnTo>
                    <a:lnTo>
                      <a:pt x="389" y="635"/>
                    </a:lnTo>
                    <a:lnTo>
                      <a:pt x="388" y="635"/>
                    </a:lnTo>
                    <a:lnTo>
                      <a:pt x="388" y="636"/>
                    </a:lnTo>
                    <a:lnTo>
                      <a:pt x="386" y="635"/>
                    </a:lnTo>
                    <a:lnTo>
                      <a:pt x="385" y="635"/>
                    </a:lnTo>
                    <a:lnTo>
                      <a:pt x="383" y="635"/>
                    </a:lnTo>
                    <a:lnTo>
                      <a:pt x="383" y="636"/>
                    </a:lnTo>
                    <a:lnTo>
                      <a:pt x="383" y="638"/>
                    </a:lnTo>
                    <a:lnTo>
                      <a:pt x="381" y="640"/>
                    </a:lnTo>
                    <a:lnTo>
                      <a:pt x="380" y="640"/>
                    </a:lnTo>
                    <a:lnTo>
                      <a:pt x="380" y="641"/>
                    </a:lnTo>
                    <a:lnTo>
                      <a:pt x="380" y="643"/>
                    </a:lnTo>
                    <a:lnTo>
                      <a:pt x="380" y="644"/>
                    </a:lnTo>
                    <a:lnTo>
                      <a:pt x="378" y="646"/>
                    </a:lnTo>
                    <a:lnTo>
                      <a:pt x="378" y="648"/>
                    </a:lnTo>
                    <a:lnTo>
                      <a:pt x="377" y="648"/>
                    </a:lnTo>
                    <a:lnTo>
                      <a:pt x="375" y="649"/>
                    </a:lnTo>
                    <a:lnTo>
                      <a:pt x="373" y="651"/>
                    </a:lnTo>
                    <a:lnTo>
                      <a:pt x="373" y="652"/>
                    </a:lnTo>
                    <a:lnTo>
                      <a:pt x="372" y="652"/>
                    </a:lnTo>
                    <a:lnTo>
                      <a:pt x="372" y="654"/>
                    </a:lnTo>
                    <a:lnTo>
                      <a:pt x="372" y="656"/>
                    </a:lnTo>
                    <a:lnTo>
                      <a:pt x="370" y="656"/>
                    </a:lnTo>
                    <a:lnTo>
                      <a:pt x="370" y="657"/>
                    </a:lnTo>
                    <a:lnTo>
                      <a:pt x="369" y="657"/>
                    </a:lnTo>
                    <a:lnTo>
                      <a:pt x="367" y="657"/>
                    </a:lnTo>
                    <a:lnTo>
                      <a:pt x="367" y="659"/>
                    </a:lnTo>
                    <a:lnTo>
                      <a:pt x="367" y="660"/>
                    </a:lnTo>
                    <a:lnTo>
                      <a:pt x="366" y="660"/>
                    </a:lnTo>
                    <a:lnTo>
                      <a:pt x="366" y="662"/>
                    </a:lnTo>
                    <a:lnTo>
                      <a:pt x="364" y="663"/>
                    </a:lnTo>
                    <a:lnTo>
                      <a:pt x="364" y="665"/>
                    </a:lnTo>
                    <a:lnTo>
                      <a:pt x="364" y="667"/>
                    </a:lnTo>
                    <a:lnTo>
                      <a:pt x="364" y="668"/>
                    </a:lnTo>
                    <a:lnTo>
                      <a:pt x="362" y="670"/>
                    </a:lnTo>
                    <a:lnTo>
                      <a:pt x="361" y="670"/>
                    </a:lnTo>
                    <a:lnTo>
                      <a:pt x="359" y="671"/>
                    </a:lnTo>
                    <a:lnTo>
                      <a:pt x="358" y="671"/>
                    </a:lnTo>
                    <a:lnTo>
                      <a:pt x="358" y="673"/>
                    </a:lnTo>
                    <a:lnTo>
                      <a:pt x="356" y="673"/>
                    </a:lnTo>
                    <a:lnTo>
                      <a:pt x="354" y="673"/>
                    </a:lnTo>
                    <a:lnTo>
                      <a:pt x="353" y="675"/>
                    </a:lnTo>
                    <a:lnTo>
                      <a:pt x="351" y="675"/>
                    </a:lnTo>
                    <a:lnTo>
                      <a:pt x="350" y="675"/>
                    </a:lnTo>
                    <a:lnTo>
                      <a:pt x="350" y="673"/>
                    </a:lnTo>
                    <a:lnTo>
                      <a:pt x="348" y="673"/>
                    </a:lnTo>
                    <a:lnTo>
                      <a:pt x="346" y="673"/>
                    </a:lnTo>
                    <a:lnTo>
                      <a:pt x="346" y="675"/>
                    </a:lnTo>
                    <a:lnTo>
                      <a:pt x="345" y="675"/>
                    </a:lnTo>
                    <a:lnTo>
                      <a:pt x="343" y="676"/>
                    </a:lnTo>
                    <a:lnTo>
                      <a:pt x="342" y="678"/>
                    </a:lnTo>
                    <a:lnTo>
                      <a:pt x="340" y="678"/>
                    </a:lnTo>
                    <a:lnTo>
                      <a:pt x="340" y="679"/>
                    </a:lnTo>
                    <a:lnTo>
                      <a:pt x="339" y="679"/>
                    </a:lnTo>
                    <a:lnTo>
                      <a:pt x="337" y="679"/>
                    </a:lnTo>
                    <a:lnTo>
                      <a:pt x="335" y="681"/>
                    </a:lnTo>
                    <a:lnTo>
                      <a:pt x="334" y="681"/>
                    </a:lnTo>
                    <a:lnTo>
                      <a:pt x="332" y="681"/>
                    </a:lnTo>
                    <a:lnTo>
                      <a:pt x="332" y="682"/>
                    </a:lnTo>
                    <a:lnTo>
                      <a:pt x="332" y="684"/>
                    </a:lnTo>
                    <a:lnTo>
                      <a:pt x="334" y="686"/>
                    </a:lnTo>
                    <a:lnTo>
                      <a:pt x="334" y="687"/>
                    </a:lnTo>
                    <a:lnTo>
                      <a:pt x="335" y="687"/>
                    </a:lnTo>
                    <a:lnTo>
                      <a:pt x="335" y="689"/>
                    </a:lnTo>
                    <a:lnTo>
                      <a:pt x="337" y="689"/>
                    </a:lnTo>
                    <a:lnTo>
                      <a:pt x="337" y="690"/>
                    </a:lnTo>
                    <a:lnTo>
                      <a:pt x="339" y="692"/>
                    </a:lnTo>
                    <a:lnTo>
                      <a:pt x="339" y="694"/>
                    </a:lnTo>
                    <a:lnTo>
                      <a:pt x="340" y="694"/>
                    </a:lnTo>
                    <a:lnTo>
                      <a:pt x="340" y="695"/>
                    </a:lnTo>
                    <a:lnTo>
                      <a:pt x="340" y="697"/>
                    </a:lnTo>
                    <a:lnTo>
                      <a:pt x="342" y="697"/>
                    </a:lnTo>
                    <a:lnTo>
                      <a:pt x="342" y="698"/>
                    </a:lnTo>
                    <a:lnTo>
                      <a:pt x="343" y="698"/>
                    </a:lnTo>
                    <a:lnTo>
                      <a:pt x="343" y="700"/>
                    </a:lnTo>
                    <a:lnTo>
                      <a:pt x="343" y="701"/>
                    </a:lnTo>
                    <a:lnTo>
                      <a:pt x="343" y="703"/>
                    </a:lnTo>
                    <a:lnTo>
                      <a:pt x="342" y="703"/>
                    </a:lnTo>
                    <a:lnTo>
                      <a:pt x="342" y="705"/>
                    </a:lnTo>
                    <a:lnTo>
                      <a:pt x="340" y="706"/>
                    </a:lnTo>
                    <a:lnTo>
                      <a:pt x="340" y="708"/>
                    </a:lnTo>
                    <a:lnTo>
                      <a:pt x="339" y="708"/>
                    </a:lnTo>
                    <a:lnTo>
                      <a:pt x="339" y="709"/>
                    </a:lnTo>
                    <a:lnTo>
                      <a:pt x="339" y="711"/>
                    </a:lnTo>
                    <a:lnTo>
                      <a:pt x="337" y="711"/>
                    </a:lnTo>
                    <a:lnTo>
                      <a:pt x="337" y="713"/>
                    </a:lnTo>
                    <a:lnTo>
                      <a:pt x="335" y="714"/>
                    </a:lnTo>
                    <a:lnTo>
                      <a:pt x="335" y="716"/>
                    </a:lnTo>
                    <a:lnTo>
                      <a:pt x="335" y="717"/>
                    </a:lnTo>
                    <a:lnTo>
                      <a:pt x="335" y="719"/>
                    </a:lnTo>
                    <a:lnTo>
                      <a:pt x="335" y="720"/>
                    </a:lnTo>
                    <a:lnTo>
                      <a:pt x="334" y="722"/>
                    </a:lnTo>
                    <a:lnTo>
                      <a:pt x="334" y="724"/>
                    </a:lnTo>
                    <a:lnTo>
                      <a:pt x="334" y="725"/>
                    </a:lnTo>
                    <a:lnTo>
                      <a:pt x="334" y="727"/>
                    </a:lnTo>
                    <a:lnTo>
                      <a:pt x="332" y="727"/>
                    </a:lnTo>
                    <a:lnTo>
                      <a:pt x="332" y="728"/>
                    </a:lnTo>
                    <a:lnTo>
                      <a:pt x="332" y="730"/>
                    </a:lnTo>
                    <a:lnTo>
                      <a:pt x="332" y="732"/>
                    </a:lnTo>
                    <a:lnTo>
                      <a:pt x="331" y="732"/>
                    </a:lnTo>
                    <a:lnTo>
                      <a:pt x="331" y="733"/>
                    </a:lnTo>
                    <a:lnTo>
                      <a:pt x="331" y="735"/>
                    </a:lnTo>
                    <a:lnTo>
                      <a:pt x="329" y="735"/>
                    </a:lnTo>
                    <a:lnTo>
                      <a:pt x="329" y="736"/>
                    </a:lnTo>
                    <a:lnTo>
                      <a:pt x="327" y="738"/>
                    </a:lnTo>
                    <a:lnTo>
                      <a:pt x="327" y="739"/>
                    </a:lnTo>
                    <a:lnTo>
                      <a:pt x="326" y="739"/>
                    </a:lnTo>
                    <a:lnTo>
                      <a:pt x="326" y="741"/>
                    </a:lnTo>
                    <a:lnTo>
                      <a:pt x="326" y="743"/>
                    </a:lnTo>
                    <a:lnTo>
                      <a:pt x="324" y="744"/>
                    </a:lnTo>
                    <a:lnTo>
                      <a:pt x="324" y="746"/>
                    </a:lnTo>
                    <a:lnTo>
                      <a:pt x="324" y="747"/>
                    </a:lnTo>
                    <a:lnTo>
                      <a:pt x="324" y="749"/>
                    </a:lnTo>
                    <a:lnTo>
                      <a:pt x="323" y="749"/>
                    </a:lnTo>
                    <a:lnTo>
                      <a:pt x="323" y="751"/>
                    </a:lnTo>
                    <a:lnTo>
                      <a:pt x="323" y="752"/>
                    </a:lnTo>
                    <a:lnTo>
                      <a:pt x="323" y="754"/>
                    </a:lnTo>
                    <a:lnTo>
                      <a:pt x="323" y="755"/>
                    </a:lnTo>
                    <a:lnTo>
                      <a:pt x="324" y="757"/>
                    </a:lnTo>
                    <a:lnTo>
                      <a:pt x="324" y="758"/>
                    </a:lnTo>
                    <a:lnTo>
                      <a:pt x="324" y="760"/>
                    </a:lnTo>
                    <a:lnTo>
                      <a:pt x="323" y="760"/>
                    </a:lnTo>
                    <a:lnTo>
                      <a:pt x="323" y="762"/>
                    </a:lnTo>
                    <a:lnTo>
                      <a:pt x="323" y="763"/>
                    </a:lnTo>
                    <a:lnTo>
                      <a:pt x="321" y="763"/>
                    </a:lnTo>
                    <a:lnTo>
                      <a:pt x="321" y="765"/>
                    </a:lnTo>
                    <a:lnTo>
                      <a:pt x="321" y="766"/>
                    </a:lnTo>
                    <a:lnTo>
                      <a:pt x="320" y="766"/>
                    </a:lnTo>
                    <a:lnTo>
                      <a:pt x="320" y="768"/>
                    </a:lnTo>
                    <a:lnTo>
                      <a:pt x="320" y="770"/>
                    </a:lnTo>
                    <a:lnTo>
                      <a:pt x="320" y="771"/>
                    </a:lnTo>
                    <a:lnTo>
                      <a:pt x="320" y="773"/>
                    </a:lnTo>
                    <a:lnTo>
                      <a:pt x="321" y="773"/>
                    </a:lnTo>
                    <a:lnTo>
                      <a:pt x="321" y="774"/>
                    </a:lnTo>
                    <a:lnTo>
                      <a:pt x="321" y="776"/>
                    </a:lnTo>
                    <a:lnTo>
                      <a:pt x="321" y="777"/>
                    </a:lnTo>
                    <a:lnTo>
                      <a:pt x="321" y="779"/>
                    </a:lnTo>
                    <a:lnTo>
                      <a:pt x="321" y="781"/>
                    </a:lnTo>
                    <a:lnTo>
                      <a:pt x="323" y="781"/>
                    </a:lnTo>
                    <a:lnTo>
                      <a:pt x="323" y="782"/>
                    </a:lnTo>
                    <a:lnTo>
                      <a:pt x="323" y="784"/>
                    </a:lnTo>
                    <a:lnTo>
                      <a:pt x="323" y="785"/>
                    </a:lnTo>
                    <a:lnTo>
                      <a:pt x="323" y="787"/>
                    </a:lnTo>
                    <a:lnTo>
                      <a:pt x="324" y="789"/>
                    </a:lnTo>
                    <a:lnTo>
                      <a:pt x="324" y="790"/>
                    </a:lnTo>
                    <a:lnTo>
                      <a:pt x="324" y="792"/>
                    </a:lnTo>
                    <a:lnTo>
                      <a:pt x="324" y="793"/>
                    </a:lnTo>
                    <a:lnTo>
                      <a:pt x="326" y="795"/>
                    </a:lnTo>
                    <a:lnTo>
                      <a:pt x="326" y="796"/>
                    </a:lnTo>
                    <a:lnTo>
                      <a:pt x="326" y="798"/>
                    </a:lnTo>
                    <a:lnTo>
                      <a:pt x="326" y="800"/>
                    </a:lnTo>
                    <a:lnTo>
                      <a:pt x="326" y="801"/>
                    </a:lnTo>
                    <a:lnTo>
                      <a:pt x="327" y="803"/>
                    </a:lnTo>
                    <a:lnTo>
                      <a:pt x="327" y="804"/>
                    </a:lnTo>
                    <a:lnTo>
                      <a:pt x="327" y="806"/>
                    </a:lnTo>
                    <a:lnTo>
                      <a:pt x="327" y="808"/>
                    </a:lnTo>
                    <a:lnTo>
                      <a:pt x="327" y="809"/>
                    </a:lnTo>
                    <a:lnTo>
                      <a:pt x="329" y="811"/>
                    </a:lnTo>
                    <a:lnTo>
                      <a:pt x="329" y="812"/>
                    </a:lnTo>
                    <a:lnTo>
                      <a:pt x="329" y="814"/>
                    </a:lnTo>
                    <a:lnTo>
                      <a:pt x="329" y="815"/>
                    </a:lnTo>
                    <a:lnTo>
                      <a:pt x="329" y="817"/>
                    </a:lnTo>
                    <a:lnTo>
                      <a:pt x="329" y="819"/>
                    </a:lnTo>
                    <a:lnTo>
                      <a:pt x="331" y="819"/>
                    </a:lnTo>
                    <a:lnTo>
                      <a:pt x="331" y="820"/>
                    </a:lnTo>
                    <a:lnTo>
                      <a:pt x="331" y="822"/>
                    </a:lnTo>
                    <a:lnTo>
                      <a:pt x="331" y="823"/>
                    </a:lnTo>
                    <a:lnTo>
                      <a:pt x="331" y="825"/>
                    </a:lnTo>
                    <a:lnTo>
                      <a:pt x="332" y="827"/>
                    </a:lnTo>
                    <a:lnTo>
                      <a:pt x="332" y="828"/>
                    </a:lnTo>
                    <a:lnTo>
                      <a:pt x="332" y="830"/>
                    </a:lnTo>
                    <a:lnTo>
                      <a:pt x="334" y="831"/>
                    </a:lnTo>
                    <a:lnTo>
                      <a:pt x="334" y="833"/>
                    </a:lnTo>
                    <a:lnTo>
                      <a:pt x="334" y="834"/>
                    </a:lnTo>
                    <a:lnTo>
                      <a:pt x="335" y="836"/>
                    </a:lnTo>
                    <a:lnTo>
                      <a:pt x="335" y="838"/>
                    </a:lnTo>
                    <a:lnTo>
                      <a:pt x="335" y="839"/>
                    </a:lnTo>
                    <a:lnTo>
                      <a:pt x="335" y="841"/>
                    </a:lnTo>
                    <a:lnTo>
                      <a:pt x="335" y="842"/>
                    </a:lnTo>
                    <a:lnTo>
                      <a:pt x="335" y="844"/>
                    </a:lnTo>
                    <a:lnTo>
                      <a:pt x="335" y="846"/>
                    </a:lnTo>
                    <a:lnTo>
                      <a:pt x="334" y="846"/>
                    </a:lnTo>
                    <a:lnTo>
                      <a:pt x="332" y="847"/>
                    </a:lnTo>
                    <a:lnTo>
                      <a:pt x="331" y="847"/>
                    </a:lnTo>
                    <a:lnTo>
                      <a:pt x="329" y="847"/>
                    </a:lnTo>
                    <a:lnTo>
                      <a:pt x="327" y="847"/>
                    </a:lnTo>
                    <a:lnTo>
                      <a:pt x="326" y="849"/>
                    </a:lnTo>
                    <a:lnTo>
                      <a:pt x="324" y="849"/>
                    </a:lnTo>
                    <a:lnTo>
                      <a:pt x="323" y="849"/>
                    </a:lnTo>
                    <a:lnTo>
                      <a:pt x="321" y="850"/>
                    </a:lnTo>
                    <a:lnTo>
                      <a:pt x="320" y="850"/>
                    </a:lnTo>
                    <a:lnTo>
                      <a:pt x="318" y="850"/>
                    </a:lnTo>
                    <a:lnTo>
                      <a:pt x="318" y="849"/>
                    </a:lnTo>
                    <a:lnTo>
                      <a:pt x="316" y="849"/>
                    </a:lnTo>
                    <a:lnTo>
                      <a:pt x="315" y="849"/>
                    </a:lnTo>
                    <a:lnTo>
                      <a:pt x="313" y="849"/>
                    </a:lnTo>
                    <a:lnTo>
                      <a:pt x="313" y="850"/>
                    </a:lnTo>
                    <a:lnTo>
                      <a:pt x="312" y="850"/>
                    </a:lnTo>
                    <a:lnTo>
                      <a:pt x="310" y="850"/>
                    </a:lnTo>
                    <a:lnTo>
                      <a:pt x="310" y="852"/>
                    </a:lnTo>
                    <a:lnTo>
                      <a:pt x="308" y="852"/>
                    </a:lnTo>
                    <a:lnTo>
                      <a:pt x="307" y="852"/>
                    </a:lnTo>
                    <a:lnTo>
                      <a:pt x="305" y="852"/>
                    </a:lnTo>
                    <a:lnTo>
                      <a:pt x="305" y="854"/>
                    </a:lnTo>
                    <a:lnTo>
                      <a:pt x="304" y="854"/>
                    </a:lnTo>
                    <a:lnTo>
                      <a:pt x="302" y="854"/>
                    </a:lnTo>
                    <a:lnTo>
                      <a:pt x="302" y="855"/>
                    </a:lnTo>
                    <a:lnTo>
                      <a:pt x="301" y="855"/>
                    </a:lnTo>
                    <a:lnTo>
                      <a:pt x="299" y="855"/>
                    </a:lnTo>
                    <a:lnTo>
                      <a:pt x="297" y="855"/>
                    </a:lnTo>
                    <a:lnTo>
                      <a:pt x="297" y="857"/>
                    </a:lnTo>
                    <a:lnTo>
                      <a:pt x="296" y="857"/>
                    </a:lnTo>
                    <a:lnTo>
                      <a:pt x="296" y="858"/>
                    </a:lnTo>
                    <a:lnTo>
                      <a:pt x="294" y="858"/>
                    </a:lnTo>
                    <a:lnTo>
                      <a:pt x="293" y="858"/>
                    </a:lnTo>
                    <a:lnTo>
                      <a:pt x="291" y="858"/>
                    </a:lnTo>
                    <a:lnTo>
                      <a:pt x="289" y="860"/>
                    </a:lnTo>
                    <a:lnTo>
                      <a:pt x="288" y="860"/>
                    </a:lnTo>
                    <a:lnTo>
                      <a:pt x="286" y="860"/>
                    </a:lnTo>
                    <a:lnTo>
                      <a:pt x="285" y="860"/>
                    </a:lnTo>
                    <a:lnTo>
                      <a:pt x="285" y="861"/>
                    </a:lnTo>
                    <a:lnTo>
                      <a:pt x="283" y="861"/>
                    </a:lnTo>
                    <a:lnTo>
                      <a:pt x="283" y="863"/>
                    </a:lnTo>
                    <a:lnTo>
                      <a:pt x="282" y="863"/>
                    </a:lnTo>
                    <a:lnTo>
                      <a:pt x="280" y="863"/>
                    </a:lnTo>
                    <a:lnTo>
                      <a:pt x="278" y="863"/>
                    </a:lnTo>
                    <a:lnTo>
                      <a:pt x="278" y="861"/>
                    </a:lnTo>
                    <a:lnTo>
                      <a:pt x="277" y="861"/>
                    </a:lnTo>
                    <a:lnTo>
                      <a:pt x="277" y="860"/>
                    </a:lnTo>
                    <a:lnTo>
                      <a:pt x="277" y="858"/>
                    </a:lnTo>
                    <a:lnTo>
                      <a:pt x="277" y="857"/>
                    </a:lnTo>
                    <a:lnTo>
                      <a:pt x="275" y="857"/>
                    </a:lnTo>
                    <a:lnTo>
                      <a:pt x="275" y="855"/>
                    </a:lnTo>
                    <a:lnTo>
                      <a:pt x="275" y="854"/>
                    </a:lnTo>
                    <a:lnTo>
                      <a:pt x="275" y="852"/>
                    </a:lnTo>
                    <a:lnTo>
                      <a:pt x="275" y="850"/>
                    </a:lnTo>
                    <a:lnTo>
                      <a:pt x="274" y="850"/>
                    </a:lnTo>
                    <a:lnTo>
                      <a:pt x="274" y="849"/>
                    </a:lnTo>
                    <a:lnTo>
                      <a:pt x="274" y="847"/>
                    </a:lnTo>
                    <a:lnTo>
                      <a:pt x="274" y="846"/>
                    </a:lnTo>
                    <a:lnTo>
                      <a:pt x="274" y="844"/>
                    </a:lnTo>
                    <a:lnTo>
                      <a:pt x="274" y="842"/>
                    </a:lnTo>
                    <a:lnTo>
                      <a:pt x="274" y="841"/>
                    </a:lnTo>
                    <a:lnTo>
                      <a:pt x="274" y="839"/>
                    </a:lnTo>
                    <a:lnTo>
                      <a:pt x="272" y="839"/>
                    </a:lnTo>
                    <a:lnTo>
                      <a:pt x="272" y="838"/>
                    </a:lnTo>
                    <a:lnTo>
                      <a:pt x="272" y="836"/>
                    </a:lnTo>
                    <a:lnTo>
                      <a:pt x="272" y="834"/>
                    </a:lnTo>
                    <a:lnTo>
                      <a:pt x="270" y="834"/>
                    </a:lnTo>
                    <a:lnTo>
                      <a:pt x="270" y="833"/>
                    </a:lnTo>
                    <a:lnTo>
                      <a:pt x="270" y="831"/>
                    </a:lnTo>
                    <a:lnTo>
                      <a:pt x="269" y="831"/>
                    </a:lnTo>
                    <a:lnTo>
                      <a:pt x="269" y="830"/>
                    </a:lnTo>
                    <a:lnTo>
                      <a:pt x="267" y="830"/>
                    </a:lnTo>
                    <a:lnTo>
                      <a:pt x="266" y="828"/>
                    </a:lnTo>
                    <a:lnTo>
                      <a:pt x="264" y="827"/>
                    </a:lnTo>
                    <a:lnTo>
                      <a:pt x="263" y="827"/>
                    </a:lnTo>
                    <a:lnTo>
                      <a:pt x="263" y="825"/>
                    </a:lnTo>
                    <a:lnTo>
                      <a:pt x="261" y="823"/>
                    </a:lnTo>
                    <a:lnTo>
                      <a:pt x="261" y="822"/>
                    </a:lnTo>
                    <a:lnTo>
                      <a:pt x="261" y="820"/>
                    </a:lnTo>
                    <a:lnTo>
                      <a:pt x="261" y="819"/>
                    </a:lnTo>
                    <a:lnTo>
                      <a:pt x="261" y="817"/>
                    </a:lnTo>
                    <a:lnTo>
                      <a:pt x="259" y="815"/>
                    </a:lnTo>
                    <a:lnTo>
                      <a:pt x="259" y="814"/>
                    </a:lnTo>
                    <a:lnTo>
                      <a:pt x="258" y="814"/>
                    </a:lnTo>
                    <a:lnTo>
                      <a:pt x="256" y="814"/>
                    </a:lnTo>
                    <a:lnTo>
                      <a:pt x="255" y="814"/>
                    </a:lnTo>
                    <a:lnTo>
                      <a:pt x="253" y="814"/>
                    </a:lnTo>
                    <a:lnTo>
                      <a:pt x="251" y="812"/>
                    </a:lnTo>
                    <a:lnTo>
                      <a:pt x="250" y="812"/>
                    </a:lnTo>
                    <a:lnTo>
                      <a:pt x="250" y="811"/>
                    </a:lnTo>
                    <a:lnTo>
                      <a:pt x="248" y="811"/>
                    </a:lnTo>
                    <a:lnTo>
                      <a:pt x="247" y="809"/>
                    </a:lnTo>
                    <a:lnTo>
                      <a:pt x="247" y="808"/>
                    </a:lnTo>
                    <a:lnTo>
                      <a:pt x="247" y="806"/>
                    </a:lnTo>
                    <a:lnTo>
                      <a:pt x="247" y="804"/>
                    </a:lnTo>
                    <a:lnTo>
                      <a:pt x="247" y="803"/>
                    </a:lnTo>
                    <a:lnTo>
                      <a:pt x="245" y="803"/>
                    </a:lnTo>
                    <a:lnTo>
                      <a:pt x="245" y="801"/>
                    </a:lnTo>
                    <a:lnTo>
                      <a:pt x="244" y="801"/>
                    </a:lnTo>
                    <a:lnTo>
                      <a:pt x="244" y="800"/>
                    </a:lnTo>
                    <a:lnTo>
                      <a:pt x="242" y="800"/>
                    </a:lnTo>
                    <a:lnTo>
                      <a:pt x="242" y="798"/>
                    </a:lnTo>
                    <a:lnTo>
                      <a:pt x="242" y="796"/>
                    </a:lnTo>
                    <a:lnTo>
                      <a:pt x="242" y="795"/>
                    </a:lnTo>
                    <a:lnTo>
                      <a:pt x="244" y="795"/>
                    </a:lnTo>
                    <a:lnTo>
                      <a:pt x="242" y="793"/>
                    </a:lnTo>
                    <a:lnTo>
                      <a:pt x="242" y="792"/>
                    </a:lnTo>
                    <a:lnTo>
                      <a:pt x="242" y="790"/>
                    </a:lnTo>
                    <a:lnTo>
                      <a:pt x="240" y="790"/>
                    </a:lnTo>
                    <a:lnTo>
                      <a:pt x="240" y="789"/>
                    </a:lnTo>
                    <a:lnTo>
                      <a:pt x="239" y="789"/>
                    </a:lnTo>
                    <a:lnTo>
                      <a:pt x="237" y="789"/>
                    </a:lnTo>
                    <a:lnTo>
                      <a:pt x="237" y="790"/>
                    </a:lnTo>
                    <a:lnTo>
                      <a:pt x="236" y="790"/>
                    </a:lnTo>
                    <a:lnTo>
                      <a:pt x="234" y="792"/>
                    </a:lnTo>
                    <a:lnTo>
                      <a:pt x="234" y="793"/>
                    </a:lnTo>
                    <a:lnTo>
                      <a:pt x="232" y="793"/>
                    </a:lnTo>
                    <a:lnTo>
                      <a:pt x="232" y="795"/>
                    </a:lnTo>
                    <a:lnTo>
                      <a:pt x="231" y="795"/>
                    </a:lnTo>
                    <a:lnTo>
                      <a:pt x="231" y="796"/>
                    </a:lnTo>
                    <a:lnTo>
                      <a:pt x="229" y="796"/>
                    </a:lnTo>
                    <a:lnTo>
                      <a:pt x="228" y="798"/>
                    </a:lnTo>
                    <a:lnTo>
                      <a:pt x="226" y="798"/>
                    </a:lnTo>
                    <a:lnTo>
                      <a:pt x="226" y="800"/>
                    </a:lnTo>
                    <a:lnTo>
                      <a:pt x="225" y="800"/>
                    </a:lnTo>
                    <a:lnTo>
                      <a:pt x="223" y="800"/>
                    </a:lnTo>
                    <a:lnTo>
                      <a:pt x="223" y="801"/>
                    </a:lnTo>
                    <a:lnTo>
                      <a:pt x="221" y="800"/>
                    </a:lnTo>
                    <a:lnTo>
                      <a:pt x="221" y="801"/>
                    </a:lnTo>
                    <a:lnTo>
                      <a:pt x="220" y="801"/>
                    </a:lnTo>
                    <a:lnTo>
                      <a:pt x="218" y="801"/>
                    </a:lnTo>
                    <a:lnTo>
                      <a:pt x="217" y="801"/>
                    </a:lnTo>
                    <a:lnTo>
                      <a:pt x="217" y="803"/>
                    </a:lnTo>
                    <a:lnTo>
                      <a:pt x="215" y="803"/>
                    </a:lnTo>
                    <a:lnTo>
                      <a:pt x="213" y="803"/>
                    </a:lnTo>
                    <a:lnTo>
                      <a:pt x="212" y="803"/>
                    </a:lnTo>
                    <a:lnTo>
                      <a:pt x="210" y="803"/>
                    </a:lnTo>
                    <a:lnTo>
                      <a:pt x="209" y="803"/>
                    </a:lnTo>
                    <a:lnTo>
                      <a:pt x="207" y="803"/>
                    </a:lnTo>
                    <a:lnTo>
                      <a:pt x="207" y="801"/>
                    </a:lnTo>
                    <a:lnTo>
                      <a:pt x="206" y="801"/>
                    </a:lnTo>
                    <a:lnTo>
                      <a:pt x="204" y="800"/>
                    </a:lnTo>
                    <a:lnTo>
                      <a:pt x="204" y="798"/>
                    </a:lnTo>
                    <a:lnTo>
                      <a:pt x="204" y="796"/>
                    </a:lnTo>
                    <a:lnTo>
                      <a:pt x="204" y="795"/>
                    </a:lnTo>
                    <a:lnTo>
                      <a:pt x="204" y="793"/>
                    </a:lnTo>
                    <a:lnTo>
                      <a:pt x="204" y="792"/>
                    </a:lnTo>
                    <a:lnTo>
                      <a:pt x="204" y="790"/>
                    </a:lnTo>
                    <a:lnTo>
                      <a:pt x="204" y="789"/>
                    </a:lnTo>
                    <a:lnTo>
                      <a:pt x="204" y="787"/>
                    </a:lnTo>
                    <a:lnTo>
                      <a:pt x="206" y="787"/>
                    </a:lnTo>
                    <a:lnTo>
                      <a:pt x="206" y="785"/>
                    </a:lnTo>
                    <a:lnTo>
                      <a:pt x="206" y="784"/>
                    </a:lnTo>
                    <a:lnTo>
                      <a:pt x="204" y="784"/>
                    </a:lnTo>
                    <a:lnTo>
                      <a:pt x="204" y="782"/>
                    </a:lnTo>
                    <a:lnTo>
                      <a:pt x="202" y="782"/>
                    </a:lnTo>
                    <a:lnTo>
                      <a:pt x="201" y="782"/>
                    </a:lnTo>
                    <a:lnTo>
                      <a:pt x="199" y="782"/>
                    </a:lnTo>
                    <a:lnTo>
                      <a:pt x="198" y="782"/>
                    </a:lnTo>
                    <a:lnTo>
                      <a:pt x="196" y="782"/>
                    </a:lnTo>
                    <a:lnTo>
                      <a:pt x="194" y="782"/>
                    </a:lnTo>
                    <a:lnTo>
                      <a:pt x="193" y="782"/>
                    </a:lnTo>
                    <a:lnTo>
                      <a:pt x="193" y="781"/>
                    </a:lnTo>
                    <a:lnTo>
                      <a:pt x="191" y="781"/>
                    </a:lnTo>
                    <a:lnTo>
                      <a:pt x="191" y="779"/>
                    </a:lnTo>
                    <a:lnTo>
                      <a:pt x="190" y="777"/>
                    </a:lnTo>
                    <a:lnTo>
                      <a:pt x="190" y="776"/>
                    </a:lnTo>
                    <a:lnTo>
                      <a:pt x="188" y="774"/>
                    </a:lnTo>
                    <a:lnTo>
                      <a:pt x="187" y="774"/>
                    </a:lnTo>
                    <a:lnTo>
                      <a:pt x="187" y="773"/>
                    </a:lnTo>
                    <a:lnTo>
                      <a:pt x="185" y="773"/>
                    </a:lnTo>
                    <a:lnTo>
                      <a:pt x="185" y="771"/>
                    </a:lnTo>
                    <a:lnTo>
                      <a:pt x="183" y="771"/>
                    </a:lnTo>
                    <a:lnTo>
                      <a:pt x="183" y="770"/>
                    </a:lnTo>
                    <a:lnTo>
                      <a:pt x="183" y="768"/>
                    </a:lnTo>
                    <a:lnTo>
                      <a:pt x="182" y="768"/>
                    </a:lnTo>
                    <a:lnTo>
                      <a:pt x="182" y="766"/>
                    </a:lnTo>
                    <a:lnTo>
                      <a:pt x="182" y="765"/>
                    </a:lnTo>
                    <a:lnTo>
                      <a:pt x="180" y="763"/>
                    </a:lnTo>
                    <a:lnTo>
                      <a:pt x="180" y="762"/>
                    </a:lnTo>
                    <a:lnTo>
                      <a:pt x="180" y="760"/>
                    </a:lnTo>
                    <a:lnTo>
                      <a:pt x="180" y="758"/>
                    </a:lnTo>
                    <a:lnTo>
                      <a:pt x="174" y="758"/>
                    </a:lnTo>
                    <a:lnTo>
                      <a:pt x="171" y="758"/>
                    </a:lnTo>
                    <a:lnTo>
                      <a:pt x="166" y="758"/>
                    </a:lnTo>
                    <a:lnTo>
                      <a:pt x="163" y="760"/>
                    </a:lnTo>
                    <a:lnTo>
                      <a:pt x="158" y="760"/>
                    </a:lnTo>
                    <a:lnTo>
                      <a:pt x="155" y="760"/>
                    </a:lnTo>
                    <a:lnTo>
                      <a:pt x="147" y="760"/>
                    </a:lnTo>
                    <a:lnTo>
                      <a:pt x="139" y="760"/>
                    </a:lnTo>
                    <a:lnTo>
                      <a:pt x="131" y="760"/>
                    </a:lnTo>
                    <a:lnTo>
                      <a:pt x="122" y="760"/>
                    </a:lnTo>
                    <a:lnTo>
                      <a:pt x="112" y="762"/>
                    </a:lnTo>
                    <a:lnTo>
                      <a:pt x="104" y="760"/>
                    </a:lnTo>
                    <a:lnTo>
                      <a:pt x="95" y="758"/>
                    </a:lnTo>
                    <a:lnTo>
                      <a:pt x="85" y="758"/>
                    </a:lnTo>
                    <a:lnTo>
                      <a:pt x="80" y="758"/>
                    </a:lnTo>
                    <a:lnTo>
                      <a:pt x="74" y="760"/>
                    </a:lnTo>
                    <a:lnTo>
                      <a:pt x="68" y="760"/>
                    </a:lnTo>
                    <a:lnTo>
                      <a:pt x="66" y="760"/>
                    </a:lnTo>
                    <a:lnTo>
                      <a:pt x="65" y="760"/>
                    </a:lnTo>
                    <a:lnTo>
                      <a:pt x="63" y="760"/>
                    </a:lnTo>
                    <a:lnTo>
                      <a:pt x="63" y="762"/>
                    </a:lnTo>
                    <a:lnTo>
                      <a:pt x="61" y="763"/>
                    </a:lnTo>
                    <a:lnTo>
                      <a:pt x="60" y="765"/>
                    </a:lnTo>
                    <a:lnTo>
                      <a:pt x="58" y="766"/>
                    </a:lnTo>
                    <a:lnTo>
                      <a:pt x="58" y="768"/>
                    </a:lnTo>
                    <a:lnTo>
                      <a:pt x="57" y="768"/>
                    </a:lnTo>
                    <a:lnTo>
                      <a:pt x="57" y="770"/>
                    </a:lnTo>
                    <a:lnTo>
                      <a:pt x="55" y="770"/>
                    </a:lnTo>
                    <a:lnTo>
                      <a:pt x="55" y="771"/>
                    </a:lnTo>
                    <a:lnTo>
                      <a:pt x="53" y="771"/>
                    </a:lnTo>
                    <a:lnTo>
                      <a:pt x="53" y="773"/>
                    </a:lnTo>
                    <a:lnTo>
                      <a:pt x="52" y="773"/>
                    </a:lnTo>
                    <a:lnTo>
                      <a:pt x="52" y="774"/>
                    </a:lnTo>
                    <a:lnTo>
                      <a:pt x="50" y="774"/>
                    </a:lnTo>
                    <a:lnTo>
                      <a:pt x="50" y="776"/>
                    </a:lnTo>
                    <a:lnTo>
                      <a:pt x="49" y="776"/>
                    </a:lnTo>
                    <a:lnTo>
                      <a:pt x="49" y="777"/>
                    </a:lnTo>
                    <a:lnTo>
                      <a:pt x="47" y="777"/>
                    </a:lnTo>
                    <a:lnTo>
                      <a:pt x="47" y="779"/>
                    </a:lnTo>
                    <a:lnTo>
                      <a:pt x="46" y="779"/>
                    </a:lnTo>
                    <a:lnTo>
                      <a:pt x="44" y="781"/>
                    </a:lnTo>
                    <a:lnTo>
                      <a:pt x="44" y="782"/>
                    </a:lnTo>
                    <a:lnTo>
                      <a:pt x="42" y="782"/>
                    </a:lnTo>
                    <a:lnTo>
                      <a:pt x="41" y="784"/>
                    </a:lnTo>
                    <a:lnTo>
                      <a:pt x="41" y="785"/>
                    </a:lnTo>
                    <a:lnTo>
                      <a:pt x="39" y="785"/>
                    </a:lnTo>
                    <a:lnTo>
                      <a:pt x="39" y="787"/>
                    </a:lnTo>
                    <a:lnTo>
                      <a:pt x="38" y="787"/>
                    </a:lnTo>
                    <a:lnTo>
                      <a:pt x="38" y="789"/>
                    </a:lnTo>
                    <a:lnTo>
                      <a:pt x="36" y="789"/>
                    </a:lnTo>
                    <a:lnTo>
                      <a:pt x="36" y="790"/>
                    </a:lnTo>
                    <a:lnTo>
                      <a:pt x="34" y="792"/>
                    </a:lnTo>
                    <a:lnTo>
                      <a:pt x="33" y="793"/>
                    </a:lnTo>
                    <a:lnTo>
                      <a:pt x="33" y="795"/>
                    </a:lnTo>
                    <a:lnTo>
                      <a:pt x="31" y="795"/>
                    </a:lnTo>
                    <a:lnTo>
                      <a:pt x="31" y="796"/>
                    </a:lnTo>
                    <a:lnTo>
                      <a:pt x="30" y="796"/>
                    </a:lnTo>
                    <a:lnTo>
                      <a:pt x="30" y="798"/>
                    </a:lnTo>
                    <a:lnTo>
                      <a:pt x="28" y="798"/>
                    </a:lnTo>
                    <a:lnTo>
                      <a:pt x="28" y="800"/>
                    </a:lnTo>
                    <a:lnTo>
                      <a:pt x="27" y="800"/>
                    </a:lnTo>
                    <a:lnTo>
                      <a:pt x="25" y="801"/>
                    </a:lnTo>
                    <a:lnTo>
                      <a:pt x="23" y="801"/>
                    </a:lnTo>
                    <a:lnTo>
                      <a:pt x="23" y="803"/>
                    </a:lnTo>
                    <a:lnTo>
                      <a:pt x="22" y="803"/>
                    </a:lnTo>
                    <a:lnTo>
                      <a:pt x="20" y="803"/>
                    </a:lnTo>
                    <a:lnTo>
                      <a:pt x="19" y="804"/>
                    </a:lnTo>
                    <a:lnTo>
                      <a:pt x="17" y="804"/>
                    </a:lnTo>
                    <a:lnTo>
                      <a:pt x="15" y="804"/>
                    </a:lnTo>
                    <a:lnTo>
                      <a:pt x="14" y="804"/>
                    </a:lnTo>
                    <a:lnTo>
                      <a:pt x="12" y="804"/>
                    </a:lnTo>
                    <a:lnTo>
                      <a:pt x="11" y="804"/>
                    </a:lnTo>
                    <a:lnTo>
                      <a:pt x="9" y="804"/>
                    </a:lnTo>
                    <a:lnTo>
                      <a:pt x="8" y="804"/>
                    </a:lnTo>
                    <a:lnTo>
                      <a:pt x="6" y="804"/>
                    </a:lnTo>
                    <a:lnTo>
                      <a:pt x="4" y="804"/>
                    </a:lnTo>
                    <a:lnTo>
                      <a:pt x="3" y="804"/>
                    </a:lnTo>
                    <a:lnTo>
                      <a:pt x="1" y="804"/>
                    </a:lnTo>
                    <a:lnTo>
                      <a:pt x="0" y="804"/>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44" name="Freeform 24"/>
              <p:cNvSpPr>
                <a:spLocks/>
              </p:cNvSpPr>
              <p:nvPr/>
            </p:nvSpPr>
            <p:spPr bwMode="auto">
              <a:xfrm>
                <a:off x="1869" y="1356"/>
                <a:ext cx="393" cy="1063"/>
              </a:xfrm>
              <a:custGeom>
                <a:avLst/>
                <a:gdLst>
                  <a:gd name="T0" fmla="*/ 258 w 393"/>
                  <a:gd name="T1" fmla="*/ 592 h 1063"/>
                  <a:gd name="T2" fmla="*/ 231 w 393"/>
                  <a:gd name="T3" fmla="*/ 594 h 1063"/>
                  <a:gd name="T4" fmla="*/ 212 w 393"/>
                  <a:gd name="T5" fmla="*/ 597 h 1063"/>
                  <a:gd name="T6" fmla="*/ 230 w 393"/>
                  <a:gd name="T7" fmla="*/ 615 h 1063"/>
                  <a:gd name="T8" fmla="*/ 247 w 393"/>
                  <a:gd name="T9" fmla="*/ 627 h 1063"/>
                  <a:gd name="T10" fmla="*/ 255 w 393"/>
                  <a:gd name="T11" fmla="*/ 649 h 1063"/>
                  <a:gd name="T12" fmla="*/ 260 w 393"/>
                  <a:gd name="T13" fmla="*/ 675 h 1063"/>
                  <a:gd name="T14" fmla="*/ 263 w 393"/>
                  <a:gd name="T15" fmla="*/ 699 h 1063"/>
                  <a:gd name="T16" fmla="*/ 268 w 393"/>
                  <a:gd name="T17" fmla="*/ 721 h 1063"/>
                  <a:gd name="T18" fmla="*/ 274 w 393"/>
                  <a:gd name="T19" fmla="*/ 746 h 1063"/>
                  <a:gd name="T20" fmla="*/ 279 w 393"/>
                  <a:gd name="T21" fmla="*/ 770 h 1063"/>
                  <a:gd name="T22" fmla="*/ 284 w 393"/>
                  <a:gd name="T23" fmla="*/ 794 h 1063"/>
                  <a:gd name="T24" fmla="*/ 296 w 393"/>
                  <a:gd name="T25" fmla="*/ 819 h 1063"/>
                  <a:gd name="T26" fmla="*/ 317 w 393"/>
                  <a:gd name="T27" fmla="*/ 868 h 1063"/>
                  <a:gd name="T28" fmla="*/ 333 w 393"/>
                  <a:gd name="T29" fmla="*/ 876 h 1063"/>
                  <a:gd name="T30" fmla="*/ 344 w 393"/>
                  <a:gd name="T31" fmla="*/ 892 h 1063"/>
                  <a:gd name="T32" fmla="*/ 341 w 393"/>
                  <a:gd name="T33" fmla="*/ 912 h 1063"/>
                  <a:gd name="T34" fmla="*/ 345 w 393"/>
                  <a:gd name="T35" fmla="*/ 935 h 1063"/>
                  <a:gd name="T36" fmla="*/ 333 w 393"/>
                  <a:gd name="T37" fmla="*/ 949 h 1063"/>
                  <a:gd name="T38" fmla="*/ 315 w 393"/>
                  <a:gd name="T39" fmla="*/ 958 h 1063"/>
                  <a:gd name="T40" fmla="*/ 309 w 393"/>
                  <a:gd name="T41" fmla="*/ 979 h 1063"/>
                  <a:gd name="T42" fmla="*/ 299 w 393"/>
                  <a:gd name="T43" fmla="*/ 1000 h 1063"/>
                  <a:gd name="T44" fmla="*/ 146 w 393"/>
                  <a:gd name="T45" fmla="*/ 1001 h 1063"/>
                  <a:gd name="T46" fmla="*/ 86 w 393"/>
                  <a:gd name="T47" fmla="*/ 882 h 1063"/>
                  <a:gd name="T48" fmla="*/ 86 w 393"/>
                  <a:gd name="T49" fmla="*/ 687 h 1063"/>
                  <a:gd name="T50" fmla="*/ 57 w 393"/>
                  <a:gd name="T51" fmla="*/ 597 h 1063"/>
                  <a:gd name="T52" fmla="*/ 3 w 393"/>
                  <a:gd name="T53" fmla="*/ 437 h 1063"/>
                  <a:gd name="T54" fmla="*/ 55 w 393"/>
                  <a:gd name="T55" fmla="*/ 306 h 1063"/>
                  <a:gd name="T56" fmla="*/ 127 w 393"/>
                  <a:gd name="T57" fmla="*/ 309 h 1063"/>
                  <a:gd name="T58" fmla="*/ 143 w 393"/>
                  <a:gd name="T59" fmla="*/ 306 h 1063"/>
                  <a:gd name="T60" fmla="*/ 152 w 393"/>
                  <a:gd name="T61" fmla="*/ 291 h 1063"/>
                  <a:gd name="T62" fmla="*/ 163 w 393"/>
                  <a:gd name="T63" fmla="*/ 279 h 1063"/>
                  <a:gd name="T64" fmla="*/ 177 w 393"/>
                  <a:gd name="T65" fmla="*/ 285 h 1063"/>
                  <a:gd name="T66" fmla="*/ 184 w 393"/>
                  <a:gd name="T67" fmla="*/ 276 h 1063"/>
                  <a:gd name="T68" fmla="*/ 201 w 393"/>
                  <a:gd name="T69" fmla="*/ 271 h 1063"/>
                  <a:gd name="T70" fmla="*/ 215 w 393"/>
                  <a:gd name="T71" fmla="*/ 257 h 1063"/>
                  <a:gd name="T72" fmla="*/ 227 w 393"/>
                  <a:gd name="T73" fmla="*/ 250 h 1063"/>
                  <a:gd name="T74" fmla="*/ 234 w 393"/>
                  <a:gd name="T75" fmla="*/ 244 h 1063"/>
                  <a:gd name="T76" fmla="*/ 236 w 393"/>
                  <a:gd name="T77" fmla="*/ 234 h 1063"/>
                  <a:gd name="T78" fmla="*/ 242 w 393"/>
                  <a:gd name="T79" fmla="*/ 219 h 1063"/>
                  <a:gd name="T80" fmla="*/ 255 w 393"/>
                  <a:gd name="T81" fmla="*/ 207 h 1063"/>
                  <a:gd name="T82" fmla="*/ 268 w 393"/>
                  <a:gd name="T83" fmla="*/ 200 h 1063"/>
                  <a:gd name="T84" fmla="*/ 276 w 393"/>
                  <a:gd name="T85" fmla="*/ 190 h 1063"/>
                  <a:gd name="T86" fmla="*/ 282 w 393"/>
                  <a:gd name="T87" fmla="*/ 177 h 1063"/>
                  <a:gd name="T88" fmla="*/ 292 w 393"/>
                  <a:gd name="T89" fmla="*/ 163 h 1063"/>
                  <a:gd name="T90" fmla="*/ 295 w 393"/>
                  <a:gd name="T91" fmla="*/ 146 h 1063"/>
                  <a:gd name="T92" fmla="*/ 301 w 393"/>
                  <a:gd name="T93" fmla="*/ 133 h 1063"/>
                  <a:gd name="T94" fmla="*/ 309 w 393"/>
                  <a:gd name="T95" fmla="*/ 120 h 1063"/>
                  <a:gd name="T96" fmla="*/ 320 w 393"/>
                  <a:gd name="T97" fmla="*/ 109 h 1063"/>
                  <a:gd name="T98" fmla="*/ 325 w 393"/>
                  <a:gd name="T99" fmla="*/ 95 h 1063"/>
                  <a:gd name="T100" fmla="*/ 336 w 393"/>
                  <a:gd name="T101" fmla="*/ 89 h 1063"/>
                  <a:gd name="T102" fmla="*/ 347 w 393"/>
                  <a:gd name="T103" fmla="*/ 93 h 1063"/>
                  <a:gd name="T104" fmla="*/ 352 w 393"/>
                  <a:gd name="T105" fmla="*/ 84 h 1063"/>
                  <a:gd name="T106" fmla="*/ 345 w 393"/>
                  <a:gd name="T107" fmla="*/ 70 h 1063"/>
                  <a:gd name="T108" fmla="*/ 352 w 393"/>
                  <a:gd name="T109" fmla="*/ 59 h 1063"/>
                  <a:gd name="T110" fmla="*/ 355 w 393"/>
                  <a:gd name="T111" fmla="*/ 47 h 1063"/>
                  <a:gd name="T112" fmla="*/ 361 w 393"/>
                  <a:gd name="T113" fmla="*/ 36 h 1063"/>
                  <a:gd name="T114" fmla="*/ 368 w 393"/>
                  <a:gd name="T115" fmla="*/ 25 h 1063"/>
                  <a:gd name="T116" fmla="*/ 374 w 393"/>
                  <a:gd name="T117" fmla="*/ 11 h 1063"/>
                  <a:gd name="T118" fmla="*/ 390 w 393"/>
                  <a:gd name="T119" fmla="*/ 3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3" h="1063">
                    <a:moveTo>
                      <a:pt x="284" y="592"/>
                    </a:moveTo>
                    <a:lnTo>
                      <a:pt x="282" y="592"/>
                    </a:lnTo>
                    <a:lnTo>
                      <a:pt x="280" y="592"/>
                    </a:lnTo>
                    <a:lnTo>
                      <a:pt x="279" y="592"/>
                    </a:lnTo>
                    <a:lnTo>
                      <a:pt x="277" y="592"/>
                    </a:lnTo>
                    <a:lnTo>
                      <a:pt x="276" y="592"/>
                    </a:lnTo>
                    <a:lnTo>
                      <a:pt x="274" y="592"/>
                    </a:lnTo>
                    <a:lnTo>
                      <a:pt x="273" y="592"/>
                    </a:lnTo>
                    <a:lnTo>
                      <a:pt x="271" y="592"/>
                    </a:lnTo>
                    <a:lnTo>
                      <a:pt x="269" y="592"/>
                    </a:lnTo>
                    <a:lnTo>
                      <a:pt x="268" y="592"/>
                    </a:lnTo>
                    <a:lnTo>
                      <a:pt x="266" y="592"/>
                    </a:lnTo>
                    <a:lnTo>
                      <a:pt x="265" y="592"/>
                    </a:lnTo>
                    <a:lnTo>
                      <a:pt x="263" y="592"/>
                    </a:lnTo>
                    <a:lnTo>
                      <a:pt x="261" y="592"/>
                    </a:lnTo>
                    <a:lnTo>
                      <a:pt x="260" y="592"/>
                    </a:lnTo>
                    <a:lnTo>
                      <a:pt x="258" y="592"/>
                    </a:lnTo>
                    <a:lnTo>
                      <a:pt x="257" y="592"/>
                    </a:lnTo>
                    <a:lnTo>
                      <a:pt x="255" y="592"/>
                    </a:lnTo>
                    <a:lnTo>
                      <a:pt x="253" y="592"/>
                    </a:lnTo>
                    <a:lnTo>
                      <a:pt x="252" y="592"/>
                    </a:lnTo>
                    <a:lnTo>
                      <a:pt x="250" y="594"/>
                    </a:lnTo>
                    <a:lnTo>
                      <a:pt x="249" y="594"/>
                    </a:lnTo>
                    <a:lnTo>
                      <a:pt x="247" y="594"/>
                    </a:lnTo>
                    <a:lnTo>
                      <a:pt x="246" y="594"/>
                    </a:lnTo>
                    <a:lnTo>
                      <a:pt x="244" y="594"/>
                    </a:lnTo>
                    <a:lnTo>
                      <a:pt x="242" y="594"/>
                    </a:lnTo>
                    <a:lnTo>
                      <a:pt x="241" y="594"/>
                    </a:lnTo>
                    <a:lnTo>
                      <a:pt x="239" y="594"/>
                    </a:lnTo>
                    <a:lnTo>
                      <a:pt x="238" y="594"/>
                    </a:lnTo>
                    <a:lnTo>
                      <a:pt x="236" y="594"/>
                    </a:lnTo>
                    <a:lnTo>
                      <a:pt x="234" y="594"/>
                    </a:lnTo>
                    <a:lnTo>
                      <a:pt x="233" y="594"/>
                    </a:lnTo>
                    <a:lnTo>
                      <a:pt x="231" y="594"/>
                    </a:lnTo>
                    <a:lnTo>
                      <a:pt x="230" y="594"/>
                    </a:lnTo>
                    <a:lnTo>
                      <a:pt x="228" y="594"/>
                    </a:lnTo>
                    <a:lnTo>
                      <a:pt x="227" y="594"/>
                    </a:lnTo>
                    <a:lnTo>
                      <a:pt x="225" y="594"/>
                    </a:lnTo>
                    <a:lnTo>
                      <a:pt x="223" y="594"/>
                    </a:lnTo>
                    <a:lnTo>
                      <a:pt x="222" y="594"/>
                    </a:lnTo>
                    <a:lnTo>
                      <a:pt x="220" y="594"/>
                    </a:lnTo>
                    <a:lnTo>
                      <a:pt x="219" y="594"/>
                    </a:lnTo>
                    <a:lnTo>
                      <a:pt x="217" y="594"/>
                    </a:lnTo>
                    <a:lnTo>
                      <a:pt x="215" y="594"/>
                    </a:lnTo>
                    <a:lnTo>
                      <a:pt x="214" y="594"/>
                    </a:lnTo>
                    <a:lnTo>
                      <a:pt x="212" y="594"/>
                    </a:lnTo>
                    <a:lnTo>
                      <a:pt x="211" y="594"/>
                    </a:lnTo>
                    <a:lnTo>
                      <a:pt x="209" y="594"/>
                    </a:lnTo>
                    <a:lnTo>
                      <a:pt x="209" y="596"/>
                    </a:lnTo>
                    <a:lnTo>
                      <a:pt x="211" y="597"/>
                    </a:lnTo>
                    <a:lnTo>
                      <a:pt x="212" y="597"/>
                    </a:lnTo>
                    <a:lnTo>
                      <a:pt x="212" y="599"/>
                    </a:lnTo>
                    <a:lnTo>
                      <a:pt x="214" y="599"/>
                    </a:lnTo>
                    <a:lnTo>
                      <a:pt x="214" y="600"/>
                    </a:lnTo>
                    <a:lnTo>
                      <a:pt x="215" y="600"/>
                    </a:lnTo>
                    <a:lnTo>
                      <a:pt x="215" y="602"/>
                    </a:lnTo>
                    <a:lnTo>
                      <a:pt x="217" y="602"/>
                    </a:lnTo>
                    <a:lnTo>
                      <a:pt x="217" y="603"/>
                    </a:lnTo>
                    <a:lnTo>
                      <a:pt x="219" y="603"/>
                    </a:lnTo>
                    <a:lnTo>
                      <a:pt x="219" y="605"/>
                    </a:lnTo>
                    <a:lnTo>
                      <a:pt x="220" y="605"/>
                    </a:lnTo>
                    <a:lnTo>
                      <a:pt x="222" y="607"/>
                    </a:lnTo>
                    <a:lnTo>
                      <a:pt x="223" y="608"/>
                    </a:lnTo>
                    <a:lnTo>
                      <a:pt x="223" y="610"/>
                    </a:lnTo>
                    <a:lnTo>
                      <a:pt x="225" y="610"/>
                    </a:lnTo>
                    <a:lnTo>
                      <a:pt x="227" y="611"/>
                    </a:lnTo>
                    <a:lnTo>
                      <a:pt x="228" y="613"/>
                    </a:lnTo>
                    <a:lnTo>
                      <a:pt x="230" y="615"/>
                    </a:lnTo>
                    <a:lnTo>
                      <a:pt x="231" y="615"/>
                    </a:lnTo>
                    <a:lnTo>
                      <a:pt x="231" y="616"/>
                    </a:lnTo>
                    <a:lnTo>
                      <a:pt x="233" y="616"/>
                    </a:lnTo>
                    <a:lnTo>
                      <a:pt x="233" y="618"/>
                    </a:lnTo>
                    <a:lnTo>
                      <a:pt x="234" y="618"/>
                    </a:lnTo>
                    <a:lnTo>
                      <a:pt x="234" y="619"/>
                    </a:lnTo>
                    <a:lnTo>
                      <a:pt x="236" y="619"/>
                    </a:lnTo>
                    <a:lnTo>
                      <a:pt x="238" y="621"/>
                    </a:lnTo>
                    <a:lnTo>
                      <a:pt x="239" y="621"/>
                    </a:lnTo>
                    <a:lnTo>
                      <a:pt x="239" y="622"/>
                    </a:lnTo>
                    <a:lnTo>
                      <a:pt x="241" y="622"/>
                    </a:lnTo>
                    <a:lnTo>
                      <a:pt x="241" y="624"/>
                    </a:lnTo>
                    <a:lnTo>
                      <a:pt x="242" y="624"/>
                    </a:lnTo>
                    <a:lnTo>
                      <a:pt x="244" y="626"/>
                    </a:lnTo>
                    <a:lnTo>
                      <a:pt x="246" y="626"/>
                    </a:lnTo>
                    <a:lnTo>
                      <a:pt x="246" y="627"/>
                    </a:lnTo>
                    <a:lnTo>
                      <a:pt x="247" y="627"/>
                    </a:lnTo>
                    <a:lnTo>
                      <a:pt x="247" y="629"/>
                    </a:lnTo>
                    <a:lnTo>
                      <a:pt x="249" y="629"/>
                    </a:lnTo>
                    <a:lnTo>
                      <a:pt x="249" y="630"/>
                    </a:lnTo>
                    <a:lnTo>
                      <a:pt x="250" y="630"/>
                    </a:lnTo>
                    <a:lnTo>
                      <a:pt x="250" y="632"/>
                    </a:lnTo>
                    <a:lnTo>
                      <a:pt x="252" y="632"/>
                    </a:lnTo>
                    <a:lnTo>
                      <a:pt x="252" y="634"/>
                    </a:lnTo>
                    <a:lnTo>
                      <a:pt x="253" y="635"/>
                    </a:lnTo>
                    <a:lnTo>
                      <a:pt x="253" y="637"/>
                    </a:lnTo>
                    <a:lnTo>
                      <a:pt x="253" y="638"/>
                    </a:lnTo>
                    <a:lnTo>
                      <a:pt x="253" y="640"/>
                    </a:lnTo>
                    <a:lnTo>
                      <a:pt x="253" y="642"/>
                    </a:lnTo>
                    <a:lnTo>
                      <a:pt x="253" y="643"/>
                    </a:lnTo>
                    <a:lnTo>
                      <a:pt x="253" y="645"/>
                    </a:lnTo>
                    <a:lnTo>
                      <a:pt x="255" y="646"/>
                    </a:lnTo>
                    <a:lnTo>
                      <a:pt x="255" y="648"/>
                    </a:lnTo>
                    <a:lnTo>
                      <a:pt x="255" y="649"/>
                    </a:lnTo>
                    <a:lnTo>
                      <a:pt x="255" y="651"/>
                    </a:lnTo>
                    <a:lnTo>
                      <a:pt x="255" y="653"/>
                    </a:lnTo>
                    <a:lnTo>
                      <a:pt x="255" y="654"/>
                    </a:lnTo>
                    <a:lnTo>
                      <a:pt x="257" y="656"/>
                    </a:lnTo>
                    <a:lnTo>
                      <a:pt x="257" y="657"/>
                    </a:lnTo>
                    <a:lnTo>
                      <a:pt x="257" y="659"/>
                    </a:lnTo>
                    <a:lnTo>
                      <a:pt x="257" y="661"/>
                    </a:lnTo>
                    <a:lnTo>
                      <a:pt x="257" y="662"/>
                    </a:lnTo>
                    <a:lnTo>
                      <a:pt x="257" y="664"/>
                    </a:lnTo>
                    <a:lnTo>
                      <a:pt x="258" y="665"/>
                    </a:lnTo>
                    <a:lnTo>
                      <a:pt x="258" y="667"/>
                    </a:lnTo>
                    <a:lnTo>
                      <a:pt x="258" y="668"/>
                    </a:lnTo>
                    <a:lnTo>
                      <a:pt x="258" y="670"/>
                    </a:lnTo>
                    <a:lnTo>
                      <a:pt x="258" y="672"/>
                    </a:lnTo>
                    <a:lnTo>
                      <a:pt x="260" y="672"/>
                    </a:lnTo>
                    <a:lnTo>
                      <a:pt x="260" y="673"/>
                    </a:lnTo>
                    <a:lnTo>
                      <a:pt x="260" y="675"/>
                    </a:lnTo>
                    <a:lnTo>
                      <a:pt x="260" y="676"/>
                    </a:lnTo>
                    <a:lnTo>
                      <a:pt x="260" y="678"/>
                    </a:lnTo>
                    <a:lnTo>
                      <a:pt x="260" y="680"/>
                    </a:lnTo>
                    <a:lnTo>
                      <a:pt x="261" y="680"/>
                    </a:lnTo>
                    <a:lnTo>
                      <a:pt x="261" y="681"/>
                    </a:lnTo>
                    <a:lnTo>
                      <a:pt x="261" y="683"/>
                    </a:lnTo>
                    <a:lnTo>
                      <a:pt x="261" y="684"/>
                    </a:lnTo>
                    <a:lnTo>
                      <a:pt x="261" y="686"/>
                    </a:lnTo>
                    <a:lnTo>
                      <a:pt x="261" y="687"/>
                    </a:lnTo>
                    <a:lnTo>
                      <a:pt x="261" y="689"/>
                    </a:lnTo>
                    <a:lnTo>
                      <a:pt x="263" y="689"/>
                    </a:lnTo>
                    <a:lnTo>
                      <a:pt x="263" y="691"/>
                    </a:lnTo>
                    <a:lnTo>
                      <a:pt x="263" y="692"/>
                    </a:lnTo>
                    <a:lnTo>
                      <a:pt x="263" y="694"/>
                    </a:lnTo>
                    <a:lnTo>
                      <a:pt x="263" y="695"/>
                    </a:lnTo>
                    <a:lnTo>
                      <a:pt x="263" y="697"/>
                    </a:lnTo>
                    <a:lnTo>
                      <a:pt x="263" y="699"/>
                    </a:lnTo>
                    <a:lnTo>
                      <a:pt x="265" y="699"/>
                    </a:lnTo>
                    <a:lnTo>
                      <a:pt x="265" y="700"/>
                    </a:lnTo>
                    <a:lnTo>
                      <a:pt x="265" y="702"/>
                    </a:lnTo>
                    <a:lnTo>
                      <a:pt x="265" y="703"/>
                    </a:lnTo>
                    <a:lnTo>
                      <a:pt x="265" y="705"/>
                    </a:lnTo>
                    <a:lnTo>
                      <a:pt x="265" y="706"/>
                    </a:lnTo>
                    <a:lnTo>
                      <a:pt x="266" y="706"/>
                    </a:lnTo>
                    <a:lnTo>
                      <a:pt x="266" y="708"/>
                    </a:lnTo>
                    <a:lnTo>
                      <a:pt x="266" y="710"/>
                    </a:lnTo>
                    <a:lnTo>
                      <a:pt x="266" y="711"/>
                    </a:lnTo>
                    <a:lnTo>
                      <a:pt x="266" y="713"/>
                    </a:lnTo>
                    <a:lnTo>
                      <a:pt x="266" y="714"/>
                    </a:lnTo>
                    <a:lnTo>
                      <a:pt x="268" y="714"/>
                    </a:lnTo>
                    <a:lnTo>
                      <a:pt x="268" y="716"/>
                    </a:lnTo>
                    <a:lnTo>
                      <a:pt x="268" y="718"/>
                    </a:lnTo>
                    <a:lnTo>
                      <a:pt x="268" y="719"/>
                    </a:lnTo>
                    <a:lnTo>
                      <a:pt x="268" y="721"/>
                    </a:lnTo>
                    <a:lnTo>
                      <a:pt x="268" y="722"/>
                    </a:lnTo>
                    <a:lnTo>
                      <a:pt x="269" y="722"/>
                    </a:lnTo>
                    <a:lnTo>
                      <a:pt x="269" y="724"/>
                    </a:lnTo>
                    <a:lnTo>
                      <a:pt x="269" y="725"/>
                    </a:lnTo>
                    <a:lnTo>
                      <a:pt x="269" y="727"/>
                    </a:lnTo>
                    <a:lnTo>
                      <a:pt x="269" y="729"/>
                    </a:lnTo>
                    <a:lnTo>
                      <a:pt x="271" y="730"/>
                    </a:lnTo>
                    <a:lnTo>
                      <a:pt x="271" y="732"/>
                    </a:lnTo>
                    <a:lnTo>
                      <a:pt x="271" y="733"/>
                    </a:lnTo>
                    <a:lnTo>
                      <a:pt x="271" y="735"/>
                    </a:lnTo>
                    <a:lnTo>
                      <a:pt x="271" y="737"/>
                    </a:lnTo>
                    <a:lnTo>
                      <a:pt x="273" y="738"/>
                    </a:lnTo>
                    <a:lnTo>
                      <a:pt x="273" y="740"/>
                    </a:lnTo>
                    <a:lnTo>
                      <a:pt x="273" y="741"/>
                    </a:lnTo>
                    <a:lnTo>
                      <a:pt x="273" y="743"/>
                    </a:lnTo>
                    <a:lnTo>
                      <a:pt x="273" y="744"/>
                    </a:lnTo>
                    <a:lnTo>
                      <a:pt x="274" y="746"/>
                    </a:lnTo>
                    <a:lnTo>
                      <a:pt x="274" y="748"/>
                    </a:lnTo>
                    <a:lnTo>
                      <a:pt x="274" y="749"/>
                    </a:lnTo>
                    <a:lnTo>
                      <a:pt x="274" y="751"/>
                    </a:lnTo>
                    <a:lnTo>
                      <a:pt x="274" y="752"/>
                    </a:lnTo>
                    <a:lnTo>
                      <a:pt x="274" y="754"/>
                    </a:lnTo>
                    <a:lnTo>
                      <a:pt x="276" y="754"/>
                    </a:lnTo>
                    <a:lnTo>
                      <a:pt x="276" y="756"/>
                    </a:lnTo>
                    <a:lnTo>
                      <a:pt x="276" y="757"/>
                    </a:lnTo>
                    <a:lnTo>
                      <a:pt x="276" y="759"/>
                    </a:lnTo>
                    <a:lnTo>
                      <a:pt x="276" y="760"/>
                    </a:lnTo>
                    <a:lnTo>
                      <a:pt x="277" y="762"/>
                    </a:lnTo>
                    <a:lnTo>
                      <a:pt x="277" y="763"/>
                    </a:lnTo>
                    <a:lnTo>
                      <a:pt x="277" y="765"/>
                    </a:lnTo>
                    <a:lnTo>
                      <a:pt x="277" y="767"/>
                    </a:lnTo>
                    <a:lnTo>
                      <a:pt x="277" y="768"/>
                    </a:lnTo>
                    <a:lnTo>
                      <a:pt x="277" y="770"/>
                    </a:lnTo>
                    <a:lnTo>
                      <a:pt x="279" y="770"/>
                    </a:lnTo>
                    <a:lnTo>
                      <a:pt x="279" y="771"/>
                    </a:lnTo>
                    <a:lnTo>
                      <a:pt x="279" y="773"/>
                    </a:lnTo>
                    <a:lnTo>
                      <a:pt x="279" y="775"/>
                    </a:lnTo>
                    <a:lnTo>
                      <a:pt x="279" y="776"/>
                    </a:lnTo>
                    <a:lnTo>
                      <a:pt x="279" y="778"/>
                    </a:lnTo>
                    <a:lnTo>
                      <a:pt x="279" y="779"/>
                    </a:lnTo>
                    <a:lnTo>
                      <a:pt x="279" y="781"/>
                    </a:lnTo>
                    <a:lnTo>
                      <a:pt x="279" y="782"/>
                    </a:lnTo>
                    <a:lnTo>
                      <a:pt x="279" y="784"/>
                    </a:lnTo>
                    <a:lnTo>
                      <a:pt x="280" y="784"/>
                    </a:lnTo>
                    <a:lnTo>
                      <a:pt x="280" y="786"/>
                    </a:lnTo>
                    <a:lnTo>
                      <a:pt x="282" y="787"/>
                    </a:lnTo>
                    <a:lnTo>
                      <a:pt x="282" y="789"/>
                    </a:lnTo>
                    <a:lnTo>
                      <a:pt x="282" y="790"/>
                    </a:lnTo>
                    <a:lnTo>
                      <a:pt x="284" y="790"/>
                    </a:lnTo>
                    <a:lnTo>
                      <a:pt x="284" y="792"/>
                    </a:lnTo>
                    <a:lnTo>
                      <a:pt x="284" y="794"/>
                    </a:lnTo>
                    <a:lnTo>
                      <a:pt x="285" y="794"/>
                    </a:lnTo>
                    <a:lnTo>
                      <a:pt x="285" y="795"/>
                    </a:lnTo>
                    <a:lnTo>
                      <a:pt x="285" y="797"/>
                    </a:lnTo>
                    <a:lnTo>
                      <a:pt x="287" y="797"/>
                    </a:lnTo>
                    <a:lnTo>
                      <a:pt x="287" y="798"/>
                    </a:lnTo>
                    <a:lnTo>
                      <a:pt x="287" y="800"/>
                    </a:lnTo>
                    <a:lnTo>
                      <a:pt x="288" y="803"/>
                    </a:lnTo>
                    <a:lnTo>
                      <a:pt x="290" y="811"/>
                    </a:lnTo>
                    <a:lnTo>
                      <a:pt x="288" y="811"/>
                    </a:lnTo>
                    <a:lnTo>
                      <a:pt x="288" y="813"/>
                    </a:lnTo>
                    <a:lnTo>
                      <a:pt x="290" y="813"/>
                    </a:lnTo>
                    <a:lnTo>
                      <a:pt x="292" y="813"/>
                    </a:lnTo>
                    <a:lnTo>
                      <a:pt x="293" y="814"/>
                    </a:lnTo>
                    <a:lnTo>
                      <a:pt x="293" y="816"/>
                    </a:lnTo>
                    <a:lnTo>
                      <a:pt x="293" y="817"/>
                    </a:lnTo>
                    <a:lnTo>
                      <a:pt x="295" y="819"/>
                    </a:lnTo>
                    <a:lnTo>
                      <a:pt x="296" y="819"/>
                    </a:lnTo>
                    <a:lnTo>
                      <a:pt x="296" y="821"/>
                    </a:lnTo>
                    <a:lnTo>
                      <a:pt x="298" y="821"/>
                    </a:lnTo>
                    <a:lnTo>
                      <a:pt x="299" y="822"/>
                    </a:lnTo>
                    <a:lnTo>
                      <a:pt x="311" y="852"/>
                    </a:lnTo>
                    <a:lnTo>
                      <a:pt x="311" y="854"/>
                    </a:lnTo>
                    <a:lnTo>
                      <a:pt x="312" y="854"/>
                    </a:lnTo>
                    <a:lnTo>
                      <a:pt x="312" y="855"/>
                    </a:lnTo>
                    <a:lnTo>
                      <a:pt x="312" y="857"/>
                    </a:lnTo>
                    <a:lnTo>
                      <a:pt x="314" y="859"/>
                    </a:lnTo>
                    <a:lnTo>
                      <a:pt x="314" y="860"/>
                    </a:lnTo>
                    <a:lnTo>
                      <a:pt x="314" y="862"/>
                    </a:lnTo>
                    <a:lnTo>
                      <a:pt x="315" y="862"/>
                    </a:lnTo>
                    <a:lnTo>
                      <a:pt x="315" y="863"/>
                    </a:lnTo>
                    <a:lnTo>
                      <a:pt x="315" y="865"/>
                    </a:lnTo>
                    <a:lnTo>
                      <a:pt x="317" y="865"/>
                    </a:lnTo>
                    <a:lnTo>
                      <a:pt x="317" y="866"/>
                    </a:lnTo>
                    <a:lnTo>
                      <a:pt x="317" y="868"/>
                    </a:lnTo>
                    <a:lnTo>
                      <a:pt x="318" y="868"/>
                    </a:lnTo>
                    <a:lnTo>
                      <a:pt x="318" y="870"/>
                    </a:lnTo>
                    <a:lnTo>
                      <a:pt x="318" y="871"/>
                    </a:lnTo>
                    <a:lnTo>
                      <a:pt x="318" y="873"/>
                    </a:lnTo>
                    <a:lnTo>
                      <a:pt x="320" y="873"/>
                    </a:lnTo>
                    <a:lnTo>
                      <a:pt x="320" y="874"/>
                    </a:lnTo>
                    <a:lnTo>
                      <a:pt x="322" y="876"/>
                    </a:lnTo>
                    <a:lnTo>
                      <a:pt x="322" y="878"/>
                    </a:lnTo>
                    <a:lnTo>
                      <a:pt x="323" y="878"/>
                    </a:lnTo>
                    <a:lnTo>
                      <a:pt x="323" y="879"/>
                    </a:lnTo>
                    <a:lnTo>
                      <a:pt x="325" y="879"/>
                    </a:lnTo>
                    <a:lnTo>
                      <a:pt x="326" y="879"/>
                    </a:lnTo>
                    <a:lnTo>
                      <a:pt x="328" y="878"/>
                    </a:lnTo>
                    <a:lnTo>
                      <a:pt x="330" y="878"/>
                    </a:lnTo>
                    <a:lnTo>
                      <a:pt x="331" y="878"/>
                    </a:lnTo>
                    <a:lnTo>
                      <a:pt x="331" y="876"/>
                    </a:lnTo>
                    <a:lnTo>
                      <a:pt x="333" y="876"/>
                    </a:lnTo>
                    <a:lnTo>
                      <a:pt x="334" y="876"/>
                    </a:lnTo>
                    <a:lnTo>
                      <a:pt x="334" y="878"/>
                    </a:lnTo>
                    <a:lnTo>
                      <a:pt x="336" y="878"/>
                    </a:lnTo>
                    <a:lnTo>
                      <a:pt x="337" y="878"/>
                    </a:lnTo>
                    <a:lnTo>
                      <a:pt x="339" y="878"/>
                    </a:lnTo>
                    <a:lnTo>
                      <a:pt x="339" y="879"/>
                    </a:lnTo>
                    <a:lnTo>
                      <a:pt x="341" y="879"/>
                    </a:lnTo>
                    <a:lnTo>
                      <a:pt x="341" y="881"/>
                    </a:lnTo>
                    <a:lnTo>
                      <a:pt x="342" y="881"/>
                    </a:lnTo>
                    <a:lnTo>
                      <a:pt x="342" y="882"/>
                    </a:lnTo>
                    <a:lnTo>
                      <a:pt x="344" y="882"/>
                    </a:lnTo>
                    <a:lnTo>
                      <a:pt x="344" y="884"/>
                    </a:lnTo>
                    <a:lnTo>
                      <a:pt x="344" y="885"/>
                    </a:lnTo>
                    <a:lnTo>
                      <a:pt x="344" y="887"/>
                    </a:lnTo>
                    <a:lnTo>
                      <a:pt x="344" y="889"/>
                    </a:lnTo>
                    <a:lnTo>
                      <a:pt x="344" y="890"/>
                    </a:lnTo>
                    <a:lnTo>
                      <a:pt x="344" y="892"/>
                    </a:lnTo>
                    <a:lnTo>
                      <a:pt x="344" y="893"/>
                    </a:lnTo>
                    <a:lnTo>
                      <a:pt x="342" y="895"/>
                    </a:lnTo>
                    <a:lnTo>
                      <a:pt x="342" y="897"/>
                    </a:lnTo>
                    <a:lnTo>
                      <a:pt x="342" y="898"/>
                    </a:lnTo>
                    <a:lnTo>
                      <a:pt x="341" y="898"/>
                    </a:lnTo>
                    <a:lnTo>
                      <a:pt x="342" y="900"/>
                    </a:lnTo>
                    <a:lnTo>
                      <a:pt x="342" y="901"/>
                    </a:lnTo>
                    <a:lnTo>
                      <a:pt x="342" y="903"/>
                    </a:lnTo>
                    <a:lnTo>
                      <a:pt x="342" y="904"/>
                    </a:lnTo>
                    <a:lnTo>
                      <a:pt x="341" y="904"/>
                    </a:lnTo>
                    <a:lnTo>
                      <a:pt x="341" y="906"/>
                    </a:lnTo>
                    <a:lnTo>
                      <a:pt x="339" y="906"/>
                    </a:lnTo>
                    <a:lnTo>
                      <a:pt x="339" y="908"/>
                    </a:lnTo>
                    <a:lnTo>
                      <a:pt x="339" y="909"/>
                    </a:lnTo>
                    <a:lnTo>
                      <a:pt x="339" y="911"/>
                    </a:lnTo>
                    <a:lnTo>
                      <a:pt x="339" y="912"/>
                    </a:lnTo>
                    <a:lnTo>
                      <a:pt x="341" y="912"/>
                    </a:lnTo>
                    <a:lnTo>
                      <a:pt x="341" y="914"/>
                    </a:lnTo>
                    <a:lnTo>
                      <a:pt x="342" y="914"/>
                    </a:lnTo>
                    <a:lnTo>
                      <a:pt x="342" y="916"/>
                    </a:lnTo>
                    <a:lnTo>
                      <a:pt x="344" y="916"/>
                    </a:lnTo>
                    <a:lnTo>
                      <a:pt x="344" y="917"/>
                    </a:lnTo>
                    <a:lnTo>
                      <a:pt x="345" y="917"/>
                    </a:lnTo>
                    <a:lnTo>
                      <a:pt x="345" y="919"/>
                    </a:lnTo>
                    <a:lnTo>
                      <a:pt x="345" y="920"/>
                    </a:lnTo>
                    <a:lnTo>
                      <a:pt x="345" y="922"/>
                    </a:lnTo>
                    <a:lnTo>
                      <a:pt x="345" y="923"/>
                    </a:lnTo>
                    <a:lnTo>
                      <a:pt x="345" y="925"/>
                    </a:lnTo>
                    <a:lnTo>
                      <a:pt x="345" y="927"/>
                    </a:lnTo>
                    <a:lnTo>
                      <a:pt x="345" y="928"/>
                    </a:lnTo>
                    <a:lnTo>
                      <a:pt x="345" y="930"/>
                    </a:lnTo>
                    <a:lnTo>
                      <a:pt x="345" y="931"/>
                    </a:lnTo>
                    <a:lnTo>
                      <a:pt x="345" y="933"/>
                    </a:lnTo>
                    <a:lnTo>
                      <a:pt x="345" y="935"/>
                    </a:lnTo>
                    <a:lnTo>
                      <a:pt x="347" y="935"/>
                    </a:lnTo>
                    <a:lnTo>
                      <a:pt x="347" y="936"/>
                    </a:lnTo>
                    <a:lnTo>
                      <a:pt x="347" y="938"/>
                    </a:lnTo>
                    <a:lnTo>
                      <a:pt x="347" y="939"/>
                    </a:lnTo>
                    <a:lnTo>
                      <a:pt x="345" y="939"/>
                    </a:lnTo>
                    <a:lnTo>
                      <a:pt x="345" y="941"/>
                    </a:lnTo>
                    <a:lnTo>
                      <a:pt x="344" y="941"/>
                    </a:lnTo>
                    <a:lnTo>
                      <a:pt x="344" y="942"/>
                    </a:lnTo>
                    <a:lnTo>
                      <a:pt x="342" y="942"/>
                    </a:lnTo>
                    <a:lnTo>
                      <a:pt x="341" y="942"/>
                    </a:lnTo>
                    <a:lnTo>
                      <a:pt x="339" y="942"/>
                    </a:lnTo>
                    <a:lnTo>
                      <a:pt x="337" y="942"/>
                    </a:lnTo>
                    <a:lnTo>
                      <a:pt x="336" y="944"/>
                    </a:lnTo>
                    <a:lnTo>
                      <a:pt x="336" y="946"/>
                    </a:lnTo>
                    <a:lnTo>
                      <a:pt x="334" y="946"/>
                    </a:lnTo>
                    <a:lnTo>
                      <a:pt x="334" y="947"/>
                    </a:lnTo>
                    <a:lnTo>
                      <a:pt x="333" y="949"/>
                    </a:lnTo>
                    <a:lnTo>
                      <a:pt x="331" y="949"/>
                    </a:lnTo>
                    <a:lnTo>
                      <a:pt x="330" y="949"/>
                    </a:lnTo>
                    <a:lnTo>
                      <a:pt x="330" y="950"/>
                    </a:lnTo>
                    <a:lnTo>
                      <a:pt x="328" y="950"/>
                    </a:lnTo>
                    <a:lnTo>
                      <a:pt x="326" y="950"/>
                    </a:lnTo>
                    <a:lnTo>
                      <a:pt x="326" y="952"/>
                    </a:lnTo>
                    <a:lnTo>
                      <a:pt x="325" y="952"/>
                    </a:lnTo>
                    <a:lnTo>
                      <a:pt x="323" y="952"/>
                    </a:lnTo>
                    <a:lnTo>
                      <a:pt x="323" y="954"/>
                    </a:lnTo>
                    <a:lnTo>
                      <a:pt x="322" y="954"/>
                    </a:lnTo>
                    <a:lnTo>
                      <a:pt x="320" y="954"/>
                    </a:lnTo>
                    <a:lnTo>
                      <a:pt x="320" y="955"/>
                    </a:lnTo>
                    <a:lnTo>
                      <a:pt x="318" y="955"/>
                    </a:lnTo>
                    <a:lnTo>
                      <a:pt x="317" y="955"/>
                    </a:lnTo>
                    <a:lnTo>
                      <a:pt x="317" y="957"/>
                    </a:lnTo>
                    <a:lnTo>
                      <a:pt x="315" y="957"/>
                    </a:lnTo>
                    <a:lnTo>
                      <a:pt x="315" y="958"/>
                    </a:lnTo>
                    <a:lnTo>
                      <a:pt x="315" y="960"/>
                    </a:lnTo>
                    <a:lnTo>
                      <a:pt x="317" y="960"/>
                    </a:lnTo>
                    <a:lnTo>
                      <a:pt x="317" y="961"/>
                    </a:lnTo>
                    <a:lnTo>
                      <a:pt x="317" y="963"/>
                    </a:lnTo>
                    <a:lnTo>
                      <a:pt x="315" y="963"/>
                    </a:lnTo>
                    <a:lnTo>
                      <a:pt x="315" y="965"/>
                    </a:lnTo>
                    <a:lnTo>
                      <a:pt x="314" y="965"/>
                    </a:lnTo>
                    <a:lnTo>
                      <a:pt x="312" y="966"/>
                    </a:lnTo>
                    <a:lnTo>
                      <a:pt x="312" y="968"/>
                    </a:lnTo>
                    <a:lnTo>
                      <a:pt x="312" y="969"/>
                    </a:lnTo>
                    <a:lnTo>
                      <a:pt x="312" y="971"/>
                    </a:lnTo>
                    <a:lnTo>
                      <a:pt x="312" y="973"/>
                    </a:lnTo>
                    <a:lnTo>
                      <a:pt x="311" y="973"/>
                    </a:lnTo>
                    <a:lnTo>
                      <a:pt x="311" y="974"/>
                    </a:lnTo>
                    <a:lnTo>
                      <a:pt x="311" y="976"/>
                    </a:lnTo>
                    <a:lnTo>
                      <a:pt x="309" y="977"/>
                    </a:lnTo>
                    <a:lnTo>
                      <a:pt x="309" y="979"/>
                    </a:lnTo>
                    <a:lnTo>
                      <a:pt x="309" y="980"/>
                    </a:lnTo>
                    <a:lnTo>
                      <a:pt x="307" y="980"/>
                    </a:lnTo>
                    <a:lnTo>
                      <a:pt x="307" y="982"/>
                    </a:lnTo>
                    <a:lnTo>
                      <a:pt x="307" y="984"/>
                    </a:lnTo>
                    <a:lnTo>
                      <a:pt x="307" y="985"/>
                    </a:lnTo>
                    <a:lnTo>
                      <a:pt x="307" y="987"/>
                    </a:lnTo>
                    <a:lnTo>
                      <a:pt x="306" y="987"/>
                    </a:lnTo>
                    <a:lnTo>
                      <a:pt x="306" y="988"/>
                    </a:lnTo>
                    <a:lnTo>
                      <a:pt x="306" y="990"/>
                    </a:lnTo>
                    <a:lnTo>
                      <a:pt x="304" y="990"/>
                    </a:lnTo>
                    <a:lnTo>
                      <a:pt x="304" y="992"/>
                    </a:lnTo>
                    <a:lnTo>
                      <a:pt x="304" y="993"/>
                    </a:lnTo>
                    <a:lnTo>
                      <a:pt x="303" y="993"/>
                    </a:lnTo>
                    <a:lnTo>
                      <a:pt x="303" y="995"/>
                    </a:lnTo>
                    <a:lnTo>
                      <a:pt x="303" y="996"/>
                    </a:lnTo>
                    <a:lnTo>
                      <a:pt x="299" y="1001"/>
                    </a:lnTo>
                    <a:lnTo>
                      <a:pt x="299" y="1000"/>
                    </a:lnTo>
                    <a:lnTo>
                      <a:pt x="298" y="998"/>
                    </a:lnTo>
                    <a:lnTo>
                      <a:pt x="295" y="1001"/>
                    </a:lnTo>
                    <a:lnTo>
                      <a:pt x="228" y="1057"/>
                    </a:lnTo>
                    <a:lnTo>
                      <a:pt x="220" y="1063"/>
                    </a:lnTo>
                    <a:lnTo>
                      <a:pt x="219" y="1063"/>
                    </a:lnTo>
                    <a:lnTo>
                      <a:pt x="217" y="1061"/>
                    </a:lnTo>
                    <a:lnTo>
                      <a:pt x="214" y="1058"/>
                    </a:lnTo>
                    <a:lnTo>
                      <a:pt x="208" y="1055"/>
                    </a:lnTo>
                    <a:lnTo>
                      <a:pt x="198" y="1047"/>
                    </a:lnTo>
                    <a:lnTo>
                      <a:pt x="189" y="1041"/>
                    </a:lnTo>
                    <a:lnTo>
                      <a:pt x="181" y="1034"/>
                    </a:lnTo>
                    <a:lnTo>
                      <a:pt x="163" y="1020"/>
                    </a:lnTo>
                    <a:lnTo>
                      <a:pt x="152" y="1009"/>
                    </a:lnTo>
                    <a:lnTo>
                      <a:pt x="151" y="1007"/>
                    </a:lnTo>
                    <a:lnTo>
                      <a:pt x="149" y="1004"/>
                    </a:lnTo>
                    <a:lnTo>
                      <a:pt x="147" y="1003"/>
                    </a:lnTo>
                    <a:lnTo>
                      <a:pt x="146" y="1001"/>
                    </a:lnTo>
                    <a:lnTo>
                      <a:pt x="139" y="993"/>
                    </a:lnTo>
                    <a:lnTo>
                      <a:pt x="136" y="990"/>
                    </a:lnTo>
                    <a:lnTo>
                      <a:pt x="125" y="974"/>
                    </a:lnTo>
                    <a:lnTo>
                      <a:pt x="114" y="957"/>
                    </a:lnTo>
                    <a:lnTo>
                      <a:pt x="113" y="954"/>
                    </a:lnTo>
                    <a:lnTo>
                      <a:pt x="109" y="949"/>
                    </a:lnTo>
                    <a:lnTo>
                      <a:pt x="106" y="944"/>
                    </a:lnTo>
                    <a:lnTo>
                      <a:pt x="105" y="939"/>
                    </a:lnTo>
                    <a:lnTo>
                      <a:pt x="97" y="920"/>
                    </a:lnTo>
                    <a:lnTo>
                      <a:pt x="97" y="919"/>
                    </a:lnTo>
                    <a:lnTo>
                      <a:pt x="97" y="916"/>
                    </a:lnTo>
                    <a:lnTo>
                      <a:pt x="95" y="912"/>
                    </a:lnTo>
                    <a:lnTo>
                      <a:pt x="94" y="911"/>
                    </a:lnTo>
                    <a:lnTo>
                      <a:pt x="94" y="909"/>
                    </a:lnTo>
                    <a:lnTo>
                      <a:pt x="90" y="901"/>
                    </a:lnTo>
                    <a:lnTo>
                      <a:pt x="87" y="892"/>
                    </a:lnTo>
                    <a:lnTo>
                      <a:pt x="86" y="882"/>
                    </a:lnTo>
                    <a:lnTo>
                      <a:pt x="82" y="860"/>
                    </a:lnTo>
                    <a:lnTo>
                      <a:pt x="82" y="859"/>
                    </a:lnTo>
                    <a:lnTo>
                      <a:pt x="82" y="843"/>
                    </a:lnTo>
                    <a:lnTo>
                      <a:pt x="82" y="819"/>
                    </a:lnTo>
                    <a:lnTo>
                      <a:pt x="82" y="816"/>
                    </a:lnTo>
                    <a:lnTo>
                      <a:pt x="82" y="798"/>
                    </a:lnTo>
                    <a:lnTo>
                      <a:pt x="82" y="794"/>
                    </a:lnTo>
                    <a:lnTo>
                      <a:pt x="82" y="792"/>
                    </a:lnTo>
                    <a:lnTo>
                      <a:pt x="86" y="779"/>
                    </a:lnTo>
                    <a:lnTo>
                      <a:pt x="89" y="763"/>
                    </a:lnTo>
                    <a:lnTo>
                      <a:pt x="90" y="748"/>
                    </a:lnTo>
                    <a:lnTo>
                      <a:pt x="92" y="738"/>
                    </a:lnTo>
                    <a:lnTo>
                      <a:pt x="92" y="735"/>
                    </a:lnTo>
                    <a:lnTo>
                      <a:pt x="90" y="730"/>
                    </a:lnTo>
                    <a:lnTo>
                      <a:pt x="89" y="702"/>
                    </a:lnTo>
                    <a:lnTo>
                      <a:pt x="87" y="697"/>
                    </a:lnTo>
                    <a:lnTo>
                      <a:pt x="86" y="687"/>
                    </a:lnTo>
                    <a:lnTo>
                      <a:pt x="84" y="684"/>
                    </a:lnTo>
                    <a:lnTo>
                      <a:pt x="82" y="672"/>
                    </a:lnTo>
                    <a:lnTo>
                      <a:pt x="81" y="667"/>
                    </a:lnTo>
                    <a:lnTo>
                      <a:pt x="79" y="662"/>
                    </a:lnTo>
                    <a:lnTo>
                      <a:pt x="79" y="661"/>
                    </a:lnTo>
                    <a:lnTo>
                      <a:pt x="78" y="657"/>
                    </a:lnTo>
                    <a:lnTo>
                      <a:pt x="78" y="653"/>
                    </a:lnTo>
                    <a:lnTo>
                      <a:pt x="76" y="651"/>
                    </a:lnTo>
                    <a:lnTo>
                      <a:pt x="76" y="649"/>
                    </a:lnTo>
                    <a:lnTo>
                      <a:pt x="73" y="640"/>
                    </a:lnTo>
                    <a:lnTo>
                      <a:pt x="67" y="621"/>
                    </a:lnTo>
                    <a:lnTo>
                      <a:pt x="67" y="619"/>
                    </a:lnTo>
                    <a:lnTo>
                      <a:pt x="65" y="619"/>
                    </a:lnTo>
                    <a:lnTo>
                      <a:pt x="65" y="616"/>
                    </a:lnTo>
                    <a:lnTo>
                      <a:pt x="63" y="616"/>
                    </a:lnTo>
                    <a:lnTo>
                      <a:pt x="63" y="615"/>
                    </a:lnTo>
                    <a:lnTo>
                      <a:pt x="57" y="597"/>
                    </a:lnTo>
                    <a:lnTo>
                      <a:pt x="55" y="596"/>
                    </a:lnTo>
                    <a:lnTo>
                      <a:pt x="52" y="591"/>
                    </a:lnTo>
                    <a:lnTo>
                      <a:pt x="49" y="581"/>
                    </a:lnTo>
                    <a:lnTo>
                      <a:pt x="46" y="575"/>
                    </a:lnTo>
                    <a:lnTo>
                      <a:pt x="46" y="573"/>
                    </a:lnTo>
                    <a:lnTo>
                      <a:pt x="36" y="551"/>
                    </a:lnTo>
                    <a:lnTo>
                      <a:pt x="33" y="543"/>
                    </a:lnTo>
                    <a:lnTo>
                      <a:pt x="33" y="540"/>
                    </a:lnTo>
                    <a:lnTo>
                      <a:pt x="27" y="526"/>
                    </a:lnTo>
                    <a:lnTo>
                      <a:pt x="24" y="515"/>
                    </a:lnTo>
                    <a:lnTo>
                      <a:pt x="22" y="508"/>
                    </a:lnTo>
                    <a:lnTo>
                      <a:pt x="21" y="505"/>
                    </a:lnTo>
                    <a:lnTo>
                      <a:pt x="21" y="504"/>
                    </a:lnTo>
                    <a:lnTo>
                      <a:pt x="14" y="486"/>
                    </a:lnTo>
                    <a:lnTo>
                      <a:pt x="10" y="472"/>
                    </a:lnTo>
                    <a:lnTo>
                      <a:pt x="10" y="464"/>
                    </a:lnTo>
                    <a:lnTo>
                      <a:pt x="3" y="437"/>
                    </a:lnTo>
                    <a:lnTo>
                      <a:pt x="2" y="424"/>
                    </a:lnTo>
                    <a:lnTo>
                      <a:pt x="2" y="420"/>
                    </a:lnTo>
                    <a:lnTo>
                      <a:pt x="2" y="412"/>
                    </a:lnTo>
                    <a:lnTo>
                      <a:pt x="0" y="394"/>
                    </a:lnTo>
                    <a:lnTo>
                      <a:pt x="0" y="388"/>
                    </a:lnTo>
                    <a:lnTo>
                      <a:pt x="2" y="383"/>
                    </a:lnTo>
                    <a:lnTo>
                      <a:pt x="2" y="382"/>
                    </a:lnTo>
                    <a:lnTo>
                      <a:pt x="3" y="372"/>
                    </a:lnTo>
                    <a:lnTo>
                      <a:pt x="10" y="358"/>
                    </a:lnTo>
                    <a:lnTo>
                      <a:pt x="14" y="345"/>
                    </a:lnTo>
                    <a:lnTo>
                      <a:pt x="19" y="336"/>
                    </a:lnTo>
                    <a:lnTo>
                      <a:pt x="22" y="325"/>
                    </a:lnTo>
                    <a:lnTo>
                      <a:pt x="22" y="322"/>
                    </a:lnTo>
                    <a:lnTo>
                      <a:pt x="22" y="315"/>
                    </a:lnTo>
                    <a:lnTo>
                      <a:pt x="21" y="306"/>
                    </a:lnTo>
                    <a:lnTo>
                      <a:pt x="48" y="306"/>
                    </a:lnTo>
                    <a:lnTo>
                      <a:pt x="55" y="306"/>
                    </a:lnTo>
                    <a:lnTo>
                      <a:pt x="78" y="304"/>
                    </a:lnTo>
                    <a:lnTo>
                      <a:pt x="89" y="306"/>
                    </a:lnTo>
                    <a:lnTo>
                      <a:pt x="106" y="306"/>
                    </a:lnTo>
                    <a:lnTo>
                      <a:pt x="109" y="306"/>
                    </a:lnTo>
                    <a:lnTo>
                      <a:pt x="111" y="307"/>
                    </a:lnTo>
                    <a:lnTo>
                      <a:pt x="111" y="306"/>
                    </a:lnTo>
                    <a:lnTo>
                      <a:pt x="113" y="306"/>
                    </a:lnTo>
                    <a:lnTo>
                      <a:pt x="116" y="307"/>
                    </a:lnTo>
                    <a:lnTo>
                      <a:pt x="117" y="307"/>
                    </a:lnTo>
                    <a:lnTo>
                      <a:pt x="119" y="307"/>
                    </a:lnTo>
                    <a:lnTo>
                      <a:pt x="120" y="307"/>
                    </a:lnTo>
                    <a:lnTo>
                      <a:pt x="120" y="309"/>
                    </a:lnTo>
                    <a:lnTo>
                      <a:pt x="122" y="310"/>
                    </a:lnTo>
                    <a:lnTo>
                      <a:pt x="124" y="310"/>
                    </a:lnTo>
                    <a:lnTo>
                      <a:pt x="125" y="310"/>
                    </a:lnTo>
                    <a:lnTo>
                      <a:pt x="125" y="309"/>
                    </a:lnTo>
                    <a:lnTo>
                      <a:pt x="127" y="309"/>
                    </a:lnTo>
                    <a:lnTo>
                      <a:pt x="128" y="309"/>
                    </a:lnTo>
                    <a:lnTo>
                      <a:pt x="128" y="310"/>
                    </a:lnTo>
                    <a:lnTo>
                      <a:pt x="130" y="310"/>
                    </a:lnTo>
                    <a:lnTo>
                      <a:pt x="132" y="310"/>
                    </a:lnTo>
                    <a:lnTo>
                      <a:pt x="133" y="309"/>
                    </a:lnTo>
                    <a:lnTo>
                      <a:pt x="135" y="309"/>
                    </a:lnTo>
                    <a:lnTo>
                      <a:pt x="136" y="309"/>
                    </a:lnTo>
                    <a:lnTo>
                      <a:pt x="136" y="310"/>
                    </a:lnTo>
                    <a:lnTo>
                      <a:pt x="136" y="312"/>
                    </a:lnTo>
                    <a:lnTo>
                      <a:pt x="138" y="314"/>
                    </a:lnTo>
                    <a:lnTo>
                      <a:pt x="139" y="314"/>
                    </a:lnTo>
                    <a:lnTo>
                      <a:pt x="141" y="314"/>
                    </a:lnTo>
                    <a:lnTo>
                      <a:pt x="141" y="312"/>
                    </a:lnTo>
                    <a:lnTo>
                      <a:pt x="144" y="309"/>
                    </a:lnTo>
                    <a:lnTo>
                      <a:pt x="144" y="307"/>
                    </a:lnTo>
                    <a:lnTo>
                      <a:pt x="143" y="307"/>
                    </a:lnTo>
                    <a:lnTo>
                      <a:pt x="143" y="306"/>
                    </a:lnTo>
                    <a:lnTo>
                      <a:pt x="143" y="304"/>
                    </a:lnTo>
                    <a:lnTo>
                      <a:pt x="143" y="303"/>
                    </a:lnTo>
                    <a:lnTo>
                      <a:pt x="143" y="301"/>
                    </a:lnTo>
                    <a:lnTo>
                      <a:pt x="143" y="299"/>
                    </a:lnTo>
                    <a:lnTo>
                      <a:pt x="143" y="298"/>
                    </a:lnTo>
                    <a:lnTo>
                      <a:pt x="144" y="298"/>
                    </a:lnTo>
                    <a:lnTo>
                      <a:pt x="144" y="296"/>
                    </a:lnTo>
                    <a:lnTo>
                      <a:pt x="146" y="296"/>
                    </a:lnTo>
                    <a:lnTo>
                      <a:pt x="146" y="295"/>
                    </a:lnTo>
                    <a:lnTo>
                      <a:pt x="147" y="295"/>
                    </a:lnTo>
                    <a:lnTo>
                      <a:pt x="149" y="295"/>
                    </a:lnTo>
                    <a:lnTo>
                      <a:pt x="147" y="295"/>
                    </a:lnTo>
                    <a:lnTo>
                      <a:pt x="149" y="295"/>
                    </a:lnTo>
                    <a:lnTo>
                      <a:pt x="149" y="293"/>
                    </a:lnTo>
                    <a:lnTo>
                      <a:pt x="151" y="293"/>
                    </a:lnTo>
                    <a:lnTo>
                      <a:pt x="151" y="291"/>
                    </a:lnTo>
                    <a:lnTo>
                      <a:pt x="152" y="291"/>
                    </a:lnTo>
                    <a:lnTo>
                      <a:pt x="152" y="290"/>
                    </a:lnTo>
                    <a:lnTo>
                      <a:pt x="154" y="290"/>
                    </a:lnTo>
                    <a:lnTo>
                      <a:pt x="154" y="288"/>
                    </a:lnTo>
                    <a:lnTo>
                      <a:pt x="155" y="287"/>
                    </a:lnTo>
                    <a:lnTo>
                      <a:pt x="155" y="285"/>
                    </a:lnTo>
                    <a:lnTo>
                      <a:pt x="155" y="284"/>
                    </a:lnTo>
                    <a:lnTo>
                      <a:pt x="157" y="284"/>
                    </a:lnTo>
                    <a:lnTo>
                      <a:pt x="157" y="282"/>
                    </a:lnTo>
                    <a:lnTo>
                      <a:pt x="158" y="282"/>
                    </a:lnTo>
                    <a:lnTo>
                      <a:pt x="158" y="280"/>
                    </a:lnTo>
                    <a:lnTo>
                      <a:pt x="158" y="279"/>
                    </a:lnTo>
                    <a:lnTo>
                      <a:pt x="160" y="279"/>
                    </a:lnTo>
                    <a:lnTo>
                      <a:pt x="160" y="280"/>
                    </a:lnTo>
                    <a:lnTo>
                      <a:pt x="160" y="279"/>
                    </a:lnTo>
                    <a:lnTo>
                      <a:pt x="162" y="279"/>
                    </a:lnTo>
                    <a:lnTo>
                      <a:pt x="163" y="277"/>
                    </a:lnTo>
                    <a:lnTo>
                      <a:pt x="163" y="279"/>
                    </a:lnTo>
                    <a:lnTo>
                      <a:pt x="165" y="279"/>
                    </a:lnTo>
                    <a:lnTo>
                      <a:pt x="163" y="280"/>
                    </a:lnTo>
                    <a:lnTo>
                      <a:pt x="165" y="280"/>
                    </a:lnTo>
                    <a:lnTo>
                      <a:pt x="166" y="280"/>
                    </a:lnTo>
                    <a:lnTo>
                      <a:pt x="168" y="280"/>
                    </a:lnTo>
                    <a:lnTo>
                      <a:pt x="168" y="282"/>
                    </a:lnTo>
                    <a:lnTo>
                      <a:pt x="170" y="282"/>
                    </a:lnTo>
                    <a:lnTo>
                      <a:pt x="170" y="284"/>
                    </a:lnTo>
                    <a:lnTo>
                      <a:pt x="171" y="284"/>
                    </a:lnTo>
                    <a:lnTo>
                      <a:pt x="171" y="285"/>
                    </a:lnTo>
                    <a:lnTo>
                      <a:pt x="173" y="285"/>
                    </a:lnTo>
                    <a:lnTo>
                      <a:pt x="174" y="284"/>
                    </a:lnTo>
                    <a:lnTo>
                      <a:pt x="174" y="285"/>
                    </a:lnTo>
                    <a:lnTo>
                      <a:pt x="176" y="285"/>
                    </a:lnTo>
                    <a:lnTo>
                      <a:pt x="177" y="285"/>
                    </a:lnTo>
                    <a:lnTo>
                      <a:pt x="177" y="284"/>
                    </a:lnTo>
                    <a:lnTo>
                      <a:pt x="177" y="285"/>
                    </a:lnTo>
                    <a:lnTo>
                      <a:pt x="179" y="284"/>
                    </a:lnTo>
                    <a:lnTo>
                      <a:pt x="177" y="284"/>
                    </a:lnTo>
                    <a:lnTo>
                      <a:pt x="177" y="282"/>
                    </a:lnTo>
                    <a:lnTo>
                      <a:pt x="177" y="280"/>
                    </a:lnTo>
                    <a:lnTo>
                      <a:pt x="179" y="280"/>
                    </a:lnTo>
                    <a:lnTo>
                      <a:pt x="181" y="280"/>
                    </a:lnTo>
                    <a:lnTo>
                      <a:pt x="182" y="280"/>
                    </a:lnTo>
                    <a:lnTo>
                      <a:pt x="181" y="280"/>
                    </a:lnTo>
                    <a:lnTo>
                      <a:pt x="182" y="280"/>
                    </a:lnTo>
                    <a:lnTo>
                      <a:pt x="182" y="279"/>
                    </a:lnTo>
                    <a:lnTo>
                      <a:pt x="181" y="279"/>
                    </a:lnTo>
                    <a:lnTo>
                      <a:pt x="182" y="279"/>
                    </a:lnTo>
                    <a:lnTo>
                      <a:pt x="182" y="277"/>
                    </a:lnTo>
                    <a:lnTo>
                      <a:pt x="182" y="276"/>
                    </a:lnTo>
                    <a:lnTo>
                      <a:pt x="182" y="277"/>
                    </a:lnTo>
                    <a:lnTo>
                      <a:pt x="184" y="277"/>
                    </a:lnTo>
                    <a:lnTo>
                      <a:pt x="184" y="276"/>
                    </a:lnTo>
                    <a:lnTo>
                      <a:pt x="185" y="276"/>
                    </a:lnTo>
                    <a:lnTo>
                      <a:pt x="187" y="276"/>
                    </a:lnTo>
                    <a:lnTo>
                      <a:pt x="187" y="277"/>
                    </a:lnTo>
                    <a:lnTo>
                      <a:pt x="187" y="276"/>
                    </a:lnTo>
                    <a:lnTo>
                      <a:pt x="189" y="276"/>
                    </a:lnTo>
                    <a:lnTo>
                      <a:pt x="190" y="274"/>
                    </a:lnTo>
                    <a:lnTo>
                      <a:pt x="190" y="276"/>
                    </a:lnTo>
                    <a:lnTo>
                      <a:pt x="192" y="276"/>
                    </a:lnTo>
                    <a:lnTo>
                      <a:pt x="192" y="274"/>
                    </a:lnTo>
                    <a:lnTo>
                      <a:pt x="190" y="274"/>
                    </a:lnTo>
                    <a:lnTo>
                      <a:pt x="192" y="274"/>
                    </a:lnTo>
                    <a:lnTo>
                      <a:pt x="193" y="274"/>
                    </a:lnTo>
                    <a:lnTo>
                      <a:pt x="195" y="274"/>
                    </a:lnTo>
                    <a:lnTo>
                      <a:pt x="196" y="272"/>
                    </a:lnTo>
                    <a:lnTo>
                      <a:pt x="198" y="272"/>
                    </a:lnTo>
                    <a:lnTo>
                      <a:pt x="200" y="271"/>
                    </a:lnTo>
                    <a:lnTo>
                      <a:pt x="201" y="271"/>
                    </a:lnTo>
                    <a:lnTo>
                      <a:pt x="201" y="269"/>
                    </a:lnTo>
                    <a:lnTo>
                      <a:pt x="203" y="269"/>
                    </a:lnTo>
                    <a:lnTo>
                      <a:pt x="203" y="268"/>
                    </a:lnTo>
                    <a:lnTo>
                      <a:pt x="204" y="268"/>
                    </a:lnTo>
                    <a:lnTo>
                      <a:pt x="206" y="268"/>
                    </a:lnTo>
                    <a:lnTo>
                      <a:pt x="206" y="266"/>
                    </a:lnTo>
                    <a:lnTo>
                      <a:pt x="208" y="266"/>
                    </a:lnTo>
                    <a:lnTo>
                      <a:pt x="208" y="265"/>
                    </a:lnTo>
                    <a:lnTo>
                      <a:pt x="208" y="263"/>
                    </a:lnTo>
                    <a:lnTo>
                      <a:pt x="209" y="261"/>
                    </a:lnTo>
                    <a:lnTo>
                      <a:pt x="209" y="260"/>
                    </a:lnTo>
                    <a:lnTo>
                      <a:pt x="209" y="258"/>
                    </a:lnTo>
                    <a:lnTo>
                      <a:pt x="211" y="258"/>
                    </a:lnTo>
                    <a:lnTo>
                      <a:pt x="212" y="258"/>
                    </a:lnTo>
                    <a:lnTo>
                      <a:pt x="214" y="258"/>
                    </a:lnTo>
                    <a:lnTo>
                      <a:pt x="214" y="257"/>
                    </a:lnTo>
                    <a:lnTo>
                      <a:pt x="215" y="257"/>
                    </a:lnTo>
                    <a:lnTo>
                      <a:pt x="215" y="258"/>
                    </a:lnTo>
                    <a:lnTo>
                      <a:pt x="217" y="258"/>
                    </a:lnTo>
                    <a:lnTo>
                      <a:pt x="217" y="257"/>
                    </a:lnTo>
                    <a:lnTo>
                      <a:pt x="217" y="258"/>
                    </a:lnTo>
                    <a:lnTo>
                      <a:pt x="219" y="258"/>
                    </a:lnTo>
                    <a:lnTo>
                      <a:pt x="219" y="257"/>
                    </a:lnTo>
                    <a:lnTo>
                      <a:pt x="220" y="257"/>
                    </a:lnTo>
                    <a:lnTo>
                      <a:pt x="220" y="255"/>
                    </a:lnTo>
                    <a:lnTo>
                      <a:pt x="220" y="253"/>
                    </a:lnTo>
                    <a:lnTo>
                      <a:pt x="220" y="252"/>
                    </a:lnTo>
                    <a:lnTo>
                      <a:pt x="222" y="252"/>
                    </a:lnTo>
                    <a:lnTo>
                      <a:pt x="223" y="253"/>
                    </a:lnTo>
                    <a:lnTo>
                      <a:pt x="225" y="252"/>
                    </a:lnTo>
                    <a:lnTo>
                      <a:pt x="223" y="252"/>
                    </a:lnTo>
                    <a:lnTo>
                      <a:pt x="223" y="250"/>
                    </a:lnTo>
                    <a:lnTo>
                      <a:pt x="225" y="250"/>
                    </a:lnTo>
                    <a:lnTo>
                      <a:pt x="227" y="250"/>
                    </a:lnTo>
                    <a:lnTo>
                      <a:pt x="227" y="252"/>
                    </a:lnTo>
                    <a:lnTo>
                      <a:pt x="228" y="252"/>
                    </a:lnTo>
                    <a:lnTo>
                      <a:pt x="228" y="250"/>
                    </a:lnTo>
                    <a:lnTo>
                      <a:pt x="228" y="252"/>
                    </a:lnTo>
                    <a:lnTo>
                      <a:pt x="228" y="250"/>
                    </a:lnTo>
                    <a:lnTo>
                      <a:pt x="230" y="250"/>
                    </a:lnTo>
                    <a:lnTo>
                      <a:pt x="230" y="249"/>
                    </a:lnTo>
                    <a:lnTo>
                      <a:pt x="230" y="250"/>
                    </a:lnTo>
                    <a:lnTo>
                      <a:pt x="231" y="250"/>
                    </a:lnTo>
                    <a:lnTo>
                      <a:pt x="233" y="250"/>
                    </a:lnTo>
                    <a:lnTo>
                      <a:pt x="233" y="249"/>
                    </a:lnTo>
                    <a:lnTo>
                      <a:pt x="233" y="247"/>
                    </a:lnTo>
                    <a:lnTo>
                      <a:pt x="234" y="247"/>
                    </a:lnTo>
                    <a:lnTo>
                      <a:pt x="234" y="245"/>
                    </a:lnTo>
                    <a:lnTo>
                      <a:pt x="234" y="244"/>
                    </a:lnTo>
                    <a:lnTo>
                      <a:pt x="233" y="244"/>
                    </a:lnTo>
                    <a:lnTo>
                      <a:pt x="234" y="244"/>
                    </a:lnTo>
                    <a:lnTo>
                      <a:pt x="236" y="244"/>
                    </a:lnTo>
                    <a:lnTo>
                      <a:pt x="236" y="245"/>
                    </a:lnTo>
                    <a:lnTo>
                      <a:pt x="236" y="244"/>
                    </a:lnTo>
                    <a:lnTo>
                      <a:pt x="236" y="242"/>
                    </a:lnTo>
                    <a:lnTo>
                      <a:pt x="236" y="241"/>
                    </a:lnTo>
                    <a:lnTo>
                      <a:pt x="234" y="241"/>
                    </a:lnTo>
                    <a:lnTo>
                      <a:pt x="236" y="241"/>
                    </a:lnTo>
                    <a:lnTo>
                      <a:pt x="236" y="239"/>
                    </a:lnTo>
                    <a:lnTo>
                      <a:pt x="234" y="239"/>
                    </a:lnTo>
                    <a:lnTo>
                      <a:pt x="236" y="239"/>
                    </a:lnTo>
                    <a:lnTo>
                      <a:pt x="238" y="239"/>
                    </a:lnTo>
                    <a:lnTo>
                      <a:pt x="238" y="238"/>
                    </a:lnTo>
                    <a:lnTo>
                      <a:pt x="236" y="238"/>
                    </a:lnTo>
                    <a:lnTo>
                      <a:pt x="238" y="238"/>
                    </a:lnTo>
                    <a:lnTo>
                      <a:pt x="238" y="236"/>
                    </a:lnTo>
                    <a:lnTo>
                      <a:pt x="238" y="234"/>
                    </a:lnTo>
                    <a:lnTo>
                      <a:pt x="236" y="234"/>
                    </a:lnTo>
                    <a:lnTo>
                      <a:pt x="238" y="234"/>
                    </a:lnTo>
                    <a:lnTo>
                      <a:pt x="236" y="234"/>
                    </a:lnTo>
                    <a:lnTo>
                      <a:pt x="236" y="233"/>
                    </a:lnTo>
                    <a:lnTo>
                      <a:pt x="238" y="233"/>
                    </a:lnTo>
                    <a:lnTo>
                      <a:pt x="238" y="231"/>
                    </a:lnTo>
                    <a:lnTo>
                      <a:pt x="238" y="230"/>
                    </a:lnTo>
                    <a:lnTo>
                      <a:pt x="239" y="230"/>
                    </a:lnTo>
                    <a:lnTo>
                      <a:pt x="239" y="228"/>
                    </a:lnTo>
                    <a:lnTo>
                      <a:pt x="239" y="226"/>
                    </a:lnTo>
                    <a:lnTo>
                      <a:pt x="241" y="225"/>
                    </a:lnTo>
                    <a:lnTo>
                      <a:pt x="242" y="225"/>
                    </a:lnTo>
                    <a:lnTo>
                      <a:pt x="242" y="223"/>
                    </a:lnTo>
                    <a:lnTo>
                      <a:pt x="242" y="222"/>
                    </a:lnTo>
                    <a:lnTo>
                      <a:pt x="242" y="220"/>
                    </a:lnTo>
                    <a:lnTo>
                      <a:pt x="242" y="219"/>
                    </a:lnTo>
                    <a:lnTo>
                      <a:pt x="244" y="219"/>
                    </a:lnTo>
                    <a:lnTo>
                      <a:pt x="242" y="219"/>
                    </a:lnTo>
                    <a:lnTo>
                      <a:pt x="244" y="219"/>
                    </a:lnTo>
                    <a:lnTo>
                      <a:pt x="244" y="217"/>
                    </a:lnTo>
                    <a:lnTo>
                      <a:pt x="244" y="215"/>
                    </a:lnTo>
                    <a:lnTo>
                      <a:pt x="246" y="215"/>
                    </a:lnTo>
                    <a:lnTo>
                      <a:pt x="246" y="214"/>
                    </a:lnTo>
                    <a:lnTo>
                      <a:pt x="247" y="214"/>
                    </a:lnTo>
                    <a:lnTo>
                      <a:pt x="247" y="212"/>
                    </a:lnTo>
                    <a:lnTo>
                      <a:pt x="249" y="212"/>
                    </a:lnTo>
                    <a:lnTo>
                      <a:pt x="250" y="212"/>
                    </a:lnTo>
                    <a:lnTo>
                      <a:pt x="250" y="211"/>
                    </a:lnTo>
                    <a:lnTo>
                      <a:pt x="252" y="211"/>
                    </a:lnTo>
                    <a:lnTo>
                      <a:pt x="253" y="211"/>
                    </a:lnTo>
                    <a:lnTo>
                      <a:pt x="255" y="211"/>
                    </a:lnTo>
                    <a:lnTo>
                      <a:pt x="255" y="209"/>
                    </a:lnTo>
                    <a:lnTo>
                      <a:pt x="257" y="209"/>
                    </a:lnTo>
                    <a:lnTo>
                      <a:pt x="255" y="209"/>
                    </a:lnTo>
                    <a:lnTo>
                      <a:pt x="255" y="207"/>
                    </a:lnTo>
                    <a:lnTo>
                      <a:pt x="257" y="207"/>
                    </a:lnTo>
                    <a:lnTo>
                      <a:pt x="257" y="206"/>
                    </a:lnTo>
                    <a:lnTo>
                      <a:pt x="258" y="206"/>
                    </a:lnTo>
                    <a:lnTo>
                      <a:pt x="260" y="206"/>
                    </a:lnTo>
                    <a:lnTo>
                      <a:pt x="258" y="206"/>
                    </a:lnTo>
                    <a:lnTo>
                      <a:pt x="260" y="206"/>
                    </a:lnTo>
                    <a:lnTo>
                      <a:pt x="260" y="204"/>
                    </a:lnTo>
                    <a:lnTo>
                      <a:pt x="261" y="204"/>
                    </a:lnTo>
                    <a:lnTo>
                      <a:pt x="263" y="204"/>
                    </a:lnTo>
                    <a:lnTo>
                      <a:pt x="263" y="203"/>
                    </a:lnTo>
                    <a:lnTo>
                      <a:pt x="265" y="203"/>
                    </a:lnTo>
                    <a:lnTo>
                      <a:pt x="265" y="201"/>
                    </a:lnTo>
                    <a:lnTo>
                      <a:pt x="265" y="203"/>
                    </a:lnTo>
                    <a:lnTo>
                      <a:pt x="265" y="201"/>
                    </a:lnTo>
                    <a:lnTo>
                      <a:pt x="266" y="201"/>
                    </a:lnTo>
                    <a:lnTo>
                      <a:pt x="268" y="201"/>
                    </a:lnTo>
                    <a:lnTo>
                      <a:pt x="268" y="200"/>
                    </a:lnTo>
                    <a:lnTo>
                      <a:pt x="269" y="200"/>
                    </a:lnTo>
                    <a:lnTo>
                      <a:pt x="269" y="198"/>
                    </a:lnTo>
                    <a:lnTo>
                      <a:pt x="269" y="200"/>
                    </a:lnTo>
                    <a:lnTo>
                      <a:pt x="269" y="198"/>
                    </a:lnTo>
                    <a:lnTo>
                      <a:pt x="271" y="198"/>
                    </a:lnTo>
                    <a:lnTo>
                      <a:pt x="271" y="196"/>
                    </a:lnTo>
                    <a:lnTo>
                      <a:pt x="273" y="196"/>
                    </a:lnTo>
                    <a:lnTo>
                      <a:pt x="271" y="196"/>
                    </a:lnTo>
                    <a:lnTo>
                      <a:pt x="273" y="196"/>
                    </a:lnTo>
                    <a:lnTo>
                      <a:pt x="273" y="195"/>
                    </a:lnTo>
                    <a:lnTo>
                      <a:pt x="274" y="195"/>
                    </a:lnTo>
                    <a:lnTo>
                      <a:pt x="274" y="193"/>
                    </a:lnTo>
                    <a:lnTo>
                      <a:pt x="273" y="193"/>
                    </a:lnTo>
                    <a:lnTo>
                      <a:pt x="274" y="193"/>
                    </a:lnTo>
                    <a:lnTo>
                      <a:pt x="274" y="192"/>
                    </a:lnTo>
                    <a:lnTo>
                      <a:pt x="276" y="192"/>
                    </a:lnTo>
                    <a:lnTo>
                      <a:pt x="276" y="190"/>
                    </a:lnTo>
                    <a:lnTo>
                      <a:pt x="277" y="190"/>
                    </a:lnTo>
                    <a:lnTo>
                      <a:pt x="277" y="188"/>
                    </a:lnTo>
                    <a:lnTo>
                      <a:pt x="276" y="188"/>
                    </a:lnTo>
                    <a:lnTo>
                      <a:pt x="277" y="188"/>
                    </a:lnTo>
                    <a:lnTo>
                      <a:pt x="277" y="187"/>
                    </a:lnTo>
                    <a:lnTo>
                      <a:pt x="279" y="187"/>
                    </a:lnTo>
                    <a:lnTo>
                      <a:pt x="279" y="185"/>
                    </a:lnTo>
                    <a:lnTo>
                      <a:pt x="279" y="187"/>
                    </a:lnTo>
                    <a:lnTo>
                      <a:pt x="279" y="185"/>
                    </a:lnTo>
                    <a:lnTo>
                      <a:pt x="279" y="184"/>
                    </a:lnTo>
                    <a:lnTo>
                      <a:pt x="279" y="182"/>
                    </a:lnTo>
                    <a:lnTo>
                      <a:pt x="280" y="182"/>
                    </a:lnTo>
                    <a:lnTo>
                      <a:pt x="280" y="181"/>
                    </a:lnTo>
                    <a:lnTo>
                      <a:pt x="280" y="179"/>
                    </a:lnTo>
                    <a:lnTo>
                      <a:pt x="282" y="177"/>
                    </a:lnTo>
                    <a:lnTo>
                      <a:pt x="280" y="177"/>
                    </a:lnTo>
                    <a:lnTo>
                      <a:pt x="282" y="177"/>
                    </a:lnTo>
                    <a:lnTo>
                      <a:pt x="282" y="176"/>
                    </a:lnTo>
                    <a:lnTo>
                      <a:pt x="284" y="176"/>
                    </a:lnTo>
                    <a:lnTo>
                      <a:pt x="285" y="176"/>
                    </a:lnTo>
                    <a:lnTo>
                      <a:pt x="287" y="174"/>
                    </a:lnTo>
                    <a:lnTo>
                      <a:pt x="288" y="173"/>
                    </a:lnTo>
                    <a:lnTo>
                      <a:pt x="288" y="171"/>
                    </a:lnTo>
                    <a:lnTo>
                      <a:pt x="290" y="171"/>
                    </a:lnTo>
                    <a:lnTo>
                      <a:pt x="288" y="171"/>
                    </a:lnTo>
                    <a:lnTo>
                      <a:pt x="290" y="171"/>
                    </a:lnTo>
                    <a:lnTo>
                      <a:pt x="290" y="169"/>
                    </a:lnTo>
                    <a:lnTo>
                      <a:pt x="292" y="169"/>
                    </a:lnTo>
                    <a:lnTo>
                      <a:pt x="292" y="168"/>
                    </a:lnTo>
                    <a:lnTo>
                      <a:pt x="292" y="166"/>
                    </a:lnTo>
                    <a:lnTo>
                      <a:pt x="293" y="166"/>
                    </a:lnTo>
                    <a:lnTo>
                      <a:pt x="293" y="165"/>
                    </a:lnTo>
                    <a:lnTo>
                      <a:pt x="293" y="163"/>
                    </a:lnTo>
                    <a:lnTo>
                      <a:pt x="292" y="163"/>
                    </a:lnTo>
                    <a:lnTo>
                      <a:pt x="290" y="163"/>
                    </a:lnTo>
                    <a:lnTo>
                      <a:pt x="290" y="162"/>
                    </a:lnTo>
                    <a:lnTo>
                      <a:pt x="290" y="160"/>
                    </a:lnTo>
                    <a:lnTo>
                      <a:pt x="288" y="158"/>
                    </a:lnTo>
                    <a:lnTo>
                      <a:pt x="288" y="157"/>
                    </a:lnTo>
                    <a:lnTo>
                      <a:pt x="290" y="157"/>
                    </a:lnTo>
                    <a:lnTo>
                      <a:pt x="290" y="155"/>
                    </a:lnTo>
                    <a:lnTo>
                      <a:pt x="292" y="155"/>
                    </a:lnTo>
                    <a:lnTo>
                      <a:pt x="292" y="154"/>
                    </a:lnTo>
                    <a:lnTo>
                      <a:pt x="293" y="154"/>
                    </a:lnTo>
                    <a:lnTo>
                      <a:pt x="293" y="152"/>
                    </a:lnTo>
                    <a:lnTo>
                      <a:pt x="293" y="150"/>
                    </a:lnTo>
                    <a:lnTo>
                      <a:pt x="293" y="149"/>
                    </a:lnTo>
                    <a:lnTo>
                      <a:pt x="295" y="149"/>
                    </a:lnTo>
                    <a:lnTo>
                      <a:pt x="295" y="147"/>
                    </a:lnTo>
                    <a:lnTo>
                      <a:pt x="293" y="147"/>
                    </a:lnTo>
                    <a:lnTo>
                      <a:pt x="295" y="146"/>
                    </a:lnTo>
                    <a:lnTo>
                      <a:pt x="293" y="146"/>
                    </a:lnTo>
                    <a:lnTo>
                      <a:pt x="295" y="146"/>
                    </a:lnTo>
                    <a:lnTo>
                      <a:pt x="295" y="144"/>
                    </a:lnTo>
                    <a:lnTo>
                      <a:pt x="295" y="143"/>
                    </a:lnTo>
                    <a:lnTo>
                      <a:pt x="295" y="141"/>
                    </a:lnTo>
                    <a:lnTo>
                      <a:pt x="295" y="143"/>
                    </a:lnTo>
                    <a:lnTo>
                      <a:pt x="295" y="141"/>
                    </a:lnTo>
                    <a:lnTo>
                      <a:pt x="296" y="139"/>
                    </a:lnTo>
                    <a:lnTo>
                      <a:pt x="296" y="138"/>
                    </a:lnTo>
                    <a:lnTo>
                      <a:pt x="298" y="138"/>
                    </a:lnTo>
                    <a:lnTo>
                      <a:pt x="298" y="136"/>
                    </a:lnTo>
                    <a:lnTo>
                      <a:pt x="298" y="135"/>
                    </a:lnTo>
                    <a:lnTo>
                      <a:pt x="298" y="136"/>
                    </a:lnTo>
                    <a:lnTo>
                      <a:pt x="298" y="135"/>
                    </a:lnTo>
                    <a:lnTo>
                      <a:pt x="299" y="135"/>
                    </a:lnTo>
                    <a:lnTo>
                      <a:pt x="301" y="135"/>
                    </a:lnTo>
                    <a:lnTo>
                      <a:pt x="301" y="133"/>
                    </a:lnTo>
                    <a:lnTo>
                      <a:pt x="301" y="131"/>
                    </a:lnTo>
                    <a:lnTo>
                      <a:pt x="301" y="130"/>
                    </a:lnTo>
                    <a:lnTo>
                      <a:pt x="303" y="130"/>
                    </a:lnTo>
                    <a:lnTo>
                      <a:pt x="303" y="128"/>
                    </a:lnTo>
                    <a:lnTo>
                      <a:pt x="303" y="127"/>
                    </a:lnTo>
                    <a:lnTo>
                      <a:pt x="303" y="125"/>
                    </a:lnTo>
                    <a:lnTo>
                      <a:pt x="304" y="125"/>
                    </a:lnTo>
                    <a:lnTo>
                      <a:pt x="303" y="125"/>
                    </a:lnTo>
                    <a:lnTo>
                      <a:pt x="303" y="124"/>
                    </a:lnTo>
                    <a:lnTo>
                      <a:pt x="304" y="124"/>
                    </a:lnTo>
                    <a:lnTo>
                      <a:pt x="304" y="122"/>
                    </a:lnTo>
                    <a:lnTo>
                      <a:pt x="306" y="122"/>
                    </a:lnTo>
                    <a:lnTo>
                      <a:pt x="306" y="120"/>
                    </a:lnTo>
                    <a:lnTo>
                      <a:pt x="307" y="120"/>
                    </a:lnTo>
                    <a:lnTo>
                      <a:pt x="309" y="120"/>
                    </a:lnTo>
                    <a:lnTo>
                      <a:pt x="309" y="119"/>
                    </a:lnTo>
                    <a:lnTo>
                      <a:pt x="309" y="120"/>
                    </a:lnTo>
                    <a:lnTo>
                      <a:pt x="311" y="120"/>
                    </a:lnTo>
                    <a:lnTo>
                      <a:pt x="311" y="119"/>
                    </a:lnTo>
                    <a:lnTo>
                      <a:pt x="311" y="117"/>
                    </a:lnTo>
                    <a:lnTo>
                      <a:pt x="311" y="119"/>
                    </a:lnTo>
                    <a:lnTo>
                      <a:pt x="312" y="117"/>
                    </a:lnTo>
                    <a:lnTo>
                      <a:pt x="312" y="116"/>
                    </a:lnTo>
                    <a:lnTo>
                      <a:pt x="314" y="116"/>
                    </a:lnTo>
                    <a:lnTo>
                      <a:pt x="315" y="116"/>
                    </a:lnTo>
                    <a:lnTo>
                      <a:pt x="315" y="114"/>
                    </a:lnTo>
                    <a:lnTo>
                      <a:pt x="317" y="114"/>
                    </a:lnTo>
                    <a:lnTo>
                      <a:pt x="317" y="112"/>
                    </a:lnTo>
                    <a:lnTo>
                      <a:pt x="315" y="112"/>
                    </a:lnTo>
                    <a:lnTo>
                      <a:pt x="317" y="112"/>
                    </a:lnTo>
                    <a:lnTo>
                      <a:pt x="318" y="112"/>
                    </a:lnTo>
                    <a:lnTo>
                      <a:pt x="318" y="111"/>
                    </a:lnTo>
                    <a:lnTo>
                      <a:pt x="320" y="111"/>
                    </a:lnTo>
                    <a:lnTo>
                      <a:pt x="320" y="109"/>
                    </a:lnTo>
                    <a:lnTo>
                      <a:pt x="320" y="108"/>
                    </a:lnTo>
                    <a:lnTo>
                      <a:pt x="320" y="106"/>
                    </a:lnTo>
                    <a:lnTo>
                      <a:pt x="322" y="105"/>
                    </a:lnTo>
                    <a:lnTo>
                      <a:pt x="322" y="103"/>
                    </a:lnTo>
                    <a:lnTo>
                      <a:pt x="322" y="101"/>
                    </a:lnTo>
                    <a:lnTo>
                      <a:pt x="323" y="101"/>
                    </a:lnTo>
                    <a:lnTo>
                      <a:pt x="325" y="101"/>
                    </a:lnTo>
                    <a:lnTo>
                      <a:pt x="325" y="100"/>
                    </a:lnTo>
                    <a:lnTo>
                      <a:pt x="323" y="100"/>
                    </a:lnTo>
                    <a:lnTo>
                      <a:pt x="325" y="100"/>
                    </a:lnTo>
                    <a:lnTo>
                      <a:pt x="325" y="98"/>
                    </a:lnTo>
                    <a:lnTo>
                      <a:pt x="323" y="98"/>
                    </a:lnTo>
                    <a:lnTo>
                      <a:pt x="325" y="98"/>
                    </a:lnTo>
                    <a:lnTo>
                      <a:pt x="325" y="97"/>
                    </a:lnTo>
                    <a:lnTo>
                      <a:pt x="325" y="95"/>
                    </a:lnTo>
                    <a:lnTo>
                      <a:pt x="325" y="97"/>
                    </a:lnTo>
                    <a:lnTo>
                      <a:pt x="325" y="95"/>
                    </a:lnTo>
                    <a:lnTo>
                      <a:pt x="325" y="93"/>
                    </a:lnTo>
                    <a:lnTo>
                      <a:pt x="326" y="93"/>
                    </a:lnTo>
                    <a:lnTo>
                      <a:pt x="325" y="92"/>
                    </a:lnTo>
                    <a:lnTo>
                      <a:pt x="326" y="92"/>
                    </a:lnTo>
                    <a:lnTo>
                      <a:pt x="326" y="90"/>
                    </a:lnTo>
                    <a:lnTo>
                      <a:pt x="328" y="90"/>
                    </a:lnTo>
                    <a:lnTo>
                      <a:pt x="328" y="89"/>
                    </a:lnTo>
                    <a:lnTo>
                      <a:pt x="330" y="90"/>
                    </a:lnTo>
                    <a:lnTo>
                      <a:pt x="330" y="89"/>
                    </a:lnTo>
                    <a:lnTo>
                      <a:pt x="331" y="89"/>
                    </a:lnTo>
                    <a:lnTo>
                      <a:pt x="331" y="87"/>
                    </a:lnTo>
                    <a:lnTo>
                      <a:pt x="333" y="87"/>
                    </a:lnTo>
                    <a:lnTo>
                      <a:pt x="334" y="87"/>
                    </a:lnTo>
                    <a:lnTo>
                      <a:pt x="334" y="89"/>
                    </a:lnTo>
                    <a:lnTo>
                      <a:pt x="336" y="89"/>
                    </a:lnTo>
                    <a:lnTo>
                      <a:pt x="334" y="89"/>
                    </a:lnTo>
                    <a:lnTo>
                      <a:pt x="336" y="89"/>
                    </a:lnTo>
                    <a:lnTo>
                      <a:pt x="336" y="90"/>
                    </a:lnTo>
                    <a:lnTo>
                      <a:pt x="336" y="89"/>
                    </a:lnTo>
                    <a:lnTo>
                      <a:pt x="337" y="89"/>
                    </a:lnTo>
                    <a:lnTo>
                      <a:pt x="339" y="87"/>
                    </a:lnTo>
                    <a:lnTo>
                      <a:pt x="341" y="87"/>
                    </a:lnTo>
                    <a:lnTo>
                      <a:pt x="341" y="89"/>
                    </a:lnTo>
                    <a:lnTo>
                      <a:pt x="341" y="87"/>
                    </a:lnTo>
                    <a:lnTo>
                      <a:pt x="342" y="89"/>
                    </a:lnTo>
                    <a:lnTo>
                      <a:pt x="344" y="89"/>
                    </a:lnTo>
                    <a:lnTo>
                      <a:pt x="344" y="90"/>
                    </a:lnTo>
                    <a:lnTo>
                      <a:pt x="344" y="92"/>
                    </a:lnTo>
                    <a:lnTo>
                      <a:pt x="345" y="92"/>
                    </a:lnTo>
                    <a:lnTo>
                      <a:pt x="345" y="93"/>
                    </a:lnTo>
                    <a:lnTo>
                      <a:pt x="347" y="93"/>
                    </a:lnTo>
                    <a:lnTo>
                      <a:pt x="347" y="92"/>
                    </a:lnTo>
                    <a:lnTo>
                      <a:pt x="349" y="93"/>
                    </a:lnTo>
                    <a:lnTo>
                      <a:pt x="347" y="93"/>
                    </a:lnTo>
                    <a:lnTo>
                      <a:pt x="347" y="95"/>
                    </a:lnTo>
                    <a:lnTo>
                      <a:pt x="349" y="95"/>
                    </a:lnTo>
                    <a:lnTo>
                      <a:pt x="349" y="93"/>
                    </a:lnTo>
                    <a:lnTo>
                      <a:pt x="349" y="95"/>
                    </a:lnTo>
                    <a:lnTo>
                      <a:pt x="350" y="95"/>
                    </a:lnTo>
                    <a:lnTo>
                      <a:pt x="350" y="93"/>
                    </a:lnTo>
                    <a:lnTo>
                      <a:pt x="350" y="92"/>
                    </a:lnTo>
                    <a:lnTo>
                      <a:pt x="352" y="92"/>
                    </a:lnTo>
                    <a:lnTo>
                      <a:pt x="350" y="92"/>
                    </a:lnTo>
                    <a:lnTo>
                      <a:pt x="352" y="92"/>
                    </a:lnTo>
                    <a:lnTo>
                      <a:pt x="352" y="90"/>
                    </a:lnTo>
                    <a:lnTo>
                      <a:pt x="353" y="90"/>
                    </a:lnTo>
                    <a:lnTo>
                      <a:pt x="353" y="89"/>
                    </a:lnTo>
                    <a:lnTo>
                      <a:pt x="352" y="89"/>
                    </a:lnTo>
                    <a:lnTo>
                      <a:pt x="352" y="87"/>
                    </a:lnTo>
                    <a:lnTo>
                      <a:pt x="352" y="86"/>
                    </a:lnTo>
                    <a:lnTo>
                      <a:pt x="352" y="84"/>
                    </a:lnTo>
                    <a:lnTo>
                      <a:pt x="350" y="82"/>
                    </a:lnTo>
                    <a:lnTo>
                      <a:pt x="350" y="81"/>
                    </a:lnTo>
                    <a:lnTo>
                      <a:pt x="350" y="79"/>
                    </a:lnTo>
                    <a:lnTo>
                      <a:pt x="350" y="78"/>
                    </a:lnTo>
                    <a:lnTo>
                      <a:pt x="349" y="78"/>
                    </a:lnTo>
                    <a:lnTo>
                      <a:pt x="350" y="78"/>
                    </a:lnTo>
                    <a:lnTo>
                      <a:pt x="349" y="78"/>
                    </a:lnTo>
                    <a:lnTo>
                      <a:pt x="350" y="78"/>
                    </a:lnTo>
                    <a:lnTo>
                      <a:pt x="349" y="76"/>
                    </a:lnTo>
                    <a:lnTo>
                      <a:pt x="349" y="74"/>
                    </a:lnTo>
                    <a:lnTo>
                      <a:pt x="349" y="76"/>
                    </a:lnTo>
                    <a:lnTo>
                      <a:pt x="349" y="74"/>
                    </a:lnTo>
                    <a:lnTo>
                      <a:pt x="349" y="73"/>
                    </a:lnTo>
                    <a:lnTo>
                      <a:pt x="347" y="73"/>
                    </a:lnTo>
                    <a:lnTo>
                      <a:pt x="345" y="73"/>
                    </a:lnTo>
                    <a:lnTo>
                      <a:pt x="345" y="71"/>
                    </a:lnTo>
                    <a:lnTo>
                      <a:pt x="345" y="70"/>
                    </a:lnTo>
                    <a:lnTo>
                      <a:pt x="347" y="70"/>
                    </a:lnTo>
                    <a:lnTo>
                      <a:pt x="347" y="68"/>
                    </a:lnTo>
                    <a:lnTo>
                      <a:pt x="345" y="68"/>
                    </a:lnTo>
                    <a:lnTo>
                      <a:pt x="345" y="67"/>
                    </a:lnTo>
                    <a:lnTo>
                      <a:pt x="347" y="67"/>
                    </a:lnTo>
                    <a:lnTo>
                      <a:pt x="347" y="65"/>
                    </a:lnTo>
                    <a:lnTo>
                      <a:pt x="345" y="65"/>
                    </a:lnTo>
                    <a:lnTo>
                      <a:pt x="347" y="65"/>
                    </a:lnTo>
                    <a:lnTo>
                      <a:pt x="349" y="65"/>
                    </a:lnTo>
                    <a:lnTo>
                      <a:pt x="349" y="63"/>
                    </a:lnTo>
                    <a:lnTo>
                      <a:pt x="349" y="62"/>
                    </a:lnTo>
                    <a:lnTo>
                      <a:pt x="350" y="62"/>
                    </a:lnTo>
                    <a:lnTo>
                      <a:pt x="350" y="60"/>
                    </a:lnTo>
                    <a:lnTo>
                      <a:pt x="350" y="59"/>
                    </a:lnTo>
                    <a:lnTo>
                      <a:pt x="352" y="59"/>
                    </a:lnTo>
                    <a:lnTo>
                      <a:pt x="352" y="60"/>
                    </a:lnTo>
                    <a:lnTo>
                      <a:pt x="352" y="59"/>
                    </a:lnTo>
                    <a:lnTo>
                      <a:pt x="352" y="57"/>
                    </a:lnTo>
                    <a:lnTo>
                      <a:pt x="350" y="57"/>
                    </a:lnTo>
                    <a:lnTo>
                      <a:pt x="352" y="57"/>
                    </a:lnTo>
                    <a:lnTo>
                      <a:pt x="353" y="55"/>
                    </a:lnTo>
                    <a:lnTo>
                      <a:pt x="352" y="55"/>
                    </a:lnTo>
                    <a:lnTo>
                      <a:pt x="352" y="54"/>
                    </a:lnTo>
                    <a:lnTo>
                      <a:pt x="352" y="52"/>
                    </a:lnTo>
                    <a:lnTo>
                      <a:pt x="353" y="52"/>
                    </a:lnTo>
                    <a:lnTo>
                      <a:pt x="355" y="52"/>
                    </a:lnTo>
                    <a:lnTo>
                      <a:pt x="353" y="52"/>
                    </a:lnTo>
                    <a:lnTo>
                      <a:pt x="355" y="51"/>
                    </a:lnTo>
                    <a:lnTo>
                      <a:pt x="353" y="51"/>
                    </a:lnTo>
                    <a:lnTo>
                      <a:pt x="355" y="51"/>
                    </a:lnTo>
                    <a:lnTo>
                      <a:pt x="355" y="49"/>
                    </a:lnTo>
                    <a:lnTo>
                      <a:pt x="355" y="47"/>
                    </a:lnTo>
                    <a:lnTo>
                      <a:pt x="355" y="49"/>
                    </a:lnTo>
                    <a:lnTo>
                      <a:pt x="355" y="47"/>
                    </a:lnTo>
                    <a:lnTo>
                      <a:pt x="356" y="47"/>
                    </a:lnTo>
                    <a:lnTo>
                      <a:pt x="355" y="47"/>
                    </a:lnTo>
                    <a:lnTo>
                      <a:pt x="356" y="47"/>
                    </a:lnTo>
                    <a:lnTo>
                      <a:pt x="356" y="46"/>
                    </a:lnTo>
                    <a:lnTo>
                      <a:pt x="356" y="44"/>
                    </a:lnTo>
                    <a:lnTo>
                      <a:pt x="358" y="44"/>
                    </a:lnTo>
                    <a:lnTo>
                      <a:pt x="358" y="43"/>
                    </a:lnTo>
                    <a:lnTo>
                      <a:pt x="360" y="43"/>
                    </a:lnTo>
                    <a:lnTo>
                      <a:pt x="358" y="43"/>
                    </a:lnTo>
                    <a:lnTo>
                      <a:pt x="358" y="41"/>
                    </a:lnTo>
                    <a:lnTo>
                      <a:pt x="360" y="41"/>
                    </a:lnTo>
                    <a:lnTo>
                      <a:pt x="360" y="40"/>
                    </a:lnTo>
                    <a:lnTo>
                      <a:pt x="358" y="40"/>
                    </a:lnTo>
                    <a:lnTo>
                      <a:pt x="358" y="38"/>
                    </a:lnTo>
                    <a:lnTo>
                      <a:pt x="360" y="38"/>
                    </a:lnTo>
                    <a:lnTo>
                      <a:pt x="361" y="38"/>
                    </a:lnTo>
                    <a:lnTo>
                      <a:pt x="361" y="36"/>
                    </a:lnTo>
                    <a:lnTo>
                      <a:pt x="361" y="38"/>
                    </a:lnTo>
                    <a:lnTo>
                      <a:pt x="363" y="38"/>
                    </a:lnTo>
                    <a:lnTo>
                      <a:pt x="363" y="36"/>
                    </a:lnTo>
                    <a:lnTo>
                      <a:pt x="364" y="36"/>
                    </a:lnTo>
                    <a:lnTo>
                      <a:pt x="364" y="35"/>
                    </a:lnTo>
                    <a:lnTo>
                      <a:pt x="366" y="35"/>
                    </a:lnTo>
                    <a:lnTo>
                      <a:pt x="366" y="33"/>
                    </a:lnTo>
                    <a:lnTo>
                      <a:pt x="368" y="33"/>
                    </a:lnTo>
                    <a:lnTo>
                      <a:pt x="368" y="32"/>
                    </a:lnTo>
                    <a:lnTo>
                      <a:pt x="368" y="30"/>
                    </a:lnTo>
                    <a:lnTo>
                      <a:pt x="368" y="28"/>
                    </a:lnTo>
                    <a:lnTo>
                      <a:pt x="366" y="28"/>
                    </a:lnTo>
                    <a:lnTo>
                      <a:pt x="366" y="27"/>
                    </a:lnTo>
                    <a:lnTo>
                      <a:pt x="368" y="27"/>
                    </a:lnTo>
                    <a:lnTo>
                      <a:pt x="366" y="27"/>
                    </a:lnTo>
                    <a:lnTo>
                      <a:pt x="368" y="27"/>
                    </a:lnTo>
                    <a:lnTo>
                      <a:pt x="368" y="25"/>
                    </a:lnTo>
                    <a:lnTo>
                      <a:pt x="368" y="24"/>
                    </a:lnTo>
                    <a:lnTo>
                      <a:pt x="368" y="22"/>
                    </a:lnTo>
                    <a:lnTo>
                      <a:pt x="366" y="22"/>
                    </a:lnTo>
                    <a:lnTo>
                      <a:pt x="366" y="24"/>
                    </a:lnTo>
                    <a:lnTo>
                      <a:pt x="364" y="22"/>
                    </a:lnTo>
                    <a:lnTo>
                      <a:pt x="364" y="21"/>
                    </a:lnTo>
                    <a:lnTo>
                      <a:pt x="364" y="19"/>
                    </a:lnTo>
                    <a:lnTo>
                      <a:pt x="366" y="19"/>
                    </a:lnTo>
                    <a:lnTo>
                      <a:pt x="366" y="17"/>
                    </a:lnTo>
                    <a:lnTo>
                      <a:pt x="368" y="17"/>
                    </a:lnTo>
                    <a:lnTo>
                      <a:pt x="369" y="16"/>
                    </a:lnTo>
                    <a:lnTo>
                      <a:pt x="369" y="14"/>
                    </a:lnTo>
                    <a:lnTo>
                      <a:pt x="371" y="14"/>
                    </a:lnTo>
                    <a:lnTo>
                      <a:pt x="371" y="13"/>
                    </a:lnTo>
                    <a:lnTo>
                      <a:pt x="372" y="13"/>
                    </a:lnTo>
                    <a:lnTo>
                      <a:pt x="372" y="11"/>
                    </a:lnTo>
                    <a:lnTo>
                      <a:pt x="374" y="11"/>
                    </a:lnTo>
                    <a:lnTo>
                      <a:pt x="375" y="9"/>
                    </a:lnTo>
                    <a:lnTo>
                      <a:pt x="377" y="8"/>
                    </a:lnTo>
                    <a:lnTo>
                      <a:pt x="379" y="8"/>
                    </a:lnTo>
                    <a:lnTo>
                      <a:pt x="379" y="6"/>
                    </a:lnTo>
                    <a:lnTo>
                      <a:pt x="379" y="5"/>
                    </a:lnTo>
                    <a:lnTo>
                      <a:pt x="380" y="5"/>
                    </a:lnTo>
                    <a:lnTo>
                      <a:pt x="382" y="3"/>
                    </a:lnTo>
                    <a:lnTo>
                      <a:pt x="382" y="5"/>
                    </a:lnTo>
                    <a:lnTo>
                      <a:pt x="383" y="5"/>
                    </a:lnTo>
                    <a:lnTo>
                      <a:pt x="385" y="5"/>
                    </a:lnTo>
                    <a:lnTo>
                      <a:pt x="385" y="6"/>
                    </a:lnTo>
                    <a:lnTo>
                      <a:pt x="385" y="8"/>
                    </a:lnTo>
                    <a:lnTo>
                      <a:pt x="387" y="8"/>
                    </a:lnTo>
                    <a:lnTo>
                      <a:pt x="387" y="6"/>
                    </a:lnTo>
                    <a:lnTo>
                      <a:pt x="388" y="6"/>
                    </a:lnTo>
                    <a:lnTo>
                      <a:pt x="388" y="5"/>
                    </a:lnTo>
                    <a:lnTo>
                      <a:pt x="390" y="3"/>
                    </a:lnTo>
                    <a:lnTo>
                      <a:pt x="390" y="2"/>
                    </a:lnTo>
                    <a:lnTo>
                      <a:pt x="391" y="2"/>
                    </a:lnTo>
                    <a:lnTo>
                      <a:pt x="391" y="0"/>
                    </a:lnTo>
                    <a:lnTo>
                      <a:pt x="393" y="0"/>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45" name="Freeform 25"/>
              <p:cNvSpPr>
                <a:spLocks/>
              </p:cNvSpPr>
              <p:nvPr/>
            </p:nvSpPr>
            <p:spPr bwMode="auto">
              <a:xfrm>
                <a:off x="2262" y="1136"/>
                <a:ext cx="160" cy="220"/>
              </a:xfrm>
              <a:custGeom>
                <a:avLst/>
                <a:gdLst>
                  <a:gd name="T0" fmla="*/ 5 w 160"/>
                  <a:gd name="T1" fmla="*/ 217 h 220"/>
                  <a:gd name="T2" fmla="*/ 11 w 160"/>
                  <a:gd name="T3" fmla="*/ 215 h 220"/>
                  <a:gd name="T4" fmla="*/ 16 w 160"/>
                  <a:gd name="T5" fmla="*/ 212 h 220"/>
                  <a:gd name="T6" fmla="*/ 20 w 160"/>
                  <a:gd name="T7" fmla="*/ 209 h 220"/>
                  <a:gd name="T8" fmla="*/ 28 w 160"/>
                  <a:gd name="T9" fmla="*/ 207 h 220"/>
                  <a:gd name="T10" fmla="*/ 33 w 160"/>
                  <a:gd name="T11" fmla="*/ 203 h 220"/>
                  <a:gd name="T12" fmla="*/ 38 w 160"/>
                  <a:gd name="T13" fmla="*/ 199 h 220"/>
                  <a:gd name="T14" fmla="*/ 41 w 160"/>
                  <a:gd name="T15" fmla="*/ 195 h 220"/>
                  <a:gd name="T16" fmla="*/ 44 w 160"/>
                  <a:gd name="T17" fmla="*/ 190 h 220"/>
                  <a:gd name="T18" fmla="*/ 46 w 160"/>
                  <a:gd name="T19" fmla="*/ 184 h 220"/>
                  <a:gd name="T20" fmla="*/ 39 w 160"/>
                  <a:gd name="T21" fmla="*/ 180 h 220"/>
                  <a:gd name="T22" fmla="*/ 35 w 160"/>
                  <a:gd name="T23" fmla="*/ 177 h 220"/>
                  <a:gd name="T24" fmla="*/ 32 w 160"/>
                  <a:gd name="T25" fmla="*/ 172 h 220"/>
                  <a:gd name="T26" fmla="*/ 35 w 160"/>
                  <a:gd name="T27" fmla="*/ 169 h 220"/>
                  <a:gd name="T28" fmla="*/ 39 w 160"/>
                  <a:gd name="T29" fmla="*/ 166 h 220"/>
                  <a:gd name="T30" fmla="*/ 43 w 160"/>
                  <a:gd name="T31" fmla="*/ 160 h 220"/>
                  <a:gd name="T32" fmla="*/ 51 w 160"/>
                  <a:gd name="T33" fmla="*/ 158 h 220"/>
                  <a:gd name="T34" fmla="*/ 59 w 160"/>
                  <a:gd name="T35" fmla="*/ 155 h 220"/>
                  <a:gd name="T36" fmla="*/ 63 w 160"/>
                  <a:gd name="T37" fmla="*/ 150 h 220"/>
                  <a:gd name="T38" fmla="*/ 65 w 160"/>
                  <a:gd name="T39" fmla="*/ 144 h 220"/>
                  <a:gd name="T40" fmla="*/ 68 w 160"/>
                  <a:gd name="T41" fmla="*/ 147 h 220"/>
                  <a:gd name="T42" fmla="*/ 73 w 160"/>
                  <a:gd name="T43" fmla="*/ 150 h 220"/>
                  <a:gd name="T44" fmla="*/ 79 w 160"/>
                  <a:gd name="T45" fmla="*/ 149 h 220"/>
                  <a:gd name="T46" fmla="*/ 85 w 160"/>
                  <a:gd name="T47" fmla="*/ 147 h 220"/>
                  <a:gd name="T48" fmla="*/ 92 w 160"/>
                  <a:gd name="T49" fmla="*/ 142 h 220"/>
                  <a:gd name="T50" fmla="*/ 97 w 160"/>
                  <a:gd name="T51" fmla="*/ 139 h 220"/>
                  <a:gd name="T52" fmla="*/ 97 w 160"/>
                  <a:gd name="T53" fmla="*/ 138 h 220"/>
                  <a:gd name="T54" fmla="*/ 93 w 160"/>
                  <a:gd name="T55" fmla="*/ 133 h 220"/>
                  <a:gd name="T56" fmla="*/ 90 w 160"/>
                  <a:gd name="T57" fmla="*/ 128 h 220"/>
                  <a:gd name="T58" fmla="*/ 98 w 160"/>
                  <a:gd name="T59" fmla="*/ 123 h 220"/>
                  <a:gd name="T60" fmla="*/ 98 w 160"/>
                  <a:gd name="T61" fmla="*/ 119 h 220"/>
                  <a:gd name="T62" fmla="*/ 100 w 160"/>
                  <a:gd name="T63" fmla="*/ 111 h 220"/>
                  <a:gd name="T64" fmla="*/ 95 w 160"/>
                  <a:gd name="T65" fmla="*/ 103 h 220"/>
                  <a:gd name="T66" fmla="*/ 95 w 160"/>
                  <a:gd name="T67" fmla="*/ 101 h 220"/>
                  <a:gd name="T68" fmla="*/ 97 w 160"/>
                  <a:gd name="T69" fmla="*/ 95 h 220"/>
                  <a:gd name="T70" fmla="*/ 98 w 160"/>
                  <a:gd name="T71" fmla="*/ 87 h 220"/>
                  <a:gd name="T72" fmla="*/ 93 w 160"/>
                  <a:gd name="T73" fmla="*/ 82 h 220"/>
                  <a:gd name="T74" fmla="*/ 87 w 160"/>
                  <a:gd name="T75" fmla="*/ 79 h 220"/>
                  <a:gd name="T76" fmla="*/ 84 w 160"/>
                  <a:gd name="T77" fmla="*/ 73 h 220"/>
                  <a:gd name="T78" fmla="*/ 90 w 160"/>
                  <a:gd name="T79" fmla="*/ 69 h 220"/>
                  <a:gd name="T80" fmla="*/ 93 w 160"/>
                  <a:gd name="T81" fmla="*/ 62 h 220"/>
                  <a:gd name="T82" fmla="*/ 97 w 160"/>
                  <a:gd name="T83" fmla="*/ 57 h 220"/>
                  <a:gd name="T84" fmla="*/ 101 w 160"/>
                  <a:gd name="T85" fmla="*/ 50 h 220"/>
                  <a:gd name="T86" fmla="*/ 101 w 160"/>
                  <a:gd name="T87" fmla="*/ 49 h 220"/>
                  <a:gd name="T88" fmla="*/ 104 w 160"/>
                  <a:gd name="T89" fmla="*/ 43 h 220"/>
                  <a:gd name="T90" fmla="*/ 109 w 160"/>
                  <a:gd name="T91" fmla="*/ 36 h 220"/>
                  <a:gd name="T92" fmla="*/ 116 w 160"/>
                  <a:gd name="T93" fmla="*/ 30 h 220"/>
                  <a:gd name="T94" fmla="*/ 119 w 160"/>
                  <a:gd name="T95" fmla="*/ 25 h 220"/>
                  <a:gd name="T96" fmla="*/ 125 w 160"/>
                  <a:gd name="T97" fmla="*/ 19 h 220"/>
                  <a:gd name="T98" fmla="*/ 130 w 160"/>
                  <a:gd name="T99" fmla="*/ 16 h 220"/>
                  <a:gd name="T100" fmla="*/ 135 w 160"/>
                  <a:gd name="T101" fmla="*/ 11 h 220"/>
                  <a:gd name="T102" fmla="*/ 139 w 160"/>
                  <a:gd name="T103" fmla="*/ 8 h 220"/>
                  <a:gd name="T104" fmla="*/ 144 w 160"/>
                  <a:gd name="T105" fmla="*/ 5 h 220"/>
                  <a:gd name="T106" fmla="*/ 150 w 160"/>
                  <a:gd name="T107" fmla="*/ 1 h 220"/>
                  <a:gd name="T108" fmla="*/ 157 w 160"/>
                  <a:gd name="T109" fmla="*/ 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220">
                    <a:moveTo>
                      <a:pt x="0" y="220"/>
                    </a:moveTo>
                    <a:lnTo>
                      <a:pt x="0" y="218"/>
                    </a:lnTo>
                    <a:lnTo>
                      <a:pt x="1" y="218"/>
                    </a:lnTo>
                    <a:lnTo>
                      <a:pt x="3" y="218"/>
                    </a:lnTo>
                    <a:lnTo>
                      <a:pt x="5" y="217"/>
                    </a:lnTo>
                    <a:lnTo>
                      <a:pt x="6" y="217"/>
                    </a:lnTo>
                    <a:lnTo>
                      <a:pt x="8" y="217"/>
                    </a:lnTo>
                    <a:lnTo>
                      <a:pt x="9" y="217"/>
                    </a:lnTo>
                    <a:lnTo>
                      <a:pt x="9" y="215"/>
                    </a:lnTo>
                    <a:lnTo>
                      <a:pt x="11" y="215"/>
                    </a:lnTo>
                    <a:lnTo>
                      <a:pt x="13" y="215"/>
                    </a:lnTo>
                    <a:lnTo>
                      <a:pt x="13" y="214"/>
                    </a:lnTo>
                    <a:lnTo>
                      <a:pt x="14" y="214"/>
                    </a:lnTo>
                    <a:lnTo>
                      <a:pt x="16" y="214"/>
                    </a:lnTo>
                    <a:lnTo>
                      <a:pt x="16" y="212"/>
                    </a:lnTo>
                    <a:lnTo>
                      <a:pt x="17" y="212"/>
                    </a:lnTo>
                    <a:lnTo>
                      <a:pt x="19" y="212"/>
                    </a:lnTo>
                    <a:lnTo>
                      <a:pt x="19" y="210"/>
                    </a:lnTo>
                    <a:lnTo>
                      <a:pt x="20" y="210"/>
                    </a:lnTo>
                    <a:lnTo>
                      <a:pt x="20" y="209"/>
                    </a:lnTo>
                    <a:lnTo>
                      <a:pt x="22" y="209"/>
                    </a:lnTo>
                    <a:lnTo>
                      <a:pt x="24" y="207"/>
                    </a:lnTo>
                    <a:lnTo>
                      <a:pt x="25" y="207"/>
                    </a:lnTo>
                    <a:lnTo>
                      <a:pt x="27" y="207"/>
                    </a:lnTo>
                    <a:lnTo>
                      <a:pt x="28" y="207"/>
                    </a:lnTo>
                    <a:lnTo>
                      <a:pt x="28" y="206"/>
                    </a:lnTo>
                    <a:lnTo>
                      <a:pt x="30" y="206"/>
                    </a:lnTo>
                    <a:lnTo>
                      <a:pt x="32" y="204"/>
                    </a:lnTo>
                    <a:lnTo>
                      <a:pt x="33" y="204"/>
                    </a:lnTo>
                    <a:lnTo>
                      <a:pt x="33" y="203"/>
                    </a:lnTo>
                    <a:lnTo>
                      <a:pt x="33" y="201"/>
                    </a:lnTo>
                    <a:lnTo>
                      <a:pt x="35" y="201"/>
                    </a:lnTo>
                    <a:lnTo>
                      <a:pt x="35" y="199"/>
                    </a:lnTo>
                    <a:lnTo>
                      <a:pt x="36" y="199"/>
                    </a:lnTo>
                    <a:lnTo>
                      <a:pt x="38" y="199"/>
                    </a:lnTo>
                    <a:lnTo>
                      <a:pt x="38" y="198"/>
                    </a:lnTo>
                    <a:lnTo>
                      <a:pt x="39" y="198"/>
                    </a:lnTo>
                    <a:lnTo>
                      <a:pt x="39" y="196"/>
                    </a:lnTo>
                    <a:lnTo>
                      <a:pt x="41" y="196"/>
                    </a:lnTo>
                    <a:lnTo>
                      <a:pt x="41" y="195"/>
                    </a:lnTo>
                    <a:lnTo>
                      <a:pt x="43" y="195"/>
                    </a:lnTo>
                    <a:lnTo>
                      <a:pt x="43" y="193"/>
                    </a:lnTo>
                    <a:lnTo>
                      <a:pt x="44" y="193"/>
                    </a:lnTo>
                    <a:lnTo>
                      <a:pt x="44" y="191"/>
                    </a:lnTo>
                    <a:lnTo>
                      <a:pt x="44" y="190"/>
                    </a:lnTo>
                    <a:lnTo>
                      <a:pt x="46" y="190"/>
                    </a:lnTo>
                    <a:lnTo>
                      <a:pt x="44" y="188"/>
                    </a:lnTo>
                    <a:lnTo>
                      <a:pt x="46" y="187"/>
                    </a:lnTo>
                    <a:lnTo>
                      <a:pt x="46" y="185"/>
                    </a:lnTo>
                    <a:lnTo>
                      <a:pt x="46" y="184"/>
                    </a:lnTo>
                    <a:lnTo>
                      <a:pt x="44" y="184"/>
                    </a:lnTo>
                    <a:lnTo>
                      <a:pt x="44" y="182"/>
                    </a:lnTo>
                    <a:lnTo>
                      <a:pt x="43" y="182"/>
                    </a:lnTo>
                    <a:lnTo>
                      <a:pt x="41" y="180"/>
                    </a:lnTo>
                    <a:lnTo>
                      <a:pt x="39" y="180"/>
                    </a:lnTo>
                    <a:lnTo>
                      <a:pt x="38" y="180"/>
                    </a:lnTo>
                    <a:lnTo>
                      <a:pt x="36" y="180"/>
                    </a:lnTo>
                    <a:lnTo>
                      <a:pt x="36" y="179"/>
                    </a:lnTo>
                    <a:lnTo>
                      <a:pt x="36" y="177"/>
                    </a:lnTo>
                    <a:lnTo>
                      <a:pt x="35" y="177"/>
                    </a:lnTo>
                    <a:lnTo>
                      <a:pt x="35" y="176"/>
                    </a:lnTo>
                    <a:lnTo>
                      <a:pt x="33" y="176"/>
                    </a:lnTo>
                    <a:lnTo>
                      <a:pt x="33" y="174"/>
                    </a:lnTo>
                    <a:lnTo>
                      <a:pt x="33" y="172"/>
                    </a:lnTo>
                    <a:lnTo>
                      <a:pt x="32" y="172"/>
                    </a:lnTo>
                    <a:lnTo>
                      <a:pt x="33" y="172"/>
                    </a:lnTo>
                    <a:lnTo>
                      <a:pt x="32" y="172"/>
                    </a:lnTo>
                    <a:lnTo>
                      <a:pt x="33" y="172"/>
                    </a:lnTo>
                    <a:lnTo>
                      <a:pt x="33" y="171"/>
                    </a:lnTo>
                    <a:lnTo>
                      <a:pt x="35" y="169"/>
                    </a:lnTo>
                    <a:lnTo>
                      <a:pt x="36" y="169"/>
                    </a:lnTo>
                    <a:lnTo>
                      <a:pt x="36" y="168"/>
                    </a:lnTo>
                    <a:lnTo>
                      <a:pt x="38" y="168"/>
                    </a:lnTo>
                    <a:lnTo>
                      <a:pt x="38" y="166"/>
                    </a:lnTo>
                    <a:lnTo>
                      <a:pt x="39" y="166"/>
                    </a:lnTo>
                    <a:lnTo>
                      <a:pt x="39" y="165"/>
                    </a:lnTo>
                    <a:lnTo>
                      <a:pt x="41" y="165"/>
                    </a:lnTo>
                    <a:lnTo>
                      <a:pt x="41" y="163"/>
                    </a:lnTo>
                    <a:lnTo>
                      <a:pt x="43" y="161"/>
                    </a:lnTo>
                    <a:lnTo>
                      <a:pt x="43" y="160"/>
                    </a:lnTo>
                    <a:lnTo>
                      <a:pt x="44" y="160"/>
                    </a:lnTo>
                    <a:lnTo>
                      <a:pt x="46" y="160"/>
                    </a:lnTo>
                    <a:lnTo>
                      <a:pt x="47" y="160"/>
                    </a:lnTo>
                    <a:lnTo>
                      <a:pt x="49" y="158"/>
                    </a:lnTo>
                    <a:lnTo>
                      <a:pt x="51" y="158"/>
                    </a:lnTo>
                    <a:lnTo>
                      <a:pt x="54" y="157"/>
                    </a:lnTo>
                    <a:lnTo>
                      <a:pt x="55" y="157"/>
                    </a:lnTo>
                    <a:lnTo>
                      <a:pt x="57" y="157"/>
                    </a:lnTo>
                    <a:lnTo>
                      <a:pt x="57" y="155"/>
                    </a:lnTo>
                    <a:lnTo>
                      <a:pt x="59" y="155"/>
                    </a:lnTo>
                    <a:lnTo>
                      <a:pt x="60" y="155"/>
                    </a:lnTo>
                    <a:lnTo>
                      <a:pt x="60" y="153"/>
                    </a:lnTo>
                    <a:lnTo>
                      <a:pt x="62" y="152"/>
                    </a:lnTo>
                    <a:lnTo>
                      <a:pt x="62" y="150"/>
                    </a:lnTo>
                    <a:lnTo>
                      <a:pt x="63" y="150"/>
                    </a:lnTo>
                    <a:lnTo>
                      <a:pt x="63" y="149"/>
                    </a:lnTo>
                    <a:lnTo>
                      <a:pt x="63" y="147"/>
                    </a:lnTo>
                    <a:lnTo>
                      <a:pt x="63" y="146"/>
                    </a:lnTo>
                    <a:lnTo>
                      <a:pt x="63" y="144"/>
                    </a:lnTo>
                    <a:lnTo>
                      <a:pt x="65" y="144"/>
                    </a:lnTo>
                    <a:lnTo>
                      <a:pt x="66" y="142"/>
                    </a:lnTo>
                    <a:lnTo>
                      <a:pt x="68" y="142"/>
                    </a:lnTo>
                    <a:lnTo>
                      <a:pt x="68" y="144"/>
                    </a:lnTo>
                    <a:lnTo>
                      <a:pt x="68" y="146"/>
                    </a:lnTo>
                    <a:lnTo>
                      <a:pt x="68" y="147"/>
                    </a:lnTo>
                    <a:lnTo>
                      <a:pt x="68" y="149"/>
                    </a:lnTo>
                    <a:lnTo>
                      <a:pt x="70" y="149"/>
                    </a:lnTo>
                    <a:lnTo>
                      <a:pt x="70" y="150"/>
                    </a:lnTo>
                    <a:lnTo>
                      <a:pt x="71" y="150"/>
                    </a:lnTo>
                    <a:lnTo>
                      <a:pt x="73" y="150"/>
                    </a:lnTo>
                    <a:lnTo>
                      <a:pt x="74" y="150"/>
                    </a:lnTo>
                    <a:lnTo>
                      <a:pt x="74" y="149"/>
                    </a:lnTo>
                    <a:lnTo>
                      <a:pt x="76" y="149"/>
                    </a:lnTo>
                    <a:lnTo>
                      <a:pt x="78" y="149"/>
                    </a:lnTo>
                    <a:lnTo>
                      <a:pt x="79" y="149"/>
                    </a:lnTo>
                    <a:lnTo>
                      <a:pt x="79" y="147"/>
                    </a:lnTo>
                    <a:lnTo>
                      <a:pt x="81" y="147"/>
                    </a:lnTo>
                    <a:lnTo>
                      <a:pt x="82" y="147"/>
                    </a:lnTo>
                    <a:lnTo>
                      <a:pt x="84" y="147"/>
                    </a:lnTo>
                    <a:lnTo>
                      <a:pt x="85" y="147"/>
                    </a:lnTo>
                    <a:lnTo>
                      <a:pt x="87" y="146"/>
                    </a:lnTo>
                    <a:lnTo>
                      <a:pt x="87" y="144"/>
                    </a:lnTo>
                    <a:lnTo>
                      <a:pt x="89" y="144"/>
                    </a:lnTo>
                    <a:lnTo>
                      <a:pt x="90" y="144"/>
                    </a:lnTo>
                    <a:lnTo>
                      <a:pt x="92" y="142"/>
                    </a:lnTo>
                    <a:lnTo>
                      <a:pt x="93" y="142"/>
                    </a:lnTo>
                    <a:lnTo>
                      <a:pt x="95" y="142"/>
                    </a:lnTo>
                    <a:lnTo>
                      <a:pt x="95" y="141"/>
                    </a:lnTo>
                    <a:lnTo>
                      <a:pt x="97" y="141"/>
                    </a:lnTo>
                    <a:lnTo>
                      <a:pt x="97" y="139"/>
                    </a:lnTo>
                    <a:lnTo>
                      <a:pt x="98" y="139"/>
                    </a:lnTo>
                    <a:lnTo>
                      <a:pt x="100" y="139"/>
                    </a:lnTo>
                    <a:lnTo>
                      <a:pt x="100" y="138"/>
                    </a:lnTo>
                    <a:lnTo>
                      <a:pt x="98" y="138"/>
                    </a:lnTo>
                    <a:lnTo>
                      <a:pt x="97" y="138"/>
                    </a:lnTo>
                    <a:lnTo>
                      <a:pt x="97" y="136"/>
                    </a:lnTo>
                    <a:lnTo>
                      <a:pt x="95" y="136"/>
                    </a:lnTo>
                    <a:lnTo>
                      <a:pt x="93" y="136"/>
                    </a:lnTo>
                    <a:lnTo>
                      <a:pt x="93" y="134"/>
                    </a:lnTo>
                    <a:lnTo>
                      <a:pt x="93" y="133"/>
                    </a:lnTo>
                    <a:lnTo>
                      <a:pt x="92" y="133"/>
                    </a:lnTo>
                    <a:lnTo>
                      <a:pt x="92" y="131"/>
                    </a:lnTo>
                    <a:lnTo>
                      <a:pt x="92" y="130"/>
                    </a:lnTo>
                    <a:lnTo>
                      <a:pt x="90" y="130"/>
                    </a:lnTo>
                    <a:lnTo>
                      <a:pt x="90" y="128"/>
                    </a:lnTo>
                    <a:lnTo>
                      <a:pt x="92" y="127"/>
                    </a:lnTo>
                    <a:lnTo>
                      <a:pt x="93" y="125"/>
                    </a:lnTo>
                    <a:lnTo>
                      <a:pt x="95" y="125"/>
                    </a:lnTo>
                    <a:lnTo>
                      <a:pt x="97" y="123"/>
                    </a:lnTo>
                    <a:lnTo>
                      <a:pt x="98" y="123"/>
                    </a:lnTo>
                    <a:lnTo>
                      <a:pt x="100" y="123"/>
                    </a:lnTo>
                    <a:lnTo>
                      <a:pt x="101" y="123"/>
                    </a:lnTo>
                    <a:lnTo>
                      <a:pt x="100" y="122"/>
                    </a:lnTo>
                    <a:lnTo>
                      <a:pt x="100" y="120"/>
                    </a:lnTo>
                    <a:lnTo>
                      <a:pt x="98" y="119"/>
                    </a:lnTo>
                    <a:lnTo>
                      <a:pt x="98" y="117"/>
                    </a:lnTo>
                    <a:lnTo>
                      <a:pt x="100" y="115"/>
                    </a:lnTo>
                    <a:lnTo>
                      <a:pt x="100" y="114"/>
                    </a:lnTo>
                    <a:lnTo>
                      <a:pt x="100" y="112"/>
                    </a:lnTo>
                    <a:lnTo>
                      <a:pt x="100" y="111"/>
                    </a:lnTo>
                    <a:lnTo>
                      <a:pt x="101" y="109"/>
                    </a:lnTo>
                    <a:lnTo>
                      <a:pt x="100" y="106"/>
                    </a:lnTo>
                    <a:lnTo>
                      <a:pt x="98" y="104"/>
                    </a:lnTo>
                    <a:lnTo>
                      <a:pt x="97" y="103"/>
                    </a:lnTo>
                    <a:lnTo>
                      <a:pt x="95" y="103"/>
                    </a:lnTo>
                    <a:lnTo>
                      <a:pt x="93" y="104"/>
                    </a:lnTo>
                    <a:lnTo>
                      <a:pt x="92" y="104"/>
                    </a:lnTo>
                    <a:lnTo>
                      <a:pt x="92" y="103"/>
                    </a:lnTo>
                    <a:lnTo>
                      <a:pt x="93" y="101"/>
                    </a:lnTo>
                    <a:lnTo>
                      <a:pt x="95" y="101"/>
                    </a:lnTo>
                    <a:lnTo>
                      <a:pt x="95" y="100"/>
                    </a:lnTo>
                    <a:lnTo>
                      <a:pt x="97" y="98"/>
                    </a:lnTo>
                    <a:lnTo>
                      <a:pt x="95" y="96"/>
                    </a:lnTo>
                    <a:lnTo>
                      <a:pt x="97" y="96"/>
                    </a:lnTo>
                    <a:lnTo>
                      <a:pt x="97" y="95"/>
                    </a:lnTo>
                    <a:lnTo>
                      <a:pt x="97" y="93"/>
                    </a:lnTo>
                    <a:lnTo>
                      <a:pt x="97" y="92"/>
                    </a:lnTo>
                    <a:lnTo>
                      <a:pt x="97" y="90"/>
                    </a:lnTo>
                    <a:lnTo>
                      <a:pt x="97" y="88"/>
                    </a:lnTo>
                    <a:lnTo>
                      <a:pt x="98" y="87"/>
                    </a:lnTo>
                    <a:lnTo>
                      <a:pt x="98" y="85"/>
                    </a:lnTo>
                    <a:lnTo>
                      <a:pt x="97" y="85"/>
                    </a:lnTo>
                    <a:lnTo>
                      <a:pt x="97" y="84"/>
                    </a:lnTo>
                    <a:lnTo>
                      <a:pt x="95" y="82"/>
                    </a:lnTo>
                    <a:lnTo>
                      <a:pt x="93" y="82"/>
                    </a:lnTo>
                    <a:lnTo>
                      <a:pt x="92" y="82"/>
                    </a:lnTo>
                    <a:lnTo>
                      <a:pt x="90" y="82"/>
                    </a:lnTo>
                    <a:lnTo>
                      <a:pt x="90" y="81"/>
                    </a:lnTo>
                    <a:lnTo>
                      <a:pt x="89" y="79"/>
                    </a:lnTo>
                    <a:lnTo>
                      <a:pt x="87" y="79"/>
                    </a:lnTo>
                    <a:lnTo>
                      <a:pt x="87" y="77"/>
                    </a:lnTo>
                    <a:lnTo>
                      <a:pt x="87" y="76"/>
                    </a:lnTo>
                    <a:lnTo>
                      <a:pt x="85" y="76"/>
                    </a:lnTo>
                    <a:lnTo>
                      <a:pt x="85" y="74"/>
                    </a:lnTo>
                    <a:lnTo>
                      <a:pt x="84" y="73"/>
                    </a:lnTo>
                    <a:lnTo>
                      <a:pt x="87" y="73"/>
                    </a:lnTo>
                    <a:lnTo>
                      <a:pt x="87" y="71"/>
                    </a:lnTo>
                    <a:lnTo>
                      <a:pt x="89" y="71"/>
                    </a:lnTo>
                    <a:lnTo>
                      <a:pt x="90" y="71"/>
                    </a:lnTo>
                    <a:lnTo>
                      <a:pt x="90" y="69"/>
                    </a:lnTo>
                    <a:lnTo>
                      <a:pt x="92" y="68"/>
                    </a:lnTo>
                    <a:lnTo>
                      <a:pt x="92" y="66"/>
                    </a:lnTo>
                    <a:lnTo>
                      <a:pt x="92" y="65"/>
                    </a:lnTo>
                    <a:lnTo>
                      <a:pt x="93" y="63"/>
                    </a:lnTo>
                    <a:lnTo>
                      <a:pt x="93" y="62"/>
                    </a:lnTo>
                    <a:lnTo>
                      <a:pt x="95" y="62"/>
                    </a:lnTo>
                    <a:lnTo>
                      <a:pt x="95" y="60"/>
                    </a:lnTo>
                    <a:lnTo>
                      <a:pt x="95" y="58"/>
                    </a:lnTo>
                    <a:lnTo>
                      <a:pt x="97" y="58"/>
                    </a:lnTo>
                    <a:lnTo>
                      <a:pt x="97" y="57"/>
                    </a:lnTo>
                    <a:lnTo>
                      <a:pt x="98" y="57"/>
                    </a:lnTo>
                    <a:lnTo>
                      <a:pt x="98" y="55"/>
                    </a:lnTo>
                    <a:lnTo>
                      <a:pt x="98" y="54"/>
                    </a:lnTo>
                    <a:lnTo>
                      <a:pt x="100" y="52"/>
                    </a:lnTo>
                    <a:lnTo>
                      <a:pt x="101" y="50"/>
                    </a:lnTo>
                    <a:lnTo>
                      <a:pt x="101" y="49"/>
                    </a:lnTo>
                    <a:lnTo>
                      <a:pt x="103" y="49"/>
                    </a:lnTo>
                    <a:lnTo>
                      <a:pt x="101" y="49"/>
                    </a:lnTo>
                    <a:lnTo>
                      <a:pt x="101" y="47"/>
                    </a:lnTo>
                    <a:lnTo>
                      <a:pt x="101" y="49"/>
                    </a:lnTo>
                    <a:lnTo>
                      <a:pt x="103" y="47"/>
                    </a:lnTo>
                    <a:lnTo>
                      <a:pt x="103" y="46"/>
                    </a:lnTo>
                    <a:lnTo>
                      <a:pt x="103" y="44"/>
                    </a:lnTo>
                    <a:lnTo>
                      <a:pt x="104" y="44"/>
                    </a:lnTo>
                    <a:lnTo>
                      <a:pt x="104" y="43"/>
                    </a:lnTo>
                    <a:lnTo>
                      <a:pt x="104" y="41"/>
                    </a:lnTo>
                    <a:lnTo>
                      <a:pt x="106" y="41"/>
                    </a:lnTo>
                    <a:lnTo>
                      <a:pt x="106" y="39"/>
                    </a:lnTo>
                    <a:lnTo>
                      <a:pt x="108" y="38"/>
                    </a:lnTo>
                    <a:lnTo>
                      <a:pt x="109" y="36"/>
                    </a:lnTo>
                    <a:lnTo>
                      <a:pt x="111" y="35"/>
                    </a:lnTo>
                    <a:lnTo>
                      <a:pt x="111" y="33"/>
                    </a:lnTo>
                    <a:lnTo>
                      <a:pt x="112" y="31"/>
                    </a:lnTo>
                    <a:lnTo>
                      <a:pt x="114" y="31"/>
                    </a:lnTo>
                    <a:lnTo>
                      <a:pt x="116" y="30"/>
                    </a:lnTo>
                    <a:lnTo>
                      <a:pt x="117" y="30"/>
                    </a:lnTo>
                    <a:lnTo>
                      <a:pt x="117" y="28"/>
                    </a:lnTo>
                    <a:lnTo>
                      <a:pt x="119" y="28"/>
                    </a:lnTo>
                    <a:lnTo>
                      <a:pt x="119" y="27"/>
                    </a:lnTo>
                    <a:lnTo>
                      <a:pt x="119" y="25"/>
                    </a:lnTo>
                    <a:lnTo>
                      <a:pt x="120" y="25"/>
                    </a:lnTo>
                    <a:lnTo>
                      <a:pt x="122" y="24"/>
                    </a:lnTo>
                    <a:lnTo>
                      <a:pt x="122" y="22"/>
                    </a:lnTo>
                    <a:lnTo>
                      <a:pt x="123" y="20"/>
                    </a:lnTo>
                    <a:lnTo>
                      <a:pt x="125" y="19"/>
                    </a:lnTo>
                    <a:lnTo>
                      <a:pt x="127" y="19"/>
                    </a:lnTo>
                    <a:lnTo>
                      <a:pt x="127" y="17"/>
                    </a:lnTo>
                    <a:lnTo>
                      <a:pt x="128" y="17"/>
                    </a:lnTo>
                    <a:lnTo>
                      <a:pt x="130" y="17"/>
                    </a:lnTo>
                    <a:lnTo>
                      <a:pt x="130" y="16"/>
                    </a:lnTo>
                    <a:lnTo>
                      <a:pt x="131" y="16"/>
                    </a:lnTo>
                    <a:lnTo>
                      <a:pt x="133" y="14"/>
                    </a:lnTo>
                    <a:lnTo>
                      <a:pt x="133" y="12"/>
                    </a:lnTo>
                    <a:lnTo>
                      <a:pt x="135" y="12"/>
                    </a:lnTo>
                    <a:lnTo>
                      <a:pt x="135" y="11"/>
                    </a:lnTo>
                    <a:lnTo>
                      <a:pt x="136" y="11"/>
                    </a:lnTo>
                    <a:lnTo>
                      <a:pt x="136" y="9"/>
                    </a:lnTo>
                    <a:lnTo>
                      <a:pt x="138" y="9"/>
                    </a:lnTo>
                    <a:lnTo>
                      <a:pt x="138" y="8"/>
                    </a:lnTo>
                    <a:lnTo>
                      <a:pt x="139" y="8"/>
                    </a:lnTo>
                    <a:lnTo>
                      <a:pt x="141" y="8"/>
                    </a:lnTo>
                    <a:lnTo>
                      <a:pt x="141" y="6"/>
                    </a:lnTo>
                    <a:lnTo>
                      <a:pt x="142" y="6"/>
                    </a:lnTo>
                    <a:lnTo>
                      <a:pt x="144" y="6"/>
                    </a:lnTo>
                    <a:lnTo>
                      <a:pt x="144" y="5"/>
                    </a:lnTo>
                    <a:lnTo>
                      <a:pt x="146" y="5"/>
                    </a:lnTo>
                    <a:lnTo>
                      <a:pt x="146" y="3"/>
                    </a:lnTo>
                    <a:lnTo>
                      <a:pt x="147" y="1"/>
                    </a:lnTo>
                    <a:lnTo>
                      <a:pt x="149" y="1"/>
                    </a:lnTo>
                    <a:lnTo>
                      <a:pt x="150" y="1"/>
                    </a:lnTo>
                    <a:lnTo>
                      <a:pt x="152" y="0"/>
                    </a:lnTo>
                    <a:lnTo>
                      <a:pt x="154" y="0"/>
                    </a:lnTo>
                    <a:lnTo>
                      <a:pt x="155" y="1"/>
                    </a:lnTo>
                    <a:lnTo>
                      <a:pt x="155" y="3"/>
                    </a:lnTo>
                    <a:lnTo>
                      <a:pt x="157" y="5"/>
                    </a:lnTo>
                    <a:lnTo>
                      <a:pt x="157" y="6"/>
                    </a:lnTo>
                    <a:lnTo>
                      <a:pt x="158" y="6"/>
                    </a:lnTo>
                    <a:lnTo>
                      <a:pt x="160" y="8"/>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46" name="Freeform 26"/>
              <p:cNvSpPr>
                <a:spLocks/>
              </p:cNvSpPr>
              <p:nvPr/>
            </p:nvSpPr>
            <p:spPr bwMode="auto">
              <a:xfrm>
                <a:off x="4324" y="1142"/>
                <a:ext cx="499" cy="583"/>
              </a:xfrm>
              <a:custGeom>
                <a:avLst/>
                <a:gdLst>
                  <a:gd name="T0" fmla="*/ 108 w 499"/>
                  <a:gd name="T1" fmla="*/ 3 h 583"/>
                  <a:gd name="T2" fmla="*/ 132 w 499"/>
                  <a:gd name="T3" fmla="*/ 8 h 583"/>
                  <a:gd name="T4" fmla="*/ 154 w 499"/>
                  <a:gd name="T5" fmla="*/ 18 h 583"/>
                  <a:gd name="T6" fmla="*/ 176 w 499"/>
                  <a:gd name="T7" fmla="*/ 24 h 583"/>
                  <a:gd name="T8" fmla="*/ 198 w 499"/>
                  <a:gd name="T9" fmla="*/ 29 h 583"/>
                  <a:gd name="T10" fmla="*/ 238 w 499"/>
                  <a:gd name="T11" fmla="*/ 59 h 583"/>
                  <a:gd name="T12" fmla="*/ 268 w 499"/>
                  <a:gd name="T13" fmla="*/ 130 h 583"/>
                  <a:gd name="T14" fmla="*/ 236 w 499"/>
                  <a:gd name="T15" fmla="*/ 189 h 583"/>
                  <a:gd name="T16" fmla="*/ 236 w 499"/>
                  <a:gd name="T17" fmla="*/ 219 h 583"/>
                  <a:gd name="T18" fmla="*/ 303 w 499"/>
                  <a:gd name="T19" fmla="*/ 274 h 583"/>
                  <a:gd name="T20" fmla="*/ 373 w 499"/>
                  <a:gd name="T21" fmla="*/ 323 h 583"/>
                  <a:gd name="T22" fmla="*/ 495 w 499"/>
                  <a:gd name="T23" fmla="*/ 417 h 583"/>
                  <a:gd name="T24" fmla="*/ 483 w 499"/>
                  <a:gd name="T25" fmla="*/ 433 h 583"/>
                  <a:gd name="T26" fmla="*/ 469 w 499"/>
                  <a:gd name="T27" fmla="*/ 453 h 583"/>
                  <a:gd name="T28" fmla="*/ 457 w 499"/>
                  <a:gd name="T29" fmla="*/ 474 h 583"/>
                  <a:gd name="T30" fmla="*/ 444 w 499"/>
                  <a:gd name="T31" fmla="*/ 491 h 583"/>
                  <a:gd name="T32" fmla="*/ 431 w 499"/>
                  <a:gd name="T33" fmla="*/ 510 h 583"/>
                  <a:gd name="T34" fmla="*/ 417 w 499"/>
                  <a:gd name="T35" fmla="*/ 529 h 583"/>
                  <a:gd name="T36" fmla="*/ 403 w 499"/>
                  <a:gd name="T37" fmla="*/ 548 h 583"/>
                  <a:gd name="T38" fmla="*/ 390 w 499"/>
                  <a:gd name="T39" fmla="*/ 567 h 583"/>
                  <a:gd name="T40" fmla="*/ 377 w 499"/>
                  <a:gd name="T41" fmla="*/ 581 h 583"/>
                  <a:gd name="T42" fmla="*/ 363 w 499"/>
                  <a:gd name="T43" fmla="*/ 574 h 583"/>
                  <a:gd name="T44" fmla="*/ 344 w 499"/>
                  <a:gd name="T45" fmla="*/ 569 h 583"/>
                  <a:gd name="T46" fmla="*/ 331 w 499"/>
                  <a:gd name="T47" fmla="*/ 564 h 583"/>
                  <a:gd name="T48" fmla="*/ 311 w 499"/>
                  <a:gd name="T49" fmla="*/ 561 h 583"/>
                  <a:gd name="T50" fmla="*/ 293 w 499"/>
                  <a:gd name="T51" fmla="*/ 570 h 583"/>
                  <a:gd name="T52" fmla="*/ 274 w 499"/>
                  <a:gd name="T53" fmla="*/ 558 h 583"/>
                  <a:gd name="T54" fmla="*/ 260 w 499"/>
                  <a:gd name="T55" fmla="*/ 543 h 583"/>
                  <a:gd name="T56" fmla="*/ 238 w 499"/>
                  <a:gd name="T57" fmla="*/ 537 h 583"/>
                  <a:gd name="T58" fmla="*/ 219 w 499"/>
                  <a:gd name="T59" fmla="*/ 526 h 583"/>
                  <a:gd name="T60" fmla="*/ 205 w 499"/>
                  <a:gd name="T61" fmla="*/ 510 h 583"/>
                  <a:gd name="T62" fmla="*/ 198 w 499"/>
                  <a:gd name="T63" fmla="*/ 493 h 583"/>
                  <a:gd name="T64" fmla="*/ 201 w 499"/>
                  <a:gd name="T65" fmla="*/ 471 h 583"/>
                  <a:gd name="T66" fmla="*/ 200 w 499"/>
                  <a:gd name="T67" fmla="*/ 445 h 583"/>
                  <a:gd name="T68" fmla="*/ 201 w 499"/>
                  <a:gd name="T69" fmla="*/ 426 h 583"/>
                  <a:gd name="T70" fmla="*/ 205 w 499"/>
                  <a:gd name="T71" fmla="*/ 404 h 583"/>
                  <a:gd name="T72" fmla="*/ 198 w 499"/>
                  <a:gd name="T73" fmla="*/ 387 h 583"/>
                  <a:gd name="T74" fmla="*/ 192 w 499"/>
                  <a:gd name="T75" fmla="*/ 371 h 583"/>
                  <a:gd name="T76" fmla="*/ 187 w 499"/>
                  <a:gd name="T77" fmla="*/ 352 h 583"/>
                  <a:gd name="T78" fmla="*/ 184 w 499"/>
                  <a:gd name="T79" fmla="*/ 336 h 583"/>
                  <a:gd name="T80" fmla="*/ 190 w 499"/>
                  <a:gd name="T81" fmla="*/ 315 h 583"/>
                  <a:gd name="T82" fmla="*/ 178 w 499"/>
                  <a:gd name="T83" fmla="*/ 295 h 583"/>
                  <a:gd name="T84" fmla="*/ 171 w 499"/>
                  <a:gd name="T85" fmla="*/ 274 h 583"/>
                  <a:gd name="T86" fmla="*/ 152 w 499"/>
                  <a:gd name="T87" fmla="*/ 255 h 583"/>
                  <a:gd name="T88" fmla="*/ 143 w 499"/>
                  <a:gd name="T89" fmla="*/ 238 h 583"/>
                  <a:gd name="T90" fmla="*/ 135 w 499"/>
                  <a:gd name="T91" fmla="*/ 220 h 583"/>
                  <a:gd name="T92" fmla="*/ 119 w 499"/>
                  <a:gd name="T93" fmla="*/ 211 h 583"/>
                  <a:gd name="T94" fmla="*/ 103 w 499"/>
                  <a:gd name="T95" fmla="*/ 197 h 583"/>
                  <a:gd name="T96" fmla="*/ 86 w 499"/>
                  <a:gd name="T97" fmla="*/ 206 h 583"/>
                  <a:gd name="T98" fmla="*/ 67 w 499"/>
                  <a:gd name="T99" fmla="*/ 209 h 583"/>
                  <a:gd name="T100" fmla="*/ 59 w 499"/>
                  <a:gd name="T101" fmla="*/ 193 h 583"/>
                  <a:gd name="T102" fmla="*/ 57 w 499"/>
                  <a:gd name="T103" fmla="*/ 170 h 583"/>
                  <a:gd name="T104" fmla="*/ 57 w 499"/>
                  <a:gd name="T105" fmla="*/ 146 h 583"/>
                  <a:gd name="T106" fmla="*/ 45 w 499"/>
                  <a:gd name="T107" fmla="*/ 128 h 583"/>
                  <a:gd name="T108" fmla="*/ 26 w 499"/>
                  <a:gd name="T109" fmla="*/ 116 h 583"/>
                  <a:gd name="T110" fmla="*/ 7 w 499"/>
                  <a:gd name="T111" fmla="*/ 105 h 583"/>
                  <a:gd name="T112" fmla="*/ 2 w 499"/>
                  <a:gd name="T113" fmla="*/ 84 h 583"/>
                  <a:gd name="T114" fmla="*/ 2 w 499"/>
                  <a:gd name="T115" fmla="*/ 62 h 583"/>
                  <a:gd name="T116" fmla="*/ 10 w 499"/>
                  <a:gd name="T117" fmla="*/ 44 h 583"/>
                  <a:gd name="T118" fmla="*/ 34 w 499"/>
                  <a:gd name="T119" fmla="*/ 41 h 583"/>
                  <a:gd name="T120" fmla="*/ 51 w 499"/>
                  <a:gd name="T121" fmla="*/ 29 h 583"/>
                  <a:gd name="T122" fmla="*/ 67 w 499"/>
                  <a:gd name="T123" fmla="*/ 18 h 583"/>
                  <a:gd name="T124" fmla="*/ 84 w 499"/>
                  <a:gd name="T125" fmla="*/ 5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9" h="583">
                    <a:moveTo>
                      <a:pt x="91" y="2"/>
                    </a:moveTo>
                    <a:lnTo>
                      <a:pt x="92" y="0"/>
                    </a:lnTo>
                    <a:lnTo>
                      <a:pt x="94" y="0"/>
                    </a:lnTo>
                    <a:lnTo>
                      <a:pt x="95" y="0"/>
                    </a:lnTo>
                    <a:lnTo>
                      <a:pt x="97" y="0"/>
                    </a:lnTo>
                    <a:lnTo>
                      <a:pt x="99" y="0"/>
                    </a:lnTo>
                    <a:lnTo>
                      <a:pt x="100" y="0"/>
                    </a:lnTo>
                    <a:lnTo>
                      <a:pt x="102" y="0"/>
                    </a:lnTo>
                    <a:lnTo>
                      <a:pt x="102" y="2"/>
                    </a:lnTo>
                    <a:lnTo>
                      <a:pt x="102" y="3"/>
                    </a:lnTo>
                    <a:lnTo>
                      <a:pt x="102" y="5"/>
                    </a:lnTo>
                    <a:lnTo>
                      <a:pt x="103" y="5"/>
                    </a:lnTo>
                    <a:lnTo>
                      <a:pt x="105" y="5"/>
                    </a:lnTo>
                    <a:lnTo>
                      <a:pt x="106" y="5"/>
                    </a:lnTo>
                    <a:lnTo>
                      <a:pt x="106" y="3"/>
                    </a:lnTo>
                    <a:lnTo>
                      <a:pt x="108" y="3"/>
                    </a:lnTo>
                    <a:lnTo>
                      <a:pt x="110" y="3"/>
                    </a:lnTo>
                    <a:lnTo>
                      <a:pt x="111" y="3"/>
                    </a:lnTo>
                    <a:lnTo>
                      <a:pt x="113" y="3"/>
                    </a:lnTo>
                    <a:lnTo>
                      <a:pt x="114" y="2"/>
                    </a:lnTo>
                    <a:lnTo>
                      <a:pt x="116" y="2"/>
                    </a:lnTo>
                    <a:lnTo>
                      <a:pt x="118" y="2"/>
                    </a:lnTo>
                    <a:lnTo>
                      <a:pt x="119" y="2"/>
                    </a:lnTo>
                    <a:lnTo>
                      <a:pt x="121" y="2"/>
                    </a:lnTo>
                    <a:lnTo>
                      <a:pt x="121" y="3"/>
                    </a:lnTo>
                    <a:lnTo>
                      <a:pt x="122" y="3"/>
                    </a:lnTo>
                    <a:lnTo>
                      <a:pt x="124" y="3"/>
                    </a:lnTo>
                    <a:lnTo>
                      <a:pt x="125" y="5"/>
                    </a:lnTo>
                    <a:lnTo>
                      <a:pt x="127" y="5"/>
                    </a:lnTo>
                    <a:lnTo>
                      <a:pt x="129" y="5"/>
                    </a:lnTo>
                    <a:lnTo>
                      <a:pt x="130" y="6"/>
                    </a:lnTo>
                    <a:lnTo>
                      <a:pt x="132" y="8"/>
                    </a:lnTo>
                    <a:lnTo>
                      <a:pt x="133" y="10"/>
                    </a:lnTo>
                    <a:lnTo>
                      <a:pt x="133" y="11"/>
                    </a:lnTo>
                    <a:lnTo>
                      <a:pt x="135" y="11"/>
                    </a:lnTo>
                    <a:lnTo>
                      <a:pt x="137" y="11"/>
                    </a:lnTo>
                    <a:lnTo>
                      <a:pt x="138" y="11"/>
                    </a:lnTo>
                    <a:lnTo>
                      <a:pt x="138" y="13"/>
                    </a:lnTo>
                    <a:lnTo>
                      <a:pt x="140" y="13"/>
                    </a:lnTo>
                    <a:lnTo>
                      <a:pt x="141" y="13"/>
                    </a:lnTo>
                    <a:lnTo>
                      <a:pt x="143" y="13"/>
                    </a:lnTo>
                    <a:lnTo>
                      <a:pt x="144" y="13"/>
                    </a:lnTo>
                    <a:lnTo>
                      <a:pt x="146" y="14"/>
                    </a:lnTo>
                    <a:lnTo>
                      <a:pt x="148" y="14"/>
                    </a:lnTo>
                    <a:lnTo>
                      <a:pt x="149" y="14"/>
                    </a:lnTo>
                    <a:lnTo>
                      <a:pt x="151" y="16"/>
                    </a:lnTo>
                    <a:lnTo>
                      <a:pt x="152" y="16"/>
                    </a:lnTo>
                    <a:lnTo>
                      <a:pt x="154" y="18"/>
                    </a:lnTo>
                    <a:lnTo>
                      <a:pt x="154" y="19"/>
                    </a:lnTo>
                    <a:lnTo>
                      <a:pt x="156" y="19"/>
                    </a:lnTo>
                    <a:lnTo>
                      <a:pt x="157" y="21"/>
                    </a:lnTo>
                    <a:lnTo>
                      <a:pt x="159" y="21"/>
                    </a:lnTo>
                    <a:lnTo>
                      <a:pt x="159" y="22"/>
                    </a:lnTo>
                    <a:lnTo>
                      <a:pt x="160" y="22"/>
                    </a:lnTo>
                    <a:lnTo>
                      <a:pt x="162" y="22"/>
                    </a:lnTo>
                    <a:lnTo>
                      <a:pt x="163" y="22"/>
                    </a:lnTo>
                    <a:lnTo>
                      <a:pt x="165" y="22"/>
                    </a:lnTo>
                    <a:lnTo>
                      <a:pt x="167" y="24"/>
                    </a:lnTo>
                    <a:lnTo>
                      <a:pt x="168" y="24"/>
                    </a:lnTo>
                    <a:lnTo>
                      <a:pt x="170" y="24"/>
                    </a:lnTo>
                    <a:lnTo>
                      <a:pt x="171" y="24"/>
                    </a:lnTo>
                    <a:lnTo>
                      <a:pt x="173" y="24"/>
                    </a:lnTo>
                    <a:lnTo>
                      <a:pt x="175" y="24"/>
                    </a:lnTo>
                    <a:lnTo>
                      <a:pt x="176" y="24"/>
                    </a:lnTo>
                    <a:lnTo>
                      <a:pt x="176" y="25"/>
                    </a:lnTo>
                    <a:lnTo>
                      <a:pt x="178" y="25"/>
                    </a:lnTo>
                    <a:lnTo>
                      <a:pt x="179" y="25"/>
                    </a:lnTo>
                    <a:lnTo>
                      <a:pt x="181" y="25"/>
                    </a:lnTo>
                    <a:lnTo>
                      <a:pt x="182" y="25"/>
                    </a:lnTo>
                    <a:lnTo>
                      <a:pt x="184" y="27"/>
                    </a:lnTo>
                    <a:lnTo>
                      <a:pt x="186" y="27"/>
                    </a:lnTo>
                    <a:lnTo>
                      <a:pt x="187" y="27"/>
                    </a:lnTo>
                    <a:lnTo>
                      <a:pt x="189" y="27"/>
                    </a:lnTo>
                    <a:lnTo>
                      <a:pt x="190" y="27"/>
                    </a:lnTo>
                    <a:lnTo>
                      <a:pt x="190" y="29"/>
                    </a:lnTo>
                    <a:lnTo>
                      <a:pt x="192" y="30"/>
                    </a:lnTo>
                    <a:lnTo>
                      <a:pt x="195" y="32"/>
                    </a:lnTo>
                    <a:lnTo>
                      <a:pt x="198" y="29"/>
                    </a:lnTo>
                    <a:lnTo>
                      <a:pt x="198" y="27"/>
                    </a:lnTo>
                    <a:lnTo>
                      <a:pt x="198" y="29"/>
                    </a:lnTo>
                    <a:lnTo>
                      <a:pt x="200" y="29"/>
                    </a:lnTo>
                    <a:lnTo>
                      <a:pt x="201" y="29"/>
                    </a:lnTo>
                    <a:lnTo>
                      <a:pt x="201" y="30"/>
                    </a:lnTo>
                    <a:lnTo>
                      <a:pt x="203" y="30"/>
                    </a:lnTo>
                    <a:lnTo>
                      <a:pt x="206" y="33"/>
                    </a:lnTo>
                    <a:lnTo>
                      <a:pt x="209" y="33"/>
                    </a:lnTo>
                    <a:lnTo>
                      <a:pt x="209" y="35"/>
                    </a:lnTo>
                    <a:lnTo>
                      <a:pt x="211" y="35"/>
                    </a:lnTo>
                    <a:lnTo>
                      <a:pt x="214" y="37"/>
                    </a:lnTo>
                    <a:lnTo>
                      <a:pt x="228" y="46"/>
                    </a:lnTo>
                    <a:lnTo>
                      <a:pt x="232" y="49"/>
                    </a:lnTo>
                    <a:lnTo>
                      <a:pt x="233" y="51"/>
                    </a:lnTo>
                    <a:lnTo>
                      <a:pt x="235" y="51"/>
                    </a:lnTo>
                    <a:lnTo>
                      <a:pt x="236" y="52"/>
                    </a:lnTo>
                    <a:lnTo>
                      <a:pt x="243" y="57"/>
                    </a:lnTo>
                    <a:lnTo>
                      <a:pt x="238" y="59"/>
                    </a:lnTo>
                    <a:lnTo>
                      <a:pt x="243" y="62"/>
                    </a:lnTo>
                    <a:lnTo>
                      <a:pt x="259" y="73"/>
                    </a:lnTo>
                    <a:lnTo>
                      <a:pt x="260" y="82"/>
                    </a:lnTo>
                    <a:lnTo>
                      <a:pt x="260" y="87"/>
                    </a:lnTo>
                    <a:lnTo>
                      <a:pt x="262" y="97"/>
                    </a:lnTo>
                    <a:lnTo>
                      <a:pt x="263" y="100"/>
                    </a:lnTo>
                    <a:lnTo>
                      <a:pt x="263" y="106"/>
                    </a:lnTo>
                    <a:lnTo>
                      <a:pt x="265" y="111"/>
                    </a:lnTo>
                    <a:lnTo>
                      <a:pt x="265" y="113"/>
                    </a:lnTo>
                    <a:lnTo>
                      <a:pt x="266" y="117"/>
                    </a:lnTo>
                    <a:lnTo>
                      <a:pt x="266" y="119"/>
                    </a:lnTo>
                    <a:lnTo>
                      <a:pt x="266" y="122"/>
                    </a:lnTo>
                    <a:lnTo>
                      <a:pt x="266" y="124"/>
                    </a:lnTo>
                    <a:lnTo>
                      <a:pt x="268" y="124"/>
                    </a:lnTo>
                    <a:lnTo>
                      <a:pt x="268" y="125"/>
                    </a:lnTo>
                    <a:lnTo>
                      <a:pt x="268" y="130"/>
                    </a:lnTo>
                    <a:lnTo>
                      <a:pt x="268" y="133"/>
                    </a:lnTo>
                    <a:lnTo>
                      <a:pt x="270" y="133"/>
                    </a:lnTo>
                    <a:lnTo>
                      <a:pt x="270" y="135"/>
                    </a:lnTo>
                    <a:lnTo>
                      <a:pt x="270" y="136"/>
                    </a:lnTo>
                    <a:lnTo>
                      <a:pt x="270" y="138"/>
                    </a:lnTo>
                    <a:lnTo>
                      <a:pt x="271" y="146"/>
                    </a:lnTo>
                    <a:lnTo>
                      <a:pt x="271" y="151"/>
                    </a:lnTo>
                    <a:lnTo>
                      <a:pt x="271" y="152"/>
                    </a:lnTo>
                    <a:lnTo>
                      <a:pt x="270" y="152"/>
                    </a:lnTo>
                    <a:lnTo>
                      <a:pt x="263" y="157"/>
                    </a:lnTo>
                    <a:lnTo>
                      <a:pt x="263" y="165"/>
                    </a:lnTo>
                    <a:lnTo>
                      <a:pt x="259" y="166"/>
                    </a:lnTo>
                    <a:lnTo>
                      <a:pt x="255" y="168"/>
                    </a:lnTo>
                    <a:lnTo>
                      <a:pt x="249" y="174"/>
                    </a:lnTo>
                    <a:lnTo>
                      <a:pt x="244" y="179"/>
                    </a:lnTo>
                    <a:lnTo>
                      <a:pt x="236" y="189"/>
                    </a:lnTo>
                    <a:lnTo>
                      <a:pt x="232" y="193"/>
                    </a:lnTo>
                    <a:lnTo>
                      <a:pt x="232" y="195"/>
                    </a:lnTo>
                    <a:lnTo>
                      <a:pt x="232" y="198"/>
                    </a:lnTo>
                    <a:lnTo>
                      <a:pt x="232" y="201"/>
                    </a:lnTo>
                    <a:lnTo>
                      <a:pt x="241" y="201"/>
                    </a:lnTo>
                    <a:lnTo>
                      <a:pt x="243" y="201"/>
                    </a:lnTo>
                    <a:lnTo>
                      <a:pt x="241" y="203"/>
                    </a:lnTo>
                    <a:lnTo>
                      <a:pt x="238" y="209"/>
                    </a:lnTo>
                    <a:lnTo>
                      <a:pt x="236" y="211"/>
                    </a:lnTo>
                    <a:lnTo>
                      <a:pt x="236" y="212"/>
                    </a:lnTo>
                    <a:lnTo>
                      <a:pt x="235" y="212"/>
                    </a:lnTo>
                    <a:lnTo>
                      <a:pt x="235" y="214"/>
                    </a:lnTo>
                    <a:lnTo>
                      <a:pt x="235" y="216"/>
                    </a:lnTo>
                    <a:lnTo>
                      <a:pt x="235" y="217"/>
                    </a:lnTo>
                    <a:lnTo>
                      <a:pt x="236" y="217"/>
                    </a:lnTo>
                    <a:lnTo>
                      <a:pt x="236" y="219"/>
                    </a:lnTo>
                    <a:lnTo>
                      <a:pt x="238" y="219"/>
                    </a:lnTo>
                    <a:lnTo>
                      <a:pt x="238" y="220"/>
                    </a:lnTo>
                    <a:lnTo>
                      <a:pt x="243" y="222"/>
                    </a:lnTo>
                    <a:lnTo>
                      <a:pt x="247" y="220"/>
                    </a:lnTo>
                    <a:lnTo>
                      <a:pt x="254" y="217"/>
                    </a:lnTo>
                    <a:lnTo>
                      <a:pt x="257" y="216"/>
                    </a:lnTo>
                    <a:lnTo>
                      <a:pt x="266" y="222"/>
                    </a:lnTo>
                    <a:lnTo>
                      <a:pt x="276" y="225"/>
                    </a:lnTo>
                    <a:lnTo>
                      <a:pt x="281" y="227"/>
                    </a:lnTo>
                    <a:lnTo>
                      <a:pt x="282" y="230"/>
                    </a:lnTo>
                    <a:lnTo>
                      <a:pt x="285" y="241"/>
                    </a:lnTo>
                    <a:lnTo>
                      <a:pt x="287" y="244"/>
                    </a:lnTo>
                    <a:lnTo>
                      <a:pt x="287" y="246"/>
                    </a:lnTo>
                    <a:lnTo>
                      <a:pt x="290" y="254"/>
                    </a:lnTo>
                    <a:lnTo>
                      <a:pt x="297" y="271"/>
                    </a:lnTo>
                    <a:lnTo>
                      <a:pt x="303" y="274"/>
                    </a:lnTo>
                    <a:lnTo>
                      <a:pt x="350" y="307"/>
                    </a:lnTo>
                    <a:lnTo>
                      <a:pt x="354" y="309"/>
                    </a:lnTo>
                    <a:lnTo>
                      <a:pt x="357" y="311"/>
                    </a:lnTo>
                    <a:lnTo>
                      <a:pt x="360" y="314"/>
                    </a:lnTo>
                    <a:lnTo>
                      <a:pt x="361" y="314"/>
                    </a:lnTo>
                    <a:lnTo>
                      <a:pt x="361" y="315"/>
                    </a:lnTo>
                    <a:lnTo>
                      <a:pt x="363" y="315"/>
                    </a:lnTo>
                    <a:lnTo>
                      <a:pt x="363" y="317"/>
                    </a:lnTo>
                    <a:lnTo>
                      <a:pt x="365" y="317"/>
                    </a:lnTo>
                    <a:lnTo>
                      <a:pt x="366" y="319"/>
                    </a:lnTo>
                    <a:lnTo>
                      <a:pt x="368" y="319"/>
                    </a:lnTo>
                    <a:lnTo>
                      <a:pt x="368" y="320"/>
                    </a:lnTo>
                    <a:lnTo>
                      <a:pt x="369" y="320"/>
                    </a:lnTo>
                    <a:lnTo>
                      <a:pt x="369" y="322"/>
                    </a:lnTo>
                    <a:lnTo>
                      <a:pt x="371" y="322"/>
                    </a:lnTo>
                    <a:lnTo>
                      <a:pt x="373" y="323"/>
                    </a:lnTo>
                    <a:lnTo>
                      <a:pt x="374" y="323"/>
                    </a:lnTo>
                    <a:lnTo>
                      <a:pt x="374" y="325"/>
                    </a:lnTo>
                    <a:lnTo>
                      <a:pt x="388" y="334"/>
                    </a:lnTo>
                    <a:lnTo>
                      <a:pt x="398" y="341"/>
                    </a:lnTo>
                    <a:lnTo>
                      <a:pt x="407" y="347"/>
                    </a:lnTo>
                    <a:lnTo>
                      <a:pt x="409" y="349"/>
                    </a:lnTo>
                    <a:lnTo>
                      <a:pt x="411" y="350"/>
                    </a:lnTo>
                    <a:lnTo>
                      <a:pt x="455" y="380"/>
                    </a:lnTo>
                    <a:lnTo>
                      <a:pt x="457" y="383"/>
                    </a:lnTo>
                    <a:lnTo>
                      <a:pt x="496" y="410"/>
                    </a:lnTo>
                    <a:lnTo>
                      <a:pt x="499" y="412"/>
                    </a:lnTo>
                    <a:lnTo>
                      <a:pt x="499" y="414"/>
                    </a:lnTo>
                    <a:lnTo>
                      <a:pt x="498" y="415"/>
                    </a:lnTo>
                    <a:lnTo>
                      <a:pt x="496" y="415"/>
                    </a:lnTo>
                    <a:lnTo>
                      <a:pt x="496" y="417"/>
                    </a:lnTo>
                    <a:lnTo>
                      <a:pt x="495" y="417"/>
                    </a:lnTo>
                    <a:lnTo>
                      <a:pt x="495" y="418"/>
                    </a:lnTo>
                    <a:lnTo>
                      <a:pt x="493" y="418"/>
                    </a:lnTo>
                    <a:lnTo>
                      <a:pt x="493" y="420"/>
                    </a:lnTo>
                    <a:lnTo>
                      <a:pt x="493" y="421"/>
                    </a:lnTo>
                    <a:lnTo>
                      <a:pt x="491" y="421"/>
                    </a:lnTo>
                    <a:lnTo>
                      <a:pt x="491" y="423"/>
                    </a:lnTo>
                    <a:lnTo>
                      <a:pt x="490" y="423"/>
                    </a:lnTo>
                    <a:lnTo>
                      <a:pt x="490" y="425"/>
                    </a:lnTo>
                    <a:lnTo>
                      <a:pt x="488" y="426"/>
                    </a:lnTo>
                    <a:lnTo>
                      <a:pt x="488" y="428"/>
                    </a:lnTo>
                    <a:lnTo>
                      <a:pt x="487" y="428"/>
                    </a:lnTo>
                    <a:lnTo>
                      <a:pt x="487" y="429"/>
                    </a:lnTo>
                    <a:lnTo>
                      <a:pt x="487" y="431"/>
                    </a:lnTo>
                    <a:lnTo>
                      <a:pt x="485" y="431"/>
                    </a:lnTo>
                    <a:lnTo>
                      <a:pt x="485" y="433"/>
                    </a:lnTo>
                    <a:lnTo>
                      <a:pt x="483" y="433"/>
                    </a:lnTo>
                    <a:lnTo>
                      <a:pt x="483" y="434"/>
                    </a:lnTo>
                    <a:lnTo>
                      <a:pt x="482" y="436"/>
                    </a:lnTo>
                    <a:lnTo>
                      <a:pt x="480" y="437"/>
                    </a:lnTo>
                    <a:lnTo>
                      <a:pt x="480" y="439"/>
                    </a:lnTo>
                    <a:lnTo>
                      <a:pt x="479" y="440"/>
                    </a:lnTo>
                    <a:lnTo>
                      <a:pt x="477" y="442"/>
                    </a:lnTo>
                    <a:lnTo>
                      <a:pt x="477" y="444"/>
                    </a:lnTo>
                    <a:lnTo>
                      <a:pt x="476" y="445"/>
                    </a:lnTo>
                    <a:lnTo>
                      <a:pt x="474" y="447"/>
                    </a:lnTo>
                    <a:lnTo>
                      <a:pt x="474" y="448"/>
                    </a:lnTo>
                    <a:lnTo>
                      <a:pt x="472" y="448"/>
                    </a:lnTo>
                    <a:lnTo>
                      <a:pt x="472" y="450"/>
                    </a:lnTo>
                    <a:lnTo>
                      <a:pt x="472" y="452"/>
                    </a:lnTo>
                    <a:lnTo>
                      <a:pt x="471" y="452"/>
                    </a:lnTo>
                    <a:lnTo>
                      <a:pt x="471" y="453"/>
                    </a:lnTo>
                    <a:lnTo>
                      <a:pt x="469" y="453"/>
                    </a:lnTo>
                    <a:lnTo>
                      <a:pt x="469" y="455"/>
                    </a:lnTo>
                    <a:lnTo>
                      <a:pt x="468" y="456"/>
                    </a:lnTo>
                    <a:lnTo>
                      <a:pt x="468" y="458"/>
                    </a:lnTo>
                    <a:lnTo>
                      <a:pt x="466" y="458"/>
                    </a:lnTo>
                    <a:lnTo>
                      <a:pt x="466" y="459"/>
                    </a:lnTo>
                    <a:lnTo>
                      <a:pt x="464" y="461"/>
                    </a:lnTo>
                    <a:lnTo>
                      <a:pt x="464" y="463"/>
                    </a:lnTo>
                    <a:lnTo>
                      <a:pt x="463" y="463"/>
                    </a:lnTo>
                    <a:lnTo>
                      <a:pt x="463" y="464"/>
                    </a:lnTo>
                    <a:lnTo>
                      <a:pt x="461" y="466"/>
                    </a:lnTo>
                    <a:lnTo>
                      <a:pt x="460" y="467"/>
                    </a:lnTo>
                    <a:lnTo>
                      <a:pt x="460" y="469"/>
                    </a:lnTo>
                    <a:lnTo>
                      <a:pt x="458" y="469"/>
                    </a:lnTo>
                    <a:lnTo>
                      <a:pt x="458" y="471"/>
                    </a:lnTo>
                    <a:lnTo>
                      <a:pt x="457" y="472"/>
                    </a:lnTo>
                    <a:lnTo>
                      <a:pt x="457" y="474"/>
                    </a:lnTo>
                    <a:lnTo>
                      <a:pt x="455" y="474"/>
                    </a:lnTo>
                    <a:lnTo>
                      <a:pt x="455" y="475"/>
                    </a:lnTo>
                    <a:lnTo>
                      <a:pt x="455" y="477"/>
                    </a:lnTo>
                    <a:lnTo>
                      <a:pt x="453" y="477"/>
                    </a:lnTo>
                    <a:lnTo>
                      <a:pt x="453" y="479"/>
                    </a:lnTo>
                    <a:lnTo>
                      <a:pt x="452" y="479"/>
                    </a:lnTo>
                    <a:lnTo>
                      <a:pt x="452" y="480"/>
                    </a:lnTo>
                    <a:lnTo>
                      <a:pt x="450" y="482"/>
                    </a:lnTo>
                    <a:lnTo>
                      <a:pt x="450" y="483"/>
                    </a:lnTo>
                    <a:lnTo>
                      <a:pt x="449" y="483"/>
                    </a:lnTo>
                    <a:lnTo>
                      <a:pt x="449" y="485"/>
                    </a:lnTo>
                    <a:lnTo>
                      <a:pt x="447" y="486"/>
                    </a:lnTo>
                    <a:lnTo>
                      <a:pt x="445" y="488"/>
                    </a:lnTo>
                    <a:lnTo>
                      <a:pt x="445" y="490"/>
                    </a:lnTo>
                    <a:lnTo>
                      <a:pt x="444" y="490"/>
                    </a:lnTo>
                    <a:lnTo>
                      <a:pt x="444" y="491"/>
                    </a:lnTo>
                    <a:lnTo>
                      <a:pt x="442" y="493"/>
                    </a:lnTo>
                    <a:lnTo>
                      <a:pt x="442" y="494"/>
                    </a:lnTo>
                    <a:lnTo>
                      <a:pt x="441" y="496"/>
                    </a:lnTo>
                    <a:lnTo>
                      <a:pt x="439" y="498"/>
                    </a:lnTo>
                    <a:lnTo>
                      <a:pt x="439" y="499"/>
                    </a:lnTo>
                    <a:lnTo>
                      <a:pt x="437" y="499"/>
                    </a:lnTo>
                    <a:lnTo>
                      <a:pt x="437" y="501"/>
                    </a:lnTo>
                    <a:lnTo>
                      <a:pt x="437" y="502"/>
                    </a:lnTo>
                    <a:lnTo>
                      <a:pt x="436" y="502"/>
                    </a:lnTo>
                    <a:lnTo>
                      <a:pt x="436" y="504"/>
                    </a:lnTo>
                    <a:lnTo>
                      <a:pt x="434" y="504"/>
                    </a:lnTo>
                    <a:lnTo>
                      <a:pt x="434" y="505"/>
                    </a:lnTo>
                    <a:lnTo>
                      <a:pt x="433" y="507"/>
                    </a:lnTo>
                    <a:lnTo>
                      <a:pt x="433" y="509"/>
                    </a:lnTo>
                    <a:lnTo>
                      <a:pt x="431" y="509"/>
                    </a:lnTo>
                    <a:lnTo>
                      <a:pt x="431" y="510"/>
                    </a:lnTo>
                    <a:lnTo>
                      <a:pt x="430" y="512"/>
                    </a:lnTo>
                    <a:lnTo>
                      <a:pt x="430" y="513"/>
                    </a:lnTo>
                    <a:lnTo>
                      <a:pt x="428" y="513"/>
                    </a:lnTo>
                    <a:lnTo>
                      <a:pt x="428" y="515"/>
                    </a:lnTo>
                    <a:lnTo>
                      <a:pt x="426" y="517"/>
                    </a:lnTo>
                    <a:lnTo>
                      <a:pt x="426" y="518"/>
                    </a:lnTo>
                    <a:lnTo>
                      <a:pt x="425" y="518"/>
                    </a:lnTo>
                    <a:lnTo>
                      <a:pt x="425" y="520"/>
                    </a:lnTo>
                    <a:lnTo>
                      <a:pt x="423" y="520"/>
                    </a:lnTo>
                    <a:lnTo>
                      <a:pt x="423" y="521"/>
                    </a:lnTo>
                    <a:lnTo>
                      <a:pt x="422" y="523"/>
                    </a:lnTo>
                    <a:lnTo>
                      <a:pt x="422" y="524"/>
                    </a:lnTo>
                    <a:lnTo>
                      <a:pt x="420" y="526"/>
                    </a:lnTo>
                    <a:lnTo>
                      <a:pt x="418" y="528"/>
                    </a:lnTo>
                    <a:lnTo>
                      <a:pt x="418" y="529"/>
                    </a:lnTo>
                    <a:lnTo>
                      <a:pt x="417" y="529"/>
                    </a:lnTo>
                    <a:lnTo>
                      <a:pt x="417" y="531"/>
                    </a:lnTo>
                    <a:lnTo>
                      <a:pt x="415" y="532"/>
                    </a:lnTo>
                    <a:lnTo>
                      <a:pt x="414" y="534"/>
                    </a:lnTo>
                    <a:lnTo>
                      <a:pt x="414" y="536"/>
                    </a:lnTo>
                    <a:lnTo>
                      <a:pt x="412" y="536"/>
                    </a:lnTo>
                    <a:lnTo>
                      <a:pt x="412" y="537"/>
                    </a:lnTo>
                    <a:lnTo>
                      <a:pt x="411" y="537"/>
                    </a:lnTo>
                    <a:lnTo>
                      <a:pt x="409" y="539"/>
                    </a:lnTo>
                    <a:lnTo>
                      <a:pt x="407" y="540"/>
                    </a:lnTo>
                    <a:lnTo>
                      <a:pt x="407" y="542"/>
                    </a:lnTo>
                    <a:lnTo>
                      <a:pt x="406" y="542"/>
                    </a:lnTo>
                    <a:lnTo>
                      <a:pt x="406" y="543"/>
                    </a:lnTo>
                    <a:lnTo>
                      <a:pt x="404" y="545"/>
                    </a:lnTo>
                    <a:lnTo>
                      <a:pt x="404" y="547"/>
                    </a:lnTo>
                    <a:lnTo>
                      <a:pt x="403" y="547"/>
                    </a:lnTo>
                    <a:lnTo>
                      <a:pt x="403" y="548"/>
                    </a:lnTo>
                    <a:lnTo>
                      <a:pt x="401" y="550"/>
                    </a:lnTo>
                    <a:lnTo>
                      <a:pt x="401" y="551"/>
                    </a:lnTo>
                    <a:lnTo>
                      <a:pt x="399" y="551"/>
                    </a:lnTo>
                    <a:lnTo>
                      <a:pt x="399" y="553"/>
                    </a:lnTo>
                    <a:lnTo>
                      <a:pt x="398" y="553"/>
                    </a:lnTo>
                    <a:lnTo>
                      <a:pt x="398" y="555"/>
                    </a:lnTo>
                    <a:lnTo>
                      <a:pt x="396" y="556"/>
                    </a:lnTo>
                    <a:lnTo>
                      <a:pt x="396" y="558"/>
                    </a:lnTo>
                    <a:lnTo>
                      <a:pt x="395" y="558"/>
                    </a:lnTo>
                    <a:lnTo>
                      <a:pt x="395" y="559"/>
                    </a:lnTo>
                    <a:lnTo>
                      <a:pt x="393" y="561"/>
                    </a:lnTo>
                    <a:lnTo>
                      <a:pt x="393" y="562"/>
                    </a:lnTo>
                    <a:lnTo>
                      <a:pt x="392" y="564"/>
                    </a:lnTo>
                    <a:lnTo>
                      <a:pt x="392" y="566"/>
                    </a:lnTo>
                    <a:lnTo>
                      <a:pt x="390" y="566"/>
                    </a:lnTo>
                    <a:lnTo>
                      <a:pt x="390" y="567"/>
                    </a:lnTo>
                    <a:lnTo>
                      <a:pt x="390" y="569"/>
                    </a:lnTo>
                    <a:lnTo>
                      <a:pt x="388" y="569"/>
                    </a:lnTo>
                    <a:lnTo>
                      <a:pt x="388" y="570"/>
                    </a:lnTo>
                    <a:lnTo>
                      <a:pt x="387" y="570"/>
                    </a:lnTo>
                    <a:lnTo>
                      <a:pt x="387" y="572"/>
                    </a:lnTo>
                    <a:lnTo>
                      <a:pt x="387" y="574"/>
                    </a:lnTo>
                    <a:lnTo>
                      <a:pt x="385" y="574"/>
                    </a:lnTo>
                    <a:lnTo>
                      <a:pt x="385" y="575"/>
                    </a:lnTo>
                    <a:lnTo>
                      <a:pt x="384" y="575"/>
                    </a:lnTo>
                    <a:lnTo>
                      <a:pt x="384" y="577"/>
                    </a:lnTo>
                    <a:lnTo>
                      <a:pt x="382" y="577"/>
                    </a:lnTo>
                    <a:lnTo>
                      <a:pt x="380" y="578"/>
                    </a:lnTo>
                    <a:lnTo>
                      <a:pt x="379" y="578"/>
                    </a:lnTo>
                    <a:lnTo>
                      <a:pt x="379" y="580"/>
                    </a:lnTo>
                    <a:lnTo>
                      <a:pt x="377" y="580"/>
                    </a:lnTo>
                    <a:lnTo>
                      <a:pt x="377" y="581"/>
                    </a:lnTo>
                    <a:lnTo>
                      <a:pt x="376" y="581"/>
                    </a:lnTo>
                    <a:lnTo>
                      <a:pt x="374" y="581"/>
                    </a:lnTo>
                    <a:lnTo>
                      <a:pt x="374" y="583"/>
                    </a:lnTo>
                    <a:lnTo>
                      <a:pt x="373" y="583"/>
                    </a:lnTo>
                    <a:lnTo>
                      <a:pt x="371" y="583"/>
                    </a:lnTo>
                    <a:lnTo>
                      <a:pt x="369" y="581"/>
                    </a:lnTo>
                    <a:lnTo>
                      <a:pt x="369" y="580"/>
                    </a:lnTo>
                    <a:lnTo>
                      <a:pt x="368" y="578"/>
                    </a:lnTo>
                    <a:lnTo>
                      <a:pt x="368" y="577"/>
                    </a:lnTo>
                    <a:lnTo>
                      <a:pt x="366" y="577"/>
                    </a:lnTo>
                    <a:lnTo>
                      <a:pt x="366" y="578"/>
                    </a:lnTo>
                    <a:lnTo>
                      <a:pt x="365" y="578"/>
                    </a:lnTo>
                    <a:lnTo>
                      <a:pt x="363" y="578"/>
                    </a:lnTo>
                    <a:lnTo>
                      <a:pt x="363" y="577"/>
                    </a:lnTo>
                    <a:lnTo>
                      <a:pt x="363" y="575"/>
                    </a:lnTo>
                    <a:lnTo>
                      <a:pt x="363" y="574"/>
                    </a:lnTo>
                    <a:lnTo>
                      <a:pt x="361" y="574"/>
                    </a:lnTo>
                    <a:lnTo>
                      <a:pt x="361" y="572"/>
                    </a:lnTo>
                    <a:lnTo>
                      <a:pt x="360" y="572"/>
                    </a:lnTo>
                    <a:lnTo>
                      <a:pt x="360" y="570"/>
                    </a:lnTo>
                    <a:lnTo>
                      <a:pt x="358" y="570"/>
                    </a:lnTo>
                    <a:lnTo>
                      <a:pt x="357" y="570"/>
                    </a:lnTo>
                    <a:lnTo>
                      <a:pt x="355" y="570"/>
                    </a:lnTo>
                    <a:lnTo>
                      <a:pt x="355" y="569"/>
                    </a:lnTo>
                    <a:lnTo>
                      <a:pt x="354" y="569"/>
                    </a:lnTo>
                    <a:lnTo>
                      <a:pt x="352" y="567"/>
                    </a:lnTo>
                    <a:lnTo>
                      <a:pt x="350" y="569"/>
                    </a:lnTo>
                    <a:lnTo>
                      <a:pt x="349" y="569"/>
                    </a:lnTo>
                    <a:lnTo>
                      <a:pt x="347" y="569"/>
                    </a:lnTo>
                    <a:lnTo>
                      <a:pt x="347" y="567"/>
                    </a:lnTo>
                    <a:lnTo>
                      <a:pt x="346" y="569"/>
                    </a:lnTo>
                    <a:lnTo>
                      <a:pt x="344" y="569"/>
                    </a:lnTo>
                    <a:lnTo>
                      <a:pt x="342" y="570"/>
                    </a:lnTo>
                    <a:lnTo>
                      <a:pt x="342" y="569"/>
                    </a:lnTo>
                    <a:lnTo>
                      <a:pt x="341" y="569"/>
                    </a:lnTo>
                    <a:lnTo>
                      <a:pt x="341" y="567"/>
                    </a:lnTo>
                    <a:lnTo>
                      <a:pt x="341" y="566"/>
                    </a:lnTo>
                    <a:lnTo>
                      <a:pt x="342" y="566"/>
                    </a:lnTo>
                    <a:lnTo>
                      <a:pt x="342" y="564"/>
                    </a:lnTo>
                    <a:lnTo>
                      <a:pt x="342" y="562"/>
                    </a:lnTo>
                    <a:lnTo>
                      <a:pt x="341" y="562"/>
                    </a:lnTo>
                    <a:lnTo>
                      <a:pt x="339" y="562"/>
                    </a:lnTo>
                    <a:lnTo>
                      <a:pt x="338" y="562"/>
                    </a:lnTo>
                    <a:lnTo>
                      <a:pt x="336" y="562"/>
                    </a:lnTo>
                    <a:lnTo>
                      <a:pt x="336" y="564"/>
                    </a:lnTo>
                    <a:lnTo>
                      <a:pt x="335" y="564"/>
                    </a:lnTo>
                    <a:lnTo>
                      <a:pt x="333" y="564"/>
                    </a:lnTo>
                    <a:lnTo>
                      <a:pt x="331" y="564"/>
                    </a:lnTo>
                    <a:lnTo>
                      <a:pt x="330" y="564"/>
                    </a:lnTo>
                    <a:lnTo>
                      <a:pt x="328" y="562"/>
                    </a:lnTo>
                    <a:lnTo>
                      <a:pt x="327" y="562"/>
                    </a:lnTo>
                    <a:lnTo>
                      <a:pt x="325" y="562"/>
                    </a:lnTo>
                    <a:lnTo>
                      <a:pt x="323" y="564"/>
                    </a:lnTo>
                    <a:lnTo>
                      <a:pt x="322" y="564"/>
                    </a:lnTo>
                    <a:lnTo>
                      <a:pt x="320" y="562"/>
                    </a:lnTo>
                    <a:lnTo>
                      <a:pt x="319" y="562"/>
                    </a:lnTo>
                    <a:lnTo>
                      <a:pt x="319" y="561"/>
                    </a:lnTo>
                    <a:lnTo>
                      <a:pt x="317" y="562"/>
                    </a:lnTo>
                    <a:lnTo>
                      <a:pt x="316" y="562"/>
                    </a:lnTo>
                    <a:lnTo>
                      <a:pt x="314" y="562"/>
                    </a:lnTo>
                    <a:lnTo>
                      <a:pt x="314" y="561"/>
                    </a:lnTo>
                    <a:lnTo>
                      <a:pt x="312" y="559"/>
                    </a:lnTo>
                    <a:lnTo>
                      <a:pt x="312" y="561"/>
                    </a:lnTo>
                    <a:lnTo>
                      <a:pt x="311" y="561"/>
                    </a:lnTo>
                    <a:lnTo>
                      <a:pt x="309" y="561"/>
                    </a:lnTo>
                    <a:lnTo>
                      <a:pt x="309" y="562"/>
                    </a:lnTo>
                    <a:lnTo>
                      <a:pt x="308" y="562"/>
                    </a:lnTo>
                    <a:lnTo>
                      <a:pt x="306" y="562"/>
                    </a:lnTo>
                    <a:lnTo>
                      <a:pt x="304" y="564"/>
                    </a:lnTo>
                    <a:lnTo>
                      <a:pt x="303" y="566"/>
                    </a:lnTo>
                    <a:lnTo>
                      <a:pt x="303" y="567"/>
                    </a:lnTo>
                    <a:lnTo>
                      <a:pt x="301" y="567"/>
                    </a:lnTo>
                    <a:lnTo>
                      <a:pt x="300" y="567"/>
                    </a:lnTo>
                    <a:lnTo>
                      <a:pt x="298" y="567"/>
                    </a:lnTo>
                    <a:lnTo>
                      <a:pt x="298" y="569"/>
                    </a:lnTo>
                    <a:lnTo>
                      <a:pt x="297" y="569"/>
                    </a:lnTo>
                    <a:lnTo>
                      <a:pt x="297" y="570"/>
                    </a:lnTo>
                    <a:lnTo>
                      <a:pt x="295" y="569"/>
                    </a:lnTo>
                    <a:lnTo>
                      <a:pt x="295" y="570"/>
                    </a:lnTo>
                    <a:lnTo>
                      <a:pt x="293" y="570"/>
                    </a:lnTo>
                    <a:lnTo>
                      <a:pt x="292" y="570"/>
                    </a:lnTo>
                    <a:lnTo>
                      <a:pt x="290" y="570"/>
                    </a:lnTo>
                    <a:lnTo>
                      <a:pt x="289" y="569"/>
                    </a:lnTo>
                    <a:lnTo>
                      <a:pt x="287" y="569"/>
                    </a:lnTo>
                    <a:lnTo>
                      <a:pt x="287" y="567"/>
                    </a:lnTo>
                    <a:lnTo>
                      <a:pt x="285" y="566"/>
                    </a:lnTo>
                    <a:lnTo>
                      <a:pt x="284" y="566"/>
                    </a:lnTo>
                    <a:lnTo>
                      <a:pt x="282" y="564"/>
                    </a:lnTo>
                    <a:lnTo>
                      <a:pt x="281" y="564"/>
                    </a:lnTo>
                    <a:lnTo>
                      <a:pt x="281" y="562"/>
                    </a:lnTo>
                    <a:lnTo>
                      <a:pt x="281" y="561"/>
                    </a:lnTo>
                    <a:lnTo>
                      <a:pt x="279" y="561"/>
                    </a:lnTo>
                    <a:lnTo>
                      <a:pt x="279" y="559"/>
                    </a:lnTo>
                    <a:lnTo>
                      <a:pt x="278" y="559"/>
                    </a:lnTo>
                    <a:lnTo>
                      <a:pt x="276" y="558"/>
                    </a:lnTo>
                    <a:lnTo>
                      <a:pt x="274" y="558"/>
                    </a:lnTo>
                    <a:lnTo>
                      <a:pt x="273" y="558"/>
                    </a:lnTo>
                    <a:lnTo>
                      <a:pt x="271" y="556"/>
                    </a:lnTo>
                    <a:lnTo>
                      <a:pt x="271" y="555"/>
                    </a:lnTo>
                    <a:lnTo>
                      <a:pt x="271" y="553"/>
                    </a:lnTo>
                    <a:lnTo>
                      <a:pt x="270" y="555"/>
                    </a:lnTo>
                    <a:lnTo>
                      <a:pt x="268" y="553"/>
                    </a:lnTo>
                    <a:lnTo>
                      <a:pt x="268" y="551"/>
                    </a:lnTo>
                    <a:lnTo>
                      <a:pt x="266" y="551"/>
                    </a:lnTo>
                    <a:lnTo>
                      <a:pt x="265" y="551"/>
                    </a:lnTo>
                    <a:lnTo>
                      <a:pt x="263" y="550"/>
                    </a:lnTo>
                    <a:lnTo>
                      <a:pt x="262" y="550"/>
                    </a:lnTo>
                    <a:lnTo>
                      <a:pt x="262" y="548"/>
                    </a:lnTo>
                    <a:lnTo>
                      <a:pt x="262" y="547"/>
                    </a:lnTo>
                    <a:lnTo>
                      <a:pt x="262" y="545"/>
                    </a:lnTo>
                    <a:lnTo>
                      <a:pt x="262" y="543"/>
                    </a:lnTo>
                    <a:lnTo>
                      <a:pt x="260" y="543"/>
                    </a:lnTo>
                    <a:lnTo>
                      <a:pt x="259" y="543"/>
                    </a:lnTo>
                    <a:lnTo>
                      <a:pt x="257" y="542"/>
                    </a:lnTo>
                    <a:lnTo>
                      <a:pt x="255" y="542"/>
                    </a:lnTo>
                    <a:lnTo>
                      <a:pt x="255" y="540"/>
                    </a:lnTo>
                    <a:lnTo>
                      <a:pt x="254" y="540"/>
                    </a:lnTo>
                    <a:lnTo>
                      <a:pt x="252" y="540"/>
                    </a:lnTo>
                    <a:lnTo>
                      <a:pt x="252" y="539"/>
                    </a:lnTo>
                    <a:lnTo>
                      <a:pt x="251" y="539"/>
                    </a:lnTo>
                    <a:lnTo>
                      <a:pt x="249" y="539"/>
                    </a:lnTo>
                    <a:lnTo>
                      <a:pt x="247" y="539"/>
                    </a:lnTo>
                    <a:lnTo>
                      <a:pt x="246" y="539"/>
                    </a:lnTo>
                    <a:lnTo>
                      <a:pt x="244" y="539"/>
                    </a:lnTo>
                    <a:lnTo>
                      <a:pt x="243" y="539"/>
                    </a:lnTo>
                    <a:lnTo>
                      <a:pt x="241" y="539"/>
                    </a:lnTo>
                    <a:lnTo>
                      <a:pt x="239" y="537"/>
                    </a:lnTo>
                    <a:lnTo>
                      <a:pt x="238" y="537"/>
                    </a:lnTo>
                    <a:lnTo>
                      <a:pt x="236" y="537"/>
                    </a:lnTo>
                    <a:lnTo>
                      <a:pt x="235" y="536"/>
                    </a:lnTo>
                    <a:lnTo>
                      <a:pt x="233" y="536"/>
                    </a:lnTo>
                    <a:lnTo>
                      <a:pt x="232" y="536"/>
                    </a:lnTo>
                    <a:lnTo>
                      <a:pt x="230" y="534"/>
                    </a:lnTo>
                    <a:lnTo>
                      <a:pt x="228" y="532"/>
                    </a:lnTo>
                    <a:lnTo>
                      <a:pt x="228" y="531"/>
                    </a:lnTo>
                    <a:lnTo>
                      <a:pt x="227" y="531"/>
                    </a:lnTo>
                    <a:lnTo>
                      <a:pt x="227" y="529"/>
                    </a:lnTo>
                    <a:lnTo>
                      <a:pt x="225" y="529"/>
                    </a:lnTo>
                    <a:lnTo>
                      <a:pt x="224" y="529"/>
                    </a:lnTo>
                    <a:lnTo>
                      <a:pt x="224" y="528"/>
                    </a:lnTo>
                    <a:lnTo>
                      <a:pt x="224" y="526"/>
                    </a:lnTo>
                    <a:lnTo>
                      <a:pt x="222" y="526"/>
                    </a:lnTo>
                    <a:lnTo>
                      <a:pt x="220" y="526"/>
                    </a:lnTo>
                    <a:lnTo>
                      <a:pt x="219" y="526"/>
                    </a:lnTo>
                    <a:lnTo>
                      <a:pt x="217" y="526"/>
                    </a:lnTo>
                    <a:lnTo>
                      <a:pt x="217" y="524"/>
                    </a:lnTo>
                    <a:lnTo>
                      <a:pt x="216" y="523"/>
                    </a:lnTo>
                    <a:lnTo>
                      <a:pt x="214" y="521"/>
                    </a:lnTo>
                    <a:lnTo>
                      <a:pt x="213" y="521"/>
                    </a:lnTo>
                    <a:lnTo>
                      <a:pt x="213" y="520"/>
                    </a:lnTo>
                    <a:lnTo>
                      <a:pt x="211" y="520"/>
                    </a:lnTo>
                    <a:lnTo>
                      <a:pt x="211" y="518"/>
                    </a:lnTo>
                    <a:lnTo>
                      <a:pt x="209" y="518"/>
                    </a:lnTo>
                    <a:lnTo>
                      <a:pt x="209" y="517"/>
                    </a:lnTo>
                    <a:lnTo>
                      <a:pt x="209" y="515"/>
                    </a:lnTo>
                    <a:lnTo>
                      <a:pt x="208" y="515"/>
                    </a:lnTo>
                    <a:lnTo>
                      <a:pt x="208" y="513"/>
                    </a:lnTo>
                    <a:lnTo>
                      <a:pt x="206" y="513"/>
                    </a:lnTo>
                    <a:lnTo>
                      <a:pt x="205" y="512"/>
                    </a:lnTo>
                    <a:lnTo>
                      <a:pt x="205" y="510"/>
                    </a:lnTo>
                    <a:lnTo>
                      <a:pt x="205" y="509"/>
                    </a:lnTo>
                    <a:lnTo>
                      <a:pt x="203" y="509"/>
                    </a:lnTo>
                    <a:lnTo>
                      <a:pt x="203" y="507"/>
                    </a:lnTo>
                    <a:lnTo>
                      <a:pt x="203" y="505"/>
                    </a:lnTo>
                    <a:lnTo>
                      <a:pt x="201" y="505"/>
                    </a:lnTo>
                    <a:lnTo>
                      <a:pt x="201" y="504"/>
                    </a:lnTo>
                    <a:lnTo>
                      <a:pt x="201" y="502"/>
                    </a:lnTo>
                    <a:lnTo>
                      <a:pt x="200" y="502"/>
                    </a:lnTo>
                    <a:lnTo>
                      <a:pt x="200" y="501"/>
                    </a:lnTo>
                    <a:lnTo>
                      <a:pt x="200" y="499"/>
                    </a:lnTo>
                    <a:lnTo>
                      <a:pt x="198" y="499"/>
                    </a:lnTo>
                    <a:lnTo>
                      <a:pt x="198" y="498"/>
                    </a:lnTo>
                    <a:lnTo>
                      <a:pt x="198" y="496"/>
                    </a:lnTo>
                    <a:lnTo>
                      <a:pt x="200" y="496"/>
                    </a:lnTo>
                    <a:lnTo>
                      <a:pt x="200" y="494"/>
                    </a:lnTo>
                    <a:lnTo>
                      <a:pt x="198" y="493"/>
                    </a:lnTo>
                    <a:lnTo>
                      <a:pt x="198" y="491"/>
                    </a:lnTo>
                    <a:lnTo>
                      <a:pt x="198" y="490"/>
                    </a:lnTo>
                    <a:lnTo>
                      <a:pt x="198" y="488"/>
                    </a:lnTo>
                    <a:lnTo>
                      <a:pt x="200" y="488"/>
                    </a:lnTo>
                    <a:lnTo>
                      <a:pt x="200" y="486"/>
                    </a:lnTo>
                    <a:lnTo>
                      <a:pt x="201" y="485"/>
                    </a:lnTo>
                    <a:lnTo>
                      <a:pt x="201" y="483"/>
                    </a:lnTo>
                    <a:lnTo>
                      <a:pt x="201" y="482"/>
                    </a:lnTo>
                    <a:lnTo>
                      <a:pt x="201" y="480"/>
                    </a:lnTo>
                    <a:lnTo>
                      <a:pt x="200" y="479"/>
                    </a:lnTo>
                    <a:lnTo>
                      <a:pt x="200" y="477"/>
                    </a:lnTo>
                    <a:lnTo>
                      <a:pt x="198" y="475"/>
                    </a:lnTo>
                    <a:lnTo>
                      <a:pt x="200" y="474"/>
                    </a:lnTo>
                    <a:lnTo>
                      <a:pt x="200" y="472"/>
                    </a:lnTo>
                    <a:lnTo>
                      <a:pt x="201" y="472"/>
                    </a:lnTo>
                    <a:lnTo>
                      <a:pt x="201" y="471"/>
                    </a:lnTo>
                    <a:lnTo>
                      <a:pt x="201" y="469"/>
                    </a:lnTo>
                    <a:lnTo>
                      <a:pt x="201" y="467"/>
                    </a:lnTo>
                    <a:lnTo>
                      <a:pt x="201" y="466"/>
                    </a:lnTo>
                    <a:lnTo>
                      <a:pt x="201" y="464"/>
                    </a:lnTo>
                    <a:lnTo>
                      <a:pt x="201" y="463"/>
                    </a:lnTo>
                    <a:lnTo>
                      <a:pt x="201" y="461"/>
                    </a:lnTo>
                    <a:lnTo>
                      <a:pt x="201" y="459"/>
                    </a:lnTo>
                    <a:lnTo>
                      <a:pt x="201" y="458"/>
                    </a:lnTo>
                    <a:lnTo>
                      <a:pt x="201" y="456"/>
                    </a:lnTo>
                    <a:lnTo>
                      <a:pt x="201" y="455"/>
                    </a:lnTo>
                    <a:lnTo>
                      <a:pt x="201" y="453"/>
                    </a:lnTo>
                    <a:lnTo>
                      <a:pt x="201" y="452"/>
                    </a:lnTo>
                    <a:lnTo>
                      <a:pt x="200" y="450"/>
                    </a:lnTo>
                    <a:lnTo>
                      <a:pt x="200" y="448"/>
                    </a:lnTo>
                    <a:lnTo>
                      <a:pt x="200" y="447"/>
                    </a:lnTo>
                    <a:lnTo>
                      <a:pt x="200" y="445"/>
                    </a:lnTo>
                    <a:lnTo>
                      <a:pt x="198" y="445"/>
                    </a:lnTo>
                    <a:lnTo>
                      <a:pt x="200" y="444"/>
                    </a:lnTo>
                    <a:lnTo>
                      <a:pt x="200" y="442"/>
                    </a:lnTo>
                    <a:lnTo>
                      <a:pt x="200" y="440"/>
                    </a:lnTo>
                    <a:lnTo>
                      <a:pt x="200" y="439"/>
                    </a:lnTo>
                    <a:lnTo>
                      <a:pt x="200" y="437"/>
                    </a:lnTo>
                    <a:lnTo>
                      <a:pt x="200" y="436"/>
                    </a:lnTo>
                    <a:lnTo>
                      <a:pt x="201" y="436"/>
                    </a:lnTo>
                    <a:lnTo>
                      <a:pt x="201" y="434"/>
                    </a:lnTo>
                    <a:lnTo>
                      <a:pt x="201" y="433"/>
                    </a:lnTo>
                    <a:lnTo>
                      <a:pt x="201" y="431"/>
                    </a:lnTo>
                    <a:lnTo>
                      <a:pt x="200" y="431"/>
                    </a:lnTo>
                    <a:lnTo>
                      <a:pt x="200" y="429"/>
                    </a:lnTo>
                    <a:lnTo>
                      <a:pt x="200" y="428"/>
                    </a:lnTo>
                    <a:lnTo>
                      <a:pt x="201" y="428"/>
                    </a:lnTo>
                    <a:lnTo>
                      <a:pt x="201" y="426"/>
                    </a:lnTo>
                    <a:lnTo>
                      <a:pt x="203" y="426"/>
                    </a:lnTo>
                    <a:lnTo>
                      <a:pt x="203" y="425"/>
                    </a:lnTo>
                    <a:lnTo>
                      <a:pt x="203" y="423"/>
                    </a:lnTo>
                    <a:lnTo>
                      <a:pt x="203" y="421"/>
                    </a:lnTo>
                    <a:lnTo>
                      <a:pt x="205" y="420"/>
                    </a:lnTo>
                    <a:lnTo>
                      <a:pt x="205" y="418"/>
                    </a:lnTo>
                    <a:lnTo>
                      <a:pt x="206" y="417"/>
                    </a:lnTo>
                    <a:lnTo>
                      <a:pt x="205" y="417"/>
                    </a:lnTo>
                    <a:lnTo>
                      <a:pt x="205" y="415"/>
                    </a:lnTo>
                    <a:lnTo>
                      <a:pt x="205" y="414"/>
                    </a:lnTo>
                    <a:lnTo>
                      <a:pt x="205" y="412"/>
                    </a:lnTo>
                    <a:lnTo>
                      <a:pt x="205" y="410"/>
                    </a:lnTo>
                    <a:lnTo>
                      <a:pt x="205" y="409"/>
                    </a:lnTo>
                    <a:lnTo>
                      <a:pt x="205" y="407"/>
                    </a:lnTo>
                    <a:lnTo>
                      <a:pt x="203" y="406"/>
                    </a:lnTo>
                    <a:lnTo>
                      <a:pt x="205" y="404"/>
                    </a:lnTo>
                    <a:lnTo>
                      <a:pt x="203" y="404"/>
                    </a:lnTo>
                    <a:lnTo>
                      <a:pt x="203" y="402"/>
                    </a:lnTo>
                    <a:lnTo>
                      <a:pt x="203" y="401"/>
                    </a:lnTo>
                    <a:lnTo>
                      <a:pt x="205" y="401"/>
                    </a:lnTo>
                    <a:lnTo>
                      <a:pt x="203" y="399"/>
                    </a:lnTo>
                    <a:lnTo>
                      <a:pt x="203" y="398"/>
                    </a:lnTo>
                    <a:lnTo>
                      <a:pt x="201" y="398"/>
                    </a:lnTo>
                    <a:lnTo>
                      <a:pt x="201" y="396"/>
                    </a:lnTo>
                    <a:lnTo>
                      <a:pt x="201" y="395"/>
                    </a:lnTo>
                    <a:lnTo>
                      <a:pt x="200" y="395"/>
                    </a:lnTo>
                    <a:lnTo>
                      <a:pt x="200" y="393"/>
                    </a:lnTo>
                    <a:lnTo>
                      <a:pt x="198" y="393"/>
                    </a:lnTo>
                    <a:lnTo>
                      <a:pt x="198" y="391"/>
                    </a:lnTo>
                    <a:lnTo>
                      <a:pt x="198" y="390"/>
                    </a:lnTo>
                    <a:lnTo>
                      <a:pt x="198" y="388"/>
                    </a:lnTo>
                    <a:lnTo>
                      <a:pt x="198" y="387"/>
                    </a:lnTo>
                    <a:lnTo>
                      <a:pt x="198" y="385"/>
                    </a:lnTo>
                    <a:lnTo>
                      <a:pt x="198" y="383"/>
                    </a:lnTo>
                    <a:lnTo>
                      <a:pt x="198" y="382"/>
                    </a:lnTo>
                    <a:lnTo>
                      <a:pt x="197" y="382"/>
                    </a:lnTo>
                    <a:lnTo>
                      <a:pt x="197" y="380"/>
                    </a:lnTo>
                    <a:lnTo>
                      <a:pt x="195" y="380"/>
                    </a:lnTo>
                    <a:lnTo>
                      <a:pt x="195" y="379"/>
                    </a:lnTo>
                    <a:lnTo>
                      <a:pt x="194" y="380"/>
                    </a:lnTo>
                    <a:lnTo>
                      <a:pt x="194" y="379"/>
                    </a:lnTo>
                    <a:lnTo>
                      <a:pt x="192" y="379"/>
                    </a:lnTo>
                    <a:lnTo>
                      <a:pt x="192" y="377"/>
                    </a:lnTo>
                    <a:lnTo>
                      <a:pt x="190" y="377"/>
                    </a:lnTo>
                    <a:lnTo>
                      <a:pt x="192" y="376"/>
                    </a:lnTo>
                    <a:lnTo>
                      <a:pt x="192" y="374"/>
                    </a:lnTo>
                    <a:lnTo>
                      <a:pt x="192" y="372"/>
                    </a:lnTo>
                    <a:lnTo>
                      <a:pt x="192" y="371"/>
                    </a:lnTo>
                    <a:lnTo>
                      <a:pt x="190" y="371"/>
                    </a:lnTo>
                    <a:lnTo>
                      <a:pt x="190" y="369"/>
                    </a:lnTo>
                    <a:lnTo>
                      <a:pt x="189" y="368"/>
                    </a:lnTo>
                    <a:lnTo>
                      <a:pt x="189" y="366"/>
                    </a:lnTo>
                    <a:lnTo>
                      <a:pt x="189" y="364"/>
                    </a:lnTo>
                    <a:lnTo>
                      <a:pt x="189" y="363"/>
                    </a:lnTo>
                    <a:lnTo>
                      <a:pt x="189" y="361"/>
                    </a:lnTo>
                    <a:lnTo>
                      <a:pt x="187" y="361"/>
                    </a:lnTo>
                    <a:lnTo>
                      <a:pt x="187" y="360"/>
                    </a:lnTo>
                    <a:lnTo>
                      <a:pt x="189" y="360"/>
                    </a:lnTo>
                    <a:lnTo>
                      <a:pt x="189" y="358"/>
                    </a:lnTo>
                    <a:lnTo>
                      <a:pt x="189" y="357"/>
                    </a:lnTo>
                    <a:lnTo>
                      <a:pt x="190" y="357"/>
                    </a:lnTo>
                    <a:lnTo>
                      <a:pt x="189" y="355"/>
                    </a:lnTo>
                    <a:lnTo>
                      <a:pt x="189" y="353"/>
                    </a:lnTo>
                    <a:lnTo>
                      <a:pt x="187" y="352"/>
                    </a:lnTo>
                    <a:lnTo>
                      <a:pt x="187" y="350"/>
                    </a:lnTo>
                    <a:lnTo>
                      <a:pt x="189" y="350"/>
                    </a:lnTo>
                    <a:lnTo>
                      <a:pt x="190" y="350"/>
                    </a:lnTo>
                    <a:lnTo>
                      <a:pt x="190" y="349"/>
                    </a:lnTo>
                    <a:lnTo>
                      <a:pt x="190" y="347"/>
                    </a:lnTo>
                    <a:lnTo>
                      <a:pt x="190" y="345"/>
                    </a:lnTo>
                    <a:lnTo>
                      <a:pt x="189" y="344"/>
                    </a:lnTo>
                    <a:lnTo>
                      <a:pt x="189" y="342"/>
                    </a:lnTo>
                    <a:lnTo>
                      <a:pt x="189" y="341"/>
                    </a:lnTo>
                    <a:lnTo>
                      <a:pt x="189" y="339"/>
                    </a:lnTo>
                    <a:lnTo>
                      <a:pt x="189" y="338"/>
                    </a:lnTo>
                    <a:lnTo>
                      <a:pt x="187" y="338"/>
                    </a:lnTo>
                    <a:lnTo>
                      <a:pt x="187" y="336"/>
                    </a:lnTo>
                    <a:lnTo>
                      <a:pt x="186" y="338"/>
                    </a:lnTo>
                    <a:lnTo>
                      <a:pt x="184" y="338"/>
                    </a:lnTo>
                    <a:lnTo>
                      <a:pt x="184" y="336"/>
                    </a:lnTo>
                    <a:lnTo>
                      <a:pt x="186" y="336"/>
                    </a:lnTo>
                    <a:lnTo>
                      <a:pt x="186" y="334"/>
                    </a:lnTo>
                    <a:lnTo>
                      <a:pt x="186" y="333"/>
                    </a:lnTo>
                    <a:lnTo>
                      <a:pt x="186" y="331"/>
                    </a:lnTo>
                    <a:lnTo>
                      <a:pt x="184" y="330"/>
                    </a:lnTo>
                    <a:lnTo>
                      <a:pt x="186" y="330"/>
                    </a:lnTo>
                    <a:lnTo>
                      <a:pt x="187" y="330"/>
                    </a:lnTo>
                    <a:lnTo>
                      <a:pt x="187" y="328"/>
                    </a:lnTo>
                    <a:lnTo>
                      <a:pt x="187" y="326"/>
                    </a:lnTo>
                    <a:lnTo>
                      <a:pt x="187" y="325"/>
                    </a:lnTo>
                    <a:lnTo>
                      <a:pt x="187" y="323"/>
                    </a:lnTo>
                    <a:lnTo>
                      <a:pt x="187" y="322"/>
                    </a:lnTo>
                    <a:lnTo>
                      <a:pt x="189" y="320"/>
                    </a:lnTo>
                    <a:lnTo>
                      <a:pt x="190" y="319"/>
                    </a:lnTo>
                    <a:lnTo>
                      <a:pt x="190" y="317"/>
                    </a:lnTo>
                    <a:lnTo>
                      <a:pt x="190" y="315"/>
                    </a:lnTo>
                    <a:lnTo>
                      <a:pt x="189" y="314"/>
                    </a:lnTo>
                    <a:lnTo>
                      <a:pt x="189" y="312"/>
                    </a:lnTo>
                    <a:lnTo>
                      <a:pt x="189" y="311"/>
                    </a:lnTo>
                    <a:lnTo>
                      <a:pt x="187" y="309"/>
                    </a:lnTo>
                    <a:lnTo>
                      <a:pt x="187" y="307"/>
                    </a:lnTo>
                    <a:lnTo>
                      <a:pt x="186" y="307"/>
                    </a:lnTo>
                    <a:lnTo>
                      <a:pt x="186" y="306"/>
                    </a:lnTo>
                    <a:lnTo>
                      <a:pt x="184" y="306"/>
                    </a:lnTo>
                    <a:lnTo>
                      <a:pt x="184" y="304"/>
                    </a:lnTo>
                    <a:lnTo>
                      <a:pt x="182" y="303"/>
                    </a:lnTo>
                    <a:lnTo>
                      <a:pt x="182" y="301"/>
                    </a:lnTo>
                    <a:lnTo>
                      <a:pt x="181" y="301"/>
                    </a:lnTo>
                    <a:lnTo>
                      <a:pt x="181" y="300"/>
                    </a:lnTo>
                    <a:lnTo>
                      <a:pt x="179" y="298"/>
                    </a:lnTo>
                    <a:lnTo>
                      <a:pt x="179" y="296"/>
                    </a:lnTo>
                    <a:lnTo>
                      <a:pt x="178" y="295"/>
                    </a:lnTo>
                    <a:lnTo>
                      <a:pt x="178" y="293"/>
                    </a:lnTo>
                    <a:lnTo>
                      <a:pt x="176" y="292"/>
                    </a:lnTo>
                    <a:lnTo>
                      <a:pt x="178" y="292"/>
                    </a:lnTo>
                    <a:lnTo>
                      <a:pt x="178" y="290"/>
                    </a:lnTo>
                    <a:lnTo>
                      <a:pt x="176" y="290"/>
                    </a:lnTo>
                    <a:lnTo>
                      <a:pt x="176" y="288"/>
                    </a:lnTo>
                    <a:lnTo>
                      <a:pt x="176" y="287"/>
                    </a:lnTo>
                    <a:lnTo>
                      <a:pt x="175" y="285"/>
                    </a:lnTo>
                    <a:lnTo>
                      <a:pt x="175" y="284"/>
                    </a:lnTo>
                    <a:lnTo>
                      <a:pt x="175" y="282"/>
                    </a:lnTo>
                    <a:lnTo>
                      <a:pt x="173" y="282"/>
                    </a:lnTo>
                    <a:lnTo>
                      <a:pt x="173" y="281"/>
                    </a:lnTo>
                    <a:lnTo>
                      <a:pt x="175" y="279"/>
                    </a:lnTo>
                    <a:lnTo>
                      <a:pt x="173" y="277"/>
                    </a:lnTo>
                    <a:lnTo>
                      <a:pt x="173" y="276"/>
                    </a:lnTo>
                    <a:lnTo>
                      <a:pt x="171" y="274"/>
                    </a:lnTo>
                    <a:lnTo>
                      <a:pt x="171" y="273"/>
                    </a:lnTo>
                    <a:lnTo>
                      <a:pt x="170" y="271"/>
                    </a:lnTo>
                    <a:lnTo>
                      <a:pt x="168" y="271"/>
                    </a:lnTo>
                    <a:lnTo>
                      <a:pt x="167" y="269"/>
                    </a:lnTo>
                    <a:lnTo>
                      <a:pt x="165" y="268"/>
                    </a:lnTo>
                    <a:lnTo>
                      <a:pt x="163" y="266"/>
                    </a:lnTo>
                    <a:lnTo>
                      <a:pt x="163" y="265"/>
                    </a:lnTo>
                    <a:lnTo>
                      <a:pt x="162" y="263"/>
                    </a:lnTo>
                    <a:lnTo>
                      <a:pt x="160" y="261"/>
                    </a:lnTo>
                    <a:lnTo>
                      <a:pt x="160" y="260"/>
                    </a:lnTo>
                    <a:lnTo>
                      <a:pt x="159" y="260"/>
                    </a:lnTo>
                    <a:lnTo>
                      <a:pt x="156" y="258"/>
                    </a:lnTo>
                    <a:lnTo>
                      <a:pt x="154" y="258"/>
                    </a:lnTo>
                    <a:lnTo>
                      <a:pt x="152" y="258"/>
                    </a:lnTo>
                    <a:lnTo>
                      <a:pt x="152" y="257"/>
                    </a:lnTo>
                    <a:lnTo>
                      <a:pt x="152" y="255"/>
                    </a:lnTo>
                    <a:lnTo>
                      <a:pt x="151" y="255"/>
                    </a:lnTo>
                    <a:lnTo>
                      <a:pt x="151" y="254"/>
                    </a:lnTo>
                    <a:lnTo>
                      <a:pt x="149" y="254"/>
                    </a:lnTo>
                    <a:lnTo>
                      <a:pt x="149" y="252"/>
                    </a:lnTo>
                    <a:lnTo>
                      <a:pt x="149" y="250"/>
                    </a:lnTo>
                    <a:lnTo>
                      <a:pt x="148" y="250"/>
                    </a:lnTo>
                    <a:lnTo>
                      <a:pt x="148" y="249"/>
                    </a:lnTo>
                    <a:lnTo>
                      <a:pt x="148" y="247"/>
                    </a:lnTo>
                    <a:lnTo>
                      <a:pt x="146" y="246"/>
                    </a:lnTo>
                    <a:lnTo>
                      <a:pt x="146" y="244"/>
                    </a:lnTo>
                    <a:lnTo>
                      <a:pt x="146" y="242"/>
                    </a:lnTo>
                    <a:lnTo>
                      <a:pt x="146" y="241"/>
                    </a:lnTo>
                    <a:lnTo>
                      <a:pt x="144" y="241"/>
                    </a:lnTo>
                    <a:lnTo>
                      <a:pt x="144" y="239"/>
                    </a:lnTo>
                    <a:lnTo>
                      <a:pt x="143" y="239"/>
                    </a:lnTo>
                    <a:lnTo>
                      <a:pt x="143" y="238"/>
                    </a:lnTo>
                    <a:lnTo>
                      <a:pt x="141" y="238"/>
                    </a:lnTo>
                    <a:lnTo>
                      <a:pt x="141" y="236"/>
                    </a:lnTo>
                    <a:lnTo>
                      <a:pt x="140" y="236"/>
                    </a:lnTo>
                    <a:lnTo>
                      <a:pt x="140" y="235"/>
                    </a:lnTo>
                    <a:lnTo>
                      <a:pt x="140" y="233"/>
                    </a:lnTo>
                    <a:lnTo>
                      <a:pt x="140" y="231"/>
                    </a:lnTo>
                    <a:lnTo>
                      <a:pt x="138" y="231"/>
                    </a:lnTo>
                    <a:lnTo>
                      <a:pt x="138" y="230"/>
                    </a:lnTo>
                    <a:lnTo>
                      <a:pt x="138" y="228"/>
                    </a:lnTo>
                    <a:lnTo>
                      <a:pt x="138" y="227"/>
                    </a:lnTo>
                    <a:lnTo>
                      <a:pt x="137" y="227"/>
                    </a:lnTo>
                    <a:lnTo>
                      <a:pt x="137" y="225"/>
                    </a:lnTo>
                    <a:lnTo>
                      <a:pt x="137" y="223"/>
                    </a:lnTo>
                    <a:lnTo>
                      <a:pt x="135" y="223"/>
                    </a:lnTo>
                    <a:lnTo>
                      <a:pt x="135" y="222"/>
                    </a:lnTo>
                    <a:lnTo>
                      <a:pt x="135" y="220"/>
                    </a:lnTo>
                    <a:lnTo>
                      <a:pt x="137" y="219"/>
                    </a:lnTo>
                    <a:lnTo>
                      <a:pt x="137" y="217"/>
                    </a:lnTo>
                    <a:lnTo>
                      <a:pt x="138" y="216"/>
                    </a:lnTo>
                    <a:lnTo>
                      <a:pt x="137" y="214"/>
                    </a:lnTo>
                    <a:lnTo>
                      <a:pt x="137" y="212"/>
                    </a:lnTo>
                    <a:lnTo>
                      <a:pt x="135" y="212"/>
                    </a:lnTo>
                    <a:lnTo>
                      <a:pt x="133" y="211"/>
                    </a:lnTo>
                    <a:lnTo>
                      <a:pt x="132" y="211"/>
                    </a:lnTo>
                    <a:lnTo>
                      <a:pt x="130" y="211"/>
                    </a:lnTo>
                    <a:lnTo>
                      <a:pt x="129" y="211"/>
                    </a:lnTo>
                    <a:lnTo>
                      <a:pt x="127" y="209"/>
                    </a:lnTo>
                    <a:lnTo>
                      <a:pt x="125" y="209"/>
                    </a:lnTo>
                    <a:lnTo>
                      <a:pt x="124" y="209"/>
                    </a:lnTo>
                    <a:lnTo>
                      <a:pt x="122" y="211"/>
                    </a:lnTo>
                    <a:lnTo>
                      <a:pt x="121" y="211"/>
                    </a:lnTo>
                    <a:lnTo>
                      <a:pt x="119" y="211"/>
                    </a:lnTo>
                    <a:lnTo>
                      <a:pt x="118" y="209"/>
                    </a:lnTo>
                    <a:lnTo>
                      <a:pt x="116" y="209"/>
                    </a:lnTo>
                    <a:lnTo>
                      <a:pt x="114" y="208"/>
                    </a:lnTo>
                    <a:lnTo>
                      <a:pt x="113" y="208"/>
                    </a:lnTo>
                    <a:lnTo>
                      <a:pt x="111" y="208"/>
                    </a:lnTo>
                    <a:lnTo>
                      <a:pt x="111" y="206"/>
                    </a:lnTo>
                    <a:lnTo>
                      <a:pt x="111" y="204"/>
                    </a:lnTo>
                    <a:lnTo>
                      <a:pt x="110" y="204"/>
                    </a:lnTo>
                    <a:lnTo>
                      <a:pt x="111" y="203"/>
                    </a:lnTo>
                    <a:lnTo>
                      <a:pt x="110" y="201"/>
                    </a:lnTo>
                    <a:lnTo>
                      <a:pt x="108" y="200"/>
                    </a:lnTo>
                    <a:lnTo>
                      <a:pt x="108" y="198"/>
                    </a:lnTo>
                    <a:lnTo>
                      <a:pt x="108" y="197"/>
                    </a:lnTo>
                    <a:lnTo>
                      <a:pt x="106" y="197"/>
                    </a:lnTo>
                    <a:lnTo>
                      <a:pt x="105" y="197"/>
                    </a:lnTo>
                    <a:lnTo>
                      <a:pt x="103" y="197"/>
                    </a:lnTo>
                    <a:lnTo>
                      <a:pt x="102" y="195"/>
                    </a:lnTo>
                    <a:lnTo>
                      <a:pt x="102" y="197"/>
                    </a:lnTo>
                    <a:lnTo>
                      <a:pt x="100" y="197"/>
                    </a:lnTo>
                    <a:lnTo>
                      <a:pt x="99" y="198"/>
                    </a:lnTo>
                    <a:lnTo>
                      <a:pt x="97" y="198"/>
                    </a:lnTo>
                    <a:lnTo>
                      <a:pt x="95" y="197"/>
                    </a:lnTo>
                    <a:lnTo>
                      <a:pt x="94" y="197"/>
                    </a:lnTo>
                    <a:lnTo>
                      <a:pt x="92" y="197"/>
                    </a:lnTo>
                    <a:lnTo>
                      <a:pt x="92" y="198"/>
                    </a:lnTo>
                    <a:lnTo>
                      <a:pt x="91" y="200"/>
                    </a:lnTo>
                    <a:lnTo>
                      <a:pt x="89" y="200"/>
                    </a:lnTo>
                    <a:lnTo>
                      <a:pt x="89" y="201"/>
                    </a:lnTo>
                    <a:lnTo>
                      <a:pt x="87" y="201"/>
                    </a:lnTo>
                    <a:lnTo>
                      <a:pt x="87" y="203"/>
                    </a:lnTo>
                    <a:lnTo>
                      <a:pt x="86" y="204"/>
                    </a:lnTo>
                    <a:lnTo>
                      <a:pt x="86" y="206"/>
                    </a:lnTo>
                    <a:lnTo>
                      <a:pt x="84" y="206"/>
                    </a:lnTo>
                    <a:lnTo>
                      <a:pt x="84" y="208"/>
                    </a:lnTo>
                    <a:lnTo>
                      <a:pt x="83" y="208"/>
                    </a:lnTo>
                    <a:lnTo>
                      <a:pt x="81" y="208"/>
                    </a:lnTo>
                    <a:lnTo>
                      <a:pt x="81" y="206"/>
                    </a:lnTo>
                    <a:lnTo>
                      <a:pt x="80" y="206"/>
                    </a:lnTo>
                    <a:lnTo>
                      <a:pt x="78" y="206"/>
                    </a:lnTo>
                    <a:lnTo>
                      <a:pt x="76" y="206"/>
                    </a:lnTo>
                    <a:lnTo>
                      <a:pt x="75" y="206"/>
                    </a:lnTo>
                    <a:lnTo>
                      <a:pt x="75" y="204"/>
                    </a:lnTo>
                    <a:lnTo>
                      <a:pt x="73" y="204"/>
                    </a:lnTo>
                    <a:lnTo>
                      <a:pt x="72" y="206"/>
                    </a:lnTo>
                    <a:lnTo>
                      <a:pt x="70" y="208"/>
                    </a:lnTo>
                    <a:lnTo>
                      <a:pt x="68" y="208"/>
                    </a:lnTo>
                    <a:lnTo>
                      <a:pt x="68" y="209"/>
                    </a:lnTo>
                    <a:lnTo>
                      <a:pt x="67" y="209"/>
                    </a:lnTo>
                    <a:lnTo>
                      <a:pt x="65" y="208"/>
                    </a:lnTo>
                    <a:lnTo>
                      <a:pt x="64" y="208"/>
                    </a:lnTo>
                    <a:lnTo>
                      <a:pt x="62" y="208"/>
                    </a:lnTo>
                    <a:lnTo>
                      <a:pt x="62" y="209"/>
                    </a:lnTo>
                    <a:lnTo>
                      <a:pt x="60" y="209"/>
                    </a:lnTo>
                    <a:lnTo>
                      <a:pt x="59" y="209"/>
                    </a:lnTo>
                    <a:lnTo>
                      <a:pt x="59" y="208"/>
                    </a:lnTo>
                    <a:lnTo>
                      <a:pt x="59" y="206"/>
                    </a:lnTo>
                    <a:lnTo>
                      <a:pt x="59" y="204"/>
                    </a:lnTo>
                    <a:lnTo>
                      <a:pt x="59" y="203"/>
                    </a:lnTo>
                    <a:lnTo>
                      <a:pt x="59" y="201"/>
                    </a:lnTo>
                    <a:lnTo>
                      <a:pt x="59" y="200"/>
                    </a:lnTo>
                    <a:lnTo>
                      <a:pt x="59" y="198"/>
                    </a:lnTo>
                    <a:lnTo>
                      <a:pt x="59" y="197"/>
                    </a:lnTo>
                    <a:lnTo>
                      <a:pt x="59" y="195"/>
                    </a:lnTo>
                    <a:lnTo>
                      <a:pt x="59" y="193"/>
                    </a:lnTo>
                    <a:lnTo>
                      <a:pt x="59" y="192"/>
                    </a:lnTo>
                    <a:lnTo>
                      <a:pt x="59" y="190"/>
                    </a:lnTo>
                    <a:lnTo>
                      <a:pt x="59" y="189"/>
                    </a:lnTo>
                    <a:lnTo>
                      <a:pt x="59" y="187"/>
                    </a:lnTo>
                    <a:lnTo>
                      <a:pt x="59" y="185"/>
                    </a:lnTo>
                    <a:lnTo>
                      <a:pt x="59" y="184"/>
                    </a:lnTo>
                    <a:lnTo>
                      <a:pt x="59" y="182"/>
                    </a:lnTo>
                    <a:lnTo>
                      <a:pt x="59" y="181"/>
                    </a:lnTo>
                    <a:lnTo>
                      <a:pt x="59" y="179"/>
                    </a:lnTo>
                    <a:lnTo>
                      <a:pt x="59" y="178"/>
                    </a:lnTo>
                    <a:lnTo>
                      <a:pt x="59" y="176"/>
                    </a:lnTo>
                    <a:lnTo>
                      <a:pt x="59" y="174"/>
                    </a:lnTo>
                    <a:lnTo>
                      <a:pt x="59" y="173"/>
                    </a:lnTo>
                    <a:lnTo>
                      <a:pt x="59" y="171"/>
                    </a:lnTo>
                    <a:lnTo>
                      <a:pt x="59" y="170"/>
                    </a:lnTo>
                    <a:lnTo>
                      <a:pt x="57" y="170"/>
                    </a:lnTo>
                    <a:lnTo>
                      <a:pt x="59" y="168"/>
                    </a:lnTo>
                    <a:lnTo>
                      <a:pt x="57" y="168"/>
                    </a:lnTo>
                    <a:lnTo>
                      <a:pt x="57" y="166"/>
                    </a:lnTo>
                    <a:lnTo>
                      <a:pt x="57" y="165"/>
                    </a:lnTo>
                    <a:lnTo>
                      <a:pt x="57" y="163"/>
                    </a:lnTo>
                    <a:lnTo>
                      <a:pt x="57" y="162"/>
                    </a:lnTo>
                    <a:lnTo>
                      <a:pt x="57" y="160"/>
                    </a:lnTo>
                    <a:lnTo>
                      <a:pt x="57" y="159"/>
                    </a:lnTo>
                    <a:lnTo>
                      <a:pt x="57" y="157"/>
                    </a:lnTo>
                    <a:lnTo>
                      <a:pt x="57" y="155"/>
                    </a:lnTo>
                    <a:lnTo>
                      <a:pt x="57" y="154"/>
                    </a:lnTo>
                    <a:lnTo>
                      <a:pt x="57" y="152"/>
                    </a:lnTo>
                    <a:lnTo>
                      <a:pt x="57" y="151"/>
                    </a:lnTo>
                    <a:lnTo>
                      <a:pt x="57" y="149"/>
                    </a:lnTo>
                    <a:lnTo>
                      <a:pt x="57" y="147"/>
                    </a:lnTo>
                    <a:lnTo>
                      <a:pt x="57" y="146"/>
                    </a:lnTo>
                    <a:lnTo>
                      <a:pt x="57" y="144"/>
                    </a:lnTo>
                    <a:lnTo>
                      <a:pt x="57" y="143"/>
                    </a:lnTo>
                    <a:lnTo>
                      <a:pt x="57" y="141"/>
                    </a:lnTo>
                    <a:lnTo>
                      <a:pt x="59" y="140"/>
                    </a:lnTo>
                    <a:lnTo>
                      <a:pt x="57" y="138"/>
                    </a:lnTo>
                    <a:lnTo>
                      <a:pt x="56" y="136"/>
                    </a:lnTo>
                    <a:lnTo>
                      <a:pt x="54" y="136"/>
                    </a:lnTo>
                    <a:lnTo>
                      <a:pt x="54" y="135"/>
                    </a:lnTo>
                    <a:lnTo>
                      <a:pt x="53" y="135"/>
                    </a:lnTo>
                    <a:lnTo>
                      <a:pt x="51" y="135"/>
                    </a:lnTo>
                    <a:lnTo>
                      <a:pt x="49" y="133"/>
                    </a:lnTo>
                    <a:lnTo>
                      <a:pt x="49" y="132"/>
                    </a:lnTo>
                    <a:lnTo>
                      <a:pt x="49" y="130"/>
                    </a:lnTo>
                    <a:lnTo>
                      <a:pt x="48" y="130"/>
                    </a:lnTo>
                    <a:lnTo>
                      <a:pt x="46" y="128"/>
                    </a:lnTo>
                    <a:lnTo>
                      <a:pt x="45" y="128"/>
                    </a:lnTo>
                    <a:lnTo>
                      <a:pt x="45" y="127"/>
                    </a:lnTo>
                    <a:lnTo>
                      <a:pt x="43" y="127"/>
                    </a:lnTo>
                    <a:lnTo>
                      <a:pt x="43" y="125"/>
                    </a:lnTo>
                    <a:lnTo>
                      <a:pt x="41" y="125"/>
                    </a:lnTo>
                    <a:lnTo>
                      <a:pt x="40" y="124"/>
                    </a:lnTo>
                    <a:lnTo>
                      <a:pt x="38" y="124"/>
                    </a:lnTo>
                    <a:lnTo>
                      <a:pt x="38" y="122"/>
                    </a:lnTo>
                    <a:lnTo>
                      <a:pt x="37" y="122"/>
                    </a:lnTo>
                    <a:lnTo>
                      <a:pt x="35" y="121"/>
                    </a:lnTo>
                    <a:lnTo>
                      <a:pt x="34" y="121"/>
                    </a:lnTo>
                    <a:lnTo>
                      <a:pt x="34" y="119"/>
                    </a:lnTo>
                    <a:lnTo>
                      <a:pt x="32" y="119"/>
                    </a:lnTo>
                    <a:lnTo>
                      <a:pt x="30" y="117"/>
                    </a:lnTo>
                    <a:lnTo>
                      <a:pt x="29" y="117"/>
                    </a:lnTo>
                    <a:lnTo>
                      <a:pt x="27" y="116"/>
                    </a:lnTo>
                    <a:lnTo>
                      <a:pt x="26" y="116"/>
                    </a:lnTo>
                    <a:lnTo>
                      <a:pt x="26" y="114"/>
                    </a:lnTo>
                    <a:lnTo>
                      <a:pt x="24" y="114"/>
                    </a:lnTo>
                    <a:lnTo>
                      <a:pt x="24" y="113"/>
                    </a:lnTo>
                    <a:lnTo>
                      <a:pt x="22" y="113"/>
                    </a:lnTo>
                    <a:lnTo>
                      <a:pt x="21" y="111"/>
                    </a:lnTo>
                    <a:lnTo>
                      <a:pt x="19" y="111"/>
                    </a:lnTo>
                    <a:lnTo>
                      <a:pt x="18" y="111"/>
                    </a:lnTo>
                    <a:lnTo>
                      <a:pt x="16" y="111"/>
                    </a:lnTo>
                    <a:lnTo>
                      <a:pt x="16" y="109"/>
                    </a:lnTo>
                    <a:lnTo>
                      <a:pt x="15" y="109"/>
                    </a:lnTo>
                    <a:lnTo>
                      <a:pt x="13" y="108"/>
                    </a:lnTo>
                    <a:lnTo>
                      <a:pt x="11" y="108"/>
                    </a:lnTo>
                    <a:lnTo>
                      <a:pt x="11" y="106"/>
                    </a:lnTo>
                    <a:lnTo>
                      <a:pt x="10" y="106"/>
                    </a:lnTo>
                    <a:lnTo>
                      <a:pt x="8" y="105"/>
                    </a:lnTo>
                    <a:lnTo>
                      <a:pt x="7" y="105"/>
                    </a:lnTo>
                    <a:lnTo>
                      <a:pt x="7" y="103"/>
                    </a:lnTo>
                    <a:lnTo>
                      <a:pt x="5" y="103"/>
                    </a:lnTo>
                    <a:lnTo>
                      <a:pt x="3" y="103"/>
                    </a:lnTo>
                    <a:lnTo>
                      <a:pt x="3" y="102"/>
                    </a:lnTo>
                    <a:lnTo>
                      <a:pt x="3" y="100"/>
                    </a:lnTo>
                    <a:lnTo>
                      <a:pt x="5" y="98"/>
                    </a:lnTo>
                    <a:lnTo>
                      <a:pt x="5" y="97"/>
                    </a:lnTo>
                    <a:lnTo>
                      <a:pt x="3" y="95"/>
                    </a:lnTo>
                    <a:lnTo>
                      <a:pt x="3" y="94"/>
                    </a:lnTo>
                    <a:lnTo>
                      <a:pt x="5" y="92"/>
                    </a:lnTo>
                    <a:lnTo>
                      <a:pt x="5" y="90"/>
                    </a:lnTo>
                    <a:lnTo>
                      <a:pt x="3" y="89"/>
                    </a:lnTo>
                    <a:lnTo>
                      <a:pt x="3" y="87"/>
                    </a:lnTo>
                    <a:lnTo>
                      <a:pt x="2" y="87"/>
                    </a:lnTo>
                    <a:lnTo>
                      <a:pt x="2" y="86"/>
                    </a:lnTo>
                    <a:lnTo>
                      <a:pt x="2" y="84"/>
                    </a:lnTo>
                    <a:lnTo>
                      <a:pt x="2" y="82"/>
                    </a:lnTo>
                    <a:lnTo>
                      <a:pt x="2" y="81"/>
                    </a:lnTo>
                    <a:lnTo>
                      <a:pt x="3" y="79"/>
                    </a:lnTo>
                    <a:lnTo>
                      <a:pt x="3" y="78"/>
                    </a:lnTo>
                    <a:lnTo>
                      <a:pt x="3" y="76"/>
                    </a:lnTo>
                    <a:lnTo>
                      <a:pt x="2" y="76"/>
                    </a:lnTo>
                    <a:lnTo>
                      <a:pt x="2" y="75"/>
                    </a:lnTo>
                    <a:lnTo>
                      <a:pt x="2" y="73"/>
                    </a:lnTo>
                    <a:lnTo>
                      <a:pt x="2" y="71"/>
                    </a:lnTo>
                    <a:lnTo>
                      <a:pt x="2" y="70"/>
                    </a:lnTo>
                    <a:lnTo>
                      <a:pt x="2" y="68"/>
                    </a:lnTo>
                    <a:lnTo>
                      <a:pt x="2" y="67"/>
                    </a:lnTo>
                    <a:lnTo>
                      <a:pt x="3" y="67"/>
                    </a:lnTo>
                    <a:lnTo>
                      <a:pt x="3" y="65"/>
                    </a:lnTo>
                    <a:lnTo>
                      <a:pt x="2" y="63"/>
                    </a:lnTo>
                    <a:lnTo>
                      <a:pt x="2" y="62"/>
                    </a:lnTo>
                    <a:lnTo>
                      <a:pt x="0" y="60"/>
                    </a:lnTo>
                    <a:lnTo>
                      <a:pt x="2" y="60"/>
                    </a:lnTo>
                    <a:lnTo>
                      <a:pt x="2" y="59"/>
                    </a:lnTo>
                    <a:lnTo>
                      <a:pt x="2" y="57"/>
                    </a:lnTo>
                    <a:lnTo>
                      <a:pt x="3" y="57"/>
                    </a:lnTo>
                    <a:lnTo>
                      <a:pt x="3" y="56"/>
                    </a:lnTo>
                    <a:lnTo>
                      <a:pt x="3" y="54"/>
                    </a:lnTo>
                    <a:lnTo>
                      <a:pt x="5" y="54"/>
                    </a:lnTo>
                    <a:lnTo>
                      <a:pt x="5" y="52"/>
                    </a:lnTo>
                    <a:lnTo>
                      <a:pt x="5" y="51"/>
                    </a:lnTo>
                    <a:lnTo>
                      <a:pt x="7" y="51"/>
                    </a:lnTo>
                    <a:lnTo>
                      <a:pt x="7" y="49"/>
                    </a:lnTo>
                    <a:lnTo>
                      <a:pt x="8" y="48"/>
                    </a:lnTo>
                    <a:lnTo>
                      <a:pt x="8" y="46"/>
                    </a:lnTo>
                    <a:lnTo>
                      <a:pt x="10" y="46"/>
                    </a:lnTo>
                    <a:lnTo>
                      <a:pt x="10" y="44"/>
                    </a:lnTo>
                    <a:lnTo>
                      <a:pt x="11" y="44"/>
                    </a:lnTo>
                    <a:lnTo>
                      <a:pt x="13" y="44"/>
                    </a:lnTo>
                    <a:lnTo>
                      <a:pt x="15" y="44"/>
                    </a:lnTo>
                    <a:lnTo>
                      <a:pt x="16" y="44"/>
                    </a:lnTo>
                    <a:lnTo>
                      <a:pt x="18" y="44"/>
                    </a:lnTo>
                    <a:lnTo>
                      <a:pt x="19" y="43"/>
                    </a:lnTo>
                    <a:lnTo>
                      <a:pt x="21" y="43"/>
                    </a:lnTo>
                    <a:lnTo>
                      <a:pt x="22" y="43"/>
                    </a:lnTo>
                    <a:lnTo>
                      <a:pt x="24" y="43"/>
                    </a:lnTo>
                    <a:lnTo>
                      <a:pt x="26" y="43"/>
                    </a:lnTo>
                    <a:lnTo>
                      <a:pt x="27" y="43"/>
                    </a:lnTo>
                    <a:lnTo>
                      <a:pt x="29" y="43"/>
                    </a:lnTo>
                    <a:lnTo>
                      <a:pt x="30" y="43"/>
                    </a:lnTo>
                    <a:lnTo>
                      <a:pt x="32" y="43"/>
                    </a:lnTo>
                    <a:lnTo>
                      <a:pt x="34" y="43"/>
                    </a:lnTo>
                    <a:lnTo>
                      <a:pt x="34" y="41"/>
                    </a:lnTo>
                    <a:lnTo>
                      <a:pt x="35" y="41"/>
                    </a:lnTo>
                    <a:lnTo>
                      <a:pt x="37" y="41"/>
                    </a:lnTo>
                    <a:lnTo>
                      <a:pt x="38" y="41"/>
                    </a:lnTo>
                    <a:lnTo>
                      <a:pt x="38" y="40"/>
                    </a:lnTo>
                    <a:lnTo>
                      <a:pt x="40" y="40"/>
                    </a:lnTo>
                    <a:lnTo>
                      <a:pt x="41" y="38"/>
                    </a:lnTo>
                    <a:lnTo>
                      <a:pt x="43" y="37"/>
                    </a:lnTo>
                    <a:lnTo>
                      <a:pt x="45" y="37"/>
                    </a:lnTo>
                    <a:lnTo>
                      <a:pt x="45" y="35"/>
                    </a:lnTo>
                    <a:lnTo>
                      <a:pt x="46" y="33"/>
                    </a:lnTo>
                    <a:lnTo>
                      <a:pt x="48" y="33"/>
                    </a:lnTo>
                    <a:lnTo>
                      <a:pt x="48" y="32"/>
                    </a:lnTo>
                    <a:lnTo>
                      <a:pt x="49" y="32"/>
                    </a:lnTo>
                    <a:lnTo>
                      <a:pt x="49" y="30"/>
                    </a:lnTo>
                    <a:lnTo>
                      <a:pt x="51" y="30"/>
                    </a:lnTo>
                    <a:lnTo>
                      <a:pt x="51" y="29"/>
                    </a:lnTo>
                    <a:lnTo>
                      <a:pt x="53" y="29"/>
                    </a:lnTo>
                    <a:lnTo>
                      <a:pt x="53" y="27"/>
                    </a:lnTo>
                    <a:lnTo>
                      <a:pt x="53" y="25"/>
                    </a:lnTo>
                    <a:lnTo>
                      <a:pt x="54" y="24"/>
                    </a:lnTo>
                    <a:lnTo>
                      <a:pt x="54" y="22"/>
                    </a:lnTo>
                    <a:lnTo>
                      <a:pt x="56" y="22"/>
                    </a:lnTo>
                    <a:lnTo>
                      <a:pt x="57" y="24"/>
                    </a:lnTo>
                    <a:lnTo>
                      <a:pt x="59" y="24"/>
                    </a:lnTo>
                    <a:lnTo>
                      <a:pt x="60" y="24"/>
                    </a:lnTo>
                    <a:lnTo>
                      <a:pt x="60" y="22"/>
                    </a:lnTo>
                    <a:lnTo>
                      <a:pt x="62" y="22"/>
                    </a:lnTo>
                    <a:lnTo>
                      <a:pt x="64" y="21"/>
                    </a:lnTo>
                    <a:lnTo>
                      <a:pt x="64" y="19"/>
                    </a:lnTo>
                    <a:lnTo>
                      <a:pt x="65" y="19"/>
                    </a:lnTo>
                    <a:lnTo>
                      <a:pt x="65" y="18"/>
                    </a:lnTo>
                    <a:lnTo>
                      <a:pt x="67" y="18"/>
                    </a:lnTo>
                    <a:lnTo>
                      <a:pt x="67" y="16"/>
                    </a:lnTo>
                    <a:lnTo>
                      <a:pt x="68" y="14"/>
                    </a:lnTo>
                    <a:lnTo>
                      <a:pt x="68" y="13"/>
                    </a:lnTo>
                    <a:lnTo>
                      <a:pt x="70" y="13"/>
                    </a:lnTo>
                    <a:lnTo>
                      <a:pt x="70" y="11"/>
                    </a:lnTo>
                    <a:lnTo>
                      <a:pt x="72" y="10"/>
                    </a:lnTo>
                    <a:lnTo>
                      <a:pt x="73" y="8"/>
                    </a:lnTo>
                    <a:lnTo>
                      <a:pt x="73" y="6"/>
                    </a:lnTo>
                    <a:lnTo>
                      <a:pt x="75" y="6"/>
                    </a:lnTo>
                    <a:lnTo>
                      <a:pt x="76" y="5"/>
                    </a:lnTo>
                    <a:lnTo>
                      <a:pt x="78" y="5"/>
                    </a:lnTo>
                    <a:lnTo>
                      <a:pt x="80" y="5"/>
                    </a:lnTo>
                    <a:lnTo>
                      <a:pt x="81" y="5"/>
                    </a:lnTo>
                    <a:lnTo>
                      <a:pt x="81" y="6"/>
                    </a:lnTo>
                    <a:lnTo>
                      <a:pt x="83" y="6"/>
                    </a:lnTo>
                    <a:lnTo>
                      <a:pt x="84" y="5"/>
                    </a:lnTo>
                    <a:lnTo>
                      <a:pt x="86" y="3"/>
                    </a:lnTo>
                    <a:lnTo>
                      <a:pt x="87" y="2"/>
                    </a:lnTo>
                    <a:lnTo>
                      <a:pt x="89" y="0"/>
                    </a:lnTo>
                    <a:lnTo>
                      <a:pt x="91" y="2"/>
                    </a:lnTo>
                    <a:close/>
                  </a:path>
                </a:pathLst>
              </a:custGeom>
              <a:solidFill>
                <a:srgbClr val="E1E1E1"/>
              </a:solidFill>
              <a:ln w="4763">
                <a:solidFill>
                  <a:srgbClr val="6E6E6E"/>
                </a:solidFill>
                <a:prstDash val="solid"/>
                <a:round/>
                <a:headEnd/>
                <a:tailEnd/>
              </a:ln>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47" name="Freeform 27"/>
              <p:cNvSpPr>
                <a:spLocks noEditPoints="1"/>
              </p:cNvSpPr>
              <p:nvPr/>
            </p:nvSpPr>
            <p:spPr bwMode="auto">
              <a:xfrm>
                <a:off x="5196" y="1891"/>
                <a:ext cx="95" cy="108"/>
              </a:xfrm>
              <a:custGeom>
                <a:avLst/>
                <a:gdLst>
                  <a:gd name="T0" fmla="*/ 9 w 95"/>
                  <a:gd name="T1" fmla="*/ 86 h 108"/>
                  <a:gd name="T2" fmla="*/ 14 w 95"/>
                  <a:gd name="T3" fmla="*/ 89 h 108"/>
                  <a:gd name="T4" fmla="*/ 17 w 95"/>
                  <a:gd name="T5" fmla="*/ 94 h 108"/>
                  <a:gd name="T6" fmla="*/ 22 w 95"/>
                  <a:gd name="T7" fmla="*/ 97 h 108"/>
                  <a:gd name="T8" fmla="*/ 31 w 95"/>
                  <a:gd name="T9" fmla="*/ 99 h 108"/>
                  <a:gd name="T10" fmla="*/ 31 w 95"/>
                  <a:gd name="T11" fmla="*/ 100 h 108"/>
                  <a:gd name="T12" fmla="*/ 23 w 95"/>
                  <a:gd name="T13" fmla="*/ 107 h 108"/>
                  <a:gd name="T14" fmla="*/ 17 w 95"/>
                  <a:gd name="T15" fmla="*/ 102 h 108"/>
                  <a:gd name="T16" fmla="*/ 11 w 95"/>
                  <a:gd name="T17" fmla="*/ 97 h 108"/>
                  <a:gd name="T18" fmla="*/ 7 w 95"/>
                  <a:gd name="T19" fmla="*/ 89 h 108"/>
                  <a:gd name="T20" fmla="*/ 0 w 95"/>
                  <a:gd name="T21" fmla="*/ 80 h 108"/>
                  <a:gd name="T22" fmla="*/ 17 w 95"/>
                  <a:gd name="T23" fmla="*/ 70 h 108"/>
                  <a:gd name="T24" fmla="*/ 17 w 95"/>
                  <a:gd name="T25" fmla="*/ 75 h 108"/>
                  <a:gd name="T26" fmla="*/ 6 w 95"/>
                  <a:gd name="T27" fmla="*/ 72 h 108"/>
                  <a:gd name="T28" fmla="*/ 14 w 95"/>
                  <a:gd name="T29" fmla="*/ 27 h 108"/>
                  <a:gd name="T30" fmla="*/ 11 w 95"/>
                  <a:gd name="T31" fmla="*/ 32 h 108"/>
                  <a:gd name="T32" fmla="*/ 72 w 95"/>
                  <a:gd name="T33" fmla="*/ 5 h 108"/>
                  <a:gd name="T34" fmla="*/ 74 w 95"/>
                  <a:gd name="T35" fmla="*/ 18 h 108"/>
                  <a:gd name="T36" fmla="*/ 87 w 95"/>
                  <a:gd name="T37" fmla="*/ 11 h 108"/>
                  <a:gd name="T38" fmla="*/ 93 w 95"/>
                  <a:gd name="T39" fmla="*/ 16 h 108"/>
                  <a:gd name="T40" fmla="*/ 90 w 95"/>
                  <a:gd name="T41" fmla="*/ 30 h 108"/>
                  <a:gd name="T42" fmla="*/ 88 w 95"/>
                  <a:gd name="T43" fmla="*/ 37 h 108"/>
                  <a:gd name="T44" fmla="*/ 88 w 95"/>
                  <a:gd name="T45" fmla="*/ 42 h 108"/>
                  <a:gd name="T46" fmla="*/ 82 w 95"/>
                  <a:gd name="T47" fmla="*/ 53 h 108"/>
                  <a:gd name="T48" fmla="*/ 77 w 95"/>
                  <a:gd name="T49" fmla="*/ 59 h 108"/>
                  <a:gd name="T50" fmla="*/ 79 w 95"/>
                  <a:gd name="T51" fmla="*/ 68 h 108"/>
                  <a:gd name="T52" fmla="*/ 74 w 95"/>
                  <a:gd name="T53" fmla="*/ 72 h 108"/>
                  <a:gd name="T54" fmla="*/ 68 w 95"/>
                  <a:gd name="T55" fmla="*/ 80 h 108"/>
                  <a:gd name="T56" fmla="*/ 68 w 95"/>
                  <a:gd name="T57" fmla="*/ 81 h 108"/>
                  <a:gd name="T58" fmla="*/ 74 w 95"/>
                  <a:gd name="T59" fmla="*/ 76 h 108"/>
                  <a:gd name="T60" fmla="*/ 71 w 95"/>
                  <a:gd name="T61" fmla="*/ 84 h 108"/>
                  <a:gd name="T62" fmla="*/ 63 w 95"/>
                  <a:gd name="T63" fmla="*/ 94 h 108"/>
                  <a:gd name="T64" fmla="*/ 55 w 95"/>
                  <a:gd name="T65" fmla="*/ 97 h 108"/>
                  <a:gd name="T66" fmla="*/ 52 w 95"/>
                  <a:gd name="T67" fmla="*/ 105 h 108"/>
                  <a:gd name="T68" fmla="*/ 52 w 95"/>
                  <a:gd name="T69" fmla="*/ 97 h 108"/>
                  <a:gd name="T70" fmla="*/ 53 w 95"/>
                  <a:gd name="T71" fmla="*/ 94 h 108"/>
                  <a:gd name="T72" fmla="*/ 47 w 95"/>
                  <a:gd name="T73" fmla="*/ 92 h 108"/>
                  <a:gd name="T74" fmla="*/ 45 w 95"/>
                  <a:gd name="T75" fmla="*/ 99 h 108"/>
                  <a:gd name="T76" fmla="*/ 36 w 95"/>
                  <a:gd name="T77" fmla="*/ 91 h 108"/>
                  <a:gd name="T78" fmla="*/ 23 w 95"/>
                  <a:gd name="T79" fmla="*/ 89 h 108"/>
                  <a:gd name="T80" fmla="*/ 25 w 95"/>
                  <a:gd name="T81" fmla="*/ 76 h 108"/>
                  <a:gd name="T82" fmla="*/ 25 w 95"/>
                  <a:gd name="T83" fmla="*/ 65 h 108"/>
                  <a:gd name="T84" fmla="*/ 28 w 95"/>
                  <a:gd name="T85" fmla="*/ 54 h 108"/>
                  <a:gd name="T86" fmla="*/ 36 w 95"/>
                  <a:gd name="T87" fmla="*/ 61 h 108"/>
                  <a:gd name="T88" fmla="*/ 34 w 95"/>
                  <a:gd name="T89" fmla="*/ 54 h 108"/>
                  <a:gd name="T90" fmla="*/ 30 w 95"/>
                  <a:gd name="T91" fmla="*/ 45 h 108"/>
                  <a:gd name="T92" fmla="*/ 39 w 95"/>
                  <a:gd name="T93" fmla="*/ 43 h 108"/>
                  <a:gd name="T94" fmla="*/ 45 w 95"/>
                  <a:gd name="T95" fmla="*/ 42 h 108"/>
                  <a:gd name="T96" fmla="*/ 39 w 95"/>
                  <a:gd name="T97" fmla="*/ 34 h 108"/>
                  <a:gd name="T98" fmla="*/ 50 w 95"/>
                  <a:gd name="T99" fmla="*/ 30 h 108"/>
                  <a:gd name="T100" fmla="*/ 61 w 95"/>
                  <a:gd name="T101" fmla="*/ 34 h 108"/>
                  <a:gd name="T102" fmla="*/ 57 w 95"/>
                  <a:gd name="T103" fmla="*/ 27 h 108"/>
                  <a:gd name="T104" fmla="*/ 49 w 95"/>
                  <a:gd name="T105" fmla="*/ 24 h 108"/>
                  <a:gd name="T106" fmla="*/ 36 w 95"/>
                  <a:gd name="T107" fmla="*/ 23 h 108"/>
                  <a:gd name="T108" fmla="*/ 28 w 95"/>
                  <a:gd name="T109" fmla="*/ 16 h 108"/>
                  <a:gd name="T110" fmla="*/ 31 w 95"/>
                  <a:gd name="T111" fmla="*/ 15 h 108"/>
                  <a:gd name="T112" fmla="*/ 41 w 95"/>
                  <a:gd name="T113" fmla="*/ 16 h 108"/>
                  <a:gd name="T114" fmla="*/ 52 w 95"/>
                  <a:gd name="T115" fmla="*/ 16 h 108"/>
                  <a:gd name="T116" fmla="*/ 57 w 95"/>
                  <a:gd name="T117" fmla="*/ 16 h 108"/>
                  <a:gd name="T118" fmla="*/ 60 w 95"/>
                  <a:gd name="T119" fmla="*/ 8 h 108"/>
                  <a:gd name="T120" fmla="*/ 58 w 95"/>
                  <a:gd name="T121" fmla="*/ 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108">
                    <a:moveTo>
                      <a:pt x="34" y="103"/>
                    </a:moveTo>
                    <a:lnTo>
                      <a:pt x="34" y="105"/>
                    </a:lnTo>
                    <a:lnTo>
                      <a:pt x="33" y="105"/>
                    </a:lnTo>
                    <a:lnTo>
                      <a:pt x="33" y="103"/>
                    </a:lnTo>
                    <a:lnTo>
                      <a:pt x="34" y="103"/>
                    </a:lnTo>
                    <a:close/>
                    <a:moveTo>
                      <a:pt x="6" y="84"/>
                    </a:moveTo>
                    <a:lnTo>
                      <a:pt x="7" y="84"/>
                    </a:lnTo>
                    <a:lnTo>
                      <a:pt x="7" y="86"/>
                    </a:lnTo>
                    <a:lnTo>
                      <a:pt x="9" y="86"/>
                    </a:lnTo>
                    <a:lnTo>
                      <a:pt x="7" y="86"/>
                    </a:lnTo>
                    <a:lnTo>
                      <a:pt x="9" y="86"/>
                    </a:lnTo>
                    <a:lnTo>
                      <a:pt x="9" y="84"/>
                    </a:lnTo>
                    <a:lnTo>
                      <a:pt x="7" y="84"/>
                    </a:lnTo>
                    <a:lnTo>
                      <a:pt x="9" y="84"/>
                    </a:lnTo>
                    <a:lnTo>
                      <a:pt x="11" y="84"/>
                    </a:lnTo>
                    <a:lnTo>
                      <a:pt x="11" y="86"/>
                    </a:lnTo>
                    <a:lnTo>
                      <a:pt x="11" y="84"/>
                    </a:lnTo>
                    <a:lnTo>
                      <a:pt x="12" y="84"/>
                    </a:lnTo>
                    <a:lnTo>
                      <a:pt x="12" y="86"/>
                    </a:lnTo>
                    <a:lnTo>
                      <a:pt x="12" y="87"/>
                    </a:lnTo>
                    <a:lnTo>
                      <a:pt x="14" y="87"/>
                    </a:lnTo>
                    <a:lnTo>
                      <a:pt x="14" y="89"/>
                    </a:lnTo>
                    <a:lnTo>
                      <a:pt x="14" y="91"/>
                    </a:lnTo>
                    <a:lnTo>
                      <a:pt x="12" y="91"/>
                    </a:lnTo>
                    <a:lnTo>
                      <a:pt x="12" y="92"/>
                    </a:lnTo>
                    <a:lnTo>
                      <a:pt x="14" y="92"/>
                    </a:lnTo>
                    <a:lnTo>
                      <a:pt x="14" y="91"/>
                    </a:lnTo>
                    <a:lnTo>
                      <a:pt x="15" y="91"/>
                    </a:lnTo>
                    <a:lnTo>
                      <a:pt x="17" y="91"/>
                    </a:lnTo>
                    <a:lnTo>
                      <a:pt x="17" y="89"/>
                    </a:lnTo>
                    <a:lnTo>
                      <a:pt x="17" y="91"/>
                    </a:lnTo>
                    <a:lnTo>
                      <a:pt x="17" y="92"/>
                    </a:lnTo>
                    <a:lnTo>
                      <a:pt x="17" y="94"/>
                    </a:lnTo>
                    <a:lnTo>
                      <a:pt x="15" y="94"/>
                    </a:lnTo>
                    <a:lnTo>
                      <a:pt x="15" y="95"/>
                    </a:lnTo>
                    <a:lnTo>
                      <a:pt x="17" y="95"/>
                    </a:lnTo>
                    <a:lnTo>
                      <a:pt x="17" y="97"/>
                    </a:lnTo>
                    <a:lnTo>
                      <a:pt x="19" y="97"/>
                    </a:lnTo>
                    <a:lnTo>
                      <a:pt x="19" y="95"/>
                    </a:lnTo>
                    <a:lnTo>
                      <a:pt x="19" y="94"/>
                    </a:lnTo>
                    <a:lnTo>
                      <a:pt x="20" y="94"/>
                    </a:lnTo>
                    <a:lnTo>
                      <a:pt x="20" y="95"/>
                    </a:lnTo>
                    <a:lnTo>
                      <a:pt x="22" y="95"/>
                    </a:lnTo>
                    <a:lnTo>
                      <a:pt x="22" y="97"/>
                    </a:lnTo>
                    <a:lnTo>
                      <a:pt x="22" y="95"/>
                    </a:lnTo>
                    <a:lnTo>
                      <a:pt x="23" y="95"/>
                    </a:lnTo>
                    <a:lnTo>
                      <a:pt x="23" y="97"/>
                    </a:lnTo>
                    <a:lnTo>
                      <a:pt x="23" y="95"/>
                    </a:lnTo>
                    <a:lnTo>
                      <a:pt x="25" y="95"/>
                    </a:lnTo>
                    <a:lnTo>
                      <a:pt x="26" y="95"/>
                    </a:lnTo>
                    <a:lnTo>
                      <a:pt x="26" y="97"/>
                    </a:lnTo>
                    <a:lnTo>
                      <a:pt x="28" y="97"/>
                    </a:lnTo>
                    <a:lnTo>
                      <a:pt x="30" y="97"/>
                    </a:lnTo>
                    <a:lnTo>
                      <a:pt x="31" y="97"/>
                    </a:lnTo>
                    <a:lnTo>
                      <a:pt x="31" y="99"/>
                    </a:lnTo>
                    <a:lnTo>
                      <a:pt x="33" y="99"/>
                    </a:lnTo>
                    <a:lnTo>
                      <a:pt x="33" y="100"/>
                    </a:lnTo>
                    <a:lnTo>
                      <a:pt x="33" y="102"/>
                    </a:lnTo>
                    <a:lnTo>
                      <a:pt x="34" y="102"/>
                    </a:lnTo>
                    <a:lnTo>
                      <a:pt x="33" y="102"/>
                    </a:lnTo>
                    <a:lnTo>
                      <a:pt x="34" y="102"/>
                    </a:lnTo>
                    <a:lnTo>
                      <a:pt x="34" y="103"/>
                    </a:lnTo>
                    <a:lnTo>
                      <a:pt x="33" y="103"/>
                    </a:lnTo>
                    <a:lnTo>
                      <a:pt x="33" y="102"/>
                    </a:lnTo>
                    <a:lnTo>
                      <a:pt x="31" y="102"/>
                    </a:lnTo>
                    <a:lnTo>
                      <a:pt x="31" y="100"/>
                    </a:lnTo>
                    <a:lnTo>
                      <a:pt x="30" y="100"/>
                    </a:lnTo>
                    <a:lnTo>
                      <a:pt x="30" y="102"/>
                    </a:lnTo>
                    <a:lnTo>
                      <a:pt x="28" y="102"/>
                    </a:lnTo>
                    <a:lnTo>
                      <a:pt x="28" y="103"/>
                    </a:lnTo>
                    <a:lnTo>
                      <a:pt x="28" y="105"/>
                    </a:lnTo>
                    <a:lnTo>
                      <a:pt x="28" y="107"/>
                    </a:lnTo>
                    <a:lnTo>
                      <a:pt x="28" y="108"/>
                    </a:lnTo>
                    <a:lnTo>
                      <a:pt x="26" y="108"/>
                    </a:lnTo>
                    <a:lnTo>
                      <a:pt x="25" y="108"/>
                    </a:lnTo>
                    <a:lnTo>
                      <a:pt x="25" y="107"/>
                    </a:lnTo>
                    <a:lnTo>
                      <a:pt x="23" y="107"/>
                    </a:lnTo>
                    <a:lnTo>
                      <a:pt x="22" y="107"/>
                    </a:lnTo>
                    <a:lnTo>
                      <a:pt x="22" y="105"/>
                    </a:lnTo>
                    <a:lnTo>
                      <a:pt x="22" y="103"/>
                    </a:lnTo>
                    <a:lnTo>
                      <a:pt x="22" y="102"/>
                    </a:lnTo>
                    <a:lnTo>
                      <a:pt x="20" y="102"/>
                    </a:lnTo>
                    <a:lnTo>
                      <a:pt x="19" y="102"/>
                    </a:lnTo>
                    <a:lnTo>
                      <a:pt x="17" y="102"/>
                    </a:lnTo>
                    <a:lnTo>
                      <a:pt x="17" y="103"/>
                    </a:lnTo>
                    <a:lnTo>
                      <a:pt x="17" y="102"/>
                    </a:lnTo>
                    <a:lnTo>
                      <a:pt x="15" y="102"/>
                    </a:lnTo>
                    <a:lnTo>
                      <a:pt x="17" y="102"/>
                    </a:lnTo>
                    <a:lnTo>
                      <a:pt x="17" y="100"/>
                    </a:lnTo>
                    <a:lnTo>
                      <a:pt x="15" y="100"/>
                    </a:lnTo>
                    <a:lnTo>
                      <a:pt x="15" y="99"/>
                    </a:lnTo>
                    <a:lnTo>
                      <a:pt x="14" y="99"/>
                    </a:lnTo>
                    <a:lnTo>
                      <a:pt x="14" y="100"/>
                    </a:lnTo>
                    <a:lnTo>
                      <a:pt x="12" y="100"/>
                    </a:lnTo>
                    <a:lnTo>
                      <a:pt x="12" y="99"/>
                    </a:lnTo>
                    <a:lnTo>
                      <a:pt x="12" y="97"/>
                    </a:lnTo>
                    <a:lnTo>
                      <a:pt x="11" y="97"/>
                    </a:lnTo>
                    <a:lnTo>
                      <a:pt x="12" y="97"/>
                    </a:lnTo>
                    <a:lnTo>
                      <a:pt x="11" y="97"/>
                    </a:lnTo>
                    <a:lnTo>
                      <a:pt x="11" y="95"/>
                    </a:lnTo>
                    <a:lnTo>
                      <a:pt x="12" y="95"/>
                    </a:lnTo>
                    <a:lnTo>
                      <a:pt x="11" y="95"/>
                    </a:lnTo>
                    <a:lnTo>
                      <a:pt x="11" y="94"/>
                    </a:lnTo>
                    <a:lnTo>
                      <a:pt x="11" y="92"/>
                    </a:lnTo>
                    <a:lnTo>
                      <a:pt x="9" y="92"/>
                    </a:lnTo>
                    <a:lnTo>
                      <a:pt x="9" y="94"/>
                    </a:lnTo>
                    <a:lnTo>
                      <a:pt x="7" y="94"/>
                    </a:lnTo>
                    <a:lnTo>
                      <a:pt x="7" y="92"/>
                    </a:lnTo>
                    <a:lnTo>
                      <a:pt x="7" y="91"/>
                    </a:lnTo>
                    <a:lnTo>
                      <a:pt x="7" y="89"/>
                    </a:lnTo>
                    <a:lnTo>
                      <a:pt x="6" y="89"/>
                    </a:lnTo>
                    <a:lnTo>
                      <a:pt x="6" y="87"/>
                    </a:lnTo>
                    <a:lnTo>
                      <a:pt x="4" y="87"/>
                    </a:lnTo>
                    <a:lnTo>
                      <a:pt x="3" y="87"/>
                    </a:lnTo>
                    <a:lnTo>
                      <a:pt x="3" y="86"/>
                    </a:lnTo>
                    <a:lnTo>
                      <a:pt x="1" y="86"/>
                    </a:lnTo>
                    <a:lnTo>
                      <a:pt x="1" y="84"/>
                    </a:lnTo>
                    <a:lnTo>
                      <a:pt x="3" y="84"/>
                    </a:lnTo>
                    <a:lnTo>
                      <a:pt x="4" y="84"/>
                    </a:lnTo>
                    <a:lnTo>
                      <a:pt x="6" y="84"/>
                    </a:lnTo>
                    <a:close/>
                    <a:moveTo>
                      <a:pt x="0" y="80"/>
                    </a:moveTo>
                    <a:lnTo>
                      <a:pt x="1" y="80"/>
                    </a:lnTo>
                    <a:lnTo>
                      <a:pt x="1" y="81"/>
                    </a:lnTo>
                    <a:lnTo>
                      <a:pt x="3" y="81"/>
                    </a:lnTo>
                    <a:lnTo>
                      <a:pt x="3" y="83"/>
                    </a:lnTo>
                    <a:lnTo>
                      <a:pt x="1" y="83"/>
                    </a:lnTo>
                    <a:lnTo>
                      <a:pt x="1" y="84"/>
                    </a:lnTo>
                    <a:lnTo>
                      <a:pt x="1" y="83"/>
                    </a:lnTo>
                    <a:lnTo>
                      <a:pt x="0" y="83"/>
                    </a:lnTo>
                    <a:lnTo>
                      <a:pt x="0" y="81"/>
                    </a:lnTo>
                    <a:lnTo>
                      <a:pt x="0" y="80"/>
                    </a:lnTo>
                    <a:close/>
                    <a:moveTo>
                      <a:pt x="17" y="70"/>
                    </a:moveTo>
                    <a:lnTo>
                      <a:pt x="17" y="72"/>
                    </a:lnTo>
                    <a:lnTo>
                      <a:pt x="19" y="72"/>
                    </a:lnTo>
                    <a:lnTo>
                      <a:pt x="19" y="73"/>
                    </a:lnTo>
                    <a:lnTo>
                      <a:pt x="20" y="73"/>
                    </a:lnTo>
                    <a:lnTo>
                      <a:pt x="22" y="73"/>
                    </a:lnTo>
                    <a:lnTo>
                      <a:pt x="22" y="75"/>
                    </a:lnTo>
                    <a:lnTo>
                      <a:pt x="22" y="76"/>
                    </a:lnTo>
                    <a:lnTo>
                      <a:pt x="20" y="76"/>
                    </a:lnTo>
                    <a:lnTo>
                      <a:pt x="19" y="76"/>
                    </a:lnTo>
                    <a:lnTo>
                      <a:pt x="17" y="76"/>
                    </a:lnTo>
                    <a:lnTo>
                      <a:pt x="17" y="75"/>
                    </a:lnTo>
                    <a:lnTo>
                      <a:pt x="17" y="73"/>
                    </a:lnTo>
                    <a:lnTo>
                      <a:pt x="15" y="73"/>
                    </a:lnTo>
                    <a:lnTo>
                      <a:pt x="14" y="73"/>
                    </a:lnTo>
                    <a:lnTo>
                      <a:pt x="12" y="73"/>
                    </a:lnTo>
                    <a:lnTo>
                      <a:pt x="12" y="72"/>
                    </a:lnTo>
                    <a:lnTo>
                      <a:pt x="14" y="72"/>
                    </a:lnTo>
                    <a:lnTo>
                      <a:pt x="15" y="72"/>
                    </a:lnTo>
                    <a:lnTo>
                      <a:pt x="15" y="70"/>
                    </a:lnTo>
                    <a:lnTo>
                      <a:pt x="17" y="70"/>
                    </a:lnTo>
                    <a:close/>
                    <a:moveTo>
                      <a:pt x="6" y="70"/>
                    </a:moveTo>
                    <a:lnTo>
                      <a:pt x="6" y="72"/>
                    </a:lnTo>
                    <a:lnTo>
                      <a:pt x="4" y="72"/>
                    </a:lnTo>
                    <a:lnTo>
                      <a:pt x="4" y="70"/>
                    </a:lnTo>
                    <a:lnTo>
                      <a:pt x="6" y="70"/>
                    </a:lnTo>
                    <a:lnTo>
                      <a:pt x="4" y="70"/>
                    </a:lnTo>
                    <a:lnTo>
                      <a:pt x="6" y="70"/>
                    </a:lnTo>
                    <a:close/>
                    <a:moveTo>
                      <a:pt x="6" y="67"/>
                    </a:moveTo>
                    <a:lnTo>
                      <a:pt x="6" y="68"/>
                    </a:lnTo>
                    <a:lnTo>
                      <a:pt x="7" y="68"/>
                    </a:lnTo>
                    <a:lnTo>
                      <a:pt x="6" y="68"/>
                    </a:lnTo>
                    <a:lnTo>
                      <a:pt x="6" y="67"/>
                    </a:lnTo>
                    <a:close/>
                    <a:moveTo>
                      <a:pt x="14" y="27"/>
                    </a:moveTo>
                    <a:lnTo>
                      <a:pt x="15" y="27"/>
                    </a:lnTo>
                    <a:lnTo>
                      <a:pt x="15" y="29"/>
                    </a:lnTo>
                    <a:lnTo>
                      <a:pt x="14" y="29"/>
                    </a:lnTo>
                    <a:lnTo>
                      <a:pt x="14" y="30"/>
                    </a:lnTo>
                    <a:lnTo>
                      <a:pt x="12" y="30"/>
                    </a:lnTo>
                    <a:lnTo>
                      <a:pt x="12" y="29"/>
                    </a:lnTo>
                    <a:lnTo>
                      <a:pt x="12" y="30"/>
                    </a:lnTo>
                    <a:lnTo>
                      <a:pt x="11" y="30"/>
                    </a:lnTo>
                    <a:lnTo>
                      <a:pt x="11" y="32"/>
                    </a:lnTo>
                    <a:lnTo>
                      <a:pt x="9" y="32"/>
                    </a:lnTo>
                    <a:lnTo>
                      <a:pt x="11" y="32"/>
                    </a:lnTo>
                    <a:lnTo>
                      <a:pt x="11" y="30"/>
                    </a:lnTo>
                    <a:lnTo>
                      <a:pt x="11" y="29"/>
                    </a:lnTo>
                    <a:lnTo>
                      <a:pt x="12" y="29"/>
                    </a:lnTo>
                    <a:lnTo>
                      <a:pt x="12" y="27"/>
                    </a:lnTo>
                    <a:lnTo>
                      <a:pt x="14" y="27"/>
                    </a:lnTo>
                    <a:close/>
                    <a:moveTo>
                      <a:pt x="68" y="2"/>
                    </a:moveTo>
                    <a:lnTo>
                      <a:pt x="69" y="2"/>
                    </a:lnTo>
                    <a:lnTo>
                      <a:pt x="71" y="2"/>
                    </a:lnTo>
                    <a:lnTo>
                      <a:pt x="72" y="2"/>
                    </a:lnTo>
                    <a:lnTo>
                      <a:pt x="72" y="4"/>
                    </a:lnTo>
                    <a:lnTo>
                      <a:pt x="72" y="5"/>
                    </a:lnTo>
                    <a:lnTo>
                      <a:pt x="72" y="7"/>
                    </a:lnTo>
                    <a:lnTo>
                      <a:pt x="74" y="8"/>
                    </a:lnTo>
                    <a:lnTo>
                      <a:pt x="74" y="10"/>
                    </a:lnTo>
                    <a:lnTo>
                      <a:pt x="72" y="10"/>
                    </a:lnTo>
                    <a:lnTo>
                      <a:pt x="72" y="11"/>
                    </a:lnTo>
                    <a:lnTo>
                      <a:pt x="72" y="13"/>
                    </a:lnTo>
                    <a:lnTo>
                      <a:pt x="72" y="15"/>
                    </a:lnTo>
                    <a:lnTo>
                      <a:pt x="71" y="16"/>
                    </a:lnTo>
                    <a:lnTo>
                      <a:pt x="72" y="16"/>
                    </a:lnTo>
                    <a:lnTo>
                      <a:pt x="72" y="18"/>
                    </a:lnTo>
                    <a:lnTo>
                      <a:pt x="74" y="18"/>
                    </a:lnTo>
                    <a:lnTo>
                      <a:pt x="74" y="16"/>
                    </a:lnTo>
                    <a:lnTo>
                      <a:pt x="76" y="16"/>
                    </a:lnTo>
                    <a:lnTo>
                      <a:pt x="77" y="15"/>
                    </a:lnTo>
                    <a:lnTo>
                      <a:pt x="77" y="16"/>
                    </a:lnTo>
                    <a:lnTo>
                      <a:pt x="79" y="15"/>
                    </a:lnTo>
                    <a:lnTo>
                      <a:pt x="80" y="15"/>
                    </a:lnTo>
                    <a:lnTo>
                      <a:pt x="82" y="15"/>
                    </a:lnTo>
                    <a:lnTo>
                      <a:pt x="82" y="13"/>
                    </a:lnTo>
                    <a:lnTo>
                      <a:pt x="83" y="13"/>
                    </a:lnTo>
                    <a:lnTo>
                      <a:pt x="85" y="11"/>
                    </a:lnTo>
                    <a:lnTo>
                      <a:pt x="87" y="11"/>
                    </a:lnTo>
                    <a:lnTo>
                      <a:pt x="88" y="11"/>
                    </a:lnTo>
                    <a:lnTo>
                      <a:pt x="90" y="11"/>
                    </a:lnTo>
                    <a:lnTo>
                      <a:pt x="91" y="10"/>
                    </a:lnTo>
                    <a:lnTo>
                      <a:pt x="93" y="8"/>
                    </a:lnTo>
                    <a:lnTo>
                      <a:pt x="95" y="8"/>
                    </a:lnTo>
                    <a:lnTo>
                      <a:pt x="95" y="10"/>
                    </a:lnTo>
                    <a:lnTo>
                      <a:pt x="95" y="11"/>
                    </a:lnTo>
                    <a:lnTo>
                      <a:pt x="95" y="13"/>
                    </a:lnTo>
                    <a:lnTo>
                      <a:pt x="95" y="15"/>
                    </a:lnTo>
                    <a:lnTo>
                      <a:pt x="93" y="15"/>
                    </a:lnTo>
                    <a:lnTo>
                      <a:pt x="93" y="16"/>
                    </a:lnTo>
                    <a:lnTo>
                      <a:pt x="93" y="18"/>
                    </a:lnTo>
                    <a:lnTo>
                      <a:pt x="93" y="19"/>
                    </a:lnTo>
                    <a:lnTo>
                      <a:pt x="93" y="21"/>
                    </a:lnTo>
                    <a:lnTo>
                      <a:pt x="91" y="21"/>
                    </a:lnTo>
                    <a:lnTo>
                      <a:pt x="91" y="23"/>
                    </a:lnTo>
                    <a:lnTo>
                      <a:pt x="91" y="24"/>
                    </a:lnTo>
                    <a:lnTo>
                      <a:pt x="91" y="26"/>
                    </a:lnTo>
                    <a:lnTo>
                      <a:pt x="91" y="27"/>
                    </a:lnTo>
                    <a:lnTo>
                      <a:pt x="90" y="27"/>
                    </a:lnTo>
                    <a:lnTo>
                      <a:pt x="90" y="29"/>
                    </a:lnTo>
                    <a:lnTo>
                      <a:pt x="90" y="30"/>
                    </a:lnTo>
                    <a:lnTo>
                      <a:pt x="90" y="32"/>
                    </a:lnTo>
                    <a:lnTo>
                      <a:pt x="90" y="34"/>
                    </a:lnTo>
                    <a:lnTo>
                      <a:pt x="88" y="34"/>
                    </a:lnTo>
                    <a:lnTo>
                      <a:pt x="88" y="35"/>
                    </a:lnTo>
                    <a:lnTo>
                      <a:pt x="87" y="35"/>
                    </a:lnTo>
                    <a:lnTo>
                      <a:pt x="85" y="35"/>
                    </a:lnTo>
                    <a:lnTo>
                      <a:pt x="85" y="34"/>
                    </a:lnTo>
                    <a:lnTo>
                      <a:pt x="85" y="35"/>
                    </a:lnTo>
                    <a:lnTo>
                      <a:pt x="85" y="37"/>
                    </a:lnTo>
                    <a:lnTo>
                      <a:pt x="87" y="37"/>
                    </a:lnTo>
                    <a:lnTo>
                      <a:pt x="88" y="37"/>
                    </a:lnTo>
                    <a:lnTo>
                      <a:pt x="88" y="38"/>
                    </a:lnTo>
                    <a:lnTo>
                      <a:pt x="88" y="40"/>
                    </a:lnTo>
                    <a:lnTo>
                      <a:pt x="87" y="40"/>
                    </a:lnTo>
                    <a:lnTo>
                      <a:pt x="87" y="38"/>
                    </a:lnTo>
                    <a:lnTo>
                      <a:pt x="85" y="38"/>
                    </a:lnTo>
                    <a:lnTo>
                      <a:pt x="85" y="40"/>
                    </a:lnTo>
                    <a:lnTo>
                      <a:pt x="85" y="42"/>
                    </a:lnTo>
                    <a:lnTo>
                      <a:pt x="85" y="40"/>
                    </a:lnTo>
                    <a:lnTo>
                      <a:pt x="87" y="40"/>
                    </a:lnTo>
                    <a:lnTo>
                      <a:pt x="88" y="40"/>
                    </a:lnTo>
                    <a:lnTo>
                      <a:pt x="88" y="42"/>
                    </a:lnTo>
                    <a:lnTo>
                      <a:pt x="87" y="42"/>
                    </a:lnTo>
                    <a:lnTo>
                      <a:pt x="87" y="43"/>
                    </a:lnTo>
                    <a:lnTo>
                      <a:pt x="87" y="45"/>
                    </a:lnTo>
                    <a:lnTo>
                      <a:pt x="85" y="45"/>
                    </a:lnTo>
                    <a:lnTo>
                      <a:pt x="85" y="46"/>
                    </a:lnTo>
                    <a:lnTo>
                      <a:pt x="85" y="48"/>
                    </a:lnTo>
                    <a:lnTo>
                      <a:pt x="85" y="49"/>
                    </a:lnTo>
                    <a:lnTo>
                      <a:pt x="83" y="49"/>
                    </a:lnTo>
                    <a:lnTo>
                      <a:pt x="83" y="51"/>
                    </a:lnTo>
                    <a:lnTo>
                      <a:pt x="83" y="53"/>
                    </a:lnTo>
                    <a:lnTo>
                      <a:pt x="82" y="53"/>
                    </a:lnTo>
                    <a:lnTo>
                      <a:pt x="82" y="54"/>
                    </a:lnTo>
                    <a:lnTo>
                      <a:pt x="82" y="56"/>
                    </a:lnTo>
                    <a:lnTo>
                      <a:pt x="80" y="56"/>
                    </a:lnTo>
                    <a:lnTo>
                      <a:pt x="82" y="56"/>
                    </a:lnTo>
                    <a:lnTo>
                      <a:pt x="80" y="56"/>
                    </a:lnTo>
                    <a:lnTo>
                      <a:pt x="80" y="57"/>
                    </a:lnTo>
                    <a:lnTo>
                      <a:pt x="80" y="59"/>
                    </a:lnTo>
                    <a:lnTo>
                      <a:pt x="79" y="59"/>
                    </a:lnTo>
                    <a:lnTo>
                      <a:pt x="77" y="59"/>
                    </a:lnTo>
                    <a:lnTo>
                      <a:pt x="77" y="57"/>
                    </a:lnTo>
                    <a:lnTo>
                      <a:pt x="77" y="59"/>
                    </a:lnTo>
                    <a:lnTo>
                      <a:pt x="77" y="61"/>
                    </a:lnTo>
                    <a:lnTo>
                      <a:pt x="77" y="62"/>
                    </a:lnTo>
                    <a:lnTo>
                      <a:pt x="77" y="64"/>
                    </a:lnTo>
                    <a:lnTo>
                      <a:pt x="79" y="64"/>
                    </a:lnTo>
                    <a:lnTo>
                      <a:pt x="80" y="64"/>
                    </a:lnTo>
                    <a:lnTo>
                      <a:pt x="79" y="64"/>
                    </a:lnTo>
                    <a:lnTo>
                      <a:pt x="79" y="65"/>
                    </a:lnTo>
                    <a:lnTo>
                      <a:pt x="79" y="67"/>
                    </a:lnTo>
                    <a:lnTo>
                      <a:pt x="79" y="68"/>
                    </a:lnTo>
                    <a:lnTo>
                      <a:pt x="79" y="67"/>
                    </a:lnTo>
                    <a:lnTo>
                      <a:pt x="79" y="68"/>
                    </a:lnTo>
                    <a:lnTo>
                      <a:pt x="79" y="70"/>
                    </a:lnTo>
                    <a:lnTo>
                      <a:pt x="79" y="68"/>
                    </a:lnTo>
                    <a:lnTo>
                      <a:pt x="79" y="70"/>
                    </a:lnTo>
                    <a:lnTo>
                      <a:pt x="77" y="70"/>
                    </a:lnTo>
                    <a:lnTo>
                      <a:pt x="77" y="72"/>
                    </a:lnTo>
                    <a:lnTo>
                      <a:pt x="79" y="72"/>
                    </a:lnTo>
                    <a:lnTo>
                      <a:pt x="77" y="72"/>
                    </a:lnTo>
                    <a:lnTo>
                      <a:pt x="76" y="72"/>
                    </a:lnTo>
                    <a:lnTo>
                      <a:pt x="76" y="70"/>
                    </a:lnTo>
                    <a:lnTo>
                      <a:pt x="74" y="70"/>
                    </a:lnTo>
                    <a:lnTo>
                      <a:pt x="74" y="72"/>
                    </a:lnTo>
                    <a:lnTo>
                      <a:pt x="74" y="73"/>
                    </a:lnTo>
                    <a:lnTo>
                      <a:pt x="72" y="73"/>
                    </a:lnTo>
                    <a:lnTo>
                      <a:pt x="72" y="75"/>
                    </a:lnTo>
                    <a:lnTo>
                      <a:pt x="71" y="75"/>
                    </a:lnTo>
                    <a:lnTo>
                      <a:pt x="71" y="76"/>
                    </a:lnTo>
                    <a:lnTo>
                      <a:pt x="69" y="76"/>
                    </a:lnTo>
                    <a:lnTo>
                      <a:pt x="69" y="78"/>
                    </a:lnTo>
                    <a:lnTo>
                      <a:pt x="68" y="78"/>
                    </a:lnTo>
                    <a:lnTo>
                      <a:pt x="68" y="80"/>
                    </a:lnTo>
                    <a:lnTo>
                      <a:pt x="66" y="80"/>
                    </a:lnTo>
                    <a:lnTo>
                      <a:pt x="68" y="80"/>
                    </a:lnTo>
                    <a:lnTo>
                      <a:pt x="68" y="81"/>
                    </a:lnTo>
                    <a:lnTo>
                      <a:pt x="66" y="81"/>
                    </a:lnTo>
                    <a:lnTo>
                      <a:pt x="66" y="83"/>
                    </a:lnTo>
                    <a:lnTo>
                      <a:pt x="64" y="83"/>
                    </a:lnTo>
                    <a:lnTo>
                      <a:pt x="64" y="84"/>
                    </a:lnTo>
                    <a:lnTo>
                      <a:pt x="63" y="84"/>
                    </a:lnTo>
                    <a:lnTo>
                      <a:pt x="64" y="84"/>
                    </a:lnTo>
                    <a:lnTo>
                      <a:pt x="64" y="83"/>
                    </a:lnTo>
                    <a:lnTo>
                      <a:pt x="66" y="83"/>
                    </a:lnTo>
                    <a:lnTo>
                      <a:pt x="66" y="81"/>
                    </a:lnTo>
                    <a:lnTo>
                      <a:pt x="68" y="81"/>
                    </a:lnTo>
                    <a:lnTo>
                      <a:pt x="68" y="80"/>
                    </a:lnTo>
                    <a:lnTo>
                      <a:pt x="68" y="78"/>
                    </a:lnTo>
                    <a:lnTo>
                      <a:pt x="69" y="78"/>
                    </a:lnTo>
                    <a:lnTo>
                      <a:pt x="71" y="78"/>
                    </a:lnTo>
                    <a:lnTo>
                      <a:pt x="71" y="76"/>
                    </a:lnTo>
                    <a:lnTo>
                      <a:pt x="72" y="76"/>
                    </a:lnTo>
                    <a:lnTo>
                      <a:pt x="72" y="75"/>
                    </a:lnTo>
                    <a:lnTo>
                      <a:pt x="74" y="75"/>
                    </a:lnTo>
                    <a:lnTo>
                      <a:pt x="74" y="73"/>
                    </a:lnTo>
                    <a:lnTo>
                      <a:pt x="74" y="75"/>
                    </a:lnTo>
                    <a:lnTo>
                      <a:pt x="74" y="76"/>
                    </a:lnTo>
                    <a:lnTo>
                      <a:pt x="76" y="76"/>
                    </a:lnTo>
                    <a:lnTo>
                      <a:pt x="76" y="78"/>
                    </a:lnTo>
                    <a:lnTo>
                      <a:pt x="74" y="78"/>
                    </a:lnTo>
                    <a:lnTo>
                      <a:pt x="74" y="76"/>
                    </a:lnTo>
                    <a:lnTo>
                      <a:pt x="74" y="78"/>
                    </a:lnTo>
                    <a:lnTo>
                      <a:pt x="74" y="80"/>
                    </a:lnTo>
                    <a:lnTo>
                      <a:pt x="74" y="81"/>
                    </a:lnTo>
                    <a:lnTo>
                      <a:pt x="72" y="81"/>
                    </a:lnTo>
                    <a:lnTo>
                      <a:pt x="72" y="83"/>
                    </a:lnTo>
                    <a:lnTo>
                      <a:pt x="71" y="83"/>
                    </a:lnTo>
                    <a:lnTo>
                      <a:pt x="71" y="84"/>
                    </a:lnTo>
                    <a:lnTo>
                      <a:pt x="69" y="84"/>
                    </a:lnTo>
                    <a:lnTo>
                      <a:pt x="69" y="86"/>
                    </a:lnTo>
                    <a:lnTo>
                      <a:pt x="69" y="87"/>
                    </a:lnTo>
                    <a:lnTo>
                      <a:pt x="68" y="87"/>
                    </a:lnTo>
                    <a:lnTo>
                      <a:pt x="68" y="89"/>
                    </a:lnTo>
                    <a:lnTo>
                      <a:pt x="66" y="89"/>
                    </a:lnTo>
                    <a:lnTo>
                      <a:pt x="66" y="91"/>
                    </a:lnTo>
                    <a:lnTo>
                      <a:pt x="64" y="91"/>
                    </a:lnTo>
                    <a:lnTo>
                      <a:pt x="64" y="92"/>
                    </a:lnTo>
                    <a:lnTo>
                      <a:pt x="63" y="92"/>
                    </a:lnTo>
                    <a:lnTo>
                      <a:pt x="63" y="94"/>
                    </a:lnTo>
                    <a:lnTo>
                      <a:pt x="61" y="94"/>
                    </a:lnTo>
                    <a:lnTo>
                      <a:pt x="60" y="94"/>
                    </a:lnTo>
                    <a:lnTo>
                      <a:pt x="58" y="94"/>
                    </a:lnTo>
                    <a:lnTo>
                      <a:pt x="58" y="95"/>
                    </a:lnTo>
                    <a:lnTo>
                      <a:pt x="58" y="97"/>
                    </a:lnTo>
                    <a:lnTo>
                      <a:pt x="57" y="97"/>
                    </a:lnTo>
                    <a:lnTo>
                      <a:pt x="57" y="99"/>
                    </a:lnTo>
                    <a:lnTo>
                      <a:pt x="57" y="97"/>
                    </a:lnTo>
                    <a:lnTo>
                      <a:pt x="57" y="99"/>
                    </a:lnTo>
                    <a:lnTo>
                      <a:pt x="57" y="97"/>
                    </a:lnTo>
                    <a:lnTo>
                      <a:pt x="55" y="97"/>
                    </a:lnTo>
                    <a:lnTo>
                      <a:pt x="55" y="99"/>
                    </a:lnTo>
                    <a:lnTo>
                      <a:pt x="55" y="100"/>
                    </a:lnTo>
                    <a:lnTo>
                      <a:pt x="53" y="100"/>
                    </a:lnTo>
                    <a:lnTo>
                      <a:pt x="53" y="99"/>
                    </a:lnTo>
                    <a:lnTo>
                      <a:pt x="53" y="100"/>
                    </a:lnTo>
                    <a:lnTo>
                      <a:pt x="52" y="100"/>
                    </a:lnTo>
                    <a:lnTo>
                      <a:pt x="53" y="100"/>
                    </a:lnTo>
                    <a:lnTo>
                      <a:pt x="53" y="102"/>
                    </a:lnTo>
                    <a:lnTo>
                      <a:pt x="53" y="103"/>
                    </a:lnTo>
                    <a:lnTo>
                      <a:pt x="53" y="105"/>
                    </a:lnTo>
                    <a:lnTo>
                      <a:pt x="52" y="105"/>
                    </a:lnTo>
                    <a:lnTo>
                      <a:pt x="52" y="103"/>
                    </a:lnTo>
                    <a:lnTo>
                      <a:pt x="50" y="103"/>
                    </a:lnTo>
                    <a:lnTo>
                      <a:pt x="52" y="103"/>
                    </a:lnTo>
                    <a:lnTo>
                      <a:pt x="50" y="103"/>
                    </a:lnTo>
                    <a:lnTo>
                      <a:pt x="50" y="102"/>
                    </a:lnTo>
                    <a:lnTo>
                      <a:pt x="50" y="100"/>
                    </a:lnTo>
                    <a:lnTo>
                      <a:pt x="50" y="99"/>
                    </a:lnTo>
                    <a:lnTo>
                      <a:pt x="50" y="97"/>
                    </a:lnTo>
                    <a:lnTo>
                      <a:pt x="52" y="97"/>
                    </a:lnTo>
                    <a:lnTo>
                      <a:pt x="53" y="97"/>
                    </a:lnTo>
                    <a:lnTo>
                      <a:pt x="52" y="97"/>
                    </a:lnTo>
                    <a:lnTo>
                      <a:pt x="52" y="95"/>
                    </a:lnTo>
                    <a:lnTo>
                      <a:pt x="53" y="95"/>
                    </a:lnTo>
                    <a:lnTo>
                      <a:pt x="53" y="94"/>
                    </a:lnTo>
                    <a:lnTo>
                      <a:pt x="53" y="95"/>
                    </a:lnTo>
                    <a:lnTo>
                      <a:pt x="55" y="95"/>
                    </a:lnTo>
                    <a:lnTo>
                      <a:pt x="53" y="95"/>
                    </a:lnTo>
                    <a:lnTo>
                      <a:pt x="53" y="94"/>
                    </a:lnTo>
                    <a:lnTo>
                      <a:pt x="52" y="94"/>
                    </a:lnTo>
                    <a:lnTo>
                      <a:pt x="52" y="95"/>
                    </a:lnTo>
                    <a:lnTo>
                      <a:pt x="52" y="94"/>
                    </a:lnTo>
                    <a:lnTo>
                      <a:pt x="53" y="94"/>
                    </a:lnTo>
                    <a:lnTo>
                      <a:pt x="52" y="94"/>
                    </a:lnTo>
                    <a:lnTo>
                      <a:pt x="52" y="92"/>
                    </a:lnTo>
                    <a:lnTo>
                      <a:pt x="50" y="92"/>
                    </a:lnTo>
                    <a:lnTo>
                      <a:pt x="50" y="91"/>
                    </a:lnTo>
                    <a:lnTo>
                      <a:pt x="49" y="91"/>
                    </a:lnTo>
                    <a:lnTo>
                      <a:pt x="49" y="92"/>
                    </a:lnTo>
                    <a:lnTo>
                      <a:pt x="49" y="94"/>
                    </a:lnTo>
                    <a:lnTo>
                      <a:pt x="49" y="92"/>
                    </a:lnTo>
                    <a:lnTo>
                      <a:pt x="49" y="91"/>
                    </a:lnTo>
                    <a:lnTo>
                      <a:pt x="47" y="91"/>
                    </a:lnTo>
                    <a:lnTo>
                      <a:pt x="47" y="92"/>
                    </a:lnTo>
                    <a:lnTo>
                      <a:pt x="45" y="92"/>
                    </a:lnTo>
                    <a:lnTo>
                      <a:pt x="44" y="92"/>
                    </a:lnTo>
                    <a:lnTo>
                      <a:pt x="45" y="92"/>
                    </a:lnTo>
                    <a:lnTo>
                      <a:pt x="45" y="94"/>
                    </a:lnTo>
                    <a:lnTo>
                      <a:pt x="47" y="94"/>
                    </a:lnTo>
                    <a:lnTo>
                      <a:pt x="47" y="95"/>
                    </a:lnTo>
                    <a:lnTo>
                      <a:pt x="49" y="95"/>
                    </a:lnTo>
                    <a:lnTo>
                      <a:pt x="49" y="97"/>
                    </a:lnTo>
                    <a:lnTo>
                      <a:pt x="47" y="97"/>
                    </a:lnTo>
                    <a:lnTo>
                      <a:pt x="47" y="99"/>
                    </a:lnTo>
                    <a:lnTo>
                      <a:pt x="45" y="99"/>
                    </a:lnTo>
                    <a:lnTo>
                      <a:pt x="44" y="99"/>
                    </a:lnTo>
                    <a:lnTo>
                      <a:pt x="44" y="97"/>
                    </a:lnTo>
                    <a:lnTo>
                      <a:pt x="44" y="95"/>
                    </a:lnTo>
                    <a:lnTo>
                      <a:pt x="42" y="95"/>
                    </a:lnTo>
                    <a:lnTo>
                      <a:pt x="41" y="95"/>
                    </a:lnTo>
                    <a:lnTo>
                      <a:pt x="41" y="94"/>
                    </a:lnTo>
                    <a:lnTo>
                      <a:pt x="39" y="94"/>
                    </a:lnTo>
                    <a:lnTo>
                      <a:pt x="39" y="92"/>
                    </a:lnTo>
                    <a:lnTo>
                      <a:pt x="38" y="92"/>
                    </a:lnTo>
                    <a:lnTo>
                      <a:pt x="38" y="91"/>
                    </a:lnTo>
                    <a:lnTo>
                      <a:pt x="36" y="91"/>
                    </a:lnTo>
                    <a:lnTo>
                      <a:pt x="34" y="91"/>
                    </a:lnTo>
                    <a:lnTo>
                      <a:pt x="33" y="91"/>
                    </a:lnTo>
                    <a:lnTo>
                      <a:pt x="31" y="91"/>
                    </a:lnTo>
                    <a:lnTo>
                      <a:pt x="30" y="91"/>
                    </a:lnTo>
                    <a:lnTo>
                      <a:pt x="30" y="92"/>
                    </a:lnTo>
                    <a:lnTo>
                      <a:pt x="28" y="92"/>
                    </a:lnTo>
                    <a:lnTo>
                      <a:pt x="26" y="92"/>
                    </a:lnTo>
                    <a:lnTo>
                      <a:pt x="25" y="92"/>
                    </a:lnTo>
                    <a:lnTo>
                      <a:pt x="23" y="92"/>
                    </a:lnTo>
                    <a:lnTo>
                      <a:pt x="23" y="91"/>
                    </a:lnTo>
                    <a:lnTo>
                      <a:pt x="23" y="89"/>
                    </a:lnTo>
                    <a:lnTo>
                      <a:pt x="22" y="89"/>
                    </a:lnTo>
                    <a:lnTo>
                      <a:pt x="22" y="87"/>
                    </a:lnTo>
                    <a:lnTo>
                      <a:pt x="22" y="86"/>
                    </a:lnTo>
                    <a:lnTo>
                      <a:pt x="22" y="84"/>
                    </a:lnTo>
                    <a:lnTo>
                      <a:pt x="22" y="83"/>
                    </a:lnTo>
                    <a:lnTo>
                      <a:pt x="22" y="81"/>
                    </a:lnTo>
                    <a:lnTo>
                      <a:pt x="22" y="80"/>
                    </a:lnTo>
                    <a:lnTo>
                      <a:pt x="22" y="78"/>
                    </a:lnTo>
                    <a:lnTo>
                      <a:pt x="23" y="78"/>
                    </a:lnTo>
                    <a:lnTo>
                      <a:pt x="23" y="76"/>
                    </a:lnTo>
                    <a:lnTo>
                      <a:pt x="25" y="76"/>
                    </a:lnTo>
                    <a:lnTo>
                      <a:pt x="25" y="75"/>
                    </a:lnTo>
                    <a:lnTo>
                      <a:pt x="25" y="73"/>
                    </a:lnTo>
                    <a:lnTo>
                      <a:pt x="25" y="72"/>
                    </a:lnTo>
                    <a:lnTo>
                      <a:pt x="23" y="72"/>
                    </a:lnTo>
                    <a:lnTo>
                      <a:pt x="23" y="70"/>
                    </a:lnTo>
                    <a:lnTo>
                      <a:pt x="25" y="70"/>
                    </a:lnTo>
                    <a:lnTo>
                      <a:pt x="25" y="68"/>
                    </a:lnTo>
                    <a:lnTo>
                      <a:pt x="25" y="67"/>
                    </a:lnTo>
                    <a:lnTo>
                      <a:pt x="26" y="67"/>
                    </a:lnTo>
                    <a:lnTo>
                      <a:pt x="26" y="65"/>
                    </a:lnTo>
                    <a:lnTo>
                      <a:pt x="25" y="65"/>
                    </a:lnTo>
                    <a:lnTo>
                      <a:pt x="25" y="64"/>
                    </a:lnTo>
                    <a:lnTo>
                      <a:pt x="25" y="62"/>
                    </a:lnTo>
                    <a:lnTo>
                      <a:pt x="25" y="61"/>
                    </a:lnTo>
                    <a:lnTo>
                      <a:pt x="26" y="61"/>
                    </a:lnTo>
                    <a:lnTo>
                      <a:pt x="26" y="59"/>
                    </a:lnTo>
                    <a:lnTo>
                      <a:pt x="28" y="59"/>
                    </a:lnTo>
                    <a:lnTo>
                      <a:pt x="28" y="57"/>
                    </a:lnTo>
                    <a:lnTo>
                      <a:pt x="28" y="56"/>
                    </a:lnTo>
                    <a:lnTo>
                      <a:pt x="30" y="56"/>
                    </a:lnTo>
                    <a:lnTo>
                      <a:pt x="30" y="54"/>
                    </a:lnTo>
                    <a:lnTo>
                      <a:pt x="28" y="54"/>
                    </a:lnTo>
                    <a:lnTo>
                      <a:pt x="30" y="54"/>
                    </a:lnTo>
                    <a:lnTo>
                      <a:pt x="30" y="56"/>
                    </a:lnTo>
                    <a:lnTo>
                      <a:pt x="30" y="57"/>
                    </a:lnTo>
                    <a:lnTo>
                      <a:pt x="31" y="57"/>
                    </a:lnTo>
                    <a:lnTo>
                      <a:pt x="31" y="59"/>
                    </a:lnTo>
                    <a:lnTo>
                      <a:pt x="31" y="61"/>
                    </a:lnTo>
                    <a:lnTo>
                      <a:pt x="33" y="61"/>
                    </a:lnTo>
                    <a:lnTo>
                      <a:pt x="33" y="59"/>
                    </a:lnTo>
                    <a:lnTo>
                      <a:pt x="34" y="59"/>
                    </a:lnTo>
                    <a:lnTo>
                      <a:pt x="34" y="61"/>
                    </a:lnTo>
                    <a:lnTo>
                      <a:pt x="36" y="61"/>
                    </a:lnTo>
                    <a:lnTo>
                      <a:pt x="36" y="59"/>
                    </a:lnTo>
                    <a:lnTo>
                      <a:pt x="38" y="59"/>
                    </a:lnTo>
                    <a:lnTo>
                      <a:pt x="38" y="61"/>
                    </a:lnTo>
                    <a:lnTo>
                      <a:pt x="39" y="61"/>
                    </a:lnTo>
                    <a:lnTo>
                      <a:pt x="38" y="61"/>
                    </a:lnTo>
                    <a:lnTo>
                      <a:pt x="38" y="59"/>
                    </a:lnTo>
                    <a:lnTo>
                      <a:pt x="38" y="57"/>
                    </a:lnTo>
                    <a:lnTo>
                      <a:pt x="38" y="56"/>
                    </a:lnTo>
                    <a:lnTo>
                      <a:pt x="36" y="56"/>
                    </a:lnTo>
                    <a:lnTo>
                      <a:pt x="36" y="54"/>
                    </a:lnTo>
                    <a:lnTo>
                      <a:pt x="34" y="54"/>
                    </a:lnTo>
                    <a:lnTo>
                      <a:pt x="34" y="53"/>
                    </a:lnTo>
                    <a:lnTo>
                      <a:pt x="34" y="51"/>
                    </a:lnTo>
                    <a:lnTo>
                      <a:pt x="33" y="51"/>
                    </a:lnTo>
                    <a:lnTo>
                      <a:pt x="33" y="49"/>
                    </a:lnTo>
                    <a:lnTo>
                      <a:pt x="34" y="49"/>
                    </a:lnTo>
                    <a:lnTo>
                      <a:pt x="33" y="49"/>
                    </a:lnTo>
                    <a:lnTo>
                      <a:pt x="33" y="48"/>
                    </a:lnTo>
                    <a:lnTo>
                      <a:pt x="31" y="48"/>
                    </a:lnTo>
                    <a:lnTo>
                      <a:pt x="31" y="46"/>
                    </a:lnTo>
                    <a:lnTo>
                      <a:pt x="30" y="46"/>
                    </a:lnTo>
                    <a:lnTo>
                      <a:pt x="30" y="45"/>
                    </a:lnTo>
                    <a:lnTo>
                      <a:pt x="28" y="45"/>
                    </a:lnTo>
                    <a:lnTo>
                      <a:pt x="30" y="45"/>
                    </a:lnTo>
                    <a:lnTo>
                      <a:pt x="30" y="43"/>
                    </a:lnTo>
                    <a:lnTo>
                      <a:pt x="31" y="43"/>
                    </a:lnTo>
                    <a:lnTo>
                      <a:pt x="33" y="43"/>
                    </a:lnTo>
                    <a:lnTo>
                      <a:pt x="34" y="43"/>
                    </a:lnTo>
                    <a:lnTo>
                      <a:pt x="34" y="45"/>
                    </a:lnTo>
                    <a:lnTo>
                      <a:pt x="36" y="45"/>
                    </a:lnTo>
                    <a:lnTo>
                      <a:pt x="38" y="45"/>
                    </a:lnTo>
                    <a:lnTo>
                      <a:pt x="39" y="45"/>
                    </a:lnTo>
                    <a:lnTo>
                      <a:pt x="39" y="43"/>
                    </a:lnTo>
                    <a:lnTo>
                      <a:pt x="41" y="43"/>
                    </a:lnTo>
                    <a:lnTo>
                      <a:pt x="41" y="42"/>
                    </a:lnTo>
                    <a:lnTo>
                      <a:pt x="41" y="40"/>
                    </a:lnTo>
                    <a:lnTo>
                      <a:pt x="41" y="42"/>
                    </a:lnTo>
                    <a:lnTo>
                      <a:pt x="42" y="42"/>
                    </a:lnTo>
                    <a:lnTo>
                      <a:pt x="41" y="42"/>
                    </a:lnTo>
                    <a:lnTo>
                      <a:pt x="42" y="42"/>
                    </a:lnTo>
                    <a:lnTo>
                      <a:pt x="42" y="43"/>
                    </a:lnTo>
                    <a:lnTo>
                      <a:pt x="42" y="42"/>
                    </a:lnTo>
                    <a:lnTo>
                      <a:pt x="44" y="42"/>
                    </a:lnTo>
                    <a:lnTo>
                      <a:pt x="45" y="42"/>
                    </a:lnTo>
                    <a:lnTo>
                      <a:pt x="45" y="43"/>
                    </a:lnTo>
                    <a:lnTo>
                      <a:pt x="45" y="42"/>
                    </a:lnTo>
                    <a:lnTo>
                      <a:pt x="44" y="42"/>
                    </a:lnTo>
                    <a:lnTo>
                      <a:pt x="42" y="42"/>
                    </a:lnTo>
                    <a:lnTo>
                      <a:pt x="42" y="40"/>
                    </a:lnTo>
                    <a:lnTo>
                      <a:pt x="41" y="40"/>
                    </a:lnTo>
                    <a:lnTo>
                      <a:pt x="41" y="38"/>
                    </a:lnTo>
                    <a:lnTo>
                      <a:pt x="41" y="37"/>
                    </a:lnTo>
                    <a:lnTo>
                      <a:pt x="41" y="35"/>
                    </a:lnTo>
                    <a:lnTo>
                      <a:pt x="39" y="35"/>
                    </a:lnTo>
                    <a:lnTo>
                      <a:pt x="39" y="34"/>
                    </a:lnTo>
                    <a:lnTo>
                      <a:pt x="39" y="32"/>
                    </a:lnTo>
                    <a:lnTo>
                      <a:pt x="41" y="32"/>
                    </a:lnTo>
                    <a:lnTo>
                      <a:pt x="42" y="32"/>
                    </a:lnTo>
                    <a:lnTo>
                      <a:pt x="42" y="34"/>
                    </a:lnTo>
                    <a:lnTo>
                      <a:pt x="44" y="34"/>
                    </a:lnTo>
                    <a:lnTo>
                      <a:pt x="45" y="34"/>
                    </a:lnTo>
                    <a:lnTo>
                      <a:pt x="47" y="34"/>
                    </a:lnTo>
                    <a:lnTo>
                      <a:pt x="47" y="32"/>
                    </a:lnTo>
                    <a:lnTo>
                      <a:pt x="49" y="32"/>
                    </a:lnTo>
                    <a:lnTo>
                      <a:pt x="50" y="32"/>
                    </a:lnTo>
                    <a:lnTo>
                      <a:pt x="50" y="30"/>
                    </a:lnTo>
                    <a:lnTo>
                      <a:pt x="52" y="30"/>
                    </a:lnTo>
                    <a:lnTo>
                      <a:pt x="52" y="29"/>
                    </a:lnTo>
                    <a:lnTo>
                      <a:pt x="53" y="29"/>
                    </a:lnTo>
                    <a:lnTo>
                      <a:pt x="53" y="30"/>
                    </a:lnTo>
                    <a:lnTo>
                      <a:pt x="55" y="30"/>
                    </a:lnTo>
                    <a:lnTo>
                      <a:pt x="57" y="30"/>
                    </a:lnTo>
                    <a:lnTo>
                      <a:pt x="57" y="32"/>
                    </a:lnTo>
                    <a:lnTo>
                      <a:pt x="58" y="32"/>
                    </a:lnTo>
                    <a:lnTo>
                      <a:pt x="60" y="32"/>
                    </a:lnTo>
                    <a:lnTo>
                      <a:pt x="60" y="34"/>
                    </a:lnTo>
                    <a:lnTo>
                      <a:pt x="61" y="34"/>
                    </a:lnTo>
                    <a:lnTo>
                      <a:pt x="61" y="32"/>
                    </a:lnTo>
                    <a:lnTo>
                      <a:pt x="60" y="32"/>
                    </a:lnTo>
                    <a:lnTo>
                      <a:pt x="60" y="30"/>
                    </a:lnTo>
                    <a:lnTo>
                      <a:pt x="61" y="30"/>
                    </a:lnTo>
                    <a:lnTo>
                      <a:pt x="60" y="30"/>
                    </a:lnTo>
                    <a:lnTo>
                      <a:pt x="60" y="29"/>
                    </a:lnTo>
                    <a:lnTo>
                      <a:pt x="61" y="29"/>
                    </a:lnTo>
                    <a:lnTo>
                      <a:pt x="60" y="29"/>
                    </a:lnTo>
                    <a:lnTo>
                      <a:pt x="58" y="29"/>
                    </a:lnTo>
                    <a:lnTo>
                      <a:pt x="58" y="27"/>
                    </a:lnTo>
                    <a:lnTo>
                      <a:pt x="57" y="27"/>
                    </a:lnTo>
                    <a:lnTo>
                      <a:pt x="57" y="29"/>
                    </a:lnTo>
                    <a:lnTo>
                      <a:pt x="55" y="29"/>
                    </a:lnTo>
                    <a:lnTo>
                      <a:pt x="55" y="27"/>
                    </a:lnTo>
                    <a:lnTo>
                      <a:pt x="53" y="27"/>
                    </a:lnTo>
                    <a:lnTo>
                      <a:pt x="52" y="27"/>
                    </a:lnTo>
                    <a:lnTo>
                      <a:pt x="52" y="26"/>
                    </a:lnTo>
                    <a:lnTo>
                      <a:pt x="50" y="26"/>
                    </a:lnTo>
                    <a:lnTo>
                      <a:pt x="50" y="27"/>
                    </a:lnTo>
                    <a:lnTo>
                      <a:pt x="50" y="26"/>
                    </a:lnTo>
                    <a:lnTo>
                      <a:pt x="49" y="26"/>
                    </a:lnTo>
                    <a:lnTo>
                      <a:pt x="49" y="24"/>
                    </a:lnTo>
                    <a:lnTo>
                      <a:pt x="47" y="24"/>
                    </a:lnTo>
                    <a:lnTo>
                      <a:pt x="45" y="24"/>
                    </a:lnTo>
                    <a:lnTo>
                      <a:pt x="45" y="23"/>
                    </a:lnTo>
                    <a:lnTo>
                      <a:pt x="45" y="21"/>
                    </a:lnTo>
                    <a:lnTo>
                      <a:pt x="44" y="21"/>
                    </a:lnTo>
                    <a:lnTo>
                      <a:pt x="42" y="21"/>
                    </a:lnTo>
                    <a:lnTo>
                      <a:pt x="41" y="21"/>
                    </a:lnTo>
                    <a:lnTo>
                      <a:pt x="39" y="21"/>
                    </a:lnTo>
                    <a:lnTo>
                      <a:pt x="38" y="21"/>
                    </a:lnTo>
                    <a:lnTo>
                      <a:pt x="38" y="23"/>
                    </a:lnTo>
                    <a:lnTo>
                      <a:pt x="36" y="23"/>
                    </a:lnTo>
                    <a:lnTo>
                      <a:pt x="34" y="23"/>
                    </a:lnTo>
                    <a:lnTo>
                      <a:pt x="34" y="21"/>
                    </a:lnTo>
                    <a:lnTo>
                      <a:pt x="34" y="19"/>
                    </a:lnTo>
                    <a:lnTo>
                      <a:pt x="34" y="21"/>
                    </a:lnTo>
                    <a:lnTo>
                      <a:pt x="33" y="21"/>
                    </a:lnTo>
                    <a:lnTo>
                      <a:pt x="33" y="19"/>
                    </a:lnTo>
                    <a:lnTo>
                      <a:pt x="31" y="19"/>
                    </a:lnTo>
                    <a:lnTo>
                      <a:pt x="31" y="18"/>
                    </a:lnTo>
                    <a:lnTo>
                      <a:pt x="30" y="18"/>
                    </a:lnTo>
                    <a:lnTo>
                      <a:pt x="28" y="18"/>
                    </a:lnTo>
                    <a:lnTo>
                      <a:pt x="28" y="16"/>
                    </a:lnTo>
                    <a:lnTo>
                      <a:pt x="26" y="16"/>
                    </a:lnTo>
                    <a:lnTo>
                      <a:pt x="26" y="15"/>
                    </a:lnTo>
                    <a:lnTo>
                      <a:pt x="26" y="13"/>
                    </a:lnTo>
                    <a:lnTo>
                      <a:pt x="26" y="11"/>
                    </a:lnTo>
                    <a:lnTo>
                      <a:pt x="28" y="11"/>
                    </a:lnTo>
                    <a:lnTo>
                      <a:pt x="30" y="11"/>
                    </a:lnTo>
                    <a:lnTo>
                      <a:pt x="30" y="13"/>
                    </a:lnTo>
                    <a:lnTo>
                      <a:pt x="31" y="13"/>
                    </a:lnTo>
                    <a:lnTo>
                      <a:pt x="31" y="15"/>
                    </a:lnTo>
                    <a:lnTo>
                      <a:pt x="33" y="15"/>
                    </a:lnTo>
                    <a:lnTo>
                      <a:pt x="31" y="15"/>
                    </a:lnTo>
                    <a:lnTo>
                      <a:pt x="31" y="16"/>
                    </a:lnTo>
                    <a:lnTo>
                      <a:pt x="31" y="18"/>
                    </a:lnTo>
                    <a:lnTo>
                      <a:pt x="33" y="18"/>
                    </a:lnTo>
                    <a:lnTo>
                      <a:pt x="33" y="19"/>
                    </a:lnTo>
                    <a:lnTo>
                      <a:pt x="34" y="19"/>
                    </a:lnTo>
                    <a:lnTo>
                      <a:pt x="36" y="19"/>
                    </a:lnTo>
                    <a:lnTo>
                      <a:pt x="38" y="19"/>
                    </a:lnTo>
                    <a:lnTo>
                      <a:pt x="39" y="19"/>
                    </a:lnTo>
                    <a:lnTo>
                      <a:pt x="39" y="18"/>
                    </a:lnTo>
                    <a:lnTo>
                      <a:pt x="39" y="16"/>
                    </a:lnTo>
                    <a:lnTo>
                      <a:pt x="41" y="16"/>
                    </a:lnTo>
                    <a:lnTo>
                      <a:pt x="41" y="18"/>
                    </a:lnTo>
                    <a:lnTo>
                      <a:pt x="42" y="18"/>
                    </a:lnTo>
                    <a:lnTo>
                      <a:pt x="44" y="18"/>
                    </a:lnTo>
                    <a:lnTo>
                      <a:pt x="45" y="18"/>
                    </a:lnTo>
                    <a:lnTo>
                      <a:pt x="47" y="18"/>
                    </a:lnTo>
                    <a:lnTo>
                      <a:pt x="49" y="18"/>
                    </a:lnTo>
                    <a:lnTo>
                      <a:pt x="49" y="19"/>
                    </a:lnTo>
                    <a:lnTo>
                      <a:pt x="50" y="19"/>
                    </a:lnTo>
                    <a:lnTo>
                      <a:pt x="50" y="18"/>
                    </a:lnTo>
                    <a:lnTo>
                      <a:pt x="52" y="18"/>
                    </a:lnTo>
                    <a:lnTo>
                      <a:pt x="52" y="16"/>
                    </a:lnTo>
                    <a:lnTo>
                      <a:pt x="50" y="16"/>
                    </a:lnTo>
                    <a:lnTo>
                      <a:pt x="52" y="16"/>
                    </a:lnTo>
                    <a:lnTo>
                      <a:pt x="52" y="15"/>
                    </a:lnTo>
                    <a:lnTo>
                      <a:pt x="52" y="16"/>
                    </a:lnTo>
                    <a:lnTo>
                      <a:pt x="52" y="15"/>
                    </a:lnTo>
                    <a:lnTo>
                      <a:pt x="52" y="16"/>
                    </a:lnTo>
                    <a:lnTo>
                      <a:pt x="53" y="16"/>
                    </a:lnTo>
                    <a:lnTo>
                      <a:pt x="53" y="18"/>
                    </a:lnTo>
                    <a:lnTo>
                      <a:pt x="55" y="18"/>
                    </a:lnTo>
                    <a:lnTo>
                      <a:pt x="57" y="18"/>
                    </a:lnTo>
                    <a:lnTo>
                      <a:pt x="57" y="16"/>
                    </a:lnTo>
                    <a:lnTo>
                      <a:pt x="57" y="15"/>
                    </a:lnTo>
                    <a:lnTo>
                      <a:pt x="55" y="15"/>
                    </a:lnTo>
                    <a:lnTo>
                      <a:pt x="57" y="15"/>
                    </a:lnTo>
                    <a:lnTo>
                      <a:pt x="57" y="13"/>
                    </a:lnTo>
                    <a:lnTo>
                      <a:pt x="57" y="11"/>
                    </a:lnTo>
                    <a:lnTo>
                      <a:pt x="55" y="11"/>
                    </a:lnTo>
                    <a:lnTo>
                      <a:pt x="57" y="11"/>
                    </a:lnTo>
                    <a:lnTo>
                      <a:pt x="57" y="10"/>
                    </a:lnTo>
                    <a:lnTo>
                      <a:pt x="58" y="10"/>
                    </a:lnTo>
                    <a:lnTo>
                      <a:pt x="60" y="10"/>
                    </a:lnTo>
                    <a:lnTo>
                      <a:pt x="60" y="8"/>
                    </a:lnTo>
                    <a:lnTo>
                      <a:pt x="58" y="8"/>
                    </a:lnTo>
                    <a:lnTo>
                      <a:pt x="58" y="7"/>
                    </a:lnTo>
                    <a:lnTo>
                      <a:pt x="57" y="7"/>
                    </a:lnTo>
                    <a:lnTo>
                      <a:pt x="57" y="8"/>
                    </a:lnTo>
                    <a:lnTo>
                      <a:pt x="55" y="8"/>
                    </a:lnTo>
                    <a:lnTo>
                      <a:pt x="55" y="7"/>
                    </a:lnTo>
                    <a:lnTo>
                      <a:pt x="57" y="7"/>
                    </a:lnTo>
                    <a:lnTo>
                      <a:pt x="57" y="5"/>
                    </a:lnTo>
                    <a:lnTo>
                      <a:pt x="57" y="4"/>
                    </a:lnTo>
                    <a:lnTo>
                      <a:pt x="58" y="4"/>
                    </a:lnTo>
                    <a:lnTo>
                      <a:pt x="58" y="2"/>
                    </a:lnTo>
                    <a:lnTo>
                      <a:pt x="60" y="2"/>
                    </a:lnTo>
                    <a:lnTo>
                      <a:pt x="61" y="2"/>
                    </a:lnTo>
                    <a:lnTo>
                      <a:pt x="61" y="4"/>
                    </a:lnTo>
                    <a:lnTo>
                      <a:pt x="63" y="4"/>
                    </a:lnTo>
                    <a:lnTo>
                      <a:pt x="63" y="2"/>
                    </a:lnTo>
                    <a:lnTo>
                      <a:pt x="64" y="0"/>
                    </a:lnTo>
                    <a:lnTo>
                      <a:pt x="68" y="2"/>
                    </a:lnTo>
                    <a:close/>
                  </a:path>
                </a:pathLst>
              </a:custGeom>
              <a:solidFill>
                <a:srgbClr val="E1E1E1"/>
              </a:solidFill>
              <a:ln w="4763">
                <a:solidFill>
                  <a:srgbClr val="6E6E6E"/>
                </a:solidFill>
                <a:prstDash val="solid"/>
                <a:round/>
                <a:headEnd/>
                <a:tailEnd/>
              </a:ln>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48" name="Freeform 28"/>
              <p:cNvSpPr>
                <a:spLocks noEditPoints="1"/>
              </p:cNvSpPr>
              <p:nvPr/>
            </p:nvSpPr>
            <p:spPr bwMode="auto">
              <a:xfrm>
                <a:off x="4318" y="2799"/>
                <a:ext cx="1014" cy="933"/>
              </a:xfrm>
              <a:custGeom>
                <a:avLst/>
                <a:gdLst>
                  <a:gd name="T0" fmla="*/ 881 w 1014"/>
                  <a:gd name="T1" fmla="*/ 374 h 933"/>
                  <a:gd name="T2" fmla="*/ 865 w 1014"/>
                  <a:gd name="T3" fmla="*/ 361 h 933"/>
                  <a:gd name="T4" fmla="*/ 862 w 1014"/>
                  <a:gd name="T5" fmla="*/ 342 h 933"/>
                  <a:gd name="T6" fmla="*/ 870 w 1014"/>
                  <a:gd name="T7" fmla="*/ 195 h 933"/>
                  <a:gd name="T8" fmla="*/ 854 w 1014"/>
                  <a:gd name="T9" fmla="*/ 184 h 933"/>
                  <a:gd name="T10" fmla="*/ 432 w 1014"/>
                  <a:gd name="T11" fmla="*/ 63 h 933"/>
                  <a:gd name="T12" fmla="*/ 486 w 1014"/>
                  <a:gd name="T13" fmla="*/ 95 h 933"/>
                  <a:gd name="T14" fmla="*/ 535 w 1014"/>
                  <a:gd name="T15" fmla="*/ 132 h 933"/>
                  <a:gd name="T16" fmla="*/ 556 w 1014"/>
                  <a:gd name="T17" fmla="*/ 177 h 933"/>
                  <a:gd name="T18" fmla="*/ 596 w 1014"/>
                  <a:gd name="T19" fmla="*/ 136 h 933"/>
                  <a:gd name="T20" fmla="*/ 781 w 1014"/>
                  <a:gd name="T21" fmla="*/ 120 h 933"/>
                  <a:gd name="T22" fmla="*/ 792 w 1014"/>
                  <a:gd name="T23" fmla="*/ 152 h 933"/>
                  <a:gd name="T24" fmla="*/ 798 w 1014"/>
                  <a:gd name="T25" fmla="*/ 189 h 933"/>
                  <a:gd name="T26" fmla="*/ 813 w 1014"/>
                  <a:gd name="T27" fmla="*/ 220 h 933"/>
                  <a:gd name="T28" fmla="*/ 825 w 1014"/>
                  <a:gd name="T29" fmla="*/ 257 h 933"/>
                  <a:gd name="T30" fmla="*/ 849 w 1014"/>
                  <a:gd name="T31" fmla="*/ 285 h 933"/>
                  <a:gd name="T32" fmla="*/ 870 w 1014"/>
                  <a:gd name="T33" fmla="*/ 314 h 933"/>
                  <a:gd name="T34" fmla="*/ 852 w 1014"/>
                  <a:gd name="T35" fmla="*/ 342 h 933"/>
                  <a:gd name="T36" fmla="*/ 852 w 1014"/>
                  <a:gd name="T37" fmla="*/ 375 h 933"/>
                  <a:gd name="T38" fmla="*/ 881 w 1014"/>
                  <a:gd name="T39" fmla="*/ 377 h 933"/>
                  <a:gd name="T40" fmla="*/ 879 w 1014"/>
                  <a:gd name="T41" fmla="*/ 371 h 933"/>
                  <a:gd name="T42" fmla="*/ 887 w 1014"/>
                  <a:gd name="T43" fmla="*/ 358 h 933"/>
                  <a:gd name="T44" fmla="*/ 892 w 1014"/>
                  <a:gd name="T45" fmla="*/ 383 h 933"/>
                  <a:gd name="T46" fmla="*/ 900 w 1014"/>
                  <a:gd name="T47" fmla="*/ 421 h 933"/>
                  <a:gd name="T48" fmla="*/ 908 w 1014"/>
                  <a:gd name="T49" fmla="*/ 456 h 933"/>
                  <a:gd name="T50" fmla="*/ 878 w 1014"/>
                  <a:gd name="T51" fmla="*/ 475 h 933"/>
                  <a:gd name="T52" fmla="*/ 908 w 1014"/>
                  <a:gd name="T53" fmla="*/ 491 h 933"/>
                  <a:gd name="T54" fmla="*/ 920 w 1014"/>
                  <a:gd name="T55" fmla="*/ 518 h 933"/>
                  <a:gd name="T56" fmla="*/ 930 w 1014"/>
                  <a:gd name="T57" fmla="*/ 551 h 933"/>
                  <a:gd name="T58" fmla="*/ 938 w 1014"/>
                  <a:gd name="T59" fmla="*/ 573 h 933"/>
                  <a:gd name="T60" fmla="*/ 941 w 1014"/>
                  <a:gd name="T61" fmla="*/ 594 h 933"/>
                  <a:gd name="T62" fmla="*/ 957 w 1014"/>
                  <a:gd name="T63" fmla="*/ 621 h 933"/>
                  <a:gd name="T64" fmla="*/ 941 w 1014"/>
                  <a:gd name="T65" fmla="*/ 645 h 933"/>
                  <a:gd name="T66" fmla="*/ 923 w 1014"/>
                  <a:gd name="T67" fmla="*/ 676 h 933"/>
                  <a:gd name="T68" fmla="*/ 933 w 1014"/>
                  <a:gd name="T69" fmla="*/ 662 h 933"/>
                  <a:gd name="T70" fmla="*/ 976 w 1014"/>
                  <a:gd name="T71" fmla="*/ 672 h 933"/>
                  <a:gd name="T72" fmla="*/ 1006 w 1014"/>
                  <a:gd name="T73" fmla="*/ 697 h 933"/>
                  <a:gd name="T74" fmla="*/ 998 w 1014"/>
                  <a:gd name="T75" fmla="*/ 733 h 933"/>
                  <a:gd name="T76" fmla="*/ 914 w 1014"/>
                  <a:gd name="T77" fmla="*/ 794 h 933"/>
                  <a:gd name="T78" fmla="*/ 892 w 1014"/>
                  <a:gd name="T79" fmla="*/ 859 h 933"/>
                  <a:gd name="T80" fmla="*/ 819 w 1014"/>
                  <a:gd name="T81" fmla="*/ 776 h 933"/>
                  <a:gd name="T82" fmla="*/ 767 w 1014"/>
                  <a:gd name="T83" fmla="*/ 814 h 933"/>
                  <a:gd name="T84" fmla="*/ 713 w 1014"/>
                  <a:gd name="T85" fmla="*/ 813 h 933"/>
                  <a:gd name="T86" fmla="*/ 661 w 1014"/>
                  <a:gd name="T87" fmla="*/ 836 h 933"/>
                  <a:gd name="T88" fmla="*/ 608 w 1014"/>
                  <a:gd name="T89" fmla="*/ 835 h 933"/>
                  <a:gd name="T90" fmla="*/ 494 w 1014"/>
                  <a:gd name="T91" fmla="*/ 868 h 933"/>
                  <a:gd name="T92" fmla="*/ 337 w 1014"/>
                  <a:gd name="T93" fmla="*/ 886 h 933"/>
                  <a:gd name="T94" fmla="*/ 315 w 1014"/>
                  <a:gd name="T95" fmla="*/ 833 h 933"/>
                  <a:gd name="T96" fmla="*/ 196 w 1014"/>
                  <a:gd name="T97" fmla="*/ 786 h 933"/>
                  <a:gd name="T98" fmla="*/ 87 w 1014"/>
                  <a:gd name="T99" fmla="*/ 760 h 933"/>
                  <a:gd name="T100" fmla="*/ 11 w 1014"/>
                  <a:gd name="T101" fmla="*/ 727 h 933"/>
                  <a:gd name="T102" fmla="*/ 5 w 1014"/>
                  <a:gd name="T103" fmla="*/ 680 h 933"/>
                  <a:gd name="T104" fmla="*/ 25 w 1014"/>
                  <a:gd name="T105" fmla="*/ 624 h 933"/>
                  <a:gd name="T106" fmla="*/ 63 w 1014"/>
                  <a:gd name="T107" fmla="*/ 585 h 933"/>
                  <a:gd name="T108" fmla="*/ 108 w 1014"/>
                  <a:gd name="T109" fmla="*/ 467 h 933"/>
                  <a:gd name="T110" fmla="*/ 138 w 1014"/>
                  <a:gd name="T111" fmla="*/ 404 h 933"/>
                  <a:gd name="T112" fmla="*/ 160 w 1014"/>
                  <a:gd name="T113" fmla="*/ 375 h 933"/>
                  <a:gd name="T114" fmla="*/ 144 w 1014"/>
                  <a:gd name="T115" fmla="*/ 323 h 933"/>
                  <a:gd name="T116" fmla="*/ 147 w 1014"/>
                  <a:gd name="T117" fmla="*/ 269 h 933"/>
                  <a:gd name="T118" fmla="*/ 165 w 1014"/>
                  <a:gd name="T119" fmla="*/ 212 h 933"/>
                  <a:gd name="T120" fmla="*/ 182 w 1014"/>
                  <a:gd name="T121" fmla="*/ 163 h 933"/>
                  <a:gd name="T122" fmla="*/ 222 w 1014"/>
                  <a:gd name="T123" fmla="*/ 100 h 933"/>
                  <a:gd name="T124" fmla="*/ 268 w 1014"/>
                  <a:gd name="T125" fmla="*/ 41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4" h="933">
                    <a:moveTo>
                      <a:pt x="917" y="683"/>
                    </a:moveTo>
                    <a:lnTo>
                      <a:pt x="917" y="684"/>
                    </a:lnTo>
                    <a:lnTo>
                      <a:pt x="917" y="683"/>
                    </a:lnTo>
                    <a:lnTo>
                      <a:pt x="917" y="681"/>
                    </a:lnTo>
                    <a:lnTo>
                      <a:pt x="919" y="681"/>
                    </a:lnTo>
                    <a:lnTo>
                      <a:pt x="919" y="683"/>
                    </a:lnTo>
                    <a:lnTo>
                      <a:pt x="917" y="683"/>
                    </a:lnTo>
                    <a:close/>
                    <a:moveTo>
                      <a:pt x="920" y="681"/>
                    </a:moveTo>
                    <a:lnTo>
                      <a:pt x="920" y="683"/>
                    </a:lnTo>
                    <a:lnTo>
                      <a:pt x="919" y="683"/>
                    </a:lnTo>
                    <a:lnTo>
                      <a:pt x="919" y="681"/>
                    </a:lnTo>
                    <a:lnTo>
                      <a:pt x="920" y="681"/>
                    </a:lnTo>
                    <a:close/>
                    <a:moveTo>
                      <a:pt x="923" y="676"/>
                    </a:moveTo>
                    <a:lnTo>
                      <a:pt x="923" y="675"/>
                    </a:lnTo>
                    <a:lnTo>
                      <a:pt x="925" y="675"/>
                    </a:lnTo>
                    <a:lnTo>
                      <a:pt x="925" y="673"/>
                    </a:lnTo>
                    <a:lnTo>
                      <a:pt x="925" y="675"/>
                    </a:lnTo>
                    <a:lnTo>
                      <a:pt x="925" y="676"/>
                    </a:lnTo>
                    <a:lnTo>
                      <a:pt x="923" y="676"/>
                    </a:lnTo>
                    <a:close/>
                    <a:moveTo>
                      <a:pt x="942" y="588"/>
                    </a:moveTo>
                    <a:lnTo>
                      <a:pt x="942" y="589"/>
                    </a:lnTo>
                    <a:lnTo>
                      <a:pt x="941" y="589"/>
                    </a:lnTo>
                    <a:lnTo>
                      <a:pt x="941" y="588"/>
                    </a:lnTo>
                    <a:lnTo>
                      <a:pt x="942" y="588"/>
                    </a:lnTo>
                    <a:close/>
                    <a:moveTo>
                      <a:pt x="941" y="572"/>
                    </a:moveTo>
                    <a:lnTo>
                      <a:pt x="941" y="573"/>
                    </a:lnTo>
                    <a:lnTo>
                      <a:pt x="939" y="573"/>
                    </a:lnTo>
                    <a:lnTo>
                      <a:pt x="939" y="572"/>
                    </a:lnTo>
                    <a:lnTo>
                      <a:pt x="941" y="572"/>
                    </a:lnTo>
                    <a:close/>
                    <a:moveTo>
                      <a:pt x="933" y="550"/>
                    </a:moveTo>
                    <a:lnTo>
                      <a:pt x="933" y="551"/>
                    </a:lnTo>
                    <a:lnTo>
                      <a:pt x="931" y="551"/>
                    </a:lnTo>
                    <a:lnTo>
                      <a:pt x="931" y="550"/>
                    </a:lnTo>
                    <a:lnTo>
                      <a:pt x="933" y="550"/>
                    </a:lnTo>
                    <a:close/>
                    <a:moveTo>
                      <a:pt x="882" y="474"/>
                    </a:moveTo>
                    <a:lnTo>
                      <a:pt x="882" y="475"/>
                    </a:lnTo>
                    <a:lnTo>
                      <a:pt x="882" y="474"/>
                    </a:lnTo>
                    <a:lnTo>
                      <a:pt x="881" y="474"/>
                    </a:lnTo>
                    <a:lnTo>
                      <a:pt x="882" y="474"/>
                    </a:lnTo>
                    <a:lnTo>
                      <a:pt x="881" y="474"/>
                    </a:lnTo>
                    <a:lnTo>
                      <a:pt x="882" y="474"/>
                    </a:lnTo>
                    <a:close/>
                    <a:moveTo>
                      <a:pt x="881" y="372"/>
                    </a:moveTo>
                    <a:lnTo>
                      <a:pt x="882" y="372"/>
                    </a:lnTo>
                    <a:lnTo>
                      <a:pt x="882" y="374"/>
                    </a:lnTo>
                    <a:lnTo>
                      <a:pt x="881" y="374"/>
                    </a:lnTo>
                    <a:lnTo>
                      <a:pt x="881" y="372"/>
                    </a:lnTo>
                    <a:lnTo>
                      <a:pt x="879" y="372"/>
                    </a:lnTo>
                    <a:lnTo>
                      <a:pt x="881" y="372"/>
                    </a:lnTo>
                    <a:close/>
                    <a:moveTo>
                      <a:pt x="863" y="369"/>
                    </a:moveTo>
                    <a:lnTo>
                      <a:pt x="863" y="371"/>
                    </a:lnTo>
                    <a:lnTo>
                      <a:pt x="863" y="372"/>
                    </a:lnTo>
                    <a:lnTo>
                      <a:pt x="862" y="372"/>
                    </a:lnTo>
                    <a:lnTo>
                      <a:pt x="862" y="374"/>
                    </a:lnTo>
                    <a:lnTo>
                      <a:pt x="862" y="375"/>
                    </a:lnTo>
                    <a:lnTo>
                      <a:pt x="860" y="375"/>
                    </a:lnTo>
                    <a:lnTo>
                      <a:pt x="860" y="377"/>
                    </a:lnTo>
                    <a:lnTo>
                      <a:pt x="860" y="375"/>
                    </a:lnTo>
                    <a:lnTo>
                      <a:pt x="860" y="374"/>
                    </a:lnTo>
                    <a:lnTo>
                      <a:pt x="860" y="372"/>
                    </a:lnTo>
                    <a:lnTo>
                      <a:pt x="862" y="372"/>
                    </a:lnTo>
                    <a:lnTo>
                      <a:pt x="862" y="371"/>
                    </a:lnTo>
                    <a:lnTo>
                      <a:pt x="863" y="371"/>
                    </a:lnTo>
                    <a:lnTo>
                      <a:pt x="863" y="369"/>
                    </a:lnTo>
                    <a:close/>
                    <a:moveTo>
                      <a:pt x="897" y="368"/>
                    </a:moveTo>
                    <a:lnTo>
                      <a:pt x="898" y="368"/>
                    </a:lnTo>
                    <a:lnTo>
                      <a:pt x="898" y="369"/>
                    </a:lnTo>
                    <a:lnTo>
                      <a:pt x="897" y="369"/>
                    </a:lnTo>
                    <a:lnTo>
                      <a:pt x="897" y="368"/>
                    </a:lnTo>
                    <a:close/>
                    <a:moveTo>
                      <a:pt x="897" y="366"/>
                    </a:moveTo>
                    <a:lnTo>
                      <a:pt x="898" y="366"/>
                    </a:lnTo>
                    <a:lnTo>
                      <a:pt x="898" y="368"/>
                    </a:lnTo>
                    <a:lnTo>
                      <a:pt x="898" y="366"/>
                    </a:lnTo>
                    <a:lnTo>
                      <a:pt x="898" y="368"/>
                    </a:lnTo>
                    <a:lnTo>
                      <a:pt x="897" y="368"/>
                    </a:lnTo>
                    <a:lnTo>
                      <a:pt x="897" y="366"/>
                    </a:lnTo>
                    <a:close/>
                    <a:moveTo>
                      <a:pt x="898" y="364"/>
                    </a:moveTo>
                    <a:lnTo>
                      <a:pt x="898" y="366"/>
                    </a:lnTo>
                    <a:lnTo>
                      <a:pt x="898" y="364"/>
                    </a:lnTo>
                    <a:close/>
                    <a:moveTo>
                      <a:pt x="857" y="358"/>
                    </a:moveTo>
                    <a:lnTo>
                      <a:pt x="859" y="358"/>
                    </a:lnTo>
                    <a:lnTo>
                      <a:pt x="859" y="360"/>
                    </a:lnTo>
                    <a:lnTo>
                      <a:pt x="857" y="360"/>
                    </a:lnTo>
                    <a:lnTo>
                      <a:pt x="857" y="358"/>
                    </a:lnTo>
                    <a:close/>
                    <a:moveTo>
                      <a:pt x="866" y="356"/>
                    </a:moveTo>
                    <a:lnTo>
                      <a:pt x="868" y="356"/>
                    </a:lnTo>
                    <a:lnTo>
                      <a:pt x="868" y="358"/>
                    </a:lnTo>
                    <a:lnTo>
                      <a:pt x="868" y="360"/>
                    </a:lnTo>
                    <a:lnTo>
                      <a:pt x="868" y="361"/>
                    </a:lnTo>
                    <a:lnTo>
                      <a:pt x="866" y="361"/>
                    </a:lnTo>
                    <a:lnTo>
                      <a:pt x="865" y="361"/>
                    </a:lnTo>
                    <a:lnTo>
                      <a:pt x="863" y="361"/>
                    </a:lnTo>
                    <a:lnTo>
                      <a:pt x="863" y="360"/>
                    </a:lnTo>
                    <a:lnTo>
                      <a:pt x="865" y="360"/>
                    </a:lnTo>
                    <a:lnTo>
                      <a:pt x="863" y="360"/>
                    </a:lnTo>
                    <a:lnTo>
                      <a:pt x="865" y="360"/>
                    </a:lnTo>
                    <a:lnTo>
                      <a:pt x="865" y="358"/>
                    </a:lnTo>
                    <a:lnTo>
                      <a:pt x="866" y="358"/>
                    </a:lnTo>
                    <a:lnTo>
                      <a:pt x="866" y="356"/>
                    </a:lnTo>
                    <a:close/>
                    <a:moveTo>
                      <a:pt x="866" y="325"/>
                    </a:moveTo>
                    <a:lnTo>
                      <a:pt x="866" y="326"/>
                    </a:lnTo>
                    <a:lnTo>
                      <a:pt x="868" y="326"/>
                    </a:lnTo>
                    <a:lnTo>
                      <a:pt x="868" y="328"/>
                    </a:lnTo>
                    <a:lnTo>
                      <a:pt x="868" y="330"/>
                    </a:lnTo>
                    <a:lnTo>
                      <a:pt x="868" y="331"/>
                    </a:lnTo>
                    <a:lnTo>
                      <a:pt x="866" y="331"/>
                    </a:lnTo>
                    <a:lnTo>
                      <a:pt x="866" y="333"/>
                    </a:lnTo>
                    <a:lnTo>
                      <a:pt x="866" y="334"/>
                    </a:lnTo>
                    <a:lnTo>
                      <a:pt x="865" y="334"/>
                    </a:lnTo>
                    <a:lnTo>
                      <a:pt x="865" y="336"/>
                    </a:lnTo>
                    <a:lnTo>
                      <a:pt x="866" y="336"/>
                    </a:lnTo>
                    <a:lnTo>
                      <a:pt x="866" y="337"/>
                    </a:lnTo>
                    <a:lnTo>
                      <a:pt x="868" y="337"/>
                    </a:lnTo>
                    <a:lnTo>
                      <a:pt x="868" y="339"/>
                    </a:lnTo>
                    <a:lnTo>
                      <a:pt x="870" y="339"/>
                    </a:lnTo>
                    <a:lnTo>
                      <a:pt x="870" y="341"/>
                    </a:lnTo>
                    <a:lnTo>
                      <a:pt x="870" y="342"/>
                    </a:lnTo>
                    <a:lnTo>
                      <a:pt x="871" y="342"/>
                    </a:lnTo>
                    <a:lnTo>
                      <a:pt x="871" y="344"/>
                    </a:lnTo>
                    <a:lnTo>
                      <a:pt x="870" y="344"/>
                    </a:lnTo>
                    <a:lnTo>
                      <a:pt x="870" y="342"/>
                    </a:lnTo>
                    <a:lnTo>
                      <a:pt x="868" y="342"/>
                    </a:lnTo>
                    <a:lnTo>
                      <a:pt x="868" y="344"/>
                    </a:lnTo>
                    <a:lnTo>
                      <a:pt x="868" y="345"/>
                    </a:lnTo>
                    <a:lnTo>
                      <a:pt x="870" y="345"/>
                    </a:lnTo>
                    <a:lnTo>
                      <a:pt x="868" y="345"/>
                    </a:lnTo>
                    <a:lnTo>
                      <a:pt x="868" y="347"/>
                    </a:lnTo>
                    <a:lnTo>
                      <a:pt x="868" y="345"/>
                    </a:lnTo>
                    <a:lnTo>
                      <a:pt x="868" y="347"/>
                    </a:lnTo>
                    <a:lnTo>
                      <a:pt x="866" y="347"/>
                    </a:lnTo>
                    <a:lnTo>
                      <a:pt x="865" y="347"/>
                    </a:lnTo>
                    <a:lnTo>
                      <a:pt x="863" y="347"/>
                    </a:lnTo>
                    <a:lnTo>
                      <a:pt x="862" y="347"/>
                    </a:lnTo>
                    <a:lnTo>
                      <a:pt x="862" y="345"/>
                    </a:lnTo>
                    <a:lnTo>
                      <a:pt x="862" y="344"/>
                    </a:lnTo>
                    <a:lnTo>
                      <a:pt x="862" y="342"/>
                    </a:lnTo>
                    <a:lnTo>
                      <a:pt x="860" y="342"/>
                    </a:lnTo>
                    <a:lnTo>
                      <a:pt x="860" y="341"/>
                    </a:lnTo>
                    <a:lnTo>
                      <a:pt x="860" y="339"/>
                    </a:lnTo>
                    <a:lnTo>
                      <a:pt x="859" y="339"/>
                    </a:lnTo>
                    <a:lnTo>
                      <a:pt x="859" y="337"/>
                    </a:lnTo>
                    <a:lnTo>
                      <a:pt x="859" y="336"/>
                    </a:lnTo>
                    <a:lnTo>
                      <a:pt x="857" y="336"/>
                    </a:lnTo>
                    <a:lnTo>
                      <a:pt x="857" y="334"/>
                    </a:lnTo>
                    <a:lnTo>
                      <a:pt x="855" y="334"/>
                    </a:lnTo>
                    <a:lnTo>
                      <a:pt x="855" y="333"/>
                    </a:lnTo>
                    <a:lnTo>
                      <a:pt x="854" y="333"/>
                    </a:lnTo>
                    <a:lnTo>
                      <a:pt x="854" y="331"/>
                    </a:lnTo>
                    <a:lnTo>
                      <a:pt x="854" y="330"/>
                    </a:lnTo>
                    <a:lnTo>
                      <a:pt x="855" y="330"/>
                    </a:lnTo>
                    <a:lnTo>
                      <a:pt x="855" y="328"/>
                    </a:lnTo>
                    <a:lnTo>
                      <a:pt x="857" y="328"/>
                    </a:lnTo>
                    <a:lnTo>
                      <a:pt x="859" y="328"/>
                    </a:lnTo>
                    <a:lnTo>
                      <a:pt x="859" y="330"/>
                    </a:lnTo>
                    <a:lnTo>
                      <a:pt x="859" y="328"/>
                    </a:lnTo>
                    <a:lnTo>
                      <a:pt x="860" y="328"/>
                    </a:lnTo>
                    <a:lnTo>
                      <a:pt x="860" y="330"/>
                    </a:lnTo>
                    <a:lnTo>
                      <a:pt x="860" y="328"/>
                    </a:lnTo>
                    <a:lnTo>
                      <a:pt x="862" y="328"/>
                    </a:lnTo>
                    <a:lnTo>
                      <a:pt x="863" y="328"/>
                    </a:lnTo>
                    <a:lnTo>
                      <a:pt x="863" y="326"/>
                    </a:lnTo>
                    <a:lnTo>
                      <a:pt x="865" y="326"/>
                    </a:lnTo>
                    <a:lnTo>
                      <a:pt x="866" y="326"/>
                    </a:lnTo>
                    <a:lnTo>
                      <a:pt x="866" y="325"/>
                    </a:lnTo>
                    <a:close/>
                    <a:moveTo>
                      <a:pt x="879" y="201"/>
                    </a:moveTo>
                    <a:lnTo>
                      <a:pt x="881" y="201"/>
                    </a:lnTo>
                    <a:lnTo>
                      <a:pt x="879" y="201"/>
                    </a:lnTo>
                    <a:lnTo>
                      <a:pt x="879" y="203"/>
                    </a:lnTo>
                    <a:lnTo>
                      <a:pt x="879" y="204"/>
                    </a:lnTo>
                    <a:lnTo>
                      <a:pt x="878" y="204"/>
                    </a:lnTo>
                    <a:lnTo>
                      <a:pt x="878" y="203"/>
                    </a:lnTo>
                    <a:lnTo>
                      <a:pt x="879" y="203"/>
                    </a:lnTo>
                    <a:lnTo>
                      <a:pt x="879" y="201"/>
                    </a:lnTo>
                    <a:close/>
                    <a:moveTo>
                      <a:pt x="870" y="193"/>
                    </a:moveTo>
                    <a:lnTo>
                      <a:pt x="870" y="195"/>
                    </a:lnTo>
                    <a:lnTo>
                      <a:pt x="870" y="196"/>
                    </a:lnTo>
                    <a:lnTo>
                      <a:pt x="868" y="196"/>
                    </a:lnTo>
                    <a:lnTo>
                      <a:pt x="866" y="196"/>
                    </a:lnTo>
                    <a:lnTo>
                      <a:pt x="868" y="196"/>
                    </a:lnTo>
                    <a:lnTo>
                      <a:pt x="868" y="195"/>
                    </a:lnTo>
                    <a:lnTo>
                      <a:pt x="870" y="195"/>
                    </a:lnTo>
                    <a:lnTo>
                      <a:pt x="870" y="193"/>
                    </a:lnTo>
                    <a:close/>
                    <a:moveTo>
                      <a:pt x="865" y="193"/>
                    </a:moveTo>
                    <a:lnTo>
                      <a:pt x="866" y="193"/>
                    </a:lnTo>
                    <a:lnTo>
                      <a:pt x="866" y="195"/>
                    </a:lnTo>
                    <a:lnTo>
                      <a:pt x="865" y="195"/>
                    </a:lnTo>
                    <a:lnTo>
                      <a:pt x="865" y="193"/>
                    </a:lnTo>
                    <a:close/>
                    <a:moveTo>
                      <a:pt x="855" y="182"/>
                    </a:moveTo>
                    <a:lnTo>
                      <a:pt x="857" y="182"/>
                    </a:lnTo>
                    <a:lnTo>
                      <a:pt x="857" y="184"/>
                    </a:lnTo>
                    <a:lnTo>
                      <a:pt x="859" y="184"/>
                    </a:lnTo>
                    <a:lnTo>
                      <a:pt x="859" y="185"/>
                    </a:lnTo>
                    <a:lnTo>
                      <a:pt x="860" y="185"/>
                    </a:lnTo>
                    <a:lnTo>
                      <a:pt x="860" y="187"/>
                    </a:lnTo>
                    <a:lnTo>
                      <a:pt x="862" y="187"/>
                    </a:lnTo>
                    <a:lnTo>
                      <a:pt x="862" y="189"/>
                    </a:lnTo>
                    <a:lnTo>
                      <a:pt x="863" y="189"/>
                    </a:lnTo>
                    <a:lnTo>
                      <a:pt x="863" y="190"/>
                    </a:lnTo>
                    <a:lnTo>
                      <a:pt x="863" y="192"/>
                    </a:lnTo>
                    <a:lnTo>
                      <a:pt x="863" y="193"/>
                    </a:lnTo>
                    <a:lnTo>
                      <a:pt x="863" y="195"/>
                    </a:lnTo>
                    <a:lnTo>
                      <a:pt x="863" y="196"/>
                    </a:lnTo>
                    <a:lnTo>
                      <a:pt x="865" y="196"/>
                    </a:lnTo>
                    <a:lnTo>
                      <a:pt x="865" y="198"/>
                    </a:lnTo>
                    <a:lnTo>
                      <a:pt x="863" y="198"/>
                    </a:lnTo>
                    <a:lnTo>
                      <a:pt x="863" y="196"/>
                    </a:lnTo>
                    <a:lnTo>
                      <a:pt x="863" y="195"/>
                    </a:lnTo>
                    <a:lnTo>
                      <a:pt x="862" y="195"/>
                    </a:lnTo>
                    <a:lnTo>
                      <a:pt x="862" y="193"/>
                    </a:lnTo>
                    <a:lnTo>
                      <a:pt x="862" y="195"/>
                    </a:lnTo>
                    <a:lnTo>
                      <a:pt x="860" y="195"/>
                    </a:lnTo>
                    <a:lnTo>
                      <a:pt x="860" y="193"/>
                    </a:lnTo>
                    <a:lnTo>
                      <a:pt x="859" y="193"/>
                    </a:lnTo>
                    <a:lnTo>
                      <a:pt x="859" y="192"/>
                    </a:lnTo>
                    <a:lnTo>
                      <a:pt x="857" y="192"/>
                    </a:lnTo>
                    <a:lnTo>
                      <a:pt x="857" y="190"/>
                    </a:lnTo>
                    <a:lnTo>
                      <a:pt x="857" y="192"/>
                    </a:lnTo>
                    <a:lnTo>
                      <a:pt x="855" y="192"/>
                    </a:lnTo>
                    <a:lnTo>
                      <a:pt x="855" y="190"/>
                    </a:lnTo>
                    <a:lnTo>
                      <a:pt x="855" y="189"/>
                    </a:lnTo>
                    <a:lnTo>
                      <a:pt x="854" y="189"/>
                    </a:lnTo>
                    <a:lnTo>
                      <a:pt x="854" y="187"/>
                    </a:lnTo>
                    <a:lnTo>
                      <a:pt x="854" y="185"/>
                    </a:lnTo>
                    <a:lnTo>
                      <a:pt x="854" y="184"/>
                    </a:lnTo>
                    <a:lnTo>
                      <a:pt x="852" y="184"/>
                    </a:lnTo>
                    <a:lnTo>
                      <a:pt x="854" y="184"/>
                    </a:lnTo>
                    <a:lnTo>
                      <a:pt x="852" y="184"/>
                    </a:lnTo>
                    <a:lnTo>
                      <a:pt x="854" y="184"/>
                    </a:lnTo>
                    <a:lnTo>
                      <a:pt x="854" y="182"/>
                    </a:lnTo>
                    <a:lnTo>
                      <a:pt x="855" y="182"/>
                    </a:lnTo>
                    <a:close/>
                    <a:moveTo>
                      <a:pt x="333" y="17"/>
                    </a:moveTo>
                    <a:lnTo>
                      <a:pt x="337" y="24"/>
                    </a:lnTo>
                    <a:lnTo>
                      <a:pt x="342" y="27"/>
                    </a:lnTo>
                    <a:lnTo>
                      <a:pt x="350" y="33"/>
                    </a:lnTo>
                    <a:lnTo>
                      <a:pt x="355" y="36"/>
                    </a:lnTo>
                    <a:lnTo>
                      <a:pt x="361" y="41"/>
                    </a:lnTo>
                    <a:lnTo>
                      <a:pt x="366" y="43"/>
                    </a:lnTo>
                    <a:lnTo>
                      <a:pt x="369" y="44"/>
                    </a:lnTo>
                    <a:lnTo>
                      <a:pt x="371" y="44"/>
                    </a:lnTo>
                    <a:lnTo>
                      <a:pt x="372" y="44"/>
                    </a:lnTo>
                    <a:lnTo>
                      <a:pt x="374" y="46"/>
                    </a:lnTo>
                    <a:lnTo>
                      <a:pt x="375" y="48"/>
                    </a:lnTo>
                    <a:lnTo>
                      <a:pt x="377" y="48"/>
                    </a:lnTo>
                    <a:lnTo>
                      <a:pt x="379" y="49"/>
                    </a:lnTo>
                    <a:lnTo>
                      <a:pt x="380" y="49"/>
                    </a:lnTo>
                    <a:lnTo>
                      <a:pt x="382" y="49"/>
                    </a:lnTo>
                    <a:lnTo>
                      <a:pt x="385" y="51"/>
                    </a:lnTo>
                    <a:lnTo>
                      <a:pt x="386" y="52"/>
                    </a:lnTo>
                    <a:lnTo>
                      <a:pt x="388" y="52"/>
                    </a:lnTo>
                    <a:lnTo>
                      <a:pt x="390" y="52"/>
                    </a:lnTo>
                    <a:lnTo>
                      <a:pt x="391" y="52"/>
                    </a:lnTo>
                    <a:lnTo>
                      <a:pt x="391" y="54"/>
                    </a:lnTo>
                    <a:lnTo>
                      <a:pt x="393" y="54"/>
                    </a:lnTo>
                    <a:lnTo>
                      <a:pt x="394" y="54"/>
                    </a:lnTo>
                    <a:lnTo>
                      <a:pt x="396" y="54"/>
                    </a:lnTo>
                    <a:lnTo>
                      <a:pt x="398" y="54"/>
                    </a:lnTo>
                    <a:lnTo>
                      <a:pt x="401" y="55"/>
                    </a:lnTo>
                    <a:lnTo>
                      <a:pt x="402" y="55"/>
                    </a:lnTo>
                    <a:lnTo>
                      <a:pt x="405" y="57"/>
                    </a:lnTo>
                    <a:lnTo>
                      <a:pt x="409" y="57"/>
                    </a:lnTo>
                    <a:lnTo>
                      <a:pt x="412" y="59"/>
                    </a:lnTo>
                    <a:lnTo>
                      <a:pt x="415" y="59"/>
                    </a:lnTo>
                    <a:lnTo>
                      <a:pt x="417" y="59"/>
                    </a:lnTo>
                    <a:lnTo>
                      <a:pt x="418" y="60"/>
                    </a:lnTo>
                    <a:lnTo>
                      <a:pt x="421" y="60"/>
                    </a:lnTo>
                    <a:lnTo>
                      <a:pt x="424" y="60"/>
                    </a:lnTo>
                    <a:lnTo>
                      <a:pt x="426" y="60"/>
                    </a:lnTo>
                    <a:lnTo>
                      <a:pt x="428" y="62"/>
                    </a:lnTo>
                    <a:lnTo>
                      <a:pt x="429" y="62"/>
                    </a:lnTo>
                    <a:lnTo>
                      <a:pt x="431" y="63"/>
                    </a:lnTo>
                    <a:lnTo>
                      <a:pt x="432" y="63"/>
                    </a:lnTo>
                    <a:lnTo>
                      <a:pt x="434" y="63"/>
                    </a:lnTo>
                    <a:lnTo>
                      <a:pt x="436" y="63"/>
                    </a:lnTo>
                    <a:lnTo>
                      <a:pt x="437" y="63"/>
                    </a:lnTo>
                    <a:lnTo>
                      <a:pt x="439" y="63"/>
                    </a:lnTo>
                    <a:lnTo>
                      <a:pt x="440" y="63"/>
                    </a:lnTo>
                    <a:lnTo>
                      <a:pt x="442" y="65"/>
                    </a:lnTo>
                    <a:lnTo>
                      <a:pt x="443" y="65"/>
                    </a:lnTo>
                    <a:lnTo>
                      <a:pt x="445" y="65"/>
                    </a:lnTo>
                    <a:lnTo>
                      <a:pt x="447" y="65"/>
                    </a:lnTo>
                    <a:lnTo>
                      <a:pt x="447" y="67"/>
                    </a:lnTo>
                    <a:lnTo>
                      <a:pt x="448" y="67"/>
                    </a:lnTo>
                    <a:lnTo>
                      <a:pt x="450" y="67"/>
                    </a:lnTo>
                    <a:lnTo>
                      <a:pt x="451" y="67"/>
                    </a:lnTo>
                    <a:lnTo>
                      <a:pt x="453" y="67"/>
                    </a:lnTo>
                    <a:lnTo>
                      <a:pt x="455" y="68"/>
                    </a:lnTo>
                    <a:lnTo>
                      <a:pt x="456" y="68"/>
                    </a:lnTo>
                    <a:lnTo>
                      <a:pt x="456" y="70"/>
                    </a:lnTo>
                    <a:lnTo>
                      <a:pt x="458" y="70"/>
                    </a:lnTo>
                    <a:lnTo>
                      <a:pt x="459" y="71"/>
                    </a:lnTo>
                    <a:lnTo>
                      <a:pt x="461" y="71"/>
                    </a:lnTo>
                    <a:lnTo>
                      <a:pt x="461" y="73"/>
                    </a:lnTo>
                    <a:lnTo>
                      <a:pt x="463" y="73"/>
                    </a:lnTo>
                    <a:lnTo>
                      <a:pt x="463" y="74"/>
                    </a:lnTo>
                    <a:lnTo>
                      <a:pt x="464" y="74"/>
                    </a:lnTo>
                    <a:lnTo>
                      <a:pt x="466" y="76"/>
                    </a:lnTo>
                    <a:lnTo>
                      <a:pt x="467" y="78"/>
                    </a:lnTo>
                    <a:lnTo>
                      <a:pt x="469" y="79"/>
                    </a:lnTo>
                    <a:lnTo>
                      <a:pt x="470" y="79"/>
                    </a:lnTo>
                    <a:lnTo>
                      <a:pt x="470" y="81"/>
                    </a:lnTo>
                    <a:lnTo>
                      <a:pt x="472" y="81"/>
                    </a:lnTo>
                    <a:lnTo>
                      <a:pt x="472" y="82"/>
                    </a:lnTo>
                    <a:lnTo>
                      <a:pt x="474" y="82"/>
                    </a:lnTo>
                    <a:lnTo>
                      <a:pt x="475" y="84"/>
                    </a:lnTo>
                    <a:lnTo>
                      <a:pt x="477" y="84"/>
                    </a:lnTo>
                    <a:lnTo>
                      <a:pt x="477" y="86"/>
                    </a:lnTo>
                    <a:lnTo>
                      <a:pt x="478" y="86"/>
                    </a:lnTo>
                    <a:lnTo>
                      <a:pt x="480" y="87"/>
                    </a:lnTo>
                    <a:lnTo>
                      <a:pt x="482" y="89"/>
                    </a:lnTo>
                    <a:lnTo>
                      <a:pt x="482" y="90"/>
                    </a:lnTo>
                    <a:lnTo>
                      <a:pt x="483" y="90"/>
                    </a:lnTo>
                    <a:lnTo>
                      <a:pt x="483" y="92"/>
                    </a:lnTo>
                    <a:lnTo>
                      <a:pt x="485" y="92"/>
                    </a:lnTo>
                    <a:lnTo>
                      <a:pt x="485" y="93"/>
                    </a:lnTo>
                    <a:lnTo>
                      <a:pt x="486" y="93"/>
                    </a:lnTo>
                    <a:lnTo>
                      <a:pt x="486" y="95"/>
                    </a:lnTo>
                    <a:lnTo>
                      <a:pt x="488" y="95"/>
                    </a:lnTo>
                    <a:lnTo>
                      <a:pt x="488" y="97"/>
                    </a:lnTo>
                    <a:lnTo>
                      <a:pt x="488" y="98"/>
                    </a:lnTo>
                    <a:lnTo>
                      <a:pt x="489" y="98"/>
                    </a:lnTo>
                    <a:lnTo>
                      <a:pt x="491" y="100"/>
                    </a:lnTo>
                    <a:lnTo>
                      <a:pt x="491" y="101"/>
                    </a:lnTo>
                    <a:lnTo>
                      <a:pt x="493" y="101"/>
                    </a:lnTo>
                    <a:lnTo>
                      <a:pt x="493" y="103"/>
                    </a:lnTo>
                    <a:lnTo>
                      <a:pt x="494" y="103"/>
                    </a:lnTo>
                    <a:lnTo>
                      <a:pt x="494" y="105"/>
                    </a:lnTo>
                    <a:lnTo>
                      <a:pt x="496" y="105"/>
                    </a:lnTo>
                    <a:lnTo>
                      <a:pt x="497" y="105"/>
                    </a:lnTo>
                    <a:lnTo>
                      <a:pt x="497" y="106"/>
                    </a:lnTo>
                    <a:lnTo>
                      <a:pt x="499" y="106"/>
                    </a:lnTo>
                    <a:lnTo>
                      <a:pt x="501" y="108"/>
                    </a:lnTo>
                    <a:lnTo>
                      <a:pt x="502" y="108"/>
                    </a:lnTo>
                    <a:lnTo>
                      <a:pt x="502" y="109"/>
                    </a:lnTo>
                    <a:lnTo>
                      <a:pt x="504" y="109"/>
                    </a:lnTo>
                    <a:lnTo>
                      <a:pt x="505" y="109"/>
                    </a:lnTo>
                    <a:lnTo>
                      <a:pt x="507" y="109"/>
                    </a:lnTo>
                    <a:lnTo>
                      <a:pt x="508" y="111"/>
                    </a:lnTo>
                    <a:lnTo>
                      <a:pt x="510" y="112"/>
                    </a:lnTo>
                    <a:lnTo>
                      <a:pt x="512" y="114"/>
                    </a:lnTo>
                    <a:lnTo>
                      <a:pt x="513" y="116"/>
                    </a:lnTo>
                    <a:lnTo>
                      <a:pt x="515" y="117"/>
                    </a:lnTo>
                    <a:lnTo>
                      <a:pt x="516" y="119"/>
                    </a:lnTo>
                    <a:lnTo>
                      <a:pt x="518" y="119"/>
                    </a:lnTo>
                    <a:lnTo>
                      <a:pt x="518" y="120"/>
                    </a:lnTo>
                    <a:lnTo>
                      <a:pt x="520" y="120"/>
                    </a:lnTo>
                    <a:lnTo>
                      <a:pt x="521" y="122"/>
                    </a:lnTo>
                    <a:lnTo>
                      <a:pt x="523" y="124"/>
                    </a:lnTo>
                    <a:lnTo>
                      <a:pt x="524" y="124"/>
                    </a:lnTo>
                    <a:lnTo>
                      <a:pt x="524" y="125"/>
                    </a:lnTo>
                    <a:lnTo>
                      <a:pt x="526" y="125"/>
                    </a:lnTo>
                    <a:lnTo>
                      <a:pt x="526" y="127"/>
                    </a:lnTo>
                    <a:lnTo>
                      <a:pt x="526" y="128"/>
                    </a:lnTo>
                    <a:lnTo>
                      <a:pt x="527" y="128"/>
                    </a:lnTo>
                    <a:lnTo>
                      <a:pt x="527" y="130"/>
                    </a:lnTo>
                    <a:lnTo>
                      <a:pt x="529" y="130"/>
                    </a:lnTo>
                    <a:lnTo>
                      <a:pt x="529" y="132"/>
                    </a:lnTo>
                    <a:lnTo>
                      <a:pt x="531" y="132"/>
                    </a:lnTo>
                    <a:lnTo>
                      <a:pt x="532" y="132"/>
                    </a:lnTo>
                    <a:lnTo>
                      <a:pt x="534" y="132"/>
                    </a:lnTo>
                    <a:lnTo>
                      <a:pt x="534" y="133"/>
                    </a:lnTo>
                    <a:lnTo>
                      <a:pt x="535" y="132"/>
                    </a:lnTo>
                    <a:lnTo>
                      <a:pt x="535" y="133"/>
                    </a:lnTo>
                    <a:lnTo>
                      <a:pt x="535" y="135"/>
                    </a:lnTo>
                    <a:lnTo>
                      <a:pt x="535" y="136"/>
                    </a:lnTo>
                    <a:lnTo>
                      <a:pt x="535" y="138"/>
                    </a:lnTo>
                    <a:lnTo>
                      <a:pt x="535" y="139"/>
                    </a:lnTo>
                    <a:lnTo>
                      <a:pt x="535" y="141"/>
                    </a:lnTo>
                    <a:lnTo>
                      <a:pt x="537" y="141"/>
                    </a:lnTo>
                    <a:lnTo>
                      <a:pt x="537" y="143"/>
                    </a:lnTo>
                    <a:lnTo>
                      <a:pt x="537" y="144"/>
                    </a:lnTo>
                    <a:lnTo>
                      <a:pt x="537" y="146"/>
                    </a:lnTo>
                    <a:lnTo>
                      <a:pt x="539" y="147"/>
                    </a:lnTo>
                    <a:lnTo>
                      <a:pt x="539" y="149"/>
                    </a:lnTo>
                    <a:lnTo>
                      <a:pt x="539" y="151"/>
                    </a:lnTo>
                    <a:lnTo>
                      <a:pt x="540" y="152"/>
                    </a:lnTo>
                    <a:lnTo>
                      <a:pt x="540" y="154"/>
                    </a:lnTo>
                    <a:lnTo>
                      <a:pt x="540" y="155"/>
                    </a:lnTo>
                    <a:lnTo>
                      <a:pt x="542" y="157"/>
                    </a:lnTo>
                    <a:lnTo>
                      <a:pt x="542" y="158"/>
                    </a:lnTo>
                    <a:lnTo>
                      <a:pt x="542" y="160"/>
                    </a:lnTo>
                    <a:lnTo>
                      <a:pt x="542" y="162"/>
                    </a:lnTo>
                    <a:lnTo>
                      <a:pt x="540" y="162"/>
                    </a:lnTo>
                    <a:lnTo>
                      <a:pt x="540" y="163"/>
                    </a:lnTo>
                    <a:lnTo>
                      <a:pt x="539" y="165"/>
                    </a:lnTo>
                    <a:lnTo>
                      <a:pt x="539" y="166"/>
                    </a:lnTo>
                    <a:lnTo>
                      <a:pt x="539" y="168"/>
                    </a:lnTo>
                    <a:lnTo>
                      <a:pt x="539" y="170"/>
                    </a:lnTo>
                    <a:lnTo>
                      <a:pt x="537" y="171"/>
                    </a:lnTo>
                    <a:lnTo>
                      <a:pt x="537" y="173"/>
                    </a:lnTo>
                    <a:lnTo>
                      <a:pt x="537" y="174"/>
                    </a:lnTo>
                    <a:lnTo>
                      <a:pt x="537" y="176"/>
                    </a:lnTo>
                    <a:lnTo>
                      <a:pt x="539" y="176"/>
                    </a:lnTo>
                    <a:lnTo>
                      <a:pt x="540" y="177"/>
                    </a:lnTo>
                    <a:lnTo>
                      <a:pt x="542" y="177"/>
                    </a:lnTo>
                    <a:lnTo>
                      <a:pt x="543" y="177"/>
                    </a:lnTo>
                    <a:lnTo>
                      <a:pt x="543" y="179"/>
                    </a:lnTo>
                    <a:lnTo>
                      <a:pt x="545" y="179"/>
                    </a:lnTo>
                    <a:lnTo>
                      <a:pt x="546" y="177"/>
                    </a:lnTo>
                    <a:lnTo>
                      <a:pt x="548" y="177"/>
                    </a:lnTo>
                    <a:lnTo>
                      <a:pt x="550" y="177"/>
                    </a:lnTo>
                    <a:lnTo>
                      <a:pt x="550" y="179"/>
                    </a:lnTo>
                    <a:lnTo>
                      <a:pt x="551" y="179"/>
                    </a:lnTo>
                    <a:lnTo>
                      <a:pt x="553" y="179"/>
                    </a:lnTo>
                    <a:lnTo>
                      <a:pt x="554" y="179"/>
                    </a:lnTo>
                    <a:lnTo>
                      <a:pt x="556" y="179"/>
                    </a:lnTo>
                    <a:lnTo>
                      <a:pt x="556" y="177"/>
                    </a:lnTo>
                    <a:lnTo>
                      <a:pt x="558" y="177"/>
                    </a:lnTo>
                    <a:lnTo>
                      <a:pt x="559" y="177"/>
                    </a:lnTo>
                    <a:lnTo>
                      <a:pt x="561" y="177"/>
                    </a:lnTo>
                    <a:lnTo>
                      <a:pt x="562" y="177"/>
                    </a:lnTo>
                    <a:lnTo>
                      <a:pt x="564" y="177"/>
                    </a:lnTo>
                    <a:lnTo>
                      <a:pt x="565" y="177"/>
                    </a:lnTo>
                    <a:lnTo>
                      <a:pt x="567" y="177"/>
                    </a:lnTo>
                    <a:lnTo>
                      <a:pt x="569" y="177"/>
                    </a:lnTo>
                    <a:lnTo>
                      <a:pt x="570" y="177"/>
                    </a:lnTo>
                    <a:lnTo>
                      <a:pt x="572" y="177"/>
                    </a:lnTo>
                    <a:lnTo>
                      <a:pt x="572" y="176"/>
                    </a:lnTo>
                    <a:lnTo>
                      <a:pt x="573" y="176"/>
                    </a:lnTo>
                    <a:lnTo>
                      <a:pt x="573" y="174"/>
                    </a:lnTo>
                    <a:lnTo>
                      <a:pt x="575" y="174"/>
                    </a:lnTo>
                    <a:lnTo>
                      <a:pt x="575" y="173"/>
                    </a:lnTo>
                    <a:lnTo>
                      <a:pt x="577" y="173"/>
                    </a:lnTo>
                    <a:lnTo>
                      <a:pt x="577" y="171"/>
                    </a:lnTo>
                    <a:lnTo>
                      <a:pt x="577" y="170"/>
                    </a:lnTo>
                    <a:lnTo>
                      <a:pt x="578" y="168"/>
                    </a:lnTo>
                    <a:lnTo>
                      <a:pt x="578" y="166"/>
                    </a:lnTo>
                    <a:lnTo>
                      <a:pt x="578" y="165"/>
                    </a:lnTo>
                    <a:lnTo>
                      <a:pt x="580" y="165"/>
                    </a:lnTo>
                    <a:lnTo>
                      <a:pt x="580" y="163"/>
                    </a:lnTo>
                    <a:lnTo>
                      <a:pt x="580" y="162"/>
                    </a:lnTo>
                    <a:lnTo>
                      <a:pt x="581" y="162"/>
                    </a:lnTo>
                    <a:lnTo>
                      <a:pt x="581" y="160"/>
                    </a:lnTo>
                    <a:lnTo>
                      <a:pt x="583" y="158"/>
                    </a:lnTo>
                    <a:lnTo>
                      <a:pt x="584" y="157"/>
                    </a:lnTo>
                    <a:lnTo>
                      <a:pt x="584" y="155"/>
                    </a:lnTo>
                    <a:lnTo>
                      <a:pt x="584" y="154"/>
                    </a:lnTo>
                    <a:lnTo>
                      <a:pt x="584" y="152"/>
                    </a:lnTo>
                    <a:lnTo>
                      <a:pt x="584" y="151"/>
                    </a:lnTo>
                    <a:lnTo>
                      <a:pt x="584" y="149"/>
                    </a:lnTo>
                    <a:lnTo>
                      <a:pt x="584" y="147"/>
                    </a:lnTo>
                    <a:lnTo>
                      <a:pt x="586" y="147"/>
                    </a:lnTo>
                    <a:lnTo>
                      <a:pt x="586" y="146"/>
                    </a:lnTo>
                    <a:lnTo>
                      <a:pt x="586" y="144"/>
                    </a:lnTo>
                    <a:lnTo>
                      <a:pt x="586" y="143"/>
                    </a:lnTo>
                    <a:lnTo>
                      <a:pt x="588" y="143"/>
                    </a:lnTo>
                    <a:lnTo>
                      <a:pt x="588" y="141"/>
                    </a:lnTo>
                    <a:lnTo>
                      <a:pt x="589" y="141"/>
                    </a:lnTo>
                    <a:lnTo>
                      <a:pt x="591" y="139"/>
                    </a:lnTo>
                    <a:lnTo>
                      <a:pt x="592" y="138"/>
                    </a:lnTo>
                    <a:lnTo>
                      <a:pt x="594" y="136"/>
                    </a:lnTo>
                    <a:lnTo>
                      <a:pt x="596" y="136"/>
                    </a:lnTo>
                    <a:lnTo>
                      <a:pt x="597" y="135"/>
                    </a:lnTo>
                    <a:lnTo>
                      <a:pt x="599" y="135"/>
                    </a:lnTo>
                    <a:lnTo>
                      <a:pt x="600" y="135"/>
                    </a:lnTo>
                    <a:lnTo>
                      <a:pt x="600" y="133"/>
                    </a:lnTo>
                    <a:lnTo>
                      <a:pt x="602" y="133"/>
                    </a:lnTo>
                    <a:lnTo>
                      <a:pt x="603" y="133"/>
                    </a:lnTo>
                    <a:lnTo>
                      <a:pt x="605" y="133"/>
                    </a:lnTo>
                    <a:lnTo>
                      <a:pt x="607" y="133"/>
                    </a:lnTo>
                    <a:lnTo>
                      <a:pt x="608" y="135"/>
                    </a:lnTo>
                    <a:lnTo>
                      <a:pt x="610" y="135"/>
                    </a:lnTo>
                    <a:lnTo>
                      <a:pt x="611" y="135"/>
                    </a:lnTo>
                    <a:lnTo>
                      <a:pt x="613" y="135"/>
                    </a:lnTo>
                    <a:lnTo>
                      <a:pt x="615" y="135"/>
                    </a:lnTo>
                    <a:lnTo>
                      <a:pt x="615" y="133"/>
                    </a:lnTo>
                    <a:lnTo>
                      <a:pt x="616" y="133"/>
                    </a:lnTo>
                    <a:lnTo>
                      <a:pt x="618" y="133"/>
                    </a:lnTo>
                    <a:lnTo>
                      <a:pt x="619" y="133"/>
                    </a:lnTo>
                    <a:lnTo>
                      <a:pt x="621" y="133"/>
                    </a:lnTo>
                    <a:lnTo>
                      <a:pt x="622" y="138"/>
                    </a:lnTo>
                    <a:lnTo>
                      <a:pt x="622" y="139"/>
                    </a:lnTo>
                    <a:lnTo>
                      <a:pt x="630" y="141"/>
                    </a:lnTo>
                    <a:lnTo>
                      <a:pt x="643" y="138"/>
                    </a:lnTo>
                    <a:lnTo>
                      <a:pt x="646" y="138"/>
                    </a:lnTo>
                    <a:lnTo>
                      <a:pt x="649" y="136"/>
                    </a:lnTo>
                    <a:lnTo>
                      <a:pt x="656" y="135"/>
                    </a:lnTo>
                    <a:lnTo>
                      <a:pt x="667" y="132"/>
                    </a:lnTo>
                    <a:lnTo>
                      <a:pt x="681" y="127"/>
                    </a:lnTo>
                    <a:lnTo>
                      <a:pt x="689" y="124"/>
                    </a:lnTo>
                    <a:lnTo>
                      <a:pt x="695" y="122"/>
                    </a:lnTo>
                    <a:lnTo>
                      <a:pt x="708" y="119"/>
                    </a:lnTo>
                    <a:lnTo>
                      <a:pt x="716" y="117"/>
                    </a:lnTo>
                    <a:lnTo>
                      <a:pt x="722" y="116"/>
                    </a:lnTo>
                    <a:lnTo>
                      <a:pt x="737" y="112"/>
                    </a:lnTo>
                    <a:lnTo>
                      <a:pt x="738" y="112"/>
                    </a:lnTo>
                    <a:lnTo>
                      <a:pt x="763" y="108"/>
                    </a:lnTo>
                    <a:lnTo>
                      <a:pt x="770" y="108"/>
                    </a:lnTo>
                    <a:lnTo>
                      <a:pt x="773" y="108"/>
                    </a:lnTo>
                    <a:lnTo>
                      <a:pt x="775" y="109"/>
                    </a:lnTo>
                    <a:lnTo>
                      <a:pt x="778" y="111"/>
                    </a:lnTo>
                    <a:lnTo>
                      <a:pt x="779" y="114"/>
                    </a:lnTo>
                    <a:lnTo>
                      <a:pt x="779" y="117"/>
                    </a:lnTo>
                    <a:lnTo>
                      <a:pt x="781" y="119"/>
                    </a:lnTo>
                    <a:lnTo>
                      <a:pt x="782" y="119"/>
                    </a:lnTo>
                    <a:lnTo>
                      <a:pt x="781" y="119"/>
                    </a:lnTo>
                    <a:lnTo>
                      <a:pt x="781" y="120"/>
                    </a:lnTo>
                    <a:lnTo>
                      <a:pt x="781" y="122"/>
                    </a:lnTo>
                    <a:lnTo>
                      <a:pt x="781" y="124"/>
                    </a:lnTo>
                    <a:lnTo>
                      <a:pt x="782" y="124"/>
                    </a:lnTo>
                    <a:lnTo>
                      <a:pt x="782" y="125"/>
                    </a:lnTo>
                    <a:lnTo>
                      <a:pt x="784" y="125"/>
                    </a:lnTo>
                    <a:lnTo>
                      <a:pt x="784" y="127"/>
                    </a:lnTo>
                    <a:lnTo>
                      <a:pt x="784" y="128"/>
                    </a:lnTo>
                    <a:lnTo>
                      <a:pt x="786" y="128"/>
                    </a:lnTo>
                    <a:lnTo>
                      <a:pt x="786" y="130"/>
                    </a:lnTo>
                    <a:lnTo>
                      <a:pt x="786" y="132"/>
                    </a:lnTo>
                    <a:lnTo>
                      <a:pt x="787" y="132"/>
                    </a:lnTo>
                    <a:lnTo>
                      <a:pt x="787" y="133"/>
                    </a:lnTo>
                    <a:lnTo>
                      <a:pt x="787" y="135"/>
                    </a:lnTo>
                    <a:lnTo>
                      <a:pt x="789" y="135"/>
                    </a:lnTo>
                    <a:lnTo>
                      <a:pt x="789" y="136"/>
                    </a:lnTo>
                    <a:lnTo>
                      <a:pt x="790" y="136"/>
                    </a:lnTo>
                    <a:lnTo>
                      <a:pt x="790" y="138"/>
                    </a:lnTo>
                    <a:lnTo>
                      <a:pt x="792" y="138"/>
                    </a:lnTo>
                    <a:lnTo>
                      <a:pt x="794" y="138"/>
                    </a:lnTo>
                    <a:lnTo>
                      <a:pt x="794" y="139"/>
                    </a:lnTo>
                    <a:lnTo>
                      <a:pt x="794" y="138"/>
                    </a:lnTo>
                    <a:lnTo>
                      <a:pt x="795" y="138"/>
                    </a:lnTo>
                    <a:lnTo>
                      <a:pt x="794" y="138"/>
                    </a:lnTo>
                    <a:lnTo>
                      <a:pt x="794" y="139"/>
                    </a:lnTo>
                    <a:lnTo>
                      <a:pt x="795" y="139"/>
                    </a:lnTo>
                    <a:lnTo>
                      <a:pt x="795" y="138"/>
                    </a:lnTo>
                    <a:lnTo>
                      <a:pt x="795" y="139"/>
                    </a:lnTo>
                    <a:lnTo>
                      <a:pt x="795" y="141"/>
                    </a:lnTo>
                    <a:lnTo>
                      <a:pt x="794" y="141"/>
                    </a:lnTo>
                    <a:lnTo>
                      <a:pt x="794" y="143"/>
                    </a:lnTo>
                    <a:lnTo>
                      <a:pt x="792" y="143"/>
                    </a:lnTo>
                    <a:lnTo>
                      <a:pt x="794" y="143"/>
                    </a:lnTo>
                    <a:lnTo>
                      <a:pt x="794" y="144"/>
                    </a:lnTo>
                    <a:lnTo>
                      <a:pt x="792" y="144"/>
                    </a:lnTo>
                    <a:lnTo>
                      <a:pt x="792" y="146"/>
                    </a:lnTo>
                    <a:lnTo>
                      <a:pt x="792" y="147"/>
                    </a:lnTo>
                    <a:lnTo>
                      <a:pt x="790" y="147"/>
                    </a:lnTo>
                    <a:lnTo>
                      <a:pt x="792" y="147"/>
                    </a:lnTo>
                    <a:lnTo>
                      <a:pt x="792" y="149"/>
                    </a:lnTo>
                    <a:lnTo>
                      <a:pt x="792" y="151"/>
                    </a:lnTo>
                    <a:lnTo>
                      <a:pt x="794" y="151"/>
                    </a:lnTo>
                    <a:lnTo>
                      <a:pt x="794" y="152"/>
                    </a:lnTo>
                    <a:lnTo>
                      <a:pt x="794" y="151"/>
                    </a:lnTo>
                    <a:lnTo>
                      <a:pt x="794" y="152"/>
                    </a:lnTo>
                    <a:lnTo>
                      <a:pt x="792" y="152"/>
                    </a:lnTo>
                    <a:lnTo>
                      <a:pt x="790" y="152"/>
                    </a:lnTo>
                    <a:lnTo>
                      <a:pt x="790" y="154"/>
                    </a:lnTo>
                    <a:lnTo>
                      <a:pt x="792" y="154"/>
                    </a:lnTo>
                    <a:lnTo>
                      <a:pt x="792" y="152"/>
                    </a:lnTo>
                    <a:lnTo>
                      <a:pt x="792" y="154"/>
                    </a:lnTo>
                    <a:lnTo>
                      <a:pt x="794" y="154"/>
                    </a:lnTo>
                    <a:lnTo>
                      <a:pt x="795" y="154"/>
                    </a:lnTo>
                    <a:lnTo>
                      <a:pt x="795" y="155"/>
                    </a:lnTo>
                    <a:lnTo>
                      <a:pt x="795" y="157"/>
                    </a:lnTo>
                    <a:lnTo>
                      <a:pt x="794" y="157"/>
                    </a:lnTo>
                    <a:lnTo>
                      <a:pt x="792" y="157"/>
                    </a:lnTo>
                    <a:lnTo>
                      <a:pt x="792" y="158"/>
                    </a:lnTo>
                    <a:lnTo>
                      <a:pt x="790" y="158"/>
                    </a:lnTo>
                    <a:lnTo>
                      <a:pt x="790" y="160"/>
                    </a:lnTo>
                    <a:lnTo>
                      <a:pt x="790" y="162"/>
                    </a:lnTo>
                    <a:lnTo>
                      <a:pt x="789" y="162"/>
                    </a:lnTo>
                    <a:lnTo>
                      <a:pt x="789" y="163"/>
                    </a:lnTo>
                    <a:lnTo>
                      <a:pt x="789" y="165"/>
                    </a:lnTo>
                    <a:lnTo>
                      <a:pt x="789" y="166"/>
                    </a:lnTo>
                    <a:lnTo>
                      <a:pt x="789" y="168"/>
                    </a:lnTo>
                    <a:lnTo>
                      <a:pt x="790" y="168"/>
                    </a:lnTo>
                    <a:lnTo>
                      <a:pt x="790" y="170"/>
                    </a:lnTo>
                    <a:lnTo>
                      <a:pt x="790" y="171"/>
                    </a:lnTo>
                    <a:lnTo>
                      <a:pt x="790" y="173"/>
                    </a:lnTo>
                    <a:lnTo>
                      <a:pt x="790" y="174"/>
                    </a:lnTo>
                    <a:lnTo>
                      <a:pt x="790" y="176"/>
                    </a:lnTo>
                    <a:lnTo>
                      <a:pt x="792" y="176"/>
                    </a:lnTo>
                    <a:lnTo>
                      <a:pt x="792" y="177"/>
                    </a:lnTo>
                    <a:lnTo>
                      <a:pt x="792" y="179"/>
                    </a:lnTo>
                    <a:lnTo>
                      <a:pt x="790" y="179"/>
                    </a:lnTo>
                    <a:lnTo>
                      <a:pt x="790" y="181"/>
                    </a:lnTo>
                    <a:lnTo>
                      <a:pt x="790" y="182"/>
                    </a:lnTo>
                    <a:lnTo>
                      <a:pt x="790" y="184"/>
                    </a:lnTo>
                    <a:lnTo>
                      <a:pt x="792" y="184"/>
                    </a:lnTo>
                    <a:lnTo>
                      <a:pt x="792" y="185"/>
                    </a:lnTo>
                    <a:lnTo>
                      <a:pt x="794" y="185"/>
                    </a:lnTo>
                    <a:lnTo>
                      <a:pt x="795" y="185"/>
                    </a:lnTo>
                    <a:lnTo>
                      <a:pt x="795" y="187"/>
                    </a:lnTo>
                    <a:lnTo>
                      <a:pt x="794" y="187"/>
                    </a:lnTo>
                    <a:lnTo>
                      <a:pt x="795" y="187"/>
                    </a:lnTo>
                    <a:lnTo>
                      <a:pt x="795" y="189"/>
                    </a:lnTo>
                    <a:lnTo>
                      <a:pt x="795" y="187"/>
                    </a:lnTo>
                    <a:lnTo>
                      <a:pt x="795" y="189"/>
                    </a:lnTo>
                    <a:lnTo>
                      <a:pt x="797" y="189"/>
                    </a:lnTo>
                    <a:lnTo>
                      <a:pt x="798" y="189"/>
                    </a:lnTo>
                    <a:lnTo>
                      <a:pt x="798" y="190"/>
                    </a:lnTo>
                    <a:lnTo>
                      <a:pt x="798" y="192"/>
                    </a:lnTo>
                    <a:lnTo>
                      <a:pt x="798" y="193"/>
                    </a:lnTo>
                    <a:lnTo>
                      <a:pt x="797" y="193"/>
                    </a:lnTo>
                    <a:lnTo>
                      <a:pt x="798" y="193"/>
                    </a:lnTo>
                    <a:lnTo>
                      <a:pt x="798" y="195"/>
                    </a:lnTo>
                    <a:lnTo>
                      <a:pt x="798" y="193"/>
                    </a:lnTo>
                    <a:lnTo>
                      <a:pt x="800" y="193"/>
                    </a:lnTo>
                    <a:lnTo>
                      <a:pt x="800" y="195"/>
                    </a:lnTo>
                    <a:lnTo>
                      <a:pt x="801" y="195"/>
                    </a:lnTo>
                    <a:lnTo>
                      <a:pt x="801" y="193"/>
                    </a:lnTo>
                    <a:lnTo>
                      <a:pt x="803" y="193"/>
                    </a:lnTo>
                    <a:lnTo>
                      <a:pt x="803" y="195"/>
                    </a:lnTo>
                    <a:lnTo>
                      <a:pt x="805" y="195"/>
                    </a:lnTo>
                    <a:lnTo>
                      <a:pt x="806" y="195"/>
                    </a:lnTo>
                    <a:lnTo>
                      <a:pt x="805" y="195"/>
                    </a:lnTo>
                    <a:lnTo>
                      <a:pt x="805" y="196"/>
                    </a:lnTo>
                    <a:lnTo>
                      <a:pt x="805" y="198"/>
                    </a:lnTo>
                    <a:lnTo>
                      <a:pt x="805" y="200"/>
                    </a:lnTo>
                    <a:lnTo>
                      <a:pt x="806" y="200"/>
                    </a:lnTo>
                    <a:lnTo>
                      <a:pt x="806" y="201"/>
                    </a:lnTo>
                    <a:lnTo>
                      <a:pt x="805" y="201"/>
                    </a:lnTo>
                    <a:lnTo>
                      <a:pt x="805" y="203"/>
                    </a:lnTo>
                    <a:lnTo>
                      <a:pt x="805" y="201"/>
                    </a:lnTo>
                    <a:lnTo>
                      <a:pt x="806" y="201"/>
                    </a:lnTo>
                    <a:lnTo>
                      <a:pt x="808" y="201"/>
                    </a:lnTo>
                    <a:lnTo>
                      <a:pt x="808" y="203"/>
                    </a:lnTo>
                    <a:lnTo>
                      <a:pt x="808" y="204"/>
                    </a:lnTo>
                    <a:lnTo>
                      <a:pt x="806" y="204"/>
                    </a:lnTo>
                    <a:lnTo>
                      <a:pt x="805" y="204"/>
                    </a:lnTo>
                    <a:lnTo>
                      <a:pt x="805" y="206"/>
                    </a:lnTo>
                    <a:lnTo>
                      <a:pt x="806" y="206"/>
                    </a:lnTo>
                    <a:lnTo>
                      <a:pt x="808" y="206"/>
                    </a:lnTo>
                    <a:lnTo>
                      <a:pt x="808" y="208"/>
                    </a:lnTo>
                    <a:lnTo>
                      <a:pt x="808" y="209"/>
                    </a:lnTo>
                    <a:lnTo>
                      <a:pt x="809" y="209"/>
                    </a:lnTo>
                    <a:lnTo>
                      <a:pt x="809" y="211"/>
                    </a:lnTo>
                    <a:lnTo>
                      <a:pt x="809" y="212"/>
                    </a:lnTo>
                    <a:lnTo>
                      <a:pt x="809" y="214"/>
                    </a:lnTo>
                    <a:lnTo>
                      <a:pt x="811" y="214"/>
                    </a:lnTo>
                    <a:lnTo>
                      <a:pt x="811" y="215"/>
                    </a:lnTo>
                    <a:lnTo>
                      <a:pt x="811" y="217"/>
                    </a:lnTo>
                    <a:lnTo>
                      <a:pt x="813" y="217"/>
                    </a:lnTo>
                    <a:lnTo>
                      <a:pt x="813" y="219"/>
                    </a:lnTo>
                    <a:lnTo>
                      <a:pt x="813" y="220"/>
                    </a:lnTo>
                    <a:lnTo>
                      <a:pt x="813" y="222"/>
                    </a:lnTo>
                    <a:lnTo>
                      <a:pt x="813" y="223"/>
                    </a:lnTo>
                    <a:lnTo>
                      <a:pt x="813" y="225"/>
                    </a:lnTo>
                    <a:lnTo>
                      <a:pt x="813" y="227"/>
                    </a:lnTo>
                    <a:lnTo>
                      <a:pt x="813" y="228"/>
                    </a:lnTo>
                    <a:lnTo>
                      <a:pt x="811" y="228"/>
                    </a:lnTo>
                    <a:lnTo>
                      <a:pt x="811" y="230"/>
                    </a:lnTo>
                    <a:lnTo>
                      <a:pt x="811" y="231"/>
                    </a:lnTo>
                    <a:lnTo>
                      <a:pt x="811" y="233"/>
                    </a:lnTo>
                    <a:lnTo>
                      <a:pt x="811" y="234"/>
                    </a:lnTo>
                    <a:lnTo>
                      <a:pt x="809" y="234"/>
                    </a:lnTo>
                    <a:lnTo>
                      <a:pt x="809" y="236"/>
                    </a:lnTo>
                    <a:lnTo>
                      <a:pt x="811" y="236"/>
                    </a:lnTo>
                    <a:lnTo>
                      <a:pt x="811" y="238"/>
                    </a:lnTo>
                    <a:lnTo>
                      <a:pt x="811" y="239"/>
                    </a:lnTo>
                    <a:lnTo>
                      <a:pt x="811" y="241"/>
                    </a:lnTo>
                    <a:lnTo>
                      <a:pt x="811" y="242"/>
                    </a:lnTo>
                    <a:lnTo>
                      <a:pt x="813" y="242"/>
                    </a:lnTo>
                    <a:lnTo>
                      <a:pt x="813" y="244"/>
                    </a:lnTo>
                    <a:lnTo>
                      <a:pt x="813" y="246"/>
                    </a:lnTo>
                    <a:lnTo>
                      <a:pt x="814" y="246"/>
                    </a:lnTo>
                    <a:lnTo>
                      <a:pt x="814" y="247"/>
                    </a:lnTo>
                    <a:lnTo>
                      <a:pt x="816" y="247"/>
                    </a:lnTo>
                    <a:lnTo>
                      <a:pt x="816" y="249"/>
                    </a:lnTo>
                    <a:lnTo>
                      <a:pt x="814" y="249"/>
                    </a:lnTo>
                    <a:lnTo>
                      <a:pt x="814" y="250"/>
                    </a:lnTo>
                    <a:lnTo>
                      <a:pt x="813" y="250"/>
                    </a:lnTo>
                    <a:lnTo>
                      <a:pt x="813" y="252"/>
                    </a:lnTo>
                    <a:lnTo>
                      <a:pt x="811" y="252"/>
                    </a:lnTo>
                    <a:lnTo>
                      <a:pt x="813" y="252"/>
                    </a:lnTo>
                    <a:lnTo>
                      <a:pt x="813" y="250"/>
                    </a:lnTo>
                    <a:lnTo>
                      <a:pt x="814" y="250"/>
                    </a:lnTo>
                    <a:lnTo>
                      <a:pt x="816" y="250"/>
                    </a:lnTo>
                    <a:lnTo>
                      <a:pt x="816" y="252"/>
                    </a:lnTo>
                    <a:lnTo>
                      <a:pt x="817" y="252"/>
                    </a:lnTo>
                    <a:lnTo>
                      <a:pt x="817" y="250"/>
                    </a:lnTo>
                    <a:lnTo>
                      <a:pt x="819" y="250"/>
                    </a:lnTo>
                    <a:lnTo>
                      <a:pt x="820" y="250"/>
                    </a:lnTo>
                    <a:lnTo>
                      <a:pt x="820" y="252"/>
                    </a:lnTo>
                    <a:lnTo>
                      <a:pt x="822" y="252"/>
                    </a:lnTo>
                    <a:lnTo>
                      <a:pt x="822" y="253"/>
                    </a:lnTo>
                    <a:lnTo>
                      <a:pt x="822" y="255"/>
                    </a:lnTo>
                    <a:lnTo>
                      <a:pt x="824" y="255"/>
                    </a:lnTo>
                    <a:lnTo>
                      <a:pt x="824" y="257"/>
                    </a:lnTo>
                    <a:lnTo>
                      <a:pt x="825" y="257"/>
                    </a:lnTo>
                    <a:lnTo>
                      <a:pt x="827" y="257"/>
                    </a:lnTo>
                    <a:lnTo>
                      <a:pt x="827" y="258"/>
                    </a:lnTo>
                    <a:lnTo>
                      <a:pt x="828" y="258"/>
                    </a:lnTo>
                    <a:lnTo>
                      <a:pt x="828" y="260"/>
                    </a:lnTo>
                    <a:lnTo>
                      <a:pt x="828" y="258"/>
                    </a:lnTo>
                    <a:lnTo>
                      <a:pt x="830" y="258"/>
                    </a:lnTo>
                    <a:lnTo>
                      <a:pt x="832" y="258"/>
                    </a:lnTo>
                    <a:lnTo>
                      <a:pt x="832" y="257"/>
                    </a:lnTo>
                    <a:lnTo>
                      <a:pt x="833" y="257"/>
                    </a:lnTo>
                    <a:lnTo>
                      <a:pt x="835" y="257"/>
                    </a:lnTo>
                    <a:lnTo>
                      <a:pt x="835" y="258"/>
                    </a:lnTo>
                    <a:lnTo>
                      <a:pt x="836" y="258"/>
                    </a:lnTo>
                    <a:lnTo>
                      <a:pt x="836" y="260"/>
                    </a:lnTo>
                    <a:lnTo>
                      <a:pt x="838" y="260"/>
                    </a:lnTo>
                    <a:lnTo>
                      <a:pt x="838" y="261"/>
                    </a:lnTo>
                    <a:lnTo>
                      <a:pt x="838" y="263"/>
                    </a:lnTo>
                    <a:lnTo>
                      <a:pt x="838" y="265"/>
                    </a:lnTo>
                    <a:lnTo>
                      <a:pt x="838" y="266"/>
                    </a:lnTo>
                    <a:lnTo>
                      <a:pt x="840" y="266"/>
                    </a:lnTo>
                    <a:lnTo>
                      <a:pt x="840" y="268"/>
                    </a:lnTo>
                    <a:lnTo>
                      <a:pt x="840" y="269"/>
                    </a:lnTo>
                    <a:lnTo>
                      <a:pt x="840" y="271"/>
                    </a:lnTo>
                    <a:lnTo>
                      <a:pt x="841" y="271"/>
                    </a:lnTo>
                    <a:lnTo>
                      <a:pt x="840" y="271"/>
                    </a:lnTo>
                    <a:lnTo>
                      <a:pt x="841" y="271"/>
                    </a:lnTo>
                    <a:lnTo>
                      <a:pt x="841" y="272"/>
                    </a:lnTo>
                    <a:lnTo>
                      <a:pt x="841" y="274"/>
                    </a:lnTo>
                    <a:lnTo>
                      <a:pt x="840" y="274"/>
                    </a:lnTo>
                    <a:lnTo>
                      <a:pt x="841" y="274"/>
                    </a:lnTo>
                    <a:lnTo>
                      <a:pt x="841" y="276"/>
                    </a:lnTo>
                    <a:lnTo>
                      <a:pt x="843" y="276"/>
                    </a:lnTo>
                    <a:lnTo>
                      <a:pt x="843" y="277"/>
                    </a:lnTo>
                    <a:lnTo>
                      <a:pt x="844" y="277"/>
                    </a:lnTo>
                    <a:lnTo>
                      <a:pt x="844" y="279"/>
                    </a:lnTo>
                    <a:lnTo>
                      <a:pt x="844" y="280"/>
                    </a:lnTo>
                    <a:lnTo>
                      <a:pt x="844" y="279"/>
                    </a:lnTo>
                    <a:lnTo>
                      <a:pt x="844" y="280"/>
                    </a:lnTo>
                    <a:lnTo>
                      <a:pt x="844" y="282"/>
                    </a:lnTo>
                    <a:lnTo>
                      <a:pt x="846" y="282"/>
                    </a:lnTo>
                    <a:lnTo>
                      <a:pt x="846" y="284"/>
                    </a:lnTo>
                    <a:lnTo>
                      <a:pt x="846" y="282"/>
                    </a:lnTo>
                    <a:lnTo>
                      <a:pt x="847" y="282"/>
                    </a:lnTo>
                    <a:lnTo>
                      <a:pt x="847" y="284"/>
                    </a:lnTo>
                    <a:lnTo>
                      <a:pt x="849" y="284"/>
                    </a:lnTo>
                    <a:lnTo>
                      <a:pt x="849" y="285"/>
                    </a:lnTo>
                    <a:lnTo>
                      <a:pt x="849" y="284"/>
                    </a:lnTo>
                    <a:lnTo>
                      <a:pt x="849" y="285"/>
                    </a:lnTo>
                    <a:lnTo>
                      <a:pt x="851" y="285"/>
                    </a:lnTo>
                    <a:lnTo>
                      <a:pt x="852" y="285"/>
                    </a:lnTo>
                    <a:lnTo>
                      <a:pt x="852" y="284"/>
                    </a:lnTo>
                    <a:lnTo>
                      <a:pt x="854" y="284"/>
                    </a:lnTo>
                    <a:lnTo>
                      <a:pt x="854" y="282"/>
                    </a:lnTo>
                    <a:lnTo>
                      <a:pt x="854" y="280"/>
                    </a:lnTo>
                    <a:lnTo>
                      <a:pt x="855" y="280"/>
                    </a:lnTo>
                    <a:lnTo>
                      <a:pt x="855" y="282"/>
                    </a:lnTo>
                    <a:lnTo>
                      <a:pt x="855" y="280"/>
                    </a:lnTo>
                    <a:lnTo>
                      <a:pt x="855" y="282"/>
                    </a:lnTo>
                    <a:lnTo>
                      <a:pt x="855" y="284"/>
                    </a:lnTo>
                    <a:lnTo>
                      <a:pt x="857" y="284"/>
                    </a:lnTo>
                    <a:lnTo>
                      <a:pt x="857" y="285"/>
                    </a:lnTo>
                    <a:lnTo>
                      <a:pt x="855" y="285"/>
                    </a:lnTo>
                    <a:lnTo>
                      <a:pt x="855" y="287"/>
                    </a:lnTo>
                    <a:lnTo>
                      <a:pt x="857" y="287"/>
                    </a:lnTo>
                    <a:lnTo>
                      <a:pt x="857" y="288"/>
                    </a:lnTo>
                    <a:lnTo>
                      <a:pt x="857" y="290"/>
                    </a:lnTo>
                    <a:lnTo>
                      <a:pt x="857" y="291"/>
                    </a:lnTo>
                    <a:lnTo>
                      <a:pt x="857" y="293"/>
                    </a:lnTo>
                    <a:lnTo>
                      <a:pt x="859" y="293"/>
                    </a:lnTo>
                    <a:lnTo>
                      <a:pt x="859" y="295"/>
                    </a:lnTo>
                    <a:lnTo>
                      <a:pt x="859" y="296"/>
                    </a:lnTo>
                    <a:lnTo>
                      <a:pt x="860" y="296"/>
                    </a:lnTo>
                    <a:lnTo>
                      <a:pt x="860" y="298"/>
                    </a:lnTo>
                    <a:lnTo>
                      <a:pt x="860" y="299"/>
                    </a:lnTo>
                    <a:lnTo>
                      <a:pt x="860" y="301"/>
                    </a:lnTo>
                    <a:lnTo>
                      <a:pt x="862" y="301"/>
                    </a:lnTo>
                    <a:lnTo>
                      <a:pt x="862" y="303"/>
                    </a:lnTo>
                    <a:lnTo>
                      <a:pt x="862" y="304"/>
                    </a:lnTo>
                    <a:lnTo>
                      <a:pt x="862" y="306"/>
                    </a:lnTo>
                    <a:lnTo>
                      <a:pt x="862" y="307"/>
                    </a:lnTo>
                    <a:lnTo>
                      <a:pt x="862" y="309"/>
                    </a:lnTo>
                    <a:lnTo>
                      <a:pt x="863" y="309"/>
                    </a:lnTo>
                    <a:lnTo>
                      <a:pt x="863" y="311"/>
                    </a:lnTo>
                    <a:lnTo>
                      <a:pt x="865" y="311"/>
                    </a:lnTo>
                    <a:lnTo>
                      <a:pt x="866" y="311"/>
                    </a:lnTo>
                    <a:lnTo>
                      <a:pt x="866" y="312"/>
                    </a:lnTo>
                    <a:lnTo>
                      <a:pt x="868" y="312"/>
                    </a:lnTo>
                    <a:lnTo>
                      <a:pt x="868" y="314"/>
                    </a:lnTo>
                    <a:lnTo>
                      <a:pt x="870" y="314"/>
                    </a:lnTo>
                    <a:lnTo>
                      <a:pt x="870" y="312"/>
                    </a:lnTo>
                    <a:lnTo>
                      <a:pt x="870" y="314"/>
                    </a:lnTo>
                    <a:lnTo>
                      <a:pt x="871" y="314"/>
                    </a:lnTo>
                    <a:lnTo>
                      <a:pt x="873" y="314"/>
                    </a:lnTo>
                    <a:lnTo>
                      <a:pt x="874" y="314"/>
                    </a:lnTo>
                    <a:lnTo>
                      <a:pt x="874" y="315"/>
                    </a:lnTo>
                    <a:lnTo>
                      <a:pt x="874" y="317"/>
                    </a:lnTo>
                    <a:lnTo>
                      <a:pt x="874" y="318"/>
                    </a:lnTo>
                    <a:lnTo>
                      <a:pt x="876" y="318"/>
                    </a:lnTo>
                    <a:lnTo>
                      <a:pt x="876" y="320"/>
                    </a:lnTo>
                    <a:lnTo>
                      <a:pt x="874" y="320"/>
                    </a:lnTo>
                    <a:lnTo>
                      <a:pt x="873" y="320"/>
                    </a:lnTo>
                    <a:lnTo>
                      <a:pt x="873" y="318"/>
                    </a:lnTo>
                    <a:lnTo>
                      <a:pt x="873" y="320"/>
                    </a:lnTo>
                    <a:lnTo>
                      <a:pt x="871" y="320"/>
                    </a:lnTo>
                    <a:lnTo>
                      <a:pt x="870" y="320"/>
                    </a:lnTo>
                    <a:lnTo>
                      <a:pt x="868" y="320"/>
                    </a:lnTo>
                    <a:lnTo>
                      <a:pt x="866" y="320"/>
                    </a:lnTo>
                    <a:lnTo>
                      <a:pt x="866" y="322"/>
                    </a:lnTo>
                    <a:lnTo>
                      <a:pt x="865" y="322"/>
                    </a:lnTo>
                    <a:lnTo>
                      <a:pt x="865" y="320"/>
                    </a:lnTo>
                    <a:lnTo>
                      <a:pt x="863" y="320"/>
                    </a:lnTo>
                    <a:lnTo>
                      <a:pt x="863" y="318"/>
                    </a:lnTo>
                    <a:lnTo>
                      <a:pt x="863" y="320"/>
                    </a:lnTo>
                    <a:lnTo>
                      <a:pt x="862" y="320"/>
                    </a:lnTo>
                    <a:lnTo>
                      <a:pt x="862" y="322"/>
                    </a:lnTo>
                    <a:lnTo>
                      <a:pt x="862" y="323"/>
                    </a:lnTo>
                    <a:lnTo>
                      <a:pt x="862" y="325"/>
                    </a:lnTo>
                    <a:lnTo>
                      <a:pt x="860" y="325"/>
                    </a:lnTo>
                    <a:lnTo>
                      <a:pt x="859" y="325"/>
                    </a:lnTo>
                    <a:lnTo>
                      <a:pt x="857" y="325"/>
                    </a:lnTo>
                    <a:lnTo>
                      <a:pt x="857" y="326"/>
                    </a:lnTo>
                    <a:lnTo>
                      <a:pt x="855" y="326"/>
                    </a:lnTo>
                    <a:lnTo>
                      <a:pt x="854" y="326"/>
                    </a:lnTo>
                    <a:lnTo>
                      <a:pt x="852" y="326"/>
                    </a:lnTo>
                    <a:lnTo>
                      <a:pt x="852" y="328"/>
                    </a:lnTo>
                    <a:lnTo>
                      <a:pt x="851" y="328"/>
                    </a:lnTo>
                    <a:lnTo>
                      <a:pt x="851" y="330"/>
                    </a:lnTo>
                    <a:lnTo>
                      <a:pt x="851" y="331"/>
                    </a:lnTo>
                    <a:lnTo>
                      <a:pt x="851" y="333"/>
                    </a:lnTo>
                    <a:lnTo>
                      <a:pt x="851" y="334"/>
                    </a:lnTo>
                    <a:lnTo>
                      <a:pt x="851" y="336"/>
                    </a:lnTo>
                    <a:lnTo>
                      <a:pt x="852" y="336"/>
                    </a:lnTo>
                    <a:lnTo>
                      <a:pt x="852" y="337"/>
                    </a:lnTo>
                    <a:lnTo>
                      <a:pt x="852" y="339"/>
                    </a:lnTo>
                    <a:lnTo>
                      <a:pt x="852" y="341"/>
                    </a:lnTo>
                    <a:lnTo>
                      <a:pt x="852" y="342"/>
                    </a:lnTo>
                    <a:lnTo>
                      <a:pt x="854" y="342"/>
                    </a:lnTo>
                    <a:lnTo>
                      <a:pt x="854" y="344"/>
                    </a:lnTo>
                    <a:lnTo>
                      <a:pt x="855" y="344"/>
                    </a:lnTo>
                    <a:lnTo>
                      <a:pt x="857" y="344"/>
                    </a:lnTo>
                    <a:lnTo>
                      <a:pt x="857" y="345"/>
                    </a:lnTo>
                    <a:lnTo>
                      <a:pt x="857" y="347"/>
                    </a:lnTo>
                    <a:lnTo>
                      <a:pt x="857" y="349"/>
                    </a:lnTo>
                    <a:lnTo>
                      <a:pt x="857" y="350"/>
                    </a:lnTo>
                    <a:lnTo>
                      <a:pt x="857" y="352"/>
                    </a:lnTo>
                    <a:lnTo>
                      <a:pt x="857" y="353"/>
                    </a:lnTo>
                    <a:lnTo>
                      <a:pt x="859" y="353"/>
                    </a:lnTo>
                    <a:lnTo>
                      <a:pt x="857" y="353"/>
                    </a:lnTo>
                    <a:lnTo>
                      <a:pt x="859" y="353"/>
                    </a:lnTo>
                    <a:lnTo>
                      <a:pt x="859" y="355"/>
                    </a:lnTo>
                    <a:lnTo>
                      <a:pt x="857" y="355"/>
                    </a:lnTo>
                    <a:lnTo>
                      <a:pt x="857" y="356"/>
                    </a:lnTo>
                    <a:lnTo>
                      <a:pt x="857" y="358"/>
                    </a:lnTo>
                    <a:lnTo>
                      <a:pt x="857" y="360"/>
                    </a:lnTo>
                    <a:lnTo>
                      <a:pt x="855" y="360"/>
                    </a:lnTo>
                    <a:lnTo>
                      <a:pt x="855" y="361"/>
                    </a:lnTo>
                    <a:lnTo>
                      <a:pt x="854" y="361"/>
                    </a:lnTo>
                    <a:lnTo>
                      <a:pt x="854" y="360"/>
                    </a:lnTo>
                    <a:lnTo>
                      <a:pt x="854" y="361"/>
                    </a:lnTo>
                    <a:lnTo>
                      <a:pt x="855" y="361"/>
                    </a:lnTo>
                    <a:lnTo>
                      <a:pt x="857" y="361"/>
                    </a:lnTo>
                    <a:lnTo>
                      <a:pt x="859" y="361"/>
                    </a:lnTo>
                    <a:lnTo>
                      <a:pt x="860" y="361"/>
                    </a:lnTo>
                    <a:lnTo>
                      <a:pt x="860" y="363"/>
                    </a:lnTo>
                    <a:lnTo>
                      <a:pt x="860" y="364"/>
                    </a:lnTo>
                    <a:lnTo>
                      <a:pt x="860" y="366"/>
                    </a:lnTo>
                    <a:lnTo>
                      <a:pt x="859" y="366"/>
                    </a:lnTo>
                    <a:lnTo>
                      <a:pt x="857" y="366"/>
                    </a:lnTo>
                    <a:lnTo>
                      <a:pt x="855" y="366"/>
                    </a:lnTo>
                    <a:lnTo>
                      <a:pt x="855" y="368"/>
                    </a:lnTo>
                    <a:lnTo>
                      <a:pt x="855" y="369"/>
                    </a:lnTo>
                    <a:lnTo>
                      <a:pt x="854" y="369"/>
                    </a:lnTo>
                    <a:lnTo>
                      <a:pt x="854" y="368"/>
                    </a:lnTo>
                    <a:lnTo>
                      <a:pt x="854" y="369"/>
                    </a:lnTo>
                    <a:lnTo>
                      <a:pt x="852" y="369"/>
                    </a:lnTo>
                    <a:lnTo>
                      <a:pt x="852" y="371"/>
                    </a:lnTo>
                    <a:lnTo>
                      <a:pt x="851" y="371"/>
                    </a:lnTo>
                    <a:lnTo>
                      <a:pt x="851" y="372"/>
                    </a:lnTo>
                    <a:lnTo>
                      <a:pt x="851" y="374"/>
                    </a:lnTo>
                    <a:lnTo>
                      <a:pt x="852" y="374"/>
                    </a:lnTo>
                    <a:lnTo>
                      <a:pt x="852" y="375"/>
                    </a:lnTo>
                    <a:lnTo>
                      <a:pt x="852" y="374"/>
                    </a:lnTo>
                    <a:lnTo>
                      <a:pt x="854" y="374"/>
                    </a:lnTo>
                    <a:lnTo>
                      <a:pt x="854" y="375"/>
                    </a:lnTo>
                    <a:lnTo>
                      <a:pt x="855" y="375"/>
                    </a:lnTo>
                    <a:lnTo>
                      <a:pt x="857" y="375"/>
                    </a:lnTo>
                    <a:lnTo>
                      <a:pt x="859" y="375"/>
                    </a:lnTo>
                    <a:lnTo>
                      <a:pt x="857" y="375"/>
                    </a:lnTo>
                    <a:lnTo>
                      <a:pt x="857" y="377"/>
                    </a:lnTo>
                    <a:lnTo>
                      <a:pt x="857" y="379"/>
                    </a:lnTo>
                    <a:lnTo>
                      <a:pt x="857" y="377"/>
                    </a:lnTo>
                    <a:lnTo>
                      <a:pt x="859" y="377"/>
                    </a:lnTo>
                    <a:lnTo>
                      <a:pt x="859" y="375"/>
                    </a:lnTo>
                    <a:lnTo>
                      <a:pt x="859" y="377"/>
                    </a:lnTo>
                    <a:lnTo>
                      <a:pt x="860" y="377"/>
                    </a:lnTo>
                    <a:lnTo>
                      <a:pt x="860" y="379"/>
                    </a:lnTo>
                    <a:lnTo>
                      <a:pt x="862" y="379"/>
                    </a:lnTo>
                    <a:lnTo>
                      <a:pt x="862" y="380"/>
                    </a:lnTo>
                    <a:lnTo>
                      <a:pt x="863" y="380"/>
                    </a:lnTo>
                    <a:lnTo>
                      <a:pt x="865" y="380"/>
                    </a:lnTo>
                    <a:lnTo>
                      <a:pt x="865" y="379"/>
                    </a:lnTo>
                    <a:lnTo>
                      <a:pt x="865" y="377"/>
                    </a:lnTo>
                    <a:lnTo>
                      <a:pt x="865" y="375"/>
                    </a:lnTo>
                    <a:lnTo>
                      <a:pt x="866" y="375"/>
                    </a:lnTo>
                    <a:lnTo>
                      <a:pt x="868" y="375"/>
                    </a:lnTo>
                    <a:lnTo>
                      <a:pt x="866" y="375"/>
                    </a:lnTo>
                    <a:lnTo>
                      <a:pt x="868" y="375"/>
                    </a:lnTo>
                    <a:lnTo>
                      <a:pt x="868" y="377"/>
                    </a:lnTo>
                    <a:lnTo>
                      <a:pt x="868" y="375"/>
                    </a:lnTo>
                    <a:lnTo>
                      <a:pt x="868" y="377"/>
                    </a:lnTo>
                    <a:lnTo>
                      <a:pt x="870" y="377"/>
                    </a:lnTo>
                    <a:lnTo>
                      <a:pt x="871" y="377"/>
                    </a:lnTo>
                    <a:lnTo>
                      <a:pt x="871" y="375"/>
                    </a:lnTo>
                    <a:lnTo>
                      <a:pt x="871" y="374"/>
                    </a:lnTo>
                    <a:lnTo>
                      <a:pt x="873" y="374"/>
                    </a:lnTo>
                    <a:lnTo>
                      <a:pt x="873" y="372"/>
                    </a:lnTo>
                    <a:lnTo>
                      <a:pt x="871" y="372"/>
                    </a:lnTo>
                    <a:lnTo>
                      <a:pt x="873" y="372"/>
                    </a:lnTo>
                    <a:lnTo>
                      <a:pt x="874" y="372"/>
                    </a:lnTo>
                    <a:lnTo>
                      <a:pt x="874" y="374"/>
                    </a:lnTo>
                    <a:lnTo>
                      <a:pt x="876" y="374"/>
                    </a:lnTo>
                    <a:lnTo>
                      <a:pt x="878" y="374"/>
                    </a:lnTo>
                    <a:lnTo>
                      <a:pt x="879" y="374"/>
                    </a:lnTo>
                    <a:lnTo>
                      <a:pt x="879" y="375"/>
                    </a:lnTo>
                    <a:lnTo>
                      <a:pt x="881" y="375"/>
                    </a:lnTo>
                    <a:lnTo>
                      <a:pt x="881" y="377"/>
                    </a:lnTo>
                    <a:lnTo>
                      <a:pt x="882" y="377"/>
                    </a:lnTo>
                    <a:lnTo>
                      <a:pt x="882" y="379"/>
                    </a:lnTo>
                    <a:lnTo>
                      <a:pt x="884" y="379"/>
                    </a:lnTo>
                    <a:lnTo>
                      <a:pt x="884" y="380"/>
                    </a:lnTo>
                    <a:lnTo>
                      <a:pt x="884" y="382"/>
                    </a:lnTo>
                    <a:lnTo>
                      <a:pt x="885" y="382"/>
                    </a:lnTo>
                    <a:lnTo>
                      <a:pt x="885" y="383"/>
                    </a:lnTo>
                    <a:lnTo>
                      <a:pt x="885" y="385"/>
                    </a:lnTo>
                    <a:lnTo>
                      <a:pt x="887" y="385"/>
                    </a:lnTo>
                    <a:lnTo>
                      <a:pt x="887" y="387"/>
                    </a:lnTo>
                    <a:lnTo>
                      <a:pt x="889" y="387"/>
                    </a:lnTo>
                    <a:lnTo>
                      <a:pt x="889" y="388"/>
                    </a:lnTo>
                    <a:lnTo>
                      <a:pt x="889" y="390"/>
                    </a:lnTo>
                    <a:lnTo>
                      <a:pt x="890" y="390"/>
                    </a:lnTo>
                    <a:lnTo>
                      <a:pt x="890" y="391"/>
                    </a:lnTo>
                    <a:lnTo>
                      <a:pt x="890" y="390"/>
                    </a:lnTo>
                    <a:lnTo>
                      <a:pt x="889" y="390"/>
                    </a:lnTo>
                    <a:lnTo>
                      <a:pt x="889" y="388"/>
                    </a:lnTo>
                    <a:lnTo>
                      <a:pt x="889" y="387"/>
                    </a:lnTo>
                    <a:lnTo>
                      <a:pt x="887" y="387"/>
                    </a:lnTo>
                    <a:lnTo>
                      <a:pt x="887" y="385"/>
                    </a:lnTo>
                    <a:lnTo>
                      <a:pt x="887" y="383"/>
                    </a:lnTo>
                    <a:lnTo>
                      <a:pt x="887" y="382"/>
                    </a:lnTo>
                    <a:lnTo>
                      <a:pt x="887" y="380"/>
                    </a:lnTo>
                    <a:lnTo>
                      <a:pt x="889" y="380"/>
                    </a:lnTo>
                    <a:lnTo>
                      <a:pt x="889" y="379"/>
                    </a:lnTo>
                    <a:lnTo>
                      <a:pt x="889" y="377"/>
                    </a:lnTo>
                    <a:lnTo>
                      <a:pt x="889" y="375"/>
                    </a:lnTo>
                    <a:lnTo>
                      <a:pt x="887" y="375"/>
                    </a:lnTo>
                    <a:lnTo>
                      <a:pt x="887" y="374"/>
                    </a:lnTo>
                    <a:lnTo>
                      <a:pt x="885" y="374"/>
                    </a:lnTo>
                    <a:lnTo>
                      <a:pt x="884" y="374"/>
                    </a:lnTo>
                    <a:lnTo>
                      <a:pt x="882" y="374"/>
                    </a:lnTo>
                    <a:lnTo>
                      <a:pt x="882" y="372"/>
                    </a:lnTo>
                    <a:lnTo>
                      <a:pt x="884" y="372"/>
                    </a:lnTo>
                    <a:lnTo>
                      <a:pt x="882" y="372"/>
                    </a:lnTo>
                    <a:lnTo>
                      <a:pt x="881" y="372"/>
                    </a:lnTo>
                    <a:lnTo>
                      <a:pt x="881" y="371"/>
                    </a:lnTo>
                    <a:lnTo>
                      <a:pt x="881" y="372"/>
                    </a:lnTo>
                    <a:lnTo>
                      <a:pt x="881" y="371"/>
                    </a:lnTo>
                    <a:lnTo>
                      <a:pt x="881" y="372"/>
                    </a:lnTo>
                    <a:lnTo>
                      <a:pt x="881" y="371"/>
                    </a:lnTo>
                    <a:lnTo>
                      <a:pt x="881" y="369"/>
                    </a:lnTo>
                    <a:lnTo>
                      <a:pt x="881" y="371"/>
                    </a:lnTo>
                    <a:lnTo>
                      <a:pt x="879" y="371"/>
                    </a:lnTo>
                    <a:lnTo>
                      <a:pt x="879" y="372"/>
                    </a:lnTo>
                    <a:lnTo>
                      <a:pt x="879" y="371"/>
                    </a:lnTo>
                    <a:lnTo>
                      <a:pt x="878" y="371"/>
                    </a:lnTo>
                    <a:lnTo>
                      <a:pt x="878" y="372"/>
                    </a:lnTo>
                    <a:lnTo>
                      <a:pt x="876" y="372"/>
                    </a:lnTo>
                    <a:lnTo>
                      <a:pt x="876" y="371"/>
                    </a:lnTo>
                    <a:lnTo>
                      <a:pt x="874" y="371"/>
                    </a:lnTo>
                    <a:lnTo>
                      <a:pt x="874" y="369"/>
                    </a:lnTo>
                    <a:lnTo>
                      <a:pt x="874" y="368"/>
                    </a:lnTo>
                    <a:lnTo>
                      <a:pt x="874" y="366"/>
                    </a:lnTo>
                    <a:lnTo>
                      <a:pt x="874" y="364"/>
                    </a:lnTo>
                    <a:lnTo>
                      <a:pt x="873" y="364"/>
                    </a:lnTo>
                    <a:lnTo>
                      <a:pt x="874" y="364"/>
                    </a:lnTo>
                    <a:lnTo>
                      <a:pt x="873" y="364"/>
                    </a:lnTo>
                    <a:lnTo>
                      <a:pt x="873" y="363"/>
                    </a:lnTo>
                    <a:lnTo>
                      <a:pt x="873" y="361"/>
                    </a:lnTo>
                    <a:lnTo>
                      <a:pt x="874" y="361"/>
                    </a:lnTo>
                    <a:lnTo>
                      <a:pt x="876" y="361"/>
                    </a:lnTo>
                    <a:lnTo>
                      <a:pt x="874" y="361"/>
                    </a:lnTo>
                    <a:lnTo>
                      <a:pt x="874" y="360"/>
                    </a:lnTo>
                    <a:lnTo>
                      <a:pt x="876" y="360"/>
                    </a:lnTo>
                    <a:lnTo>
                      <a:pt x="874" y="360"/>
                    </a:lnTo>
                    <a:lnTo>
                      <a:pt x="874" y="358"/>
                    </a:lnTo>
                    <a:lnTo>
                      <a:pt x="874" y="356"/>
                    </a:lnTo>
                    <a:lnTo>
                      <a:pt x="873" y="356"/>
                    </a:lnTo>
                    <a:lnTo>
                      <a:pt x="873" y="355"/>
                    </a:lnTo>
                    <a:lnTo>
                      <a:pt x="873" y="353"/>
                    </a:lnTo>
                    <a:lnTo>
                      <a:pt x="873" y="352"/>
                    </a:lnTo>
                    <a:lnTo>
                      <a:pt x="874" y="352"/>
                    </a:lnTo>
                    <a:lnTo>
                      <a:pt x="874" y="353"/>
                    </a:lnTo>
                    <a:lnTo>
                      <a:pt x="876" y="353"/>
                    </a:lnTo>
                    <a:lnTo>
                      <a:pt x="878" y="353"/>
                    </a:lnTo>
                    <a:lnTo>
                      <a:pt x="879" y="353"/>
                    </a:lnTo>
                    <a:lnTo>
                      <a:pt x="879" y="355"/>
                    </a:lnTo>
                    <a:lnTo>
                      <a:pt x="881" y="355"/>
                    </a:lnTo>
                    <a:lnTo>
                      <a:pt x="881" y="353"/>
                    </a:lnTo>
                    <a:lnTo>
                      <a:pt x="882" y="353"/>
                    </a:lnTo>
                    <a:lnTo>
                      <a:pt x="882" y="355"/>
                    </a:lnTo>
                    <a:lnTo>
                      <a:pt x="884" y="355"/>
                    </a:lnTo>
                    <a:lnTo>
                      <a:pt x="884" y="356"/>
                    </a:lnTo>
                    <a:lnTo>
                      <a:pt x="885" y="356"/>
                    </a:lnTo>
                    <a:lnTo>
                      <a:pt x="885" y="358"/>
                    </a:lnTo>
                    <a:lnTo>
                      <a:pt x="887" y="358"/>
                    </a:lnTo>
                    <a:lnTo>
                      <a:pt x="887" y="356"/>
                    </a:lnTo>
                    <a:lnTo>
                      <a:pt x="887" y="358"/>
                    </a:lnTo>
                    <a:lnTo>
                      <a:pt x="889" y="358"/>
                    </a:lnTo>
                    <a:lnTo>
                      <a:pt x="887" y="358"/>
                    </a:lnTo>
                    <a:lnTo>
                      <a:pt x="889" y="358"/>
                    </a:lnTo>
                    <a:lnTo>
                      <a:pt x="889" y="360"/>
                    </a:lnTo>
                    <a:lnTo>
                      <a:pt x="889" y="358"/>
                    </a:lnTo>
                    <a:lnTo>
                      <a:pt x="889" y="360"/>
                    </a:lnTo>
                    <a:lnTo>
                      <a:pt x="890" y="360"/>
                    </a:lnTo>
                    <a:lnTo>
                      <a:pt x="890" y="361"/>
                    </a:lnTo>
                    <a:lnTo>
                      <a:pt x="892" y="361"/>
                    </a:lnTo>
                    <a:lnTo>
                      <a:pt x="893" y="361"/>
                    </a:lnTo>
                    <a:lnTo>
                      <a:pt x="893" y="363"/>
                    </a:lnTo>
                    <a:lnTo>
                      <a:pt x="895" y="363"/>
                    </a:lnTo>
                    <a:lnTo>
                      <a:pt x="895" y="361"/>
                    </a:lnTo>
                    <a:lnTo>
                      <a:pt x="897" y="361"/>
                    </a:lnTo>
                    <a:lnTo>
                      <a:pt x="897" y="363"/>
                    </a:lnTo>
                    <a:lnTo>
                      <a:pt x="898" y="363"/>
                    </a:lnTo>
                    <a:lnTo>
                      <a:pt x="898" y="364"/>
                    </a:lnTo>
                    <a:lnTo>
                      <a:pt x="897" y="364"/>
                    </a:lnTo>
                    <a:lnTo>
                      <a:pt x="897" y="363"/>
                    </a:lnTo>
                    <a:lnTo>
                      <a:pt x="895" y="363"/>
                    </a:lnTo>
                    <a:lnTo>
                      <a:pt x="895" y="364"/>
                    </a:lnTo>
                    <a:lnTo>
                      <a:pt x="895" y="366"/>
                    </a:lnTo>
                    <a:lnTo>
                      <a:pt x="895" y="368"/>
                    </a:lnTo>
                    <a:lnTo>
                      <a:pt x="895" y="369"/>
                    </a:lnTo>
                    <a:lnTo>
                      <a:pt x="895" y="371"/>
                    </a:lnTo>
                    <a:lnTo>
                      <a:pt x="893" y="371"/>
                    </a:lnTo>
                    <a:lnTo>
                      <a:pt x="893" y="372"/>
                    </a:lnTo>
                    <a:lnTo>
                      <a:pt x="893" y="374"/>
                    </a:lnTo>
                    <a:lnTo>
                      <a:pt x="893" y="375"/>
                    </a:lnTo>
                    <a:lnTo>
                      <a:pt x="895" y="375"/>
                    </a:lnTo>
                    <a:lnTo>
                      <a:pt x="895" y="374"/>
                    </a:lnTo>
                    <a:lnTo>
                      <a:pt x="895" y="375"/>
                    </a:lnTo>
                    <a:lnTo>
                      <a:pt x="895" y="377"/>
                    </a:lnTo>
                    <a:lnTo>
                      <a:pt x="895" y="379"/>
                    </a:lnTo>
                    <a:lnTo>
                      <a:pt x="893" y="379"/>
                    </a:lnTo>
                    <a:lnTo>
                      <a:pt x="895" y="379"/>
                    </a:lnTo>
                    <a:lnTo>
                      <a:pt x="893" y="379"/>
                    </a:lnTo>
                    <a:lnTo>
                      <a:pt x="893" y="380"/>
                    </a:lnTo>
                    <a:lnTo>
                      <a:pt x="893" y="382"/>
                    </a:lnTo>
                    <a:lnTo>
                      <a:pt x="893" y="380"/>
                    </a:lnTo>
                    <a:lnTo>
                      <a:pt x="893" y="382"/>
                    </a:lnTo>
                    <a:lnTo>
                      <a:pt x="892" y="382"/>
                    </a:lnTo>
                    <a:lnTo>
                      <a:pt x="890" y="382"/>
                    </a:lnTo>
                    <a:lnTo>
                      <a:pt x="890" y="383"/>
                    </a:lnTo>
                    <a:lnTo>
                      <a:pt x="892" y="383"/>
                    </a:lnTo>
                    <a:lnTo>
                      <a:pt x="892" y="385"/>
                    </a:lnTo>
                    <a:lnTo>
                      <a:pt x="892" y="387"/>
                    </a:lnTo>
                    <a:lnTo>
                      <a:pt x="892" y="388"/>
                    </a:lnTo>
                    <a:lnTo>
                      <a:pt x="893" y="388"/>
                    </a:lnTo>
                    <a:lnTo>
                      <a:pt x="893" y="390"/>
                    </a:lnTo>
                    <a:lnTo>
                      <a:pt x="895" y="390"/>
                    </a:lnTo>
                    <a:lnTo>
                      <a:pt x="895" y="391"/>
                    </a:lnTo>
                    <a:lnTo>
                      <a:pt x="895" y="393"/>
                    </a:lnTo>
                    <a:lnTo>
                      <a:pt x="897" y="393"/>
                    </a:lnTo>
                    <a:lnTo>
                      <a:pt x="897" y="394"/>
                    </a:lnTo>
                    <a:lnTo>
                      <a:pt x="895" y="394"/>
                    </a:lnTo>
                    <a:lnTo>
                      <a:pt x="897" y="394"/>
                    </a:lnTo>
                    <a:lnTo>
                      <a:pt x="897" y="396"/>
                    </a:lnTo>
                    <a:lnTo>
                      <a:pt x="898" y="396"/>
                    </a:lnTo>
                    <a:lnTo>
                      <a:pt x="900" y="396"/>
                    </a:lnTo>
                    <a:lnTo>
                      <a:pt x="900" y="398"/>
                    </a:lnTo>
                    <a:lnTo>
                      <a:pt x="900" y="399"/>
                    </a:lnTo>
                    <a:lnTo>
                      <a:pt x="901" y="399"/>
                    </a:lnTo>
                    <a:lnTo>
                      <a:pt x="901" y="401"/>
                    </a:lnTo>
                    <a:lnTo>
                      <a:pt x="901" y="402"/>
                    </a:lnTo>
                    <a:lnTo>
                      <a:pt x="903" y="402"/>
                    </a:lnTo>
                    <a:lnTo>
                      <a:pt x="901" y="402"/>
                    </a:lnTo>
                    <a:lnTo>
                      <a:pt x="901" y="404"/>
                    </a:lnTo>
                    <a:lnTo>
                      <a:pt x="903" y="404"/>
                    </a:lnTo>
                    <a:lnTo>
                      <a:pt x="903" y="406"/>
                    </a:lnTo>
                    <a:lnTo>
                      <a:pt x="901" y="406"/>
                    </a:lnTo>
                    <a:lnTo>
                      <a:pt x="903" y="406"/>
                    </a:lnTo>
                    <a:lnTo>
                      <a:pt x="903" y="407"/>
                    </a:lnTo>
                    <a:lnTo>
                      <a:pt x="903" y="406"/>
                    </a:lnTo>
                    <a:lnTo>
                      <a:pt x="903" y="407"/>
                    </a:lnTo>
                    <a:lnTo>
                      <a:pt x="903" y="409"/>
                    </a:lnTo>
                    <a:lnTo>
                      <a:pt x="901" y="409"/>
                    </a:lnTo>
                    <a:lnTo>
                      <a:pt x="903" y="409"/>
                    </a:lnTo>
                    <a:lnTo>
                      <a:pt x="903" y="410"/>
                    </a:lnTo>
                    <a:lnTo>
                      <a:pt x="903" y="412"/>
                    </a:lnTo>
                    <a:lnTo>
                      <a:pt x="903" y="413"/>
                    </a:lnTo>
                    <a:lnTo>
                      <a:pt x="903" y="415"/>
                    </a:lnTo>
                    <a:lnTo>
                      <a:pt x="903" y="417"/>
                    </a:lnTo>
                    <a:lnTo>
                      <a:pt x="903" y="418"/>
                    </a:lnTo>
                    <a:lnTo>
                      <a:pt x="903" y="420"/>
                    </a:lnTo>
                    <a:lnTo>
                      <a:pt x="903" y="421"/>
                    </a:lnTo>
                    <a:lnTo>
                      <a:pt x="903" y="423"/>
                    </a:lnTo>
                    <a:lnTo>
                      <a:pt x="901" y="423"/>
                    </a:lnTo>
                    <a:lnTo>
                      <a:pt x="901" y="421"/>
                    </a:lnTo>
                    <a:lnTo>
                      <a:pt x="900" y="421"/>
                    </a:lnTo>
                    <a:lnTo>
                      <a:pt x="900" y="423"/>
                    </a:lnTo>
                    <a:lnTo>
                      <a:pt x="900" y="425"/>
                    </a:lnTo>
                    <a:lnTo>
                      <a:pt x="898" y="425"/>
                    </a:lnTo>
                    <a:lnTo>
                      <a:pt x="898" y="426"/>
                    </a:lnTo>
                    <a:lnTo>
                      <a:pt x="900" y="426"/>
                    </a:lnTo>
                    <a:lnTo>
                      <a:pt x="901" y="426"/>
                    </a:lnTo>
                    <a:lnTo>
                      <a:pt x="901" y="428"/>
                    </a:lnTo>
                    <a:lnTo>
                      <a:pt x="901" y="429"/>
                    </a:lnTo>
                    <a:lnTo>
                      <a:pt x="903" y="429"/>
                    </a:lnTo>
                    <a:lnTo>
                      <a:pt x="904" y="429"/>
                    </a:lnTo>
                    <a:lnTo>
                      <a:pt x="904" y="431"/>
                    </a:lnTo>
                    <a:lnTo>
                      <a:pt x="904" y="432"/>
                    </a:lnTo>
                    <a:lnTo>
                      <a:pt x="904" y="434"/>
                    </a:lnTo>
                    <a:lnTo>
                      <a:pt x="904" y="436"/>
                    </a:lnTo>
                    <a:lnTo>
                      <a:pt x="904" y="437"/>
                    </a:lnTo>
                    <a:lnTo>
                      <a:pt x="904" y="439"/>
                    </a:lnTo>
                    <a:lnTo>
                      <a:pt x="906" y="439"/>
                    </a:lnTo>
                    <a:lnTo>
                      <a:pt x="906" y="440"/>
                    </a:lnTo>
                    <a:lnTo>
                      <a:pt x="904" y="440"/>
                    </a:lnTo>
                    <a:lnTo>
                      <a:pt x="904" y="442"/>
                    </a:lnTo>
                    <a:lnTo>
                      <a:pt x="906" y="442"/>
                    </a:lnTo>
                    <a:lnTo>
                      <a:pt x="904" y="442"/>
                    </a:lnTo>
                    <a:lnTo>
                      <a:pt x="904" y="444"/>
                    </a:lnTo>
                    <a:lnTo>
                      <a:pt x="904" y="445"/>
                    </a:lnTo>
                    <a:lnTo>
                      <a:pt x="906" y="445"/>
                    </a:lnTo>
                    <a:lnTo>
                      <a:pt x="906" y="447"/>
                    </a:lnTo>
                    <a:lnTo>
                      <a:pt x="906" y="448"/>
                    </a:lnTo>
                    <a:lnTo>
                      <a:pt x="904" y="448"/>
                    </a:lnTo>
                    <a:lnTo>
                      <a:pt x="904" y="450"/>
                    </a:lnTo>
                    <a:lnTo>
                      <a:pt x="906" y="450"/>
                    </a:lnTo>
                    <a:lnTo>
                      <a:pt x="906" y="451"/>
                    </a:lnTo>
                    <a:lnTo>
                      <a:pt x="906" y="450"/>
                    </a:lnTo>
                    <a:lnTo>
                      <a:pt x="908" y="450"/>
                    </a:lnTo>
                    <a:lnTo>
                      <a:pt x="908" y="451"/>
                    </a:lnTo>
                    <a:lnTo>
                      <a:pt x="906" y="451"/>
                    </a:lnTo>
                    <a:lnTo>
                      <a:pt x="908" y="451"/>
                    </a:lnTo>
                    <a:lnTo>
                      <a:pt x="906" y="451"/>
                    </a:lnTo>
                    <a:lnTo>
                      <a:pt x="906" y="453"/>
                    </a:lnTo>
                    <a:lnTo>
                      <a:pt x="908" y="453"/>
                    </a:lnTo>
                    <a:lnTo>
                      <a:pt x="906" y="453"/>
                    </a:lnTo>
                    <a:lnTo>
                      <a:pt x="906" y="455"/>
                    </a:lnTo>
                    <a:lnTo>
                      <a:pt x="908" y="455"/>
                    </a:lnTo>
                    <a:lnTo>
                      <a:pt x="908" y="456"/>
                    </a:lnTo>
                    <a:lnTo>
                      <a:pt x="906" y="456"/>
                    </a:lnTo>
                    <a:lnTo>
                      <a:pt x="908" y="456"/>
                    </a:lnTo>
                    <a:lnTo>
                      <a:pt x="908" y="458"/>
                    </a:lnTo>
                    <a:lnTo>
                      <a:pt x="908" y="459"/>
                    </a:lnTo>
                    <a:lnTo>
                      <a:pt x="906" y="459"/>
                    </a:lnTo>
                    <a:lnTo>
                      <a:pt x="906" y="461"/>
                    </a:lnTo>
                    <a:lnTo>
                      <a:pt x="906" y="463"/>
                    </a:lnTo>
                    <a:lnTo>
                      <a:pt x="908" y="463"/>
                    </a:lnTo>
                    <a:lnTo>
                      <a:pt x="906" y="463"/>
                    </a:lnTo>
                    <a:lnTo>
                      <a:pt x="906" y="464"/>
                    </a:lnTo>
                    <a:lnTo>
                      <a:pt x="904" y="464"/>
                    </a:lnTo>
                    <a:lnTo>
                      <a:pt x="904" y="466"/>
                    </a:lnTo>
                    <a:lnTo>
                      <a:pt x="903" y="466"/>
                    </a:lnTo>
                    <a:lnTo>
                      <a:pt x="901" y="466"/>
                    </a:lnTo>
                    <a:lnTo>
                      <a:pt x="900" y="466"/>
                    </a:lnTo>
                    <a:lnTo>
                      <a:pt x="898" y="466"/>
                    </a:lnTo>
                    <a:lnTo>
                      <a:pt x="898" y="467"/>
                    </a:lnTo>
                    <a:lnTo>
                      <a:pt x="898" y="469"/>
                    </a:lnTo>
                    <a:lnTo>
                      <a:pt x="898" y="467"/>
                    </a:lnTo>
                    <a:lnTo>
                      <a:pt x="897" y="467"/>
                    </a:lnTo>
                    <a:lnTo>
                      <a:pt x="897" y="469"/>
                    </a:lnTo>
                    <a:lnTo>
                      <a:pt x="898" y="469"/>
                    </a:lnTo>
                    <a:lnTo>
                      <a:pt x="897" y="469"/>
                    </a:lnTo>
                    <a:lnTo>
                      <a:pt x="897" y="470"/>
                    </a:lnTo>
                    <a:lnTo>
                      <a:pt x="895" y="470"/>
                    </a:lnTo>
                    <a:lnTo>
                      <a:pt x="895" y="472"/>
                    </a:lnTo>
                    <a:lnTo>
                      <a:pt x="893" y="472"/>
                    </a:lnTo>
                    <a:lnTo>
                      <a:pt x="895" y="472"/>
                    </a:lnTo>
                    <a:lnTo>
                      <a:pt x="895" y="474"/>
                    </a:lnTo>
                    <a:lnTo>
                      <a:pt x="893" y="474"/>
                    </a:lnTo>
                    <a:lnTo>
                      <a:pt x="892" y="474"/>
                    </a:lnTo>
                    <a:lnTo>
                      <a:pt x="892" y="475"/>
                    </a:lnTo>
                    <a:lnTo>
                      <a:pt x="890" y="475"/>
                    </a:lnTo>
                    <a:lnTo>
                      <a:pt x="890" y="477"/>
                    </a:lnTo>
                    <a:lnTo>
                      <a:pt x="890" y="475"/>
                    </a:lnTo>
                    <a:lnTo>
                      <a:pt x="889" y="475"/>
                    </a:lnTo>
                    <a:lnTo>
                      <a:pt x="887" y="475"/>
                    </a:lnTo>
                    <a:lnTo>
                      <a:pt x="885" y="475"/>
                    </a:lnTo>
                    <a:lnTo>
                      <a:pt x="885" y="474"/>
                    </a:lnTo>
                    <a:lnTo>
                      <a:pt x="885" y="475"/>
                    </a:lnTo>
                    <a:lnTo>
                      <a:pt x="885" y="474"/>
                    </a:lnTo>
                    <a:lnTo>
                      <a:pt x="884" y="474"/>
                    </a:lnTo>
                    <a:lnTo>
                      <a:pt x="882" y="474"/>
                    </a:lnTo>
                    <a:lnTo>
                      <a:pt x="881" y="474"/>
                    </a:lnTo>
                    <a:lnTo>
                      <a:pt x="879" y="474"/>
                    </a:lnTo>
                    <a:lnTo>
                      <a:pt x="878" y="474"/>
                    </a:lnTo>
                    <a:lnTo>
                      <a:pt x="878" y="475"/>
                    </a:lnTo>
                    <a:lnTo>
                      <a:pt x="878" y="477"/>
                    </a:lnTo>
                    <a:lnTo>
                      <a:pt x="876" y="477"/>
                    </a:lnTo>
                    <a:lnTo>
                      <a:pt x="878" y="477"/>
                    </a:lnTo>
                    <a:lnTo>
                      <a:pt x="878" y="478"/>
                    </a:lnTo>
                    <a:lnTo>
                      <a:pt x="878" y="480"/>
                    </a:lnTo>
                    <a:lnTo>
                      <a:pt x="876" y="480"/>
                    </a:lnTo>
                    <a:lnTo>
                      <a:pt x="878" y="480"/>
                    </a:lnTo>
                    <a:lnTo>
                      <a:pt x="878" y="482"/>
                    </a:lnTo>
                    <a:lnTo>
                      <a:pt x="879" y="482"/>
                    </a:lnTo>
                    <a:lnTo>
                      <a:pt x="879" y="483"/>
                    </a:lnTo>
                    <a:lnTo>
                      <a:pt x="881" y="483"/>
                    </a:lnTo>
                    <a:lnTo>
                      <a:pt x="881" y="482"/>
                    </a:lnTo>
                    <a:lnTo>
                      <a:pt x="882" y="482"/>
                    </a:lnTo>
                    <a:lnTo>
                      <a:pt x="884" y="482"/>
                    </a:lnTo>
                    <a:lnTo>
                      <a:pt x="884" y="483"/>
                    </a:lnTo>
                    <a:lnTo>
                      <a:pt x="884" y="485"/>
                    </a:lnTo>
                    <a:lnTo>
                      <a:pt x="885" y="485"/>
                    </a:lnTo>
                    <a:lnTo>
                      <a:pt x="885" y="483"/>
                    </a:lnTo>
                    <a:lnTo>
                      <a:pt x="887" y="483"/>
                    </a:lnTo>
                    <a:lnTo>
                      <a:pt x="887" y="482"/>
                    </a:lnTo>
                    <a:lnTo>
                      <a:pt x="889" y="482"/>
                    </a:lnTo>
                    <a:lnTo>
                      <a:pt x="889" y="480"/>
                    </a:lnTo>
                    <a:lnTo>
                      <a:pt x="890" y="480"/>
                    </a:lnTo>
                    <a:lnTo>
                      <a:pt x="892" y="480"/>
                    </a:lnTo>
                    <a:lnTo>
                      <a:pt x="893" y="480"/>
                    </a:lnTo>
                    <a:lnTo>
                      <a:pt x="895" y="480"/>
                    </a:lnTo>
                    <a:lnTo>
                      <a:pt x="895" y="478"/>
                    </a:lnTo>
                    <a:lnTo>
                      <a:pt x="895" y="480"/>
                    </a:lnTo>
                    <a:lnTo>
                      <a:pt x="897" y="480"/>
                    </a:lnTo>
                    <a:lnTo>
                      <a:pt x="898" y="480"/>
                    </a:lnTo>
                    <a:lnTo>
                      <a:pt x="898" y="478"/>
                    </a:lnTo>
                    <a:lnTo>
                      <a:pt x="898" y="480"/>
                    </a:lnTo>
                    <a:lnTo>
                      <a:pt x="900" y="480"/>
                    </a:lnTo>
                    <a:lnTo>
                      <a:pt x="900" y="482"/>
                    </a:lnTo>
                    <a:lnTo>
                      <a:pt x="901" y="482"/>
                    </a:lnTo>
                    <a:lnTo>
                      <a:pt x="901" y="483"/>
                    </a:lnTo>
                    <a:lnTo>
                      <a:pt x="901" y="485"/>
                    </a:lnTo>
                    <a:lnTo>
                      <a:pt x="903" y="485"/>
                    </a:lnTo>
                    <a:lnTo>
                      <a:pt x="903" y="486"/>
                    </a:lnTo>
                    <a:lnTo>
                      <a:pt x="904" y="486"/>
                    </a:lnTo>
                    <a:lnTo>
                      <a:pt x="904" y="488"/>
                    </a:lnTo>
                    <a:lnTo>
                      <a:pt x="906" y="488"/>
                    </a:lnTo>
                    <a:lnTo>
                      <a:pt x="906" y="489"/>
                    </a:lnTo>
                    <a:lnTo>
                      <a:pt x="908" y="489"/>
                    </a:lnTo>
                    <a:lnTo>
                      <a:pt x="908" y="491"/>
                    </a:lnTo>
                    <a:lnTo>
                      <a:pt x="906" y="491"/>
                    </a:lnTo>
                    <a:lnTo>
                      <a:pt x="906" y="493"/>
                    </a:lnTo>
                    <a:lnTo>
                      <a:pt x="906" y="494"/>
                    </a:lnTo>
                    <a:lnTo>
                      <a:pt x="906" y="496"/>
                    </a:lnTo>
                    <a:lnTo>
                      <a:pt x="908" y="496"/>
                    </a:lnTo>
                    <a:lnTo>
                      <a:pt x="908" y="497"/>
                    </a:lnTo>
                    <a:lnTo>
                      <a:pt x="906" y="497"/>
                    </a:lnTo>
                    <a:lnTo>
                      <a:pt x="904" y="497"/>
                    </a:lnTo>
                    <a:lnTo>
                      <a:pt x="903" y="497"/>
                    </a:lnTo>
                    <a:lnTo>
                      <a:pt x="903" y="499"/>
                    </a:lnTo>
                    <a:lnTo>
                      <a:pt x="901" y="499"/>
                    </a:lnTo>
                    <a:lnTo>
                      <a:pt x="901" y="501"/>
                    </a:lnTo>
                    <a:lnTo>
                      <a:pt x="903" y="501"/>
                    </a:lnTo>
                    <a:lnTo>
                      <a:pt x="903" y="499"/>
                    </a:lnTo>
                    <a:lnTo>
                      <a:pt x="904" y="499"/>
                    </a:lnTo>
                    <a:lnTo>
                      <a:pt x="904" y="497"/>
                    </a:lnTo>
                    <a:lnTo>
                      <a:pt x="906" y="497"/>
                    </a:lnTo>
                    <a:lnTo>
                      <a:pt x="906" y="499"/>
                    </a:lnTo>
                    <a:lnTo>
                      <a:pt x="908" y="499"/>
                    </a:lnTo>
                    <a:lnTo>
                      <a:pt x="908" y="501"/>
                    </a:lnTo>
                    <a:lnTo>
                      <a:pt x="909" y="501"/>
                    </a:lnTo>
                    <a:lnTo>
                      <a:pt x="909" y="502"/>
                    </a:lnTo>
                    <a:lnTo>
                      <a:pt x="911" y="502"/>
                    </a:lnTo>
                    <a:lnTo>
                      <a:pt x="911" y="504"/>
                    </a:lnTo>
                    <a:lnTo>
                      <a:pt x="912" y="504"/>
                    </a:lnTo>
                    <a:lnTo>
                      <a:pt x="912" y="502"/>
                    </a:lnTo>
                    <a:lnTo>
                      <a:pt x="914" y="502"/>
                    </a:lnTo>
                    <a:lnTo>
                      <a:pt x="914" y="501"/>
                    </a:lnTo>
                    <a:lnTo>
                      <a:pt x="916" y="501"/>
                    </a:lnTo>
                    <a:lnTo>
                      <a:pt x="916" y="502"/>
                    </a:lnTo>
                    <a:lnTo>
                      <a:pt x="916" y="504"/>
                    </a:lnTo>
                    <a:lnTo>
                      <a:pt x="917" y="504"/>
                    </a:lnTo>
                    <a:lnTo>
                      <a:pt x="917" y="505"/>
                    </a:lnTo>
                    <a:lnTo>
                      <a:pt x="917" y="507"/>
                    </a:lnTo>
                    <a:lnTo>
                      <a:pt x="917" y="509"/>
                    </a:lnTo>
                    <a:lnTo>
                      <a:pt x="917" y="510"/>
                    </a:lnTo>
                    <a:lnTo>
                      <a:pt x="919" y="510"/>
                    </a:lnTo>
                    <a:lnTo>
                      <a:pt x="920" y="510"/>
                    </a:lnTo>
                    <a:lnTo>
                      <a:pt x="920" y="512"/>
                    </a:lnTo>
                    <a:lnTo>
                      <a:pt x="922" y="512"/>
                    </a:lnTo>
                    <a:lnTo>
                      <a:pt x="920" y="512"/>
                    </a:lnTo>
                    <a:lnTo>
                      <a:pt x="920" y="513"/>
                    </a:lnTo>
                    <a:lnTo>
                      <a:pt x="920" y="515"/>
                    </a:lnTo>
                    <a:lnTo>
                      <a:pt x="920" y="516"/>
                    </a:lnTo>
                    <a:lnTo>
                      <a:pt x="920" y="518"/>
                    </a:lnTo>
                    <a:lnTo>
                      <a:pt x="922" y="518"/>
                    </a:lnTo>
                    <a:lnTo>
                      <a:pt x="920" y="518"/>
                    </a:lnTo>
                    <a:lnTo>
                      <a:pt x="920" y="520"/>
                    </a:lnTo>
                    <a:lnTo>
                      <a:pt x="922" y="520"/>
                    </a:lnTo>
                    <a:lnTo>
                      <a:pt x="922" y="518"/>
                    </a:lnTo>
                    <a:lnTo>
                      <a:pt x="922" y="520"/>
                    </a:lnTo>
                    <a:lnTo>
                      <a:pt x="922" y="521"/>
                    </a:lnTo>
                    <a:lnTo>
                      <a:pt x="923" y="521"/>
                    </a:lnTo>
                    <a:lnTo>
                      <a:pt x="925" y="521"/>
                    </a:lnTo>
                    <a:lnTo>
                      <a:pt x="925" y="523"/>
                    </a:lnTo>
                    <a:lnTo>
                      <a:pt x="925" y="524"/>
                    </a:lnTo>
                    <a:lnTo>
                      <a:pt x="927" y="524"/>
                    </a:lnTo>
                    <a:lnTo>
                      <a:pt x="927" y="526"/>
                    </a:lnTo>
                    <a:lnTo>
                      <a:pt x="927" y="528"/>
                    </a:lnTo>
                    <a:lnTo>
                      <a:pt x="927" y="529"/>
                    </a:lnTo>
                    <a:lnTo>
                      <a:pt x="927" y="531"/>
                    </a:lnTo>
                    <a:lnTo>
                      <a:pt x="927" y="532"/>
                    </a:lnTo>
                    <a:lnTo>
                      <a:pt x="928" y="532"/>
                    </a:lnTo>
                    <a:lnTo>
                      <a:pt x="930" y="532"/>
                    </a:lnTo>
                    <a:lnTo>
                      <a:pt x="930" y="534"/>
                    </a:lnTo>
                    <a:lnTo>
                      <a:pt x="931" y="534"/>
                    </a:lnTo>
                    <a:lnTo>
                      <a:pt x="931" y="535"/>
                    </a:lnTo>
                    <a:lnTo>
                      <a:pt x="931" y="537"/>
                    </a:lnTo>
                    <a:lnTo>
                      <a:pt x="931" y="539"/>
                    </a:lnTo>
                    <a:lnTo>
                      <a:pt x="931" y="540"/>
                    </a:lnTo>
                    <a:lnTo>
                      <a:pt x="931" y="542"/>
                    </a:lnTo>
                    <a:lnTo>
                      <a:pt x="931" y="543"/>
                    </a:lnTo>
                    <a:lnTo>
                      <a:pt x="930" y="543"/>
                    </a:lnTo>
                    <a:lnTo>
                      <a:pt x="931" y="543"/>
                    </a:lnTo>
                    <a:lnTo>
                      <a:pt x="930" y="543"/>
                    </a:lnTo>
                    <a:lnTo>
                      <a:pt x="930" y="542"/>
                    </a:lnTo>
                    <a:lnTo>
                      <a:pt x="930" y="543"/>
                    </a:lnTo>
                    <a:lnTo>
                      <a:pt x="928" y="543"/>
                    </a:lnTo>
                    <a:lnTo>
                      <a:pt x="928" y="545"/>
                    </a:lnTo>
                    <a:lnTo>
                      <a:pt x="927" y="545"/>
                    </a:lnTo>
                    <a:lnTo>
                      <a:pt x="928" y="545"/>
                    </a:lnTo>
                    <a:lnTo>
                      <a:pt x="928" y="547"/>
                    </a:lnTo>
                    <a:lnTo>
                      <a:pt x="927" y="547"/>
                    </a:lnTo>
                    <a:lnTo>
                      <a:pt x="927" y="548"/>
                    </a:lnTo>
                    <a:lnTo>
                      <a:pt x="928" y="548"/>
                    </a:lnTo>
                    <a:lnTo>
                      <a:pt x="927" y="548"/>
                    </a:lnTo>
                    <a:lnTo>
                      <a:pt x="927" y="550"/>
                    </a:lnTo>
                    <a:lnTo>
                      <a:pt x="928" y="550"/>
                    </a:lnTo>
                    <a:lnTo>
                      <a:pt x="928" y="551"/>
                    </a:lnTo>
                    <a:lnTo>
                      <a:pt x="930" y="551"/>
                    </a:lnTo>
                    <a:lnTo>
                      <a:pt x="931" y="551"/>
                    </a:lnTo>
                    <a:lnTo>
                      <a:pt x="931" y="553"/>
                    </a:lnTo>
                    <a:lnTo>
                      <a:pt x="933" y="553"/>
                    </a:lnTo>
                    <a:lnTo>
                      <a:pt x="933" y="551"/>
                    </a:lnTo>
                    <a:lnTo>
                      <a:pt x="935" y="551"/>
                    </a:lnTo>
                    <a:lnTo>
                      <a:pt x="936" y="551"/>
                    </a:lnTo>
                    <a:lnTo>
                      <a:pt x="936" y="553"/>
                    </a:lnTo>
                    <a:lnTo>
                      <a:pt x="935" y="553"/>
                    </a:lnTo>
                    <a:lnTo>
                      <a:pt x="935" y="554"/>
                    </a:lnTo>
                    <a:lnTo>
                      <a:pt x="936" y="554"/>
                    </a:lnTo>
                    <a:lnTo>
                      <a:pt x="938" y="554"/>
                    </a:lnTo>
                    <a:lnTo>
                      <a:pt x="936" y="554"/>
                    </a:lnTo>
                    <a:lnTo>
                      <a:pt x="936" y="556"/>
                    </a:lnTo>
                    <a:lnTo>
                      <a:pt x="938" y="556"/>
                    </a:lnTo>
                    <a:lnTo>
                      <a:pt x="938" y="554"/>
                    </a:lnTo>
                    <a:lnTo>
                      <a:pt x="938" y="556"/>
                    </a:lnTo>
                    <a:lnTo>
                      <a:pt x="936" y="556"/>
                    </a:lnTo>
                    <a:lnTo>
                      <a:pt x="938" y="556"/>
                    </a:lnTo>
                    <a:lnTo>
                      <a:pt x="938" y="558"/>
                    </a:lnTo>
                    <a:lnTo>
                      <a:pt x="938" y="559"/>
                    </a:lnTo>
                    <a:lnTo>
                      <a:pt x="936" y="559"/>
                    </a:lnTo>
                    <a:lnTo>
                      <a:pt x="936" y="561"/>
                    </a:lnTo>
                    <a:lnTo>
                      <a:pt x="936" y="562"/>
                    </a:lnTo>
                    <a:lnTo>
                      <a:pt x="935" y="562"/>
                    </a:lnTo>
                    <a:lnTo>
                      <a:pt x="935" y="561"/>
                    </a:lnTo>
                    <a:lnTo>
                      <a:pt x="935" y="562"/>
                    </a:lnTo>
                    <a:lnTo>
                      <a:pt x="935" y="564"/>
                    </a:lnTo>
                    <a:lnTo>
                      <a:pt x="935" y="566"/>
                    </a:lnTo>
                    <a:lnTo>
                      <a:pt x="935" y="564"/>
                    </a:lnTo>
                    <a:lnTo>
                      <a:pt x="933" y="564"/>
                    </a:lnTo>
                    <a:lnTo>
                      <a:pt x="933" y="566"/>
                    </a:lnTo>
                    <a:lnTo>
                      <a:pt x="933" y="567"/>
                    </a:lnTo>
                    <a:lnTo>
                      <a:pt x="931" y="567"/>
                    </a:lnTo>
                    <a:lnTo>
                      <a:pt x="933" y="567"/>
                    </a:lnTo>
                    <a:lnTo>
                      <a:pt x="933" y="569"/>
                    </a:lnTo>
                    <a:lnTo>
                      <a:pt x="935" y="569"/>
                    </a:lnTo>
                    <a:lnTo>
                      <a:pt x="935" y="570"/>
                    </a:lnTo>
                    <a:lnTo>
                      <a:pt x="936" y="570"/>
                    </a:lnTo>
                    <a:lnTo>
                      <a:pt x="936" y="569"/>
                    </a:lnTo>
                    <a:lnTo>
                      <a:pt x="936" y="570"/>
                    </a:lnTo>
                    <a:lnTo>
                      <a:pt x="936" y="569"/>
                    </a:lnTo>
                    <a:lnTo>
                      <a:pt x="936" y="570"/>
                    </a:lnTo>
                    <a:lnTo>
                      <a:pt x="938" y="570"/>
                    </a:lnTo>
                    <a:lnTo>
                      <a:pt x="938" y="572"/>
                    </a:lnTo>
                    <a:lnTo>
                      <a:pt x="938" y="573"/>
                    </a:lnTo>
                    <a:lnTo>
                      <a:pt x="936" y="573"/>
                    </a:lnTo>
                    <a:lnTo>
                      <a:pt x="935" y="573"/>
                    </a:lnTo>
                    <a:lnTo>
                      <a:pt x="935" y="575"/>
                    </a:lnTo>
                    <a:lnTo>
                      <a:pt x="935" y="573"/>
                    </a:lnTo>
                    <a:lnTo>
                      <a:pt x="935" y="575"/>
                    </a:lnTo>
                    <a:lnTo>
                      <a:pt x="933" y="575"/>
                    </a:lnTo>
                    <a:lnTo>
                      <a:pt x="935" y="575"/>
                    </a:lnTo>
                    <a:lnTo>
                      <a:pt x="936" y="575"/>
                    </a:lnTo>
                    <a:lnTo>
                      <a:pt x="935" y="575"/>
                    </a:lnTo>
                    <a:lnTo>
                      <a:pt x="935" y="577"/>
                    </a:lnTo>
                    <a:lnTo>
                      <a:pt x="933" y="577"/>
                    </a:lnTo>
                    <a:lnTo>
                      <a:pt x="933" y="575"/>
                    </a:lnTo>
                    <a:lnTo>
                      <a:pt x="933" y="577"/>
                    </a:lnTo>
                    <a:lnTo>
                      <a:pt x="931" y="577"/>
                    </a:lnTo>
                    <a:lnTo>
                      <a:pt x="931" y="578"/>
                    </a:lnTo>
                    <a:lnTo>
                      <a:pt x="930" y="578"/>
                    </a:lnTo>
                    <a:lnTo>
                      <a:pt x="930" y="577"/>
                    </a:lnTo>
                    <a:lnTo>
                      <a:pt x="928" y="577"/>
                    </a:lnTo>
                    <a:lnTo>
                      <a:pt x="928" y="578"/>
                    </a:lnTo>
                    <a:lnTo>
                      <a:pt x="927" y="578"/>
                    </a:lnTo>
                    <a:lnTo>
                      <a:pt x="927" y="580"/>
                    </a:lnTo>
                    <a:lnTo>
                      <a:pt x="928" y="580"/>
                    </a:lnTo>
                    <a:lnTo>
                      <a:pt x="928" y="581"/>
                    </a:lnTo>
                    <a:lnTo>
                      <a:pt x="927" y="581"/>
                    </a:lnTo>
                    <a:lnTo>
                      <a:pt x="928" y="581"/>
                    </a:lnTo>
                    <a:lnTo>
                      <a:pt x="928" y="583"/>
                    </a:lnTo>
                    <a:lnTo>
                      <a:pt x="928" y="585"/>
                    </a:lnTo>
                    <a:lnTo>
                      <a:pt x="930" y="585"/>
                    </a:lnTo>
                    <a:lnTo>
                      <a:pt x="931" y="585"/>
                    </a:lnTo>
                    <a:lnTo>
                      <a:pt x="931" y="586"/>
                    </a:lnTo>
                    <a:lnTo>
                      <a:pt x="931" y="585"/>
                    </a:lnTo>
                    <a:lnTo>
                      <a:pt x="933" y="585"/>
                    </a:lnTo>
                    <a:lnTo>
                      <a:pt x="933" y="583"/>
                    </a:lnTo>
                    <a:lnTo>
                      <a:pt x="935" y="583"/>
                    </a:lnTo>
                    <a:lnTo>
                      <a:pt x="935" y="585"/>
                    </a:lnTo>
                    <a:lnTo>
                      <a:pt x="936" y="585"/>
                    </a:lnTo>
                    <a:lnTo>
                      <a:pt x="936" y="586"/>
                    </a:lnTo>
                    <a:lnTo>
                      <a:pt x="938" y="586"/>
                    </a:lnTo>
                    <a:lnTo>
                      <a:pt x="939" y="586"/>
                    </a:lnTo>
                    <a:lnTo>
                      <a:pt x="939" y="588"/>
                    </a:lnTo>
                    <a:lnTo>
                      <a:pt x="939" y="589"/>
                    </a:lnTo>
                    <a:lnTo>
                      <a:pt x="939" y="591"/>
                    </a:lnTo>
                    <a:lnTo>
                      <a:pt x="939" y="592"/>
                    </a:lnTo>
                    <a:lnTo>
                      <a:pt x="939" y="594"/>
                    </a:lnTo>
                    <a:lnTo>
                      <a:pt x="941" y="594"/>
                    </a:lnTo>
                    <a:lnTo>
                      <a:pt x="941" y="596"/>
                    </a:lnTo>
                    <a:lnTo>
                      <a:pt x="942" y="596"/>
                    </a:lnTo>
                    <a:lnTo>
                      <a:pt x="941" y="596"/>
                    </a:lnTo>
                    <a:lnTo>
                      <a:pt x="942" y="596"/>
                    </a:lnTo>
                    <a:lnTo>
                      <a:pt x="942" y="597"/>
                    </a:lnTo>
                    <a:lnTo>
                      <a:pt x="941" y="597"/>
                    </a:lnTo>
                    <a:lnTo>
                      <a:pt x="942" y="597"/>
                    </a:lnTo>
                    <a:lnTo>
                      <a:pt x="942" y="599"/>
                    </a:lnTo>
                    <a:lnTo>
                      <a:pt x="944" y="599"/>
                    </a:lnTo>
                    <a:lnTo>
                      <a:pt x="944" y="600"/>
                    </a:lnTo>
                    <a:lnTo>
                      <a:pt x="946" y="600"/>
                    </a:lnTo>
                    <a:lnTo>
                      <a:pt x="947" y="600"/>
                    </a:lnTo>
                    <a:lnTo>
                      <a:pt x="947" y="602"/>
                    </a:lnTo>
                    <a:lnTo>
                      <a:pt x="947" y="604"/>
                    </a:lnTo>
                    <a:lnTo>
                      <a:pt x="949" y="604"/>
                    </a:lnTo>
                    <a:lnTo>
                      <a:pt x="949" y="602"/>
                    </a:lnTo>
                    <a:lnTo>
                      <a:pt x="949" y="604"/>
                    </a:lnTo>
                    <a:lnTo>
                      <a:pt x="950" y="604"/>
                    </a:lnTo>
                    <a:lnTo>
                      <a:pt x="952" y="604"/>
                    </a:lnTo>
                    <a:lnTo>
                      <a:pt x="952" y="605"/>
                    </a:lnTo>
                    <a:lnTo>
                      <a:pt x="954" y="605"/>
                    </a:lnTo>
                    <a:lnTo>
                      <a:pt x="954" y="607"/>
                    </a:lnTo>
                    <a:lnTo>
                      <a:pt x="955" y="607"/>
                    </a:lnTo>
                    <a:lnTo>
                      <a:pt x="955" y="608"/>
                    </a:lnTo>
                    <a:lnTo>
                      <a:pt x="954" y="608"/>
                    </a:lnTo>
                    <a:lnTo>
                      <a:pt x="955" y="608"/>
                    </a:lnTo>
                    <a:lnTo>
                      <a:pt x="954" y="608"/>
                    </a:lnTo>
                    <a:lnTo>
                      <a:pt x="955" y="608"/>
                    </a:lnTo>
                    <a:lnTo>
                      <a:pt x="955" y="610"/>
                    </a:lnTo>
                    <a:lnTo>
                      <a:pt x="955" y="611"/>
                    </a:lnTo>
                    <a:lnTo>
                      <a:pt x="957" y="611"/>
                    </a:lnTo>
                    <a:lnTo>
                      <a:pt x="957" y="613"/>
                    </a:lnTo>
                    <a:lnTo>
                      <a:pt x="955" y="613"/>
                    </a:lnTo>
                    <a:lnTo>
                      <a:pt x="955" y="615"/>
                    </a:lnTo>
                    <a:lnTo>
                      <a:pt x="957" y="615"/>
                    </a:lnTo>
                    <a:lnTo>
                      <a:pt x="957" y="616"/>
                    </a:lnTo>
                    <a:lnTo>
                      <a:pt x="955" y="616"/>
                    </a:lnTo>
                    <a:lnTo>
                      <a:pt x="955" y="618"/>
                    </a:lnTo>
                    <a:lnTo>
                      <a:pt x="957" y="618"/>
                    </a:lnTo>
                    <a:lnTo>
                      <a:pt x="955" y="618"/>
                    </a:lnTo>
                    <a:lnTo>
                      <a:pt x="955" y="619"/>
                    </a:lnTo>
                    <a:lnTo>
                      <a:pt x="957" y="619"/>
                    </a:lnTo>
                    <a:lnTo>
                      <a:pt x="955" y="619"/>
                    </a:lnTo>
                    <a:lnTo>
                      <a:pt x="957" y="619"/>
                    </a:lnTo>
                    <a:lnTo>
                      <a:pt x="957" y="621"/>
                    </a:lnTo>
                    <a:lnTo>
                      <a:pt x="957" y="623"/>
                    </a:lnTo>
                    <a:lnTo>
                      <a:pt x="957" y="624"/>
                    </a:lnTo>
                    <a:lnTo>
                      <a:pt x="955" y="624"/>
                    </a:lnTo>
                    <a:lnTo>
                      <a:pt x="955" y="626"/>
                    </a:lnTo>
                    <a:lnTo>
                      <a:pt x="955" y="627"/>
                    </a:lnTo>
                    <a:lnTo>
                      <a:pt x="954" y="627"/>
                    </a:lnTo>
                    <a:lnTo>
                      <a:pt x="954" y="629"/>
                    </a:lnTo>
                    <a:lnTo>
                      <a:pt x="952" y="629"/>
                    </a:lnTo>
                    <a:lnTo>
                      <a:pt x="952" y="630"/>
                    </a:lnTo>
                    <a:lnTo>
                      <a:pt x="954" y="630"/>
                    </a:lnTo>
                    <a:lnTo>
                      <a:pt x="954" y="632"/>
                    </a:lnTo>
                    <a:lnTo>
                      <a:pt x="952" y="632"/>
                    </a:lnTo>
                    <a:lnTo>
                      <a:pt x="952" y="630"/>
                    </a:lnTo>
                    <a:lnTo>
                      <a:pt x="952" y="629"/>
                    </a:lnTo>
                    <a:lnTo>
                      <a:pt x="950" y="629"/>
                    </a:lnTo>
                    <a:lnTo>
                      <a:pt x="950" y="630"/>
                    </a:lnTo>
                    <a:lnTo>
                      <a:pt x="949" y="630"/>
                    </a:lnTo>
                    <a:lnTo>
                      <a:pt x="949" y="632"/>
                    </a:lnTo>
                    <a:lnTo>
                      <a:pt x="947" y="632"/>
                    </a:lnTo>
                    <a:lnTo>
                      <a:pt x="946" y="632"/>
                    </a:lnTo>
                    <a:lnTo>
                      <a:pt x="944" y="632"/>
                    </a:lnTo>
                    <a:lnTo>
                      <a:pt x="942" y="632"/>
                    </a:lnTo>
                    <a:lnTo>
                      <a:pt x="941" y="632"/>
                    </a:lnTo>
                    <a:lnTo>
                      <a:pt x="942" y="632"/>
                    </a:lnTo>
                    <a:lnTo>
                      <a:pt x="944" y="632"/>
                    </a:lnTo>
                    <a:lnTo>
                      <a:pt x="944" y="634"/>
                    </a:lnTo>
                    <a:lnTo>
                      <a:pt x="946" y="634"/>
                    </a:lnTo>
                    <a:lnTo>
                      <a:pt x="946" y="635"/>
                    </a:lnTo>
                    <a:lnTo>
                      <a:pt x="947" y="635"/>
                    </a:lnTo>
                    <a:lnTo>
                      <a:pt x="947" y="637"/>
                    </a:lnTo>
                    <a:lnTo>
                      <a:pt x="949" y="637"/>
                    </a:lnTo>
                    <a:lnTo>
                      <a:pt x="949" y="638"/>
                    </a:lnTo>
                    <a:lnTo>
                      <a:pt x="950" y="638"/>
                    </a:lnTo>
                    <a:lnTo>
                      <a:pt x="950" y="640"/>
                    </a:lnTo>
                    <a:lnTo>
                      <a:pt x="950" y="642"/>
                    </a:lnTo>
                    <a:lnTo>
                      <a:pt x="950" y="643"/>
                    </a:lnTo>
                    <a:lnTo>
                      <a:pt x="949" y="643"/>
                    </a:lnTo>
                    <a:lnTo>
                      <a:pt x="949" y="645"/>
                    </a:lnTo>
                    <a:lnTo>
                      <a:pt x="947" y="645"/>
                    </a:lnTo>
                    <a:lnTo>
                      <a:pt x="946" y="645"/>
                    </a:lnTo>
                    <a:lnTo>
                      <a:pt x="946" y="646"/>
                    </a:lnTo>
                    <a:lnTo>
                      <a:pt x="944" y="646"/>
                    </a:lnTo>
                    <a:lnTo>
                      <a:pt x="942" y="646"/>
                    </a:lnTo>
                    <a:lnTo>
                      <a:pt x="942" y="645"/>
                    </a:lnTo>
                    <a:lnTo>
                      <a:pt x="941" y="645"/>
                    </a:lnTo>
                    <a:lnTo>
                      <a:pt x="939" y="645"/>
                    </a:lnTo>
                    <a:lnTo>
                      <a:pt x="938" y="645"/>
                    </a:lnTo>
                    <a:lnTo>
                      <a:pt x="938" y="646"/>
                    </a:lnTo>
                    <a:lnTo>
                      <a:pt x="936" y="646"/>
                    </a:lnTo>
                    <a:lnTo>
                      <a:pt x="936" y="648"/>
                    </a:lnTo>
                    <a:lnTo>
                      <a:pt x="936" y="649"/>
                    </a:lnTo>
                    <a:lnTo>
                      <a:pt x="936" y="648"/>
                    </a:lnTo>
                    <a:lnTo>
                      <a:pt x="935" y="648"/>
                    </a:lnTo>
                    <a:lnTo>
                      <a:pt x="935" y="649"/>
                    </a:lnTo>
                    <a:lnTo>
                      <a:pt x="933" y="649"/>
                    </a:lnTo>
                    <a:lnTo>
                      <a:pt x="931" y="649"/>
                    </a:lnTo>
                    <a:lnTo>
                      <a:pt x="930" y="649"/>
                    </a:lnTo>
                    <a:lnTo>
                      <a:pt x="930" y="651"/>
                    </a:lnTo>
                    <a:lnTo>
                      <a:pt x="928" y="651"/>
                    </a:lnTo>
                    <a:lnTo>
                      <a:pt x="928" y="653"/>
                    </a:lnTo>
                    <a:lnTo>
                      <a:pt x="928" y="651"/>
                    </a:lnTo>
                    <a:lnTo>
                      <a:pt x="927" y="651"/>
                    </a:lnTo>
                    <a:lnTo>
                      <a:pt x="927" y="653"/>
                    </a:lnTo>
                    <a:lnTo>
                      <a:pt x="925" y="653"/>
                    </a:lnTo>
                    <a:lnTo>
                      <a:pt x="927" y="653"/>
                    </a:lnTo>
                    <a:lnTo>
                      <a:pt x="925" y="653"/>
                    </a:lnTo>
                    <a:lnTo>
                      <a:pt x="925" y="654"/>
                    </a:lnTo>
                    <a:lnTo>
                      <a:pt x="925" y="656"/>
                    </a:lnTo>
                    <a:lnTo>
                      <a:pt x="923" y="656"/>
                    </a:lnTo>
                    <a:lnTo>
                      <a:pt x="923" y="657"/>
                    </a:lnTo>
                    <a:lnTo>
                      <a:pt x="925" y="657"/>
                    </a:lnTo>
                    <a:lnTo>
                      <a:pt x="925" y="659"/>
                    </a:lnTo>
                    <a:lnTo>
                      <a:pt x="923" y="659"/>
                    </a:lnTo>
                    <a:lnTo>
                      <a:pt x="923" y="661"/>
                    </a:lnTo>
                    <a:lnTo>
                      <a:pt x="925" y="661"/>
                    </a:lnTo>
                    <a:lnTo>
                      <a:pt x="925" y="662"/>
                    </a:lnTo>
                    <a:lnTo>
                      <a:pt x="925" y="664"/>
                    </a:lnTo>
                    <a:lnTo>
                      <a:pt x="927" y="664"/>
                    </a:lnTo>
                    <a:lnTo>
                      <a:pt x="927" y="665"/>
                    </a:lnTo>
                    <a:lnTo>
                      <a:pt x="928" y="665"/>
                    </a:lnTo>
                    <a:lnTo>
                      <a:pt x="928" y="667"/>
                    </a:lnTo>
                    <a:lnTo>
                      <a:pt x="928" y="668"/>
                    </a:lnTo>
                    <a:lnTo>
                      <a:pt x="927" y="668"/>
                    </a:lnTo>
                    <a:lnTo>
                      <a:pt x="927" y="670"/>
                    </a:lnTo>
                    <a:lnTo>
                      <a:pt x="927" y="672"/>
                    </a:lnTo>
                    <a:lnTo>
                      <a:pt x="927" y="673"/>
                    </a:lnTo>
                    <a:lnTo>
                      <a:pt x="925" y="673"/>
                    </a:lnTo>
                    <a:lnTo>
                      <a:pt x="925" y="675"/>
                    </a:lnTo>
                    <a:lnTo>
                      <a:pt x="923" y="675"/>
                    </a:lnTo>
                    <a:lnTo>
                      <a:pt x="923" y="676"/>
                    </a:lnTo>
                    <a:lnTo>
                      <a:pt x="923" y="678"/>
                    </a:lnTo>
                    <a:lnTo>
                      <a:pt x="922" y="678"/>
                    </a:lnTo>
                    <a:lnTo>
                      <a:pt x="922" y="680"/>
                    </a:lnTo>
                    <a:lnTo>
                      <a:pt x="920" y="680"/>
                    </a:lnTo>
                    <a:lnTo>
                      <a:pt x="919" y="680"/>
                    </a:lnTo>
                    <a:lnTo>
                      <a:pt x="919" y="681"/>
                    </a:lnTo>
                    <a:lnTo>
                      <a:pt x="917" y="681"/>
                    </a:lnTo>
                    <a:lnTo>
                      <a:pt x="916" y="681"/>
                    </a:lnTo>
                    <a:lnTo>
                      <a:pt x="916" y="683"/>
                    </a:lnTo>
                    <a:lnTo>
                      <a:pt x="916" y="684"/>
                    </a:lnTo>
                    <a:lnTo>
                      <a:pt x="914" y="684"/>
                    </a:lnTo>
                    <a:lnTo>
                      <a:pt x="916" y="684"/>
                    </a:lnTo>
                    <a:lnTo>
                      <a:pt x="916" y="686"/>
                    </a:lnTo>
                    <a:lnTo>
                      <a:pt x="916" y="684"/>
                    </a:lnTo>
                    <a:lnTo>
                      <a:pt x="916" y="686"/>
                    </a:lnTo>
                    <a:lnTo>
                      <a:pt x="916" y="684"/>
                    </a:lnTo>
                    <a:lnTo>
                      <a:pt x="917" y="684"/>
                    </a:lnTo>
                    <a:lnTo>
                      <a:pt x="919" y="684"/>
                    </a:lnTo>
                    <a:lnTo>
                      <a:pt x="919" y="683"/>
                    </a:lnTo>
                    <a:lnTo>
                      <a:pt x="920" y="683"/>
                    </a:lnTo>
                    <a:lnTo>
                      <a:pt x="920" y="681"/>
                    </a:lnTo>
                    <a:lnTo>
                      <a:pt x="922" y="681"/>
                    </a:lnTo>
                    <a:lnTo>
                      <a:pt x="922" y="680"/>
                    </a:lnTo>
                    <a:lnTo>
                      <a:pt x="923" y="680"/>
                    </a:lnTo>
                    <a:lnTo>
                      <a:pt x="925" y="680"/>
                    </a:lnTo>
                    <a:lnTo>
                      <a:pt x="925" y="678"/>
                    </a:lnTo>
                    <a:lnTo>
                      <a:pt x="927" y="678"/>
                    </a:lnTo>
                    <a:lnTo>
                      <a:pt x="927" y="676"/>
                    </a:lnTo>
                    <a:lnTo>
                      <a:pt x="928" y="676"/>
                    </a:lnTo>
                    <a:lnTo>
                      <a:pt x="928" y="675"/>
                    </a:lnTo>
                    <a:lnTo>
                      <a:pt x="930" y="675"/>
                    </a:lnTo>
                    <a:lnTo>
                      <a:pt x="930" y="673"/>
                    </a:lnTo>
                    <a:lnTo>
                      <a:pt x="930" y="672"/>
                    </a:lnTo>
                    <a:lnTo>
                      <a:pt x="931" y="672"/>
                    </a:lnTo>
                    <a:lnTo>
                      <a:pt x="931" y="670"/>
                    </a:lnTo>
                    <a:lnTo>
                      <a:pt x="930" y="670"/>
                    </a:lnTo>
                    <a:lnTo>
                      <a:pt x="931" y="670"/>
                    </a:lnTo>
                    <a:lnTo>
                      <a:pt x="930" y="670"/>
                    </a:lnTo>
                    <a:lnTo>
                      <a:pt x="930" y="668"/>
                    </a:lnTo>
                    <a:lnTo>
                      <a:pt x="930" y="667"/>
                    </a:lnTo>
                    <a:lnTo>
                      <a:pt x="931" y="667"/>
                    </a:lnTo>
                    <a:lnTo>
                      <a:pt x="931" y="665"/>
                    </a:lnTo>
                    <a:lnTo>
                      <a:pt x="931" y="664"/>
                    </a:lnTo>
                    <a:lnTo>
                      <a:pt x="933" y="664"/>
                    </a:lnTo>
                    <a:lnTo>
                      <a:pt x="933" y="662"/>
                    </a:lnTo>
                    <a:lnTo>
                      <a:pt x="935" y="662"/>
                    </a:lnTo>
                    <a:lnTo>
                      <a:pt x="935" y="661"/>
                    </a:lnTo>
                    <a:lnTo>
                      <a:pt x="936" y="661"/>
                    </a:lnTo>
                    <a:lnTo>
                      <a:pt x="938" y="661"/>
                    </a:lnTo>
                    <a:lnTo>
                      <a:pt x="939" y="661"/>
                    </a:lnTo>
                    <a:lnTo>
                      <a:pt x="939" y="659"/>
                    </a:lnTo>
                    <a:lnTo>
                      <a:pt x="941" y="659"/>
                    </a:lnTo>
                    <a:lnTo>
                      <a:pt x="942" y="659"/>
                    </a:lnTo>
                    <a:lnTo>
                      <a:pt x="944" y="659"/>
                    </a:lnTo>
                    <a:lnTo>
                      <a:pt x="944" y="661"/>
                    </a:lnTo>
                    <a:lnTo>
                      <a:pt x="946" y="661"/>
                    </a:lnTo>
                    <a:lnTo>
                      <a:pt x="947" y="661"/>
                    </a:lnTo>
                    <a:lnTo>
                      <a:pt x="949" y="661"/>
                    </a:lnTo>
                    <a:lnTo>
                      <a:pt x="950" y="661"/>
                    </a:lnTo>
                    <a:lnTo>
                      <a:pt x="952" y="661"/>
                    </a:lnTo>
                    <a:lnTo>
                      <a:pt x="954" y="661"/>
                    </a:lnTo>
                    <a:lnTo>
                      <a:pt x="955" y="661"/>
                    </a:lnTo>
                    <a:lnTo>
                      <a:pt x="954" y="661"/>
                    </a:lnTo>
                    <a:lnTo>
                      <a:pt x="955" y="661"/>
                    </a:lnTo>
                    <a:lnTo>
                      <a:pt x="955" y="662"/>
                    </a:lnTo>
                    <a:lnTo>
                      <a:pt x="957" y="662"/>
                    </a:lnTo>
                    <a:lnTo>
                      <a:pt x="958" y="662"/>
                    </a:lnTo>
                    <a:lnTo>
                      <a:pt x="958" y="661"/>
                    </a:lnTo>
                    <a:lnTo>
                      <a:pt x="960" y="661"/>
                    </a:lnTo>
                    <a:lnTo>
                      <a:pt x="960" y="662"/>
                    </a:lnTo>
                    <a:lnTo>
                      <a:pt x="961" y="662"/>
                    </a:lnTo>
                    <a:lnTo>
                      <a:pt x="961" y="664"/>
                    </a:lnTo>
                    <a:lnTo>
                      <a:pt x="961" y="665"/>
                    </a:lnTo>
                    <a:lnTo>
                      <a:pt x="961" y="667"/>
                    </a:lnTo>
                    <a:lnTo>
                      <a:pt x="963" y="667"/>
                    </a:lnTo>
                    <a:lnTo>
                      <a:pt x="963" y="668"/>
                    </a:lnTo>
                    <a:lnTo>
                      <a:pt x="965" y="668"/>
                    </a:lnTo>
                    <a:lnTo>
                      <a:pt x="963" y="668"/>
                    </a:lnTo>
                    <a:lnTo>
                      <a:pt x="965" y="668"/>
                    </a:lnTo>
                    <a:lnTo>
                      <a:pt x="965" y="670"/>
                    </a:lnTo>
                    <a:lnTo>
                      <a:pt x="966" y="670"/>
                    </a:lnTo>
                    <a:lnTo>
                      <a:pt x="968" y="670"/>
                    </a:lnTo>
                    <a:lnTo>
                      <a:pt x="968" y="672"/>
                    </a:lnTo>
                    <a:lnTo>
                      <a:pt x="969" y="672"/>
                    </a:lnTo>
                    <a:lnTo>
                      <a:pt x="969" y="670"/>
                    </a:lnTo>
                    <a:lnTo>
                      <a:pt x="971" y="670"/>
                    </a:lnTo>
                    <a:lnTo>
                      <a:pt x="971" y="672"/>
                    </a:lnTo>
                    <a:lnTo>
                      <a:pt x="973" y="672"/>
                    </a:lnTo>
                    <a:lnTo>
                      <a:pt x="974" y="672"/>
                    </a:lnTo>
                    <a:lnTo>
                      <a:pt x="976" y="672"/>
                    </a:lnTo>
                    <a:lnTo>
                      <a:pt x="977" y="672"/>
                    </a:lnTo>
                    <a:lnTo>
                      <a:pt x="979" y="672"/>
                    </a:lnTo>
                    <a:lnTo>
                      <a:pt x="980" y="672"/>
                    </a:lnTo>
                    <a:lnTo>
                      <a:pt x="980" y="673"/>
                    </a:lnTo>
                    <a:lnTo>
                      <a:pt x="982" y="673"/>
                    </a:lnTo>
                    <a:lnTo>
                      <a:pt x="982" y="675"/>
                    </a:lnTo>
                    <a:lnTo>
                      <a:pt x="984" y="675"/>
                    </a:lnTo>
                    <a:lnTo>
                      <a:pt x="985" y="675"/>
                    </a:lnTo>
                    <a:lnTo>
                      <a:pt x="985" y="676"/>
                    </a:lnTo>
                    <a:lnTo>
                      <a:pt x="987" y="676"/>
                    </a:lnTo>
                    <a:lnTo>
                      <a:pt x="987" y="678"/>
                    </a:lnTo>
                    <a:lnTo>
                      <a:pt x="988" y="678"/>
                    </a:lnTo>
                    <a:lnTo>
                      <a:pt x="988" y="680"/>
                    </a:lnTo>
                    <a:lnTo>
                      <a:pt x="990" y="680"/>
                    </a:lnTo>
                    <a:lnTo>
                      <a:pt x="990" y="681"/>
                    </a:lnTo>
                    <a:lnTo>
                      <a:pt x="992" y="681"/>
                    </a:lnTo>
                    <a:lnTo>
                      <a:pt x="992" y="683"/>
                    </a:lnTo>
                    <a:lnTo>
                      <a:pt x="993" y="683"/>
                    </a:lnTo>
                    <a:lnTo>
                      <a:pt x="993" y="684"/>
                    </a:lnTo>
                    <a:lnTo>
                      <a:pt x="995" y="684"/>
                    </a:lnTo>
                    <a:lnTo>
                      <a:pt x="995" y="686"/>
                    </a:lnTo>
                    <a:lnTo>
                      <a:pt x="996" y="686"/>
                    </a:lnTo>
                    <a:lnTo>
                      <a:pt x="996" y="688"/>
                    </a:lnTo>
                    <a:lnTo>
                      <a:pt x="996" y="689"/>
                    </a:lnTo>
                    <a:lnTo>
                      <a:pt x="996" y="691"/>
                    </a:lnTo>
                    <a:lnTo>
                      <a:pt x="996" y="692"/>
                    </a:lnTo>
                    <a:lnTo>
                      <a:pt x="998" y="692"/>
                    </a:lnTo>
                    <a:lnTo>
                      <a:pt x="998" y="691"/>
                    </a:lnTo>
                    <a:lnTo>
                      <a:pt x="999" y="691"/>
                    </a:lnTo>
                    <a:lnTo>
                      <a:pt x="999" y="692"/>
                    </a:lnTo>
                    <a:lnTo>
                      <a:pt x="1001" y="692"/>
                    </a:lnTo>
                    <a:lnTo>
                      <a:pt x="1001" y="694"/>
                    </a:lnTo>
                    <a:lnTo>
                      <a:pt x="1001" y="695"/>
                    </a:lnTo>
                    <a:lnTo>
                      <a:pt x="1001" y="697"/>
                    </a:lnTo>
                    <a:lnTo>
                      <a:pt x="1003" y="697"/>
                    </a:lnTo>
                    <a:lnTo>
                      <a:pt x="1003" y="699"/>
                    </a:lnTo>
                    <a:lnTo>
                      <a:pt x="1001" y="699"/>
                    </a:lnTo>
                    <a:lnTo>
                      <a:pt x="1001" y="700"/>
                    </a:lnTo>
                    <a:lnTo>
                      <a:pt x="999" y="700"/>
                    </a:lnTo>
                    <a:lnTo>
                      <a:pt x="1001" y="700"/>
                    </a:lnTo>
                    <a:lnTo>
                      <a:pt x="1003" y="700"/>
                    </a:lnTo>
                    <a:lnTo>
                      <a:pt x="1004" y="700"/>
                    </a:lnTo>
                    <a:lnTo>
                      <a:pt x="1004" y="699"/>
                    </a:lnTo>
                    <a:lnTo>
                      <a:pt x="1006" y="699"/>
                    </a:lnTo>
                    <a:lnTo>
                      <a:pt x="1006" y="697"/>
                    </a:lnTo>
                    <a:lnTo>
                      <a:pt x="1006" y="699"/>
                    </a:lnTo>
                    <a:lnTo>
                      <a:pt x="1006" y="700"/>
                    </a:lnTo>
                    <a:lnTo>
                      <a:pt x="1007" y="700"/>
                    </a:lnTo>
                    <a:lnTo>
                      <a:pt x="1006" y="700"/>
                    </a:lnTo>
                    <a:lnTo>
                      <a:pt x="1006" y="702"/>
                    </a:lnTo>
                    <a:lnTo>
                      <a:pt x="1006" y="703"/>
                    </a:lnTo>
                    <a:lnTo>
                      <a:pt x="1006" y="705"/>
                    </a:lnTo>
                    <a:lnTo>
                      <a:pt x="1007" y="705"/>
                    </a:lnTo>
                    <a:lnTo>
                      <a:pt x="1007" y="703"/>
                    </a:lnTo>
                    <a:lnTo>
                      <a:pt x="1007" y="705"/>
                    </a:lnTo>
                    <a:lnTo>
                      <a:pt x="1007" y="707"/>
                    </a:lnTo>
                    <a:lnTo>
                      <a:pt x="1009" y="707"/>
                    </a:lnTo>
                    <a:lnTo>
                      <a:pt x="1011" y="707"/>
                    </a:lnTo>
                    <a:lnTo>
                      <a:pt x="1011" y="708"/>
                    </a:lnTo>
                    <a:lnTo>
                      <a:pt x="1011" y="710"/>
                    </a:lnTo>
                    <a:lnTo>
                      <a:pt x="1011" y="711"/>
                    </a:lnTo>
                    <a:lnTo>
                      <a:pt x="1009" y="711"/>
                    </a:lnTo>
                    <a:lnTo>
                      <a:pt x="1009" y="713"/>
                    </a:lnTo>
                    <a:lnTo>
                      <a:pt x="1007" y="713"/>
                    </a:lnTo>
                    <a:lnTo>
                      <a:pt x="1007" y="714"/>
                    </a:lnTo>
                    <a:lnTo>
                      <a:pt x="1007" y="716"/>
                    </a:lnTo>
                    <a:lnTo>
                      <a:pt x="1007" y="718"/>
                    </a:lnTo>
                    <a:lnTo>
                      <a:pt x="1007" y="719"/>
                    </a:lnTo>
                    <a:lnTo>
                      <a:pt x="1009" y="719"/>
                    </a:lnTo>
                    <a:lnTo>
                      <a:pt x="1009" y="718"/>
                    </a:lnTo>
                    <a:lnTo>
                      <a:pt x="1009" y="719"/>
                    </a:lnTo>
                    <a:lnTo>
                      <a:pt x="1011" y="719"/>
                    </a:lnTo>
                    <a:lnTo>
                      <a:pt x="1012" y="719"/>
                    </a:lnTo>
                    <a:lnTo>
                      <a:pt x="1012" y="721"/>
                    </a:lnTo>
                    <a:lnTo>
                      <a:pt x="1012" y="722"/>
                    </a:lnTo>
                    <a:lnTo>
                      <a:pt x="1014" y="722"/>
                    </a:lnTo>
                    <a:lnTo>
                      <a:pt x="1014" y="724"/>
                    </a:lnTo>
                    <a:lnTo>
                      <a:pt x="1012" y="724"/>
                    </a:lnTo>
                    <a:lnTo>
                      <a:pt x="1011" y="726"/>
                    </a:lnTo>
                    <a:lnTo>
                      <a:pt x="1009" y="726"/>
                    </a:lnTo>
                    <a:lnTo>
                      <a:pt x="1009" y="727"/>
                    </a:lnTo>
                    <a:lnTo>
                      <a:pt x="1007" y="727"/>
                    </a:lnTo>
                    <a:lnTo>
                      <a:pt x="1006" y="727"/>
                    </a:lnTo>
                    <a:lnTo>
                      <a:pt x="1006" y="729"/>
                    </a:lnTo>
                    <a:lnTo>
                      <a:pt x="1004" y="729"/>
                    </a:lnTo>
                    <a:lnTo>
                      <a:pt x="1004" y="730"/>
                    </a:lnTo>
                    <a:lnTo>
                      <a:pt x="1003" y="730"/>
                    </a:lnTo>
                    <a:lnTo>
                      <a:pt x="1001" y="732"/>
                    </a:lnTo>
                    <a:lnTo>
                      <a:pt x="999" y="733"/>
                    </a:lnTo>
                    <a:lnTo>
                      <a:pt x="998" y="733"/>
                    </a:lnTo>
                    <a:lnTo>
                      <a:pt x="998" y="735"/>
                    </a:lnTo>
                    <a:lnTo>
                      <a:pt x="996" y="737"/>
                    </a:lnTo>
                    <a:lnTo>
                      <a:pt x="995" y="737"/>
                    </a:lnTo>
                    <a:lnTo>
                      <a:pt x="995" y="738"/>
                    </a:lnTo>
                    <a:lnTo>
                      <a:pt x="993" y="738"/>
                    </a:lnTo>
                    <a:lnTo>
                      <a:pt x="992" y="740"/>
                    </a:lnTo>
                    <a:lnTo>
                      <a:pt x="990" y="741"/>
                    </a:lnTo>
                    <a:lnTo>
                      <a:pt x="988" y="741"/>
                    </a:lnTo>
                    <a:lnTo>
                      <a:pt x="987" y="743"/>
                    </a:lnTo>
                    <a:lnTo>
                      <a:pt x="985" y="743"/>
                    </a:lnTo>
                    <a:lnTo>
                      <a:pt x="984" y="745"/>
                    </a:lnTo>
                    <a:lnTo>
                      <a:pt x="982" y="745"/>
                    </a:lnTo>
                    <a:lnTo>
                      <a:pt x="980" y="745"/>
                    </a:lnTo>
                    <a:lnTo>
                      <a:pt x="979" y="745"/>
                    </a:lnTo>
                    <a:lnTo>
                      <a:pt x="977" y="745"/>
                    </a:lnTo>
                    <a:lnTo>
                      <a:pt x="977" y="746"/>
                    </a:lnTo>
                    <a:lnTo>
                      <a:pt x="974" y="749"/>
                    </a:lnTo>
                    <a:lnTo>
                      <a:pt x="969" y="751"/>
                    </a:lnTo>
                    <a:lnTo>
                      <a:pt x="963" y="754"/>
                    </a:lnTo>
                    <a:lnTo>
                      <a:pt x="958" y="757"/>
                    </a:lnTo>
                    <a:lnTo>
                      <a:pt x="957" y="757"/>
                    </a:lnTo>
                    <a:lnTo>
                      <a:pt x="955" y="759"/>
                    </a:lnTo>
                    <a:lnTo>
                      <a:pt x="952" y="762"/>
                    </a:lnTo>
                    <a:lnTo>
                      <a:pt x="949" y="765"/>
                    </a:lnTo>
                    <a:lnTo>
                      <a:pt x="946" y="767"/>
                    </a:lnTo>
                    <a:lnTo>
                      <a:pt x="944" y="768"/>
                    </a:lnTo>
                    <a:lnTo>
                      <a:pt x="941" y="768"/>
                    </a:lnTo>
                    <a:lnTo>
                      <a:pt x="938" y="770"/>
                    </a:lnTo>
                    <a:lnTo>
                      <a:pt x="935" y="771"/>
                    </a:lnTo>
                    <a:lnTo>
                      <a:pt x="931" y="773"/>
                    </a:lnTo>
                    <a:lnTo>
                      <a:pt x="928" y="773"/>
                    </a:lnTo>
                    <a:lnTo>
                      <a:pt x="923" y="775"/>
                    </a:lnTo>
                    <a:lnTo>
                      <a:pt x="920" y="775"/>
                    </a:lnTo>
                    <a:lnTo>
                      <a:pt x="920" y="776"/>
                    </a:lnTo>
                    <a:lnTo>
                      <a:pt x="920" y="778"/>
                    </a:lnTo>
                    <a:lnTo>
                      <a:pt x="919" y="778"/>
                    </a:lnTo>
                    <a:lnTo>
                      <a:pt x="919" y="779"/>
                    </a:lnTo>
                    <a:lnTo>
                      <a:pt x="917" y="781"/>
                    </a:lnTo>
                    <a:lnTo>
                      <a:pt x="917" y="783"/>
                    </a:lnTo>
                    <a:lnTo>
                      <a:pt x="916" y="783"/>
                    </a:lnTo>
                    <a:lnTo>
                      <a:pt x="916" y="784"/>
                    </a:lnTo>
                    <a:lnTo>
                      <a:pt x="914" y="786"/>
                    </a:lnTo>
                    <a:lnTo>
                      <a:pt x="916" y="786"/>
                    </a:lnTo>
                    <a:lnTo>
                      <a:pt x="916" y="787"/>
                    </a:lnTo>
                    <a:lnTo>
                      <a:pt x="914" y="794"/>
                    </a:lnTo>
                    <a:lnTo>
                      <a:pt x="914" y="795"/>
                    </a:lnTo>
                    <a:lnTo>
                      <a:pt x="914" y="797"/>
                    </a:lnTo>
                    <a:lnTo>
                      <a:pt x="914" y="802"/>
                    </a:lnTo>
                    <a:lnTo>
                      <a:pt x="909" y="811"/>
                    </a:lnTo>
                    <a:lnTo>
                      <a:pt x="906" y="814"/>
                    </a:lnTo>
                    <a:lnTo>
                      <a:pt x="904" y="816"/>
                    </a:lnTo>
                    <a:lnTo>
                      <a:pt x="908" y="817"/>
                    </a:lnTo>
                    <a:lnTo>
                      <a:pt x="914" y="827"/>
                    </a:lnTo>
                    <a:lnTo>
                      <a:pt x="919" y="832"/>
                    </a:lnTo>
                    <a:lnTo>
                      <a:pt x="920" y="833"/>
                    </a:lnTo>
                    <a:lnTo>
                      <a:pt x="920" y="835"/>
                    </a:lnTo>
                    <a:lnTo>
                      <a:pt x="919" y="835"/>
                    </a:lnTo>
                    <a:lnTo>
                      <a:pt x="919" y="836"/>
                    </a:lnTo>
                    <a:lnTo>
                      <a:pt x="917" y="838"/>
                    </a:lnTo>
                    <a:lnTo>
                      <a:pt x="917" y="840"/>
                    </a:lnTo>
                    <a:lnTo>
                      <a:pt x="916" y="840"/>
                    </a:lnTo>
                    <a:lnTo>
                      <a:pt x="916" y="841"/>
                    </a:lnTo>
                    <a:lnTo>
                      <a:pt x="914" y="843"/>
                    </a:lnTo>
                    <a:lnTo>
                      <a:pt x="914" y="844"/>
                    </a:lnTo>
                    <a:lnTo>
                      <a:pt x="912" y="844"/>
                    </a:lnTo>
                    <a:lnTo>
                      <a:pt x="912" y="846"/>
                    </a:lnTo>
                    <a:lnTo>
                      <a:pt x="912" y="847"/>
                    </a:lnTo>
                    <a:lnTo>
                      <a:pt x="911" y="849"/>
                    </a:lnTo>
                    <a:lnTo>
                      <a:pt x="911" y="851"/>
                    </a:lnTo>
                    <a:lnTo>
                      <a:pt x="909" y="851"/>
                    </a:lnTo>
                    <a:lnTo>
                      <a:pt x="909" y="852"/>
                    </a:lnTo>
                    <a:lnTo>
                      <a:pt x="909" y="854"/>
                    </a:lnTo>
                    <a:lnTo>
                      <a:pt x="909" y="855"/>
                    </a:lnTo>
                    <a:lnTo>
                      <a:pt x="908" y="855"/>
                    </a:lnTo>
                    <a:lnTo>
                      <a:pt x="908" y="857"/>
                    </a:lnTo>
                    <a:lnTo>
                      <a:pt x="908" y="859"/>
                    </a:lnTo>
                    <a:lnTo>
                      <a:pt x="906" y="859"/>
                    </a:lnTo>
                    <a:lnTo>
                      <a:pt x="904" y="859"/>
                    </a:lnTo>
                    <a:lnTo>
                      <a:pt x="904" y="860"/>
                    </a:lnTo>
                    <a:lnTo>
                      <a:pt x="903" y="860"/>
                    </a:lnTo>
                    <a:lnTo>
                      <a:pt x="901" y="860"/>
                    </a:lnTo>
                    <a:lnTo>
                      <a:pt x="900" y="860"/>
                    </a:lnTo>
                    <a:lnTo>
                      <a:pt x="898" y="860"/>
                    </a:lnTo>
                    <a:lnTo>
                      <a:pt x="898" y="862"/>
                    </a:lnTo>
                    <a:lnTo>
                      <a:pt x="897" y="862"/>
                    </a:lnTo>
                    <a:lnTo>
                      <a:pt x="895" y="862"/>
                    </a:lnTo>
                    <a:lnTo>
                      <a:pt x="895" y="860"/>
                    </a:lnTo>
                    <a:lnTo>
                      <a:pt x="893" y="860"/>
                    </a:lnTo>
                    <a:lnTo>
                      <a:pt x="893" y="859"/>
                    </a:lnTo>
                    <a:lnTo>
                      <a:pt x="892" y="859"/>
                    </a:lnTo>
                    <a:lnTo>
                      <a:pt x="890" y="857"/>
                    </a:lnTo>
                    <a:lnTo>
                      <a:pt x="889" y="857"/>
                    </a:lnTo>
                    <a:lnTo>
                      <a:pt x="889" y="855"/>
                    </a:lnTo>
                    <a:lnTo>
                      <a:pt x="887" y="855"/>
                    </a:lnTo>
                    <a:lnTo>
                      <a:pt x="887" y="854"/>
                    </a:lnTo>
                    <a:lnTo>
                      <a:pt x="885" y="854"/>
                    </a:lnTo>
                    <a:lnTo>
                      <a:pt x="885" y="852"/>
                    </a:lnTo>
                    <a:lnTo>
                      <a:pt x="884" y="852"/>
                    </a:lnTo>
                    <a:lnTo>
                      <a:pt x="884" y="851"/>
                    </a:lnTo>
                    <a:lnTo>
                      <a:pt x="884" y="849"/>
                    </a:lnTo>
                    <a:lnTo>
                      <a:pt x="884" y="847"/>
                    </a:lnTo>
                    <a:lnTo>
                      <a:pt x="882" y="847"/>
                    </a:lnTo>
                    <a:lnTo>
                      <a:pt x="882" y="846"/>
                    </a:lnTo>
                    <a:lnTo>
                      <a:pt x="882" y="844"/>
                    </a:lnTo>
                    <a:lnTo>
                      <a:pt x="879" y="841"/>
                    </a:lnTo>
                    <a:lnTo>
                      <a:pt x="879" y="840"/>
                    </a:lnTo>
                    <a:lnTo>
                      <a:pt x="878" y="833"/>
                    </a:lnTo>
                    <a:lnTo>
                      <a:pt x="878" y="832"/>
                    </a:lnTo>
                    <a:lnTo>
                      <a:pt x="878" y="830"/>
                    </a:lnTo>
                    <a:lnTo>
                      <a:pt x="876" y="830"/>
                    </a:lnTo>
                    <a:lnTo>
                      <a:pt x="871" y="830"/>
                    </a:lnTo>
                    <a:lnTo>
                      <a:pt x="871" y="828"/>
                    </a:lnTo>
                    <a:lnTo>
                      <a:pt x="868" y="822"/>
                    </a:lnTo>
                    <a:lnTo>
                      <a:pt x="865" y="817"/>
                    </a:lnTo>
                    <a:lnTo>
                      <a:pt x="865" y="813"/>
                    </a:lnTo>
                    <a:lnTo>
                      <a:pt x="863" y="811"/>
                    </a:lnTo>
                    <a:lnTo>
                      <a:pt x="863" y="809"/>
                    </a:lnTo>
                    <a:lnTo>
                      <a:pt x="862" y="808"/>
                    </a:lnTo>
                    <a:lnTo>
                      <a:pt x="860" y="805"/>
                    </a:lnTo>
                    <a:lnTo>
                      <a:pt x="857" y="797"/>
                    </a:lnTo>
                    <a:lnTo>
                      <a:pt x="854" y="784"/>
                    </a:lnTo>
                    <a:lnTo>
                      <a:pt x="847" y="783"/>
                    </a:lnTo>
                    <a:lnTo>
                      <a:pt x="846" y="781"/>
                    </a:lnTo>
                    <a:lnTo>
                      <a:pt x="840" y="778"/>
                    </a:lnTo>
                    <a:lnTo>
                      <a:pt x="838" y="778"/>
                    </a:lnTo>
                    <a:lnTo>
                      <a:pt x="836" y="776"/>
                    </a:lnTo>
                    <a:lnTo>
                      <a:pt x="835" y="776"/>
                    </a:lnTo>
                    <a:lnTo>
                      <a:pt x="833" y="776"/>
                    </a:lnTo>
                    <a:lnTo>
                      <a:pt x="832" y="776"/>
                    </a:lnTo>
                    <a:lnTo>
                      <a:pt x="830" y="776"/>
                    </a:lnTo>
                    <a:lnTo>
                      <a:pt x="828" y="776"/>
                    </a:lnTo>
                    <a:lnTo>
                      <a:pt x="825" y="775"/>
                    </a:lnTo>
                    <a:lnTo>
                      <a:pt x="824" y="773"/>
                    </a:lnTo>
                    <a:lnTo>
                      <a:pt x="820" y="776"/>
                    </a:lnTo>
                    <a:lnTo>
                      <a:pt x="819" y="776"/>
                    </a:lnTo>
                    <a:lnTo>
                      <a:pt x="816" y="778"/>
                    </a:lnTo>
                    <a:lnTo>
                      <a:pt x="814" y="778"/>
                    </a:lnTo>
                    <a:lnTo>
                      <a:pt x="813" y="779"/>
                    </a:lnTo>
                    <a:lnTo>
                      <a:pt x="809" y="779"/>
                    </a:lnTo>
                    <a:lnTo>
                      <a:pt x="809" y="781"/>
                    </a:lnTo>
                    <a:lnTo>
                      <a:pt x="808" y="784"/>
                    </a:lnTo>
                    <a:lnTo>
                      <a:pt x="806" y="787"/>
                    </a:lnTo>
                    <a:lnTo>
                      <a:pt x="805" y="790"/>
                    </a:lnTo>
                    <a:lnTo>
                      <a:pt x="803" y="792"/>
                    </a:lnTo>
                    <a:lnTo>
                      <a:pt x="801" y="792"/>
                    </a:lnTo>
                    <a:lnTo>
                      <a:pt x="798" y="790"/>
                    </a:lnTo>
                    <a:lnTo>
                      <a:pt x="794" y="790"/>
                    </a:lnTo>
                    <a:lnTo>
                      <a:pt x="792" y="790"/>
                    </a:lnTo>
                    <a:lnTo>
                      <a:pt x="790" y="790"/>
                    </a:lnTo>
                    <a:lnTo>
                      <a:pt x="789" y="790"/>
                    </a:lnTo>
                    <a:lnTo>
                      <a:pt x="789" y="789"/>
                    </a:lnTo>
                    <a:lnTo>
                      <a:pt x="786" y="790"/>
                    </a:lnTo>
                    <a:lnTo>
                      <a:pt x="786" y="792"/>
                    </a:lnTo>
                    <a:lnTo>
                      <a:pt x="784" y="792"/>
                    </a:lnTo>
                    <a:lnTo>
                      <a:pt x="782" y="794"/>
                    </a:lnTo>
                    <a:lnTo>
                      <a:pt x="781" y="794"/>
                    </a:lnTo>
                    <a:lnTo>
                      <a:pt x="782" y="795"/>
                    </a:lnTo>
                    <a:lnTo>
                      <a:pt x="782" y="797"/>
                    </a:lnTo>
                    <a:lnTo>
                      <a:pt x="782" y="798"/>
                    </a:lnTo>
                    <a:lnTo>
                      <a:pt x="782" y="800"/>
                    </a:lnTo>
                    <a:lnTo>
                      <a:pt x="782" y="802"/>
                    </a:lnTo>
                    <a:lnTo>
                      <a:pt x="784" y="802"/>
                    </a:lnTo>
                    <a:lnTo>
                      <a:pt x="784" y="803"/>
                    </a:lnTo>
                    <a:lnTo>
                      <a:pt x="784" y="805"/>
                    </a:lnTo>
                    <a:lnTo>
                      <a:pt x="784" y="806"/>
                    </a:lnTo>
                    <a:lnTo>
                      <a:pt x="782" y="808"/>
                    </a:lnTo>
                    <a:lnTo>
                      <a:pt x="782" y="809"/>
                    </a:lnTo>
                    <a:lnTo>
                      <a:pt x="781" y="811"/>
                    </a:lnTo>
                    <a:lnTo>
                      <a:pt x="781" y="813"/>
                    </a:lnTo>
                    <a:lnTo>
                      <a:pt x="781" y="814"/>
                    </a:lnTo>
                    <a:lnTo>
                      <a:pt x="779" y="816"/>
                    </a:lnTo>
                    <a:lnTo>
                      <a:pt x="778" y="816"/>
                    </a:lnTo>
                    <a:lnTo>
                      <a:pt x="776" y="816"/>
                    </a:lnTo>
                    <a:lnTo>
                      <a:pt x="775" y="814"/>
                    </a:lnTo>
                    <a:lnTo>
                      <a:pt x="773" y="814"/>
                    </a:lnTo>
                    <a:lnTo>
                      <a:pt x="773" y="813"/>
                    </a:lnTo>
                    <a:lnTo>
                      <a:pt x="771" y="813"/>
                    </a:lnTo>
                    <a:lnTo>
                      <a:pt x="770" y="813"/>
                    </a:lnTo>
                    <a:lnTo>
                      <a:pt x="768" y="813"/>
                    </a:lnTo>
                    <a:lnTo>
                      <a:pt x="767" y="814"/>
                    </a:lnTo>
                    <a:lnTo>
                      <a:pt x="763" y="817"/>
                    </a:lnTo>
                    <a:lnTo>
                      <a:pt x="763" y="816"/>
                    </a:lnTo>
                    <a:lnTo>
                      <a:pt x="763" y="814"/>
                    </a:lnTo>
                    <a:lnTo>
                      <a:pt x="765" y="813"/>
                    </a:lnTo>
                    <a:lnTo>
                      <a:pt x="765" y="811"/>
                    </a:lnTo>
                    <a:lnTo>
                      <a:pt x="765" y="809"/>
                    </a:lnTo>
                    <a:lnTo>
                      <a:pt x="765" y="808"/>
                    </a:lnTo>
                    <a:lnTo>
                      <a:pt x="763" y="806"/>
                    </a:lnTo>
                    <a:lnTo>
                      <a:pt x="762" y="806"/>
                    </a:lnTo>
                    <a:lnTo>
                      <a:pt x="760" y="805"/>
                    </a:lnTo>
                    <a:lnTo>
                      <a:pt x="759" y="803"/>
                    </a:lnTo>
                    <a:lnTo>
                      <a:pt x="759" y="802"/>
                    </a:lnTo>
                    <a:lnTo>
                      <a:pt x="759" y="800"/>
                    </a:lnTo>
                    <a:lnTo>
                      <a:pt x="760" y="798"/>
                    </a:lnTo>
                    <a:lnTo>
                      <a:pt x="760" y="797"/>
                    </a:lnTo>
                    <a:lnTo>
                      <a:pt x="760" y="795"/>
                    </a:lnTo>
                    <a:lnTo>
                      <a:pt x="759" y="794"/>
                    </a:lnTo>
                    <a:lnTo>
                      <a:pt x="756" y="792"/>
                    </a:lnTo>
                    <a:lnTo>
                      <a:pt x="754" y="792"/>
                    </a:lnTo>
                    <a:lnTo>
                      <a:pt x="752" y="792"/>
                    </a:lnTo>
                    <a:lnTo>
                      <a:pt x="752" y="794"/>
                    </a:lnTo>
                    <a:lnTo>
                      <a:pt x="751" y="794"/>
                    </a:lnTo>
                    <a:lnTo>
                      <a:pt x="748" y="794"/>
                    </a:lnTo>
                    <a:lnTo>
                      <a:pt x="746" y="794"/>
                    </a:lnTo>
                    <a:lnTo>
                      <a:pt x="744" y="794"/>
                    </a:lnTo>
                    <a:lnTo>
                      <a:pt x="744" y="795"/>
                    </a:lnTo>
                    <a:lnTo>
                      <a:pt x="743" y="797"/>
                    </a:lnTo>
                    <a:lnTo>
                      <a:pt x="740" y="797"/>
                    </a:lnTo>
                    <a:lnTo>
                      <a:pt x="738" y="797"/>
                    </a:lnTo>
                    <a:lnTo>
                      <a:pt x="737" y="797"/>
                    </a:lnTo>
                    <a:lnTo>
                      <a:pt x="737" y="798"/>
                    </a:lnTo>
                    <a:lnTo>
                      <a:pt x="735" y="798"/>
                    </a:lnTo>
                    <a:lnTo>
                      <a:pt x="732" y="800"/>
                    </a:lnTo>
                    <a:lnTo>
                      <a:pt x="732" y="802"/>
                    </a:lnTo>
                    <a:lnTo>
                      <a:pt x="730" y="803"/>
                    </a:lnTo>
                    <a:lnTo>
                      <a:pt x="729" y="803"/>
                    </a:lnTo>
                    <a:lnTo>
                      <a:pt x="729" y="805"/>
                    </a:lnTo>
                    <a:lnTo>
                      <a:pt x="725" y="803"/>
                    </a:lnTo>
                    <a:lnTo>
                      <a:pt x="724" y="805"/>
                    </a:lnTo>
                    <a:lnTo>
                      <a:pt x="722" y="806"/>
                    </a:lnTo>
                    <a:lnTo>
                      <a:pt x="721" y="806"/>
                    </a:lnTo>
                    <a:lnTo>
                      <a:pt x="718" y="809"/>
                    </a:lnTo>
                    <a:lnTo>
                      <a:pt x="716" y="811"/>
                    </a:lnTo>
                    <a:lnTo>
                      <a:pt x="714" y="811"/>
                    </a:lnTo>
                    <a:lnTo>
                      <a:pt x="713" y="813"/>
                    </a:lnTo>
                    <a:lnTo>
                      <a:pt x="711" y="813"/>
                    </a:lnTo>
                    <a:lnTo>
                      <a:pt x="710" y="814"/>
                    </a:lnTo>
                    <a:lnTo>
                      <a:pt x="708" y="814"/>
                    </a:lnTo>
                    <a:lnTo>
                      <a:pt x="706" y="814"/>
                    </a:lnTo>
                    <a:lnTo>
                      <a:pt x="705" y="814"/>
                    </a:lnTo>
                    <a:lnTo>
                      <a:pt x="703" y="816"/>
                    </a:lnTo>
                    <a:lnTo>
                      <a:pt x="702" y="816"/>
                    </a:lnTo>
                    <a:lnTo>
                      <a:pt x="700" y="816"/>
                    </a:lnTo>
                    <a:lnTo>
                      <a:pt x="699" y="816"/>
                    </a:lnTo>
                    <a:lnTo>
                      <a:pt x="697" y="817"/>
                    </a:lnTo>
                    <a:lnTo>
                      <a:pt x="695" y="817"/>
                    </a:lnTo>
                    <a:lnTo>
                      <a:pt x="695" y="819"/>
                    </a:lnTo>
                    <a:lnTo>
                      <a:pt x="694" y="817"/>
                    </a:lnTo>
                    <a:lnTo>
                      <a:pt x="692" y="817"/>
                    </a:lnTo>
                    <a:lnTo>
                      <a:pt x="692" y="819"/>
                    </a:lnTo>
                    <a:lnTo>
                      <a:pt x="691" y="819"/>
                    </a:lnTo>
                    <a:lnTo>
                      <a:pt x="689" y="819"/>
                    </a:lnTo>
                    <a:lnTo>
                      <a:pt x="687" y="819"/>
                    </a:lnTo>
                    <a:lnTo>
                      <a:pt x="687" y="821"/>
                    </a:lnTo>
                    <a:lnTo>
                      <a:pt x="687" y="822"/>
                    </a:lnTo>
                    <a:lnTo>
                      <a:pt x="686" y="822"/>
                    </a:lnTo>
                    <a:lnTo>
                      <a:pt x="686" y="824"/>
                    </a:lnTo>
                    <a:lnTo>
                      <a:pt x="684" y="824"/>
                    </a:lnTo>
                    <a:lnTo>
                      <a:pt x="683" y="824"/>
                    </a:lnTo>
                    <a:lnTo>
                      <a:pt x="681" y="824"/>
                    </a:lnTo>
                    <a:lnTo>
                      <a:pt x="681" y="825"/>
                    </a:lnTo>
                    <a:lnTo>
                      <a:pt x="680" y="825"/>
                    </a:lnTo>
                    <a:lnTo>
                      <a:pt x="680" y="827"/>
                    </a:lnTo>
                    <a:lnTo>
                      <a:pt x="678" y="828"/>
                    </a:lnTo>
                    <a:lnTo>
                      <a:pt x="676" y="828"/>
                    </a:lnTo>
                    <a:lnTo>
                      <a:pt x="675" y="828"/>
                    </a:lnTo>
                    <a:lnTo>
                      <a:pt x="675" y="830"/>
                    </a:lnTo>
                    <a:lnTo>
                      <a:pt x="673" y="830"/>
                    </a:lnTo>
                    <a:lnTo>
                      <a:pt x="672" y="830"/>
                    </a:lnTo>
                    <a:lnTo>
                      <a:pt x="670" y="830"/>
                    </a:lnTo>
                    <a:lnTo>
                      <a:pt x="668" y="832"/>
                    </a:lnTo>
                    <a:lnTo>
                      <a:pt x="667" y="830"/>
                    </a:lnTo>
                    <a:lnTo>
                      <a:pt x="665" y="830"/>
                    </a:lnTo>
                    <a:lnTo>
                      <a:pt x="664" y="832"/>
                    </a:lnTo>
                    <a:lnTo>
                      <a:pt x="662" y="830"/>
                    </a:lnTo>
                    <a:lnTo>
                      <a:pt x="662" y="832"/>
                    </a:lnTo>
                    <a:lnTo>
                      <a:pt x="661" y="833"/>
                    </a:lnTo>
                    <a:lnTo>
                      <a:pt x="661" y="835"/>
                    </a:lnTo>
                    <a:lnTo>
                      <a:pt x="659" y="835"/>
                    </a:lnTo>
                    <a:lnTo>
                      <a:pt x="661" y="836"/>
                    </a:lnTo>
                    <a:lnTo>
                      <a:pt x="661" y="838"/>
                    </a:lnTo>
                    <a:lnTo>
                      <a:pt x="659" y="838"/>
                    </a:lnTo>
                    <a:lnTo>
                      <a:pt x="659" y="840"/>
                    </a:lnTo>
                    <a:lnTo>
                      <a:pt x="657" y="840"/>
                    </a:lnTo>
                    <a:lnTo>
                      <a:pt x="656" y="840"/>
                    </a:lnTo>
                    <a:lnTo>
                      <a:pt x="656" y="841"/>
                    </a:lnTo>
                    <a:lnTo>
                      <a:pt x="656" y="843"/>
                    </a:lnTo>
                    <a:lnTo>
                      <a:pt x="656" y="844"/>
                    </a:lnTo>
                    <a:lnTo>
                      <a:pt x="654" y="844"/>
                    </a:lnTo>
                    <a:lnTo>
                      <a:pt x="653" y="844"/>
                    </a:lnTo>
                    <a:lnTo>
                      <a:pt x="651" y="844"/>
                    </a:lnTo>
                    <a:lnTo>
                      <a:pt x="648" y="844"/>
                    </a:lnTo>
                    <a:lnTo>
                      <a:pt x="646" y="844"/>
                    </a:lnTo>
                    <a:lnTo>
                      <a:pt x="645" y="844"/>
                    </a:lnTo>
                    <a:lnTo>
                      <a:pt x="643" y="844"/>
                    </a:lnTo>
                    <a:lnTo>
                      <a:pt x="642" y="844"/>
                    </a:lnTo>
                    <a:lnTo>
                      <a:pt x="642" y="846"/>
                    </a:lnTo>
                    <a:lnTo>
                      <a:pt x="640" y="846"/>
                    </a:lnTo>
                    <a:lnTo>
                      <a:pt x="638" y="846"/>
                    </a:lnTo>
                    <a:lnTo>
                      <a:pt x="638" y="844"/>
                    </a:lnTo>
                    <a:lnTo>
                      <a:pt x="637" y="844"/>
                    </a:lnTo>
                    <a:lnTo>
                      <a:pt x="635" y="846"/>
                    </a:lnTo>
                    <a:lnTo>
                      <a:pt x="634" y="846"/>
                    </a:lnTo>
                    <a:lnTo>
                      <a:pt x="632" y="846"/>
                    </a:lnTo>
                    <a:lnTo>
                      <a:pt x="630" y="844"/>
                    </a:lnTo>
                    <a:lnTo>
                      <a:pt x="629" y="844"/>
                    </a:lnTo>
                    <a:lnTo>
                      <a:pt x="629" y="846"/>
                    </a:lnTo>
                    <a:lnTo>
                      <a:pt x="627" y="844"/>
                    </a:lnTo>
                    <a:lnTo>
                      <a:pt x="626" y="844"/>
                    </a:lnTo>
                    <a:lnTo>
                      <a:pt x="624" y="844"/>
                    </a:lnTo>
                    <a:lnTo>
                      <a:pt x="622" y="844"/>
                    </a:lnTo>
                    <a:lnTo>
                      <a:pt x="621" y="844"/>
                    </a:lnTo>
                    <a:lnTo>
                      <a:pt x="619" y="844"/>
                    </a:lnTo>
                    <a:lnTo>
                      <a:pt x="618" y="844"/>
                    </a:lnTo>
                    <a:lnTo>
                      <a:pt x="618" y="843"/>
                    </a:lnTo>
                    <a:lnTo>
                      <a:pt x="616" y="843"/>
                    </a:lnTo>
                    <a:lnTo>
                      <a:pt x="616" y="841"/>
                    </a:lnTo>
                    <a:lnTo>
                      <a:pt x="616" y="840"/>
                    </a:lnTo>
                    <a:lnTo>
                      <a:pt x="615" y="840"/>
                    </a:lnTo>
                    <a:lnTo>
                      <a:pt x="615" y="838"/>
                    </a:lnTo>
                    <a:lnTo>
                      <a:pt x="613" y="836"/>
                    </a:lnTo>
                    <a:lnTo>
                      <a:pt x="611" y="836"/>
                    </a:lnTo>
                    <a:lnTo>
                      <a:pt x="611" y="835"/>
                    </a:lnTo>
                    <a:lnTo>
                      <a:pt x="610" y="835"/>
                    </a:lnTo>
                    <a:lnTo>
                      <a:pt x="608" y="835"/>
                    </a:lnTo>
                    <a:lnTo>
                      <a:pt x="607" y="833"/>
                    </a:lnTo>
                    <a:lnTo>
                      <a:pt x="605" y="833"/>
                    </a:lnTo>
                    <a:lnTo>
                      <a:pt x="603" y="833"/>
                    </a:lnTo>
                    <a:lnTo>
                      <a:pt x="603" y="835"/>
                    </a:lnTo>
                    <a:lnTo>
                      <a:pt x="602" y="835"/>
                    </a:lnTo>
                    <a:lnTo>
                      <a:pt x="600" y="836"/>
                    </a:lnTo>
                    <a:lnTo>
                      <a:pt x="599" y="835"/>
                    </a:lnTo>
                    <a:lnTo>
                      <a:pt x="597" y="835"/>
                    </a:lnTo>
                    <a:lnTo>
                      <a:pt x="596" y="835"/>
                    </a:lnTo>
                    <a:lnTo>
                      <a:pt x="594" y="836"/>
                    </a:lnTo>
                    <a:lnTo>
                      <a:pt x="594" y="838"/>
                    </a:lnTo>
                    <a:lnTo>
                      <a:pt x="594" y="840"/>
                    </a:lnTo>
                    <a:lnTo>
                      <a:pt x="592" y="840"/>
                    </a:lnTo>
                    <a:lnTo>
                      <a:pt x="592" y="838"/>
                    </a:lnTo>
                    <a:lnTo>
                      <a:pt x="591" y="838"/>
                    </a:lnTo>
                    <a:lnTo>
                      <a:pt x="589" y="838"/>
                    </a:lnTo>
                    <a:lnTo>
                      <a:pt x="589" y="840"/>
                    </a:lnTo>
                    <a:lnTo>
                      <a:pt x="588" y="840"/>
                    </a:lnTo>
                    <a:lnTo>
                      <a:pt x="588" y="841"/>
                    </a:lnTo>
                    <a:lnTo>
                      <a:pt x="586" y="841"/>
                    </a:lnTo>
                    <a:lnTo>
                      <a:pt x="584" y="841"/>
                    </a:lnTo>
                    <a:lnTo>
                      <a:pt x="581" y="841"/>
                    </a:lnTo>
                    <a:lnTo>
                      <a:pt x="580" y="841"/>
                    </a:lnTo>
                    <a:lnTo>
                      <a:pt x="564" y="838"/>
                    </a:lnTo>
                    <a:lnTo>
                      <a:pt x="564" y="840"/>
                    </a:lnTo>
                    <a:lnTo>
                      <a:pt x="562" y="840"/>
                    </a:lnTo>
                    <a:lnTo>
                      <a:pt x="559" y="841"/>
                    </a:lnTo>
                    <a:lnTo>
                      <a:pt x="553" y="844"/>
                    </a:lnTo>
                    <a:lnTo>
                      <a:pt x="548" y="846"/>
                    </a:lnTo>
                    <a:lnTo>
                      <a:pt x="545" y="847"/>
                    </a:lnTo>
                    <a:lnTo>
                      <a:pt x="540" y="849"/>
                    </a:lnTo>
                    <a:lnTo>
                      <a:pt x="537" y="852"/>
                    </a:lnTo>
                    <a:lnTo>
                      <a:pt x="532" y="854"/>
                    </a:lnTo>
                    <a:lnTo>
                      <a:pt x="531" y="854"/>
                    </a:lnTo>
                    <a:lnTo>
                      <a:pt x="526" y="855"/>
                    </a:lnTo>
                    <a:lnTo>
                      <a:pt x="515" y="860"/>
                    </a:lnTo>
                    <a:lnTo>
                      <a:pt x="513" y="860"/>
                    </a:lnTo>
                    <a:lnTo>
                      <a:pt x="512" y="860"/>
                    </a:lnTo>
                    <a:lnTo>
                      <a:pt x="507" y="863"/>
                    </a:lnTo>
                    <a:lnTo>
                      <a:pt x="505" y="863"/>
                    </a:lnTo>
                    <a:lnTo>
                      <a:pt x="504" y="863"/>
                    </a:lnTo>
                    <a:lnTo>
                      <a:pt x="504" y="865"/>
                    </a:lnTo>
                    <a:lnTo>
                      <a:pt x="501" y="865"/>
                    </a:lnTo>
                    <a:lnTo>
                      <a:pt x="496" y="866"/>
                    </a:lnTo>
                    <a:lnTo>
                      <a:pt x="494" y="868"/>
                    </a:lnTo>
                    <a:lnTo>
                      <a:pt x="486" y="871"/>
                    </a:lnTo>
                    <a:lnTo>
                      <a:pt x="482" y="873"/>
                    </a:lnTo>
                    <a:lnTo>
                      <a:pt x="480" y="873"/>
                    </a:lnTo>
                    <a:lnTo>
                      <a:pt x="475" y="876"/>
                    </a:lnTo>
                    <a:lnTo>
                      <a:pt x="474" y="876"/>
                    </a:lnTo>
                    <a:lnTo>
                      <a:pt x="470" y="878"/>
                    </a:lnTo>
                    <a:lnTo>
                      <a:pt x="469" y="878"/>
                    </a:lnTo>
                    <a:lnTo>
                      <a:pt x="467" y="879"/>
                    </a:lnTo>
                    <a:lnTo>
                      <a:pt x="466" y="881"/>
                    </a:lnTo>
                    <a:lnTo>
                      <a:pt x="464" y="882"/>
                    </a:lnTo>
                    <a:lnTo>
                      <a:pt x="461" y="887"/>
                    </a:lnTo>
                    <a:lnTo>
                      <a:pt x="459" y="887"/>
                    </a:lnTo>
                    <a:lnTo>
                      <a:pt x="459" y="889"/>
                    </a:lnTo>
                    <a:lnTo>
                      <a:pt x="458" y="889"/>
                    </a:lnTo>
                    <a:lnTo>
                      <a:pt x="458" y="890"/>
                    </a:lnTo>
                    <a:lnTo>
                      <a:pt x="456" y="892"/>
                    </a:lnTo>
                    <a:lnTo>
                      <a:pt x="455" y="893"/>
                    </a:lnTo>
                    <a:lnTo>
                      <a:pt x="451" y="898"/>
                    </a:lnTo>
                    <a:lnTo>
                      <a:pt x="428" y="928"/>
                    </a:lnTo>
                    <a:lnTo>
                      <a:pt x="415" y="930"/>
                    </a:lnTo>
                    <a:lnTo>
                      <a:pt x="367" y="933"/>
                    </a:lnTo>
                    <a:lnTo>
                      <a:pt x="361" y="920"/>
                    </a:lnTo>
                    <a:lnTo>
                      <a:pt x="358" y="916"/>
                    </a:lnTo>
                    <a:lnTo>
                      <a:pt x="355" y="909"/>
                    </a:lnTo>
                    <a:lnTo>
                      <a:pt x="353" y="909"/>
                    </a:lnTo>
                    <a:lnTo>
                      <a:pt x="353" y="908"/>
                    </a:lnTo>
                    <a:lnTo>
                      <a:pt x="353" y="906"/>
                    </a:lnTo>
                    <a:lnTo>
                      <a:pt x="352" y="906"/>
                    </a:lnTo>
                    <a:lnTo>
                      <a:pt x="352" y="905"/>
                    </a:lnTo>
                    <a:lnTo>
                      <a:pt x="350" y="903"/>
                    </a:lnTo>
                    <a:lnTo>
                      <a:pt x="350" y="901"/>
                    </a:lnTo>
                    <a:lnTo>
                      <a:pt x="348" y="901"/>
                    </a:lnTo>
                    <a:lnTo>
                      <a:pt x="348" y="900"/>
                    </a:lnTo>
                    <a:lnTo>
                      <a:pt x="347" y="900"/>
                    </a:lnTo>
                    <a:lnTo>
                      <a:pt x="347" y="898"/>
                    </a:lnTo>
                    <a:lnTo>
                      <a:pt x="345" y="898"/>
                    </a:lnTo>
                    <a:lnTo>
                      <a:pt x="345" y="897"/>
                    </a:lnTo>
                    <a:lnTo>
                      <a:pt x="345" y="895"/>
                    </a:lnTo>
                    <a:lnTo>
                      <a:pt x="345" y="893"/>
                    </a:lnTo>
                    <a:lnTo>
                      <a:pt x="344" y="893"/>
                    </a:lnTo>
                    <a:lnTo>
                      <a:pt x="342" y="892"/>
                    </a:lnTo>
                    <a:lnTo>
                      <a:pt x="341" y="890"/>
                    </a:lnTo>
                    <a:lnTo>
                      <a:pt x="339" y="890"/>
                    </a:lnTo>
                    <a:lnTo>
                      <a:pt x="339" y="889"/>
                    </a:lnTo>
                    <a:lnTo>
                      <a:pt x="337" y="886"/>
                    </a:lnTo>
                    <a:lnTo>
                      <a:pt x="337" y="884"/>
                    </a:lnTo>
                    <a:lnTo>
                      <a:pt x="339" y="882"/>
                    </a:lnTo>
                    <a:lnTo>
                      <a:pt x="339" y="881"/>
                    </a:lnTo>
                    <a:lnTo>
                      <a:pt x="339" y="879"/>
                    </a:lnTo>
                    <a:lnTo>
                      <a:pt x="339" y="878"/>
                    </a:lnTo>
                    <a:lnTo>
                      <a:pt x="337" y="878"/>
                    </a:lnTo>
                    <a:lnTo>
                      <a:pt x="337" y="876"/>
                    </a:lnTo>
                    <a:lnTo>
                      <a:pt x="336" y="876"/>
                    </a:lnTo>
                    <a:lnTo>
                      <a:pt x="336" y="874"/>
                    </a:lnTo>
                    <a:lnTo>
                      <a:pt x="336" y="873"/>
                    </a:lnTo>
                    <a:lnTo>
                      <a:pt x="334" y="873"/>
                    </a:lnTo>
                    <a:lnTo>
                      <a:pt x="333" y="873"/>
                    </a:lnTo>
                    <a:lnTo>
                      <a:pt x="333" y="871"/>
                    </a:lnTo>
                    <a:lnTo>
                      <a:pt x="331" y="871"/>
                    </a:lnTo>
                    <a:lnTo>
                      <a:pt x="331" y="870"/>
                    </a:lnTo>
                    <a:lnTo>
                      <a:pt x="329" y="870"/>
                    </a:lnTo>
                    <a:lnTo>
                      <a:pt x="328" y="868"/>
                    </a:lnTo>
                    <a:lnTo>
                      <a:pt x="328" y="866"/>
                    </a:lnTo>
                    <a:lnTo>
                      <a:pt x="329" y="866"/>
                    </a:lnTo>
                    <a:lnTo>
                      <a:pt x="328" y="865"/>
                    </a:lnTo>
                    <a:lnTo>
                      <a:pt x="328" y="863"/>
                    </a:lnTo>
                    <a:lnTo>
                      <a:pt x="328" y="862"/>
                    </a:lnTo>
                    <a:lnTo>
                      <a:pt x="328" y="860"/>
                    </a:lnTo>
                    <a:lnTo>
                      <a:pt x="326" y="859"/>
                    </a:lnTo>
                    <a:lnTo>
                      <a:pt x="326" y="857"/>
                    </a:lnTo>
                    <a:lnTo>
                      <a:pt x="325" y="855"/>
                    </a:lnTo>
                    <a:lnTo>
                      <a:pt x="323" y="855"/>
                    </a:lnTo>
                    <a:lnTo>
                      <a:pt x="323" y="854"/>
                    </a:lnTo>
                    <a:lnTo>
                      <a:pt x="323" y="852"/>
                    </a:lnTo>
                    <a:lnTo>
                      <a:pt x="325" y="851"/>
                    </a:lnTo>
                    <a:lnTo>
                      <a:pt x="323" y="849"/>
                    </a:lnTo>
                    <a:lnTo>
                      <a:pt x="325" y="849"/>
                    </a:lnTo>
                    <a:lnTo>
                      <a:pt x="325" y="847"/>
                    </a:lnTo>
                    <a:lnTo>
                      <a:pt x="325" y="846"/>
                    </a:lnTo>
                    <a:lnTo>
                      <a:pt x="323" y="844"/>
                    </a:lnTo>
                    <a:lnTo>
                      <a:pt x="323" y="843"/>
                    </a:lnTo>
                    <a:lnTo>
                      <a:pt x="322" y="843"/>
                    </a:lnTo>
                    <a:lnTo>
                      <a:pt x="322" y="841"/>
                    </a:lnTo>
                    <a:lnTo>
                      <a:pt x="320" y="841"/>
                    </a:lnTo>
                    <a:lnTo>
                      <a:pt x="318" y="840"/>
                    </a:lnTo>
                    <a:lnTo>
                      <a:pt x="317" y="840"/>
                    </a:lnTo>
                    <a:lnTo>
                      <a:pt x="317" y="838"/>
                    </a:lnTo>
                    <a:lnTo>
                      <a:pt x="317" y="836"/>
                    </a:lnTo>
                    <a:lnTo>
                      <a:pt x="315" y="835"/>
                    </a:lnTo>
                    <a:lnTo>
                      <a:pt x="315" y="833"/>
                    </a:lnTo>
                    <a:lnTo>
                      <a:pt x="315" y="832"/>
                    </a:lnTo>
                    <a:lnTo>
                      <a:pt x="314" y="832"/>
                    </a:lnTo>
                    <a:lnTo>
                      <a:pt x="314" y="830"/>
                    </a:lnTo>
                    <a:lnTo>
                      <a:pt x="312" y="830"/>
                    </a:lnTo>
                    <a:lnTo>
                      <a:pt x="310" y="828"/>
                    </a:lnTo>
                    <a:lnTo>
                      <a:pt x="310" y="827"/>
                    </a:lnTo>
                    <a:lnTo>
                      <a:pt x="309" y="825"/>
                    </a:lnTo>
                    <a:lnTo>
                      <a:pt x="307" y="825"/>
                    </a:lnTo>
                    <a:lnTo>
                      <a:pt x="307" y="824"/>
                    </a:lnTo>
                    <a:lnTo>
                      <a:pt x="306" y="824"/>
                    </a:lnTo>
                    <a:lnTo>
                      <a:pt x="304" y="824"/>
                    </a:lnTo>
                    <a:lnTo>
                      <a:pt x="303" y="824"/>
                    </a:lnTo>
                    <a:lnTo>
                      <a:pt x="301" y="822"/>
                    </a:lnTo>
                    <a:lnTo>
                      <a:pt x="299" y="821"/>
                    </a:lnTo>
                    <a:lnTo>
                      <a:pt x="298" y="819"/>
                    </a:lnTo>
                    <a:lnTo>
                      <a:pt x="296" y="817"/>
                    </a:lnTo>
                    <a:lnTo>
                      <a:pt x="295" y="817"/>
                    </a:lnTo>
                    <a:lnTo>
                      <a:pt x="293" y="817"/>
                    </a:lnTo>
                    <a:lnTo>
                      <a:pt x="291" y="817"/>
                    </a:lnTo>
                    <a:lnTo>
                      <a:pt x="290" y="817"/>
                    </a:lnTo>
                    <a:lnTo>
                      <a:pt x="290" y="816"/>
                    </a:lnTo>
                    <a:lnTo>
                      <a:pt x="288" y="814"/>
                    </a:lnTo>
                    <a:lnTo>
                      <a:pt x="288" y="813"/>
                    </a:lnTo>
                    <a:lnTo>
                      <a:pt x="287" y="811"/>
                    </a:lnTo>
                    <a:lnTo>
                      <a:pt x="284" y="809"/>
                    </a:lnTo>
                    <a:lnTo>
                      <a:pt x="282" y="808"/>
                    </a:lnTo>
                    <a:lnTo>
                      <a:pt x="279" y="806"/>
                    </a:lnTo>
                    <a:lnTo>
                      <a:pt x="276" y="805"/>
                    </a:lnTo>
                    <a:lnTo>
                      <a:pt x="271" y="805"/>
                    </a:lnTo>
                    <a:lnTo>
                      <a:pt x="268" y="803"/>
                    </a:lnTo>
                    <a:lnTo>
                      <a:pt x="263" y="803"/>
                    </a:lnTo>
                    <a:lnTo>
                      <a:pt x="258" y="800"/>
                    </a:lnTo>
                    <a:lnTo>
                      <a:pt x="253" y="798"/>
                    </a:lnTo>
                    <a:lnTo>
                      <a:pt x="249" y="798"/>
                    </a:lnTo>
                    <a:lnTo>
                      <a:pt x="241" y="797"/>
                    </a:lnTo>
                    <a:lnTo>
                      <a:pt x="236" y="795"/>
                    </a:lnTo>
                    <a:lnTo>
                      <a:pt x="231" y="794"/>
                    </a:lnTo>
                    <a:lnTo>
                      <a:pt x="223" y="792"/>
                    </a:lnTo>
                    <a:lnTo>
                      <a:pt x="219" y="790"/>
                    </a:lnTo>
                    <a:lnTo>
                      <a:pt x="212" y="789"/>
                    </a:lnTo>
                    <a:lnTo>
                      <a:pt x="207" y="789"/>
                    </a:lnTo>
                    <a:lnTo>
                      <a:pt x="203" y="789"/>
                    </a:lnTo>
                    <a:lnTo>
                      <a:pt x="201" y="787"/>
                    </a:lnTo>
                    <a:lnTo>
                      <a:pt x="200" y="787"/>
                    </a:lnTo>
                    <a:lnTo>
                      <a:pt x="196" y="786"/>
                    </a:lnTo>
                    <a:lnTo>
                      <a:pt x="195" y="786"/>
                    </a:lnTo>
                    <a:lnTo>
                      <a:pt x="192" y="786"/>
                    </a:lnTo>
                    <a:lnTo>
                      <a:pt x="190" y="784"/>
                    </a:lnTo>
                    <a:lnTo>
                      <a:pt x="187" y="784"/>
                    </a:lnTo>
                    <a:lnTo>
                      <a:pt x="185" y="784"/>
                    </a:lnTo>
                    <a:lnTo>
                      <a:pt x="181" y="783"/>
                    </a:lnTo>
                    <a:lnTo>
                      <a:pt x="177" y="781"/>
                    </a:lnTo>
                    <a:lnTo>
                      <a:pt x="174" y="781"/>
                    </a:lnTo>
                    <a:lnTo>
                      <a:pt x="171" y="779"/>
                    </a:lnTo>
                    <a:lnTo>
                      <a:pt x="166" y="779"/>
                    </a:lnTo>
                    <a:lnTo>
                      <a:pt x="162" y="778"/>
                    </a:lnTo>
                    <a:lnTo>
                      <a:pt x="155" y="776"/>
                    </a:lnTo>
                    <a:lnTo>
                      <a:pt x="149" y="775"/>
                    </a:lnTo>
                    <a:lnTo>
                      <a:pt x="147" y="775"/>
                    </a:lnTo>
                    <a:lnTo>
                      <a:pt x="143" y="773"/>
                    </a:lnTo>
                    <a:lnTo>
                      <a:pt x="139" y="773"/>
                    </a:lnTo>
                    <a:lnTo>
                      <a:pt x="138" y="773"/>
                    </a:lnTo>
                    <a:lnTo>
                      <a:pt x="136" y="773"/>
                    </a:lnTo>
                    <a:lnTo>
                      <a:pt x="135" y="773"/>
                    </a:lnTo>
                    <a:lnTo>
                      <a:pt x="133" y="773"/>
                    </a:lnTo>
                    <a:lnTo>
                      <a:pt x="131" y="773"/>
                    </a:lnTo>
                    <a:lnTo>
                      <a:pt x="128" y="771"/>
                    </a:lnTo>
                    <a:lnTo>
                      <a:pt x="127" y="771"/>
                    </a:lnTo>
                    <a:lnTo>
                      <a:pt x="125" y="771"/>
                    </a:lnTo>
                    <a:lnTo>
                      <a:pt x="124" y="771"/>
                    </a:lnTo>
                    <a:lnTo>
                      <a:pt x="122" y="771"/>
                    </a:lnTo>
                    <a:lnTo>
                      <a:pt x="120" y="771"/>
                    </a:lnTo>
                    <a:lnTo>
                      <a:pt x="119" y="771"/>
                    </a:lnTo>
                    <a:lnTo>
                      <a:pt x="117" y="770"/>
                    </a:lnTo>
                    <a:lnTo>
                      <a:pt x="116" y="770"/>
                    </a:lnTo>
                    <a:lnTo>
                      <a:pt x="114" y="768"/>
                    </a:lnTo>
                    <a:lnTo>
                      <a:pt x="112" y="768"/>
                    </a:lnTo>
                    <a:lnTo>
                      <a:pt x="111" y="767"/>
                    </a:lnTo>
                    <a:lnTo>
                      <a:pt x="109" y="767"/>
                    </a:lnTo>
                    <a:lnTo>
                      <a:pt x="108" y="767"/>
                    </a:lnTo>
                    <a:lnTo>
                      <a:pt x="106" y="765"/>
                    </a:lnTo>
                    <a:lnTo>
                      <a:pt x="103" y="765"/>
                    </a:lnTo>
                    <a:lnTo>
                      <a:pt x="100" y="764"/>
                    </a:lnTo>
                    <a:lnTo>
                      <a:pt x="98" y="764"/>
                    </a:lnTo>
                    <a:lnTo>
                      <a:pt x="97" y="764"/>
                    </a:lnTo>
                    <a:lnTo>
                      <a:pt x="93" y="762"/>
                    </a:lnTo>
                    <a:lnTo>
                      <a:pt x="92" y="762"/>
                    </a:lnTo>
                    <a:lnTo>
                      <a:pt x="90" y="760"/>
                    </a:lnTo>
                    <a:lnTo>
                      <a:pt x="89" y="760"/>
                    </a:lnTo>
                    <a:lnTo>
                      <a:pt x="87" y="760"/>
                    </a:lnTo>
                    <a:lnTo>
                      <a:pt x="84" y="759"/>
                    </a:lnTo>
                    <a:lnTo>
                      <a:pt x="82" y="759"/>
                    </a:lnTo>
                    <a:lnTo>
                      <a:pt x="79" y="757"/>
                    </a:lnTo>
                    <a:lnTo>
                      <a:pt x="76" y="756"/>
                    </a:lnTo>
                    <a:lnTo>
                      <a:pt x="74" y="756"/>
                    </a:lnTo>
                    <a:lnTo>
                      <a:pt x="73" y="756"/>
                    </a:lnTo>
                    <a:lnTo>
                      <a:pt x="70" y="754"/>
                    </a:lnTo>
                    <a:lnTo>
                      <a:pt x="68" y="754"/>
                    </a:lnTo>
                    <a:lnTo>
                      <a:pt x="66" y="754"/>
                    </a:lnTo>
                    <a:lnTo>
                      <a:pt x="65" y="754"/>
                    </a:lnTo>
                    <a:lnTo>
                      <a:pt x="63" y="752"/>
                    </a:lnTo>
                    <a:lnTo>
                      <a:pt x="62" y="752"/>
                    </a:lnTo>
                    <a:lnTo>
                      <a:pt x="62" y="751"/>
                    </a:lnTo>
                    <a:lnTo>
                      <a:pt x="60" y="751"/>
                    </a:lnTo>
                    <a:lnTo>
                      <a:pt x="59" y="749"/>
                    </a:lnTo>
                    <a:lnTo>
                      <a:pt x="57" y="748"/>
                    </a:lnTo>
                    <a:lnTo>
                      <a:pt x="55" y="746"/>
                    </a:lnTo>
                    <a:lnTo>
                      <a:pt x="54" y="746"/>
                    </a:lnTo>
                    <a:lnTo>
                      <a:pt x="52" y="745"/>
                    </a:lnTo>
                    <a:lnTo>
                      <a:pt x="51" y="745"/>
                    </a:lnTo>
                    <a:lnTo>
                      <a:pt x="47" y="745"/>
                    </a:lnTo>
                    <a:lnTo>
                      <a:pt x="46" y="743"/>
                    </a:lnTo>
                    <a:lnTo>
                      <a:pt x="44" y="741"/>
                    </a:lnTo>
                    <a:lnTo>
                      <a:pt x="43" y="741"/>
                    </a:lnTo>
                    <a:lnTo>
                      <a:pt x="41" y="740"/>
                    </a:lnTo>
                    <a:lnTo>
                      <a:pt x="40" y="740"/>
                    </a:lnTo>
                    <a:lnTo>
                      <a:pt x="38" y="740"/>
                    </a:lnTo>
                    <a:lnTo>
                      <a:pt x="36" y="740"/>
                    </a:lnTo>
                    <a:lnTo>
                      <a:pt x="35" y="738"/>
                    </a:lnTo>
                    <a:lnTo>
                      <a:pt x="32" y="737"/>
                    </a:lnTo>
                    <a:lnTo>
                      <a:pt x="28" y="737"/>
                    </a:lnTo>
                    <a:lnTo>
                      <a:pt x="28" y="735"/>
                    </a:lnTo>
                    <a:lnTo>
                      <a:pt x="27" y="735"/>
                    </a:lnTo>
                    <a:lnTo>
                      <a:pt x="25" y="735"/>
                    </a:lnTo>
                    <a:lnTo>
                      <a:pt x="25" y="733"/>
                    </a:lnTo>
                    <a:lnTo>
                      <a:pt x="24" y="733"/>
                    </a:lnTo>
                    <a:lnTo>
                      <a:pt x="22" y="733"/>
                    </a:lnTo>
                    <a:lnTo>
                      <a:pt x="21" y="732"/>
                    </a:lnTo>
                    <a:lnTo>
                      <a:pt x="19" y="732"/>
                    </a:lnTo>
                    <a:lnTo>
                      <a:pt x="19" y="730"/>
                    </a:lnTo>
                    <a:lnTo>
                      <a:pt x="17" y="730"/>
                    </a:lnTo>
                    <a:lnTo>
                      <a:pt x="16" y="729"/>
                    </a:lnTo>
                    <a:lnTo>
                      <a:pt x="14" y="729"/>
                    </a:lnTo>
                    <a:lnTo>
                      <a:pt x="13" y="729"/>
                    </a:lnTo>
                    <a:lnTo>
                      <a:pt x="11" y="727"/>
                    </a:lnTo>
                    <a:lnTo>
                      <a:pt x="9" y="727"/>
                    </a:lnTo>
                    <a:lnTo>
                      <a:pt x="8" y="726"/>
                    </a:lnTo>
                    <a:lnTo>
                      <a:pt x="6" y="726"/>
                    </a:lnTo>
                    <a:lnTo>
                      <a:pt x="5" y="726"/>
                    </a:lnTo>
                    <a:lnTo>
                      <a:pt x="3" y="724"/>
                    </a:lnTo>
                    <a:lnTo>
                      <a:pt x="3" y="722"/>
                    </a:lnTo>
                    <a:lnTo>
                      <a:pt x="2" y="721"/>
                    </a:lnTo>
                    <a:lnTo>
                      <a:pt x="2" y="719"/>
                    </a:lnTo>
                    <a:lnTo>
                      <a:pt x="3" y="718"/>
                    </a:lnTo>
                    <a:lnTo>
                      <a:pt x="3" y="716"/>
                    </a:lnTo>
                    <a:lnTo>
                      <a:pt x="2" y="714"/>
                    </a:lnTo>
                    <a:lnTo>
                      <a:pt x="2" y="713"/>
                    </a:lnTo>
                    <a:lnTo>
                      <a:pt x="3" y="711"/>
                    </a:lnTo>
                    <a:lnTo>
                      <a:pt x="5" y="711"/>
                    </a:lnTo>
                    <a:lnTo>
                      <a:pt x="5" y="710"/>
                    </a:lnTo>
                    <a:lnTo>
                      <a:pt x="6" y="708"/>
                    </a:lnTo>
                    <a:lnTo>
                      <a:pt x="5" y="707"/>
                    </a:lnTo>
                    <a:lnTo>
                      <a:pt x="5" y="705"/>
                    </a:lnTo>
                    <a:lnTo>
                      <a:pt x="6" y="705"/>
                    </a:lnTo>
                    <a:lnTo>
                      <a:pt x="8" y="705"/>
                    </a:lnTo>
                    <a:lnTo>
                      <a:pt x="9" y="705"/>
                    </a:lnTo>
                    <a:lnTo>
                      <a:pt x="9" y="703"/>
                    </a:lnTo>
                    <a:lnTo>
                      <a:pt x="9" y="702"/>
                    </a:lnTo>
                    <a:lnTo>
                      <a:pt x="9" y="700"/>
                    </a:lnTo>
                    <a:lnTo>
                      <a:pt x="8" y="700"/>
                    </a:lnTo>
                    <a:lnTo>
                      <a:pt x="8" y="699"/>
                    </a:lnTo>
                    <a:lnTo>
                      <a:pt x="6" y="699"/>
                    </a:lnTo>
                    <a:lnTo>
                      <a:pt x="5" y="697"/>
                    </a:lnTo>
                    <a:lnTo>
                      <a:pt x="5" y="699"/>
                    </a:lnTo>
                    <a:lnTo>
                      <a:pt x="3" y="699"/>
                    </a:lnTo>
                    <a:lnTo>
                      <a:pt x="2" y="697"/>
                    </a:lnTo>
                    <a:lnTo>
                      <a:pt x="2" y="695"/>
                    </a:lnTo>
                    <a:lnTo>
                      <a:pt x="3" y="694"/>
                    </a:lnTo>
                    <a:lnTo>
                      <a:pt x="3" y="692"/>
                    </a:lnTo>
                    <a:lnTo>
                      <a:pt x="3" y="691"/>
                    </a:lnTo>
                    <a:lnTo>
                      <a:pt x="3" y="689"/>
                    </a:lnTo>
                    <a:lnTo>
                      <a:pt x="3" y="688"/>
                    </a:lnTo>
                    <a:lnTo>
                      <a:pt x="3" y="686"/>
                    </a:lnTo>
                    <a:lnTo>
                      <a:pt x="2" y="686"/>
                    </a:lnTo>
                    <a:lnTo>
                      <a:pt x="0" y="686"/>
                    </a:lnTo>
                    <a:lnTo>
                      <a:pt x="0" y="684"/>
                    </a:lnTo>
                    <a:lnTo>
                      <a:pt x="2" y="683"/>
                    </a:lnTo>
                    <a:lnTo>
                      <a:pt x="2" y="681"/>
                    </a:lnTo>
                    <a:lnTo>
                      <a:pt x="3" y="681"/>
                    </a:lnTo>
                    <a:lnTo>
                      <a:pt x="5" y="680"/>
                    </a:lnTo>
                    <a:lnTo>
                      <a:pt x="5" y="678"/>
                    </a:lnTo>
                    <a:lnTo>
                      <a:pt x="5" y="676"/>
                    </a:lnTo>
                    <a:lnTo>
                      <a:pt x="6" y="675"/>
                    </a:lnTo>
                    <a:lnTo>
                      <a:pt x="6" y="673"/>
                    </a:lnTo>
                    <a:lnTo>
                      <a:pt x="6" y="672"/>
                    </a:lnTo>
                    <a:lnTo>
                      <a:pt x="6" y="670"/>
                    </a:lnTo>
                    <a:lnTo>
                      <a:pt x="5" y="668"/>
                    </a:lnTo>
                    <a:lnTo>
                      <a:pt x="6" y="667"/>
                    </a:lnTo>
                    <a:lnTo>
                      <a:pt x="5" y="664"/>
                    </a:lnTo>
                    <a:lnTo>
                      <a:pt x="5" y="661"/>
                    </a:lnTo>
                    <a:lnTo>
                      <a:pt x="3" y="661"/>
                    </a:lnTo>
                    <a:lnTo>
                      <a:pt x="3" y="659"/>
                    </a:lnTo>
                    <a:lnTo>
                      <a:pt x="2" y="657"/>
                    </a:lnTo>
                    <a:lnTo>
                      <a:pt x="2" y="656"/>
                    </a:lnTo>
                    <a:lnTo>
                      <a:pt x="2" y="654"/>
                    </a:lnTo>
                    <a:lnTo>
                      <a:pt x="3" y="654"/>
                    </a:lnTo>
                    <a:lnTo>
                      <a:pt x="3" y="653"/>
                    </a:lnTo>
                    <a:lnTo>
                      <a:pt x="5" y="651"/>
                    </a:lnTo>
                    <a:lnTo>
                      <a:pt x="6" y="651"/>
                    </a:lnTo>
                    <a:lnTo>
                      <a:pt x="6" y="649"/>
                    </a:lnTo>
                    <a:lnTo>
                      <a:pt x="3" y="648"/>
                    </a:lnTo>
                    <a:lnTo>
                      <a:pt x="3" y="646"/>
                    </a:lnTo>
                    <a:lnTo>
                      <a:pt x="5" y="646"/>
                    </a:lnTo>
                    <a:lnTo>
                      <a:pt x="6" y="645"/>
                    </a:lnTo>
                    <a:lnTo>
                      <a:pt x="6" y="642"/>
                    </a:lnTo>
                    <a:lnTo>
                      <a:pt x="8" y="640"/>
                    </a:lnTo>
                    <a:lnTo>
                      <a:pt x="8" y="638"/>
                    </a:lnTo>
                    <a:lnTo>
                      <a:pt x="6" y="637"/>
                    </a:lnTo>
                    <a:lnTo>
                      <a:pt x="6" y="635"/>
                    </a:lnTo>
                    <a:lnTo>
                      <a:pt x="8" y="635"/>
                    </a:lnTo>
                    <a:lnTo>
                      <a:pt x="9" y="635"/>
                    </a:lnTo>
                    <a:lnTo>
                      <a:pt x="11" y="635"/>
                    </a:lnTo>
                    <a:lnTo>
                      <a:pt x="13" y="635"/>
                    </a:lnTo>
                    <a:lnTo>
                      <a:pt x="14" y="634"/>
                    </a:lnTo>
                    <a:lnTo>
                      <a:pt x="14" y="632"/>
                    </a:lnTo>
                    <a:lnTo>
                      <a:pt x="14" y="630"/>
                    </a:lnTo>
                    <a:lnTo>
                      <a:pt x="16" y="630"/>
                    </a:lnTo>
                    <a:lnTo>
                      <a:pt x="16" y="629"/>
                    </a:lnTo>
                    <a:lnTo>
                      <a:pt x="17" y="629"/>
                    </a:lnTo>
                    <a:lnTo>
                      <a:pt x="19" y="629"/>
                    </a:lnTo>
                    <a:lnTo>
                      <a:pt x="21" y="629"/>
                    </a:lnTo>
                    <a:lnTo>
                      <a:pt x="22" y="629"/>
                    </a:lnTo>
                    <a:lnTo>
                      <a:pt x="22" y="627"/>
                    </a:lnTo>
                    <a:lnTo>
                      <a:pt x="24" y="626"/>
                    </a:lnTo>
                    <a:lnTo>
                      <a:pt x="25" y="624"/>
                    </a:lnTo>
                    <a:lnTo>
                      <a:pt x="27" y="623"/>
                    </a:lnTo>
                    <a:lnTo>
                      <a:pt x="28" y="621"/>
                    </a:lnTo>
                    <a:lnTo>
                      <a:pt x="30" y="621"/>
                    </a:lnTo>
                    <a:lnTo>
                      <a:pt x="32" y="619"/>
                    </a:lnTo>
                    <a:lnTo>
                      <a:pt x="32" y="621"/>
                    </a:lnTo>
                    <a:lnTo>
                      <a:pt x="33" y="619"/>
                    </a:lnTo>
                    <a:lnTo>
                      <a:pt x="35" y="619"/>
                    </a:lnTo>
                    <a:lnTo>
                      <a:pt x="35" y="618"/>
                    </a:lnTo>
                    <a:lnTo>
                      <a:pt x="36" y="619"/>
                    </a:lnTo>
                    <a:lnTo>
                      <a:pt x="38" y="621"/>
                    </a:lnTo>
                    <a:lnTo>
                      <a:pt x="40" y="621"/>
                    </a:lnTo>
                    <a:lnTo>
                      <a:pt x="40" y="619"/>
                    </a:lnTo>
                    <a:lnTo>
                      <a:pt x="38" y="618"/>
                    </a:lnTo>
                    <a:lnTo>
                      <a:pt x="38" y="616"/>
                    </a:lnTo>
                    <a:lnTo>
                      <a:pt x="38" y="615"/>
                    </a:lnTo>
                    <a:lnTo>
                      <a:pt x="36" y="613"/>
                    </a:lnTo>
                    <a:lnTo>
                      <a:pt x="36" y="611"/>
                    </a:lnTo>
                    <a:lnTo>
                      <a:pt x="38" y="610"/>
                    </a:lnTo>
                    <a:lnTo>
                      <a:pt x="40" y="608"/>
                    </a:lnTo>
                    <a:lnTo>
                      <a:pt x="41" y="608"/>
                    </a:lnTo>
                    <a:lnTo>
                      <a:pt x="43" y="610"/>
                    </a:lnTo>
                    <a:lnTo>
                      <a:pt x="44" y="611"/>
                    </a:lnTo>
                    <a:lnTo>
                      <a:pt x="46" y="611"/>
                    </a:lnTo>
                    <a:lnTo>
                      <a:pt x="46" y="610"/>
                    </a:lnTo>
                    <a:lnTo>
                      <a:pt x="47" y="608"/>
                    </a:lnTo>
                    <a:lnTo>
                      <a:pt x="47" y="607"/>
                    </a:lnTo>
                    <a:lnTo>
                      <a:pt x="49" y="607"/>
                    </a:lnTo>
                    <a:lnTo>
                      <a:pt x="49" y="605"/>
                    </a:lnTo>
                    <a:lnTo>
                      <a:pt x="49" y="604"/>
                    </a:lnTo>
                    <a:lnTo>
                      <a:pt x="49" y="602"/>
                    </a:lnTo>
                    <a:lnTo>
                      <a:pt x="51" y="600"/>
                    </a:lnTo>
                    <a:lnTo>
                      <a:pt x="52" y="600"/>
                    </a:lnTo>
                    <a:lnTo>
                      <a:pt x="54" y="600"/>
                    </a:lnTo>
                    <a:lnTo>
                      <a:pt x="55" y="600"/>
                    </a:lnTo>
                    <a:lnTo>
                      <a:pt x="57" y="599"/>
                    </a:lnTo>
                    <a:lnTo>
                      <a:pt x="59" y="597"/>
                    </a:lnTo>
                    <a:lnTo>
                      <a:pt x="59" y="596"/>
                    </a:lnTo>
                    <a:lnTo>
                      <a:pt x="59" y="594"/>
                    </a:lnTo>
                    <a:lnTo>
                      <a:pt x="59" y="592"/>
                    </a:lnTo>
                    <a:lnTo>
                      <a:pt x="59" y="591"/>
                    </a:lnTo>
                    <a:lnTo>
                      <a:pt x="59" y="589"/>
                    </a:lnTo>
                    <a:lnTo>
                      <a:pt x="59" y="588"/>
                    </a:lnTo>
                    <a:lnTo>
                      <a:pt x="60" y="586"/>
                    </a:lnTo>
                    <a:lnTo>
                      <a:pt x="62" y="585"/>
                    </a:lnTo>
                    <a:lnTo>
                      <a:pt x="63" y="585"/>
                    </a:lnTo>
                    <a:lnTo>
                      <a:pt x="63" y="583"/>
                    </a:lnTo>
                    <a:lnTo>
                      <a:pt x="65" y="583"/>
                    </a:lnTo>
                    <a:lnTo>
                      <a:pt x="66" y="583"/>
                    </a:lnTo>
                    <a:lnTo>
                      <a:pt x="66" y="581"/>
                    </a:lnTo>
                    <a:lnTo>
                      <a:pt x="68" y="581"/>
                    </a:lnTo>
                    <a:lnTo>
                      <a:pt x="71" y="578"/>
                    </a:lnTo>
                    <a:lnTo>
                      <a:pt x="73" y="577"/>
                    </a:lnTo>
                    <a:lnTo>
                      <a:pt x="73" y="575"/>
                    </a:lnTo>
                    <a:lnTo>
                      <a:pt x="74" y="575"/>
                    </a:lnTo>
                    <a:lnTo>
                      <a:pt x="74" y="573"/>
                    </a:lnTo>
                    <a:lnTo>
                      <a:pt x="74" y="572"/>
                    </a:lnTo>
                    <a:lnTo>
                      <a:pt x="76" y="570"/>
                    </a:lnTo>
                    <a:lnTo>
                      <a:pt x="76" y="569"/>
                    </a:lnTo>
                    <a:lnTo>
                      <a:pt x="79" y="566"/>
                    </a:lnTo>
                    <a:lnTo>
                      <a:pt x="79" y="564"/>
                    </a:lnTo>
                    <a:lnTo>
                      <a:pt x="79" y="562"/>
                    </a:lnTo>
                    <a:lnTo>
                      <a:pt x="79" y="561"/>
                    </a:lnTo>
                    <a:lnTo>
                      <a:pt x="79" y="559"/>
                    </a:lnTo>
                    <a:lnTo>
                      <a:pt x="81" y="558"/>
                    </a:lnTo>
                    <a:lnTo>
                      <a:pt x="81" y="556"/>
                    </a:lnTo>
                    <a:lnTo>
                      <a:pt x="84" y="554"/>
                    </a:lnTo>
                    <a:lnTo>
                      <a:pt x="84" y="553"/>
                    </a:lnTo>
                    <a:lnTo>
                      <a:pt x="86" y="553"/>
                    </a:lnTo>
                    <a:lnTo>
                      <a:pt x="86" y="551"/>
                    </a:lnTo>
                    <a:lnTo>
                      <a:pt x="84" y="548"/>
                    </a:lnTo>
                    <a:lnTo>
                      <a:pt x="84" y="547"/>
                    </a:lnTo>
                    <a:lnTo>
                      <a:pt x="84" y="545"/>
                    </a:lnTo>
                    <a:lnTo>
                      <a:pt x="84" y="543"/>
                    </a:lnTo>
                    <a:lnTo>
                      <a:pt x="86" y="542"/>
                    </a:lnTo>
                    <a:lnTo>
                      <a:pt x="89" y="539"/>
                    </a:lnTo>
                    <a:lnTo>
                      <a:pt x="89" y="537"/>
                    </a:lnTo>
                    <a:lnTo>
                      <a:pt x="89" y="535"/>
                    </a:lnTo>
                    <a:lnTo>
                      <a:pt x="90" y="534"/>
                    </a:lnTo>
                    <a:lnTo>
                      <a:pt x="90" y="532"/>
                    </a:lnTo>
                    <a:lnTo>
                      <a:pt x="90" y="531"/>
                    </a:lnTo>
                    <a:lnTo>
                      <a:pt x="90" y="529"/>
                    </a:lnTo>
                    <a:lnTo>
                      <a:pt x="90" y="528"/>
                    </a:lnTo>
                    <a:lnTo>
                      <a:pt x="90" y="526"/>
                    </a:lnTo>
                    <a:lnTo>
                      <a:pt x="92" y="526"/>
                    </a:lnTo>
                    <a:lnTo>
                      <a:pt x="90" y="524"/>
                    </a:lnTo>
                    <a:lnTo>
                      <a:pt x="98" y="497"/>
                    </a:lnTo>
                    <a:lnTo>
                      <a:pt x="103" y="494"/>
                    </a:lnTo>
                    <a:lnTo>
                      <a:pt x="101" y="482"/>
                    </a:lnTo>
                    <a:lnTo>
                      <a:pt x="108" y="470"/>
                    </a:lnTo>
                    <a:lnTo>
                      <a:pt x="108" y="467"/>
                    </a:lnTo>
                    <a:lnTo>
                      <a:pt x="106" y="459"/>
                    </a:lnTo>
                    <a:lnTo>
                      <a:pt x="109" y="456"/>
                    </a:lnTo>
                    <a:lnTo>
                      <a:pt x="109" y="453"/>
                    </a:lnTo>
                    <a:lnTo>
                      <a:pt x="114" y="450"/>
                    </a:lnTo>
                    <a:lnTo>
                      <a:pt x="114" y="444"/>
                    </a:lnTo>
                    <a:lnTo>
                      <a:pt x="120" y="442"/>
                    </a:lnTo>
                    <a:lnTo>
                      <a:pt x="119" y="439"/>
                    </a:lnTo>
                    <a:lnTo>
                      <a:pt x="120" y="436"/>
                    </a:lnTo>
                    <a:lnTo>
                      <a:pt x="122" y="436"/>
                    </a:lnTo>
                    <a:lnTo>
                      <a:pt x="125" y="429"/>
                    </a:lnTo>
                    <a:lnTo>
                      <a:pt x="127" y="429"/>
                    </a:lnTo>
                    <a:lnTo>
                      <a:pt x="127" y="426"/>
                    </a:lnTo>
                    <a:lnTo>
                      <a:pt x="127" y="425"/>
                    </a:lnTo>
                    <a:lnTo>
                      <a:pt x="127" y="423"/>
                    </a:lnTo>
                    <a:lnTo>
                      <a:pt x="128" y="423"/>
                    </a:lnTo>
                    <a:lnTo>
                      <a:pt x="128" y="421"/>
                    </a:lnTo>
                    <a:lnTo>
                      <a:pt x="130" y="421"/>
                    </a:lnTo>
                    <a:lnTo>
                      <a:pt x="130" y="420"/>
                    </a:lnTo>
                    <a:lnTo>
                      <a:pt x="131" y="420"/>
                    </a:lnTo>
                    <a:lnTo>
                      <a:pt x="131" y="421"/>
                    </a:lnTo>
                    <a:lnTo>
                      <a:pt x="133" y="421"/>
                    </a:lnTo>
                    <a:lnTo>
                      <a:pt x="135" y="420"/>
                    </a:lnTo>
                    <a:lnTo>
                      <a:pt x="133" y="418"/>
                    </a:lnTo>
                    <a:lnTo>
                      <a:pt x="133" y="417"/>
                    </a:lnTo>
                    <a:lnTo>
                      <a:pt x="133" y="413"/>
                    </a:lnTo>
                    <a:lnTo>
                      <a:pt x="133" y="412"/>
                    </a:lnTo>
                    <a:lnTo>
                      <a:pt x="131" y="410"/>
                    </a:lnTo>
                    <a:lnTo>
                      <a:pt x="131" y="409"/>
                    </a:lnTo>
                    <a:lnTo>
                      <a:pt x="130" y="407"/>
                    </a:lnTo>
                    <a:lnTo>
                      <a:pt x="128" y="407"/>
                    </a:lnTo>
                    <a:lnTo>
                      <a:pt x="127" y="407"/>
                    </a:lnTo>
                    <a:lnTo>
                      <a:pt x="127" y="406"/>
                    </a:lnTo>
                    <a:lnTo>
                      <a:pt x="128" y="406"/>
                    </a:lnTo>
                    <a:lnTo>
                      <a:pt x="130" y="406"/>
                    </a:lnTo>
                    <a:lnTo>
                      <a:pt x="130" y="404"/>
                    </a:lnTo>
                    <a:lnTo>
                      <a:pt x="131" y="404"/>
                    </a:lnTo>
                    <a:lnTo>
                      <a:pt x="131" y="406"/>
                    </a:lnTo>
                    <a:lnTo>
                      <a:pt x="133" y="406"/>
                    </a:lnTo>
                    <a:lnTo>
                      <a:pt x="133" y="407"/>
                    </a:lnTo>
                    <a:lnTo>
                      <a:pt x="135" y="407"/>
                    </a:lnTo>
                    <a:lnTo>
                      <a:pt x="135" y="409"/>
                    </a:lnTo>
                    <a:lnTo>
                      <a:pt x="136" y="407"/>
                    </a:lnTo>
                    <a:lnTo>
                      <a:pt x="136" y="404"/>
                    </a:lnTo>
                    <a:lnTo>
                      <a:pt x="136" y="402"/>
                    </a:lnTo>
                    <a:lnTo>
                      <a:pt x="138" y="404"/>
                    </a:lnTo>
                    <a:lnTo>
                      <a:pt x="139" y="404"/>
                    </a:lnTo>
                    <a:lnTo>
                      <a:pt x="141" y="402"/>
                    </a:lnTo>
                    <a:lnTo>
                      <a:pt x="139" y="401"/>
                    </a:lnTo>
                    <a:lnTo>
                      <a:pt x="139" y="399"/>
                    </a:lnTo>
                    <a:lnTo>
                      <a:pt x="141" y="398"/>
                    </a:lnTo>
                    <a:lnTo>
                      <a:pt x="141" y="396"/>
                    </a:lnTo>
                    <a:lnTo>
                      <a:pt x="143" y="394"/>
                    </a:lnTo>
                    <a:lnTo>
                      <a:pt x="143" y="393"/>
                    </a:lnTo>
                    <a:lnTo>
                      <a:pt x="143" y="391"/>
                    </a:lnTo>
                    <a:lnTo>
                      <a:pt x="143" y="390"/>
                    </a:lnTo>
                    <a:lnTo>
                      <a:pt x="144" y="390"/>
                    </a:lnTo>
                    <a:lnTo>
                      <a:pt x="146" y="391"/>
                    </a:lnTo>
                    <a:lnTo>
                      <a:pt x="146" y="393"/>
                    </a:lnTo>
                    <a:lnTo>
                      <a:pt x="147" y="393"/>
                    </a:lnTo>
                    <a:lnTo>
                      <a:pt x="149" y="391"/>
                    </a:lnTo>
                    <a:lnTo>
                      <a:pt x="150" y="391"/>
                    </a:lnTo>
                    <a:lnTo>
                      <a:pt x="152" y="391"/>
                    </a:lnTo>
                    <a:lnTo>
                      <a:pt x="152" y="390"/>
                    </a:lnTo>
                    <a:lnTo>
                      <a:pt x="152" y="388"/>
                    </a:lnTo>
                    <a:lnTo>
                      <a:pt x="154" y="388"/>
                    </a:lnTo>
                    <a:lnTo>
                      <a:pt x="155" y="388"/>
                    </a:lnTo>
                    <a:lnTo>
                      <a:pt x="157" y="388"/>
                    </a:lnTo>
                    <a:lnTo>
                      <a:pt x="158" y="388"/>
                    </a:lnTo>
                    <a:lnTo>
                      <a:pt x="158" y="390"/>
                    </a:lnTo>
                    <a:lnTo>
                      <a:pt x="160" y="390"/>
                    </a:lnTo>
                    <a:lnTo>
                      <a:pt x="160" y="391"/>
                    </a:lnTo>
                    <a:lnTo>
                      <a:pt x="160" y="390"/>
                    </a:lnTo>
                    <a:lnTo>
                      <a:pt x="162" y="390"/>
                    </a:lnTo>
                    <a:lnTo>
                      <a:pt x="160" y="388"/>
                    </a:lnTo>
                    <a:lnTo>
                      <a:pt x="160" y="387"/>
                    </a:lnTo>
                    <a:lnTo>
                      <a:pt x="162" y="385"/>
                    </a:lnTo>
                    <a:lnTo>
                      <a:pt x="163" y="385"/>
                    </a:lnTo>
                    <a:lnTo>
                      <a:pt x="165" y="385"/>
                    </a:lnTo>
                    <a:lnTo>
                      <a:pt x="166" y="385"/>
                    </a:lnTo>
                    <a:lnTo>
                      <a:pt x="168" y="385"/>
                    </a:lnTo>
                    <a:lnTo>
                      <a:pt x="169" y="385"/>
                    </a:lnTo>
                    <a:lnTo>
                      <a:pt x="168" y="383"/>
                    </a:lnTo>
                    <a:lnTo>
                      <a:pt x="168" y="382"/>
                    </a:lnTo>
                    <a:lnTo>
                      <a:pt x="166" y="382"/>
                    </a:lnTo>
                    <a:lnTo>
                      <a:pt x="166" y="380"/>
                    </a:lnTo>
                    <a:lnTo>
                      <a:pt x="166" y="379"/>
                    </a:lnTo>
                    <a:lnTo>
                      <a:pt x="165" y="377"/>
                    </a:lnTo>
                    <a:lnTo>
                      <a:pt x="163" y="377"/>
                    </a:lnTo>
                    <a:lnTo>
                      <a:pt x="162" y="375"/>
                    </a:lnTo>
                    <a:lnTo>
                      <a:pt x="160" y="375"/>
                    </a:lnTo>
                    <a:lnTo>
                      <a:pt x="158" y="374"/>
                    </a:lnTo>
                    <a:lnTo>
                      <a:pt x="155" y="372"/>
                    </a:lnTo>
                    <a:lnTo>
                      <a:pt x="154" y="371"/>
                    </a:lnTo>
                    <a:lnTo>
                      <a:pt x="154" y="368"/>
                    </a:lnTo>
                    <a:lnTo>
                      <a:pt x="154" y="366"/>
                    </a:lnTo>
                    <a:lnTo>
                      <a:pt x="154" y="364"/>
                    </a:lnTo>
                    <a:lnTo>
                      <a:pt x="154" y="363"/>
                    </a:lnTo>
                    <a:lnTo>
                      <a:pt x="152" y="361"/>
                    </a:lnTo>
                    <a:lnTo>
                      <a:pt x="152" y="358"/>
                    </a:lnTo>
                    <a:lnTo>
                      <a:pt x="154" y="358"/>
                    </a:lnTo>
                    <a:lnTo>
                      <a:pt x="155" y="358"/>
                    </a:lnTo>
                    <a:lnTo>
                      <a:pt x="157" y="358"/>
                    </a:lnTo>
                    <a:lnTo>
                      <a:pt x="158" y="356"/>
                    </a:lnTo>
                    <a:lnTo>
                      <a:pt x="158" y="355"/>
                    </a:lnTo>
                    <a:lnTo>
                      <a:pt x="158" y="353"/>
                    </a:lnTo>
                    <a:lnTo>
                      <a:pt x="157" y="353"/>
                    </a:lnTo>
                    <a:lnTo>
                      <a:pt x="155" y="352"/>
                    </a:lnTo>
                    <a:lnTo>
                      <a:pt x="154" y="350"/>
                    </a:lnTo>
                    <a:lnTo>
                      <a:pt x="152" y="349"/>
                    </a:lnTo>
                    <a:lnTo>
                      <a:pt x="154" y="347"/>
                    </a:lnTo>
                    <a:lnTo>
                      <a:pt x="154" y="345"/>
                    </a:lnTo>
                    <a:lnTo>
                      <a:pt x="155" y="345"/>
                    </a:lnTo>
                    <a:lnTo>
                      <a:pt x="157" y="345"/>
                    </a:lnTo>
                    <a:lnTo>
                      <a:pt x="158" y="345"/>
                    </a:lnTo>
                    <a:lnTo>
                      <a:pt x="158" y="344"/>
                    </a:lnTo>
                    <a:lnTo>
                      <a:pt x="160" y="342"/>
                    </a:lnTo>
                    <a:lnTo>
                      <a:pt x="160" y="341"/>
                    </a:lnTo>
                    <a:lnTo>
                      <a:pt x="158" y="341"/>
                    </a:lnTo>
                    <a:lnTo>
                      <a:pt x="158" y="339"/>
                    </a:lnTo>
                    <a:lnTo>
                      <a:pt x="158" y="337"/>
                    </a:lnTo>
                    <a:lnTo>
                      <a:pt x="158" y="336"/>
                    </a:lnTo>
                    <a:lnTo>
                      <a:pt x="157" y="334"/>
                    </a:lnTo>
                    <a:lnTo>
                      <a:pt x="157" y="333"/>
                    </a:lnTo>
                    <a:lnTo>
                      <a:pt x="155" y="333"/>
                    </a:lnTo>
                    <a:lnTo>
                      <a:pt x="155" y="331"/>
                    </a:lnTo>
                    <a:lnTo>
                      <a:pt x="154" y="330"/>
                    </a:lnTo>
                    <a:lnTo>
                      <a:pt x="152" y="330"/>
                    </a:lnTo>
                    <a:lnTo>
                      <a:pt x="152" y="328"/>
                    </a:lnTo>
                    <a:lnTo>
                      <a:pt x="150" y="328"/>
                    </a:lnTo>
                    <a:lnTo>
                      <a:pt x="149" y="328"/>
                    </a:lnTo>
                    <a:lnTo>
                      <a:pt x="147" y="328"/>
                    </a:lnTo>
                    <a:lnTo>
                      <a:pt x="146" y="328"/>
                    </a:lnTo>
                    <a:lnTo>
                      <a:pt x="144" y="326"/>
                    </a:lnTo>
                    <a:lnTo>
                      <a:pt x="144" y="325"/>
                    </a:lnTo>
                    <a:lnTo>
                      <a:pt x="144" y="323"/>
                    </a:lnTo>
                    <a:lnTo>
                      <a:pt x="146" y="323"/>
                    </a:lnTo>
                    <a:lnTo>
                      <a:pt x="146" y="322"/>
                    </a:lnTo>
                    <a:lnTo>
                      <a:pt x="147" y="320"/>
                    </a:lnTo>
                    <a:lnTo>
                      <a:pt x="147" y="318"/>
                    </a:lnTo>
                    <a:lnTo>
                      <a:pt x="147" y="317"/>
                    </a:lnTo>
                    <a:lnTo>
                      <a:pt x="147" y="315"/>
                    </a:lnTo>
                    <a:lnTo>
                      <a:pt x="146" y="314"/>
                    </a:lnTo>
                    <a:lnTo>
                      <a:pt x="144" y="312"/>
                    </a:lnTo>
                    <a:lnTo>
                      <a:pt x="146" y="312"/>
                    </a:lnTo>
                    <a:lnTo>
                      <a:pt x="146" y="311"/>
                    </a:lnTo>
                    <a:lnTo>
                      <a:pt x="146" y="309"/>
                    </a:lnTo>
                    <a:lnTo>
                      <a:pt x="146" y="307"/>
                    </a:lnTo>
                    <a:lnTo>
                      <a:pt x="144" y="307"/>
                    </a:lnTo>
                    <a:lnTo>
                      <a:pt x="143" y="306"/>
                    </a:lnTo>
                    <a:lnTo>
                      <a:pt x="141" y="306"/>
                    </a:lnTo>
                    <a:lnTo>
                      <a:pt x="141" y="304"/>
                    </a:lnTo>
                    <a:lnTo>
                      <a:pt x="139" y="304"/>
                    </a:lnTo>
                    <a:lnTo>
                      <a:pt x="139" y="303"/>
                    </a:lnTo>
                    <a:lnTo>
                      <a:pt x="138" y="301"/>
                    </a:lnTo>
                    <a:lnTo>
                      <a:pt x="139" y="301"/>
                    </a:lnTo>
                    <a:lnTo>
                      <a:pt x="139" y="299"/>
                    </a:lnTo>
                    <a:lnTo>
                      <a:pt x="141" y="299"/>
                    </a:lnTo>
                    <a:lnTo>
                      <a:pt x="141" y="298"/>
                    </a:lnTo>
                    <a:lnTo>
                      <a:pt x="139" y="296"/>
                    </a:lnTo>
                    <a:lnTo>
                      <a:pt x="138" y="295"/>
                    </a:lnTo>
                    <a:lnTo>
                      <a:pt x="136" y="293"/>
                    </a:lnTo>
                    <a:lnTo>
                      <a:pt x="136" y="291"/>
                    </a:lnTo>
                    <a:lnTo>
                      <a:pt x="136" y="290"/>
                    </a:lnTo>
                    <a:lnTo>
                      <a:pt x="136" y="288"/>
                    </a:lnTo>
                    <a:lnTo>
                      <a:pt x="138" y="287"/>
                    </a:lnTo>
                    <a:lnTo>
                      <a:pt x="139" y="287"/>
                    </a:lnTo>
                    <a:lnTo>
                      <a:pt x="139" y="285"/>
                    </a:lnTo>
                    <a:lnTo>
                      <a:pt x="141" y="285"/>
                    </a:lnTo>
                    <a:lnTo>
                      <a:pt x="141" y="284"/>
                    </a:lnTo>
                    <a:lnTo>
                      <a:pt x="139" y="284"/>
                    </a:lnTo>
                    <a:lnTo>
                      <a:pt x="139" y="282"/>
                    </a:lnTo>
                    <a:lnTo>
                      <a:pt x="139" y="280"/>
                    </a:lnTo>
                    <a:lnTo>
                      <a:pt x="139" y="279"/>
                    </a:lnTo>
                    <a:lnTo>
                      <a:pt x="141" y="279"/>
                    </a:lnTo>
                    <a:lnTo>
                      <a:pt x="143" y="277"/>
                    </a:lnTo>
                    <a:lnTo>
                      <a:pt x="146" y="276"/>
                    </a:lnTo>
                    <a:lnTo>
                      <a:pt x="146" y="274"/>
                    </a:lnTo>
                    <a:lnTo>
                      <a:pt x="146" y="272"/>
                    </a:lnTo>
                    <a:lnTo>
                      <a:pt x="146" y="269"/>
                    </a:lnTo>
                    <a:lnTo>
                      <a:pt x="147" y="269"/>
                    </a:lnTo>
                    <a:lnTo>
                      <a:pt x="147" y="268"/>
                    </a:lnTo>
                    <a:lnTo>
                      <a:pt x="149" y="266"/>
                    </a:lnTo>
                    <a:lnTo>
                      <a:pt x="147" y="265"/>
                    </a:lnTo>
                    <a:lnTo>
                      <a:pt x="147" y="263"/>
                    </a:lnTo>
                    <a:lnTo>
                      <a:pt x="149" y="261"/>
                    </a:lnTo>
                    <a:lnTo>
                      <a:pt x="150" y="260"/>
                    </a:lnTo>
                    <a:lnTo>
                      <a:pt x="152" y="260"/>
                    </a:lnTo>
                    <a:lnTo>
                      <a:pt x="152" y="258"/>
                    </a:lnTo>
                    <a:lnTo>
                      <a:pt x="152" y="257"/>
                    </a:lnTo>
                    <a:lnTo>
                      <a:pt x="152" y="255"/>
                    </a:lnTo>
                    <a:lnTo>
                      <a:pt x="152" y="253"/>
                    </a:lnTo>
                    <a:lnTo>
                      <a:pt x="154" y="253"/>
                    </a:lnTo>
                    <a:lnTo>
                      <a:pt x="154" y="252"/>
                    </a:lnTo>
                    <a:lnTo>
                      <a:pt x="155" y="252"/>
                    </a:lnTo>
                    <a:lnTo>
                      <a:pt x="155" y="249"/>
                    </a:lnTo>
                    <a:lnTo>
                      <a:pt x="155" y="247"/>
                    </a:lnTo>
                    <a:lnTo>
                      <a:pt x="157" y="247"/>
                    </a:lnTo>
                    <a:lnTo>
                      <a:pt x="157" y="246"/>
                    </a:lnTo>
                    <a:lnTo>
                      <a:pt x="157" y="244"/>
                    </a:lnTo>
                    <a:lnTo>
                      <a:pt x="157" y="242"/>
                    </a:lnTo>
                    <a:lnTo>
                      <a:pt x="157" y="241"/>
                    </a:lnTo>
                    <a:lnTo>
                      <a:pt x="157" y="239"/>
                    </a:lnTo>
                    <a:lnTo>
                      <a:pt x="157" y="238"/>
                    </a:lnTo>
                    <a:lnTo>
                      <a:pt x="157" y="236"/>
                    </a:lnTo>
                    <a:lnTo>
                      <a:pt x="157" y="234"/>
                    </a:lnTo>
                    <a:lnTo>
                      <a:pt x="158" y="234"/>
                    </a:lnTo>
                    <a:lnTo>
                      <a:pt x="158" y="233"/>
                    </a:lnTo>
                    <a:lnTo>
                      <a:pt x="160" y="231"/>
                    </a:lnTo>
                    <a:lnTo>
                      <a:pt x="162" y="231"/>
                    </a:lnTo>
                    <a:lnTo>
                      <a:pt x="162" y="230"/>
                    </a:lnTo>
                    <a:lnTo>
                      <a:pt x="162" y="228"/>
                    </a:lnTo>
                    <a:lnTo>
                      <a:pt x="163" y="228"/>
                    </a:lnTo>
                    <a:lnTo>
                      <a:pt x="163" y="227"/>
                    </a:lnTo>
                    <a:lnTo>
                      <a:pt x="165" y="227"/>
                    </a:lnTo>
                    <a:lnTo>
                      <a:pt x="165" y="225"/>
                    </a:lnTo>
                    <a:lnTo>
                      <a:pt x="166" y="223"/>
                    </a:lnTo>
                    <a:lnTo>
                      <a:pt x="165" y="223"/>
                    </a:lnTo>
                    <a:lnTo>
                      <a:pt x="165" y="222"/>
                    </a:lnTo>
                    <a:lnTo>
                      <a:pt x="165" y="220"/>
                    </a:lnTo>
                    <a:lnTo>
                      <a:pt x="165" y="219"/>
                    </a:lnTo>
                    <a:lnTo>
                      <a:pt x="165" y="217"/>
                    </a:lnTo>
                    <a:lnTo>
                      <a:pt x="166" y="215"/>
                    </a:lnTo>
                    <a:lnTo>
                      <a:pt x="166" y="214"/>
                    </a:lnTo>
                    <a:lnTo>
                      <a:pt x="166" y="212"/>
                    </a:lnTo>
                    <a:lnTo>
                      <a:pt x="165" y="212"/>
                    </a:lnTo>
                    <a:lnTo>
                      <a:pt x="163" y="212"/>
                    </a:lnTo>
                    <a:lnTo>
                      <a:pt x="162" y="212"/>
                    </a:lnTo>
                    <a:lnTo>
                      <a:pt x="162" y="211"/>
                    </a:lnTo>
                    <a:lnTo>
                      <a:pt x="163" y="209"/>
                    </a:lnTo>
                    <a:lnTo>
                      <a:pt x="163" y="208"/>
                    </a:lnTo>
                    <a:lnTo>
                      <a:pt x="163" y="206"/>
                    </a:lnTo>
                    <a:lnTo>
                      <a:pt x="162" y="206"/>
                    </a:lnTo>
                    <a:lnTo>
                      <a:pt x="162" y="204"/>
                    </a:lnTo>
                    <a:lnTo>
                      <a:pt x="160" y="203"/>
                    </a:lnTo>
                    <a:lnTo>
                      <a:pt x="160" y="201"/>
                    </a:lnTo>
                    <a:lnTo>
                      <a:pt x="160" y="200"/>
                    </a:lnTo>
                    <a:lnTo>
                      <a:pt x="160" y="198"/>
                    </a:lnTo>
                    <a:lnTo>
                      <a:pt x="158" y="198"/>
                    </a:lnTo>
                    <a:lnTo>
                      <a:pt x="158" y="196"/>
                    </a:lnTo>
                    <a:lnTo>
                      <a:pt x="158" y="195"/>
                    </a:lnTo>
                    <a:lnTo>
                      <a:pt x="158" y="193"/>
                    </a:lnTo>
                    <a:lnTo>
                      <a:pt x="158" y="192"/>
                    </a:lnTo>
                    <a:lnTo>
                      <a:pt x="157" y="190"/>
                    </a:lnTo>
                    <a:lnTo>
                      <a:pt x="157" y="189"/>
                    </a:lnTo>
                    <a:lnTo>
                      <a:pt x="155" y="189"/>
                    </a:lnTo>
                    <a:lnTo>
                      <a:pt x="155" y="187"/>
                    </a:lnTo>
                    <a:lnTo>
                      <a:pt x="155" y="185"/>
                    </a:lnTo>
                    <a:lnTo>
                      <a:pt x="157" y="184"/>
                    </a:lnTo>
                    <a:lnTo>
                      <a:pt x="158" y="184"/>
                    </a:lnTo>
                    <a:lnTo>
                      <a:pt x="158" y="182"/>
                    </a:lnTo>
                    <a:lnTo>
                      <a:pt x="158" y="181"/>
                    </a:lnTo>
                    <a:lnTo>
                      <a:pt x="160" y="181"/>
                    </a:lnTo>
                    <a:lnTo>
                      <a:pt x="162" y="181"/>
                    </a:lnTo>
                    <a:lnTo>
                      <a:pt x="163" y="179"/>
                    </a:lnTo>
                    <a:lnTo>
                      <a:pt x="165" y="177"/>
                    </a:lnTo>
                    <a:lnTo>
                      <a:pt x="165" y="176"/>
                    </a:lnTo>
                    <a:lnTo>
                      <a:pt x="166" y="174"/>
                    </a:lnTo>
                    <a:lnTo>
                      <a:pt x="168" y="174"/>
                    </a:lnTo>
                    <a:lnTo>
                      <a:pt x="169" y="174"/>
                    </a:lnTo>
                    <a:lnTo>
                      <a:pt x="171" y="174"/>
                    </a:lnTo>
                    <a:lnTo>
                      <a:pt x="171" y="173"/>
                    </a:lnTo>
                    <a:lnTo>
                      <a:pt x="171" y="171"/>
                    </a:lnTo>
                    <a:lnTo>
                      <a:pt x="171" y="170"/>
                    </a:lnTo>
                    <a:lnTo>
                      <a:pt x="173" y="168"/>
                    </a:lnTo>
                    <a:lnTo>
                      <a:pt x="174" y="166"/>
                    </a:lnTo>
                    <a:lnTo>
                      <a:pt x="174" y="165"/>
                    </a:lnTo>
                    <a:lnTo>
                      <a:pt x="176" y="165"/>
                    </a:lnTo>
                    <a:lnTo>
                      <a:pt x="177" y="163"/>
                    </a:lnTo>
                    <a:lnTo>
                      <a:pt x="179" y="163"/>
                    </a:lnTo>
                    <a:lnTo>
                      <a:pt x="182" y="163"/>
                    </a:lnTo>
                    <a:lnTo>
                      <a:pt x="182" y="162"/>
                    </a:lnTo>
                    <a:lnTo>
                      <a:pt x="184" y="160"/>
                    </a:lnTo>
                    <a:lnTo>
                      <a:pt x="182" y="158"/>
                    </a:lnTo>
                    <a:lnTo>
                      <a:pt x="182" y="157"/>
                    </a:lnTo>
                    <a:lnTo>
                      <a:pt x="182" y="155"/>
                    </a:lnTo>
                    <a:lnTo>
                      <a:pt x="182" y="154"/>
                    </a:lnTo>
                    <a:lnTo>
                      <a:pt x="182" y="152"/>
                    </a:lnTo>
                    <a:lnTo>
                      <a:pt x="184" y="152"/>
                    </a:lnTo>
                    <a:lnTo>
                      <a:pt x="184" y="151"/>
                    </a:lnTo>
                    <a:lnTo>
                      <a:pt x="185" y="151"/>
                    </a:lnTo>
                    <a:lnTo>
                      <a:pt x="185" y="149"/>
                    </a:lnTo>
                    <a:lnTo>
                      <a:pt x="187" y="149"/>
                    </a:lnTo>
                    <a:lnTo>
                      <a:pt x="188" y="147"/>
                    </a:lnTo>
                    <a:lnTo>
                      <a:pt x="188" y="146"/>
                    </a:lnTo>
                    <a:lnTo>
                      <a:pt x="190" y="144"/>
                    </a:lnTo>
                    <a:lnTo>
                      <a:pt x="193" y="141"/>
                    </a:lnTo>
                    <a:lnTo>
                      <a:pt x="195" y="138"/>
                    </a:lnTo>
                    <a:lnTo>
                      <a:pt x="196" y="136"/>
                    </a:lnTo>
                    <a:lnTo>
                      <a:pt x="198" y="135"/>
                    </a:lnTo>
                    <a:lnTo>
                      <a:pt x="200" y="135"/>
                    </a:lnTo>
                    <a:lnTo>
                      <a:pt x="200" y="133"/>
                    </a:lnTo>
                    <a:lnTo>
                      <a:pt x="203" y="133"/>
                    </a:lnTo>
                    <a:lnTo>
                      <a:pt x="204" y="133"/>
                    </a:lnTo>
                    <a:lnTo>
                      <a:pt x="206" y="132"/>
                    </a:lnTo>
                    <a:lnTo>
                      <a:pt x="206" y="130"/>
                    </a:lnTo>
                    <a:lnTo>
                      <a:pt x="207" y="130"/>
                    </a:lnTo>
                    <a:lnTo>
                      <a:pt x="209" y="128"/>
                    </a:lnTo>
                    <a:lnTo>
                      <a:pt x="209" y="127"/>
                    </a:lnTo>
                    <a:lnTo>
                      <a:pt x="209" y="125"/>
                    </a:lnTo>
                    <a:lnTo>
                      <a:pt x="211" y="124"/>
                    </a:lnTo>
                    <a:lnTo>
                      <a:pt x="212" y="122"/>
                    </a:lnTo>
                    <a:lnTo>
                      <a:pt x="214" y="120"/>
                    </a:lnTo>
                    <a:lnTo>
                      <a:pt x="215" y="119"/>
                    </a:lnTo>
                    <a:lnTo>
                      <a:pt x="215" y="117"/>
                    </a:lnTo>
                    <a:lnTo>
                      <a:pt x="214" y="116"/>
                    </a:lnTo>
                    <a:lnTo>
                      <a:pt x="215" y="114"/>
                    </a:lnTo>
                    <a:lnTo>
                      <a:pt x="215" y="112"/>
                    </a:lnTo>
                    <a:lnTo>
                      <a:pt x="215" y="111"/>
                    </a:lnTo>
                    <a:lnTo>
                      <a:pt x="217" y="109"/>
                    </a:lnTo>
                    <a:lnTo>
                      <a:pt x="219" y="108"/>
                    </a:lnTo>
                    <a:lnTo>
                      <a:pt x="220" y="105"/>
                    </a:lnTo>
                    <a:lnTo>
                      <a:pt x="220" y="103"/>
                    </a:lnTo>
                    <a:lnTo>
                      <a:pt x="220" y="101"/>
                    </a:lnTo>
                    <a:lnTo>
                      <a:pt x="222" y="101"/>
                    </a:lnTo>
                    <a:lnTo>
                      <a:pt x="222" y="100"/>
                    </a:lnTo>
                    <a:lnTo>
                      <a:pt x="223" y="100"/>
                    </a:lnTo>
                    <a:lnTo>
                      <a:pt x="225" y="98"/>
                    </a:lnTo>
                    <a:lnTo>
                      <a:pt x="225" y="97"/>
                    </a:lnTo>
                    <a:lnTo>
                      <a:pt x="226" y="97"/>
                    </a:lnTo>
                    <a:lnTo>
                      <a:pt x="226" y="95"/>
                    </a:lnTo>
                    <a:lnTo>
                      <a:pt x="228" y="93"/>
                    </a:lnTo>
                    <a:lnTo>
                      <a:pt x="230" y="93"/>
                    </a:lnTo>
                    <a:lnTo>
                      <a:pt x="230" y="92"/>
                    </a:lnTo>
                    <a:lnTo>
                      <a:pt x="231" y="90"/>
                    </a:lnTo>
                    <a:lnTo>
                      <a:pt x="233" y="90"/>
                    </a:lnTo>
                    <a:lnTo>
                      <a:pt x="234" y="89"/>
                    </a:lnTo>
                    <a:lnTo>
                      <a:pt x="238" y="87"/>
                    </a:lnTo>
                    <a:lnTo>
                      <a:pt x="239" y="86"/>
                    </a:lnTo>
                    <a:lnTo>
                      <a:pt x="242" y="84"/>
                    </a:lnTo>
                    <a:lnTo>
                      <a:pt x="244" y="82"/>
                    </a:lnTo>
                    <a:lnTo>
                      <a:pt x="245" y="81"/>
                    </a:lnTo>
                    <a:lnTo>
                      <a:pt x="247" y="81"/>
                    </a:lnTo>
                    <a:lnTo>
                      <a:pt x="247" y="79"/>
                    </a:lnTo>
                    <a:lnTo>
                      <a:pt x="249" y="78"/>
                    </a:lnTo>
                    <a:lnTo>
                      <a:pt x="249" y="76"/>
                    </a:lnTo>
                    <a:lnTo>
                      <a:pt x="250" y="74"/>
                    </a:lnTo>
                    <a:lnTo>
                      <a:pt x="250" y="73"/>
                    </a:lnTo>
                    <a:lnTo>
                      <a:pt x="250" y="71"/>
                    </a:lnTo>
                    <a:lnTo>
                      <a:pt x="252" y="71"/>
                    </a:lnTo>
                    <a:lnTo>
                      <a:pt x="252" y="70"/>
                    </a:lnTo>
                    <a:lnTo>
                      <a:pt x="252" y="68"/>
                    </a:lnTo>
                    <a:lnTo>
                      <a:pt x="253" y="67"/>
                    </a:lnTo>
                    <a:lnTo>
                      <a:pt x="255" y="65"/>
                    </a:lnTo>
                    <a:lnTo>
                      <a:pt x="257" y="63"/>
                    </a:lnTo>
                    <a:lnTo>
                      <a:pt x="258" y="63"/>
                    </a:lnTo>
                    <a:lnTo>
                      <a:pt x="258" y="62"/>
                    </a:lnTo>
                    <a:lnTo>
                      <a:pt x="260" y="62"/>
                    </a:lnTo>
                    <a:lnTo>
                      <a:pt x="260" y="60"/>
                    </a:lnTo>
                    <a:lnTo>
                      <a:pt x="261" y="57"/>
                    </a:lnTo>
                    <a:lnTo>
                      <a:pt x="261" y="55"/>
                    </a:lnTo>
                    <a:lnTo>
                      <a:pt x="263" y="54"/>
                    </a:lnTo>
                    <a:lnTo>
                      <a:pt x="263" y="52"/>
                    </a:lnTo>
                    <a:lnTo>
                      <a:pt x="265" y="51"/>
                    </a:lnTo>
                    <a:lnTo>
                      <a:pt x="266" y="49"/>
                    </a:lnTo>
                    <a:lnTo>
                      <a:pt x="266" y="48"/>
                    </a:lnTo>
                    <a:lnTo>
                      <a:pt x="266" y="46"/>
                    </a:lnTo>
                    <a:lnTo>
                      <a:pt x="268" y="44"/>
                    </a:lnTo>
                    <a:lnTo>
                      <a:pt x="268" y="43"/>
                    </a:lnTo>
                    <a:lnTo>
                      <a:pt x="269" y="43"/>
                    </a:lnTo>
                    <a:lnTo>
                      <a:pt x="268" y="41"/>
                    </a:lnTo>
                    <a:lnTo>
                      <a:pt x="268" y="40"/>
                    </a:lnTo>
                    <a:lnTo>
                      <a:pt x="268" y="38"/>
                    </a:lnTo>
                    <a:lnTo>
                      <a:pt x="269" y="38"/>
                    </a:lnTo>
                    <a:lnTo>
                      <a:pt x="271" y="36"/>
                    </a:lnTo>
                    <a:lnTo>
                      <a:pt x="272" y="36"/>
                    </a:lnTo>
                    <a:lnTo>
                      <a:pt x="274" y="35"/>
                    </a:lnTo>
                    <a:lnTo>
                      <a:pt x="276" y="33"/>
                    </a:lnTo>
                    <a:lnTo>
                      <a:pt x="276" y="32"/>
                    </a:lnTo>
                    <a:lnTo>
                      <a:pt x="276" y="30"/>
                    </a:lnTo>
                    <a:lnTo>
                      <a:pt x="277" y="29"/>
                    </a:lnTo>
                    <a:lnTo>
                      <a:pt x="279" y="29"/>
                    </a:lnTo>
                    <a:lnTo>
                      <a:pt x="280" y="27"/>
                    </a:lnTo>
                    <a:lnTo>
                      <a:pt x="282" y="27"/>
                    </a:lnTo>
                    <a:lnTo>
                      <a:pt x="282" y="25"/>
                    </a:lnTo>
                    <a:lnTo>
                      <a:pt x="284" y="25"/>
                    </a:lnTo>
                    <a:lnTo>
                      <a:pt x="284" y="24"/>
                    </a:lnTo>
                    <a:lnTo>
                      <a:pt x="285" y="24"/>
                    </a:lnTo>
                    <a:lnTo>
                      <a:pt x="287" y="22"/>
                    </a:lnTo>
                    <a:lnTo>
                      <a:pt x="288" y="22"/>
                    </a:lnTo>
                    <a:lnTo>
                      <a:pt x="290" y="22"/>
                    </a:lnTo>
                    <a:lnTo>
                      <a:pt x="291" y="22"/>
                    </a:lnTo>
                    <a:lnTo>
                      <a:pt x="291" y="21"/>
                    </a:lnTo>
                    <a:lnTo>
                      <a:pt x="293" y="21"/>
                    </a:lnTo>
                    <a:lnTo>
                      <a:pt x="298" y="17"/>
                    </a:lnTo>
                    <a:lnTo>
                      <a:pt x="299" y="13"/>
                    </a:lnTo>
                    <a:lnTo>
                      <a:pt x="301" y="6"/>
                    </a:lnTo>
                    <a:lnTo>
                      <a:pt x="304" y="5"/>
                    </a:lnTo>
                    <a:lnTo>
                      <a:pt x="306" y="2"/>
                    </a:lnTo>
                    <a:lnTo>
                      <a:pt x="306" y="0"/>
                    </a:lnTo>
                    <a:lnTo>
                      <a:pt x="307" y="0"/>
                    </a:lnTo>
                    <a:lnTo>
                      <a:pt x="309" y="2"/>
                    </a:lnTo>
                    <a:lnTo>
                      <a:pt x="317" y="5"/>
                    </a:lnTo>
                    <a:lnTo>
                      <a:pt x="322" y="10"/>
                    </a:lnTo>
                    <a:lnTo>
                      <a:pt x="325" y="13"/>
                    </a:lnTo>
                    <a:lnTo>
                      <a:pt x="333" y="17"/>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49" name="Freeform 29"/>
              <p:cNvSpPr>
                <a:spLocks/>
              </p:cNvSpPr>
              <p:nvPr/>
            </p:nvSpPr>
            <p:spPr bwMode="auto">
              <a:xfrm>
                <a:off x="5235" y="3480"/>
                <a:ext cx="2" cy="3"/>
              </a:xfrm>
              <a:custGeom>
                <a:avLst/>
                <a:gdLst>
                  <a:gd name="T0" fmla="*/ 0 w 2"/>
                  <a:gd name="T1" fmla="*/ 2 h 3"/>
                  <a:gd name="T2" fmla="*/ 0 w 2"/>
                  <a:gd name="T3" fmla="*/ 3 h 3"/>
                  <a:gd name="T4" fmla="*/ 0 w 2"/>
                  <a:gd name="T5" fmla="*/ 2 h 3"/>
                  <a:gd name="T6" fmla="*/ 0 w 2"/>
                  <a:gd name="T7" fmla="*/ 0 h 3"/>
                  <a:gd name="T8" fmla="*/ 2 w 2"/>
                  <a:gd name="T9" fmla="*/ 0 h 3"/>
                  <a:gd name="T10" fmla="*/ 2 w 2"/>
                  <a:gd name="T11" fmla="*/ 2 h 3"/>
                  <a:gd name="T12" fmla="*/ 0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2"/>
                    </a:moveTo>
                    <a:lnTo>
                      <a:pt x="0" y="3"/>
                    </a:lnTo>
                    <a:lnTo>
                      <a:pt x="0" y="2"/>
                    </a:lnTo>
                    <a:lnTo>
                      <a:pt x="0" y="0"/>
                    </a:lnTo>
                    <a:lnTo>
                      <a:pt x="2" y="0"/>
                    </a:lnTo>
                    <a:lnTo>
                      <a:pt x="2" y="2"/>
                    </a:lnTo>
                    <a:lnTo>
                      <a:pt x="0" y="2"/>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50" name="Rectangle 30"/>
              <p:cNvSpPr>
                <a:spLocks noChangeArrowheads="1"/>
              </p:cNvSpPr>
              <p:nvPr/>
            </p:nvSpPr>
            <p:spPr bwMode="auto">
              <a:xfrm>
                <a:off x="5237" y="3480"/>
                <a:ext cx="1" cy="2"/>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51" name="Freeform 31"/>
              <p:cNvSpPr>
                <a:spLocks/>
              </p:cNvSpPr>
              <p:nvPr/>
            </p:nvSpPr>
            <p:spPr bwMode="auto">
              <a:xfrm>
                <a:off x="5241" y="3472"/>
                <a:ext cx="2" cy="3"/>
              </a:xfrm>
              <a:custGeom>
                <a:avLst/>
                <a:gdLst>
                  <a:gd name="T0" fmla="*/ 0 w 2"/>
                  <a:gd name="T1" fmla="*/ 3 h 3"/>
                  <a:gd name="T2" fmla="*/ 0 w 2"/>
                  <a:gd name="T3" fmla="*/ 2 h 3"/>
                  <a:gd name="T4" fmla="*/ 2 w 2"/>
                  <a:gd name="T5" fmla="*/ 2 h 3"/>
                  <a:gd name="T6" fmla="*/ 2 w 2"/>
                  <a:gd name="T7" fmla="*/ 0 h 3"/>
                  <a:gd name="T8" fmla="*/ 2 w 2"/>
                  <a:gd name="T9" fmla="*/ 2 h 3"/>
                  <a:gd name="T10" fmla="*/ 2 w 2"/>
                  <a:gd name="T11" fmla="*/ 3 h 3"/>
                  <a:gd name="T12" fmla="*/ 0 w 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3"/>
                    </a:moveTo>
                    <a:lnTo>
                      <a:pt x="0" y="2"/>
                    </a:lnTo>
                    <a:lnTo>
                      <a:pt x="2" y="2"/>
                    </a:lnTo>
                    <a:lnTo>
                      <a:pt x="2" y="0"/>
                    </a:lnTo>
                    <a:lnTo>
                      <a:pt x="2" y="2"/>
                    </a:lnTo>
                    <a:lnTo>
                      <a:pt x="2" y="3"/>
                    </a:lnTo>
                    <a:lnTo>
                      <a:pt x="0" y="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52" name="Rectangle 32"/>
              <p:cNvSpPr>
                <a:spLocks noChangeArrowheads="1"/>
              </p:cNvSpPr>
              <p:nvPr/>
            </p:nvSpPr>
            <p:spPr bwMode="auto">
              <a:xfrm>
                <a:off x="5259" y="3387"/>
                <a:ext cx="1" cy="1"/>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53" name="Rectangle 33"/>
              <p:cNvSpPr>
                <a:spLocks noChangeArrowheads="1"/>
              </p:cNvSpPr>
              <p:nvPr/>
            </p:nvSpPr>
            <p:spPr bwMode="auto">
              <a:xfrm>
                <a:off x="5257" y="3371"/>
                <a:ext cx="2" cy="1"/>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54" name="Rectangle 34"/>
              <p:cNvSpPr>
                <a:spLocks noChangeArrowheads="1"/>
              </p:cNvSpPr>
              <p:nvPr/>
            </p:nvSpPr>
            <p:spPr bwMode="auto">
              <a:xfrm>
                <a:off x="5249" y="3349"/>
                <a:ext cx="2" cy="1"/>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55" name="Freeform 35"/>
              <p:cNvSpPr>
                <a:spLocks/>
              </p:cNvSpPr>
              <p:nvPr/>
            </p:nvSpPr>
            <p:spPr bwMode="auto">
              <a:xfrm>
                <a:off x="5199" y="3273"/>
                <a:ext cx="1" cy="1"/>
              </a:xfrm>
              <a:custGeom>
                <a:avLst/>
                <a:gdLst>
                  <a:gd name="T0" fmla="*/ 1 w 1"/>
                  <a:gd name="T1" fmla="*/ 0 h 1"/>
                  <a:gd name="T2" fmla="*/ 1 w 1"/>
                  <a:gd name="T3" fmla="*/ 1 h 1"/>
                  <a:gd name="T4" fmla="*/ 1 w 1"/>
                  <a:gd name="T5" fmla="*/ 0 h 1"/>
                  <a:gd name="T6" fmla="*/ 0 w 1"/>
                  <a:gd name="T7" fmla="*/ 0 h 1"/>
                  <a:gd name="T8" fmla="*/ 1 w 1"/>
                  <a:gd name="T9" fmla="*/ 0 h 1"/>
                  <a:gd name="T10" fmla="*/ 0 w 1"/>
                  <a:gd name="T11" fmla="*/ 0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lnTo>
                      <a:pt x="1" y="1"/>
                    </a:lnTo>
                    <a:lnTo>
                      <a:pt x="1" y="0"/>
                    </a:lnTo>
                    <a:lnTo>
                      <a:pt x="0" y="0"/>
                    </a:lnTo>
                    <a:lnTo>
                      <a:pt x="1" y="0"/>
                    </a:lnTo>
                    <a:lnTo>
                      <a:pt x="0" y="0"/>
                    </a:lnTo>
                    <a:lnTo>
                      <a:pt x="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56" name="Freeform 36"/>
              <p:cNvSpPr>
                <a:spLocks/>
              </p:cNvSpPr>
              <p:nvPr/>
            </p:nvSpPr>
            <p:spPr bwMode="auto">
              <a:xfrm>
                <a:off x="5197" y="3171"/>
                <a:ext cx="3" cy="2"/>
              </a:xfrm>
              <a:custGeom>
                <a:avLst/>
                <a:gdLst>
                  <a:gd name="T0" fmla="*/ 2 w 3"/>
                  <a:gd name="T1" fmla="*/ 0 h 2"/>
                  <a:gd name="T2" fmla="*/ 3 w 3"/>
                  <a:gd name="T3" fmla="*/ 0 h 2"/>
                  <a:gd name="T4" fmla="*/ 3 w 3"/>
                  <a:gd name="T5" fmla="*/ 2 h 2"/>
                  <a:gd name="T6" fmla="*/ 2 w 3"/>
                  <a:gd name="T7" fmla="*/ 2 h 2"/>
                  <a:gd name="T8" fmla="*/ 2 w 3"/>
                  <a:gd name="T9" fmla="*/ 0 h 2"/>
                  <a:gd name="T10" fmla="*/ 0 w 3"/>
                  <a:gd name="T11" fmla="*/ 0 h 2"/>
                  <a:gd name="T12" fmla="*/ 2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0"/>
                    </a:moveTo>
                    <a:lnTo>
                      <a:pt x="3" y="0"/>
                    </a:lnTo>
                    <a:lnTo>
                      <a:pt x="3" y="2"/>
                    </a:lnTo>
                    <a:lnTo>
                      <a:pt x="2" y="2"/>
                    </a:lnTo>
                    <a:lnTo>
                      <a:pt x="2" y="0"/>
                    </a:lnTo>
                    <a:lnTo>
                      <a:pt x="0" y="0"/>
                    </a:lnTo>
                    <a:lnTo>
                      <a:pt x="2"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57" name="Freeform 37"/>
              <p:cNvSpPr>
                <a:spLocks/>
              </p:cNvSpPr>
              <p:nvPr/>
            </p:nvSpPr>
            <p:spPr bwMode="auto">
              <a:xfrm>
                <a:off x="5178" y="3168"/>
                <a:ext cx="3" cy="8"/>
              </a:xfrm>
              <a:custGeom>
                <a:avLst/>
                <a:gdLst>
                  <a:gd name="T0" fmla="*/ 3 w 3"/>
                  <a:gd name="T1" fmla="*/ 0 h 8"/>
                  <a:gd name="T2" fmla="*/ 3 w 3"/>
                  <a:gd name="T3" fmla="*/ 2 h 8"/>
                  <a:gd name="T4" fmla="*/ 3 w 3"/>
                  <a:gd name="T5" fmla="*/ 3 h 8"/>
                  <a:gd name="T6" fmla="*/ 2 w 3"/>
                  <a:gd name="T7" fmla="*/ 3 h 8"/>
                  <a:gd name="T8" fmla="*/ 2 w 3"/>
                  <a:gd name="T9" fmla="*/ 5 h 8"/>
                  <a:gd name="T10" fmla="*/ 2 w 3"/>
                  <a:gd name="T11" fmla="*/ 6 h 8"/>
                  <a:gd name="T12" fmla="*/ 0 w 3"/>
                  <a:gd name="T13" fmla="*/ 6 h 8"/>
                  <a:gd name="T14" fmla="*/ 0 w 3"/>
                  <a:gd name="T15" fmla="*/ 8 h 8"/>
                  <a:gd name="T16" fmla="*/ 0 w 3"/>
                  <a:gd name="T17" fmla="*/ 6 h 8"/>
                  <a:gd name="T18" fmla="*/ 0 w 3"/>
                  <a:gd name="T19" fmla="*/ 5 h 8"/>
                  <a:gd name="T20" fmla="*/ 0 w 3"/>
                  <a:gd name="T21" fmla="*/ 3 h 8"/>
                  <a:gd name="T22" fmla="*/ 2 w 3"/>
                  <a:gd name="T23" fmla="*/ 3 h 8"/>
                  <a:gd name="T24" fmla="*/ 2 w 3"/>
                  <a:gd name="T25" fmla="*/ 2 h 8"/>
                  <a:gd name="T26" fmla="*/ 3 w 3"/>
                  <a:gd name="T27" fmla="*/ 2 h 8"/>
                  <a:gd name="T28" fmla="*/ 3 w 3"/>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8">
                    <a:moveTo>
                      <a:pt x="3" y="0"/>
                    </a:moveTo>
                    <a:lnTo>
                      <a:pt x="3" y="2"/>
                    </a:lnTo>
                    <a:lnTo>
                      <a:pt x="3" y="3"/>
                    </a:lnTo>
                    <a:lnTo>
                      <a:pt x="2" y="3"/>
                    </a:lnTo>
                    <a:lnTo>
                      <a:pt x="2" y="5"/>
                    </a:lnTo>
                    <a:lnTo>
                      <a:pt x="2" y="6"/>
                    </a:lnTo>
                    <a:lnTo>
                      <a:pt x="0" y="6"/>
                    </a:lnTo>
                    <a:lnTo>
                      <a:pt x="0" y="8"/>
                    </a:lnTo>
                    <a:lnTo>
                      <a:pt x="0" y="6"/>
                    </a:lnTo>
                    <a:lnTo>
                      <a:pt x="0" y="5"/>
                    </a:lnTo>
                    <a:lnTo>
                      <a:pt x="0" y="3"/>
                    </a:lnTo>
                    <a:lnTo>
                      <a:pt x="2" y="3"/>
                    </a:lnTo>
                    <a:lnTo>
                      <a:pt x="2" y="2"/>
                    </a:lnTo>
                    <a:lnTo>
                      <a:pt x="3" y="2"/>
                    </a:lnTo>
                    <a:lnTo>
                      <a:pt x="3"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58" name="Rectangle 38"/>
              <p:cNvSpPr>
                <a:spLocks noChangeArrowheads="1"/>
              </p:cNvSpPr>
              <p:nvPr/>
            </p:nvSpPr>
            <p:spPr bwMode="auto">
              <a:xfrm>
                <a:off x="5215" y="3167"/>
                <a:ext cx="1" cy="1"/>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59" name="Freeform 39"/>
              <p:cNvSpPr>
                <a:spLocks/>
              </p:cNvSpPr>
              <p:nvPr/>
            </p:nvSpPr>
            <p:spPr bwMode="auto">
              <a:xfrm>
                <a:off x="5215" y="3165"/>
                <a:ext cx="1" cy="2"/>
              </a:xfrm>
              <a:custGeom>
                <a:avLst/>
                <a:gdLst>
                  <a:gd name="T0" fmla="*/ 0 w 1"/>
                  <a:gd name="T1" fmla="*/ 0 h 2"/>
                  <a:gd name="T2" fmla="*/ 1 w 1"/>
                  <a:gd name="T3" fmla="*/ 0 h 2"/>
                  <a:gd name="T4" fmla="*/ 1 w 1"/>
                  <a:gd name="T5" fmla="*/ 2 h 2"/>
                  <a:gd name="T6" fmla="*/ 1 w 1"/>
                  <a:gd name="T7" fmla="*/ 0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2"/>
                    </a:lnTo>
                    <a:lnTo>
                      <a:pt x="1" y="0"/>
                    </a:lnTo>
                    <a:lnTo>
                      <a:pt x="1" y="2"/>
                    </a:lnTo>
                    <a:lnTo>
                      <a:pt x="0" y="2"/>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60" name="Freeform 40"/>
              <p:cNvSpPr>
                <a:spLocks/>
              </p:cNvSpPr>
              <p:nvPr/>
            </p:nvSpPr>
            <p:spPr bwMode="auto">
              <a:xfrm>
                <a:off x="5216" y="3163"/>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61" name="Rectangle 41"/>
              <p:cNvSpPr>
                <a:spLocks noChangeArrowheads="1"/>
              </p:cNvSpPr>
              <p:nvPr/>
            </p:nvSpPr>
            <p:spPr bwMode="auto">
              <a:xfrm>
                <a:off x="5175" y="3157"/>
                <a:ext cx="2" cy="2"/>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62" name="Freeform 42"/>
              <p:cNvSpPr>
                <a:spLocks/>
              </p:cNvSpPr>
              <p:nvPr/>
            </p:nvSpPr>
            <p:spPr bwMode="auto">
              <a:xfrm>
                <a:off x="5181" y="3155"/>
                <a:ext cx="5" cy="5"/>
              </a:xfrm>
              <a:custGeom>
                <a:avLst/>
                <a:gdLst>
                  <a:gd name="T0" fmla="*/ 3 w 5"/>
                  <a:gd name="T1" fmla="*/ 0 h 5"/>
                  <a:gd name="T2" fmla="*/ 5 w 5"/>
                  <a:gd name="T3" fmla="*/ 0 h 5"/>
                  <a:gd name="T4" fmla="*/ 5 w 5"/>
                  <a:gd name="T5" fmla="*/ 2 h 5"/>
                  <a:gd name="T6" fmla="*/ 5 w 5"/>
                  <a:gd name="T7" fmla="*/ 4 h 5"/>
                  <a:gd name="T8" fmla="*/ 5 w 5"/>
                  <a:gd name="T9" fmla="*/ 5 h 5"/>
                  <a:gd name="T10" fmla="*/ 3 w 5"/>
                  <a:gd name="T11" fmla="*/ 5 h 5"/>
                  <a:gd name="T12" fmla="*/ 2 w 5"/>
                  <a:gd name="T13" fmla="*/ 5 h 5"/>
                  <a:gd name="T14" fmla="*/ 0 w 5"/>
                  <a:gd name="T15" fmla="*/ 5 h 5"/>
                  <a:gd name="T16" fmla="*/ 0 w 5"/>
                  <a:gd name="T17" fmla="*/ 4 h 5"/>
                  <a:gd name="T18" fmla="*/ 2 w 5"/>
                  <a:gd name="T19" fmla="*/ 4 h 5"/>
                  <a:gd name="T20" fmla="*/ 0 w 5"/>
                  <a:gd name="T21" fmla="*/ 4 h 5"/>
                  <a:gd name="T22" fmla="*/ 2 w 5"/>
                  <a:gd name="T23" fmla="*/ 4 h 5"/>
                  <a:gd name="T24" fmla="*/ 2 w 5"/>
                  <a:gd name="T25" fmla="*/ 2 h 5"/>
                  <a:gd name="T26" fmla="*/ 3 w 5"/>
                  <a:gd name="T27" fmla="*/ 2 h 5"/>
                  <a:gd name="T28" fmla="*/ 3 w 5"/>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5">
                    <a:moveTo>
                      <a:pt x="3" y="0"/>
                    </a:moveTo>
                    <a:lnTo>
                      <a:pt x="5" y="0"/>
                    </a:lnTo>
                    <a:lnTo>
                      <a:pt x="5" y="2"/>
                    </a:lnTo>
                    <a:lnTo>
                      <a:pt x="5" y="4"/>
                    </a:lnTo>
                    <a:lnTo>
                      <a:pt x="5" y="5"/>
                    </a:lnTo>
                    <a:lnTo>
                      <a:pt x="3" y="5"/>
                    </a:lnTo>
                    <a:lnTo>
                      <a:pt x="2" y="5"/>
                    </a:lnTo>
                    <a:lnTo>
                      <a:pt x="0" y="5"/>
                    </a:lnTo>
                    <a:lnTo>
                      <a:pt x="0" y="4"/>
                    </a:lnTo>
                    <a:lnTo>
                      <a:pt x="2" y="4"/>
                    </a:lnTo>
                    <a:lnTo>
                      <a:pt x="0" y="4"/>
                    </a:lnTo>
                    <a:lnTo>
                      <a:pt x="2" y="4"/>
                    </a:lnTo>
                    <a:lnTo>
                      <a:pt x="2" y="2"/>
                    </a:lnTo>
                    <a:lnTo>
                      <a:pt x="3" y="2"/>
                    </a:lnTo>
                    <a:lnTo>
                      <a:pt x="3"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63" name="Freeform 43"/>
              <p:cNvSpPr>
                <a:spLocks/>
              </p:cNvSpPr>
              <p:nvPr/>
            </p:nvSpPr>
            <p:spPr bwMode="auto">
              <a:xfrm>
                <a:off x="5172" y="3124"/>
                <a:ext cx="17" cy="22"/>
              </a:xfrm>
              <a:custGeom>
                <a:avLst/>
                <a:gdLst>
                  <a:gd name="T0" fmla="*/ 12 w 17"/>
                  <a:gd name="T1" fmla="*/ 1 h 22"/>
                  <a:gd name="T2" fmla="*/ 14 w 17"/>
                  <a:gd name="T3" fmla="*/ 3 h 22"/>
                  <a:gd name="T4" fmla="*/ 14 w 17"/>
                  <a:gd name="T5" fmla="*/ 6 h 22"/>
                  <a:gd name="T6" fmla="*/ 12 w 17"/>
                  <a:gd name="T7" fmla="*/ 8 h 22"/>
                  <a:gd name="T8" fmla="*/ 11 w 17"/>
                  <a:gd name="T9" fmla="*/ 9 h 22"/>
                  <a:gd name="T10" fmla="*/ 12 w 17"/>
                  <a:gd name="T11" fmla="*/ 11 h 22"/>
                  <a:gd name="T12" fmla="*/ 14 w 17"/>
                  <a:gd name="T13" fmla="*/ 12 h 22"/>
                  <a:gd name="T14" fmla="*/ 16 w 17"/>
                  <a:gd name="T15" fmla="*/ 14 h 22"/>
                  <a:gd name="T16" fmla="*/ 16 w 17"/>
                  <a:gd name="T17" fmla="*/ 17 h 22"/>
                  <a:gd name="T18" fmla="*/ 17 w 17"/>
                  <a:gd name="T19" fmla="*/ 19 h 22"/>
                  <a:gd name="T20" fmla="*/ 16 w 17"/>
                  <a:gd name="T21" fmla="*/ 17 h 22"/>
                  <a:gd name="T22" fmla="*/ 14 w 17"/>
                  <a:gd name="T23" fmla="*/ 19 h 22"/>
                  <a:gd name="T24" fmla="*/ 16 w 17"/>
                  <a:gd name="T25" fmla="*/ 20 h 22"/>
                  <a:gd name="T26" fmla="*/ 14 w 17"/>
                  <a:gd name="T27" fmla="*/ 22 h 22"/>
                  <a:gd name="T28" fmla="*/ 14 w 17"/>
                  <a:gd name="T29" fmla="*/ 22 h 22"/>
                  <a:gd name="T30" fmla="*/ 11 w 17"/>
                  <a:gd name="T31" fmla="*/ 22 h 22"/>
                  <a:gd name="T32" fmla="*/ 8 w 17"/>
                  <a:gd name="T33" fmla="*/ 22 h 22"/>
                  <a:gd name="T34" fmla="*/ 8 w 17"/>
                  <a:gd name="T35" fmla="*/ 19 h 22"/>
                  <a:gd name="T36" fmla="*/ 6 w 17"/>
                  <a:gd name="T37" fmla="*/ 17 h 22"/>
                  <a:gd name="T38" fmla="*/ 6 w 17"/>
                  <a:gd name="T39" fmla="*/ 14 h 22"/>
                  <a:gd name="T40" fmla="*/ 5 w 17"/>
                  <a:gd name="T41" fmla="*/ 12 h 22"/>
                  <a:gd name="T42" fmla="*/ 3 w 17"/>
                  <a:gd name="T43" fmla="*/ 11 h 22"/>
                  <a:gd name="T44" fmla="*/ 1 w 17"/>
                  <a:gd name="T45" fmla="*/ 9 h 22"/>
                  <a:gd name="T46" fmla="*/ 0 w 17"/>
                  <a:gd name="T47" fmla="*/ 8 h 22"/>
                  <a:gd name="T48" fmla="*/ 0 w 17"/>
                  <a:gd name="T49" fmla="*/ 5 h 22"/>
                  <a:gd name="T50" fmla="*/ 1 w 17"/>
                  <a:gd name="T51" fmla="*/ 3 h 22"/>
                  <a:gd name="T52" fmla="*/ 5 w 17"/>
                  <a:gd name="T53" fmla="*/ 3 h 22"/>
                  <a:gd name="T54" fmla="*/ 5 w 17"/>
                  <a:gd name="T55" fmla="*/ 3 h 22"/>
                  <a:gd name="T56" fmla="*/ 6 w 17"/>
                  <a:gd name="T57" fmla="*/ 5 h 22"/>
                  <a:gd name="T58" fmla="*/ 8 w 17"/>
                  <a:gd name="T59" fmla="*/ 3 h 22"/>
                  <a:gd name="T60" fmla="*/ 9 w 17"/>
                  <a:gd name="T61" fmla="*/ 1 h 22"/>
                  <a:gd name="T62" fmla="*/ 12 w 17"/>
                  <a:gd name="T63"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22">
                    <a:moveTo>
                      <a:pt x="12" y="0"/>
                    </a:moveTo>
                    <a:lnTo>
                      <a:pt x="12" y="1"/>
                    </a:lnTo>
                    <a:lnTo>
                      <a:pt x="14" y="1"/>
                    </a:lnTo>
                    <a:lnTo>
                      <a:pt x="14" y="3"/>
                    </a:lnTo>
                    <a:lnTo>
                      <a:pt x="14" y="5"/>
                    </a:lnTo>
                    <a:lnTo>
                      <a:pt x="14" y="6"/>
                    </a:lnTo>
                    <a:lnTo>
                      <a:pt x="12" y="6"/>
                    </a:lnTo>
                    <a:lnTo>
                      <a:pt x="12" y="8"/>
                    </a:lnTo>
                    <a:lnTo>
                      <a:pt x="12" y="9"/>
                    </a:lnTo>
                    <a:lnTo>
                      <a:pt x="11" y="9"/>
                    </a:lnTo>
                    <a:lnTo>
                      <a:pt x="11" y="11"/>
                    </a:lnTo>
                    <a:lnTo>
                      <a:pt x="12" y="11"/>
                    </a:lnTo>
                    <a:lnTo>
                      <a:pt x="12" y="12"/>
                    </a:lnTo>
                    <a:lnTo>
                      <a:pt x="14" y="12"/>
                    </a:lnTo>
                    <a:lnTo>
                      <a:pt x="14" y="14"/>
                    </a:lnTo>
                    <a:lnTo>
                      <a:pt x="16" y="14"/>
                    </a:lnTo>
                    <a:lnTo>
                      <a:pt x="16" y="16"/>
                    </a:lnTo>
                    <a:lnTo>
                      <a:pt x="16" y="17"/>
                    </a:lnTo>
                    <a:lnTo>
                      <a:pt x="17" y="17"/>
                    </a:lnTo>
                    <a:lnTo>
                      <a:pt x="17" y="19"/>
                    </a:lnTo>
                    <a:lnTo>
                      <a:pt x="16" y="19"/>
                    </a:lnTo>
                    <a:lnTo>
                      <a:pt x="16" y="17"/>
                    </a:lnTo>
                    <a:lnTo>
                      <a:pt x="14" y="17"/>
                    </a:lnTo>
                    <a:lnTo>
                      <a:pt x="14" y="19"/>
                    </a:lnTo>
                    <a:lnTo>
                      <a:pt x="14" y="20"/>
                    </a:lnTo>
                    <a:lnTo>
                      <a:pt x="16" y="20"/>
                    </a:lnTo>
                    <a:lnTo>
                      <a:pt x="14" y="20"/>
                    </a:lnTo>
                    <a:lnTo>
                      <a:pt x="14" y="22"/>
                    </a:lnTo>
                    <a:lnTo>
                      <a:pt x="14" y="20"/>
                    </a:lnTo>
                    <a:lnTo>
                      <a:pt x="14" y="22"/>
                    </a:lnTo>
                    <a:lnTo>
                      <a:pt x="12" y="22"/>
                    </a:lnTo>
                    <a:lnTo>
                      <a:pt x="11" y="22"/>
                    </a:lnTo>
                    <a:lnTo>
                      <a:pt x="9" y="22"/>
                    </a:lnTo>
                    <a:lnTo>
                      <a:pt x="8" y="22"/>
                    </a:lnTo>
                    <a:lnTo>
                      <a:pt x="8" y="20"/>
                    </a:lnTo>
                    <a:lnTo>
                      <a:pt x="8" y="19"/>
                    </a:lnTo>
                    <a:lnTo>
                      <a:pt x="8" y="17"/>
                    </a:lnTo>
                    <a:lnTo>
                      <a:pt x="6" y="17"/>
                    </a:lnTo>
                    <a:lnTo>
                      <a:pt x="6" y="16"/>
                    </a:lnTo>
                    <a:lnTo>
                      <a:pt x="6" y="14"/>
                    </a:lnTo>
                    <a:lnTo>
                      <a:pt x="5" y="14"/>
                    </a:lnTo>
                    <a:lnTo>
                      <a:pt x="5" y="12"/>
                    </a:lnTo>
                    <a:lnTo>
                      <a:pt x="5" y="11"/>
                    </a:lnTo>
                    <a:lnTo>
                      <a:pt x="3" y="11"/>
                    </a:lnTo>
                    <a:lnTo>
                      <a:pt x="3" y="9"/>
                    </a:lnTo>
                    <a:lnTo>
                      <a:pt x="1" y="9"/>
                    </a:lnTo>
                    <a:lnTo>
                      <a:pt x="1" y="8"/>
                    </a:lnTo>
                    <a:lnTo>
                      <a:pt x="0" y="8"/>
                    </a:lnTo>
                    <a:lnTo>
                      <a:pt x="0" y="6"/>
                    </a:lnTo>
                    <a:lnTo>
                      <a:pt x="0" y="5"/>
                    </a:lnTo>
                    <a:lnTo>
                      <a:pt x="1" y="5"/>
                    </a:lnTo>
                    <a:lnTo>
                      <a:pt x="1" y="3"/>
                    </a:lnTo>
                    <a:lnTo>
                      <a:pt x="3" y="3"/>
                    </a:lnTo>
                    <a:lnTo>
                      <a:pt x="5" y="3"/>
                    </a:lnTo>
                    <a:lnTo>
                      <a:pt x="5" y="5"/>
                    </a:lnTo>
                    <a:lnTo>
                      <a:pt x="5" y="3"/>
                    </a:lnTo>
                    <a:lnTo>
                      <a:pt x="6" y="3"/>
                    </a:lnTo>
                    <a:lnTo>
                      <a:pt x="6" y="5"/>
                    </a:lnTo>
                    <a:lnTo>
                      <a:pt x="6" y="3"/>
                    </a:lnTo>
                    <a:lnTo>
                      <a:pt x="8" y="3"/>
                    </a:lnTo>
                    <a:lnTo>
                      <a:pt x="9" y="3"/>
                    </a:lnTo>
                    <a:lnTo>
                      <a:pt x="9" y="1"/>
                    </a:lnTo>
                    <a:lnTo>
                      <a:pt x="11" y="1"/>
                    </a:lnTo>
                    <a:lnTo>
                      <a:pt x="12" y="1"/>
                    </a:lnTo>
                    <a:lnTo>
                      <a:pt x="12"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64" name="Freeform 44"/>
              <p:cNvSpPr>
                <a:spLocks/>
              </p:cNvSpPr>
              <p:nvPr/>
            </p:nvSpPr>
            <p:spPr bwMode="auto">
              <a:xfrm>
                <a:off x="5196" y="3000"/>
                <a:ext cx="3" cy="3"/>
              </a:xfrm>
              <a:custGeom>
                <a:avLst/>
                <a:gdLst>
                  <a:gd name="T0" fmla="*/ 1 w 3"/>
                  <a:gd name="T1" fmla="*/ 0 h 3"/>
                  <a:gd name="T2" fmla="*/ 3 w 3"/>
                  <a:gd name="T3" fmla="*/ 0 h 3"/>
                  <a:gd name="T4" fmla="*/ 1 w 3"/>
                  <a:gd name="T5" fmla="*/ 0 h 3"/>
                  <a:gd name="T6" fmla="*/ 1 w 3"/>
                  <a:gd name="T7" fmla="*/ 2 h 3"/>
                  <a:gd name="T8" fmla="*/ 1 w 3"/>
                  <a:gd name="T9" fmla="*/ 3 h 3"/>
                  <a:gd name="T10" fmla="*/ 0 w 3"/>
                  <a:gd name="T11" fmla="*/ 3 h 3"/>
                  <a:gd name="T12" fmla="*/ 0 w 3"/>
                  <a:gd name="T13" fmla="*/ 2 h 3"/>
                  <a:gd name="T14" fmla="*/ 1 w 3"/>
                  <a:gd name="T15" fmla="*/ 2 h 3"/>
                  <a:gd name="T16" fmla="*/ 1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1" y="0"/>
                    </a:moveTo>
                    <a:lnTo>
                      <a:pt x="3" y="0"/>
                    </a:lnTo>
                    <a:lnTo>
                      <a:pt x="1" y="0"/>
                    </a:lnTo>
                    <a:lnTo>
                      <a:pt x="1" y="2"/>
                    </a:lnTo>
                    <a:lnTo>
                      <a:pt x="1" y="3"/>
                    </a:lnTo>
                    <a:lnTo>
                      <a:pt x="0" y="3"/>
                    </a:lnTo>
                    <a:lnTo>
                      <a:pt x="0" y="2"/>
                    </a:lnTo>
                    <a:lnTo>
                      <a:pt x="1" y="2"/>
                    </a:lnTo>
                    <a:lnTo>
                      <a:pt x="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65" name="Freeform 45"/>
              <p:cNvSpPr>
                <a:spLocks/>
              </p:cNvSpPr>
              <p:nvPr/>
            </p:nvSpPr>
            <p:spPr bwMode="auto">
              <a:xfrm>
                <a:off x="5184" y="2992"/>
                <a:ext cx="4" cy="3"/>
              </a:xfrm>
              <a:custGeom>
                <a:avLst/>
                <a:gdLst>
                  <a:gd name="T0" fmla="*/ 4 w 4"/>
                  <a:gd name="T1" fmla="*/ 0 h 3"/>
                  <a:gd name="T2" fmla="*/ 4 w 4"/>
                  <a:gd name="T3" fmla="*/ 2 h 3"/>
                  <a:gd name="T4" fmla="*/ 4 w 4"/>
                  <a:gd name="T5" fmla="*/ 3 h 3"/>
                  <a:gd name="T6" fmla="*/ 2 w 4"/>
                  <a:gd name="T7" fmla="*/ 3 h 3"/>
                  <a:gd name="T8" fmla="*/ 0 w 4"/>
                  <a:gd name="T9" fmla="*/ 3 h 3"/>
                  <a:gd name="T10" fmla="*/ 2 w 4"/>
                  <a:gd name="T11" fmla="*/ 3 h 3"/>
                  <a:gd name="T12" fmla="*/ 2 w 4"/>
                  <a:gd name="T13" fmla="*/ 2 h 3"/>
                  <a:gd name="T14" fmla="*/ 4 w 4"/>
                  <a:gd name="T15" fmla="*/ 2 h 3"/>
                  <a:gd name="T16" fmla="*/ 4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4" y="0"/>
                    </a:moveTo>
                    <a:lnTo>
                      <a:pt x="4" y="2"/>
                    </a:lnTo>
                    <a:lnTo>
                      <a:pt x="4" y="3"/>
                    </a:lnTo>
                    <a:lnTo>
                      <a:pt x="2" y="3"/>
                    </a:lnTo>
                    <a:lnTo>
                      <a:pt x="0" y="3"/>
                    </a:lnTo>
                    <a:lnTo>
                      <a:pt x="2" y="3"/>
                    </a:lnTo>
                    <a:lnTo>
                      <a:pt x="2" y="2"/>
                    </a:lnTo>
                    <a:lnTo>
                      <a:pt x="4" y="2"/>
                    </a:lnTo>
                    <a:lnTo>
                      <a:pt x="4"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66" name="Rectangle 46"/>
              <p:cNvSpPr>
                <a:spLocks noChangeArrowheads="1"/>
              </p:cNvSpPr>
              <p:nvPr/>
            </p:nvSpPr>
            <p:spPr bwMode="auto">
              <a:xfrm>
                <a:off x="5183" y="2992"/>
                <a:ext cx="1" cy="2"/>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67" name="Freeform 47"/>
              <p:cNvSpPr>
                <a:spLocks/>
              </p:cNvSpPr>
              <p:nvPr/>
            </p:nvSpPr>
            <p:spPr bwMode="auto">
              <a:xfrm>
                <a:off x="5170" y="2981"/>
                <a:ext cx="13" cy="16"/>
              </a:xfrm>
              <a:custGeom>
                <a:avLst/>
                <a:gdLst>
                  <a:gd name="T0" fmla="*/ 3 w 13"/>
                  <a:gd name="T1" fmla="*/ 0 h 16"/>
                  <a:gd name="T2" fmla="*/ 5 w 13"/>
                  <a:gd name="T3" fmla="*/ 0 h 16"/>
                  <a:gd name="T4" fmla="*/ 5 w 13"/>
                  <a:gd name="T5" fmla="*/ 2 h 16"/>
                  <a:gd name="T6" fmla="*/ 7 w 13"/>
                  <a:gd name="T7" fmla="*/ 2 h 16"/>
                  <a:gd name="T8" fmla="*/ 7 w 13"/>
                  <a:gd name="T9" fmla="*/ 3 h 16"/>
                  <a:gd name="T10" fmla="*/ 8 w 13"/>
                  <a:gd name="T11" fmla="*/ 3 h 16"/>
                  <a:gd name="T12" fmla="*/ 8 w 13"/>
                  <a:gd name="T13" fmla="*/ 5 h 16"/>
                  <a:gd name="T14" fmla="*/ 10 w 13"/>
                  <a:gd name="T15" fmla="*/ 5 h 16"/>
                  <a:gd name="T16" fmla="*/ 10 w 13"/>
                  <a:gd name="T17" fmla="*/ 7 h 16"/>
                  <a:gd name="T18" fmla="*/ 11 w 13"/>
                  <a:gd name="T19" fmla="*/ 7 h 16"/>
                  <a:gd name="T20" fmla="*/ 11 w 13"/>
                  <a:gd name="T21" fmla="*/ 8 h 16"/>
                  <a:gd name="T22" fmla="*/ 11 w 13"/>
                  <a:gd name="T23" fmla="*/ 10 h 16"/>
                  <a:gd name="T24" fmla="*/ 11 w 13"/>
                  <a:gd name="T25" fmla="*/ 11 h 16"/>
                  <a:gd name="T26" fmla="*/ 11 w 13"/>
                  <a:gd name="T27" fmla="*/ 13 h 16"/>
                  <a:gd name="T28" fmla="*/ 11 w 13"/>
                  <a:gd name="T29" fmla="*/ 14 h 16"/>
                  <a:gd name="T30" fmla="*/ 13 w 13"/>
                  <a:gd name="T31" fmla="*/ 14 h 16"/>
                  <a:gd name="T32" fmla="*/ 13 w 13"/>
                  <a:gd name="T33" fmla="*/ 16 h 16"/>
                  <a:gd name="T34" fmla="*/ 11 w 13"/>
                  <a:gd name="T35" fmla="*/ 16 h 16"/>
                  <a:gd name="T36" fmla="*/ 11 w 13"/>
                  <a:gd name="T37" fmla="*/ 14 h 16"/>
                  <a:gd name="T38" fmla="*/ 11 w 13"/>
                  <a:gd name="T39" fmla="*/ 13 h 16"/>
                  <a:gd name="T40" fmla="*/ 10 w 13"/>
                  <a:gd name="T41" fmla="*/ 13 h 16"/>
                  <a:gd name="T42" fmla="*/ 10 w 13"/>
                  <a:gd name="T43" fmla="*/ 11 h 16"/>
                  <a:gd name="T44" fmla="*/ 10 w 13"/>
                  <a:gd name="T45" fmla="*/ 13 h 16"/>
                  <a:gd name="T46" fmla="*/ 8 w 13"/>
                  <a:gd name="T47" fmla="*/ 13 h 16"/>
                  <a:gd name="T48" fmla="*/ 8 w 13"/>
                  <a:gd name="T49" fmla="*/ 11 h 16"/>
                  <a:gd name="T50" fmla="*/ 7 w 13"/>
                  <a:gd name="T51" fmla="*/ 11 h 16"/>
                  <a:gd name="T52" fmla="*/ 7 w 13"/>
                  <a:gd name="T53" fmla="*/ 10 h 16"/>
                  <a:gd name="T54" fmla="*/ 5 w 13"/>
                  <a:gd name="T55" fmla="*/ 10 h 16"/>
                  <a:gd name="T56" fmla="*/ 5 w 13"/>
                  <a:gd name="T57" fmla="*/ 8 h 16"/>
                  <a:gd name="T58" fmla="*/ 5 w 13"/>
                  <a:gd name="T59" fmla="*/ 10 h 16"/>
                  <a:gd name="T60" fmla="*/ 3 w 13"/>
                  <a:gd name="T61" fmla="*/ 10 h 16"/>
                  <a:gd name="T62" fmla="*/ 3 w 13"/>
                  <a:gd name="T63" fmla="*/ 8 h 16"/>
                  <a:gd name="T64" fmla="*/ 3 w 13"/>
                  <a:gd name="T65" fmla="*/ 7 h 16"/>
                  <a:gd name="T66" fmla="*/ 2 w 13"/>
                  <a:gd name="T67" fmla="*/ 7 h 16"/>
                  <a:gd name="T68" fmla="*/ 2 w 13"/>
                  <a:gd name="T69" fmla="*/ 5 h 16"/>
                  <a:gd name="T70" fmla="*/ 2 w 13"/>
                  <a:gd name="T71" fmla="*/ 3 h 16"/>
                  <a:gd name="T72" fmla="*/ 2 w 13"/>
                  <a:gd name="T73" fmla="*/ 2 h 16"/>
                  <a:gd name="T74" fmla="*/ 0 w 13"/>
                  <a:gd name="T75" fmla="*/ 2 h 16"/>
                  <a:gd name="T76" fmla="*/ 2 w 13"/>
                  <a:gd name="T77" fmla="*/ 2 h 16"/>
                  <a:gd name="T78" fmla="*/ 0 w 13"/>
                  <a:gd name="T79" fmla="*/ 2 h 16"/>
                  <a:gd name="T80" fmla="*/ 2 w 13"/>
                  <a:gd name="T81" fmla="*/ 2 h 16"/>
                  <a:gd name="T82" fmla="*/ 2 w 13"/>
                  <a:gd name="T83" fmla="*/ 0 h 16"/>
                  <a:gd name="T84" fmla="*/ 3 w 13"/>
                  <a:gd name="T8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 h="16">
                    <a:moveTo>
                      <a:pt x="3" y="0"/>
                    </a:moveTo>
                    <a:lnTo>
                      <a:pt x="5" y="0"/>
                    </a:lnTo>
                    <a:lnTo>
                      <a:pt x="5" y="2"/>
                    </a:lnTo>
                    <a:lnTo>
                      <a:pt x="7" y="2"/>
                    </a:lnTo>
                    <a:lnTo>
                      <a:pt x="7" y="3"/>
                    </a:lnTo>
                    <a:lnTo>
                      <a:pt x="8" y="3"/>
                    </a:lnTo>
                    <a:lnTo>
                      <a:pt x="8" y="5"/>
                    </a:lnTo>
                    <a:lnTo>
                      <a:pt x="10" y="5"/>
                    </a:lnTo>
                    <a:lnTo>
                      <a:pt x="10" y="7"/>
                    </a:lnTo>
                    <a:lnTo>
                      <a:pt x="11" y="7"/>
                    </a:lnTo>
                    <a:lnTo>
                      <a:pt x="11" y="8"/>
                    </a:lnTo>
                    <a:lnTo>
                      <a:pt x="11" y="10"/>
                    </a:lnTo>
                    <a:lnTo>
                      <a:pt x="11" y="11"/>
                    </a:lnTo>
                    <a:lnTo>
                      <a:pt x="11" y="13"/>
                    </a:lnTo>
                    <a:lnTo>
                      <a:pt x="11" y="14"/>
                    </a:lnTo>
                    <a:lnTo>
                      <a:pt x="13" y="14"/>
                    </a:lnTo>
                    <a:lnTo>
                      <a:pt x="13" y="16"/>
                    </a:lnTo>
                    <a:lnTo>
                      <a:pt x="11" y="16"/>
                    </a:lnTo>
                    <a:lnTo>
                      <a:pt x="11" y="14"/>
                    </a:lnTo>
                    <a:lnTo>
                      <a:pt x="11" y="13"/>
                    </a:lnTo>
                    <a:lnTo>
                      <a:pt x="10" y="13"/>
                    </a:lnTo>
                    <a:lnTo>
                      <a:pt x="10" y="11"/>
                    </a:lnTo>
                    <a:lnTo>
                      <a:pt x="10" y="13"/>
                    </a:lnTo>
                    <a:lnTo>
                      <a:pt x="8" y="13"/>
                    </a:lnTo>
                    <a:lnTo>
                      <a:pt x="8" y="11"/>
                    </a:lnTo>
                    <a:lnTo>
                      <a:pt x="7" y="11"/>
                    </a:lnTo>
                    <a:lnTo>
                      <a:pt x="7" y="10"/>
                    </a:lnTo>
                    <a:lnTo>
                      <a:pt x="5" y="10"/>
                    </a:lnTo>
                    <a:lnTo>
                      <a:pt x="5" y="8"/>
                    </a:lnTo>
                    <a:lnTo>
                      <a:pt x="5" y="10"/>
                    </a:lnTo>
                    <a:lnTo>
                      <a:pt x="3" y="10"/>
                    </a:lnTo>
                    <a:lnTo>
                      <a:pt x="3" y="8"/>
                    </a:lnTo>
                    <a:lnTo>
                      <a:pt x="3" y="7"/>
                    </a:lnTo>
                    <a:lnTo>
                      <a:pt x="2" y="7"/>
                    </a:lnTo>
                    <a:lnTo>
                      <a:pt x="2" y="5"/>
                    </a:lnTo>
                    <a:lnTo>
                      <a:pt x="2" y="3"/>
                    </a:lnTo>
                    <a:lnTo>
                      <a:pt x="2" y="2"/>
                    </a:lnTo>
                    <a:lnTo>
                      <a:pt x="0" y="2"/>
                    </a:lnTo>
                    <a:lnTo>
                      <a:pt x="2" y="2"/>
                    </a:lnTo>
                    <a:lnTo>
                      <a:pt x="0" y="2"/>
                    </a:lnTo>
                    <a:lnTo>
                      <a:pt x="2" y="2"/>
                    </a:lnTo>
                    <a:lnTo>
                      <a:pt x="2" y="0"/>
                    </a:lnTo>
                    <a:lnTo>
                      <a:pt x="3"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68" name="Freeform 48"/>
              <p:cNvSpPr>
                <a:spLocks/>
              </p:cNvSpPr>
              <p:nvPr/>
            </p:nvSpPr>
            <p:spPr bwMode="auto">
              <a:xfrm>
                <a:off x="4651" y="2816"/>
                <a:ext cx="587" cy="493"/>
              </a:xfrm>
              <a:custGeom>
                <a:avLst/>
                <a:gdLst>
                  <a:gd name="T0" fmla="*/ 52 w 587"/>
                  <a:gd name="T1" fmla="*/ 34 h 493"/>
                  <a:gd name="T2" fmla="*/ 85 w 587"/>
                  <a:gd name="T3" fmla="*/ 43 h 493"/>
                  <a:gd name="T4" fmla="*/ 114 w 587"/>
                  <a:gd name="T5" fmla="*/ 50 h 493"/>
                  <a:gd name="T6" fmla="*/ 136 w 587"/>
                  <a:gd name="T7" fmla="*/ 62 h 493"/>
                  <a:gd name="T8" fmla="*/ 153 w 587"/>
                  <a:gd name="T9" fmla="*/ 76 h 493"/>
                  <a:gd name="T10" fmla="*/ 169 w 587"/>
                  <a:gd name="T11" fmla="*/ 91 h 493"/>
                  <a:gd name="T12" fmla="*/ 191 w 587"/>
                  <a:gd name="T13" fmla="*/ 108 h 493"/>
                  <a:gd name="T14" fmla="*/ 202 w 587"/>
                  <a:gd name="T15" fmla="*/ 122 h 493"/>
                  <a:gd name="T16" fmla="*/ 207 w 587"/>
                  <a:gd name="T17" fmla="*/ 146 h 493"/>
                  <a:gd name="T18" fmla="*/ 217 w 587"/>
                  <a:gd name="T19" fmla="*/ 160 h 493"/>
                  <a:gd name="T20" fmla="*/ 239 w 587"/>
                  <a:gd name="T21" fmla="*/ 159 h 493"/>
                  <a:gd name="T22" fmla="*/ 251 w 587"/>
                  <a:gd name="T23" fmla="*/ 140 h 493"/>
                  <a:gd name="T24" fmla="*/ 263 w 587"/>
                  <a:gd name="T25" fmla="*/ 119 h 493"/>
                  <a:gd name="T26" fmla="*/ 286 w 587"/>
                  <a:gd name="T27" fmla="*/ 116 h 493"/>
                  <a:gd name="T28" fmla="*/ 405 w 587"/>
                  <a:gd name="T29" fmla="*/ 95 h 493"/>
                  <a:gd name="T30" fmla="*/ 451 w 587"/>
                  <a:gd name="T31" fmla="*/ 110 h 493"/>
                  <a:gd name="T32" fmla="*/ 461 w 587"/>
                  <a:gd name="T33" fmla="*/ 121 h 493"/>
                  <a:gd name="T34" fmla="*/ 459 w 587"/>
                  <a:gd name="T35" fmla="*/ 134 h 493"/>
                  <a:gd name="T36" fmla="*/ 459 w 587"/>
                  <a:gd name="T37" fmla="*/ 141 h 493"/>
                  <a:gd name="T38" fmla="*/ 459 w 587"/>
                  <a:gd name="T39" fmla="*/ 162 h 493"/>
                  <a:gd name="T40" fmla="*/ 465 w 587"/>
                  <a:gd name="T41" fmla="*/ 173 h 493"/>
                  <a:gd name="T42" fmla="*/ 472 w 587"/>
                  <a:gd name="T43" fmla="*/ 181 h 493"/>
                  <a:gd name="T44" fmla="*/ 475 w 587"/>
                  <a:gd name="T45" fmla="*/ 192 h 493"/>
                  <a:gd name="T46" fmla="*/ 478 w 587"/>
                  <a:gd name="T47" fmla="*/ 213 h 493"/>
                  <a:gd name="T48" fmla="*/ 483 w 587"/>
                  <a:gd name="T49" fmla="*/ 232 h 493"/>
                  <a:gd name="T50" fmla="*/ 489 w 587"/>
                  <a:gd name="T51" fmla="*/ 236 h 493"/>
                  <a:gd name="T52" fmla="*/ 503 w 587"/>
                  <a:gd name="T53" fmla="*/ 243 h 493"/>
                  <a:gd name="T54" fmla="*/ 508 w 587"/>
                  <a:gd name="T55" fmla="*/ 259 h 493"/>
                  <a:gd name="T56" fmla="*/ 516 w 587"/>
                  <a:gd name="T57" fmla="*/ 268 h 493"/>
                  <a:gd name="T58" fmla="*/ 524 w 587"/>
                  <a:gd name="T59" fmla="*/ 271 h 493"/>
                  <a:gd name="T60" fmla="*/ 530 w 587"/>
                  <a:gd name="T61" fmla="*/ 292 h 493"/>
                  <a:gd name="T62" fmla="*/ 543 w 587"/>
                  <a:gd name="T63" fmla="*/ 303 h 493"/>
                  <a:gd name="T64" fmla="*/ 529 w 587"/>
                  <a:gd name="T65" fmla="*/ 306 h 493"/>
                  <a:gd name="T66" fmla="*/ 519 w 587"/>
                  <a:gd name="T67" fmla="*/ 320 h 493"/>
                  <a:gd name="T68" fmla="*/ 526 w 587"/>
                  <a:gd name="T69" fmla="*/ 338 h 493"/>
                  <a:gd name="T70" fmla="*/ 526 w 587"/>
                  <a:gd name="T71" fmla="*/ 349 h 493"/>
                  <a:gd name="T72" fmla="*/ 521 w 587"/>
                  <a:gd name="T73" fmla="*/ 358 h 493"/>
                  <a:gd name="T74" fmla="*/ 532 w 587"/>
                  <a:gd name="T75" fmla="*/ 362 h 493"/>
                  <a:gd name="T76" fmla="*/ 540 w 587"/>
                  <a:gd name="T77" fmla="*/ 355 h 493"/>
                  <a:gd name="T78" fmla="*/ 554 w 587"/>
                  <a:gd name="T79" fmla="*/ 368 h 493"/>
                  <a:gd name="T80" fmla="*/ 556 w 587"/>
                  <a:gd name="T81" fmla="*/ 362 h 493"/>
                  <a:gd name="T82" fmla="*/ 548 w 587"/>
                  <a:gd name="T83" fmla="*/ 352 h 493"/>
                  <a:gd name="T84" fmla="*/ 540 w 587"/>
                  <a:gd name="T85" fmla="*/ 346 h 493"/>
                  <a:gd name="T86" fmla="*/ 545 w 587"/>
                  <a:gd name="T87" fmla="*/ 336 h 493"/>
                  <a:gd name="T88" fmla="*/ 556 w 587"/>
                  <a:gd name="T89" fmla="*/ 343 h 493"/>
                  <a:gd name="T90" fmla="*/ 562 w 587"/>
                  <a:gd name="T91" fmla="*/ 347 h 493"/>
                  <a:gd name="T92" fmla="*/ 560 w 587"/>
                  <a:gd name="T93" fmla="*/ 363 h 493"/>
                  <a:gd name="T94" fmla="*/ 564 w 587"/>
                  <a:gd name="T95" fmla="*/ 377 h 493"/>
                  <a:gd name="T96" fmla="*/ 570 w 587"/>
                  <a:gd name="T97" fmla="*/ 389 h 493"/>
                  <a:gd name="T98" fmla="*/ 568 w 587"/>
                  <a:gd name="T99" fmla="*/ 404 h 493"/>
                  <a:gd name="T100" fmla="*/ 571 w 587"/>
                  <a:gd name="T101" fmla="*/ 422 h 493"/>
                  <a:gd name="T102" fmla="*/ 575 w 587"/>
                  <a:gd name="T103" fmla="*/ 433 h 493"/>
                  <a:gd name="T104" fmla="*/ 573 w 587"/>
                  <a:gd name="T105" fmla="*/ 446 h 493"/>
                  <a:gd name="T106" fmla="*/ 564 w 587"/>
                  <a:gd name="T107" fmla="*/ 453 h 493"/>
                  <a:gd name="T108" fmla="*/ 552 w 587"/>
                  <a:gd name="T109" fmla="*/ 457 h 493"/>
                  <a:gd name="T110" fmla="*/ 548 w 587"/>
                  <a:gd name="T111" fmla="*/ 466 h 493"/>
                  <a:gd name="T112" fmla="*/ 562 w 587"/>
                  <a:gd name="T113" fmla="*/ 463 h 493"/>
                  <a:gd name="T114" fmla="*/ 575 w 587"/>
                  <a:gd name="T115" fmla="*/ 474 h 493"/>
                  <a:gd name="T116" fmla="*/ 573 w 587"/>
                  <a:gd name="T117" fmla="*/ 480 h 493"/>
                  <a:gd name="T118" fmla="*/ 584 w 587"/>
                  <a:gd name="T119" fmla="*/ 49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7" h="493">
                    <a:moveTo>
                      <a:pt x="0" y="0"/>
                    </a:moveTo>
                    <a:lnTo>
                      <a:pt x="4" y="7"/>
                    </a:lnTo>
                    <a:lnTo>
                      <a:pt x="9" y="10"/>
                    </a:lnTo>
                    <a:lnTo>
                      <a:pt x="17" y="16"/>
                    </a:lnTo>
                    <a:lnTo>
                      <a:pt x="22" y="19"/>
                    </a:lnTo>
                    <a:lnTo>
                      <a:pt x="28" y="24"/>
                    </a:lnTo>
                    <a:lnTo>
                      <a:pt x="33" y="26"/>
                    </a:lnTo>
                    <a:lnTo>
                      <a:pt x="36" y="27"/>
                    </a:lnTo>
                    <a:lnTo>
                      <a:pt x="38" y="27"/>
                    </a:lnTo>
                    <a:lnTo>
                      <a:pt x="39" y="27"/>
                    </a:lnTo>
                    <a:lnTo>
                      <a:pt x="41" y="29"/>
                    </a:lnTo>
                    <a:lnTo>
                      <a:pt x="42" y="31"/>
                    </a:lnTo>
                    <a:lnTo>
                      <a:pt x="44" y="31"/>
                    </a:lnTo>
                    <a:lnTo>
                      <a:pt x="46" y="32"/>
                    </a:lnTo>
                    <a:lnTo>
                      <a:pt x="47" y="32"/>
                    </a:lnTo>
                    <a:lnTo>
                      <a:pt x="49" y="32"/>
                    </a:lnTo>
                    <a:lnTo>
                      <a:pt x="52" y="34"/>
                    </a:lnTo>
                    <a:lnTo>
                      <a:pt x="53" y="35"/>
                    </a:lnTo>
                    <a:lnTo>
                      <a:pt x="55" y="35"/>
                    </a:lnTo>
                    <a:lnTo>
                      <a:pt x="57" y="35"/>
                    </a:lnTo>
                    <a:lnTo>
                      <a:pt x="58" y="35"/>
                    </a:lnTo>
                    <a:lnTo>
                      <a:pt x="58" y="37"/>
                    </a:lnTo>
                    <a:lnTo>
                      <a:pt x="60" y="37"/>
                    </a:lnTo>
                    <a:lnTo>
                      <a:pt x="61" y="37"/>
                    </a:lnTo>
                    <a:lnTo>
                      <a:pt x="63" y="37"/>
                    </a:lnTo>
                    <a:lnTo>
                      <a:pt x="65" y="37"/>
                    </a:lnTo>
                    <a:lnTo>
                      <a:pt x="68" y="38"/>
                    </a:lnTo>
                    <a:lnTo>
                      <a:pt x="69" y="38"/>
                    </a:lnTo>
                    <a:lnTo>
                      <a:pt x="72" y="40"/>
                    </a:lnTo>
                    <a:lnTo>
                      <a:pt x="76" y="40"/>
                    </a:lnTo>
                    <a:lnTo>
                      <a:pt x="79" y="42"/>
                    </a:lnTo>
                    <a:lnTo>
                      <a:pt x="82" y="42"/>
                    </a:lnTo>
                    <a:lnTo>
                      <a:pt x="84" y="42"/>
                    </a:lnTo>
                    <a:lnTo>
                      <a:pt x="85" y="43"/>
                    </a:lnTo>
                    <a:lnTo>
                      <a:pt x="88" y="43"/>
                    </a:lnTo>
                    <a:lnTo>
                      <a:pt x="91" y="43"/>
                    </a:lnTo>
                    <a:lnTo>
                      <a:pt x="93" y="43"/>
                    </a:lnTo>
                    <a:lnTo>
                      <a:pt x="95" y="45"/>
                    </a:lnTo>
                    <a:lnTo>
                      <a:pt x="96" y="45"/>
                    </a:lnTo>
                    <a:lnTo>
                      <a:pt x="98" y="46"/>
                    </a:lnTo>
                    <a:lnTo>
                      <a:pt x="99" y="46"/>
                    </a:lnTo>
                    <a:lnTo>
                      <a:pt x="101" y="46"/>
                    </a:lnTo>
                    <a:lnTo>
                      <a:pt x="103" y="46"/>
                    </a:lnTo>
                    <a:lnTo>
                      <a:pt x="104" y="46"/>
                    </a:lnTo>
                    <a:lnTo>
                      <a:pt x="106" y="46"/>
                    </a:lnTo>
                    <a:lnTo>
                      <a:pt x="107" y="46"/>
                    </a:lnTo>
                    <a:lnTo>
                      <a:pt x="109" y="48"/>
                    </a:lnTo>
                    <a:lnTo>
                      <a:pt x="110" y="48"/>
                    </a:lnTo>
                    <a:lnTo>
                      <a:pt x="112" y="48"/>
                    </a:lnTo>
                    <a:lnTo>
                      <a:pt x="114" y="48"/>
                    </a:lnTo>
                    <a:lnTo>
                      <a:pt x="114" y="50"/>
                    </a:lnTo>
                    <a:lnTo>
                      <a:pt x="115" y="50"/>
                    </a:lnTo>
                    <a:lnTo>
                      <a:pt x="117" y="50"/>
                    </a:lnTo>
                    <a:lnTo>
                      <a:pt x="118" y="50"/>
                    </a:lnTo>
                    <a:lnTo>
                      <a:pt x="120" y="50"/>
                    </a:lnTo>
                    <a:lnTo>
                      <a:pt x="122" y="51"/>
                    </a:lnTo>
                    <a:lnTo>
                      <a:pt x="123" y="51"/>
                    </a:lnTo>
                    <a:lnTo>
                      <a:pt x="123" y="53"/>
                    </a:lnTo>
                    <a:lnTo>
                      <a:pt x="125" y="53"/>
                    </a:lnTo>
                    <a:lnTo>
                      <a:pt x="126" y="54"/>
                    </a:lnTo>
                    <a:lnTo>
                      <a:pt x="128" y="54"/>
                    </a:lnTo>
                    <a:lnTo>
                      <a:pt x="128" y="56"/>
                    </a:lnTo>
                    <a:lnTo>
                      <a:pt x="130" y="56"/>
                    </a:lnTo>
                    <a:lnTo>
                      <a:pt x="130" y="57"/>
                    </a:lnTo>
                    <a:lnTo>
                      <a:pt x="131" y="57"/>
                    </a:lnTo>
                    <a:lnTo>
                      <a:pt x="133" y="59"/>
                    </a:lnTo>
                    <a:lnTo>
                      <a:pt x="134" y="61"/>
                    </a:lnTo>
                    <a:lnTo>
                      <a:pt x="136" y="62"/>
                    </a:lnTo>
                    <a:lnTo>
                      <a:pt x="137" y="62"/>
                    </a:lnTo>
                    <a:lnTo>
                      <a:pt x="137" y="64"/>
                    </a:lnTo>
                    <a:lnTo>
                      <a:pt x="139" y="64"/>
                    </a:lnTo>
                    <a:lnTo>
                      <a:pt x="139" y="65"/>
                    </a:lnTo>
                    <a:lnTo>
                      <a:pt x="141" y="65"/>
                    </a:lnTo>
                    <a:lnTo>
                      <a:pt x="142" y="67"/>
                    </a:lnTo>
                    <a:lnTo>
                      <a:pt x="144" y="67"/>
                    </a:lnTo>
                    <a:lnTo>
                      <a:pt x="144" y="69"/>
                    </a:lnTo>
                    <a:lnTo>
                      <a:pt x="145" y="69"/>
                    </a:lnTo>
                    <a:lnTo>
                      <a:pt x="147" y="70"/>
                    </a:lnTo>
                    <a:lnTo>
                      <a:pt x="149" y="72"/>
                    </a:lnTo>
                    <a:lnTo>
                      <a:pt x="149" y="73"/>
                    </a:lnTo>
                    <a:lnTo>
                      <a:pt x="150" y="73"/>
                    </a:lnTo>
                    <a:lnTo>
                      <a:pt x="150" y="75"/>
                    </a:lnTo>
                    <a:lnTo>
                      <a:pt x="152" y="75"/>
                    </a:lnTo>
                    <a:lnTo>
                      <a:pt x="152" y="76"/>
                    </a:lnTo>
                    <a:lnTo>
                      <a:pt x="153" y="76"/>
                    </a:lnTo>
                    <a:lnTo>
                      <a:pt x="153" y="78"/>
                    </a:lnTo>
                    <a:lnTo>
                      <a:pt x="155" y="78"/>
                    </a:lnTo>
                    <a:lnTo>
                      <a:pt x="155" y="80"/>
                    </a:lnTo>
                    <a:lnTo>
                      <a:pt x="155" y="81"/>
                    </a:lnTo>
                    <a:lnTo>
                      <a:pt x="156" y="81"/>
                    </a:lnTo>
                    <a:lnTo>
                      <a:pt x="158" y="83"/>
                    </a:lnTo>
                    <a:lnTo>
                      <a:pt x="158" y="84"/>
                    </a:lnTo>
                    <a:lnTo>
                      <a:pt x="160" y="84"/>
                    </a:lnTo>
                    <a:lnTo>
                      <a:pt x="160" y="86"/>
                    </a:lnTo>
                    <a:lnTo>
                      <a:pt x="161" y="86"/>
                    </a:lnTo>
                    <a:lnTo>
                      <a:pt x="161" y="88"/>
                    </a:lnTo>
                    <a:lnTo>
                      <a:pt x="163" y="88"/>
                    </a:lnTo>
                    <a:lnTo>
                      <a:pt x="164" y="88"/>
                    </a:lnTo>
                    <a:lnTo>
                      <a:pt x="164" y="89"/>
                    </a:lnTo>
                    <a:lnTo>
                      <a:pt x="166" y="89"/>
                    </a:lnTo>
                    <a:lnTo>
                      <a:pt x="168" y="91"/>
                    </a:lnTo>
                    <a:lnTo>
                      <a:pt x="169" y="91"/>
                    </a:lnTo>
                    <a:lnTo>
                      <a:pt x="169" y="92"/>
                    </a:lnTo>
                    <a:lnTo>
                      <a:pt x="171" y="92"/>
                    </a:lnTo>
                    <a:lnTo>
                      <a:pt x="172" y="92"/>
                    </a:lnTo>
                    <a:lnTo>
                      <a:pt x="174" y="92"/>
                    </a:lnTo>
                    <a:lnTo>
                      <a:pt x="175" y="94"/>
                    </a:lnTo>
                    <a:lnTo>
                      <a:pt x="177" y="95"/>
                    </a:lnTo>
                    <a:lnTo>
                      <a:pt x="179" y="97"/>
                    </a:lnTo>
                    <a:lnTo>
                      <a:pt x="180" y="99"/>
                    </a:lnTo>
                    <a:lnTo>
                      <a:pt x="182" y="100"/>
                    </a:lnTo>
                    <a:lnTo>
                      <a:pt x="183" y="102"/>
                    </a:lnTo>
                    <a:lnTo>
                      <a:pt x="185" y="102"/>
                    </a:lnTo>
                    <a:lnTo>
                      <a:pt x="185" y="103"/>
                    </a:lnTo>
                    <a:lnTo>
                      <a:pt x="187" y="103"/>
                    </a:lnTo>
                    <a:lnTo>
                      <a:pt x="188" y="105"/>
                    </a:lnTo>
                    <a:lnTo>
                      <a:pt x="190" y="107"/>
                    </a:lnTo>
                    <a:lnTo>
                      <a:pt x="191" y="107"/>
                    </a:lnTo>
                    <a:lnTo>
                      <a:pt x="191" y="108"/>
                    </a:lnTo>
                    <a:lnTo>
                      <a:pt x="193" y="108"/>
                    </a:lnTo>
                    <a:lnTo>
                      <a:pt x="193" y="110"/>
                    </a:lnTo>
                    <a:lnTo>
                      <a:pt x="193" y="111"/>
                    </a:lnTo>
                    <a:lnTo>
                      <a:pt x="194" y="111"/>
                    </a:lnTo>
                    <a:lnTo>
                      <a:pt x="194" y="113"/>
                    </a:lnTo>
                    <a:lnTo>
                      <a:pt x="196" y="113"/>
                    </a:lnTo>
                    <a:lnTo>
                      <a:pt x="196" y="115"/>
                    </a:lnTo>
                    <a:lnTo>
                      <a:pt x="198" y="115"/>
                    </a:lnTo>
                    <a:lnTo>
                      <a:pt x="199" y="115"/>
                    </a:lnTo>
                    <a:lnTo>
                      <a:pt x="201" y="115"/>
                    </a:lnTo>
                    <a:lnTo>
                      <a:pt x="201" y="116"/>
                    </a:lnTo>
                    <a:lnTo>
                      <a:pt x="202" y="115"/>
                    </a:lnTo>
                    <a:lnTo>
                      <a:pt x="202" y="116"/>
                    </a:lnTo>
                    <a:lnTo>
                      <a:pt x="202" y="118"/>
                    </a:lnTo>
                    <a:lnTo>
                      <a:pt x="202" y="119"/>
                    </a:lnTo>
                    <a:lnTo>
                      <a:pt x="202" y="121"/>
                    </a:lnTo>
                    <a:lnTo>
                      <a:pt x="202" y="122"/>
                    </a:lnTo>
                    <a:lnTo>
                      <a:pt x="202" y="124"/>
                    </a:lnTo>
                    <a:lnTo>
                      <a:pt x="204" y="124"/>
                    </a:lnTo>
                    <a:lnTo>
                      <a:pt x="204" y="126"/>
                    </a:lnTo>
                    <a:lnTo>
                      <a:pt x="204" y="127"/>
                    </a:lnTo>
                    <a:lnTo>
                      <a:pt x="204" y="129"/>
                    </a:lnTo>
                    <a:lnTo>
                      <a:pt x="206" y="130"/>
                    </a:lnTo>
                    <a:lnTo>
                      <a:pt x="206" y="132"/>
                    </a:lnTo>
                    <a:lnTo>
                      <a:pt x="206" y="134"/>
                    </a:lnTo>
                    <a:lnTo>
                      <a:pt x="207" y="135"/>
                    </a:lnTo>
                    <a:lnTo>
                      <a:pt x="207" y="137"/>
                    </a:lnTo>
                    <a:lnTo>
                      <a:pt x="207" y="138"/>
                    </a:lnTo>
                    <a:lnTo>
                      <a:pt x="209" y="140"/>
                    </a:lnTo>
                    <a:lnTo>
                      <a:pt x="209" y="141"/>
                    </a:lnTo>
                    <a:lnTo>
                      <a:pt x="209" y="143"/>
                    </a:lnTo>
                    <a:lnTo>
                      <a:pt x="209" y="145"/>
                    </a:lnTo>
                    <a:lnTo>
                      <a:pt x="207" y="145"/>
                    </a:lnTo>
                    <a:lnTo>
                      <a:pt x="207" y="146"/>
                    </a:lnTo>
                    <a:lnTo>
                      <a:pt x="206" y="148"/>
                    </a:lnTo>
                    <a:lnTo>
                      <a:pt x="206" y="149"/>
                    </a:lnTo>
                    <a:lnTo>
                      <a:pt x="206" y="151"/>
                    </a:lnTo>
                    <a:lnTo>
                      <a:pt x="206" y="153"/>
                    </a:lnTo>
                    <a:lnTo>
                      <a:pt x="204" y="154"/>
                    </a:lnTo>
                    <a:lnTo>
                      <a:pt x="204" y="156"/>
                    </a:lnTo>
                    <a:lnTo>
                      <a:pt x="204" y="157"/>
                    </a:lnTo>
                    <a:lnTo>
                      <a:pt x="204" y="159"/>
                    </a:lnTo>
                    <a:lnTo>
                      <a:pt x="206" y="159"/>
                    </a:lnTo>
                    <a:lnTo>
                      <a:pt x="207" y="160"/>
                    </a:lnTo>
                    <a:lnTo>
                      <a:pt x="209" y="160"/>
                    </a:lnTo>
                    <a:lnTo>
                      <a:pt x="210" y="160"/>
                    </a:lnTo>
                    <a:lnTo>
                      <a:pt x="210" y="162"/>
                    </a:lnTo>
                    <a:lnTo>
                      <a:pt x="212" y="162"/>
                    </a:lnTo>
                    <a:lnTo>
                      <a:pt x="213" y="160"/>
                    </a:lnTo>
                    <a:lnTo>
                      <a:pt x="215" y="160"/>
                    </a:lnTo>
                    <a:lnTo>
                      <a:pt x="217" y="160"/>
                    </a:lnTo>
                    <a:lnTo>
                      <a:pt x="217" y="162"/>
                    </a:lnTo>
                    <a:lnTo>
                      <a:pt x="218" y="162"/>
                    </a:lnTo>
                    <a:lnTo>
                      <a:pt x="220" y="162"/>
                    </a:lnTo>
                    <a:lnTo>
                      <a:pt x="221" y="162"/>
                    </a:lnTo>
                    <a:lnTo>
                      <a:pt x="223" y="162"/>
                    </a:lnTo>
                    <a:lnTo>
                      <a:pt x="223" y="160"/>
                    </a:lnTo>
                    <a:lnTo>
                      <a:pt x="225" y="160"/>
                    </a:lnTo>
                    <a:lnTo>
                      <a:pt x="226" y="160"/>
                    </a:lnTo>
                    <a:lnTo>
                      <a:pt x="228" y="160"/>
                    </a:lnTo>
                    <a:lnTo>
                      <a:pt x="229" y="160"/>
                    </a:lnTo>
                    <a:lnTo>
                      <a:pt x="231" y="160"/>
                    </a:lnTo>
                    <a:lnTo>
                      <a:pt x="232" y="160"/>
                    </a:lnTo>
                    <a:lnTo>
                      <a:pt x="234" y="160"/>
                    </a:lnTo>
                    <a:lnTo>
                      <a:pt x="236" y="160"/>
                    </a:lnTo>
                    <a:lnTo>
                      <a:pt x="237" y="160"/>
                    </a:lnTo>
                    <a:lnTo>
                      <a:pt x="239" y="160"/>
                    </a:lnTo>
                    <a:lnTo>
                      <a:pt x="239" y="159"/>
                    </a:lnTo>
                    <a:lnTo>
                      <a:pt x="240" y="159"/>
                    </a:lnTo>
                    <a:lnTo>
                      <a:pt x="240" y="157"/>
                    </a:lnTo>
                    <a:lnTo>
                      <a:pt x="242" y="157"/>
                    </a:lnTo>
                    <a:lnTo>
                      <a:pt x="242" y="156"/>
                    </a:lnTo>
                    <a:lnTo>
                      <a:pt x="244" y="156"/>
                    </a:lnTo>
                    <a:lnTo>
                      <a:pt x="244" y="154"/>
                    </a:lnTo>
                    <a:lnTo>
                      <a:pt x="244" y="153"/>
                    </a:lnTo>
                    <a:lnTo>
                      <a:pt x="245" y="151"/>
                    </a:lnTo>
                    <a:lnTo>
                      <a:pt x="245" y="149"/>
                    </a:lnTo>
                    <a:lnTo>
                      <a:pt x="245" y="148"/>
                    </a:lnTo>
                    <a:lnTo>
                      <a:pt x="247" y="148"/>
                    </a:lnTo>
                    <a:lnTo>
                      <a:pt x="247" y="146"/>
                    </a:lnTo>
                    <a:lnTo>
                      <a:pt x="247" y="145"/>
                    </a:lnTo>
                    <a:lnTo>
                      <a:pt x="248" y="145"/>
                    </a:lnTo>
                    <a:lnTo>
                      <a:pt x="248" y="143"/>
                    </a:lnTo>
                    <a:lnTo>
                      <a:pt x="250" y="141"/>
                    </a:lnTo>
                    <a:lnTo>
                      <a:pt x="251" y="140"/>
                    </a:lnTo>
                    <a:lnTo>
                      <a:pt x="251" y="138"/>
                    </a:lnTo>
                    <a:lnTo>
                      <a:pt x="251" y="137"/>
                    </a:lnTo>
                    <a:lnTo>
                      <a:pt x="251" y="135"/>
                    </a:lnTo>
                    <a:lnTo>
                      <a:pt x="251" y="134"/>
                    </a:lnTo>
                    <a:lnTo>
                      <a:pt x="251" y="132"/>
                    </a:lnTo>
                    <a:lnTo>
                      <a:pt x="251" y="130"/>
                    </a:lnTo>
                    <a:lnTo>
                      <a:pt x="253" y="130"/>
                    </a:lnTo>
                    <a:lnTo>
                      <a:pt x="253" y="129"/>
                    </a:lnTo>
                    <a:lnTo>
                      <a:pt x="253" y="127"/>
                    </a:lnTo>
                    <a:lnTo>
                      <a:pt x="253" y="126"/>
                    </a:lnTo>
                    <a:lnTo>
                      <a:pt x="255" y="126"/>
                    </a:lnTo>
                    <a:lnTo>
                      <a:pt x="255" y="124"/>
                    </a:lnTo>
                    <a:lnTo>
                      <a:pt x="256" y="124"/>
                    </a:lnTo>
                    <a:lnTo>
                      <a:pt x="258" y="122"/>
                    </a:lnTo>
                    <a:lnTo>
                      <a:pt x="259" y="121"/>
                    </a:lnTo>
                    <a:lnTo>
                      <a:pt x="261" y="119"/>
                    </a:lnTo>
                    <a:lnTo>
                      <a:pt x="263" y="119"/>
                    </a:lnTo>
                    <a:lnTo>
                      <a:pt x="264" y="118"/>
                    </a:lnTo>
                    <a:lnTo>
                      <a:pt x="266" y="118"/>
                    </a:lnTo>
                    <a:lnTo>
                      <a:pt x="267" y="118"/>
                    </a:lnTo>
                    <a:lnTo>
                      <a:pt x="267" y="116"/>
                    </a:lnTo>
                    <a:lnTo>
                      <a:pt x="269" y="116"/>
                    </a:lnTo>
                    <a:lnTo>
                      <a:pt x="270" y="116"/>
                    </a:lnTo>
                    <a:lnTo>
                      <a:pt x="272" y="116"/>
                    </a:lnTo>
                    <a:lnTo>
                      <a:pt x="274" y="116"/>
                    </a:lnTo>
                    <a:lnTo>
                      <a:pt x="275" y="118"/>
                    </a:lnTo>
                    <a:lnTo>
                      <a:pt x="277" y="118"/>
                    </a:lnTo>
                    <a:lnTo>
                      <a:pt x="278" y="118"/>
                    </a:lnTo>
                    <a:lnTo>
                      <a:pt x="280" y="118"/>
                    </a:lnTo>
                    <a:lnTo>
                      <a:pt x="282" y="118"/>
                    </a:lnTo>
                    <a:lnTo>
                      <a:pt x="282" y="116"/>
                    </a:lnTo>
                    <a:lnTo>
                      <a:pt x="283" y="116"/>
                    </a:lnTo>
                    <a:lnTo>
                      <a:pt x="285" y="116"/>
                    </a:lnTo>
                    <a:lnTo>
                      <a:pt x="286" y="116"/>
                    </a:lnTo>
                    <a:lnTo>
                      <a:pt x="288" y="116"/>
                    </a:lnTo>
                    <a:lnTo>
                      <a:pt x="289" y="121"/>
                    </a:lnTo>
                    <a:lnTo>
                      <a:pt x="289" y="122"/>
                    </a:lnTo>
                    <a:lnTo>
                      <a:pt x="297" y="124"/>
                    </a:lnTo>
                    <a:lnTo>
                      <a:pt x="310" y="121"/>
                    </a:lnTo>
                    <a:lnTo>
                      <a:pt x="313" y="121"/>
                    </a:lnTo>
                    <a:lnTo>
                      <a:pt x="316" y="119"/>
                    </a:lnTo>
                    <a:lnTo>
                      <a:pt x="323" y="118"/>
                    </a:lnTo>
                    <a:lnTo>
                      <a:pt x="334" y="115"/>
                    </a:lnTo>
                    <a:lnTo>
                      <a:pt x="348" y="110"/>
                    </a:lnTo>
                    <a:lnTo>
                      <a:pt x="356" y="107"/>
                    </a:lnTo>
                    <a:lnTo>
                      <a:pt x="362" y="105"/>
                    </a:lnTo>
                    <a:lnTo>
                      <a:pt x="375" y="102"/>
                    </a:lnTo>
                    <a:lnTo>
                      <a:pt x="383" y="100"/>
                    </a:lnTo>
                    <a:lnTo>
                      <a:pt x="389" y="99"/>
                    </a:lnTo>
                    <a:lnTo>
                      <a:pt x="404" y="95"/>
                    </a:lnTo>
                    <a:lnTo>
                      <a:pt x="405" y="95"/>
                    </a:lnTo>
                    <a:lnTo>
                      <a:pt x="430" y="91"/>
                    </a:lnTo>
                    <a:lnTo>
                      <a:pt x="437" y="91"/>
                    </a:lnTo>
                    <a:lnTo>
                      <a:pt x="440" y="91"/>
                    </a:lnTo>
                    <a:lnTo>
                      <a:pt x="442" y="92"/>
                    </a:lnTo>
                    <a:lnTo>
                      <a:pt x="445" y="94"/>
                    </a:lnTo>
                    <a:lnTo>
                      <a:pt x="446" y="97"/>
                    </a:lnTo>
                    <a:lnTo>
                      <a:pt x="446" y="100"/>
                    </a:lnTo>
                    <a:lnTo>
                      <a:pt x="448" y="102"/>
                    </a:lnTo>
                    <a:lnTo>
                      <a:pt x="449" y="102"/>
                    </a:lnTo>
                    <a:lnTo>
                      <a:pt x="448" y="102"/>
                    </a:lnTo>
                    <a:lnTo>
                      <a:pt x="448" y="103"/>
                    </a:lnTo>
                    <a:lnTo>
                      <a:pt x="448" y="105"/>
                    </a:lnTo>
                    <a:lnTo>
                      <a:pt x="448" y="107"/>
                    </a:lnTo>
                    <a:lnTo>
                      <a:pt x="449" y="107"/>
                    </a:lnTo>
                    <a:lnTo>
                      <a:pt x="449" y="108"/>
                    </a:lnTo>
                    <a:lnTo>
                      <a:pt x="451" y="108"/>
                    </a:lnTo>
                    <a:lnTo>
                      <a:pt x="451" y="110"/>
                    </a:lnTo>
                    <a:lnTo>
                      <a:pt x="451" y="111"/>
                    </a:lnTo>
                    <a:lnTo>
                      <a:pt x="453" y="111"/>
                    </a:lnTo>
                    <a:lnTo>
                      <a:pt x="453" y="113"/>
                    </a:lnTo>
                    <a:lnTo>
                      <a:pt x="453" y="115"/>
                    </a:lnTo>
                    <a:lnTo>
                      <a:pt x="454" y="115"/>
                    </a:lnTo>
                    <a:lnTo>
                      <a:pt x="454" y="116"/>
                    </a:lnTo>
                    <a:lnTo>
                      <a:pt x="454" y="118"/>
                    </a:lnTo>
                    <a:lnTo>
                      <a:pt x="456" y="118"/>
                    </a:lnTo>
                    <a:lnTo>
                      <a:pt x="456" y="119"/>
                    </a:lnTo>
                    <a:lnTo>
                      <a:pt x="457" y="119"/>
                    </a:lnTo>
                    <a:lnTo>
                      <a:pt x="457" y="121"/>
                    </a:lnTo>
                    <a:lnTo>
                      <a:pt x="459" y="121"/>
                    </a:lnTo>
                    <a:lnTo>
                      <a:pt x="461" y="121"/>
                    </a:lnTo>
                    <a:lnTo>
                      <a:pt x="461" y="122"/>
                    </a:lnTo>
                    <a:lnTo>
                      <a:pt x="461" y="121"/>
                    </a:lnTo>
                    <a:lnTo>
                      <a:pt x="462" y="121"/>
                    </a:lnTo>
                    <a:lnTo>
                      <a:pt x="461" y="121"/>
                    </a:lnTo>
                    <a:lnTo>
                      <a:pt x="461" y="122"/>
                    </a:lnTo>
                    <a:lnTo>
                      <a:pt x="462" y="122"/>
                    </a:lnTo>
                    <a:lnTo>
                      <a:pt x="462" y="121"/>
                    </a:lnTo>
                    <a:lnTo>
                      <a:pt x="462" y="122"/>
                    </a:lnTo>
                    <a:lnTo>
                      <a:pt x="462" y="124"/>
                    </a:lnTo>
                    <a:lnTo>
                      <a:pt x="461" y="124"/>
                    </a:lnTo>
                    <a:lnTo>
                      <a:pt x="461" y="126"/>
                    </a:lnTo>
                    <a:lnTo>
                      <a:pt x="459" y="126"/>
                    </a:lnTo>
                    <a:lnTo>
                      <a:pt x="461" y="126"/>
                    </a:lnTo>
                    <a:lnTo>
                      <a:pt x="461" y="127"/>
                    </a:lnTo>
                    <a:lnTo>
                      <a:pt x="459" y="127"/>
                    </a:lnTo>
                    <a:lnTo>
                      <a:pt x="459" y="129"/>
                    </a:lnTo>
                    <a:lnTo>
                      <a:pt x="459" y="130"/>
                    </a:lnTo>
                    <a:lnTo>
                      <a:pt x="457" y="130"/>
                    </a:lnTo>
                    <a:lnTo>
                      <a:pt x="459" y="130"/>
                    </a:lnTo>
                    <a:lnTo>
                      <a:pt x="459" y="132"/>
                    </a:lnTo>
                    <a:lnTo>
                      <a:pt x="459" y="134"/>
                    </a:lnTo>
                    <a:lnTo>
                      <a:pt x="461" y="134"/>
                    </a:lnTo>
                    <a:lnTo>
                      <a:pt x="461" y="135"/>
                    </a:lnTo>
                    <a:lnTo>
                      <a:pt x="461" y="134"/>
                    </a:lnTo>
                    <a:lnTo>
                      <a:pt x="461" y="135"/>
                    </a:lnTo>
                    <a:lnTo>
                      <a:pt x="459" y="135"/>
                    </a:lnTo>
                    <a:lnTo>
                      <a:pt x="457" y="135"/>
                    </a:lnTo>
                    <a:lnTo>
                      <a:pt x="457" y="137"/>
                    </a:lnTo>
                    <a:lnTo>
                      <a:pt x="459" y="137"/>
                    </a:lnTo>
                    <a:lnTo>
                      <a:pt x="459" y="135"/>
                    </a:lnTo>
                    <a:lnTo>
                      <a:pt x="459" y="137"/>
                    </a:lnTo>
                    <a:lnTo>
                      <a:pt x="461" y="137"/>
                    </a:lnTo>
                    <a:lnTo>
                      <a:pt x="462" y="137"/>
                    </a:lnTo>
                    <a:lnTo>
                      <a:pt x="462" y="138"/>
                    </a:lnTo>
                    <a:lnTo>
                      <a:pt x="462" y="140"/>
                    </a:lnTo>
                    <a:lnTo>
                      <a:pt x="461" y="140"/>
                    </a:lnTo>
                    <a:lnTo>
                      <a:pt x="459" y="140"/>
                    </a:lnTo>
                    <a:lnTo>
                      <a:pt x="459" y="141"/>
                    </a:lnTo>
                    <a:lnTo>
                      <a:pt x="457" y="141"/>
                    </a:lnTo>
                    <a:lnTo>
                      <a:pt x="457" y="143"/>
                    </a:lnTo>
                    <a:lnTo>
                      <a:pt x="457" y="145"/>
                    </a:lnTo>
                    <a:lnTo>
                      <a:pt x="456" y="145"/>
                    </a:lnTo>
                    <a:lnTo>
                      <a:pt x="456" y="146"/>
                    </a:lnTo>
                    <a:lnTo>
                      <a:pt x="456" y="148"/>
                    </a:lnTo>
                    <a:lnTo>
                      <a:pt x="456" y="149"/>
                    </a:lnTo>
                    <a:lnTo>
                      <a:pt x="456" y="151"/>
                    </a:lnTo>
                    <a:lnTo>
                      <a:pt x="457" y="151"/>
                    </a:lnTo>
                    <a:lnTo>
                      <a:pt x="457" y="153"/>
                    </a:lnTo>
                    <a:lnTo>
                      <a:pt x="457" y="154"/>
                    </a:lnTo>
                    <a:lnTo>
                      <a:pt x="457" y="156"/>
                    </a:lnTo>
                    <a:lnTo>
                      <a:pt x="457" y="157"/>
                    </a:lnTo>
                    <a:lnTo>
                      <a:pt x="457" y="159"/>
                    </a:lnTo>
                    <a:lnTo>
                      <a:pt x="459" y="159"/>
                    </a:lnTo>
                    <a:lnTo>
                      <a:pt x="459" y="160"/>
                    </a:lnTo>
                    <a:lnTo>
                      <a:pt x="459" y="162"/>
                    </a:lnTo>
                    <a:lnTo>
                      <a:pt x="457" y="162"/>
                    </a:lnTo>
                    <a:lnTo>
                      <a:pt x="457" y="164"/>
                    </a:lnTo>
                    <a:lnTo>
                      <a:pt x="457" y="165"/>
                    </a:lnTo>
                    <a:lnTo>
                      <a:pt x="457" y="167"/>
                    </a:lnTo>
                    <a:lnTo>
                      <a:pt x="459" y="167"/>
                    </a:lnTo>
                    <a:lnTo>
                      <a:pt x="459" y="168"/>
                    </a:lnTo>
                    <a:lnTo>
                      <a:pt x="461" y="168"/>
                    </a:lnTo>
                    <a:lnTo>
                      <a:pt x="462" y="168"/>
                    </a:lnTo>
                    <a:lnTo>
                      <a:pt x="462" y="170"/>
                    </a:lnTo>
                    <a:lnTo>
                      <a:pt x="461" y="170"/>
                    </a:lnTo>
                    <a:lnTo>
                      <a:pt x="462" y="170"/>
                    </a:lnTo>
                    <a:lnTo>
                      <a:pt x="462" y="172"/>
                    </a:lnTo>
                    <a:lnTo>
                      <a:pt x="462" y="170"/>
                    </a:lnTo>
                    <a:lnTo>
                      <a:pt x="462" y="172"/>
                    </a:lnTo>
                    <a:lnTo>
                      <a:pt x="464" y="172"/>
                    </a:lnTo>
                    <a:lnTo>
                      <a:pt x="465" y="172"/>
                    </a:lnTo>
                    <a:lnTo>
                      <a:pt x="465" y="173"/>
                    </a:lnTo>
                    <a:lnTo>
                      <a:pt x="465" y="175"/>
                    </a:lnTo>
                    <a:lnTo>
                      <a:pt x="465" y="176"/>
                    </a:lnTo>
                    <a:lnTo>
                      <a:pt x="464" y="176"/>
                    </a:lnTo>
                    <a:lnTo>
                      <a:pt x="465" y="176"/>
                    </a:lnTo>
                    <a:lnTo>
                      <a:pt x="465" y="178"/>
                    </a:lnTo>
                    <a:lnTo>
                      <a:pt x="465" y="176"/>
                    </a:lnTo>
                    <a:lnTo>
                      <a:pt x="467" y="176"/>
                    </a:lnTo>
                    <a:lnTo>
                      <a:pt x="467" y="178"/>
                    </a:lnTo>
                    <a:lnTo>
                      <a:pt x="468" y="178"/>
                    </a:lnTo>
                    <a:lnTo>
                      <a:pt x="468" y="176"/>
                    </a:lnTo>
                    <a:lnTo>
                      <a:pt x="470" y="176"/>
                    </a:lnTo>
                    <a:lnTo>
                      <a:pt x="470" y="178"/>
                    </a:lnTo>
                    <a:lnTo>
                      <a:pt x="472" y="178"/>
                    </a:lnTo>
                    <a:lnTo>
                      <a:pt x="473" y="178"/>
                    </a:lnTo>
                    <a:lnTo>
                      <a:pt x="472" y="178"/>
                    </a:lnTo>
                    <a:lnTo>
                      <a:pt x="472" y="179"/>
                    </a:lnTo>
                    <a:lnTo>
                      <a:pt x="472" y="181"/>
                    </a:lnTo>
                    <a:lnTo>
                      <a:pt x="472" y="183"/>
                    </a:lnTo>
                    <a:lnTo>
                      <a:pt x="473" y="183"/>
                    </a:lnTo>
                    <a:lnTo>
                      <a:pt x="473" y="184"/>
                    </a:lnTo>
                    <a:lnTo>
                      <a:pt x="472" y="184"/>
                    </a:lnTo>
                    <a:lnTo>
                      <a:pt x="472" y="186"/>
                    </a:lnTo>
                    <a:lnTo>
                      <a:pt x="472" y="184"/>
                    </a:lnTo>
                    <a:lnTo>
                      <a:pt x="473" y="184"/>
                    </a:lnTo>
                    <a:lnTo>
                      <a:pt x="475" y="184"/>
                    </a:lnTo>
                    <a:lnTo>
                      <a:pt x="475" y="186"/>
                    </a:lnTo>
                    <a:lnTo>
                      <a:pt x="475" y="187"/>
                    </a:lnTo>
                    <a:lnTo>
                      <a:pt x="473" y="187"/>
                    </a:lnTo>
                    <a:lnTo>
                      <a:pt x="472" y="187"/>
                    </a:lnTo>
                    <a:lnTo>
                      <a:pt x="472" y="189"/>
                    </a:lnTo>
                    <a:lnTo>
                      <a:pt x="473" y="189"/>
                    </a:lnTo>
                    <a:lnTo>
                      <a:pt x="475" y="189"/>
                    </a:lnTo>
                    <a:lnTo>
                      <a:pt x="475" y="191"/>
                    </a:lnTo>
                    <a:lnTo>
                      <a:pt x="475" y="192"/>
                    </a:lnTo>
                    <a:lnTo>
                      <a:pt x="476" y="192"/>
                    </a:lnTo>
                    <a:lnTo>
                      <a:pt x="476" y="194"/>
                    </a:lnTo>
                    <a:lnTo>
                      <a:pt x="476" y="195"/>
                    </a:lnTo>
                    <a:lnTo>
                      <a:pt x="476" y="197"/>
                    </a:lnTo>
                    <a:lnTo>
                      <a:pt x="478" y="197"/>
                    </a:lnTo>
                    <a:lnTo>
                      <a:pt x="478" y="198"/>
                    </a:lnTo>
                    <a:lnTo>
                      <a:pt x="478" y="200"/>
                    </a:lnTo>
                    <a:lnTo>
                      <a:pt x="480" y="200"/>
                    </a:lnTo>
                    <a:lnTo>
                      <a:pt x="480" y="202"/>
                    </a:lnTo>
                    <a:lnTo>
                      <a:pt x="480" y="203"/>
                    </a:lnTo>
                    <a:lnTo>
                      <a:pt x="480" y="205"/>
                    </a:lnTo>
                    <a:lnTo>
                      <a:pt x="480" y="206"/>
                    </a:lnTo>
                    <a:lnTo>
                      <a:pt x="480" y="208"/>
                    </a:lnTo>
                    <a:lnTo>
                      <a:pt x="480" y="210"/>
                    </a:lnTo>
                    <a:lnTo>
                      <a:pt x="480" y="211"/>
                    </a:lnTo>
                    <a:lnTo>
                      <a:pt x="478" y="211"/>
                    </a:lnTo>
                    <a:lnTo>
                      <a:pt x="478" y="213"/>
                    </a:lnTo>
                    <a:lnTo>
                      <a:pt x="478" y="214"/>
                    </a:lnTo>
                    <a:lnTo>
                      <a:pt x="478" y="216"/>
                    </a:lnTo>
                    <a:lnTo>
                      <a:pt x="478" y="217"/>
                    </a:lnTo>
                    <a:lnTo>
                      <a:pt x="476" y="217"/>
                    </a:lnTo>
                    <a:lnTo>
                      <a:pt x="476" y="219"/>
                    </a:lnTo>
                    <a:lnTo>
                      <a:pt x="478" y="219"/>
                    </a:lnTo>
                    <a:lnTo>
                      <a:pt x="478" y="221"/>
                    </a:lnTo>
                    <a:lnTo>
                      <a:pt x="478" y="222"/>
                    </a:lnTo>
                    <a:lnTo>
                      <a:pt x="478" y="224"/>
                    </a:lnTo>
                    <a:lnTo>
                      <a:pt x="478" y="225"/>
                    </a:lnTo>
                    <a:lnTo>
                      <a:pt x="480" y="225"/>
                    </a:lnTo>
                    <a:lnTo>
                      <a:pt x="480" y="227"/>
                    </a:lnTo>
                    <a:lnTo>
                      <a:pt x="480" y="229"/>
                    </a:lnTo>
                    <a:lnTo>
                      <a:pt x="481" y="229"/>
                    </a:lnTo>
                    <a:lnTo>
                      <a:pt x="481" y="230"/>
                    </a:lnTo>
                    <a:lnTo>
                      <a:pt x="483" y="230"/>
                    </a:lnTo>
                    <a:lnTo>
                      <a:pt x="483" y="232"/>
                    </a:lnTo>
                    <a:lnTo>
                      <a:pt x="481" y="232"/>
                    </a:lnTo>
                    <a:lnTo>
                      <a:pt x="481" y="233"/>
                    </a:lnTo>
                    <a:lnTo>
                      <a:pt x="480" y="233"/>
                    </a:lnTo>
                    <a:lnTo>
                      <a:pt x="480" y="235"/>
                    </a:lnTo>
                    <a:lnTo>
                      <a:pt x="478" y="235"/>
                    </a:lnTo>
                    <a:lnTo>
                      <a:pt x="480" y="235"/>
                    </a:lnTo>
                    <a:lnTo>
                      <a:pt x="480" y="233"/>
                    </a:lnTo>
                    <a:lnTo>
                      <a:pt x="481" y="233"/>
                    </a:lnTo>
                    <a:lnTo>
                      <a:pt x="483" y="233"/>
                    </a:lnTo>
                    <a:lnTo>
                      <a:pt x="483" y="235"/>
                    </a:lnTo>
                    <a:lnTo>
                      <a:pt x="484" y="235"/>
                    </a:lnTo>
                    <a:lnTo>
                      <a:pt x="484" y="233"/>
                    </a:lnTo>
                    <a:lnTo>
                      <a:pt x="486" y="233"/>
                    </a:lnTo>
                    <a:lnTo>
                      <a:pt x="487" y="233"/>
                    </a:lnTo>
                    <a:lnTo>
                      <a:pt x="487" y="235"/>
                    </a:lnTo>
                    <a:lnTo>
                      <a:pt x="489" y="235"/>
                    </a:lnTo>
                    <a:lnTo>
                      <a:pt x="489" y="236"/>
                    </a:lnTo>
                    <a:lnTo>
                      <a:pt x="489" y="238"/>
                    </a:lnTo>
                    <a:lnTo>
                      <a:pt x="491" y="238"/>
                    </a:lnTo>
                    <a:lnTo>
                      <a:pt x="491" y="240"/>
                    </a:lnTo>
                    <a:lnTo>
                      <a:pt x="492" y="240"/>
                    </a:lnTo>
                    <a:lnTo>
                      <a:pt x="494" y="240"/>
                    </a:lnTo>
                    <a:lnTo>
                      <a:pt x="494" y="241"/>
                    </a:lnTo>
                    <a:lnTo>
                      <a:pt x="495" y="241"/>
                    </a:lnTo>
                    <a:lnTo>
                      <a:pt x="495" y="243"/>
                    </a:lnTo>
                    <a:lnTo>
                      <a:pt x="495" y="241"/>
                    </a:lnTo>
                    <a:lnTo>
                      <a:pt x="497" y="241"/>
                    </a:lnTo>
                    <a:lnTo>
                      <a:pt x="499" y="241"/>
                    </a:lnTo>
                    <a:lnTo>
                      <a:pt x="499" y="240"/>
                    </a:lnTo>
                    <a:lnTo>
                      <a:pt x="500" y="240"/>
                    </a:lnTo>
                    <a:lnTo>
                      <a:pt x="502" y="240"/>
                    </a:lnTo>
                    <a:lnTo>
                      <a:pt x="502" y="241"/>
                    </a:lnTo>
                    <a:lnTo>
                      <a:pt x="503" y="241"/>
                    </a:lnTo>
                    <a:lnTo>
                      <a:pt x="503" y="243"/>
                    </a:lnTo>
                    <a:lnTo>
                      <a:pt x="505" y="243"/>
                    </a:lnTo>
                    <a:lnTo>
                      <a:pt x="505" y="244"/>
                    </a:lnTo>
                    <a:lnTo>
                      <a:pt x="505" y="246"/>
                    </a:lnTo>
                    <a:lnTo>
                      <a:pt x="505" y="248"/>
                    </a:lnTo>
                    <a:lnTo>
                      <a:pt x="505" y="249"/>
                    </a:lnTo>
                    <a:lnTo>
                      <a:pt x="507" y="249"/>
                    </a:lnTo>
                    <a:lnTo>
                      <a:pt x="507" y="251"/>
                    </a:lnTo>
                    <a:lnTo>
                      <a:pt x="507" y="252"/>
                    </a:lnTo>
                    <a:lnTo>
                      <a:pt x="507" y="254"/>
                    </a:lnTo>
                    <a:lnTo>
                      <a:pt x="508" y="254"/>
                    </a:lnTo>
                    <a:lnTo>
                      <a:pt x="507" y="254"/>
                    </a:lnTo>
                    <a:lnTo>
                      <a:pt x="508" y="254"/>
                    </a:lnTo>
                    <a:lnTo>
                      <a:pt x="508" y="255"/>
                    </a:lnTo>
                    <a:lnTo>
                      <a:pt x="508" y="257"/>
                    </a:lnTo>
                    <a:lnTo>
                      <a:pt x="507" y="257"/>
                    </a:lnTo>
                    <a:lnTo>
                      <a:pt x="508" y="257"/>
                    </a:lnTo>
                    <a:lnTo>
                      <a:pt x="508" y="259"/>
                    </a:lnTo>
                    <a:lnTo>
                      <a:pt x="510" y="259"/>
                    </a:lnTo>
                    <a:lnTo>
                      <a:pt x="510" y="260"/>
                    </a:lnTo>
                    <a:lnTo>
                      <a:pt x="511" y="260"/>
                    </a:lnTo>
                    <a:lnTo>
                      <a:pt x="511" y="262"/>
                    </a:lnTo>
                    <a:lnTo>
                      <a:pt x="511" y="263"/>
                    </a:lnTo>
                    <a:lnTo>
                      <a:pt x="511" y="262"/>
                    </a:lnTo>
                    <a:lnTo>
                      <a:pt x="511" y="263"/>
                    </a:lnTo>
                    <a:lnTo>
                      <a:pt x="511" y="265"/>
                    </a:lnTo>
                    <a:lnTo>
                      <a:pt x="513" y="265"/>
                    </a:lnTo>
                    <a:lnTo>
                      <a:pt x="513" y="267"/>
                    </a:lnTo>
                    <a:lnTo>
                      <a:pt x="513" y="265"/>
                    </a:lnTo>
                    <a:lnTo>
                      <a:pt x="514" y="265"/>
                    </a:lnTo>
                    <a:lnTo>
                      <a:pt x="514" y="267"/>
                    </a:lnTo>
                    <a:lnTo>
                      <a:pt x="516" y="267"/>
                    </a:lnTo>
                    <a:lnTo>
                      <a:pt x="516" y="268"/>
                    </a:lnTo>
                    <a:lnTo>
                      <a:pt x="516" y="267"/>
                    </a:lnTo>
                    <a:lnTo>
                      <a:pt x="516" y="268"/>
                    </a:lnTo>
                    <a:lnTo>
                      <a:pt x="518" y="268"/>
                    </a:lnTo>
                    <a:lnTo>
                      <a:pt x="519" y="268"/>
                    </a:lnTo>
                    <a:lnTo>
                      <a:pt x="519" y="267"/>
                    </a:lnTo>
                    <a:lnTo>
                      <a:pt x="521" y="267"/>
                    </a:lnTo>
                    <a:lnTo>
                      <a:pt x="521" y="265"/>
                    </a:lnTo>
                    <a:lnTo>
                      <a:pt x="521" y="263"/>
                    </a:lnTo>
                    <a:lnTo>
                      <a:pt x="522" y="263"/>
                    </a:lnTo>
                    <a:lnTo>
                      <a:pt x="522" y="265"/>
                    </a:lnTo>
                    <a:lnTo>
                      <a:pt x="522" y="263"/>
                    </a:lnTo>
                    <a:lnTo>
                      <a:pt x="522" y="265"/>
                    </a:lnTo>
                    <a:lnTo>
                      <a:pt x="522" y="267"/>
                    </a:lnTo>
                    <a:lnTo>
                      <a:pt x="524" y="267"/>
                    </a:lnTo>
                    <a:lnTo>
                      <a:pt x="524" y="268"/>
                    </a:lnTo>
                    <a:lnTo>
                      <a:pt x="522" y="268"/>
                    </a:lnTo>
                    <a:lnTo>
                      <a:pt x="522" y="270"/>
                    </a:lnTo>
                    <a:lnTo>
                      <a:pt x="524" y="270"/>
                    </a:lnTo>
                    <a:lnTo>
                      <a:pt x="524" y="271"/>
                    </a:lnTo>
                    <a:lnTo>
                      <a:pt x="524" y="273"/>
                    </a:lnTo>
                    <a:lnTo>
                      <a:pt x="524" y="274"/>
                    </a:lnTo>
                    <a:lnTo>
                      <a:pt x="524" y="276"/>
                    </a:lnTo>
                    <a:lnTo>
                      <a:pt x="526" y="276"/>
                    </a:lnTo>
                    <a:lnTo>
                      <a:pt x="526" y="278"/>
                    </a:lnTo>
                    <a:lnTo>
                      <a:pt x="526" y="279"/>
                    </a:lnTo>
                    <a:lnTo>
                      <a:pt x="527" y="279"/>
                    </a:lnTo>
                    <a:lnTo>
                      <a:pt x="527" y="281"/>
                    </a:lnTo>
                    <a:lnTo>
                      <a:pt x="527" y="282"/>
                    </a:lnTo>
                    <a:lnTo>
                      <a:pt x="527" y="284"/>
                    </a:lnTo>
                    <a:lnTo>
                      <a:pt x="529" y="284"/>
                    </a:lnTo>
                    <a:lnTo>
                      <a:pt x="529" y="286"/>
                    </a:lnTo>
                    <a:lnTo>
                      <a:pt x="529" y="287"/>
                    </a:lnTo>
                    <a:lnTo>
                      <a:pt x="529" y="289"/>
                    </a:lnTo>
                    <a:lnTo>
                      <a:pt x="529" y="290"/>
                    </a:lnTo>
                    <a:lnTo>
                      <a:pt x="529" y="292"/>
                    </a:lnTo>
                    <a:lnTo>
                      <a:pt x="530" y="292"/>
                    </a:lnTo>
                    <a:lnTo>
                      <a:pt x="530" y="294"/>
                    </a:lnTo>
                    <a:lnTo>
                      <a:pt x="532" y="294"/>
                    </a:lnTo>
                    <a:lnTo>
                      <a:pt x="533" y="294"/>
                    </a:lnTo>
                    <a:lnTo>
                      <a:pt x="533" y="295"/>
                    </a:lnTo>
                    <a:lnTo>
                      <a:pt x="535" y="295"/>
                    </a:lnTo>
                    <a:lnTo>
                      <a:pt x="535" y="297"/>
                    </a:lnTo>
                    <a:lnTo>
                      <a:pt x="537" y="297"/>
                    </a:lnTo>
                    <a:lnTo>
                      <a:pt x="537" y="295"/>
                    </a:lnTo>
                    <a:lnTo>
                      <a:pt x="537" y="297"/>
                    </a:lnTo>
                    <a:lnTo>
                      <a:pt x="538" y="297"/>
                    </a:lnTo>
                    <a:lnTo>
                      <a:pt x="540" y="297"/>
                    </a:lnTo>
                    <a:lnTo>
                      <a:pt x="541" y="297"/>
                    </a:lnTo>
                    <a:lnTo>
                      <a:pt x="541" y="298"/>
                    </a:lnTo>
                    <a:lnTo>
                      <a:pt x="541" y="300"/>
                    </a:lnTo>
                    <a:lnTo>
                      <a:pt x="541" y="301"/>
                    </a:lnTo>
                    <a:lnTo>
                      <a:pt x="543" y="301"/>
                    </a:lnTo>
                    <a:lnTo>
                      <a:pt x="543" y="303"/>
                    </a:lnTo>
                    <a:lnTo>
                      <a:pt x="541" y="303"/>
                    </a:lnTo>
                    <a:lnTo>
                      <a:pt x="540" y="303"/>
                    </a:lnTo>
                    <a:lnTo>
                      <a:pt x="540" y="301"/>
                    </a:lnTo>
                    <a:lnTo>
                      <a:pt x="540" y="303"/>
                    </a:lnTo>
                    <a:lnTo>
                      <a:pt x="538" y="303"/>
                    </a:lnTo>
                    <a:lnTo>
                      <a:pt x="537" y="303"/>
                    </a:lnTo>
                    <a:lnTo>
                      <a:pt x="535" y="303"/>
                    </a:lnTo>
                    <a:lnTo>
                      <a:pt x="533" y="303"/>
                    </a:lnTo>
                    <a:lnTo>
                      <a:pt x="533" y="305"/>
                    </a:lnTo>
                    <a:lnTo>
                      <a:pt x="532" y="305"/>
                    </a:lnTo>
                    <a:lnTo>
                      <a:pt x="532" y="303"/>
                    </a:lnTo>
                    <a:lnTo>
                      <a:pt x="530" y="303"/>
                    </a:lnTo>
                    <a:lnTo>
                      <a:pt x="530" y="301"/>
                    </a:lnTo>
                    <a:lnTo>
                      <a:pt x="530" y="303"/>
                    </a:lnTo>
                    <a:lnTo>
                      <a:pt x="529" y="303"/>
                    </a:lnTo>
                    <a:lnTo>
                      <a:pt x="529" y="305"/>
                    </a:lnTo>
                    <a:lnTo>
                      <a:pt x="529" y="306"/>
                    </a:lnTo>
                    <a:lnTo>
                      <a:pt x="529" y="308"/>
                    </a:lnTo>
                    <a:lnTo>
                      <a:pt x="527" y="308"/>
                    </a:lnTo>
                    <a:lnTo>
                      <a:pt x="526" y="308"/>
                    </a:lnTo>
                    <a:lnTo>
                      <a:pt x="524" y="308"/>
                    </a:lnTo>
                    <a:lnTo>
                      <a:pt x="524" y="309"/>
                    </a:lnTo>
                    <a:lnTo>
                      <a:pt x="522" y="309"/>
                    </a:lnTo>
                    <a:lnTo>
                      <a:pt x="521" y="309"/>
                    </a:lnTo>
                    <a:lnTo>
                      <a:pt x="519" y="309"/>
                    </a:lnTo>
                    <a:lnTo>
                      <a:pt x="519" y="311"/>
                    </a:lnTo>
                    <a:lnTo>
                      <a:pt x="518" y="311"/>
                    </a:lnTo>
                    <a:lnTo>
                      <a:pt x="518" y="313"/>
                    </a:lnTo>
                    <a:lnTo>
                      <a:pt x="518" y="314"/>
                    </a:lnTo>
                    <a:lnTo>
                      <a:pt x="518" y="316"/>
                    </a:lnTo>
                    <a:lnTo>
                      <a:pt x="518" y="317"/>
                    </a:lnTo>
                    <a:lnTo>
                      <a:pt x="518" y="319"/>
                    </a:lnTo>
                    <a:lnTo>
                      <a:pt x="519" y="319"/>
                    </a:lnTo>
                    <a:lnTo>
                      <a:pt x="519" y="320"/>
                    </a:lnTo>
                    <a:lnTo>
                      <a:pt x="519" y="322"/>
                    </a:lnTo>
                    <a:lnTo>
                      <a:pt x="519" y="324"/>
                    </a:lnTo>
                    <a:lnTo>
                      <a:pt x="519" y="325"/>
                    </a:lnTo>
                    <a:lnTo>
                      <a:pt x="521" y="325"/>
                    </a:lnTo>
                    <a:lnTo>
                      <a:pt x="521" y="327"/>
                    </a:lnTo>
                    <a:lnTo>
                      <a:pt x="522" y="327"/>
                    </a:lnTo>
                    <a:lnTo>
                      <a:pt x="524" y="327"/>
                    </a:lnTo>
                    <a:lnTo>
                      <a:pt x="524" y="328"/>
                    </a:lnTo>
                    <a:lnTo>
                      <a:pt x="524" y="330"/>
                    </a:lnTo>
                    <a:lnTo>
                      <a:pt x="524" y="332"/>
                    </a:lnTo>
                    <a:lnTo>
                      <a:pt x="524" y="333"/>
                    </a:lnTo>
                    <a:lnTo>
                      <a:pt x="524" y="335"/>
                    </a:lnTo>
                    <a:lnTo>
                      <a:pt x="524" y="336"/>
                    </a:lnTo>
                    <a:lnTo>
                      <a:pt x="526" y="336"/>
                    </a:lnTo>
                    <a:lnTo>
                      <a:pt x="524" y="336"/>
                    </a:lnTo>
                    <a:lnTo>
                      <a:pt x="526" y="336"/>
                    </a:lnTo>
                    <a:lnTo>
                      <a:pt x="526" y="338"/>
                    </a:lnTo>
                    <a:lnTo>
                      <a:pt x="524" y="338"/>
                    </a:lnTo>
                    <a:lnTo>
                      <a:pt x="524" y="339"/>
                    </a:lnTo>
                    <a:lnTo>
                      <a:pt x="524" y="341"/>
                    </a:lnTo>
                    <a:lnTo>
                      <a:pt x="524" y="343"/>
                    </a:lnTo>
                    <a:lnTo>
                      <a:pt x="522" y="343"/>
                    </a:lnTo>
                    <a:lnTo>
                      <a:pt x="522" y="344"/>
                    </a:lnTo>
                    <a:lnTo>
                      <a:pt x="521" y="344"/>
                    </a:lnTo>
                    <a:lnTo>
                      <a:pt x="521" y="343"/>
                    </a:lnTo>
                    <a:lnTo>
                      <a:pt x="521" y="344"/>
                    </a:lnTo>
                    <a:lnTo>
                      <a:pt x="522" y="344"/>
                    </a:lnTo>
                    <a:lnTo>
                      <a:pt x="524" y="344"/>
                    </a:lnTo>
                    <a:lnTo>
                      <a:pt x="526" y="344"/>
                    </a:lnTo>
                    <a:lnTo>
                      <a:pt x="527" y="344"/>
                    </a:lnTo>
                    <a:lnTo>
                      <a:pt x="527" y="346"/>
                    </a:lnTo>
                    <a:lnTo>
                      <a:pt x="527" y="347"/>
                    </a:lnTo>
                    <a:lnTo>
                      <a:pt x="527" y="349"/>
                    </a:lnTo>
                    <a:lnTo>
                      <a:pt x="526" y="349"/>
                    </a:lnTo>
                    <a:lnTo>
                      <a:pt x="524" y="349"/>
                    </a:lnTo>
                    <a:lnTo>
                      <a:pt x="522" y="349"/>
                    </a:lnTo>
                    <a:lnTo>
                      <a:pt x="522" y="351"/>
                    </a:lnTo>
                    <a:lnTo>
                      <a:pt x="522" y="352"/>
                    </a:lnTo>
                    <a:lnTo>
                      <a:pt x="521" y="352"/>
                    </a:lnTo>
                    <a:lnTo>
                      <a:pt x="521" y="351"/>
                    </a:lnTo>
                    <a:lnTo>
                      <a:pt x="521" y="352"/>
                    </a:lnTo>
                    <a:lnTo>
                      <a:pt x="519" y="352"/>
                    </a:lnTo>
                    <a:lnTo>
                      <a:pt x="519" y="354"/>
                    </a:lnTo>
                    <a:lnTo>
                      <a:pt x="518" y="354"/>
                    </a:lnTo>
                    <a:lnTo>
                      <a:pt x="518" y="355"/>
                    </a:lnTo>
                    <a:lnTo>
                      <a:pt x="518" y="357"/>
                    </a:lnTo>
                    <a:lnTo>
                      <a:pt x="519" y="357"/>
                    </a:lnTo>
                    <a:lnTo>
                      <a:pt x="519" y="358"/>
                    </a:lnTo>
                    <a:lnTo>
                      <a:pt x="519" y="357"/>
                    </a:lnTo>
                    <a:lnTo>
                      <a:pt x="521" y="357"/>
                    </a:lnTo>
                    <a:lnTo>
                      <a:pt x="521" y="358"/>
                    </a:lnTo>
                    <a:lnTo>
                      <a:pt x="522" y="358"/>
                    </a:lnTo>
                    <a:lnTo>
                      <a:pt x="524" y="358"/>
                    </a:lnTo>
                    <a:lnTo>
                      <a:pt x="526" y="358"/>
                    </a:lnTo>
                    <a:lnTo>
                      <a:pt x="524" y="358"/>
                    </a:lnTo>
                    <a:lnTo>
                      <a:pt x="524" y="360"/>
                    </a:lnTo>
                    <a:lnTo>
                      <a:pt x="524" y="362"/>
                    </a:lnTo>
                    <a:lnTo>
                      <a:pt x="524" y="360"/>
                    </a:lnTo>
                    <a:lnTo>
                      <a:pt x="526" y="360"/>
                    </a:lnTo>
                    <a:lnTo>
                      <a:pt x="526" y="358"/>
                    </a:lnTo>
                    <a:lnTo>
                      <a:pt x="526" y="360"/>
                    </a:lnTo>
                    <a:lnTo>
                      <a:pt x="527" y="360"/>
                    </a:lnTo>
                    <a:lnTo>
                      <a:pt x="527" y="362"/>
                    </a:lnTo>
                    <a:lnTo>
                      <a:pt x="529" y="362"/>
                    </a:lnTo>
                    <a:lnTo>
                      <a:pt x="529" y="363"/>
                    </a:lnTo>
                    <a:lnTo>
                      <a:pt x="530" y="363"/>
                    </a:lnTo>
                    <a:lnTo>
                      <a:pt x="532" y="363"/>
                    </a:lnTo>
                    <a:lnTo>
                      <a:pt x="532" y="362"/>
                    </a:lnTo>
                    <a:lnTo>
                      <a:pt x="532" y="360"/>
                    </a:lnTo>
                    <a:lnTo>
                      <a:pt x="532" y="358"/>
                    </a:lnTo>
                    <a:lnTo>
                      <a:pt x="533" y="358"/>
                    </a:lnTo>
                    <a:lnTo>
                      <a:pt x="535" y="358"/>
                    </a:lnTo>
                    <a:lnTo>
                      <a:pt x="533" y="358"/>
                    </a:lnTo>
                    <a:lnTo>
                      <a:pt x="535" y="358"/>
                    </a:lnTo>
                    <a:lnTo>
                      <a:pt x="535" y="360"/>
                    </a:lnTo>
                    <a:lnTo>
                      <a:pt x="535" y="358"/>
                    </a:lnTo>
                    <a:lnTo>
                      <a:pt x="535" y="360"/>
                    </a:lnTo>
                    <a:lnTo>
                      <a:pt x="537" y="360"/>
                    </a:lnTo>
                    <a:lnTo>
                      <a:pt x="538" y="360"/>
                    </a:lnTo>
                    <a:lnTo>
                      <a:pt x="538" y="358"/>
                    </a:lnTo>
                    <a:lnTo>
                      <a:pt x="538" y="357"/>
                    </a:lnTo>
                    <a:lnTo>
                      <a:pt x="540" y="357"/>
                    </a:lnTo>
                    <a:lnTo>
                      <a:pt x="540" y="355"/>
                    </a:lnTo>
                    <a:lnTo>
                      <a:pt x="538" y="355"/>
                    </a:lnTo>
                    <a:lnTo>
                      <a:pt x="540" y="355"/>
                    </a:lnTo>
                    <a:lnTo>
                      <a:pt x="541" y="355"/>
                    </a:lnTo>
                    <a:lnTo>
                      <a:pt x="541" y="357"/>
                    </a:lnTo>
                    <a:lnTo>
                      <a:pt x="543" y="357"/>
                    </a:lnTo>
                    <a:lnTo>
                      <a:pt x="545" y="357"/>
                    </a:lnTo>
                    <a:lnTo>
                      <a:pt x="546" y="357"/>
                    </a:lnTo>
                    <a:lnTo>
                      <a:pt x="546" y="358"/>
                    </a:lnTo>
                    <a:lnTo>
                      <a:pt x="548" y="358"/>
                    </a:lnTo>
                    <a:lnTo>
                      <a:pt x="548" y="360"/>
                    </a:lnTo>
                    <a:lnTo>
                      <a:pt x="549" y="360"/>
                    </a:lnTo>
                    <a:lnTo>
                      <a:pt x="549" y="362"/>
                    </a:lnTo>
                    <a:lnTo>
                      <a:pt x="551" y="362"/>
                    </a:lnTo>
                    <a:lnTo>
                      <a:pt x="551" y="363"/>
                    </a:lnTo>
                    <a:lnTo>
                      <a:pt x="551" y="365"/>
                    </a:lnTo>
                    <a:lnTo>
                      <a:pt x="552" y="365"/>
                    </a:lnTo>
                    <a:lnTo>
                      <a:pt x="552" y="366"/>
                    </a:lnTo>
                    <a:lnTo>
                      <a:pt x="552" y="368"/>
                    </a:lnTo>
                    <a:lnTo>
                      <a:pt x="554" y="368"/>
                    </a:lnTo>
                    <a:lnTo>
                      <a:pt x="554" y="370"/>
                    </a:lnTo>
                    <a:lnTo>
                      <a:pt x="556" y="370"/>
                    </a:lnTo>
                    <a:lnTo>
                      <a:pt x="556" y="371"/>
                    </a:lnTo>
                    <a:lnTo>
                      <a:pt x="556" y="373"/>
                    </a:lnTo>
                    <a:lnTo>
                      <a:pt x="557" y="373"/>
                    </a:lnTo>
                    <a:lnTo>
                      <a:pt x="557" y="374"/>
                    </a:lnTo>
                    <a:lnTo>
                      <a:pt x="557" y="373"/>
                    </a:lnTo>
                    <a:lnTo>
                      <a:pt x="556" y="373"/>
                    </a:lnTo>
                    <a:lnTo>
                      <a:pt x="556" y="371"/>
                    </a:lnTo>
                    <a:lnTo>
                      <a:pt x="556" y="370"/>
                    </a:lnTo>
                    <a:lnTo>
                      <a:pt x="554" y="370"/>
                    </a:lnTo>
                    <a:lnTo>
                      <a:pt x="554" y="368"/>
                    </a:lnTo>
                    <a:lnTo>
                      <a:pt x="554" y="366"/>
                    </a:lnTo>
                    <a:lnTo>
                      <a:pt x="554" y="365"/>
                    </a:lnTo>
                    <a:lnTo>
                      <a:pt x="554" y="363"/>
                    </a:lnTo>
                    <a:lnTo>
                      <a:pt x="556" y="363"/>
                    </a:lnTo>
                    <a:lnTo>
                      <a:pt x="556" y="362"/>
                    </a:lnTo>
                    <a:lnTo>
                      <a:pt x="556" y="360"/>
                    </a:lnTo>
                    <a:lnTo>
                      <a:pt x="556" y="358"/>
                    </a:lnTo>
                    <a:lnTo>
                      <a:pt x="554" y="358"/>
                    </a:lnTo>
                    <a:lnTo>
                      <a:pt x="554" y="357"/>
                    </a:lnTo>
                    <a:lnTo>
                      <a:pt x="552" y="357"/>
                    </a:lnTo>
                    <a:lnTo>
                      <a:pt x="551" y="357"/>
                    </a:lnTo>
                    <a:lnTo>
                      <a:pt x="549" y="357"/>
                    </a:lnTo>
                    <a:lnTo>
                      <a:pt x="549" y="355"/>
                    </a:lnTo>
                    <a:lnTo>
                      <a:pt x="551" y="355"/>
                    </a:lnTo>
                    <a:lnTo>
                      <a:pt x="549" y="355"/>
                    </a:lnTo>
                    <a:lnTo>
                      <a:pt x="548" y="355"/>
                    </a:lnTo>
                    <a:lnTo>
                      <a:pt x="548" y="354"/>
                    </a:lnTo>
                    <a:lnTo>
                      <a:pt x="548" y="355"/>
                    </a:lnTo>
                    <a:lnTo>
                      <a:pt x="548" y="354"/>
                    </a:lnTo>
                    <a:lnTo>
                      <a:pt x="548" y="355"/>
                    </a:lnTo>
                    <a:lnTo>
                      <a:pt x="548" y="354"/>
                    </a:lnTo>
                    <a:lnTo>
                      <a:pt x="548" y="352"/>
                    </a:lnTo>
                    <a:lnTo>
                      <a:pt x="548" y="354"/>
                    </a:lnTo>
                    <a:lnTo>
                      <a:pt x="546" y="354"/>
                    </a:lnTo>
                    <a:lnTo>
                      <a:pt x="546" y="355"/>
                    </a:lnTo>
                    <a:lnTo>
                      <a:pt x="546" y="354"/>
                    </a:lnTo>
                    <a:lnTo>
                      <a:pt x="545" y="354"/>
                    </a:lnTo>
                    <a:lnTo>
                      <a:pt x="545" y="355"/>
                    </a:lnTo>
                    <a:lnTo>
                      <a:pt x="543" y="355"/>
                    </a:lnTo>
                    <a:lnTo>
                      <a:pt x="543" y="354"/>
                    </a:lnTo>
                    <a:lnTo>
                      <a:pt x="541" y="354"/>
                    </a:lnTo>
                    <a:lnTo>
                      <a:pt x="541" y="352"/>
                    </a:lnTo>
                    <a:lnTo>
                      <a:pt x="541" y="351"/>
                    </a:lnTo>
                    <a:lnTo>
                      <a:pt x="541" y="349"/>
                    </a:lnTo>
                    <a:lnTo>
                      <a:pt x="541" y="347"/>
                    </a:lnTo>
                    <a:lnTo>
                      <a:pt x="540" y="347"/>
                    </a:lnTo>
                    <a:lnTo>
                      <a:pt x="541" y="347"/>
                    </a:lnTo>
                    <a:lnTo>
                      <a:pt x="540" y="347"/>
                    </a:lnTo>
                    <a:lnTo>
                      <a:pt x="540" y="346"/>
                    </a:lnTo>
                    <a:lnTo>
                      <a:pt x="540" y="344"/>
                    </a:lnTo>
                    <a:lnTo>
                      <a:pt x="541" y="344"/>
                    </a:lnTo>
                    <a:lnTo>
                      <a:pt x="543" y="344"/>
                    </a:lnTo>
                    <a:lnTo>
                      <a:pt x="541" y="344"/>
                    </a:lnTo>
                    <a:lnTo>
                      <a:pt x="541" y="343"/>
                    </a:lnTo>
                    <a:lnTo>
                      <a:pt x="543" y="343"/>
                    </a:lnTo>
                    <a:lnTo>
                      <a:pt x="541" y="343"/>
                    </a:lnTo>
                    <a:lnTo>
                      <a:pt x="541" y="341"/>
                    </a:lnTo>
                    <a:lnTo>
                      <a:pt x="541" y="339"/>
                    </a:lnTo>
                    <a:lnTo>
                      <a:pt x="540" y="339"/>
                    </a:lnTo>
                    <a:lnTo>
                      <a:pt x="540" y="338"/>
                    </a:lnTo>
                    <a:lnTo>
                      <a:pt x="540" y="336"/>
                    </a:lnTo>
                    <a:lnTo>
                      <a:pt x="540" y="335"/>
                    </a:lnTo>
                    <a:lnTo>
                      <a:pt x="541" y="335"/>
                    </a:lnTo>
                    <a:lnTo>
                      <a:pt x="541" y="336"/>
                    </a:lnTo>
                    <a:lnTo>
                      <a:pt x="543" y="336"/>
                    </a:lnTo>
                    <a:lnTo>
                      <a:pt x="545" y="336"/>
                    </a:lnTo>
                    <a:lnTo>
                      <a:pt x="546" y="336"/>
                    </a:lnTo>
                    <a:lnTo>
                      <a:pt x="546" y="338"/>
                    </a:lnTo>
                    <a:lnTo>
                      <a:pt x="548" y="338"/>
                    </a:lnTo>
                    <a:lnTo>
                      <a:pt x="548" y="336"/>
                    </a:lnTo>
                    <a:lnTo>
                      <a:pt x="549" y="336"/>
                    </a:lnTo>
                    <a:lnTo>
                      <a:pt x="549" y="338"/>
                    </a:lnTo>
                    <a:lnTo>
                      <a:pt x="551" y="338"/>
                    </a:lnTo>
                    <a:lnTo>
                      <a:pt x="551" y="339"/>
                    </a:lnTo>
                    <a:lnTo>
                      <a:pt x="552" y="339"/>
                    </a:lnTo>
                    <a:lnTo>
                      <a:pt x="552" y="341"/>
                    </a:lnTo>
                    <a:lnTo>
                      <a:pt x="554" y="341"/>
                    </a:lnTo>
                    <a:lnTo>
                      <a:pt x="554" y="339"/>
                    </a:lnTo>
                    <a:lnTo>
                      <a:pt x="554" y="341"/>
                    </a:lnTo>
                    <a:lnTo>
                      <a:pt x="556" y="341"/>
                    </a:lnTo>
                    <a:lnTo>
                      <a:pt x="554" y="341"/>
                    </a:lnTo>
                    <a:lnTo>
                      <a:pt x="556" y="341"/>
                    </a:lnTo>
                    <a:lnTo>
                      <a:pt x="556" y="343"/>
                    </a:lnTo>
                    <a:lnTo>
                      <a:pt x="556" y="341"/>
                    </a:lnTo>
                    <a:lnTo>
                      <a:pt x="556" y="343"/>
                    </a:lnTo>
                    <a:lnTo>
                      <a:pt x="557" y="343"/>
                    </a:lnTo>
                    <a:lnTo>
                      <a:pt x="557" y="344"/>
                    </a:lnTo>
                    <a:lnTo>
                      <a:pt x="559" y="344"/>
                    </a:lnTo>
                    <a:lnTo>
                      <a:pt x="560" y="344"/>
                    </a:lnTo>
                    <a:lnTo>
                      <a:pt x="560" y="346"/>
                    </a:lnTo>
                    <a:lnTo>
                      <a:pt x="562" y="346"/>
                    </a:lnTo>
                    <a:lnTo>
                      <a:pt x="562" y="344"/>
                    </a:lnTo>
                    <a:lnTo>
                      <a:pt x="564" y="344"/>
                    </a:lnTo>
                    <a:lnTo>
                      <a:pt x="564" y="346"/>
                    </a:lnTo>
                    <a:lnTo>
                      <a:pt x="565" y="346"/>
                    </a:lnTo>
                    <a:lnTo>
                      <a:pt x="565" y="347"/>
                    </a:lnTo>
                    <a:lnTo>
                      <a:pt x="564" y="347"/>
                    </a:lnTo>
                    <a:lnTo>
                      <a:pt x="564" y="346"/>
                    </a:lnTo>
                    <a:lnTo>
                      <a:pt x="562" y="346"/>
                    </a:lnTo>
                    <a:lnTo>
                      <a:pt x="562" y="347"/>
                    </a:lnTo>
                    <a:lnTo>
                      <a:pt x="562" y="349"/>
                    </a:lnTo>
                    <a:lnTo>
                      <a:pt x="562" y="351"/>
                    </a:lnTo>
                    <a:lnTo>
                      <a:pt x="562" y="352"/>
                    </a:lnTo>
                    <a:lnTo>
                      <a:pt x="562" y="354"/>
                    </a:lnTo>
                    <a:lnTo>
                      <a:pt x="560" y="354"/>
                    </a:lnTo>
                    <a:lnTo>
                      <a:pt x="560" y="355"/>
                    </a:lnTo>
                    <a:lnTo>
                      <a:pt x="560" y="357"/>
                    </a:lnTo>
                    <a:lnTo>
                      <a:pt x="560" y="358"/>
                    </a:lnTo>
                    <a:lnTo>
                      <a:pt x="562" y="358"/>
                    </a:lnTo>
                    <a:lnTo>
                      <a:pt x="562" y="357"/>
                    </a:lnTo>
                    <a:lnTo>
                      <a:pt x="562" y="358"/>
                    </a:lnTo>
                    <a:lnTo>
                      <a:pt x="562" y="360"/>
                    </a:lnTo>
                    <a:lnTo>
                      <a:pt x="562" y="362"/>
                    </a:lnTo>
                    <a:lnTo>
                      <a:pt x="560" y="362"/>
                    </a:lnTo>
                    <a:lnTo>
                      <a:pt x="562" y="362"/>
                    </a:lnTo>
                    <a:lnTo>
                      <a:pt x="560" y="362"/>
                    </a:lnTo>
                    <a:lnTo>
                      <a:pt x="560" y="363"/>
                    </a:lnTo>
                    <a:lnTo>
                      <a:pt x="560" y="365"/>
                    </a:lnTo>
                    <a:lnTo>
                      <a:pt x="560" y="363"/>
                    </a:lnTo>
                    <a:lnTo>
                      <a:pt x="560" y="365"/>
                    </a:lnTo>
                    <a:lnTo>
                      <a:pt x="559" y="365"/>
                    </a:lnTo>
                    <a:lnTo>
                      <a:pt x="557" y="365"/>
                    </a:lnTo>
                    <a:lnTo>
                      <a:pt x="557" y="366"/>
                    </a:lnTo>
                    <a:lnTo>
                      <a:pt x="559" y="366"/>
                    </a:lnTo>
                    <a:lnTo>
                      <a:pt x="559" y="368"/>
                    </a:lnTo>
                    <a:lnTo>
                      <a:pt x="559" y="370"/>
                    </a:lnTo>
                    <a:lnTo>
                      <a:pt x="559" y="371"/>
                    </a:lnTo>
                    <a:lnTo>
                      <a:pt x="560" y="371"/>
                    </a:lnTo>
                    <a:lnTo>
                      <a:pt x="560" y="373"/>
                    </a:lnTo>
                    <a:lnTo>
                      <a:pt x="562" y="373"/>
                    </a:lnTo>
                    <a:lnTo>
                      <a:pt x="562" y="374"/>
                    </a:lnTo>
                    <a:lnTo>
                      <a:pt x="562" y="376"/>
                    </a:lnTo>
                    <a:lnTo>
                      <a:pt x="564" y="376"/>
                    </a:lnTo>
                    <a:lnTo>
                      <a:pt x="564" y="377"/>
                    </a:lnTo>
                    <a:lnTo>
                      <a:pt x="562" y="377"/>
                    </a:lnTo>
                    <a:lnTo>
                      <a:pt x="564" y="377"/>
                    </a:lnTo>
                    <a:lnTo>
                      <a:pt x="564" y="379"/>
                    </a:lnTo>
                    <a:lnTo>
                      <a:pt x="565" y="379"/>
                    </a:lnTo>
                    <a:lnTo>
                      <a:pt x="567" y="379"/>
                    </a:lnTo>
                    <a:lnTo>
                      <a:pt x="567" y="381"/>
                    </a:lnTo>
                    <a:lnTo>
                      <a:pt x="567" y="382"/>
                    </a:lnTo>
                    <a:lnTo>
                      <a:pt x="568" y="382"/>
                    </a:lnTo>
                    <a:lnTo>
                      <a:pt x="568" y="384"/>
                    </a:lnTo>
                    <a:lnTo>
                      <a:pt x="568" y="385"/>
                    </a:lnTo>
                    <a:lnTo>
                      <a:pt x="570" y="385"/>
                    </a:lnTo>
                    <a:lnTo>
                      <a:pt x="568" y="385"/>
                    </a:lnTo>
                    <a:lnTo>
                      <a:pt x="568" y="387"/>
                    </a:lnTo>
                    <a:lnTo>
                      <a:pt x="570" y="387"/>
                    </a:lnTo>
                    <a:lnTo>
                      <a:pt x="570" y="389"/>
                    </a:lnTo>
                    <a:lnTo>
                      <a:pt x="568" y="389"/>
                    </a:lnTo>
                    <a:lnTo>
                      <a:pt x="570" y="389"/>
                    </a:lnTo>
                    <a:lnTo>
                      <a:pt x="570" y="390"/>
                    </a:lnTo>
                    <a:lnTo>
                      <a:pt x="570" y="389"/>
                    </a:lnTo>
                    <a:lnTo>
                      <a:pt x="570" y="390"/>
                    </a:lnTo>
                    <a:lnTo>
                      <a:pt x="570" y="392"/>
                    </a:lnTo>
                    <a:lnTo>
                      <a:pt x="568" y="392"/>
                    </a:lnTo>
                    <a:lnTo>
                      <a:pt x="570" y="392"/>
                    </a:lnTo>
                    <a:lnTo>
                      <a:pt x="570" y="393"/>
                    </a:lnTo>
                    <a:lnTo>
                      <a:pt x="570" y="395"/>
                    </a:lnTo>
                    <a:lnTo>
                      <a:pt x="570" y="396"/>
                    </a:lnTo>
                    <a:lnTo>
                      <a:pt x="570" y="398"/>
                    </a:lnTo>
                    <a:lnTo>
                      <a:pt x="570" y="400"/>
                    </a:lnTo>
                    <a:lnTo>
                      <a:pt x="570" y="401"/>
                    </a:lnTo>
                    <a:lnTo>
                      <a:pt x="570" y="403"/>
                    </a:lnTo>
                    <a:lnTo>
                      <a:pt x="570" y="404"/>
                    </a:lnTo>
                    <a:lnTo>
                      <a:pt x="570" y="406"/>
                    </a:lnTo>
                    <a:lnTo>
                      <a:pt x="568" y="406"/>
                    </a:lnTo>
                    <a:lnTo>
                      <a:pt x="568" y="404"/>
                    </a:lnTo>
                    <a:lnTo>
                      <a:pt x="567" y="404"/>
                    </a:lnTo>
                    <a:lnTo>
                      <a:pt x="567" y="406"/>
                    </a:lnTo>
                    <a:lnTo>
                      <a:pt x="567" y="408"/>
                    </a:lnTo>
                    <a:lnTo>
                      <a:pt x="565" y="408"/>
                    </a:lnTo>
                    <a:lnTo>
                      <a:pt x="565" y="409"/>
                    </a:lnTo>
                    <a:lnTo>
                      <a:pt x="567" y="409"/>
                    </a:lnTo>
                    <a:lnTo>
                      <a:pt x="568" y="409"/>
                    </a:lnTo>
                    <a:lnTo>
                      <a:pt x="568" y="411"/>
                    </a:lnTo>
                    <a:lnTo>
                      <a:pt x="568" y="412"/>
                    </a:lnTo>
                    <a:lnTo>
                      <a:pt x="570" y="412"/>
                    </a:lnTo>
                    <a:lnTo>
                      <a:pt x="571" y="412"/>
                    </a:lnTo>
                    <a:lnTo>
                      <a:pt x="571" y="414"/>
                    </a:lnTo>
                    <a:lnTo>
                      <a:pt x="571" y="415"/>
                    </a:lnTo>
                    <a:lnTo>
                      <a:pt x="571" y="417"/>
                    </a:lnTo>
                    <a:lnTo>
                      <a:pt x="571" y="419"/>
                    </a:lnTo>
                    <a:lnTo>
                      <a:pt x="571" y="420"/>
                    </a:lnTo>
                    <a:lnTo>
                      <a:pt x="571" y="422"/>
                    </a:lnTo>
                    <a:lnTo>
                      <a:pt x="573" y="422"/>
                    </a:lnTo>
                    <a:lnTo>
                      <a:pt x="573" y="423"/>
                    </a:lnTo>
                    <a:lnTo>
                      <a:pt x="571" y="423"/>
                    </a:lnTo>
                    <a:lnTo>
                      <a:pt x="571" y="425"/>
                    </a:lnTo>
                    <a:lnTo>
                      <a:pt x="573" y="425"/>
                    </a:lnTo>
                    <a:lnTo>
                      <a:pt x="571" y="425"/>
                    </a:lnTo>
                    <a:lnTo>
                      <a:pt x="571" y="427"/>
                    </a:lnTo>
                    <a:lnTo>
                      <a:pt x="571" y="428"/>
                    </a:lnTo>
                    <a:lnTo>
                      <a:pt x="573" y="428"/>
                    </a:lnTo>
                    <a:lnTo>
                      <a:pt x="573" y="430"/>
                    </a:lnTo>
                    <a:lnTo>
                      <a:pt x="573" y="431"/>
                    </a:lnTo>
                    <a:lnTo>
                      <a:pt x="571" y="431"/>
                    </a:lnTo>
                    <a:lnTo>
                      <a:pt x="571" y="433"/>
                    </a:lnTo>
                    <a:lnTo>
                      <a:pt x="573" y="433"/>
                    </a:lnTo>
                    <a:lnTo>
                      <a:pt x="573" y="434"/>
                    </a:lnTo>
                    <a:lnTo>
                      <a:pt x="573" y="433"/>
                    </a:lnTo>
                    <a:lnTo>
                      <a:pt x="575" y="433"/>
                    </a:lnTo>
                    <a:lnTo>
                      <a:pt x="575" y="434"/>
                    </a:lnTo>
                    <a:lnTo>
                      <a:pt x="573" y="434"/>
                    </a:lnTo>
                    <a:lnTo>
                      <a:pt x="575" y="434"/>
                    </a:lnTo>
                    <a:lnTo>
                      <a:pt x="573" y="434"/>
                    </a:lnTo>
                    <a:lnTo>
                      <a:pt x="573" y="436"/>
                    </a:lnTo>
                    <a:lnTo>
                      <a:pt x="575" y="436"/>
                    </a:lnTo>
                    <a:lnTo>
                      <a:pt x="573" y="436"/>
                    </a:lnTo>
                    <a:lnTo>
                      <a:pt x="573" y="438"/>
                    </a:lnTo>
                    <a:lnTo>
                      <a:pt x="575" y="438"/>
                    </a:lnTo>
                    <a:lnTo>
                      <a:pt x="575" y="439"/>
                    </a:lnTo>
                    <a:lnTo>
                      <a:pt x="573" y="439"/>
                    </a:lnTo>
                    <a:lnTo>
                      <a:pt x="575" y="439"/>
                    </a:lnTo>
                    <a:lnTo>
                      <a:pt x="575" y="441"/>
                    </a:lnTo>
                    <a:lnTo>
                      <a:pt x="575" y="442"/>
                    </a:lnTo>
                    <a:lnTo>
                      <a:pt x="573" y="442"/>
                    </a:lnTo>
                    <a:lnTo>
                      <a:pt x="573" y="444"/>
                    </a:lnTo>
                    <a:lnTo>
                      <a:pt x="573" y="446"/>
                    </a:lnTo>
                    <a:lnTo>
                      <a:pt x="575" y="446"/>
                    </a:lnTo>
                    <a:lnTo>
                      <a:pt x="573" y="446"/>
                    </a:lnTo>
                    <a:lnTo>
                      <a:pt x="573" y="447"/>
                    </a:lnTo>
                    <a:lnTo>
                      <a:pt x="571" y="447"/>
                    </a:lnTo>
                    <a:lnTo>
                      <a:pt x="571" y="449"/>
                    </a:lnTo>
                    <a:lnTo>
                      <a:pt x="570" y="449"/>
                    </a:lnTo>
                    <a:lnTo>
                      <a:pt x="568" y="449"/>
                    </a:lnTo>
                    <a:lnTo>
                      <a:pt x="567" y="449"/>
                    </a:lnTo>
                    <a:lnTo>
                      <a:pt x="565" y="449"/>
                    </a:lnTo>
                    <a:lnTo>
                      <a:pt x="565" y="450"/>
                    </a:lnTo>
                    <a:lnTo>
                      <a:pt x="565" y="452"/>
                    </a:lnTo>
                    <a:lnTo>
                      <a:pt x="565" y="450"/>
                    </a:lnTo>
                    <a:lnTo>
                      <a:pt x="564" y="450"/>
                    </a:lnTo>
                    <a:lnTo>
                      <a:pt x="564" y="452"/>
                    </a:lnTo>
                    <a:lnTo>
                      <a:pt x="565" y="452"/>
                    </a:lnTo>
                    <a:lnTo>
                      <a:pt x="564" y="452"/>
                    </a:lnTo>
                    <a:lnTo>
                      <a:pt x="564" y="453"/>
                    </a:lnTo>
                    <a:lnTo>
                      <a:pt x="562" y="453"/>
                    </a:lnTo>
                    <a:lnTo>
                      <a:pt x="562" y="455"/>
                    </a:lnTo>
                    <a:lnTo>
                      <a:pt x="560" y="455"/>
                    </a:lnTo>
                    <a:lnTo>
                      <a:pt x="562" y="455"/>
                    </a:lnTo>
                    <a:lnTo>
                      <a:pt x="562" y="457"/>
                    </a:lnTo>
                    <a:lnTo>
                      <a:pt x="560" y="457"/>
                    </a:lnTo>
                    <a:lnTo>
                      <a:pt x="559" y="457"/>
                    </a:lnTo>
                    <a:lnTo>
                      <a:pt x="559" y="458"/>
                    </a:lnTo>
                    <a:lnTo>
                      <a:pt x="557" y="458"/>
                    </a:lnTo>
                    <a:lnTo>
                      <a:pt x="557" y="460"/>
                    </a:lnTo>
                    <a:lnTo>
                      <a:pt x="557" y="458"/>
                    </a:lnTo>
                    <a:lnTo>
                      <a:pt x="556" y="458"/>
                    </a:lnTo>
                    <a:lnTo>
                      <a:pt x="554" y="458"/>
                    </a:lnTo>
                    <a:lnTo>
                      <a:pt x="552" y="458"/>
                    </a:lnTo>
                    <a:lnTo>
                      <a:pt x="552" y="457"/>
                    </a:lnTo>
                    <a:lnTo>
                      <a:pt x="552" y="458"/>
                    </a:lnTo>
                    <a:lnTo>
                      <a:pt x="552" y="457"/>
                    </a:lnTo>
                    <a:lnTo>
                      <a:pt x="551" y="457"/>
                    </a:lnTo>
                    <a:lnTo>
                      <a:pt x="549" y="457"/>
                    </a:lnTo>
                    <a:lnTo>
                      <a:pt x="548" y="457"/>
                    </a:lnTo>
                    <a:lnTo>
                      <a:pt x="546" y="457"/>
                    </a:lnTo>
                    <a:lnTo>
                      <a:pt x="545" y="457"/>
                    </a:lnTo>
                    <a:lnTo>
                      <a:pt x="545" y="458"/>
                    </a:lnTo>
                    <a:lnTo>
                      <a:pt x="545" y="460"/>
                    </a:lnTo>
                    <a:lnTo>
                      <a:pt x="543" y="460"/>
                    </a:lnTo>
                    <a:lnTo>
                      <a:pt x="545" y="460"/>
                    </a:lnTo>
                    <a:lnTo>
                      <a:pt x="545" y="461"/>
                    </a:lnTo>
                    <a:lnTo>
                      <a:pt x="545" y="463"/>
                    </a:lnTo>
                    <a:lnTo>
                      <a:pt x="543" y="463"/>
                    </a:lnTo>
                    <a:lnTo>
                      <a:pt x="545" y="463"/>
                    </a:lnTo>
                    <a:lnTo>
                      <a:pt x="545" y="465"/>
                    </a:lnTo>
                    <a:lnTo>
                      <a:pt x="546" y="465"/>
                    </a:lnTo>
                    <a:lnTo>
                      <a:pt x="546" y="466"/>
                    </a:lnTo>
                    <a:lnTo>
                      <a:pt x="548" y="466"/>
                    </a:lnTo>
                    <a:lnTo>
                      <a:pt x="548" y="465"/>
                    </a:lnTo>
                    <a:lnTo>
                      <a:pt x="549" y="465"/>
                    </a:lnTo>
                    <a:lnTo>
                      <a:pt x="551" y="465"/>
                    </a:lnTo>
                    <a:lnTo>
                      <a:pt x="551" y="466"/>
                    </a:lnTo>
                    <a:lnTo>
                      <a:pt x="551" y="468"/>
                    </a:lnTo>
                    <a:lnTo>
                      <a:pt x="552" y="468"/>
                    </a:lnTo>
                    <a:lnTo>
                      <a:pt x="552" y="466"/>
                    </a:lnTo>
                    <a:lnTo>
                      <a:pt x="554" y="466"/>
                    </a:lnTo>
                    <a:lnTo>
                      <a:pt x="554" y="465"/>
                    </a:lnTo>
                    <a:lnTo>
                      <a:pt x="556" y="465"/>
                    </a:lnTo>
                    <a:lnTo>
                      <a:pt x="556" y="463"/>
                    </a:lnTo>
                    <a:lnTo>
                      <a:pt x="557" y="463"/>
                    </a:lnTo>
                    <a:lnTo>
                      <a:pt x="559" y="463"/>
                    </a:lnTo>
                    <a:lnTo>
                      <a:pt x="560" y="463"/>
                    </a:lnTo>
                    <a:lnTo>
                      <a:pt x="562" y="463"/>
                    </a:lnTo>
                    <a:lnTo>
                      <a:pt x="562" y="461"/>
                    </a:lnTo>
                    <a:lnTo>
                      <a:pt x="562" y="463"/>
                    </a:lnTo>
                    <a:lnTo>
                      <a:pt x="564" y="463"/>
                    </a:lnTo>
                    <a:lnTo>
                      <a:pt x="565" y="463"/>
                    </a:lnTo>
                    <a:lnTo>
                      <a:pt x="565" y="461"/>
                    </a:lnTo>
                    <a:lnTo>
                      <a:pt x="565" y="463"/>
                    </a:lnTo>
                    <a:lnTo>
                      <a:pt x="567" y="463"/>
                    </a:lnTo>
                    <a:lnTo>
                      <a:pt x="567" y="465"/>
                    </a:lnTo>
                    <a:lnTo>
                      <a:pt x="568" y="465"/>
                    </a:lnTo>
                    <a:lnTo>
                      <a:pt x="568" y="466"/>
                    </a:lnTo>
                    <a:lnTo>
                      <a:pt x="568" y="468"/>
                    </a:lnTo>
                    <a:lnTo>
                      <a:pt x="570" y="468"/>
                    </a:lnTo>
                    <a:lnTo>
                      <a:pt x="570" y="469"/>
                    </a:lnTo>
                    <a:lnTo>
                      <a:pt x="571" y="469"/>
                    </a:lnTo>
                    <a:lnTo>
                      <a:pt x="571" y="471"/>
                    </a:lnTo>
                    <a:lnTo>
                      <a:pt x="573" y="471"/>
                    </a:lnTo>
                    <a:lnTo>
                      <a:pt x="573" y="472"/>
                    </a:lnTo>
                    <a:lnTo>
                      <a:pt x="575" y="472"/>
                    </a:lnTo>
                    <a:lnTo>
                      <a:pt x="575" y="474"/>
                    </a:lnTo>
                    <a:lnTo>
                      <a:pt x="573" y="474"/>
                    </a:lnTo>
                    <a:lnTo>
                      <a:pt x="573" y="476"/>
                    </a:lnTo>
                    <a:lnTo>
                      <a:pt x="573" y="477"/>
                    </a:lnTo>
                    <a:lnTo>
                      <a:pt x="573" y="479"/>
                    </a:lnTo>
                    <a:lnTo>
                      <a:pt x="575" y="479"/>
                    </a:lnTo>
                    <a:lnTo>
                      <a:pt x="575" y="480"/>
                    </a:lnTo>
                    <a:lnTo>
                      <a:pt x="573" y="480"/>
                    </a:lnTo>
                    <a:lnTo>
                      <a:pt x="571" y="480"/>
                    </a:lnTo>
                    <a:lnTo>
                      <a:pt x="570" y="480"/>
                    </a:lnTo>
                    <a:lnTo>
                      <a:pt x="570" y="482"/>
                    </a:lnTo>
                    <a:lnTo>
                      <a:pt x="568" y="482"/>
                    </a:lnTo>
                    <a:lnTo>
                      <a:pt x="568" y="484"/>
                    </a:lnTo>
                    <a:lnTo>
                      <a:pt x="570" y="484"/>
                    </a:lnTo>
                    <a:lnTo>
                      <a:pt x="570" y="482"/>
                    </a:lnTo>
                    <a:lnTo>
                      <a:pt x="571" y="482"/>
                    </a:lnTo>
                    <a:lnTo>
                      <a:pt x="571" y="480"/>
                    </a:lnTo>
                    <a:lnTo>
                      <a:pt x="573" y="480"/>
                    </a:lnTo>
                    <a:lnTo>
                      <a:pt x="573" y="482"/>
                    </a:lnTo>
                    <a:lnTo>
                      <a:pt x="575" y="482"/>
                    </a:lnTo>
                    <a:lnTo>
                      <a:pt x="575" y="484"/>
                    </a:lnTo>
                    <a:lnTo>
                      <a:pt x="576" y="484"/>
                    </a:lnTo>
                    <a:lnTo>
                      <a:pt x="576" y="485"/>
                    </a:lnTo>
                    <a:lnTo>
                      <a:pt x="578" y="485"/>
                    </a:lnTo>
                    <a:lnTo>
                      <a:pt x="578" y="487"/>
                    </a:lnTo>
                    <a:lnTo>
                      <a:pt x="579" y="487"/>
                    </a:lnTo>
                    <a:lnTo>
                      <a:pt x="579" y="485"/>
                    </a:lnTo>
                    <a:lnTo>
                      <a:pt x="581" y="485"/>
                    </a:lnTo>
                    <a:lnTo>
                      <a:pt x="581" y="484"/>
                    </a:lnTo>
                    <a:lnTo>
                      <a:pt x="583" y="484"/>
                    </a:lnTo>
                    <a:lnTo>
                      <a:pt x="583" y="485"/>
                    </a:lnTo>
                    <a:lnTo>
                      <a:pt x="583" y="487"/>
                    </a:lnTo>
                    <a:lnTo>
                      <a:pt x="584" y="487"/>
                    </a:lnTo>
                    <a:lnTo>
                      <a:pt x="584" y="488"/>
                    </a:lnTo>
                    <a:lnTo>
                      <a:pt x="584" y="490"/>
                    </a:lnTo>
                    <a:lnTo>
                      <a:pt x="584" y="492"/>
                    </a:lnTo>
                    <a:lnTo>
                      <a:pt x="584" y="493"/>
                    </a:lnTo>
                    <a:lnTo>
                      <a:pt x="586" y="493"/>
                    </a:lnTo>
                    <a:lnTo>
                      <a:pt x="587" y="49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69" name="Freeform 49"/>
              <p:cNvSpPr>
                <a:spLocks/>
              </p:cNvSpPr>
              <p:nvPr/>
            </p:nvSpPr>
            <p:spPr bwMode="auto">
              <a:xfrm>
                <a:off x="4358" y="3309"/>
                <a:ext cx="974" cy="423"/>
              </a:xfrm>
              <a:custGeom>
                <a:avLst/>
                <a:gdLst>
                  <a:gd name="T0" fmla="*/ 885 w 974"/>
                  <a:gd name="T1" fmla="*/ 11 h 423"/>
                  <a:gd name="T2" fmla="*/ 891 w 974"/>
                  <a:gd name="T3" fmla="*/ 32 h 423"/>
                  <a:gd name="T4" fmla="*/ 888 w 974"/>
                  <a:gd name="T5" fmla="*/ 40 h 423"/>
                  <a:gd name="T6" fmla="*/ 898 w 974"/>
                  <a:gd name="T7" fmla="*/ 44 h 423"/>
                  <a:gd name="T8" fmla="*/ 893 w 974"/>
                  <a:gd name="T9" fmla="*/ 57 h 423"/>
                  <a:gd name="T10" fmla="*/ 895 w 974"/>
                  <a:gd name="T11" fmla="*/ 63 h 423"/>
                  <a:gd name="T12" fmla="*/ 887 w 974"/>
                  <a:gd name="T13" fmla="*/ 70 h 423"/>
                  <a:gd name="T14" fmla="*/ 898 w 974"/>
                  <a:gd name="T15" fmla="*/ 76 h 423"/>
                  <a:gd name="T16" fmla="*/ 904 w 974"/>
                  <a:gd name="T17" fmla="*/ 90 h 423"/>
                  <a:gd name="T18" fmla="*/ 914 w 974"/>
                  <a:gd name="T19" fmla="*/ 98 h 423"/>
                  <a:gd name="T20" fmla="*/ 917 w 974"/>
                  <a:gd name="T21" fmla="*/ 109 h 423"/>
                  <a:gd name="T22" fmla="*/ 910 w 974"/>
                  <a:gd name="T23" fmla="*/ 120 h 423"/>
                  <a:gd name="T24" fmla="*/ 910 w 974"/>
                  <a:gd name="T25" fmla="*/ 128 h 423"/>
                  <a:gd name="T26" fmla="*/ 896 w 974"/>
                  <a:gd name="T27" fmla="*/ 138 h 423"/>
                  <a:gd name="T28" fmla="*/ 885 w 974"/>
                  <a:gd name="T29" fmla="*/ 144 h 423"/>
                  <a:gd name="T30" fmla="*/ 887 w 974"/>
                  <a:gd name="T31" fmla="*/ 160 h 423"/>
                  <a:gd name="T32" fmla="*/ 874 w 974"/>
                  <a:gd name="T33" fmla="*/ 174 h 423"/>
                  <a:gd name="T34" fmla="*/ 887 w 974"/>
                  <a:gd name="T35" fmla="*/ 166 h 423"/>
                  <a:gd name="T36" fmla="*/ 893 w 974"/>
                  <a:gd name="T37" fmla="*/ 152 h 423"/>
                  <a:gd name="T38" fmla="*/ 915 w 974"/>
                  <a:gd name="T39" fmla="*/ 151 h 423"/>
                  <a:gd name="T40" fmla="*/ 925 w 974"/>
                  <a:gd name="T41" fmla="*/ 158 h 423"/>
                  <a:gd name="T42" fmla="*/ 942 w 974"/>
                  <a:gd name="T43" fmla="*/ 165 h 423"/>
                  <a:gd name="T44" fmla="*/ 956 w 974"/>
                  <a:gd name="T45" fmla="*/ 178 h 423"/>
                  <a:gd name="T46" fmla="*/ 961 w 974"/>
                  <a:gd name="T47" fmla="*/ 190 h 423"/>
                  <a:gd name="T48" fmla="*/ 969 w 974"/>
                  <a:gd name="T49" fmla="*/ 197 h 423"/>
                  <a:gd name="T50" fmla="*/ 972 w 974"/>
                  <a:gd name="T51" fmla="*/ 211 h 423"/>
                  <a:gd name="T52" fmla="*/ 958 w 974"/>
                  <a:gd name="T53" fmla="*/ 225 h 423"/>
                  <a:gd name="T54" fmla="*/ 929 w 974"/>
                  <a:gd name="T55" fmla="*/ 241 h 423"/>
                  <a:gd name="T56" fmla="*/ 880 w 974"/>
                  <a:gd name="T57" fmla="*/ 268 h 423"/>
                  <a:gd name="T58" fmla="*/ 868 w 974"/>
                  <a:gd name="T59" fmla="*/ 307 h 423"/>
                  <a:gd name="T60" fmla="*/ 871 w 974"/>
                  <a:gd name="T61" fmla="*/ 341 h 423"/>
                  <a:gd name="T62" fmla="*/ 855 w 974"/>
                  <a:gd name="T63" fmla="*/ 352 h 423"/>
                  <a:gd name="T64" fmla="*/ 842 w 974"/>
                  <a:gd name="T65" fmla="*/ 336 h 423"/>
                  <a:gd name="T66" fmla="*/ 817 w 974"/>
                  <a:gd name="T67" fmla="*/ 287 h 423"/>
                  <a:gd name="T68" fmla="*/ 774 w 974"/>
                  <a:gd name="T69" fmla="*/ 268 h 423"/>
                  <a:gd name="T70" fmla="*/ 744 w 974"/>
                  <a:gd name="T71" fmla="*/ 282 h 423"/>
                  <a:gd name="T72" fmla="*/ 739 w 974"/>
                  <a:gd name="T73" fmla="*/ 306 h 423"/>
                  <a:gd name="T74" fmla="*/ 723 w 974"/>
                  <a:gd name="T75" fmla="*/ 296 h 423"/>
                  <a:gd name="T76" fmla="*/ 704 w 974"/>
                  <a:gd name="T77" fmla="*/ 284 h 423"/>
                  <a:gd name="T78" fmla="*/ 678 w 974"/>
                  <a:gd name="T79" fmla="*/ 299 h 423"/>
                  <a:gd name="T80" fmla="*/ 652 w 974"/>
                  <a:gd name="T81" fmla="*/ 307 h 423"/>
                  <a:gd name="T82" fmla="*/ 635 w 974"/>
                  <a:gd name="T83" fmla="*/ 318 h 423"/>
                  <a:gd name="T84" fmla="*/ 619 w 974"/>
                  <a:gd name="T85" fmla="*/ 330 h 423"/>
                  <a:gd name="T86" fmla="*/ 598 w 974"/>
                  <a:gd name="T87" fmla="*/ 334 h 423"/>
                  <a:gd name="T88" fmla="*/ 576 w 974"/>
                  <a:gd name="T89" fmla="*/ 331 h 423"/>
                  <a:gd name="T90" fmla="*/ 556 w 974"/>
                  <a:gd name="T91" fmla="*/ 325 h 423"/>
                  <a:gd name="T92" fmla="*/ 522 w 974"/>
                  <a:gd name="T93" fmla="*/ 330 h 423"/>
                  <a:gd name="T94" fmla="*/ 461 w 974"/>
                  <a:gd name="T95" fmla="*/ 355 h 423"/>
                  <a:gd name="T96" fmla="*/ 418 w 974"/>
                  <a:gd name="T97" fmla="*/ 380 h 423"/>
                  <a:gd name="T98" fmla="*/ 308 w 974"/>
                  <a:gd name="T99" fmla="*/ 391 h 423"/>
                  <a:gd name="T100" fmla="*/ 299 w 974"/>
                  <a:gd name="T101" fmla="*/ 369 h 423"/>
                  <a:gd name="T102" fmla="*/ 288 w 974"/>
                  <a:gd name="T103" fmla="*/ 353 h 423"/>
                  <a:gd name="T104" fmla="*/ 282 w 974"/>
                  <a:gd name="T105" fmla="*/ 331 h 423"/>
                  <a:gd name="T106" fmla="*/ 266 w 974"/>
                  <a:gd name="T107" fmla="*/ 314 h 423"/>
                  <a:gd name="T108" fmla="*/ 239 w 974"/>
                  <a:gd name="T109" fmla="*/ 296 h 423"/>
                  <a:gd name="T110" fmla="*/ 160 w 974"/>
                  <a:gd name="T111" fmla="*/ 277 h 423"/>
                  <a:gd name="T112" fmla="*/ 99 w 974"/>
                  <a:gd name="T113" fmla="*/ 263 h 423"/>
                  <a:gd name="T114" fmla="*/ 71 w 974"/>
                  <a:gd name="T115" fmla="*/ 257 h 423"/>
                  <a:gd name="T116" fmla="*/ 34 w 974"/>
                  <a:gd name="T117" fmla="*/ 246 h 423"/>
                  <a:gd name="T118" fmla="*/ 6 w 974"/>
                  <a:gd name="T119" fmla="*/ 23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4" h="423">
                    <a:moveTo>
                      <a:pt x="880" y="0"/>
                    </a:moveTo>
                    <a:lnTo>
                      <a:pt x="880" y="2"/>
                    </a:lnTo>
                    <a:lnTo>
                      <a:pt x="882" y="2"/>
                    </a:lnTo>
                    <a:lnTo>
                      <a:pt x="880" y="2"/>
                    </a:lnTo>
                    <a:lnTo>
                      <a:pt x="880" y="3"/>
                    </a:lnTo>
                    <a:lnTo>
                      <a:pt x="880" y="5"/>
                    </a:lnTo>
                    <a:lnTo>
                      <a:pt x="880" y="6"/>
                    </a:lnTo>
                    <a:lnTo>
                      <a:pt x="880" y="8"/>
                    </a:lnTo>
                    <a:lnTo>
                      <a:pt x="882" y="8"/>
                    </a:lnTo>
                    <a:lnTo>
                      <a:pt x="880" y="8"/>
                    </a:lnTo>
                    <a:lnTo>
                      <a:pt x="880" y="10"/>
                    </a:lnTo>
                    <a:lnTo>
                      <a:pt x="882" y="10"/>
                    </a:lnTo>
                    <a:lnTo>
                      <a:pt x="882" y="8"/>
                    </a:lnTo>
                    <a:lnTo>
                      <a:pt x="882" y="10"/>
                    </a:lnTo>
                    <a:lnTo>
                      <a:pt x="882" y="11"/>
                    </a:lnTo>
                    <a:lnTo>
                      <a:pt x="883" y="11"/>
                    </a:lnTo>
                    <a:lnTo>
                      <a:pt x="885" y="11"/>
                    </a:lnTo>
                    <a:lnTo>
                      <a:pt x="885" y="13"/>
                    </a:lnTo>
                    <a:lnTo>
                      <a:pt x="885" y="14"/>
                    </a:lnTo>
                    <a:lnTo>
                      <a:pt x="887" y="14"/>
                    </a:lnTo>
                    <a:lnTo>
                      <a:pt x="887" y="16"/>
                    </a:lnTo>
                    <a:lnTo>
                      <a:pt x="887" y="18"/>
                    </a:lnTo>
                    <a:lnTo>
                      <a:pt x="887" y="19"/>
                    </a:lnTo>
                    <a:lnTo>
                      <a:pt x="887" y="21"/>
                    </a:lnTo>
                    <a:lnTo>
                      <a:pt x="887" y="22"/>
                    </a:lnTo>
                    <a:lnTo>
                      <a:pt x="888" y="22"/>
                    </a:lnTo>
                    <a:lnTo>
                      <a:pt x="890" y="22"/>
                    </a:lnTo>
                    <a:lnTo>
                      <a:pt x="890" y="24"/>
                    </a:lnTo>
                    <a:lnTo>
                      <a:pt x="891" y="24"/>
                    </a:lnTo>
                    <a:lnTo>
                      <a:pt x="891" y="25"/>
                    </a:lnTo>
                    <a:lnTo>
                      <a:pt x="891" y="27"/>
                    </a:lnTo>
                    <a:lnTo>
                      <a:pt x="891" y="29"/>
                    </a:lnTo>
                    <a:lnTo>
                      <a:pt x="891" y="30"/>
                    </a:lnTo>
                    <a:lnTo>
                      <a:pt x="891" y="32"/>
                    </a:lnTo>
                    <a:lnTo>
                      <a:pt x="891" y="33"/>
                    </a:lnTo>
                    <a:lnTo>
                      <a:pt x="890" y="33"/>
                    </a:lnTo>
                    <a:lnTo>
                      <a:pt x="891" y="33"/>
                    </a:lnTo>
                    <a:lnTo>
                      <a:pt x="890" y="33"/>
                    </a:lnTo>
                    <a:lnTo>
                      <a:pt x="890" y="32"/>
                    </a:lnTo>
                    <a:lnTo>
                      <a:pt x="890" y="33"/>
                    </a:lnTo>
                    <a:lnTo>
                      <a:pt x="888" y="33"/>
                    </a:lnTo>
                    <a:lnTo>
                      <a:pt x="888" y="35"/>
                    </a:lnTo>
                    <a:lnTo>
                      <a:pt x="887" y="35"/>
                    </a:lnTo>
                    <a:lnTo>
                      <a:pt x="888" y="35"/>
                    </a:lnTo>
                    <a:lnTo>
                      <a:pt x="888" y="37"/>
                    </a:lnTo>
                    <a:lnTo>
                      <a:pt x="887" y="37"/>
                    </a:lnTo>
                    <a:lnTo>
                      <a:pt x="887" y="38"/>
                    </a:lnTo>
                    <a:lnTo>
                      <a:pt x="888" y="38"/>
                    </a:lnTo>
                    <a:lnTo>
                      <a:pt x="887" y="38"/>
                    </a:lnTo>
                    <a:lnTo>
                      <a:pt x="887" y="40"/>
                    </a:lnTo>
                    <a:lnTo>
                      <a:pt x="888" y="40"/>
                    </a:lnTo>
                    <a:lnTo>
                      <a:pt x="888" y="41"/>
                    </a:lnTo>
                    <a:lnTo>
                      <a:pt x="890" y="41"/>
                    </a:lnTo>
                    <a:lnTo>
                      <a:pt x="891" y="41"/>
                    </a:lnTo>
                    <a:lnTo>
                      <a:pt x="891" y="43"/>
                    </a:lnTo>
                    <a:lnTo>
                      <a:pt x="893" y="43"/>
                    </a:lnTo>
                    <a:lnTo>
                      <a:pt x="893" y="41"/>
                    </a:lnTo>
                    <a:lnTo>
                      <a:pt x="895" y="41"/>
                    </a:lnTo>
                    <a:lnTo>
                      <a:pt x="896" y="41"/>
                    </a:lnTo>
                    <a:lnTo>
                      <a:pt x="896" y="43"/>
                    </a:lnTo>
                    <a:lnTo>
                      <a:pt x="895" y="43"/>
                    </a:lnTo>
                    <a:lnTo>
                      <a:pt x="895" y="44"/>
                    </a:lnTo>
                    <a:lnTo>
                      <a:pt x="896" y="44"/>
                    </a:lnTo>
                    <a:lnTo>
                      <a:pt x="898" y="44"/>
                    </a:lnTo>
                    <a:lnTo>
                      <a:pt x="896" y="44"/>
                    </a:lnTo>
                    <a:lnTo>
                      <a:pt x="896" y="46"/>
                    </a:lnTo>
                    <a:lnTo>
                      <a:pt x="898" y="46"/>
                    </a:lnTo>
                    <a:lnTo>
                      <a:pt x="898" y="44"/>
                    </a:lnTo>
                    <a:lnTo>
                      <a:pt x="898" y="46"/>
                    </a:lnTo>
                    <a:lnTo>
                      <a:pt x="896" y="46"/>
                    </a:lnTo>
                    <a:lnTo>
                      <a:pt x="898" y="46"/>
                    </a:lnTo>
                    <a:lnTo>
                      <a:pt x="898" y="48"/>
                    </a:lnTo>
                    <a:lnTo>
                      <a:pt x="898" y="49"/>
                    </a:lnTo>
                    <a:lnTo>
                      <a:pt x="896" y="49"/>
                    </a:lnTo>
                    <a:lnTo>
                      <a:pt x="896" y="51"/>
                    </a:lnTo>
                    <a:lnTo>
                      <a:pt x="896" y="52"/>
                    </a:lnTo>
                    <a:lnTo>
                      <a:pt x="895" y="52"/>
                    </a:lnTo>
                    <a:lnTo>
                      <a:pt x="895" y="51"/>
                    </a:lnTo>
                    <a:lnTo>
                      <a:pt x="895" y="52"/>
                    </a:lnTo>
                    <a:lnTo>
                      <a:pt x="895" y="54"/>
                    </a:lnTo>
                    <a:lnTo>
                      <a:pt x="895" y="56"/>
                    </a:lnTo>
                    <a:lnTo>
                      <a:pt x="895" y="54"/>
                    </a:lnTo>
                    <a:lnTo>
                      <a:pt x="893" y="54"/>
                    </a:lnTo>
                    <a:lnTo>
                      <a:pt x="893" y="56"/>
                    </a:lnTo>
                    <a:lnTo>
                      <a:pt x="893" y="57"/>
                    </a:lnTo>
                    <a:lnTo>
                      <a:pt x="891" y="57"/>
                    </a:lnTo>
                    <a:lnTo>
                      <a:pt x="893" y="57"/>
                    </a:lnTo>
                    <a:lnTo>
                      <a:pt x="893" y="59"/>
                    </a:lnTo>
                    <a:lnTo>
                      <a:pt x="895" y="59"/>
                    </a:lnTo>
                    <a:lnTo>
                      <a:pt x="895" y="60"/>
                    </a:lnTo>
                    <a:lnTo>
                      <a:pt x="896" y="60"/>
                    </a:lnTo>
                    <a:lnTo>
                      <a:pt x="896" y="59"/>
                    </a:lnTo>
                    <a:lnTo>
                      <a:pt x="896" y="60"/>
                    </a:lnTo>
                    <a:lnTo>
                      <a:pt x="896" y="59"/>
                    </a:lnTo>
                    <a:lnTo>
                      <a:pt x="896" y="60"/>
                    </a:lnTo>
                    <a:lnTo>
                      <a:pt x="898" y="60"/>
                    </a:lnTo>
                    <a:lnTo>
                      <a:pt x="898" y="62"/>
                    </a:lnTo>
                    <a:lnTo>
                      <a:pt x="898" y="63"/>
                    </a:lnTo>
                    <a:lnTo>
                      <a:pt x="896" y="63"/>
                    </a:lnTo>
                    <a:lnTo>
                      <a:pt x="895" y="63"/>
                    </a:lnTo>
                    <a:lnTo>
                      <a:pt x="895" y="65"/>
                    </a:lnTo>
                    <a:lnTo>
                      <a:pt x="895" y="63"/>
                    </a:lnTo>
                    <a:lnTo>
                      <a:pt x="895" y="65"/>
                    </a:lnTo>
                    <a:lnTo>
                      <a:pt x="893" y="65"/>
                    </a:lnTo>
                    <a:lnTo>
                      <a:pt x="895" y="65"/>
                    </a:lnTo>
                    <a:lnTo>
                      <a:pt x="896" y="65"/>
                    </a:lnTo>
                    <a:lnTo>
                      <a:pt x="895" y="65"/>
                    </a:lnTo>
                    <a:lnTo>
                      <a:pt x="895" y="67"/>
                    </a:lnTo>
                    <a:lnTo>
                      <a:pt x="893" y="67"/>
                    </a:lnTo>
                    <a:lnTo>
                      <a:pt x="893" y="65"/>
                    </a:lnTo>
                    <a:lnTo>
                      <a:pt x="893" y="67"/>
                    </a:lnTo>
                    <a:lnTo>
                      <a:pt x="891" y="67"/>
                    </a:lnTo>
                    <a:lnTo>
                      <a:pt x="891" y="68"/>
                    </a:lnTo>
                    <a:lnTo>
                      <a:pt x="890" y="68"/>
                    </a:lnTo>
                    <a:lnTo>
                      <a:pt x="890" y="67"/>
                    </a:lnTo>
                    <a:lnTo>
                      <a:pt x="888" y="67"/>
                    </a:lnTo>
                    <a:lnTo>
                      <a:pt x="888" y="68"/>
                    </a:lnTo>
                    <a:lnTo>
                      <a:pt x="887" y="68"/>
                    </a:lnTo>
                    <a:lnTo>
                      <a:pt x="887" y="70"/>
                    </a:lnTo>
                    <a:lnTo>
                      <a:pt x="888" y="70"/>
                    </a:lnTo>
                    <a:lnTo>
                      <a:pt x="888" y="71"/>
                    </a:lnTo>
                    <a:lnTo>
                      <a:pt x="887" y="71"/>
                    </a:lnTo>
                    <a:lnTo>
                      <a:pt x="888" y="71"/>
                    </a:lnTo>
                    <a:lnTo>
                      <a:pt x="888" y="73"/>
                    </a:lnTo>
                    <a:lnTo>
                      <a:pt x="888" y="75"/>
                    </a:lnTo>
                    <a:lnTo>
                      <a:pt x="890" y="75"/>
                    </a:lnTo>
                    <a:lnTo>
                      <a:pt x="891" y="75"/>
                    </a:lnTo>
                    <a:lnTo>
                      <a:pt x="891" y="76"/>
                    </a:lnTo>
                    <a:lnTo>
                      <a:pt x="891" y="75"/>
                    </a:lnTo>
                    <a:lnTo>
                      <a:pt x="893" y="75"/>
                    </a:lnTo>
                    <a:lnTo>
                      <a:pt x="893" y="73"/>
                    </a:lnTo>
                    <a:lnTo>
                      <a:pt x="895" y="73"/>
                    </a:lnTo>
                    <a:lnTo>
                      <a:pt x="895" y="75"/>
                    </a:lnTo>
                    <a:lnTo>
                      <a:pt x="896" y="75"/>
                    </a:lnTo>
                    <a:lnTo>
                      <a:pt x="896" y="76"/>
                    </a:lnTo>
                    <a:lnTo>
                      <a:pt x="898" y="76"/>
                    </a:lnTo>
                    <a:lnTo>
                      <a:pt x="899" y="76"/>
                    </a:lnTo>
                    <a:lnTo>
                      <a:pt x="899" y="78"/>
                    </a:lnTo>
                    <a:lnTo>
                      <a:pt x="899" y="79"/>
                    </a:lnTo>
                    <a:lnTo>
                      <a:pt x="899" y="81"/>
                    </a:lnTo>
                    <a:lnTo>
                      <a:pt x="899" y="82"/>
                    </a:lnTo>
                    <a:lnTo>
                      <a:pt x="899" y="84"/>
                    </a:lnTo>
                    <a:lnTo>
                      <a:pt x="901" y="84"/>
                    </a:lnTo>
                    <a:lnTo>
                      <a:pt x="901" y="86"/>
                    </a:lnTo>
                    <a:lnTo>
                      <a:pt x="902" y="86"/>
                    </a:lnTo>
                    <a:lnTo>
                      <a:pt x="901" y="86"/>
                    </a:lnTo>
                    <a:lnTo>
                      <a:pt x="902" y="86"/>
                    </a:lnTo>
                    <a:lnTo>
                      <a:pt x="902" y="87"/>
                    </a:lnTo>
                    <a:lnTo>
                      <a:pt x="901" y="87"/>
                    </a:lnTo>
                    <a:lnTo>
                      <a:pt x="902" y="87"/>
                    </a:lnTo>
                    <a:lnTo>
                      <a:pt x="902" y="89"/>
                    </a:lnTo>
                    <a:lnTo>
                      <a:pt x="904" y="89"/>
                    </a:lnTo>
                    <a:lnTo>
                      <a:pt x="904" y="90"/>
                    </a:lnTo>
                    <a:lnTo>
                      <a:pt x="906" y="90"/>
                    </a:lnTo>
                    <a:lnTo>
                      <a:pt x="907" y="90"/>
                    </a:lnTo>
                    <a:lnTo>
                      <a:pt x="907" y="92"/>
                    </a:lnTo>
                    <a:lnTo>
                      <a:pt x="907" y="94"/>
                    </a:lnTo>
                    <a:lnTo>
                      <a:pt x="909" y="94"/>
                    </a:lnTo>
                    <a:lnTo>
                      <a:pt x="909" y="92"/>
                    </a:lnTo>
                    <a:lnTo>
                      <a:pt x="909" y="94"/>
                    </a:lnTo>
                    <a:lnTo>
                      <a:pt x="910" y="94"/>
                    </a:lnTo>
                    <a:lnTo>
                      <a:pt x="912" y="94"/>
                    </a:lnTo>
                    <a:lnTo>
                      <a:pt x="912" y="95"/>
                    </a:lnTo>
                    <a:lnTo>
                      <a:pt x="914" y="95"/>
                    </a:lnTo>
                    <a:lnTo>
                      <a:pt x="914" y="97"/>
                    </a:lnTo>
                    <a:lnTo>
                      <a:pt x="915" y="97"/>
                    </a:lnTo>
                    <a:lnTo>
                      <a:pt x="915" y="98"/>
                    </a:lnTo>
                    <a:lnTo>
                      <a:pt x="914" y="98"/>
                    </a:lnTo>
                    <a:lnTo>
                      <a:pt x="915" y="98"/>
                    </a:lnTo>
                    <a:lnTo>
                      <a:pt x="914" y="98"/>
                    </a:lnTo>
                    <a:lnTo>
                      <a:pt x="915" y="98"/>
                    </a:lnTo>
                    <a:lnTo>
                      <a:pt x="915" y="100"/>
                    </a:lnTo>
                    <a:lnTo>
                      <a:pt x="915" y="101"/>
                    </a:lnTo>
                    <a:lnTo>
                      <a:pt x="917" y="101"/>
                    </a:lnTo>
                    <a:lnTo>
                      <a:pt x="917" y="103"/>
                    </a:lnTo>
                    <a:lnTo>
                      <a:pt x="915" y="103"/>
                    </a:lnTo>
                    <a:lnTo>
                      <a:pt x="915" y="105"/>
                    </a:lnTo>
                    <a:lnTo>
                      <a:pt x="917" y="105"/>
                    </a:lnTo>
                    <a:lnTo>
                      <a:pt x="917" y="106"/>
                    </a:lnTo>
                    <a:lnTo>
                      <a:pt x="915" y="106"/>
                    </a:lnTo>
                    <a:lnTo>
                      <a:pt x="915" y="108"/>
                    </a:lnTo>
                    <a:lnTo>
                      <a:pt x="917" y="108"/>
                    </a:lnTo>
                    <a:lnTo>
                      <a:pt x="915" y="108"/>
                    </a:lnTo>
                    <a:lnTo>
                      <a:pt x="915" y="109"/>
                    </a:lnTo>
                    <a:lnTo>
                      <a:pt x="917" y="109"/>
                    </a:lnTo>
                    <a:lnTo>
                      <a:pt x="915" y="109"/>
                    </a:lnTo>
                    <a:lnTo>
                      <a:pt x="917" y="109"/>
                    </a:lnTo>
                    <a:lnTo>
                      <a:pt x="917" y="111"/>
                    </a:lnTo>
                    <a:lnTo>
                      <a:pt x="917" y="113"/>
                    </a:lnTo>
                    <a:lnTo>
                      <a:pt x="917" y="114"/>
                    </a:lnTo>
                    <a:lnTo>
                      <a:pt x="915" y="114"/>
                    </a:lnTo>
                    <a:lnTo>
                      <a:pt x="915" y="116"/>
                    </a:lnTo>
                    <a:lnTo>
                      <a:pt x="915" y="117"/>
                    </a:lnTo>
                    <a:lnTo>
                      <a:pt x="914" y="117"/>
                    </a:lnTo>
                    <a:lnTo>
                      <a:pt x="914" y="119"/>
                    </a:lnTo>
                    <a:lnTo>
                      <a:pt x="912" y="119"/>
                    </a:lnTo>
                    <a:lnTo>
                      <a:pt x="912" y="120"/>
                    </a:lnTo>
                    <a:lnTo>
                      <a:pt x="914" y="120"/>
                    </a:lnTo>
                    <a:lnTo>
                      <a:pt x="914" y="122"/>
                    </a:lnTo>
                    <a:lnTo>
                      <a:pt x="912" y="122"/>
                    </a:lnTo>
                    <a:lnTo>
                      <a:pt x="912" y="120"/>
                    </a:lnTo>
                    <a:lnTo>
                      <a:pt x="912" y="119"/>
                    </a:lnTo>
                    <a:lnTo>
                      <a:pt x="910" y="119"/>
                    </a:lnTo>
                    <a:lnTo>
                      <a:pt x="910" y="120"/>
                    </a:lnTo>
                    <a:lnTo>
                      <a:pt x="909" y="120"/>
                    </a:lnTo>
                    <a:lnTo>
                      <a:pt x="909" y="122"/>
                    </a:lnTo>
                    <a:lnTo>
                      <a:pt x="907" y="122"/>
                    </a:lnTo>
                    <a:lnTo>
                      <a:pt x="906" y="122"/>
                    </a:lnTo>
                    <a:lnTo>
                      <a:pt x="904" y="122"/>
                    </a:lnTo>
                    <a:lnTo>
                      <a:pt x="902" y="122"/>
                    </a:lnTo>
                    <a:lnTo>
                      <a:pt x="901" y="122"/>
                    </a:lnTo>
                    <a:lnTo>
                      <a:pt x="902" y="122"/>
                    </a:lnTo>
                    <a:lnTo>
                      <a:pt x="904" y="122"/>
                    </a:lnTo>
                    <a:lnTo>
                      <a:pt x="904" y="124"/>
                    </a:lnTo>
                    <a:lnTo>
                      <a:pt x="906" y="124"/>
                    </a:lnTo>
                    <a:lnTo>
                      <a:pt x="906" y="125"/>
                    </a:lnTo>
                    <a:lnTo>
                      <a:pt x="907" y="125"/>
                    </a:lnTo>
                    <a:lnTo>
                      <a:pt x="907" y="127"/>
                    </a:lnTo>
                    <a:lnTo>
                      <a:pt x="909" y="127"/>
                    </a:lnTo>
                    <a:lnTo>
                      <a:pt x="909" y="128"/>
                    </a:lnTo>
                    <a:lnTo>
                      <a:pt x="910" y="128"/>
                    </a:lnTo>
                    <a:lnTo>
                      <a:pt x="910" y="130"/>
                    </a:lnTo>
                    <a:lnTo>
                      <a:pt x="910" y="132"/>
                    </a:lnTo>
                    <a:lnTo>
                      <a:pt x="910" y="133"/>
                    </a:lnTo>
                    <a:lnTo>
                      <a:pt x="909" y="133"/>
                    </a:lnTo>
                    <a:lnTo>
                      <a:pt x="909" y="135"/>
                    </a:lnTo>
                    <a:lnTo>
                      <a:pt x="907" y="135"/>
                    </a:lnTo>
                    <a:lnTo>
                      <a:pt x="906" y="135"/>
                    </a:lnTo>
                    <a:lnTo>
                      <a:pt x="906" y="136"/>
                    </a:lnTo>
                    <a:lnTo>
                      <a:pt x="904" y="136"/>
                    </a:lnTo>
                    <a:lnTo>
                      <a:pt x="902" y="136"/>
                    </a:lnTo>
                    <a:lnTo>
                      <a:pt x="902" y="135"/>
                    </a:lnTo>
                    <a:lnTo>
                      <a:pt x="901" y="135"/>
                    </a:lnTo>
                    <a:lnTo>
                      <a:pt x="899" y="135"/>
                    </a:lnTo>
                    <a:lnTo>
                      <a:pt x="898" y="135"/>
                    </a:lnTo>
                    <a:lnTo>
                      <a:pt x="898" y="136"/>
                    </a:lnTo>
                    <a:lnTo>
                      <a:pt x="896" y="136"/>
                    </a:lnTo>
                    <a:lnTo>
                      <a:pt x="896" y="138"/>
                    </a:lnTo>
                    <a:lnTo>
                      <a:pt x="896" y="139"/>
                    </a:lnTo>
                    <a:lnTo>
                      <a:pt x="896" y="138"/>
                    </a:lnTo>
                    <a:lnTo>
                      <a:pt x="895" y="138"/>
                    </a:lnTo>
                    <a:lnTo>
                      <a:pt x="895" y="139"/>
                    </a:lnTo>
                    <a:lnTo>
                      <a:pt x="893" y="139"/>
                    </a:lnTo>
                    <a:lnTo>
                      <a:pt x="891" y="139"/>
                    </a:lnTo>
                    <a:lnTo>
                      <a:pt x="890" y="139"/>
                    </a:lnTo>
                    <a:lnTo>
                      <a:pt x="890" y="141"/>
                    </a:lnTo>
                    <a:lnTo>
                      <a:pt x="888" y="141"/>
                    </a:lnTo>
                    <a:lnTo>
                      <a:pt x="888" y="143"/>
                    </a:lnTo>
                    <a:lnTo>
                      <a:pt x="888" y="141"/>
                    </a:lnTo>
                    <a:lnTo>
                      <a:pt x="887" y="141"/>
                    </a:lnTo>
                    <a:lnTo>
                      <a:pt x="887" y="143"/>
                    </a:lnTo>
                    <a:lnTo>
                      <a:pt x="885" y="143"/>
                    </a:lnTo>
                    <a:lnTo>
                      <a:pt x="887" y="143"/>
                    </a:lnTo>
                    <a:lnTo>
                      <a:pt x="885" y="143"/>
                    </a:lnTo>
                    <a:lnTo>
                      <a:pt x="885" y="144"/>
                    </a:lnTo>
                    <a:lnTo>
                      <a:pt x="885" y="146"/>
                    </a:lnTo>
                    <a:lnTo>
                      <a:pt x="883" y="146"/>
                    </a:lnTo>
                    <a:lnTo>
                      <a:pt x="883" y="147"/>
                    </a:lnTo>
                    <a:lnTo>
                      <a:pt x="885" y="147"/>
                    </a:lnTo>
                    <a:lnTo>
                      <a:pt x="885" y="149"/>
                    </a:lnTo>
                    <a:lnTo>
                      <a:pt x="883" y="149"/>
                    </a:lnTo>
                    <a:lnTo>
                      <a:pt x="883" y="151"/>
                    </a:lnTo>
                    <a:lnTo>
                      <a:pt x="885" y="151"/>
                    </a:lnTo>
                    <a:lnTo>
                      <a:pt x="885" y="152"/>
                    </a:lnTo>
                    <a:lnTo>
                      <a:pt x="885" y="154"/>
                    </a:lnTo>
                    <a:lnTo>
                      <a:pt x="887" y="154"/>
                    </a:lnTo>
                    <a:lnTo>
                      <a:pt x="887" y="155"/>
                    </a:lnTo>
                    <a:lnTo>
                      <a:pt x="888" y="155"/>
                    </a:lnTo>
                    <a:lnTo>
                      <a:pt x="888" y="157"/>
                    </a:lnTo>
                    <a:lnTo>
                      <a:pt x="888" y="158"/>
                    </a:lnTo>
                    <a:lnTo>
                      <a:pt x="887" y="158"/>
                    </a:lnTo>
                    <a:lnTo>
                      <a:pt x="887" y="160"/>
                    </a:lnTo>
                    <a:lnTo>
                      <a:pt x="887" y="162"/>
                    </a:lnTo>
                    <a:lnTo>
                      <a:pt x="887" y="163"/>
                    </a:lnTo>
                    <a:lnTo>
                      <a:pt x="885" y="163"/>
                    </a:lnTo>
                    <a:lnTo>
                      <a:pt x="885" y="165"/>
                    </a:lnTo>
                    <a:lnTo>
                      <a:pt x="883" y="165"/>
                    </a:lnTo>
                    <a:lnTo>
                      <a:pt x="883" y="166"/>
                    </a:lnTo>
                    <a:lnTo>
                      <a:pt x="883" y="168"/>
                    </a:lnTo>
                    <a:lnTo>
                      <a:pt x="882" y="168"/>
                    </a:lnTo>
                    <a:lnTo>
                      <a:pt x="882" y="170"/>
                    </a:lnTo>
                    <a:lnTo>
                      <a:pt x="880" y="170"/>
                    </a:lnTo>
                    <a:lnTo>
                      <a:pt x="879" y="170"/>
                    </a:lnTo>
                    <a:lnTo>
                      <a:pt x="879" y="171"/>
                    </a:lnTo>
                    <a:lnTo>
                      <a:pt x="877" y="171"/>
                    </a:lnTo>
                    <a:lnTo>
                      <a:pt x="876" y="171"/>
                    </a:lnTo>
                    <a:lnTo>
                      <a:pt x="876" y="173"/>
                    </a:lnTo>
                    <a:lnTo>
                      <a:pt x="876" y="174"/>
                    </a:lnTo>
                    <a:lnTo>
                      <a:pt x="874" y="174"/>
                    </a:lnTo>
                    <a:lnTo>
                      <a:pt x="876" y="174"/>
                    </a:lnTo>
                    <a:lnTo>
                      <a:pt x="876" y="176"/>
                    </a:lnTo>
                    <a:lnTo>
                      <a:pt x="876" y="174"/>
                    </a:lnTo>
                    <a:lnTo>
                      <a:pt x="876" y="176"/>
                    </a:lnTo>
                    <a:lnTo>
                      <a:pt x="876" y="174"/>
                    </a:lnTo>
                    <a:lnTo>
                      <a:pt x="877" y="174"/>
                    </a:lnTo>
                    <a:lnTo>
                      <a:pt x="879" y="174"/>
                    </a:lnTo>
                    <a:lnTo>
                      <a:pt x="879" y="173"/>
                    </a:lnTo>
                    <a:lnTo>
                      <a:pt x="880" y="173"/>
                    </a:lnTo>
                    <a:lnTo>
                      <a:pt x="880" y="171"/>
                    </a:lnTo>
                    <a:lnTo>
                      <a:pt x="882" y="171"/>
                    </a:lnTo>
                    <a:lnTo>
                      <a:pt x="882" y="170"/>
                    </a:lnTo>
                    <a:lnTo>
                      <a:pt x="883" y="170"/>
                    </a:lnTo>
                    <a:lnTo>
                      <a:pt x="885" y="170"/>
                    </a:lnTo>
                    <a:lnTo>
                      <a:pt x="885" y="168"/>
                    </a:lnTo>
                    <a:lnTo>
                      <a:pt x="887" y="168"/>
                    </a:lnTo>
                    <a:lnTo>
                      <a:pt x="887" y="166"/>
                    </a:lnTo>
                    <a:lnTo>
                      <a:pt x="888" y="166"/>
                    </a:lnTo>
                    <a:lnTo>
                      <a:pt x="888" y="165"/>
                    </a:lnTo>
                    <a:lnTo>
                      <a:pt x="890" y="165"/>
                    </a:lnTo>
                    <a:lnTo>
                      <a:pt x="890" y="163"/>
                    </a:lnTo>
                    <a:lnTo>
                      <a:pt x="890" y="162"/>
                    </a:lnTo>
                    <a:lnTo>
                      <a:pt x="891" y="162"/>
                    </a:lnTo>
                    <a:lnTo>
                      <a:pt x="891" y="160"/>
                    </a:lnTo>
                    <a:lnTo>
                      <a:pt x="890" y="160"/>
                    </a:lnTo>
                    <a:lnTo>
                      <a:pt x="891" y="160"/>
                    </a:lnTo>
                    <a:lnTo>
                      <a:pt x="890" y="160"/>
                    </a:lnTo>
                    <a:lnTo>
                      <a:pt x="890" y="158"/>
                    </a:lnTo>
                    <a:lnTo>
                      <a:pt x="890" y="157"/>
                    </a:lnTo>
                    <a:lnTo>
                      <a:pt x="891" y="157"/>
                    </a:lnTo>
                    <a:lnTo>
                      <a:pt x="891" y="155"/>
                    </a:lnTo>
                    <a:lnTo>
                      <a:pt x="891" y="154"/>
                    </a:lnTo>
                    <a:lnTo>
                      <a:pt x="893" y="154"/>
                    </a:lnTo>
                    <a:lnTo>
                      <a:pt x="893" y="152"/>
                    </a:lnTo>
                    <a:lnTo>
                      <a:pt x="895" y="152"/>
                    </a:lnTo>
                    <a:lnTo>
                      <a:pt x="895" y="151"/>
                    </a:lnTo>
                    <a:lnTo>
                      <a:pt x="896" y="151"/>
                    </a:lnTo>
                    <a:lnTo>
                      <a:pt x="898" y="151"/>
                    </a:lnTo>
                    <a:lnTo>
                      <a:pt x="899" y="151"/>
                    </a:lnTo>
                    <a:lnTo>
                      <a:pt x="899" y="149"/>
                    </a:lnTo>
                    <a:lnTo>
                      <a:pt x="901" y="149"/>
                    </a:lnTo>
                    <a:lnTo>
                      <a:pt x="902" y="149"/>
                    </a:lnTo>
                    <a:lnTo>
                      <a:pt x="904" y="149"/>
                    </a:lnTo>
                    <a:lnTo>
                      <a:pt x="904" y="151"/>
                    </a:lnTo>
                    <a:lnTo>
                      <a:pt x="906" y="151"/>
                    </a:lnTo>
                    <a:lnTo>
                      <a:pt x="907" y="151"/>
                    </a:lnTo>
                    <a:lnTo>
                      <a:pt x="909" y="151"/>
                    </a:lnTo>
                    <a:lnTo>
                      <a:pt x="910" y="151"/>
                    </a:lnTo>
                    <a:lnTo>
                      <a:pt x="912" y="151"/>
                    </a:lnTo>
                    <a:lnTo>
                      <a:pt x="914" y="151"/>
                    </a:lnTo>
                    <a:lnTo>
                      <a:pt x="915" y="151"/>
                    </a:lnTo>
                    <a:lnTo>
                      <a:pt x="914" y="151"/>
                    </a:lnTo>
                    <a:lnTo>
                      <a:pt x="915" y="151"/>
                    </a:lnTo>
                    <a:lnTo>
                      <a:pt x="915" y="152"/>
                    </a:lnTo>
                    <a:lnTo>
                      <a:pt x="917" y="152"/>
                    </a:lnTo>
                    <a:lnTo>
                      <a:pt x="918" y="152"/>
                    </a:lnTo>
                    <a:lnTo>
                      <a:pt x="918" y="151"/>
                    </a:lnTo>
                    <a:lnTo>
                      <a:pt x="920" y="151"/>
                    </a:lnTo>
                    <a:lnTo>
                      <a:pt x="920" y="152"/>
                    </a:lnTo>
                    <a:lnTo>
                      <a:pt x="921" y="152"/>
                    </a:lnTo>
                    <a:lnTo>
                      <a:pt x="921" y="154"/>
                    </a:lnTo>
                    <a:lnTo>
                      <a:pt x="921" y="155"/>
                    </a:lnTo>
                    <a:lnTo>
                      <a:pt x="921" y="157"/>
                    </a:lnTo>
                    <a:lnTo>
                      <a:pt x="923" y="157"/>
                    </a:lnTo>
                    <a:lnTo>
                      <a:pt x="923" y="158"/>
                    </a:lnTo>
                    <a:lnTo>
                      <a:pt x="925" y="158"/>
                    </a:lnTo>
                    <a:lnTo>
                      <a:pt x="923" y="158"/>
                    </a:lnTo>
                    <a:lnTo>
                      <a:pt x="925" y="158"/>
                    </a:lnTo>
                    <a:lnTo>
                      <a:pt x="925" y="160"/>
                    </a:lnTo>
                    <a:lnTo>
                      <a:pt x="926" y="160"/>
                    </a:lnTo>
                    <a:lnTo>
                      <a:pt x="928" y="160"/>
                    </a:lnTo>
                    <a:lnTo>
                      <a:pt x="928" y="162"/>
                    </a:lnTo>
                    <a:lnTo>
                      <a:pt x="929" y="162"/>
                    </a:lnTo>
                    <a:lnTo>
                      <a:pt x="929" y="160"/>
                    </a:lnTo>
                    <a:lnTo>
                      <a:pt x="931" y="160"/>
                    </a:lnTo>
                    <a:lnTo>
                      <a:pt x="931" y="162"/>
                    </a:lnTo>
                    <a:lnTo>
                      <a:pt x="933" y="162"/>
                    </a:lnTo>
                    <a:lnTo>
                      <a:pt x="934" y="162"/>
                    </a:lnTo>
                    <a:lnTo>
                      <a:pt x="936" y="162"/>
                    </a:lnTo>
                    <a:lnTo>
                      <a:pt x="937" y="162"/>
                    </a:lnTo>
                    <a:lnTo>
                      <a:pt x="939" y="162"/>
                    </a:lnTo>
                    <a:lnTo>
                      <a:pt x="940" y="162"/>
                    </a:lnTo>
                    <a:lnTo>
                      <a:pt x="940" y="163"/>
                    </a:lnTo>
                    <a:lnTo>
                      <a:pt x="942" y="163"/>
                    </a:lnTo>
                    <a:lnTo>
                      <a:pt x="942" y="165"/>
                    </a:lnTo>
                    <a:lnTo>
                      <a:pt x="944" y="165"/>
                    </a:lnTo>
                    <a:lnTo>
                      <a:pt x="945" y="165"/>
                    </a:lnTo>
                    <a:lnTo>
                      <a:pt x="945" y="166"/>
                    </a:lnTo>
                    <a:lnTo>
                      <a:pt x="947" y="166"/>
                    </a:lnTo>
                    <a:lnTo>
                      <a:pt x="947" y="168"/>
                    </a:lnTo>
                    <a:lnTo>
                      <a:pt x="948" y="168"/>
                    </a:lnTo>
                    <a:lnTo>
                      <a:pt x="948" y="170"/>
                    </a:lnTo>
                    <a:lnTo>
                      <a:pt x="950" y="170"/>
                    </a:lnTo>
                    <a:lnTo>
                      <a:pt x="950" y="171"/>
                    </a:lnTo>
                    <a:lnTo>
                      <a:pt x="952" y="171"/>
                    </a:lnTo>
                    <a:lnTo>
                      <a:pt x="952" y="173"/>
                    </a:lnTo>
                    <a:lnTo>
                      <a:pt x="953" y="173"/>
                    </a:lnTo>
                    <a:lnTo>
                      <a:pt x="953" y="174"/>
                    </a:lnTo>
                    <a:lnTo>
                      <a:pt x="955" y="174"/>
                    </a:lnTo>
                    <a:lnTo>
                      <a:pt x="955" y="176"/>
                    </a:lnTo>
                    <a:lnTo>
                      <a:pt x="956" y="176"/>
                    </a:lnTo>
                    <a:lnTo>
                      <a:pt x="956" y="178"/>
                    </a:lnTo>
                    <a:lnTo>
                      <a:pt x="956" y="179"/>
                    </a:lnTo>
                    <a:lnTo>
                      <a:pt x="956" y="181"/>
                    </a:lnTo>
                    <a:lnTo>
                      <a:pt x="956" y="182"/>
                    </a:lnTo>
                    <a:lnTo>
                      <a:pt x="958" y="182"/>
                    </a:lnTo>
                    <a:lnTo>
                      <a:pt x="958" y="181"/>
                    </a:lnTo>
                    <a:lnTo>
                      <a:pt x="959" y="181"/>
                    </a:lnTo>
                    <a:lnTo>
                      <a:pt x="959" y="182"/>
                    </a:lnTo>
                    <a:lnTo>
                      <a:pt x="961" y="182"/>
                    </a:lnTo>
                    <a:lnTo>
                      <a:pt x="961" y="184"/>
                    </a:lnTo>
                    <a:lnTo>
                      <a:pt x="961" y="185"/>
                    </a:lnTo>
                    <a:lnTo>
                      <a:pt x="961" y="187"/>
                    </a:lnTo>
                    <a:lnTo>
                      <a:pt x="963" y="187"/>
                    </a:lnTo>
                    <a:lnTo>
                      <a:pt x="963" y="189"/>
                    </a:lnTo>
                    <a:lnTo>
                      <a:pt x="961" y="189"/>
                    </a:lnTo>
                    <a:lnTo>
                      <a:pt x="961" y="190"/>
                    </a:lnTo>
                    <a:lnTo>
                      <a:pt x="959" y="190"/>
                    </a:lnTo>
                    <a:lnTo>
                      <a:pt x="961" y="190"/>
                    </a:lnTo>
                    <a:lnTo>
                      <a:pt x="963" y="190"/>
                    </a:lnTo>
                    <a:lnTo>
                      <a:pt x="964" y="190"/>
                    </a:lnTo>
                    <a:lnTo>
                      <a:pt x="964" y="189"/>
                    </a:lnTo>
                    <a:lnTo>
                      <a:pt x="966" y="189"/>
                    </a:lnTo>
                    <a:lnTo>
                      <a:pt x="966" y="187"/>
                    </a:lnTo>
                    <a:lnTo>
                      <a:pt x="966" y="189"/>
                    </a:lnTo>
                    <a:lnTo>
                      <a:pt x="966" y="190"/>
                    </a:lnTo>
                    <a:lnTo>
                      <a:pt x="967" y="190"/>
                    </a:lnTo>
                    <a:lnTo>
                      <a:pt x="966" y="190"/>
                    </a:lnTo>
                    <a:lnTo>
                      <a:pt x="966" y="192"/>
                    </a:lnTo>
                    <a:lnTo>
                      <a:pt x="966" y="193"/>
                    </a:lnTo>
                    <a:lnTo>
                      <a:pt x="966" y="195"/>
                    </a:lnTo>
                    <a:lnTo>
                      <a:pt x="967" y="195"/>
                    </a:lnTo>
                    <a:lnTo>
                      <a:pt x="967" y="193"/>
                    </a:lnTo>
                    <a:lnTo>
                      <a:pt x="967" y="195"/>
                    </a:lnTo>
                    <a:lnTo>
                      <a:pt x="967" y="197"/>
                    </a:lnTo>
                    <a:lnTo>
                      <a:pt x="969" y="197"/>
                    </a:lnTo>
                    <a:lnTo>
                      <a:pt x="971" y="197"/>
                    </a:lnTo>
                    <a:lnTo>
                      <a:pt x="971" y="198"/>
                    </a:lnTo>
                    <a:lnTo>
                      <a:pt x="971" y="200"/>
                    </a:lnTo>
                    <a:lnTo>
                      <a:pt x="971" y="201"/>
                    </a:lnTo>
                    <a:lnTo>
                      <a:pt x="969" y="201"/>
                    </a:lnTo>
                    <a:lnTo>
                      <a:pt x="969" y="203"/>
                    </a:lnTo>
                    <a:lnTo>
                      <a:pt x="967" y="203"/>
                    </a:lnTo>
                    <a:lnTo>
                      <a:pt x="967" y="204"/>
                    </a:lnTo>
                    <a:lnTo>
                      <a:pt x="967" y="206"/>
                    </a:lnTo>
                    <a:lnTo>
                      <a:pt x="967" y="208"/>
                    </a:lnTo>
                    <a:lnTo>
                      <a:pt x="967" y="209"/>
                    </a:lnTo>
                    <a:lnTo>
                      <a:pt x="969" y="209"/>
                    </a:lnTo>
                    <a:lnTo>
                      <a:pt x="969" y="208"/>
                    </a:lnTo>
                    <a:lnTo>
                      <a:pt x="969" y="209"/>
                    </a:lnTo>
                    <a:lnTo>
                      <a:pt x="971" y="209"/>
                    </a:lnTo>
                    <a:lnTo>
                      <a:pt x="972" y="209"/>
                    </a:lnTo>
                    <a:lnTo>
                      <a:pt x="972" y="211"/>
                    </a:lnTo>
                    <a:lnTo>
                      <a:pt x="972" y="212"/>
                    </a:lnTo>
                    <a:lnTo>
                      <a:pt x="974" y="212"/>
                    </a:lnTo>
                    <a:lnTo>
                      <a:pt x="974" y="214"/>
                    </a:lnTo>
                    <a:lnTo>
                      <a:pt x="972" y="214"/>
                    </a:lnTo>
                    <a:lnTo>
                      <a:pt x="971" y="216"/>
                    </a:lnTo>
                    <a:lnTo>
                      <a:pt x="969" y="216"/>
                    </a:lnTo>
                    <a:lnTo>
                      <a:pt x="969" y="217"/>
                    </a:lnTo>
                    <a:lnTo>
                      <a:pt x="967" y="217"/>
                    </a:lnTo>
                    <a:lnTo>
                      <a:pt x="966" y="217"/>
                    </a:lnTo>
                    <a:lnTo>
                      <a:pt x="966" y="219"/>
                    </a:lnTo>
                    <a:lnTo>
                      <a:pt x="964" y="219"/>
                    </a:lnTo>
                    <a:lnTo>
                      <a:pt x="964" y="220"/>
                    </a:lnTo>
                    <a:lnTo>
                      <a:pt x="963" y="220"/>
                    </a:lnTo>
                    <a:lnTo>
                      <a:pt x="961" y="222"/>
                    </a:lnTo>
                    <a:lnTo>
                      <a:pt x="959" y="223"/>
                    </a:lnTo>
                    <a:lnTo>
                      <a:pt x="958" y="223"/>
                    </a:lnTo>
                    <a:lnTo>
                      <a:pt x="958" y="225"/>
                    </a:lnTo>
                    <a:lnTo>
                      <a:pt x="956" y="227"/>
                    </a:lnTo>
                    <a:lnTo>
                      <a:pt x="955" y="227"/>
                    </a:lnTo>
                    <a:lnTo>
                      <a:pt x="955" y="228"/>
                    </a:lnTo>
                    <a:lnTo>
                      <a:pt x="953" y="228"/>
                    </a:lnTo>
                    <a:lnTo>
                      <a:pt x="952" y="230"/>
                    </a:lnTo>
                    <a:lnTo>
                      <a:pt x="950" y="231"/>
                    </a:lnTo>
                    <a:lnTo>
                      <a:pt x="948" y="231"/>
                    </a:lnTo>
                    <a:lnTo>
                      <a:pt x="947" y="233"/>
                    </a:lnTo>
                    <a:lnTo>
                      <a:pt x="945" y="233"/>
                    </a:lnTo>
                    <a:lnTo>
                      <a:pt x="944" y="235"/>
                    </a:lnTo>
                    <a:lnTo>
                      <a:pt x="942" y="235"/>
                    </a:lnTo>
                    <a:lnTo>
                      <a:pt x="940" y="235"/>
                    </a:lnTo>
                    <a:lnTo>
                      <a:pt x="939" y="235"/>
                    </a:lnTo>
                    <a:lnTo>
                      <a:pt x="937" y="235"/>
                    </a:lnTo>
                    <a:lnTo>
                      <a:pt x="937" y="236"/>
                    </a:lnTo>
                    <a:lnTo>
                      <a:pt x="934" y="239"/>
                    </a:lnTo>
                    <a:lnTo>
                      <a:pt x="929" y="241"/>
                    </a:lnTo>
                    <a:lnTo>
                      <a:pt x="923" y="244"/>
                    </a:lnTo>
                    <a:lnTo>
                      <a:pt x="918" y="247"/>
                    </a:lnTo>
                    <a:lnTo>
                      <a:pt x="917" y="247"/>
                    </a:lnTo>
                    <a:lnTo>
                      <a:pt x="915" y="249"/>
                    </a:lnTo>
                    <a:lnTo>
                      <a:pt x="912" y="252"/>
                    </a:lnTo>
                    <a:lnTo>
                      <a:pt x="909" y="255"/>
                    </a:lnTo>
                    <a:lnTo>
                      <a:pt x="906" y="257"/>
                    </a:lnTo>
                    <a:lnTo>
                      <a:pt x="904" y="258"/>
                    </a:lnTo>
                    <a:lnTo>
                      <a:pt x="901" y="258"/>
                    </a:lnTo>
                    <a:lnTo>
                      <a:pt x="898" y="260"/>
                    </a:lnTo>
                    <a:lnTo>
                      <a:pt x="895" y="261"/>
                    </a:lnTo>
                    <a:lnTo>
                      <a:pt x="891" y="263"/>
                    </a:lnTo>
                    <a:lnTo>
                      <a:pt x="888" y="263"/>
                    </a:lnTo>
                    <a:lnTo>
                      <a:pt x="883" y="265"/>
                    </a:lnTo>
                    <a:lnTo>
                      <a:pt x="880" y="265"/>
                    </a:lnTo>
                    <a:lnTo>
                      <a:pt x="880" y="266"/>
                    </a:lnTo>
                    <a:lnTo>
                      <a:pt x="880" y="268"/>
                    </a:lnTo>
                    <a:lnTo>
                      <a:pt x="879" y="268"/>
                    </a:lnTo>
                    <a:lnTo>
                      <a:pt x="879" y="269"/>
                    </a:lnTo>
                    <a:lnTo>
                      <a:pt x="877" y="271"/>
                    </a:lnTo>
                    <a:lnTo>
                      <a:pt x="877" y="273"/>
                    </a:lnTo>
                    <a:lnTo>
                      <a:pt x="876" y="273"/>
                    </a:lnTo>
                    <a:lnTo>
                      <a:pt x="876" y="274"/>
                    </a:lnTo>
                    <a:lnTo>
                      <a:pt x="874" y="276"/>
                    </a:lnTo>
                    <a:lnTo>
                      <a:pt x="876" y="276"/>
                    </a:lnTo>
                    <a:lnTo>
                      <a:pt x="876" y="277"/>
                    </a:lnTo>
                    <a:lnTo>
                      <a:pt x="874" y="284"/>
                    </a:lnTo>
                    <a:lnTo>
                      <a:pt x="874" y="285"/>
                    </a:lnTo>
                    <a:lnTo>
                      <a:pt x="874" y="287"/>
                    </a:lnTo>
                    <a:lnTo>
                      <a:pt x="874" y="292"/>
                    </a:lnTo>
                    <a:lnTo>
                      <a:pt x="869" y="301"/>
                    </a:lnTo>
                    <a:lnTo>
                      <a:pt x="866" y="304"/>
                    </a:lnTo>
                    <a:lnTo>
                      <a:pt x="864" y="306"/>
                    </a:lnTo>
                    <a:lnTo>
                      <a:pt x="868" y="307"/>
                    </a:lnTo>
                    <a:lnTo>
                      <a:pt x="874" y="317"/>
                    </a:lnTo>
                    <a:lnTo>
                      <a:pt x="879" y="322"/>
                    </a:lnTo>
                    <a:lnTo>
                      <a:pt x="880" y="323"/>
                    </a:lnTo>
                    <a:lnTo>
                      <a:pt x="880" y="325"/>
                    </a:lnTo>
                    <a:lnTo>
                      <a:pt x="879" y="325"/>
                    </a:lnTo>
                    <a:lnTo>
                      <a:pt x="879" y="326"/>
                    </a:lnTo>
                    <a:lnTo>
                      <a:pt x="877" y="328"/>
                    </a:lnTo>
                    <a:lnTo>
                      <a:pt x="877" y="330"/>
                    </a:lnTo>
                    <a:lnTo>
                      <a:pt x="876" y="330"/>
                    </a:lnTo>
                    <a:lnTo>
                      <a:pt x="876" y="331"/>
                    </a:lnTo>
                    <a:lnTo>
                      <a:pt x="874" y="333"/>
                    </a:lnTo>
                    <a:lnTo>
                      <a:pt x="874" y="334"/>
                    </a:lnTo>
                    <a:lnTo>
                      <a:pt x="872" y="334"/>
                    </a:lnTo>
                    <a:lnTo>
                      <a:pt x="872" y="336"/>
                    </a:lnTo>
                    <a:lnTo>
                      <a:pt x="872" y="337"/>
                    </a:lnTo>
                    <a:lnTo>
                      <a:pt x="871" y="339"/>
                    </a:lnTo>
                    <a:lnTo>
                      <a:pt x="871" y="341"/>
                    </a:lnTo>
                    <a:lnTo>
                      <a:pt x="869" y="341"/>
                    </a:lnTo>
                    <a:lnTo>
                      <a:pt x="869" y="342"/>
                    </a:lnTo>
                    <a:lnTo>
                      <a:pt x="869" y="344"/>
                    </a:lnTo>
                    <a:lnTo>
                      <a:pt x="869" y="345"/>
                    </a:lnTo>
                    <a:lnTo>
                      <a:pt x="868" y="345"/>
                    </a:lnTo>
                    <a:lnTo>
                      <a:pt x="868" y="347"/>
                    </a:lnTo>
                    <a:lnTo>
                      <a:pt x="868" y="349"/>
                    </a:lnTo>
                    <a:lnTo>
                      <a:pt x="866" y="349"/>
                    </a:lnTo>
                    <a:lnTo>
                      <a:pt x="864" y="349"/>
                    </a:lnTo>
                    <a:lnTo>
                      <a:pt x="864" y="350"/>
                    </a:lnTo>
                    <a:lnTo>
                      <a:pt x="863" y="350"/>
                    </a:lnTo>
                    <a:lnTo>
                      <a:pt x="861" y="350"/>
                    </a:lnTo>
                    <a:lnTo>
                      <a:pt x="860" y="350"/>
                    </a:lnTo>
                    <a:lnTo>
                      <a:pt x="858" y="350"/>
                    </a:lnTo>
                    <a:lnTo>
                      <a:pt x="858" y="352"/>
                    </a:lnTo>
                    <a:lnTo>
                      <a:pt x="857" y="352"/>
                    </a:lnTo>
                    <a:lnTo>
                      <a:pt x="855" y="352"/>
                    </a:lnTo>
                    <a:lnTo>
                      <a:pt x="855" y="350"/>
                    </a:lnTo>
                    <a:lnTo>
                      <a:pt x="853" y="350"/>
                    </a:lnTo>
                    <a:lnTo>
                      <a:pt x="853" y="349"/>
                    </a:lnTo>
                    <a:lnTo>
                      <a:pt x="852" y="349"/>
                    </a:lnTo>
                    <a:lnTo>
                      <a:pt x="850" y="347"/>
                    </a:lnTo>
                    <a:lnTo>
                      <a:pt x="849" y="347"/>
                    </a:lnTo>
                    <a:lnTo>
                      <a:pt x="849" y="345"/>
                    </a:lnTo>
                    <a:lnTo>
                      <a:pt x="847" y="345"/>
                    </a:lnTo>
                    <a:lnTo>
                      <a:pt x="847" y="344"/>
                    </a:lnTo>
                    <a:lnTo>
                      <a:pt x="845" y="344"/>
                    </a:lnTo>
                    <a:lnTo>
                      <a:pt x="845" y="342"/>
                    </a:lnTo>
                    <a:lnTo>
                      <a:pt x="844" y="342"/>
                    </a:lnTo>
                    <a:lnTo>
                      <a:pt x="844" y="341"/>
                    </a:lnTo>
                    <a:lnTo>
                      <a:pt x="844" y="339"/>
                    </a:lnTo>
                    <a:lnTo>
                      <a:pt x="844" y="337"/>
                    </a:lnTo>
                    <a:lnTo>
                      <a:pt x="842" y="337"/>
                    </a:lnTo>
                    <a:lnTo>
                      <a:pt x="842" y="336"/>
                    </a:lnTo>
                    <a:lnTo>
                      <a:pt x="842" y="334"/>
                    </a:lnTo>
                    <a:lnTo>
                      <a:pt x="839" y="331"/>
                    </a:lnTo>
                    <a:lnTo>
                      <a:pt x="839" y="330"/>
                    </a:lnTo>
                    <a:lnTo>
                      <a:pt x="838" y="323"/>
                    </a:lnTo>
                    <a:lnTo>
                      <a:pt x="838" y="322"/>
                    </a:lnTo>
                    <a:lnTo>
                      <a:pt x="838" y="320"/>
                    </a:lnTo>
                    <a:lnTo>
                      <a:pt x="836" y="320"/>
                    </a:lnTo>
                    <a:lnTo>
                      <a:pt x="831" y="320"/>
                    </a:lnTo>
                    <a:lnTo>
                      <a:pt x="831" y="318"/>
                    </a:lnTo>
                    <a:lnTo>
                      <a:pt x="828" y="312"/>
                    </a:lnTo>
                    <a:lnTo>
                      <a:pt x="825" y="307"/>
                    </a:lnTo>
                    <a:lnTo>
                      <a:pt x="825" y="303"/>
                    </a:lnTo>
                    <a:lnTo>
                      <a:pt x="823" y="301"/>
                    </a:lnTo>
                    <a:lnTo>
                      <a:pt x="823" y="299"/>
                    </a:lnTo>
                    <a:lnTo>
                      <a:pt x="822" y="298"/>
                    </a:lnTo>
                    <a:lnTo>
                      <a:pt x="820" y="295"/>
                    </a:lnTo>
                    <a:lnTo>
                      <a:pt x="817" y="287"/>
                    </a:lnTo>
                    <a:lnTo>
                      <a:pt x="814" y="274"/>
                    </a:lnTo>
                    <a:lnTo>
                      <a:pt x="807" y="273"/>
                    </a:lnTo>
                    <a:lnTo>
                      <a:pt x="806" y="271"/>
                    </a:lnTo>
                    <a:lnTo>
                      <a:pt x="800" y="268"/>
                    </a:lnTo>
                    <a:lnTo>
                      <a:pt x="798" y="268"/>
                    </a:lnTo>
                    <a:lnTo>
                      <a:pt x="796" y="266"/>
                    </a:lnTo>
                    <a:lnTo>
                      <a:pt x="795" y="266"/>
                    </a:lnTo>
                    <a:lnTo>
                      <a:pt x="793" y="266"/>
                    </a:lnTo>
                    <a:lnTo>
                      <a:pt x="792" y="266"/>
                    </a:lnTo>
                    <a:lnTo>
                      <a:pt x="790" y="266"/>
                    </a:lnTo>
                    <a:lnTo>
                      <a:pt x="788" y="266"/>
                    </a:lnTo>
                    <a:lnTo>
                      <a:pt x="785" y="265"/>
                    </a:lnTo>
                    <a:lnTo>
                      <a:pt x="784" y="263"/>
                    </a:lnTo>
                    <a:lnTo>
                      <a:pt x="780" y="266"/>
                    </a:lnTo>
                    <a:lnTo>
                      <a:pt x="779" y="266"/>
                    </a:lnTo>
                    <a:lnTo>
                      <a:pt x="776" y="268"/>
                    </a:lnTo>
                    <a:lnTo>
                      <a:pt x="774" y="268"/>
                    </a:lnTo>
                    <a:lnTo>
                      <a:pt x="773" y="269"/>
                    </a:lnTo>
                    <a:lnTo>
                      <a:pt x="769" y="269"/>
                    </a:lnTo>
                    <a:lnTo>
                      <a:pt x="769" y="271"/>
                    </a:lnTo>
                    <a:lnTo>
                      <a:pt x="768" y="274"/>
                    </a:lnTo>
                    <a:lnTo>
                      <a:pt x="766" y="277"/>
                    </a:lnTo>
                    <a:lnTo>
                      <a:pt x="765" y="280"/>
                    </a:lnTo>
                    <a:lnTo>
                      <a:pt x="763" y="282"/>
                    </a:lnTo>
                    <a:lnTo>
                      <a:pt x="761" y="282"/>
                    </a:lnTo>
                    <a:lnTo>
                      <a:pt x="758" y="280"/>
                    </a:lnTo>
                    <a:lnTo>
                      <a:pt x="754" y="280"/>
                    </a:lnTo>
                    <a:lnTo>
                      <a:pt x="752" y="280"/>
                    </a:lnTo>
                    <a:lnTo>
                      <a:pt x="750" y="280"/>
                    </a:lnTo>
                    <a:lnTo>
                      <a:pt x="749" y="280"/>
                    </a:lnTo>
                    <a:lnTo>
                      <a:pt x="749" y="279"/>
                    </a:lnTo>
                    <a:lnTo>
                      <a:pt x="746" y="280"/>
                    </a:lnTo>
                    <a:lnTo>
                      <a:pt x="746" y="282"/>
                    </a:lnTo>
                    <a:lnTo>
                      <a:pt x="744" y="282"/>
                    </a:lnTo>
                    <a:lnTo>
                      <a:pt x="742" y="284"/>
                    </a:lnTo>
                    <a:lnTo>
                      <a:pt x="741" y="284"/>
                    </a:lnTo>
                    <a:lnTo>
                      <a:pt x="742" y="285"/>
                    </a:lnTo>
                    <a:lnTo>
                      <a:pt x="742" y="287"/>
                    </a:lnTo>
                    <a:lnTo>
                      <a:pt x="742" y="288"/>
                    </a:lnTo>
                    <a:lnTo>
                      <a:pt x="742" y="290"/>
                    </a:lnTo>
                    <a:lnTo>
                      <a:pt x="742" y="292"/>
                    </a:lnTo>
                    <a:lnTo>
                      <a:pt x="744" y="292"/>
                    </a:lnTo>
                    <a:lnTo>
                      <a:pt x="744" y="293"/>
                    </a:lnTo>
                    <a:lnTo>
                      <a:pt x="744" y="295"/>
                    </a:lnTo>
                    <a:lnTo>
                      <a:pt x="744" y="296"/>
                    </a:lnTo>
                    <a:lnTo>
                      <a:pt x="742" y="298"/>
                    </a:lnTo>
                    <a:lnTo>
                      <a:pt x="742" y="299"/>
                    </a:lnTo>
                    <a:lnTo>
                      <a:pt x="741" y="301"/>
                    </a:lnTo>
                    <a:lnTo>
                      <a:pt x="741" y="303"/>
                    </a:lnTo>
                    <a:lnTo>
                      <a:pt x="741" y="304"/>
                    </a:lnTo>
                    <a:lnTo>
                      <a:pt x="739" y="306"/>
                    </a:lnTo>
                    <a:lnTo>
                      <a:pt x="738" y="306"/>
                    </a:lnTo>
                    <a:lnTo>
                      <a:pt x="736" y="306"/>
                    </a:lnTo>
                    <a:lnTo>
                      <a:pt x="735" y="304"/>
                    </a:lnTo>
                    <a:lnTo>
                      <a:pt x="733" y="304"/>
                    </a:lnTo>
                    <a:lnTo>
                      <a:pt x="733" y="303"/>
                    </a:lnTo>
                    <a:lnTo>
                      <a:pt x="731" y="303"/>
                    </a:lnTo>
                    <a:lnTo>
                      <a:pt x="730" y="303"/>
                    </a:lnTo>
                    <a:lnTo>
                      <a:pt x="728" y="303"/>
                    </a:lnTo>
                    <a:lnTo>
                      <a:pt x="727" y="304"/>
                    </a:lnTo>
                    <a:lnTo>
                      <a:pt x="723" y="307"/>
                    </a:lnTo>
                    <a:lnTo>
                      <a:pt x="723" y="306"/>
                    </a:lnTo>
                    <a:lnTo>
                      <a:pt x="723" y="304"/>
                    </a:lnTo>
                    <a:lnTo>
                      <a:pt x="725" y="303"/>
                    </a:lnTo>
                    <a:lnTo>
                      <a:pt x="725" y="301"/>
                    </a:lnTo>
                    <a:lnTo>
                      <a:pt x="725" y="299"/>
                    </a:lnTo>
                    <a:lnTo>
                      <a:pt x="725" y="298"/>
                    </a:lnTo>
                    <a:lnTo>
                      <a:pt x="723" y="296"/>
                    </a:lnTo>
                    <a:lnTo>
                      <a:pt x="722" y="296"/>
                    </a:lnTo>
                    <a:lnTo>
                      <a:pt x="720" y="295"/>
                    </a:lnTo>
                    <a:lnTo>
                      <a:pt x="719" y="293"/>
                    </a:lnTo>
                    <a:lnTo>
                      <a:pt x="719" y="292"/>
                    </a:lnTo>
                    <a:lnTo>
                      <a:pt x="719" y="290"/>
                    </a:lnTo>
                    <a:lnTo>
                      <a:pt x="720" y="288"/>
                    </a:lnTo>
                    <a:lnTo>
                      <a:pt x="720" y="287"/>
                    </a:lnTo>
                    <a:lnTo>
                      <a:pt x="720" y="285"/>
                    </a:lnTo>
                    <a:lnTo>
                      <a:pt x="719" y="284"/>
                    </a:lnTo>
                    <a:lnTo>
                      <a:pt x="716" y="282"/>
                    </a:lnTo>
                    <a:lnTo>
                      <a:pt x="714" y="282"/>
                    </a:lnTo>
                    <a:lnTo>
                      <a:pt x="712" y="282"/>
                    </a:lnTo>
                    <a:lnTo>
                      <a:pt x="712" y="284"/>
                    </a:lnTo>
                    <a:lnTo>
                      <a:pt x="711" y="284"/>
                    </a:lnTo>
                    <a:lnTo>
                      <a:pt x="708" y="284"/>
                    </a:lnTo>
                    <a:lnTo>
                      <a:pt x="706" y="284"/>
                    </a:lnTo>
                    <a:lnTo>
                      <a:pt x="704" y="284"/>
                    </a:lnTo>
                    <a:lnTo>
                      <a:pt x="704" y="285"/>
                    </a:lnTo>
                    <a:lnTo>
                      <a:pt x="703" y="287"/>
                    </a:lnTo>
                    <a:lnTo>
                      <a:pt x="700" y="287"/>
                    </a:lnTo>
                    <a:lnTo>
                      <a:pt x="698" y="287"/>
                    </a:lnTo>
                    <a:lnTo>
                      <a:pt x="697" y="287"/>
                    </a:lnTo>
                    <a:lnTo>
                      <a:pt x="697" y="288"/>
                    </a:lnTo>
                    <a:lnTo>
                      <a:pt x="695" y="288"/>
                    </a:lnTo>
                    <a:lnTo>
                      <a:pt x="692" y="290"/>
                    </a:lnTo>
                    <a:lnTo>
                      <a:pt x="692" y="292"/>
                    </a:lnTo>
                    <a:lnTo>
                      <a:pt x="690" y="293"/>
                    </a:lnTo>
                    <a:lnTo>
                      <a:pt x="689" y="293"/>
                    </a:lnTo>
                    <a:lnTo>
                      <a:pt x="689" y="295"/>
                    </a:lnTo>
                    <a:lnTo>
                      <a:pt x="685" y="293"/>
                    </a:lnTo>
                    <a:lnTo>
                      <a:pt x="684" y="295"/>
                    </a:lnTo>
                    <a:lnTo>
                      <a:pt x="682" y="296"/>
                    </a:lnTo>
                    <a:lnTo>
                      <a:pt x="681" y="296"/>
                    </a:lnTo>
                    <a:lnTo>
                      <a:pt x="678" y="299"/>
                    </a:lnTo>
                    <a:lnTo>
                      <a:pt x="676" y="301"/>
                    </a:lnTo>
                    <a:lnTo>
                      <a:pt x="674" y="301"/>
                    </a:lnTo>
                    <a:lnTo>
                      <a:pt x="673" y="303"/>
                    </a:lnTo>
                    <a:lnTo>
                      <a:pt x="671" y="303"/>
                    </a:lnTo>
                    <a:lnTo>
                      <a:pt x="670" y="304"/>
                    </a:lnTo>
                    <a:lnTo>
                      <a:pt x="668" y="304"/>
                    </a:lnTo>
                    <a:lnTo>
                      <a:pt x="666" y="304"/>
                    </a:lnTo>
                    <a:lnTo>
                      <a:pt x="665" y="304"/>
                    </a:lnTo>
                    <a:lnTo>
                      <a:pt x="663" y="306"/>
                    </a:lnTo>
                    <a:lnTo>
                      <a:pt x="662" y="306"/>
                    </a:lnTo>
                    <a:lnTo>
                      <a:pt x="660" y="306"/>
                    </a:lnTo>
                    <a:lnTo>
                      <a:pt x="659" y="306"/>
                    </a:lnTo>
                    <a:lnTo>
                      <a:pt x="657" y="307"/>
                    </a:lnTo>
                    <a:lnTo>
                      <a:pt x="655" y="307"/>
                    </a:lnTo>
                    <a:lnTo>
                      <a:pt x="655" y="309"/>
                    </a:lnTo>
                    <a:lnTo>
                      <a:pt x="654" y="307"/>
                    </a:lnTo>
                    <a:lnTo>
                      <a:pt x="652" y="307"/>
                    </a:lnTo>
                    <a:lnTo>
                      <a:pt x="652" y="309"/>
                    </a:lnTo>
                    <a:lnTo>
                      <a:pt x="651" y="309"/>
                    </a:lnTo>
                    <a:lnTo>
                      <a:pt x="649" y="309"/>
                    </a:lnTo>
                    <a:lnTo>
                      <a:pt x="647" y="309"/>
                    </a:lnTo>
                    <a:lnTo>
                      <a:pt x="647" y="311"/>
                    </a:lnTo>
                    <a:lnTo>
                      <a:pt x="647" y="312"/>
                    </a:lnTo>
                    <a:lnTo>
                      <a:pt x="646" y="312"/>
                    </a:lnTo>
                    <a:lnTo>
                      <a:pt x="646" y="314"/>
                    </a:lnTo>
                    <a:lnTo>
                      <a:pt x="644" y="314"/>
                    </a:lnTo>
                    <a:lnTo>
                      <a:pt x="643" y="314"/>
                    </a:lnTo>
                    <a:lnTo>
                      <a:pt x="641" y="314"/>
                    </a:lnTo>
                    <a:lnTo>
                      <a:pt x="641" y="315"/>
                    </a:lnTo>
                    <a:lnTo>
                      <a:pt x="640" y="315"/>
                    </a:lnTo>
                    <a:lnTo>
                      <a:pt x="640" y="317"/>
                    </a:lnTo>
                    <a:lnTo>
                      <a:pt x="638" y="318"/>
                    </a:lnTo>
                    <a:lnTo>
                      <a:pt x="636" y="318"/>
                    </a:lnTo>
                    <a:lnTo>
                      <a:pt x="635" y="318"/>
                    </a:lnTo>
                    <a:lnTo>
                      <a:pt x="635" y="320"/>
                    </a:lnTo>
                    <a:lnTo>
                      <a:pt x="633" y="320"/>
                    </a:lnTo>
                    <a:lnTo>
                      <a:pt x="632" y="320"/>
                    </a:lnTo>
                    <a:lnTo>
                      <a:pt x="630" y="320"/>
                    </a:lnTo>
                    <a:lnTo>
                      <a:pt x="628" y="322"/>
                    </a:lnTo>
                    <a:lnTo>
                      <a:pt x="627" y="320"/>
                    </a:lnTo>
                    <a:lnTo>
                      <a:pt x="625" y="320"/>
                    </a:lnTo>
                    <a:lnTo>
                      <a:pt x="624" y="322"/>
                    </a:lnTo>
                    <a:lnTo>
                      <a:pt x="622" y="320"/>
                    </a:lnTo>
                    <a:lnTo>
                      <a:pt x="622" y="322"/>
                    </a:lnTo>
                    <a:lnTo>
                      <a:pt x="621" y="323"/>
                    </a:lnTo>
                    <a:lnTo>
                      <a:pt x="621" y="325"/>
                    </a:lnTo>
                    <a:lnTo>
                      <a:pt x="619" y="325"/>
                    </a:lnTo>
                    <a:lnTo>
                      <a:pt x="621" y="326"/>
                    </a:lnTo>
                    <a:lnTo>
                      <a:pt x="621" y="328"/>
                    </a:lnTo>
                    <a:lnTo>
                      <a:pt x="619" y="328"/>
                    </a:lnTo>
                    <a:lnTo>
                      <a:pt x="619" y="330"/>
                    </a:lnTo>
                    <a:lnTo>
                      <a:pt x="617" y="330"/>
                    </a:lnTo>
                    <a:lnTo>
                      <a:pt x="616" y="330"/>
                    </a:lnTo>
                    <a:lnTo>
                      <a:pt x="616" y="331"/>
                    </a:lnTo>
                    <a:lnTo>
                      <a:pt x="616" y="333"/>
                    </a:lnTo>
                    <a:lnTo>
                      <a:pt x="616" y="334"/>
                    </a:lnTo>
                    <a:lnTo>
                      <a:pt x="614" y="334"/>
                    </a:lnTo>
                    <a:lnTo>
                      <a:pt x="613" y="334"/>
                    </a:lnTo>
                    <a:lnTo>
                      <a:pt x="611" y="334"/>
                    </a:lnTo>
                    <a:lnTo>
                      <a:pt x="608" y="334"/>
                    </a:lnTo>
                    <a:lnTo>
                      <a:pt x="606" y="334"/>
                    </a:lnTo>
                    <a:lnTo>
                      <a:pt x="605" y="334"/>
                    </a:lnTo>
                    <a:lnTo>
                      <a:pt x="603" y="334"/>
                    </a:lnTo>
                    <a:lnTo>
                      <a:pt x="602" y="334"/>
                    </a:lnTo>
                    <a:lnTo>
                      <a:pt x="602" y="336"/>
                    </a:lnTo>
                    <a:lnTo>
                      <a:pt x="600" y="336"/>
                    </a:lnTo>
                    <a:lnTo>
                      <a:pt x="598" y="336"/>
                    </a:lnTo>
                    <a:lnTo>
                      <a:pt x="598" y="334"/>
                    </a:lnTo>
                    <a:lnTo>
                      <a:pt x="597" y="334"/>
                    </a:lnTo>
                    <a:lnTo>
                      <a:pt x="595" y="336"/>
                    </a:lnTo>
                    <a:lnTo>
                      <a:pt x="594" y="336"/>
                    </a:lnTo>
                    <a:lnTo>
                      <a:pt x="592" y="336"/>
                    </a:lnTo>
                    <a:lnTo>
                      <a:pt x="590" y="334"/>
                    </a:lnTo>
                    <a:lnTo>
                      <a:pt x="589" y="334"/>
                    </a:lnTo>
                    <a:lnTo>
                      <a:pt x="589" y="336"/>
                    </a:lnTo>
                    <a:lnTo>
                      <a:pt x="587" y="334"/>
                    </a:lnTo>
                    <a:lnTo>
                      <a:pt x="586" y="334"/>
                    </a:lnTo>
                    <a:lnTo>
                      <a:pt x="584" y="334"/>
                    </a:lnTo>
                    <a:lnTo>
                      <a:pt x="582" y="334"/>
                    </a:lnTo>
                    <a:lnTo>
                      <a:pt x="581" y="334"/>
                    </a:lnTo>
                    <a:lnTo>
                      <a:pt x="579" y="334"/>
                    </a:lnTo>
                    <a:lnTo>
                      <a:pt x="578" y="334"/>
                    </a:lnTo>
                    <a:lnTo>
                      <a:pt x="578" y="333"/>
                    </a:lnTo>
                    <a:lnTo>
                      <a:pt x="576" y="333"/>
                    </a:lnTo>
                    <a:lnTo>
                      <a:pt x="576" y="331"/>
                    </a:lnTo>
                    <a:lnTo>
                      <a:pt x="576" y="330"/>
                    </a:lnTo>
                    <a:lnTo>
                      <a:pt x="575" y="330"/>
                    </a:lnTo>
                    <a:lnTo>
                      <a:pt x="575" y="328"/>
                    </a:lnTo>
                    <a:lnTo>
                      <a:pt x="573" y="326"/>
                    </a:lnTo>
                    <a:lnTo>
                      <a:pt x="571" y="326"/>
                    </a:lnTo>
                    <a:lnTo>
                      <a:pt x="571" y="325"/>
                    </a:lnTo>
                    <a:lnTo>
                      <a:pt x="570" y="325"/>
                    </a:lnTo>
                    <a:lnTo>
                      <a:pt x="568" y="325"/>
                    </a:lnTo>
                    <a:lnTo>
                      <a:pt x="567" y="323"/>
                    </a:lnTo>
                    <a:lnTo>
                      <a:pt x="565" y="323"/>
                    </a:lnTo>
                    <a:lnTo>
                      <a:pt x="563" y="323"/>
                    </a:lnTo>
                    <a:lnTo>
                      <a:pt x="563" y="325"/>
                    </a:lnTo>
                    <a:lnTo>
                      <a:pt x="562" y="325"/>
                    </a:lnTo>
                    <a:lnTo>
                      <a:pt x="560" y="326"/>
                    </a:lnTo>
                    <a:lnTo>
                      <a:pt x="559" y="325"/>
                    </a:lnTo>
                    <a:lnTo>
                      <a:pt x="557" y="325"/>
                    </a:lnTo>
                    <a:lnTo>
                      <a:pt x="556" y="325"/>
                    </a:lnTo>
                    <a:lnTo>
                      <a:pt x="554" y="326"/>
                    </a:lnTo>
                    <a:lnTo>
                      <a:pt x="554" y="328"/>
                    </a:lnTo>
                    <a:lnTo>
                      <a:pt x="554" y="330"/>
                    </a:lnTo>
                    <a:lnTo>
                      <a:pt x="552" y="330"/>
                    </a:lnTo>
                    <a:lnTo>
                      <a:pt x="552" y="328"/>
                    </a:lnTo>
                    <a:lnTo>
                      <a:pt x="551" y="328"/>
                    </a:lnTo>
                    <a:lnTo>
                      <a:pt x="549" y="328"/>
                    </a:lnTo>
                    <a:lnTo>
                      <a:pt x="549" y="330"/>
                    </a:lnTo>
                    <a:lnTo>
                      <a:pt x="548" y="330"/>
                    </a:lnTo>
                    <a:lnTo>
                      <a:pt x="548" y="331"/>
                    </a:lnTo>
                    <a:lnTo>
                      <a:pt x="546" y="331"/>
                    </a:lnTo>
                    <a:lnTo>
                      <a:pt x="544" y="331"/>
                    </a:lnTo>
                    <a:lnTo>
                      <a:pt x="541" y="331"/>
                    </a:lnTo>
                    <a:lnTo>
                      <a:pt x="540" y="331"/>
                    </a:lnTo>
                    <a:lnTo>
                      <a:pt x="524" y="328"/>
                    </a:lnTo>
                    <a:lnTo>
                      <a:pt x="524" y="330"/>
                    </a:lnTo>
                    <a:lnTo>
                      <a:pt x="522" y="330"/>
                    </a:lnTo>
                    <a:lnTo>
                      <a:pt x="519" y="331"/>
                    </a:lnTo>
                    <a:lnTo>
                      <a:pt x="513" y="334"/>
                    </a:lnTo>
                    <a:lnTo>
                      <a:pt x="508" y="336"/>
                    </a:lnTo>
                    <a:lnTo>
                      <a:pt x="505" y="337"/>
                    </a:lnTo>
                    <a:lnTo>
                      <a:pt x="500" y="339"/>
                    </a:lnTo>
                    <a:lnTo>
                      <a:pt x="497" y="342"/>
                    </a:lnTo>
                    <a:lnTo>
                      <a:pt x="492" y="344"/>
                    </a:lnTo>
                    <a:lnTo>
                      <a:pt x="491" y="344"/>
                    </a:lnTo>
                    <a:lnTo>
                      <a:pt x="486" y="345"/>
                    </a:lnTo>
                    <a:lnTo>
                      <a:pt x="475" y="350"/>
                    </a:lnTo>
                    <a:lnTo>
                      <a:pt x="473" y="350"/>
                    </a:lnTo>
                    <a:lnTo>
                      <a:pt x="472" y="350"/>
                    </a:lnTo>
                    <a:lnTo>
                      <a:pt x="467" y="353"/>
                    </a:lnTo>
                    <a:lnTo>
                      <a:pt x="465" y="353"/>
                    </a:lnTo>
                    <a:lnTo>
                      <a:pt x="464" y="353"/>
                    </a:lnTo>
                    <a:lnTo>
                      <a:pt x="464" y="355"/>
                    </a:lnTo>
                    <a:lnTo>
                      <a:pt x="461" y="355"/>
                    </a:lnTo>
                    <a:lnTo>
                      <a:pt x="456" y="356"/>
                    </a:lnTo>
                    <a:lnTo>
                      <a:pt x="454" y="358"/>
                    </a:lnTo>
                    <a:lnTo>
                      <a:pt x="446" y="361"/>
                    </a:lnTo>
                    <a:lnTo>
                      <a:pt x="442" y="363"/>
                    </a:lnTo>
                    <a:lnTo>
                      <a:pt x="440" y="363"/>
                    </a:lnTo>
                    <a:lnTo>
                      <a:pt x="435" y="366"/>
                    </a:lnTo>
                    <a:lnTo>
                      <a:pt x="434" y="366"/>
                    </a:lnTo>
                    <a:lnTo>
                      <a:pt x="430" y="368"/>
                    </a:lnTo>
                    <a:lnTo>
                      <a:pt x="429" y="368"/>
                    </a:lnTo>
                    <a:lnTo>
                      <a:pt x="427" y="369"/>
                    </a:lnTo>
                    <a:lnTo>
                      <a:pt x="426" y="371"/>
                    </a:lnTo>
                    <a:lnTo>
                      <a:pt x="424" y="372"/>
                    </a:lnTo>
                    <a:lnTo>
                      <a:pt x="421" y="377"/>
                    </a:lnTo>
                    <a:lnTo>
                      <a:pt x="419" y="377"/>
                    </a:lnTo>
                    <a:lnTo>
                      <a:pt x="419" y="379"/>
                    </a:lnTo>
                    <a:lnTo>
                      <a:pt x="418" y="379"/>
                    </a:lnTo>
                    <a:lnTo>
                      <a:pt x="418" y="380"/>
                    </a:lnTo>
                    <a:lnTo>
                      <a:pt x="416" y="382"/>
                    </a:lnTo>
                    <a:lnTo>
                      <a:pt x="415" y="383"/>
                    </a:lnTo>
                    <a:lnTo>
                      <a:pt x="411" y="388"/>
                    </a:lnTo>
                    <a:lnTo>
                      <a:pt x="388" y="418"/>
                    </a:lnTo>
                    <a:lnTo>
                      <a:pt x="375" y="420"/>
                    </a:lnTo>
                    <a:lnTo>
                      <a:pt x="327" y="423"/>
                    </a:lnTo>
                    <a:lnTo>
                      <a:pt x="321" y="410"/>
                    </a:lnTo>
                    <a:lnTo>
                      <a:pt x="318" y="406"/>
                    </a:lnTo>
                    <a:lnTo>
                      <a:pt x="315" y="399"/>
                    </a:lnTo>
                    <a:lnTo>
                      <a:pt x="313" y="399"/>
                    </a:lnTo>
                    <a:lnTo>
                      <a:pt x="313" y="398"/>
                    </a:lnTo>
                    <a:lnTo>
                      <a:pt x="313" y="396"/>
                    </a:lnTo>
                    <a:lnTo>
                      <a:pt x="312" y="396"/>
                    </a:lnTo>
                    <a:lnTo>
                      <a:pt x="312" y="395"/>
                    </a:lnTo>
                    <a:lnTo>
                      <a:pt x="310" y="393"/>
                    </a:lnTo>
                    <a:lnTo>
                      <a:pt x="310" y="391"/>
                    </a:lnTo>
                    <a:lnTo>
                      <a:pt x="308" y="391"/>
                    </a:lnTo>
                    <a:lnTo>
                      <a:pt x="308" y="390"/>
                    </a:lnTo>
                    <a:lnTo>
                      <a:pt x="307" y="390"/>
                    </a:lnTo>
                    <a:lnTo>
                      <a:pt x="307" y="388"/>
                    </a:lnTo>
                    <a:lnTo>
                      <a:pt x="305" y="388"/>
                    </a:lnTo>
                    <a:lnTo>
                      <a:pt x="305" y="387"/>
                    </a:lnTo>
                    <a:lnTo>
                      <a:pt x="305" y="385"/>
                    </a:lnTo>
                    <a:lnTo>
                      <a:pt x="305" y="383"/>
                    </a:lnTo>
                    <a:lnTo>
                      <a:pt x="304" y="383"/>
                    </a:lnTo>
                    <a:lnTo>
                      <a:pt x="302" y="382"/>
                    </a:lnTo>
                    <a:lnTo>
                      <a:pt x="301" y="380"/>
                    </a:lnTo>
                    <a:lnTo>
                      <a:pt x="299" y="380"/>
                    </a:lnTo>
                    <a:lnTo>
                      <a:pt x="299" y="379"/>
                    </a:lnTo>
                    <a:lnTo>
                      <a:pt x="297" y="376"/>
                    </a:lnTo>
                    <a:lnTo>
                      <a:pt x="297" y="374"/>
                    </a:lnTo>
                    <a:lnTo>
                      <a:pt x="299" y="372"/>
                    </a:lnTo>
                    <a:lnTo>
                      <a:pt x="299" y="371"/>
                    </a:lnTo>
                    <a:lnTo>
                      <a:pt x="299" y="369"/>
                    </a:lnTo>
                    <a:lnTo>
                      <a:pt x="299" y="368"/>
                    </a:lnTo>
                    <a:lnTo>
                      <a:pt x="297" y="368"/>
                    </a:lnTo>
                    <a:lnTo>
                      <a:pt x="297" y="366"/>
                    </a:lnTo>
                    <a:lnTo>
                      <a:pt x="296" y="366"/>
                    </a:lnTo>
                    <a:lnTo>
                      <a:pt x="296" y="364"/>
                    </a:lnTo>
                    <a:lnTo>
                      <a:pt x="296" y="363"/>
                    </a:lnTo>
                    <a:lnTo>
                      <a:pt x="294" y="363"/>
                    </a:lnTo>
                    <a:lnTo>
                      <a:pt x="293" y="363"/>
                    </a:lnTo>
                    <a:lnTo>
                      <a:pt x="293" y="361"/>
                    </a:lnTo>
                    <a:lnTo>
                      <a:pt x="291" y="361"/>
                    </a:lnTo>
                    <a:lnTo>
                      <a:pt x="291" y="360"/>
                    </a:lnTo>
                    <a:lnTo>
                      <a:pt x="289" y="360"/>
                    </a:lnTo>
                    <a:lnTo>
                      <a:pt x="288" y="358"/>
                    </a:lnTo>
                    <a:lnTo>
                      <a:pt x="288" y="356"/>
                    </a:lnTo>
                    <a:lnTo>
                      <a:pt x="289" y="356"/>
                    </a:lnTo>
                    <a:lnTo>
                      <a:pt x="288" y="355"/>
                    </a:lnTo>
                    <a:lnTo>
                      <a:pt x="288" y="353"/>
                    </a:lnTo>
                    <a:lnTo>
                      <a:pt x="288" y="352"/>
                    </a:lnTo>
                    <a:lnTo>
                      <a:pt x="288" y="350"/>
                    </a:lnTo>
                    <a:lnTo>
                      <a:pt x="286" y="349"/>
                    </a:lnTo>
                    <a:lnTo>
                      <a:pt x="286" y="347"/>
                    </a:lnTo>
                    <a:lnTo>
                      <a:pt x="285" y="345"/>
                    </a:lnTo>
                    <a:lnTo>
                      <a:pt x="283" y="345"/>
                    </a:lnTo>
                    <a:lnTo>
                      <a:pt x="283" y="344"/>
                    </a:lnTo>
                    <a:lnTo>
                      <a:pt x="283" y="342"/>
                    </a:lnTo>
                    <a:lnTo>
                      <a:pt x="285" y="341"/>
                    </a:lnTo>
                    <a:lnTo>
                      <a:pt x="283" y="339"/>
                    </a:lnTo>
                    <a:lnTo>
                      <a:pt x="285" y="339"/>
                    </a:lnTo>
                    <a:lnTo>
                      <a:pt x="285" y="337"/>
                    </a:lnTo>
                    <a:lnTo>
                      <a:pt x="285" y="336"/>
                    </a:lnTo>
                    <a:lnTo>
                      <a:pt x="283" y="334"/>
                    </a:lnTo>
                    <a:lnTo>
                      <a:pt x="283" y="333"/>
                    </a:lnTo>
                    <a:lnTo>
                      <a:pt x="282" y="333"/>
                    </a:lnTo>
                    <a:lnTo>
                      <a:pt x="282" y="331"/>
                    </a:lnTo>
                    <a:lnTo>
                      <a:pt x="280" y="331"/>
                    </a:lnTo>
                    <a:lnTo>
                      <a:pt x="278" y="330"/>
                    </a:lnTo>
                    <a:lnTo>
                      <a:pt x="277" y="330"/>
                    </a:lnTo>
                    <a:lnTo>
                      <a:pt x="277" y="328"/>
                    </a:lnTo>
                    <a:lnTo>
                      <a:pt x="277" y="326"/>
                    </a:lnTo>
                    <a:lnTo>
                      <a:pt x="275" y="325"/>
                    </a:lnTo>
                    <a:lnTo>
                      <a:pt x="275" y="323"/>
                    </a:lnTo>
                    <a:lnTo>
                      <a:pt x="275" y="322"/>
                    </a:lnTo>
                    <a:lnTo>
                      <a:pt x="274" y="322"/>
                    </a:lnTo>
                    <a:lnTo>
                      <a:pt x="274" y="320"/>
                    </a:lnTo>
                    <a:lnTo>
                      <a:pt x="272" y="320"/>
                    </a:lnTo>
                    <a:lnTo>
                      <a:pt x="270" y="318"/>
                    </a:lnTo>
                    <a:lnTo>
                      <a:pt x="270" y="317"/>
                    </a:lnTo>
                    <a:lnTo>
                      <a:pt x="269" y="315"/>
                    </a:lnTo>
                    <a:lnTo>
                      <a:pt x="267" y="315"/>
                    </a:lnTo>
                    <a:lnTo>
                      <a:pt x="267" y="314"/>
                    </a:lnTo>
                    <a:lnTo>
                      <a:pt x="266" y="314"/>
                    </a:lnTo>
                    <a:lnTo>
                      <a:pt x="264" y="314"/>
                    </a:lnTo>
                    <a:lnTo>
                      <a:pt x="263" y="314"/>
                    </a:lnTo>
                    <a:lnTo>
                      <a:pt x="261" y="312"/>
                    </a:lnTo>
                    <a:lnTo>
                      <a:pt x="259" y="311"/>
                    </a:lnTo>
                    <a:lnTo>
                      <a:pt x="258" y="309"/>
                    </a:lnTo>
                    <a:lnTo>
                      <a:pt x="256" y="307"/>
                    </a:lnTo>
                    <a:lnTo>
                      <a:pt x="255" y="307"/>
                    </a:lnTo>
                    <a:lnTo>
                      <a:pt x="253" y="307"/>
                    </a:lnTo>
                    <a:lnTo>
                      <a:pt x="251" y="307"/>
                    </a:lnTo>
                    <a:lnTo>
                      <a:pt x="250" y="307"/>
                    </a:lnTo>
                    <a:lnTo>
                      <a:pt x="250" y="306"/>
                    </a:lnTo>
                    <a:lnTo>
                      <a:pt x="248" y="304"/>
                    </a:lnTo>
                    <a:lnTo>
                      <a:pt x="248" y="303"/>
                    </a:lnTo>
                    <a:lnTo>
                      <a:pt x="247" y="301"/>
                    </a:lnTo>
                    <a:lnTo>
                      <a:pt x="244" y="299"/>
                    </a:lnTo>
                    <a:lnTo>
                      <a:pt x="242" y="298"/>
                    </a:lnTo>
                    <a:lnTo>
                      <a:pt x="239" y="296"/>
                    </a:lnTo>
                    <a:lnTo>
                      <a:pt x="236" y="295"/>
                    </a:lnTo>
                    <a:lnTo>
                      <a:pt x="231" y="295"/>
                    </a:lnTo>
                    <a:lnTo>
                      <a:pt x="228" y="293"/>
                    </a:lnTo>
                    <a:lnTo>
                      <a:pt x="223" y="293"/>
                    </a:lnTo>
                    <a:lnTo>
                      <a:pt x="218" y="290"/>
                    </a:lnTo>
                    <a:lnTo>
                      <a:pt x="213" y="288"/>
                    </a:lnTo>
                    <a:lnTo>
                      <a:pt x="209" y="288"/>
                    </a:lnTo>
                    <a:lnTo>
                      <a:pt x="201" y="287"/>
                    </a:lnTo>
                    <a:lnTo>
                      <a:pt x="196" y="285"/>
                    </a:lnTo>
                    <a:lnTo>
                      <a:pt x="191" y="284"/>
                    </a:lnTo>
                    <a:lnTo>
                      <a:pt x="183" y="282"/>
                    </a:lnTo>
                    <a:lnTo>
                      <a:pt x="179" y="280"/>
                    </a:lnTo>
                    <a:lnTo>
                      <a:pt x="172" y="279"/>
                    </a:lnTo>
                    <a:lnTo>
                      <a:pt x="167" y="279"/>
                    </a:lnTo>
                    <a:lnTo>
                      <a:pt x="163" y="279"/>
                    </a:lnTo>
                    <a:lnTo>
                      <a:pt x="161" y="277"/>
                    </a:lnTo>
                    <a:lnTo>
                      <a:pt x="160" y="277"/>
                    </a:lnTo>
                    <a:lnTo>
                      <a:pt x="156" y="276"/>
                    </a:lnTo>
                    <a:lnTo>
                      <a:pt x="155" y="276"/>
                    </a:lnTo>
                    <a:lnTo>
                      <a:pt x="152" y="276"/>
                    </a:lnTo>
                    <a:lnTo>
                      <a:pt x="150" y="274"/>
                    </a:lnTo>
                    <a:lnTo>
                      <a:pt x="147" y="274"/>
                    </a:lnTo>
                    <a:lnTo>
                      <a:pt x="145" y="274"/>
                    </a:lnTo>
                    <a:lnTo>
                      <a:pt x="141" y="273"/>
                    </a:lnTo>
                    <a:lnTo>
                      <a:pt x="137" y="271"/>
                    </a:lnTo>
                    <a:lnTo>
                      <a:pt x="134" y="271"/>
                    </a:lnTo>
                    <a:lnTo>
                      <a:pt x="131" y="269"/>
                    </a:lnTo>
                    <a:lnTo>
                      <a:pt x="126" y="269"/>
                    </a:lnTo>
                    <a:lnTo>
                      <a:pt x="122" y="268"/>
                    </a:lnTo>
                    <a:lnTo>
                      <a:pt x="115" y="266"/>
                    </a:lnTo>
                    <a:lnTo>
                      <a:pt x="109" y="265"/>
                    </a:lnTo>
                    <a:lnTo>
                      <a:pt x="107" y="265"/>
                    </a:lnTo>
                    <a:lnTo>
                      <a:pt x="103" y="263"/>
                    </a:lnTo>
                    <a:lnTo>
                      <a:pt x="99" y="263"/>
                    </a:lnTo>
                    <a:lnTo>
                      <a:pt x="98" y="263"/>
                    </a:lnTo>
                    <a:lnTo>
                      <a:pt x="96" y="263"/>
                    </a:lnTo>
                    <a:lnTo>
                      <a:pt x="95" y="263"/>
                    </a:lnTo>
                    <a:lnTo>
                      <a:pt x="93" y="263"/>
                    </a:lnTo>
                    <a:lnTo>
                      <a:pt x="91" y="263"/>
                    </a:lnTo>
                    <a:lnTo>
                      <a:pt x="88" y="261"/>
                    </a:lnTo>
                    <a:lnTo>
                      <a:pt x="87" y="261"/>
                    </a:lnTo>
                    <a:lnTo>
                      <a:pt x="85" y="261"/>
                    </a:lnTo>
                    <a:lnTo>
                      <a:pt x="84" y="261"/>
                    </a:lnTo>
                    <a:lnTo>
                      <a:pt x="82" y="261"/>
                    </a:lnTo>
                    <a:lnTo>
                      <a:pt x="80" y="261"/>
                    </a:lnTo>
                    <a:lnTo>
                      <a:pt x="79" y="261"/>
                    </a:lnTo>
                    <a:lnTo>
                      <a:pt x="77" y="260"/>
                    </a:lnTo>
                    <a:lnTo>
                      <a:pt x="76" y="260"/>
                    </a:lnTo>
                    <a:lnTo>
                      <a:pt x="74" y="258"/>
                    </a:lnTo>
                    <a:lnTo>
                      <a:pt x="72" y="258"/>
                    </a:lnTo>
                    <a:lnTo>
                      <a:pt x="71" y="257"/>
                    </a:lnTo>
                    <a:lnTo>
                      <a:pt x="69" y="257"/>
                    </a:lnTo>
                    <a:lnTo>
                      <a:pt x="68" y="257"/>
                    </a:lnTo>
                    <a:lnTo>
                      <a:pt x="66" y="255"/>
                    </a:lnTo>
                    <a:lnTo>
                      <a:pt x="63" y="255"/>
                    </a:lnTo>
                    <a:lnTo>
                      <a:pt x="60" y="254"/>
                    </a:lnTo>
                    <a:lnTo>
                      <a:pt x="58" y="254"/>
                    </a:lnTo>
                    <a:lnTo>
                      <a:pt x="57" y="254"/>
                    </a:lnTo>
                    <a:lnTo>
                      <a:pt x="53" y="252"/>
                    </a:lnTo>
                    <a:lnTo>
                      <a:pt x="52" y="252"/>
                    </a:lnTo>
                    <a:lnTo>
                      <a:pt x="50" y="250"/>
                    </a:lnTo>
                    <a:lnTo>
                      <a:pt x="49" y="250"/>
                    </a:lnTo>
                    <a:lnTo>
                      <a:pt x="47" y="250"/>
                    </a:lnTo>
                    <a:lnTo>
                      <a:pt x="44" y="249"/>
                    </a:lnTo>
                    <a:lnTo>
                      <a:pt x="42" y="249"/>
                    </a:lnTo>
                    <a:lnTo>
                      <a:pt x="39" y="247"/>
                    </a:lnTo>
                    <a:lnTo>
                      <a:pt x="36" y="246"/>
                    </a:lnTo>
                    <a:lnTo>
                      <a:pt x="34" y="246"/>
                    </a:lnTo>
                    <a:lnTo>
                      <a:pt x="33" y="246"/>
                    </a:lnTo>
                    <a:lnTo>
                      <a:pt x="30" y="244"/>
                    </a:lnTo>
                    <a:lnTo>
                      <a:pt x="28" y="244"/>
                    </a:lnTo>
                    <a:lnTo>
                      <a:pt x="26" y="244"/>
                    </a:lnTo>
                    <a:lnTo>
                      <a:pt x="25" y="244"/>
                    </a:lnTo>
                    <a:lnTo>
                      <a:pt x="23" y="242"/>
                    </a:lnTo>
                    <a:lnTo>
                      <a:pt x="22" y="242"/>
                    </a:lnTo>
                    <a:lnTo>
                      <a:pt x="22" y="241"/>
                    </a:lnTo>
                    <a:lnTo>
                      <a:pt x="20" y="241"/>
                    </a:lnTo>
                    <a:lnTo>
                      <a:pt x="19" y="239"/>
                    </a:lnTo>
                    <a:lnTo>
                      <a:pt x="17" y="238"/>
                    </a:lnTo>
                    <a:lnTo>
                      <a:pt x="15" y="236"/>
                    </a:lnTo>
                    <a:lnTo>
                      <a:pt x="14" y="236"/>
                    </a:lnTo>
                    <a:lnTo>
                      <a:pt x="12" y="235"/>
                    </a:lnTo>
                    <a:lnTo>
                      <a:pt x="11" y="235"/>
                    </a:lnTo>
                    <a:lnTo>
                      <a:pt x="7" y="235"/>
                    </a:lnTo>
                    <a:lnTo>
                      <a:pt x="6" y="233"/>
                    </a:lnTo>
                    <a:lnTo>
                      <a:pt x="4" y="231"/>
                    </a:lnTo>
                    <a:lnTo>
                      <a:pt x="3" y="231"/>
                    </a:lnTo>
                    <a:lnTo>
                      <a:pt x="1" y="230"/>
                    </a:lnTo>
                    <a:lnTo>
                      <a:pt x="0" y="23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70" name="Freeform 50"/>
              <p:cNvSpPr>
                <a:spLocks/>
              </p:cNvSpPr>
              <p:nvPr/>
            </p:nvSpPr>
            <p:spPr bwMode="auto">
              <a:xfrm>
                <a:off x="4318" y="2799"/>
                <a:ext cx="333" cy="740"/>
              </a:xfrm>
              <a:custGeom>
                <a:avLst/>
                <a:gdLst>
                  <a:gd name="T0" fmla="*/ 25 w 333"/>
                  <a:gd name="T1" fmla="*/ 733 h 740"/>
                  <a:gd name="T2" fmla="*/ 11 w 333"/>
                  <a:gd name="T3" fmla="*/ 727 h 740"/>
                  <a:gd name="T4" fmla="*/ 3 w 333"/>
                  <a:gd name="T5" fmla="*/ 716 h 740"/>
                  <a:gd name="T6" fmla="*/ 8 w 333"/>
                  <a:gd name="T7" fmla="*/ 705 h 740"/>
                  <a:gd name="T8" fmla="*/ 3 w 333"/>
                  <a:gd name="T9" fmla="*/ 699 h 740"/>
                  <a:gd name="T10" fmla="*/ 0 w 333"/>
                  <a:gd name="T11" fmla="*/ 686 h 740"/>
                  <a:gd name="T12" fmla="*/ 6 w 333"/>
                  <a:gd name="T13" fmla="*/ 672 h 740"/>
                  <a:gd name="T14" fmla="*/ 2 w 333"/>
                  <a:gd name="T15" fmla="*/ 654 h 740"/>
                  <a:gd name="T16" fmla="*/ 6 w 333"/>
                  <a:gd name="T17" fmla="*/ 642 h 740"/>
                  <a:gd name="T18" fmla="*/ 14 w 333"/>
                  <a:gd name="T19" fmla="*/ 632 h 740"/>
                  <a:gd name="T20" fmla="*/ 25 w 333"/>
                  <a:gd name="T21" fmla="*/ 624 h 740"/>
                  <a:gd name="T22" fmla="*/ 38 w 333"/>
                  <a:gd name="T23" fmla="*/ 621 h 740"/>
                  <a:gd name="T24" fmla="*/ 41 w 333"/>
                  <a:gd name="T25" fmla="*/ 608 h 740"/>
                  <a:gd name="T26" fmla="*/ 49 w 333"/>
                  <a:gd name="T27" fmla="*/ 602 h 740"/>
                  <a:gd name="T28" fmla="*/ 59 w 333"/>
                  <a:gd name="T29" fmla="*/ 591 h 740"/>
                  <a:gd name="T30" fmla="*/ 68 w 333"/>
                  <a:gd name="T31" fmla="*/ 581 h 740"/>
                  <a:gd name="T32" fmla="*/ 79 w 333"/>
                  <a:gd name="T33" fmla="*/ 564 h 740"/>
                  <a:gd name="T34" fmla="*/ 84 w 333"/>
                  <a:gd name="T35" fmla="*/ 548 h 740"/>
                  <a:gd name="T36" fmla="*/ 90 w 333"/>
                  <a:gd name="T37" fmla="*/ 531 h 740"/>
                  <a:gd name="T38" fmla="*/ 108 w 333"/>
                  <a:gd name="T39" fmla="*/ 467 h 740"/>
                  <a:gd name="T40" fmla="*/ 125 w 333"/>
                  <a:gd name="T41" fmla="*/ 429 h 740"/>
                  <a:gd name="T42" fmla="*/ 131 w 333"/>
                  <a:gd name="T43" fmla="*/ 421 h 740"/>
                  <a:gd name="T44" fmla="*/ 128 w 333"/>
                  <a:gd name="T45" fmla="*/ 407 h 740"/>
                  <a:gd name="T46" fmla="*/ 135 w 333"/>
                  <a:gd name="T47" fmla="*/ 407 h 740"/>
                  <a:gd name="T48" fmla="*/ 141 w 333"/>
                  <a:gd name="T49" fmla="*/ 398 h 740"/>
                  <a:gd name="T50" fmla="*/ 149 w 333"/>
                  <a:gd name="T51" fmla="*/ 391 h 740"/>
                  <a:gd name="T52" fmla="*/ 160 w 333"/>
                  <a:gd name="T53" fmla="*/ 390 h 740"/>
                  <a:gd name="T54" fmla="*/ 168 w 333"/>
                  <a:gd name="T55" fmla="*/ 385 h 740"/>
                  <a:gd name="T56" fmla="*/ 160 w 333"/>
                  <a:gd name="T57" fmla="*/ 375 h 740"/>
                  <a:gd name="T58" fmla="*/ 154 w 333"/>
                  <a:gd name="T59" fmla="*/ 358 h 740"/>
                  <a:gd name="T60" fmla="*/ 154 w 333"/>
                  <a:gd name="T61" fmla="*/ 347 h 740"/>
                  <a:gd name="T62" fmla="*/ 158 w 333"/>
                  <a:gd name="T63" fmla="*/ 337 h 740"/>
                  <a:gd name="T64" fmla="*/ 149 w 333"/>
                  <a:gd name="T65" fmla="*/ 328 h 740"/>
                  <a:gd name="T66" fmla="*/ 147 w 333"/>
                  <a:gd name="T67" fmla="*/ 317 h 740"/>
                  <a:gd name="T68" fmla="*/ 141 w 333"/>
                  <a:gd name="T69" fmla="*/ 306 h 740"/>
                  <a:gd name="T70" fmla="*/ 138 w 333"/>
                  <a:gd name="T71" fmla="*/ 295 h 740"/>
                  <a:gd name="T72" fmla="*/ 139 w 333"/>
                  <a:gd name="T73" fmla="*/ 284 h 740"/>
                  <a:gd name="T74" fmla="*/ 147 w 333"/>
                  <a:gd name="T75" fmla="*/ 269 h 740"/>
                  <a:gd name="T76" fmla="*/ 152 w 333"/>
                  <a:gd name="T77" fmla="*/ 255 h 740"/>
                  <a:gd name="T78" fmla="*/ 157 w 333"/>
                  <a:gd name="T79" fmla="*/ 242 h 740"/>
                  <a:gd name="T80" fmla="*/ 162 w 333"/>
                  <a:gd name="T81" fmla="*/ 230 h 740"/>
                  <a:gd name="T82" fmla="*/ 165 w 333"/>
                  <a:gd name="T83" fmla="*/ 219 h 740"/>
                  <a:gd name="T84" fmla="*/ 163 w 333"/>
                  <a:gd name="T85" fmla="*/ 208 h 740"/>
                  <a:gd name="T86" fmla="*/ 158 w 333"/>
                  <a:gd name="T87" fmla="*/ 195 h 740"/>
                  <a:gd name="T88" fmla="*/ 158 w 333"/>
                  <a:gd name="T89" fmla="*/ 182 h 740"/>
                  <a:gd name="T90" fmla="*/ 171 w 333"/>
                  <a:gd name="T91" fmla="*/ 174 h 740"/>
                  <a:gd name="T92" fmla="*/ 182 w 333"/>
                  <a:gd name="T93" fmla="*/ 163 h 740"/>
                  <a:gd name="T94" fmla="*/ 185 w 333"/>
                  <a:gd name="T95" fmla="*/ 151 h 740"/>
                  <a:gd name="T96" fmla="*/ 200 w 333"/>
                  <a:gd name="T97" fmla="*/ 135 h 740"/>
                  <a:gd name="T98" fmla="*/ 211 w 333"/>
                  <a:gd name="T99" fmla="*/ 124 h 740"/>
                  <a:gd name="T100" fmla="*/ 219 w 333"/>
                  <a:gd name="T101" fmla="*/ 108 h 740"/>
                  <a:gd name="T102" fmla="*/ 226 w 333"/>
                  <a:gd name="T103" fmla="*/ 95 h 740"/>
                  <a:gd name="T104" fmla="*/ 244 w 333"/>
                  <a:gd name="T105" fmla="*/ 82 h 740"/>
                  <a:gd name="T106" fmla="*/ 252 w 333"/>
                  <a:gd name="T107" fmla="*/ 70 h 740"/>
                  <a:gd name="T108" fmla="*/ 261 w 333"/>
                  <a:gd name="T109" fmla="*/ 55 h 740"/>
                  <a:gd name="T110" fmla="*/ 268 w 333"/>
                  <a:gd name="T111" fmla="*/ 41 h 740"/>
                  <a:gd name="T112" fmla="*/ 277 w 333"/>
                  <a:gd name="T113" fmla="*/ 29 h 740"/>
                  <a:gd name="T114" fmla="*/ 290 w 333"/>
                  <a:gd name="T115" fmla="*/ 22 h 740"/>
                  <a:gd name="T116" fmla="*/ 307 w 333"/>
                  <a:gd name="T117" fmla="*/ 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3" h="740">
                    <a:moveTo>
                      <a:pt x="40" y="740"/>
                    </a:moveTo>
                    <a:lnTo>
                      <a:pt x="38" y="740"/>
                    </a:lnTo>
                    <a:lnTo>
                      <a:pt x="36" y="740"/>
                    </a:lnTo>
                    <a:lnTo>
                      <a:pt x="35" y="738"/>
                    </a:lnTo>
                    <a:lnTo>
                      <a:pt x="32" y="737"/>
                    </a:lnTo>
                    <a:lnTo>
                      <a:pt x="28" y="737"/>
                    </a:lnTo>
                    <a:lnTo>
                      <a:pt x="28" y="735"/>
                    </a:lnTo>
                    <a:lnTo>
                      <a:pt x="27" y="735"/>
                    </a:lnTo>
                    <a:lnTo>
                      <a:pt x="25" y="735"/>
                    </a:lnTo>
                    <a:lnTo>
                      <a:pt x="25" y="733"/>
                    </a:lnTo>
                    <a:lnTo>
                      <a:pt x="24" y="733"/>
                    </a:lnTo>
                    <a:lnTo>
                      <a:pt x="22" y="733"/>
                    </a:lnTo>
                    <a:lnTo>
                      <a:pt x="21" y="732"/>
                    </a:lnTo>
                    <a:lnTo>
                      <a:pt x="19" y="732"/>
                    </a:lnTo>
                    <a:lnTo>
                      <a:pt x="19" y="730"/>
                    </a:lnTo>
                    <a:lnTo>
                      <a:pt x="17" y="730"/>
                    </a:lnTo>
                    <a:lnTo>
                      <a:pt x="16" y="729"/>
                    </a:lnTo>
                    <a:lnTo>
                      <a:pt x="14" y="729"/>
                    </a:lnTo>
                    <a:lnTo>
                      <a:pt x="13" y="729"/>
                    </a:lnTo>
                    <a:lnTo>
                      <a:pt x="11" y="727"/>
                    </a:lnTo>
                    <a:lnTo>
                      <a:pt x="9" y="727"/>
                    </a:lnTo>
                    <a:lnTo>
                      <a:pt x="8" y="726"/>
                    </a:lnTo>
                    <a:lnTo>
                      <a:pt x="6" y="726"/>
                    </a:lnTo>
                    <a:lnTo>
                      <a:pt x="5" y="726"/>
                    </a:lnTo>
                    <a:lnTo>
                      <a:pt x="3" y="724"/>
                    </a:lnTo>
                    <a:lnTo>
                      <a:pt x="3" y="722"/>
                    </a:lnTo>
                    <a:lnTo>
                      <a:pt x="2" y="721"/>
                    </a:lnTo>
                    <a:lnTo>
                      <a:pt x="2" y="719"/>
                    </a:lnTo>
                    <a:lnTo>
                      <a:pt x="3" y="718"/>
                    </a:lnTo>
                    <a:lnTo>
                      <a:pt x="3" y="716"/>
                    </a:lnTo>
                    <a:lnTo>
                      <a:pt x="2" y="714"/>
                    </a:lnTo>
                    <a:lnTo>
                      <a:pt x="2" y="713"/>
                    </a:lnTo>
                    <a:lnTo>
                      <a:pt x="3" y="711"/>
                    </a:lnTo>
                    <a:lnTo>
                      <a:pt x="5" y="711"/>
                    </a:lnTo>
                    <a:lnTo>
                      <a:pt x="5" y="710"/>
                    </a:lnTo>
                    <a:lnTo>
                      <a:pt x="6" y="708"/>
                    </a:lnTo>
                    <a:lnTo>
                      <a:pt x="5" y="707"/>
                    </a:lnTo>
                    <a:lnTo>
                      <a:pt x="5" y="705"/>
                    </a:lnTo>
                    <a:lnTo>
                      <a:pt x="6" y="705"/>
                    </a:lnTo>
                    <a:lnTo>
                      <a:pt x="8" y="705"/>
                    </a:lnTo>
                    <a:lnTo>
                      <a:pt x="9" y="705"/>
                    </a:lnTo>
                    <a:lnTo>
                      <a:pt x="9" y="703"/>
                    </a:lnTo>
                    <a:lnTo>
                      <a:pt x="9" y="702"/>
                    </a:lnTo>
                    <a:lnTo>
                      <a:pt x="9" y="700"/>
                    </a:lnTo>
                    <a:lnTo>
                      <a:pt x="8" y="700"/>
                    </a:lnTo>
                    <a:lnTo>
                      <a:pt x="8" y="699"/>
                    </a:lnTo>
                    <a:lnTo>
                      <a:pt x="6" y="699"/>
                    </a:lnTo>
                    <a:lnTo>
                      <a:pt x="5" y="697"/>
                    </a:lnTo>
                    <a:lnTo>
                      <a:pt x="5" y="699"/>
                    </a:lnTo>
                    <a:lnTo>
                      <a:pt x="3" y="699"/>
                    </a:lnTo>
                    <a:lnTo>
                      <a:pt x="2" y="697"/>
                    </a:lnTo>
                    <a:lnTo>
                      <a:pt x="2" y="695"/>
                    </a:lnTo>
                    <a:lnTo>
                      <a:pt x="3" y="694"/>
                    </a:lnTo>
                    <a:lnTo>
                      <a:pt x="3" y="692"/>
                    </a:lnTo>
                    <a:lnTo>
                      <a:pt x="3" y="691"/>
                    </a:lnTo>
                    <a:lnTo>
                      <a:pt x="3" y="689"/>
                    </a:lnTo>
                    <a:lnTo>
                      <a:pt x="3" y="688"/>
                    </a:lnTo>
                    <a:lnTo>
                      <a:pt x="3" y="686"/>
                    </a:lnTo>
                    <a:lnTo>
                      <a:pt x="2" y="686"/>
                    </a:lnTo>
                    <a:lnTo>
                      <a:pt x="0" y="686"/>
                    </a:lnTo>
                    <a:lnTo>
                      <a:pt x="0" y="684"/>
                    </a:lnTo>
                    <a:lnTo>
                      <a:pt x="2" y="683"/>
                    </a:lnTo>
                    <a:lnTo>
                      <a:pt x="2" y="681"/>
                    </a:lnTo>
                    <a:lnTo>
                      <a:pt x="3" y="681"/>
                    </a:lnTo>
                    <a:lnTo>
                      <a:pt x="5" y="680"/>
                    </a:lnTo>
                    <a:lnTo>
                      <a:pt x="5" y="678"/>
                    </a:lnTo>
                    <a:lnTo>
                      <a:pt x="5" y="676"/>
                    </a:lnTo>
                    <a:lnTo>
                      <a:pt x="6" y="675"/>
                    </a:lnTo>
                    <a:lnTo>
                      <a:pt x="6" y="673"/>
                    </a:lnTo>
                    <a:lnTo>
                      <a:pt x="6" y="672"/>
                    </a:lnTo>
                    <a:lnTo>
                      <a:pt x="6" y="670"/>
                    </a:lnTo>
                    <a:lnTo>
                      <a:pt x="5" y="668"/>
                    </a:lnTo>
                    <a:lnTo>
                      <a:pt x="6" y="667"/>
                    </a:lnTo>
                    <a:lnTo>
                      <a:pt x="5" y="664"/>
                    </a:lnTo>
                    <a:lnTo>
                      <a:pt x="5" y="661"/>
                    </a:lnTo>
                    <a:lnTo>
                      <a:pt x="3" y="661"/>
                    </a:lnTo>
                    <a:lnTo>
                      <a:pt x="3" y="659"/>
                    </a:lnTo>
                    <a:lnTo>
                      <a:pt x="2" y="657"/>
                    </a:lnTo>
                    <a:lnTo>
                      <a:pt x="2" y="656"/>
                    </a:lnTo>
                    <a:lnTo>
                      <a:pt x="2" y="654"/>
                    </a:lnTo>
                    <a:lnTo>
                      <a:pt x="3" y="654"/>
                    </a:lnTo>
                    <a:lnTo>
                      <a:pt x="3" y="653"/>
                    </a:lnTo>
                    <a:lnTo>
                      <a:pt x="5" y="651"/>
                    </a:lnTo>
                    <a:lnTo>
                      <a:pt x="6" y="651"/>
                    </a:lnTo>
                    <a:lnTo>
                      <a:pt x="6" y="649"/>
                    </a:lnTo>
                    <a:lnTo>
                      <a:pt x="3" y="648"/>
                    </a:lnTo>
                    <a:lnTo>
                      <a:pt x="3" y="646"/>
                    </a:lnTo>
                    <a:lnTo>
                      <a:pt x="5" y="646"/>
                    </a:lnTo>
                    <a:lnTo>
                      <a:pt x="6" y="645"/>
                    </a:lnTo>
                    <a:lnTo>
                      <a:pt x="6" y="642"/>
                    </a:lnTo>
                    <a:lnTo>
                      <a:pt x="8" y="640"/>
                    </a:lnTo>
                    <a:lnTo>
                      <a:pt x="8" y="638"/>
                    </a:lnTo>
                    <a:lnTo>
                      <a:pt x="6" y="637"/>
                    </a:lnTo>
                    <a:lnTo>
                      <a:pt x="6" y="635"/>
                    </a:lnTo>
                    <a:lnTo>
                      <a:pt x="8" y="635"/>
                    </a:lnTo>
                    <a:lnTo>
                      <a:pt x="9" y="635"/>
                    </a:lnTo>
                    <a:lnTo>
                      <a:pt x="11" y="635"/>
                    </a:lnTo>
                    <a:lnTo>
                      <a:pt x="13" y="635"/>
                    </a:lnTo>
                    <a:lnTo>
                      <a:pt x="14" y="634"/>
                    </a:lnTo>
                    <a:lnTo>
                      <a:pt x="14" y="632"/>
                    </a:lnTo>
                    <a:lnTo>
                      <a:pt x="14" y="630"/>
                    </a:lnTo>
                    <a:lnTo>
                      <a:pt x="16" y="630"/>
                    </a:lnTo>
                    <a:lnTo>
                      <a:pt x="16" y="629"/>
                    </a:lnTo>
                    <a:lnTo>
                      <a:pt x="17" y="629"/>
                    </a:lnTo>
                    <a:lnTo>
                      <a:pt x="19" y="629"/>
                    </a:lnTo>
                    <a:lnTo>
                      <a:pt x="21" y="629"/>
                    </a:lnTo>
                    <a:lnTo>
                      <a:pt x="22" y="629"/>
                    </a:lnTo>
                    <a:lnTo>
                      <a:pt x="22" y="627"/>
                    </a:lnTo>
                    <a:lnTo>
                      <a:pt x="24" y="626"/>
                    </a:lnTo>
                    <a:lnTo>
                      <a:pt x="25" y="624"/>
                    </a:lnTo>
                    <a:lnTo>
                      <a:pt x="27" y="623"/>
                    </a:lnTo>
                    <a:lnTo>
                      <a:pt x="28" y="621"/>
                    </a:lnTo>
                    <a:lnTo>
                      <a:pt x="30" y="621"/>
                    </a:lnTo>
                    <a:lnTo>
                      <a:pt x="32" y="619"/>
                    </a:lnTo>
                    <a:lnTo>
                      <a:pt x="32" y="621"/>
                    </a:lnTo>
                    <a:lnTo>
                      <a:pt x="33" y="619"/>
                    </a:lnTo>
                    <a:lnTo>
                      <a:pt x="35" y="619"/>
                    </a:lnTo>
                    <a:lnTo>
                      <a:pt x="35" y="618"/>
                    </a:lnTo>
                    <a:lnTo>
                      <a:pt x="36" y="619"/>
                    </a:lnTo>
                    <a:lnTo>
                      <a:pt x="38" y="621"/>
                    </a:lnTo>
                    <a:lnTo>
                      <a:pt x="40" y="621"/>
                    </a:lnTo>
                    <a:lnTo>
                      <a:pt x="40" y="619"/>
                    </a:lnTo>
                    <a:lnTo>
                      <a:pt x="38" y="618"/>
                    </a:lnTo>
                    <a:lnTo>
                      <a:pt x="38" y="616"/>
                    </a:lnTo>
                    <a:lnTo>
                      <a:pt x="38" y="615"/>
                    </a:lnTo>
                    <a:lnTo>
                      <a:pt x="36" y="613"/>
                    </a:lnTo>
                    <a:lnTo>
                      <a:pt x="36" y="611"/>
                    </a:lnTo>
                    <a:lnTo>
                      <a:pt x="38" y="610"/>
                    </a:lnTo>
                    <a:lnTo>
                      <a:pt x="40" y="608"/>
                    </a:lnTo>
                    <a:lnTo>
                      <a:pt x="41" y="608"/>
                    </a:lnTo>
                    <a:lnTo>
                      <a:pt x="43" y="610"/>
                    </a:lnTo>
                    <a:lnTo>
                      <a:pt x="44" y="611"/>
                    </a:lnTo>
                    <a:lnTo>
                      <a:pt x="46" y="611"/>
                    </a:lnTo>
                    <a:lnTo>
                      <a:pt x="46" y="610"/>
                    </a:lnTo>
                    <a:lnTo>
                      <a:pt x="47" y="608"/>
                    </a:lnTo>
                    <a:lnTo>
                      <a:pt x="47" y="607"/>
                    </a:lnTo>
                    <a:lnTo>
                      <a:pt x="49" y="607"/>
                    </a:lnTo>
                    <a:lnTo>
                      <a:pt x="49" y="605"/>
                    </a:lnTo>
                    <a:lnTo>
                      <a:pt x="49" y="604"/>
                    </a:lnTo>
                    <a:lnTo>
                      <a:pt x="49" y="602"/>
                    </a:lnTo>
                    <a:lnTo>
                      <a:pt x="51" y="600"/>
                    </a:lnTo>
                    <a:lnTo>
                      <a:pt x="52" y="600"/>
                    </a:lnTo>
                    <a:lnTo>
                      <a:pt x="54" y="600"/>
                    </a:lnTo>
                    <a:lnTo>
                      <a:pt x="55" y="600"/>
                    </a:lnTo>
                    <a:lnTo>
                      <a:pt x="57" y="599"/>
                    </a:lnTo>
                    <a:lnTo>
                      <a:pt x="59" y="597"/>
                    </a:lnTo>
                    <a:lnTo>
                      <a:pt x="59" y="596"/>
                    </a:lnTo>
                    <a:lnTo>
                      <a:pt x="59" y="594"/>
                    </a:lnTo>
                    <a:lnTo>
                      <a:pt x="59" y="592"/>
                    </a:lnTo>
                    <a:lnTo>
                      <a:pt x="59" y="591"/>
                    </a:lnTo>
                    <a:lnTo>
                      <a:pt x="59" y="589"/>
                    </a:lnTo>
                    <a:lnTo>
                      <a:pt x="59" y="588"/>
                    </a:lnTo>
                    <a:lnTo>
                      <a:pt x="60" y="586"/>
                    </a:lnTo>
                    <a:lnTo>
                      <a:pt x="62" y="585"/>
                    </a:lnTo>
                    <a:lnTo>
                      <a:pt x="63" y="585"/>
                    </a:lnTo>
                    <a:lnTo>
                      <a:pt x="63" y="583"/>
                    </a:lnTo>
                    <a:lnTo>
                      <a:pt x="65" y="583"/>
                    </a:lnTo>
                    <a:lnTo>
                      <a:pt x="66" y="583"/>
                    </a:lnTo>
                    <a:lnTo>
                      <a:pt x="66" y="581"/>
                    </a:lnTo>
                    <a:lnTo>
                      <a:pt x="68" y="581"/>
                    </a:lnTo>
                    <a:lnTo>
                      <a:pt x="71" y="578"/>
                    </a:lnTo>
                    <a:lnTo>
                      <a:pt x="73" y="577"/>
                    </a:lnTo>
                    <a:lnTo>
                      <a:pt x="73" y="575"/>
                    </a:lnTo>
                    <a:lnTo>
                      <a:pt x="74" y="575"/>
                    </a:lnTo>
                    <a:lnTo>
                      <a:pt x="74" y="573"/>
                    </a:lnTo>
                    <a:lnTo>
                      <a:pt x="74" y="572"/>
                    </a:lnTo>
                    <a:lnTo>
                      <a:pt x="76" y="570"/>
                    </a:lnTo>
                    <a:lnTo>
                      <a:pt x="76" y="569"/>
                    </a:lnTo>
                    <a:lnTo>
                      <a:pt x="79" y="566"/>
                    </a:lnTo>
                    <a:lnTo>
                      <a:pt x="79" y="564"/>
                    </a:lnTo>
                    <a:lnTo>
                      <a:pt x="79" y="562"/>
                    </a:lnTo>
                    <a:lnTo>
                      <a:pt x="79" y="561"/>
                    </a:lnTo>
                    <a:lnTo>
                      <a:pt x="79" y="559"/>
                    </a:lnTo>
                    <a:lnTo>
                      <a:pt x="81" y="558"/>
                    </a:lnTo>
                    <a:lnTo>
                      <a:pt x="81" y="556"/>
                    </a:lnTo>
                    <a:lnTo>
                      <a:pt x="84" y="554"/>
                    </a:lnTo>
                    <a:lnTo>
                      <a:pt x="84" y="553"/>
                    </a:lnTo>
                    <a:lnTo>
                      <a:pt x="86" y="553"/>
                    </a:lnTo>
                    <a:lnTo>
                      <a:pt x="86" y="551"/>
                    </a:lnTo>
                    <a:lnTo>
                      <a:pt x="84" y="548"/>
                    </a:lnTo>
                    <a:lnTo>
                      <a:pt x="84" y="547"/>
                    </a:lnTo>
                    <a:lnTo>
                      <a:pt x="84" y="545"/>
                    </a:lnTo>
                    <a:lnTo>
                      <a:pt x="84" y="543"/>
                    </a:lnTo>
                    <a:lnTo>
                      <a:pt x="86" y="542"/>
                    </a:lnTo>
                    <a:lnTo>
                      <a:pt x="89" y="539"/>
                    </a:lnTo>
                    <a:lnTo>
                      <a:pt x="89" y="537"/>
                    </a:lnTo>
                    <a:lnTo>
                      <a:pt x="89" y="535"/>
                    </a:lnTo>
                    <a:lnTo>
                      <a:pt x="90" y="534"/>
                    </a:lnTo>
                    <a:lnTo>
                      <a:pt x="90" y="532"/>
                    </a:lnTo>
                    <a:lnTo>
                      <a:pt x="90" y="531"/>
                    </a:lnTo>
                    <a:lnTo>
                      <a:pt x="90" y="529"/>
                    </a:lnTo>
                    <a:lnTo>
                      <a:pt x="90" y="528"/>
                    </a:lnTo>
                    <a:lnTo>
                      <a:pt x="90" y="526"/>
                    </a:lnTo>
                    <a:lnTo>
                      <a:pt x="92" y="526"/>
                    </a:lnTo>
                    <a:lnTo>
                      <a:pt x="90" y="524"/>
                    </a:lnTo>
                    <a:lnTo>
                      <a:pt x="98" y="497"/>
                    </a:lnTo>
                    <a:lnTo>
                      <a:pt x="103" y="494"/>
                    </a:lnTo>
                    <a:lnTo>
                      <a:pt x="101" y="482"/>
                    </a:lnTo>
                    <a:lnTo>
                      <a:pt x="108" y="470"/>
                    </a:lnTo>
                    <a:lnTo>
                      <a:pt x="108" y="467"/>
                    </a:lnTo>
                    <a:lnTo>
                      <a:pt x="106" y="459"/>
                    </a:lnTo>
                    <a:lnTo>
                      <a:pt x="109" y="456"/>
                    </a:lnTo>
                    <a:lnTo>
                      <a:pt x="109" y="453"/>
                    </a:lnTo>
                    <a:lnTo>
                      <a:pt x="114" y="450"/>
                    </a:lnTo>
                    <a:lnTo>
                      <a:pt x="114" y="444"/>
                    </a:lnTo>
                    <a:lnTo>
                      <a:pt x="120" y="442"/>
                    </a:lnTo>
                    <a:lnTo>
                      <a:pt x="119" y="439"/>
                    </a:lnTo>
                    <a:lnTo>
                      <a:pt x="120" y="436"/>
                    </a:lnTo>
                    <a:lnTo>
                      <a:pt x="122" y="436"/>
                    </a:lnTo>
                    <a:lnTo>
                      <a:pt x="125" y="429"/>
                    </a:lnTo>
                    <a:lnTo>
                      <a:pt x="127" y="429"/>
                    </a:lnTo>
                    <a:lnTo>
                      <a:pt x="127" y="426"/>
                    </a:lnTo>
                    <a:lnTo>
                      <a:pt x="127" y="425"/>
                    </a:lnTo>
                    <a:lnTo>
                      <a:pt x="127" y="423"/>
                    </a:lnTo>
                    <a:lnTo>
                      <a:pt x="128" y="423"/>
                    </a:lnTo>
                    <a:lnTo>
                      <a:pt x="128" y="421"/>
                    </a:lnTo>
                    <a:lnTo>
                      <a:pt x="130" y="421"/>
                    </a:lnTo>
                    <a:lnTo>
                      <a:pt x="130" y="420"/>
                    </a:lnTo>
                    <a:lnTo>
                      <a:pt x="131" y="420"/>
                    </a:lnTo>
                    <a:lnTo>
                      <a:pt x="131" y="421"/>
                    </a:lnTo>
                    <a:lnTo>
                      <a:pt x="133" y="421"/>
                    </a:lnTo>
                    <a:lnTo>
                      <a:pt x="135" y="420"/>
                    </a:lnTo>
                    <a:lnTo>
                      <a:pt x="133" y="418"/>
                    </a:lnTo>
                    <a:lnTo>
                      <a:pt x="133" y="417"/>
                    </a:lnTo>
                    <a:lnTo>
                      <a:pt x="133" y="413"/>
                    </a:lnTo>
                    <a:lnTo>
                      <a:pt x="133" y="412"/>
                    </a:lnTo>
                    <a:lnTo>
                      <a:pt x="131" y="410"/>
                    </a:lnTo>
                    <a:lnTo>
                      <a:pt x="131" y="409"/>
                    </a:lnTo>
                    <a:lnTo>
                      <a:pt x="130" y="407"/>
                    </a:lnTo>
                    <a:lnTo>
                      <a:pt x="128" y="407"/>
                    </a:lnTo>
                    <a:lnTo>
                      <a:pt x="127" y="407"/>
                    </a:lnTo>
                    <a:lnTo>
                      <a:pt x="127" y="406"/>
                    </a:lnTo>
                    <a:lnTo>
                      <a:pt x="128" y="406"/>
                    </a:lnTo>
                    <a:lnTo>
                      <a:pt x="130" y="406"/>
                    </a:lnTo>
                    <a:lnTo>
                      <a:pt x="130" y="404"/>
                    </a:lnTo>
                    <a:lnTo>
                      <a:pt x="131" y="404"/>
                    </a:lnTo>
                    <a:lnTo>
                      <a:pt x="131" y="406"/>
                    </a:lnTo>
                    <a:lnTo>
                      <a:pt x="133" y="406"/>
                    </a:lnTo>
                    <a:lnTo>
                      <a:pt x="133" y="407"/>
                    </a:lnTo>
                    <a:lnTo>
                      <a:pt x="135" y="407"/>
                    </a:lnTo>
                    <a:lnTo>
                      <a:pt x="135" y="409"/>
                    </a:lnTo>
                    <a:lnTo>
                      <a:pt x="136" y="407"/>
                    </a:lnTo>
                    <a:lnTo>
                      <a:pt x="136" y="404"/>
                    </a:lnTo>
                    <a:lnTo>
                      <a:pt x="136" y="402"/>
                    </a:lnTo>
                    <a:lnTo>
                      <a:pt x="138" y="404"/>
                    </a:lnTo>
                    <a:lnTo>
                      <a:pt x="139" y="404"/>
                    </a:lnTo>
                    <a:lnTo>
                      <a:pt x="141" y="402"/>
                    </a:lnTo>
                    <a:lnTo>
                      <a:pt x="139" y="401"/>
                    </a:lnTo>
                    <a:lnTo>
                      <a:pt x="139" y="399"/>
                    </a:lnTo>
                    <a:lnTo>
                      <a:pt x="141" y="398"/>
                    </a:lnTo>
                    <a:lnTo>
                      <a:pt x="141" y="396"/>
                    </a:lnTo>
                    <a:lnTo>
                      <a:pt x="143" y="394"/>
                    </a:lnTo>
                    <a:lnTo>
                      <a:pt x="143" y="393"/>
                    </a:lnTo>
                    <a:lnTo>
                      <a:pt x="143" y="391"/>
                    </a:lnTo>
                    <a:lnTo>
                      <a:pt x="143" y="390"/>
                    </a:lnTo>
                    <a:lnTo>
                      <a:pt x="144" y="390"/>
                    </a:lnTo>
                    <a:lnTo>
                      <a:pt x="146" y="391"/>
                    </a:lnTo>
                    <a:lnTo>
                      <a:pt x="146" y="393"/>
                    </a:lnTo>
                    <a:lnTo>
                      <a:pt x="147" y="393"/>
                    </a:lnTo>
                    <a:lnTo>
                      <a:pt x="149" y="391"/>
                    </a:lnTo>
                    <a:lnTo>
                      <a:pt x="150" y="391"/>
                    </a:lnTo>
                    <a:lnTo>
                      <a:pt x="152" y="391"/>
                    </a:lnTo>
                    <a:lnTo>
                      <a:pt x="152" y="390"/>
                    </a:lnTo>
                    <a:lnTo>
                      <a:pt x="152" y="388"/>
                    </a:lnTo>
                    <a:lnTo>
                      <a:pt x="154" y="388"/>
                    </a:lnTo>
                    <a:lnTo>
                      <a:pt x="155" y="388"/>
                    </a:lnTo>
                    <a:lnTo>
                      <a:pt x="157" y="388"/>
                    </a:lnTo>
                    <a:lnTo>
                      <a:pt x="158" y="388"/>
                    </a:lnTo>
                    <a:lnTo>
                      <a:pt x="158" y="390"/>
                    </a:lnTo>
                    <a:lnTo>
                      <a:pt x="160" y="390"/>
                    </a:lnTo>
                    <a:lnTo>
                      <a:pt x="160" y="391"/>
                    </a:lnTo>
                    <a:lnTo>
                      <a:pt x="160" y="390"/>
                    </a:lnTo>
                    <a:lnTo>
                      <a:pt x="162" y="390"/>
                    </a:lnTo>
                    <a:lnTo>
                      <a:pt x="160" y="388"/>
                    </a:lnTo>
                    <a:lnTo>
                      <a:pt x="160" y="387"/>
                    </a:lnTo>
                    <a:lnTo>
                      <a:pt x="162" y="385"/>
                    </a:lnTo>
                    <a:lnTo>
                      <a:pt x="163" y="385"/>
                    </a:lnTo>
                    <a:lnTo>
                      <a:pt x="165" y="385"/>
                    </a:lnTo>
                    <a:lnTo>
                      <a:pt x="166" y="385"/>
                    </a:lnTo>
                    <a:lnTo>
                      <a:pt x="168" y="385"/>
                    </a:lnTo>
                    <a:lnTo>
                      <a:pt x="169" y="385"/>
                    </a:lnTo>
                    <a:lnTo>
                      <a:pt x="168" y="383"/>
                    </a:lnTo>
                    <a:lnTo>
                      <a:pt x="168" y="382"/>
                    </a:lnTo>
                    <a:lnTo>
                      <a:pt x="166" y="382"/>
                    </a:lnTo>
                    <a:lnTo>
                      <a:pt x="166" y="380"/>
                    </a:lnTo>
                    <a:lnTo>
                      <a:pt x="166" y="379"/>
                    </a:lnTo>
                    <a:lnTo>
                      <a:pt x="165" y="377"/>
                    </a:lnTo>
                    <a:lnTo>
                      <a:pt x="163" y="377"/>
                    </a:lnTo>
                    <a:lnTo>
                      <a:pt x="162" y="375"/>
                    </a:lnTo>
                    <a:lnTo>
                      <a:pt x="160" y="375"/>
                    </a:lnTo>
                    <a:lnTo>
                      <a:pt x="158" y="374"/>
                    </a:lnTo>
                    <a:lnTo>
                      <a:pt x="155" y="372"/>
                    </a:lnTo>
                    <a:lnTo>
                      <a:pt x="154" y="371"/>
                    </a:lnTo>
                    <a:lnTo>
                      <a:pt x="154" y="368"/>
                    </a:lnTo>
                    <a:lnTo>
                      <a:pt x="154" y="366"/>
                    </a:lnTo>
                    <a:lnTo>
                      <a:pt x="154" y="364"/>
                    </a:lnTo>
                    <a:lnTo>
                      <a:pt x="154" y="363"/>
                    </a:lnTo>
                    <a:lnTo>
                      <a:pt x="152" y="361"/>
                    </a:lnTo>
                    <a:lnTo>
                      <a:pt x="152" y="358"/>
                    </a:lnTo>
                    <a:lnTo>
                      <a:pt x="154" y="358"/>
                    </a:lnTo>
                    <a:lnTo>
                      <a:pt x="155" y="358"/>
                    </a:lnTo>
                    <a:lnTo>
                      <a:pt x="157" y="358"/>
                    </a:lnTo>
                    <a:lnTo>
                      <a:pt x="158" y="356"/>
                    </a:lnTo>
                    <a:lnTo>
                      <a:pt x="158" y="355"/>
                    </a:lnTo>
                    <a:lnTo>
                      <a:pt x="158" y="353"/>
                    </a:lnTo>
                    <a:lnTo>
                      <a:pt x="157" y="353"/>
                    </a:lnTo>
                    <a:lnTo>
                      <a:pt x="155" y="352"/>
                    </a:lnTo>
                    <a:lnTo>
                      <a:pt x="154" y="350"/>
                    </a:lnTo>
                    <a:lnTo>
                      <a:pt x="152" y="349"/>
                    </a:lnTo>
                    <a:lnTo>
                      <a:pt x="154" y="347"/>
                    </a:lnTo>
                    <a:lnTo>
                      <a:pt x="154" y="345"/>
                    </a:lnTo>
                    <a:lnTo>
                      <a:pt x="155" y="345"/>
                    </a:lnTo>
                    <a:lnTo>
                      <a:pt x="157" y="345"/>
                    </a:lnTo>
                    <a:lnTo>
                      <a:pt x="158" y="345"/>
                    </a:lnTo>
                    <a:lnTo>
                      <a:pt x="158" y="344"/>
                    </a:lnTo>
                    <a:lnTo>
                      <a:pt x="160" y="342"/>
                    </a:lnTo>
                    <a:lnTo>
                      <a:pt x="160" y="341"/>
                    </a:lnTo>
                    <a:lnTo>
                      <a:pt x="158" y="341"/>
                    </a:lnTo>
                    <a:lnTo>
                      <a:pt x="158" y="339"/>
                    </a:lnTo>
                    <a:lnTo>
                      <a:pt x="158" y="337"/>
                    </a:lnTo>
                    <a:lnTo>
                      <a:pt x="158" y="336"/>
                    </a:lnTo>
                    <a:lnTo>
                      <a:pt x="157" y="334"/>
                    </a:lnTo>
                    <a:lnTo>
                      <a:pt x="157" y="333"/>
                    </a:lnTo>
                    <a:lnTo>
                      <a:pt x="155" y="333"/>
                    </a:lnTo>
                    <a:lnTo>
                      <a:pt x="155" y="331"/>
                    </a:lnTo>
                    <a:lnTo>
                      <a:pt x="154" y="330"/>
                    </a:lnTo>
                    <a:lnTo>
                      <a:pt x="152" y="330"/>
                    </a:lnTo>
                    <a:lnTo>
                      <a:pt x="152" y="328"/>
                    </a:lnTo>
                    <a:lnTo>
                      <a:pt x="150" y="328"/>
                    </a:lnTo>
                    <a:lnTo>
                      <a:pt x="149" y="328"/>
                    </a:lnTo>
                    <a:lnTo>
                      <a:pt x="147" y="328"/>
                    </a:lnTo>
                    <a:lnTo>
                      <a:pt x="146" y="328"/>
                    </a:lnTo>
                    <a:lnTo>
                      <a:pt x="144" y="326"/>
                    </a:lnTo>
                    <a:lnTo>
                      <a:pt x="144" y="325"/>
                    </a:lnTo>
                    <a:lnTo>
                      <a:pt x="144" y="323"/>
                    </a:lnTo>
                    <a:lnTo>
                      <a:pt x="146" y="323"/>
                    </a:lnTo>
                    <a:lnTo>
                      <a:pt x="146" y="322"/>
                    </a:lnTo>
                    <a:lnTo>
                      <a:pt x="147" y="320"/>
                    </a:lnTo>
                    <a:lnTo>
                      <a:pt x="147" y="318"/>
                    </a:lnTo>
                    <a:lnTo>
                      <a:pt x="147" y="317"/>
                    </a:lnTo>
                    <a:lnTo>
                      <a:pt x="147" y="315"/>
                    </a:lnTo>
                    <a:lnTo>
                      <a:pt x="146" y="314"/>
                    </a:lnTo>
                    <a:lnTo>
                      <a:pt x="144" y="312"/>
                    </a:lnTo>
                    <a:lnTo>
                      <a:pt x="146" y="312"/>
                    </a:lnTo>
                    <a:lnTo>
                      <a:pt x="146" y="311"/>
                    </a:lnTo>
                    <a:lnTo>
                      <a:pt x="146" y="309"/>
                    </a:lnTo>
                    <a:lnTo>
                      <a:pt x="146" y="307"/>
                    </a:lnTo>
                    <a:lnTo>
                      <a:pt x="144" y="307"/>
                    </a:lnTo>
                    <a:lnTo>
                      <a:pt x="143" y="306"/>
                    </a:lnTo>
                    <a:lnTo>
                      <a:pt x="141" y="306"/>
                    </a:lnTo>
                    <a:lnTo>
                      <a:pt x="141" y="304"/>
                    </a:lnTo>
                    <a:lnTo>
                      <a:pt x="139" y="304"/>
                    </a:lnTo>
                    <a:lnTo>
                      <a:pt x="139" y="303"/>
                    </a:lnTo>
                    <a:lnTo>
                      <a:pt x="138" y="301"/>
                    </a:lnTo>
                    <a:lnTo>
                      <a:pt x="139" y="301"/>
                    </a:lnTo>
                    <a:lnTo>
                      <a:pt x="139" y="299"/>
                    </a:lnTo>
                    <a:lnTo>
                      <a:pt x="141" y="299"/>
                    </a:lnTo>
                    <a:lnTo>
                      <a:pt x="141" y="298"/>
                    </a:lnTo>
                    <a:lnTo>
                      <a:pt x="139" y="296"/>
                    </a:lnTo>
                    <a:lnTo>
                      <a:pt x="138" y="295"/>
                    </a:lnTo>
                    <a:lnTo>
                      <a:pt x="136" y="293"/>
                    </a:lnTo>
                    <a:lnTo>
                      <a:pt x="136" y="291"/>
                    </a:lnTo>
                    <a:lnTo>
                      <a:pt x="136" y="290"/>
                    </a:lnTo>
                    <a:lnTo>
                      <a:pt x="136" y="288"/>
                    </a:lnTo>
                    <a:lnTo>
                      <a:pt x="138" y="287"/>
                    </a:lnTo>
                    <a:lnTo>
                      <a:pt x="139" y="287"/>
                    </a:lnTo>
                    <a:lnTo>
                      <a:pt x="139" y="285"/>
                    </a:lnTo>
                    <a:lnTo>
                      <a:pt x="141" y="285"/>
                    </a:lnTo>
                    <a:lnTo>
                      <a:pt x="141" y="284"/>
                    </a:lnTo>
                    <a:lnTo>
                      <a:pt x="139" y="284"/>
                    </a:lnTo>
                    <a:lnTo>
                      <a:pt x="139" y="282"/>
                    </a:lnTo>
                    <a:lnTo>
                      <a:pt x="139" y="280"/>
                    </a:lnTo>
                    <a:lnTo>
                      <a:pt x="139" y="279"/>
                    </a:lnTo>
                    <a:lnTo>
                      <a:pt x="141" y="279"/>
                    </a:lnTo>
                    <a:lnTo>
                      <a:pt x="143" y="277"/>
                    </a:lnTo>
                    <a:lnTo>
                      <a:pt x="146" y="276"/>
                    </a:lnTo>
                    <a:lnTo>
                      <a:pt x="146" y="274"/>
                    </a:lnTo>
                    <a:lnTo>
                      <a:pt x="146" y="272"/>
                    </a:lnTo>
                    <a:lnTo>
                      <a:pt x="146" y="269"/>
                    </a:lnTo>
                    <a:lnTo>
                      <a:pt x="147" y="269"/>
                    </a:lnTo>
                    <a:lnTo>
                      <a:pt x="147" y="268"/>
                    </a:lnTo>
                    <a:lnTo>
                      <a:pt x="149" y="266"/>
                    </a:lnTo>
                    <a:lnTo>
                      <a:pt x="147" y="265"/>
                    </a:lnTo>
                    <a:lnTo>
                      <a:pt x="147" y="263"/>
                    </a:lnTo>
                    <a:lnTo>
                      <a:pt x="149" y="261"/>
                    </a:lnTo>
                    <a:lnTo>
                      <a:pt x="150" y="260"/>
                    </a:lnTo>
                    <a:lnTo>
                      <a:pt x="152" y="260"/>
                    </a:lnTo>
                    <a:lnTo>
                      <a:pt x="152" y="258"/>
                    </a:lnTo>
                    <a:lnTo>
                      <a:pt x="152" y="257"/>
                    </a:lnTo>
                    <a:lnTo>
                      <a:pt x="152" y="255"/>
                    </a:lnTo>
                    <a:lnTo>
                      <a:pt x="152" y="253"/>
                    </a:lnTo>
                    <a:lnTo>
                      <a:pt x="154" y="253"/>
                    </a:lnTo>
                    <a:lnTo>
                      <a:pt x="154" y="252"/>
                    </a:lnTo>
                    <a:lnTo>
                      <a:pt x="155" y="252"/>
                    </a:lnTo>
                    <a:lnTo>
                      <a:pt x="155" y="249"/>
                    </a:lnTo>
                    <a:lnTo>
                      <a:pt x="155" y="247"/>
                    </a:lnTo>
                    <a:lnTo>
                      <a:pt x="157" y="247"/>
                    </a:lnTo>
                    <a:lnTo>
                      <a:pt x="157" y="246"/>
                    </a:lnTo>
                    <a:lnTo>
                      <a:pt x="157" y="244"/>
                    </a:lnTo>
                    <a:lnTo>
                      <a:pt x="157" y="242"/>
                    </a:lnTo>
                    <a:lnTo>
                      <a:pt x="157" y="241"/>
                    </a:lnTo>
                    <a:lnTo>
                      <a:pt x="157" y="239"/>
                    </a:lnTo>
                    <a:lnTo>
                      <a:pt x="157" y="238"/>
                    </a:lnTo>
                    <a:lnTo>
                      <a:pt x="157" y="236"/>
                    </a:lnTo>
                    <a:lnTo>
                      <a:pt x="157" y="234"/>
                    </a:lnTo>
                    <a:lnTo>
                      <a:pt x="158" y="234"/>
                    </a:lnTo>
                    <a:lnTo>
                      <a:pt x="158" y="233"/>
                    </a:lnTo>
                    <a:lnTo>
                      <a:pt x="160" y="231"/>
                    </a:lnTo>
                    <a:lnTo>
                      <a:pt x="162" y="231"/>
                    </a:lnTo>
                    <a:lnTo>
                      <a:pt x="162" y="230"/>
                    </a:lnTo>
                    <a:lnTo>
                      <a:pt x="162" y="228"/>
                    </a:lnTo>
                    <a:lnTo>
                      <a:pt x="163" y="228"/>
                    </a:lnTo>
                    <a:lnTo>
                      <a:pt x="163" y="227"/>
                    </a:lnTo>
                    <a:lnTo>
                      <a:pt x="165" y="227"/>
                    </a:lnTo>
                    <a:lnTo>
                      <a:pt x="165" y="225"/>
                    </a:lnTo>
                    <a:lnTo>
                      <a:pt x="166" y="223"/>
                    </a:lnTo>
                    <a:lnTo>
                      <a:pt x="165" y="223"/>
                    </a:lnTo>
                    <a:lnTo>
                      <a:pt x="165" y="222"/>
                    </a:lnTo>
                    <a:lnTo>
                      <a:pt x="165" y="220"/>
                    </a:lnTo>
                    <a:lnTo>
                      <a:pt x="165" y="219"/>
                    </a:lnTo>
                    <a:lnTo>
                      <a:pt x="165" y="217"/>
                    </a:lnTo>
                    <a:lnTo>
                      <a:pt x="166" y="215"/>
                    </a:lnTo>
                    <a:lnTo>
                      <a:pt x="166" y="214"/>
                    </a:lnTo>
                    <a:lnTo>
                      <a:pt x="166" y="212"/>
                    </a:lnTo>
                    <a:lnTo>
                      <a:pt x="165" y="212"/>
                    </a:lnTo>
                    <a:lnTo>
                      <a:pt x="163" y="212"/>
                    </a:lnTo>
                    <a:lnTo>
                      <a:pt x="162" y="212"/>
                    </a:lnTo>
                    <a:lnTo>
                      <a:pt x="162" y="211"/>
                    </a:lnTo>
                    <a:lnTo>
                      <a:pt x="163" y="209"/>
                    </a:lnTo>
                    <a:lnTo>
                      <a:pt x="163" y="208"/>
                    </a:lnTo>
                    <a:lnTo>
                      <a:pt x="163" y="206"/>
                    </a:lnTo>
                    <a:lnTo>
                      <a:pt x="162" y="206"/>
                    </a:lnTo>
                    <a:lnTo>
                      <a:pt x="162" y="204"/>
                    </a:lnTo>
                    <a:lnTo>
                      <a:pt x="160" y="203"/>
                    </a:lnTo>
                    <a:lnTo>
                      <a:pt x="160" y="201"/>
                    </a:lnTo>
                    <a:lnTo>
                      <a:pt x="160" y="200"/>
                    </a:lnTo>
                    <a:lnTo>
                      <a:pt x="160" y="198"/>
                    </a:lnTo>
                    <a:lnTo>
                      <a:pt x="158" y="198"/>
                    </a:lnTo>
                    <a:lnTo>
                      <a:pt x="158" y="196"/>
                    </a:lnTo>
                    <a:lnTo>
                      <a:pt x="158" y="195"/>
                    </a:lnTo>
                    <a:lnTo>
                      <a:pt x="158" y="193"/>
                    </a:lnTo>
                    <a:lnTo>
                      <a:pt x="158" y="192"/>
                    </a:lnTo>
                    <a:lnTo>
                      <a:pt x="157" y="190"/>
                    </a:lnTo>
                    <a:lnTo>
                      <a:pt x="157" y="189"/>
                    </a:lnTo>
                    <a:lnTo>
                      <a:pt x="155" y="189"/>
                    </a:lnTo>
                    <a:lnTo>
                      <a:pt x="155" y="187"/>
                    </a:lnTo>
                    <a:lnTo>
                      <a:pt x="155" y="185"/>
                    </a:lnTo>
                    <a:lnTo>
                      <a:pt x="157" y="184"/>
                    </a:lnTo>
                    <a:lnTo>
                      <a:pt x="158" y="184"/>
                    </a:lnTo>
                    <a:lnTo>
                      <a:pt x="158" y="182"/>
                    </a:lnTo>
                    <a:lnTo>
                      <a:pt x="158" y="181"/>
                    </a:lnTo>
                    <a:lnTo>
                      <a:pt x="160" y="181"/>
                    </a:lnTo>
                    <a:lnTo>
                      <a:pt x="162" y="181"/>
                    </a:lnTo>
                    <a:lnTo>
                      <a:pt x="163" y="179"/>
                    </a:lnTo>
                    <a:lnTo>
                      <a:pt x="165" y="177"/>
                    </a:lnTo>
                    <a:lnTo>
                      <a:pt x="165" y="176"/>
                    </a:lnTo>
                    <a:lnTo>
                      <a:pt x="166" y="174"/>
                    </a:lnTo>
                    <a:lnTo>
                      <a:pt x="168" y="174"/>
                    </a:lnTo>
                    <a:lnTo>
                      <a:pt x="169" y="174"/>
                    </a:lnTo>
                    <a:lnTo>
                      <a:pt x="171" y="174"/>
                    </a:lnTo>
                    <a:lnTo>
                      <a:pt x="171" y="173"/>
                    </a:lnTo>
                    <a:lnTo>
                      <a:pt x="171" y="171"/>
                    </a:lnTo>
                    <a:lnTo>
                      <a:pt x="171" y="170"/>
                    </a:lnTo>
                    <a:lnTo>
                      <a:pt x="173" y="168"/>
                    </a:lnTo>
                    <a:lnTo>
                      <a:pt x="174" y="166"/>
                    </a:lnTo>
                    <a:lnTo>
                      <a:pt x="174" y="165"/>
                    </a:lnTo>
                    <a:lnTo>
                      <a:pt x="176" y="165"/>
                    </a:lnTo>
                    <a:lnTo>
                      <a:pt x="177" y="163"/>
                    </a:lnTo>
                    <a:lnTo>
                      <a:pt x="179" y="163"/>
                    </a:lnTo>
                    <a:lnTo>
                      <a:pt x="182" y="163"/>
                    </a:lnTo>
                    <a:lnTo>
                      <a:pt x="182" y="162"/>
                    </a:lnTo>
                    <a:lnTo>
                      <a:pt x="184" y="160"/>
                    </a:lnTo>
                    <a:lnTo>
                      <a:pt x="182" y="158"/>
                    </a:lnTo>
                    <a:lnTo>
                      <a:pt x="182" y="157"/>
                    </a:lnTo>
                    <a:lnTo>
                      <a:pt x="182" y="155"/>
                    </a:lnTo>
                    <a:lnTo>
                      <a:pt x="182" y="154"/>
                    </a:lnTo>
                    <a:lnTo>
                      <a:pt x="182" y="152"/>
                    </a:lnTo>
                    <a:lnTo>
                      <a:pt x="184" y="152"/>
                    </a:lnTo>
                    <a:lnTo>
                      <a:pt x="184" y="151"/>
                    </a:lnTo>
                    <a:lnTo>
                      <a:pt x="185" y="151"/>
                    </a:lnTo>
                    <a:lnTo>
                      <a:pt x="185" y="149"/>
                    </a:lnTo>
                    <a:lnTo>
                      <a:pt x="187" y="149"/>
                    </a:lnTo>
                    <a:lnTo>
                      <a:pt x="188" y="147"/>
                    </a:lnTo>
                    <a:lnTo>
                      <a:pt x="188" y="146"/>
                    </a:lnTo>
                    <a:lnTo>
                      <a:pt x="190" y="144"/>
                    </a:lnTo>
                    <a:lnTo>
                      <a:pt x="193" y="141"/>
                    </a:lnTo>
                    <a:lnTo>
                      <a:pt x="195" y="138"/>
                    </a:lnTo>
                    <a:lnTo>
                      <a:pt x="196" y="136"/>
                    </a:lnTo>
                    <a:lnTo>
                      <a:pt x="198" y="135"/>
                    </a:lnTo>
                    <a:lnTo>
                      <a:pt x="200" y="135"/>
                    </a:lnTo>
                    <a:lnTo>
                      <a:pt x="200" y="133"/>
                    </a:lnTo>
                    <a:lnTo>
                      <a:pt x="203" y="133"/>
                    </a:lnTo>
                    <a:lnTo>
                      <a:pt x="204" y="133"/>
                    </a:lnTo>
                    <a:lnTo>
                      <a:pt x="206" y="132"/>
                    </a:lnTo>
                    <a:lnTo>
                      <a:pt x="206" y="130"/>
                    </a:lnTo>
                    <a:lnTo>
                      <a:pt x="207" y="130"/>
                    </a:lnTo>
                    <a:lnTo>
                      <a:pt x="209" y="128"/>
                    </a:lnTo>
                    <a:lnTo>
                      <a:pt x="209" y="127"/>
                    </a:lnTo>
                    <a:lnTo>
                      <a:pt x="209" y="125"/>
                    </a:lnTo>
                    <a:lnTo>
                      <a:pt x="211" y="124"/>
                    </a:lnTo>
                    <a:lnTo>
                      <a:pt x="212" y="122"/>
                    </a:lnTo>
                    <a:lnTo>
                      <a:pt x="214" y="120"/>
                    </a:lnTo>
                    <a:lnTo>
                      <a:pt x="215" y="119"/>
                    </a:lnTo>
                    <a:lnTo>
                      <a:pt x="215" y="117"/>
                    </a:lnTo>
                    <a:lnTo>
                      <a:pt x="214" y="116"/>
                    </a:lnTo>
                    <a:lnTo>
                      <a:pt x="215" y="114"/>
                    </a:lnTo>
                    <a:lnTo>
                      <a:pt x="215" y="112"/>
                    </a:lnTo>
                    <a:lnTo>
                      <a:pt x="215" y="111"/>
                    </a:lnTo>
                    <a:lnTo>
                      <a:pt x="217" y="109"/>
                    </a:lnTo>
                    <a:lnTo>
                      <a:pt x="219" y="108"/>
                    </a:lnTo>
                    <a:lnTo>
                      <a:pt x="220" y="105"/>
                    </a:lnTo>
                    <a:lnTo>
                      <a:pt x="220" y="103"/>
                    </a:lnTo>
                    <a:lnTo>
                      <a:pt x="220" y="101"/>
                    </a:lnTo>
                    <a:lnTo>
                      <a:pt x="222" y="101"/>
                    </a:lnTo>
                    <a:lnTo>
                      <a:pt x="222" y="100"/>
                    </a:lnTo>
                    <a:lnTo>
                      <a:pt x="223" y="100"/>
                    </a:lnTo>
                    <a:lnTo>
                      <a:pt x="225" y="98"/>
                    </a:lnTo>
                    <a:lnTo>
                      <a:pt x="225" y="97"/>
                    </a:lnTo>
                    <a:lnTo>
                      <a:pt x="226" y="97"/>
                    </a:lnTo>
                    <a:lnTo>
                      <a:pt x="226" y="95"/>
                    </a:lnTo>
                    <a:lnTo>
                      <a:pt x="228" y="93"/>
                    </a:lnTo>
                    <a:lnTo>
                      <a:pt x="230" y="93"/>
                    </a:lnTo>
                    <a:lnTo>
                      <a:pt x="230" y="92"/>
                    </a:lnTo>
                    <a:lnTo>
                      <a:pt x="231" y="90"/>
                    </a:lnTo>
                    <a:lnTo>
                      <a:pt x="233" y="90"/>
                    </a:lnTo>
                    <a:lnTo>
                      <a:pt x="234" y="89"/>
                    </a:lnTo>
                    <a:lnTo>
                      <a:pt x="238" y="87"/>
                    </a:lnTo>
                    <a:lnTo>
                      <a:pt x="239" y="86"/>
                    </a:lnTo>
                    <a:lnTo>
                      <a:pt x="242" y="84"/>
                    </a:lnTo>
                    <a:lnTo>
                      <a:pt x="244" y="82"/>
                    </a:lnTo>
                    <a:lnTo>
                      <a:pt x="245" y="81"/>
                    </a:lnTo>
                    <a:lnTo>
                      <a:pt x="247" y="81"/>
                    </a:lnTo>
                    <a:lnTo>
                      <a:pt x="247" y="79"/>
                    </a:lnTo>
                    <a:lnTo>
                      <a:pt x="249" y="78"/>
                    </a:lnTo>
                    <a:lnTo>
                      <a:pt x="249" y="76"/>
                    </a:lnTo>
                    <a:lnTo>
                      <a:pt x="250" y="74"/>
                    </a:lnTo>
                    <a:lnTo>
                      <a:pt x="250" y="73"/>
                    </a:lnTo>
                    <a:lnTo>
                      <a:pt x="250" y="71"/>
                    </a:lnTo>
                    <a:lnTo>
                      <a:pt x="252" y="71"/>
                    </a:lnTo>
                    <a:lnTo>
                      <a:pt x="252" y="70"/>
                    </a:lnTo>
                    <a:lnTo>
                      <a:pt x="252" y="68"/>
                    </a:lnTo>
                    <a:lnTo>
                      <a:pt x="253" y="67"/>
                    </a:lnTo>
                    <a:lnTo>
                      <a:pt x="255" y="65"/>
                    </a:lnTo>
                    <a:lnTo>
                      <a:pt x="257" y="63"/>
                    </a:lnTo>
                    <a:lnTo>
                      <a:pt x="258" y="63"/>
                    </a:lnTo>
                    <a:lnTo>
                      <a:pt x="258" y="62"/>
                    </a:lnTo>
                    <a:lnTo>
                      <a:pt x="260" y="62"/>
                    </a:lnTo>
                    <a:lnTo>
                      <a:pt x="260" y="60"/>
                    </a:lnTo>
                    <a:lnTo>
                      <a:pt x="261" y="57"/>
                    </a:lnTo>
                    <a:lnTo>
                      <a:pt x="261" y="55"/>
                    </a:lnTo>
                    <a:lnTo>
                      <a:pt x="263" y="54"/>
                    </a:lnTo>
                    <a:lnTo>
                      <a:pt x="263" y="52"/>
                    </a:lnTo>
                    <a:lnTo>
                      <a:pt x="265" y="51"/>
                    </a:lnTo>
                    <a:lnTo>
                      <a:pt x="266" y="49"/>
                    </a:lnTo>
                    <a:lnTo>
                      <a:pt x="266" y="48"/>
                    </a:lnTo>
                    <a:lnTo>
                      <a:pt x="266" y="46"/>
                    </a:lnTo>
                    <a:lnTo>
                      <a:pt x="268" y="44"/>
                    </a:lnTo>
                    <a:lnTo>
                      <a:pt x="268" y="43"/>
                    </a:lnTo>
                    <a:lnTo>
                      <a:pt x="269" y="43"/>
                    </a:lnTo>
                    <a:lnTo>
                      <a:pt x="268" y="41"/>
                    </a:lnTo>
                    <a:lnTo>
                      <a:pt x="268" y="40"/>
                    </a:lnTo>
                    <a:lnTo>
                      <a:pt x="268" y="38"/>
                    </a:lnTo>
                    <a:lnTo>
                      <a:pt x="269" y="38"/>
                    </a:lnTo>
                    <a:lnTo>
                      <a:pt x="271" y="36"/>
                    </a:lnTo>
                    <a:lnTo>
                      <a:pt x="272" y="36"/>
                    </a:lnTo>
                    <a:lnTo>
                      <a:pt x="274" y="35"/>
                    </a:lnTo>
                    <a:lnTo>
                      <a:pt x="276" y="33"/>
                    </a:lnTo>
                    <a:lnTo>
                      <a:pt x="276" y="32"/>
                    </a:lnTo>
                    <a:lnTo>
                      <a:pt x="276" y="30"/>
                    </a:lnTo>
                    <a:lnTo>
                      <a:pt x="277" y="29"/>
                    </a:lnTo>
                    <a:lnTo>
                      <a:pt x="279" y="29"/>
                    </a:lnTo>
                    <a:lnTo>
                      <a:pt x="280" y="27"/>
                    </a:lnTo>
                    <a:lnTo>
                      <a:pt x="282" y="27"/>
                    </a:lnTo>
                    <a:lnTo>
                      <a:pt x="282" y="25"/>
                    </a:lnTo>
                    <a:lnTo>
                      <a:pt x="284" y="25"/>
                    </a:lnTo>
                    <a:lnTo>
                      <a:pt x="284" y="24"/>
                    </a:lnTo>
                    <a:lnTo>
                      <a:pt x="285" y="24"/>
                    </a:lnTo>
                    <a:lnTo>
                      <a:pt x="287" y="22"/>
                    </a:lnTo>
                    <a:lnTo>
                      <a:pt x="288" y="22"/>
                    </a:lnTo>
                    <a:lnTo>
                      <a:pt x="290" y="22"/>
                    </a:lnTo>
                    <a:lnTo>
                      <a:pt x="291" y="22"/>
                    </a:lnTo>
                    <a:lnTo>
                      <a:pt x="291" y="21"/>
                    </a:lnTo>
                    <a:lnTo>
                      <a:pt x="293" y="21"/>
                    </a:lnTo>
                    <a:lnTo>
                      <a:pt x="298" y="17"/>
                    </a:lnTo>
                    <a:lnTo>
                      <a:pt x="299" y="13"/>
                    </a:lnTo>
                    <a:lnTo>
                      <a:pt x="301" y="6"/>
                    </a:lnTo>
                    <a:lnTo>
                      <a:pt x="304" y="5"/>
                    </a:lnTo>
                    <a:lnTo>
                      <a:pt x="306" y="2"/>
                    </a:lnTo>
                    <a:lnTo>
                      <a:pt x="306" y="0"/>
                    </a:lnTo>
                    <a:lnTo>
                      <a:pt x="307" y="0"/>
                    </a:lnTo>
                    <a:lnTo>
                      <a:pt x="309" y="2"/>
                    </a:lnTo>
                    <a:lnTo>
                      <a:pt x="317" y="5"/>
                    </a:lnTo>
                    <a:lnTo>
                      <a:pt x="322" y="10"/>
                    </a:lnTo>
                    <a:lnTo>
                      <a:pt x="325" y="13"/>
                    </a:lnTo>
                    <a:lnTo>
                      <a:pt x="333" y="17"/>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71" name="Freeform 51"/>
              <p:cNvSpPr>
                <a:spLocks noEditPoints="1"/>
              </p:cNvSpPr>
              <p:nvPr/>
            </p:nvSpPr>
            <p:spPr bwMode="auto">
              <a:xfrm>
                <a:off x="3665" y="1337"/>
                <a:ext cx="1043" cy="830"/>
              </a:xfrm>
              <a:custGeom>
                <a:avLst/>
                <a:gdLst>
                  <a:gd name="T0" fmla="*/ 382 w 1043"/>
                  <a:gd name="T1" fmla="*/ 268 h 830"/>
                  <a:gd name="T2" fmla="*/ 341 w 1043"/>
                  <a:gd name="T3" fmla="*/ 293 h 830"/>
                  <a:gd name="T4" fmla="*/ 306 w 1043"/>
                  <a:gd name="T5" fmla="*/ 307 h 830"/>
                  <a:gd name="T6" fmla="*/ 266 w 1043"/>
                  <a:gd name="T7" fmla="*/ 337 h 830"/>
                  <a:gd name="T8" fmla="*/ 263 w 1043"/>
                  <a:gd name="T9" fmla="*/ 367 h 830"/>
                  <a:gd name="T10" fmla="*/ 208 w 1043"/>
                  <a:gd name="T11" fmla="*/ 461 h 830"/>
                  <a:gd name="T12" fmla="*/ 152 w 1043"/>
                  <a:gd name="T13" fmla="*/ 461 h 830"/>
                  <a:gd name="T14" fmla="*/ 124 w 1043"/>
                  <a:gd name="T15" fmla="*/ 424 h 830"/>
                  <a:gd name="T16" fmla="*/ 95 w 1043"/>
                  <a:gd name="T17" fmla="*/ 404 h 830"/>
                  <a:gd name="T18" fmla="*/ 64 w 1043"/>
                  <a:gd name="T19" fmla="*/ 364 h 830"/>
                  <a:gd name="T20" fmla="*/ 34 w 1043"/>
                  <a:gd name="T21" fmla="*/ 325 h 830"/>
                  <a:gd name="T22" fmla="*/ 7 w 1043"/>
                  <a:gd name="T23" fmla="*/ 298 h 830"/>
                  <a:gd name="T24" fmla="*/ 30 w 1043"/>
                  <a:gd name="T25" fmla="*/ 247 h 830"/>
                  <a:gd name="T26" fmla="*/ 43 w 1043"/>
                  <a:gd name="T27" fmla="*/ 195 h 830"/>
                  <a:gd name="T28" fmla="*/ 42 w 1043"/>
                  <a:gd name="T29" fmla="*/ 136 h 830"/>
                  <a:gd name="T30" fmla="*/ 78 w 1043"/>
                  <a:gd name="T31" fmla="*/ 111 h 830"/>
                  <a:gd name="T32" fmla="*/ 132 w 1043"/>
                  <a:gd name="T33" fmla="*/ 86 h 830"/>
                  <a:gd name="T34" fmla="*/ 171 w 1043"/>
                  <a:gd name="T35" fmla="*/ 59 h 830"/>
                  <a:gd name="T36" fmla="*/ 217 w 1043"/>
                  <a:gd name="T37" fmla="*/ 68 h 830"/>
                  <a:gd name="T38" fmla="*/ 217 w 1043"/>
                  <a:gd name="T39" fmla="*/ 103 h 830"/>
                  <a:gd name="T40" fmla="*/ 243 w 1043"/>
                  <a:gd name="T41" fmla="*/ 81 h 830"/>
                  <a:gd name="T42" fmla="*/ 284 w 1043"/>
                  <a:gd name="T43" fmla="*/ 60 h 830"/>
                  <a:gd name="T44" fmla="*/ 297 w 1043"/>
                  <a:gd name="T45" fmla="*/ 127 h 830"/>
                  <a:gd name="T46" fmla="*/ 330 w 1043"/>
                  <a:gd name="T47" fmla="*/ 71 h 830"/>
                  <a:gd name="T48" fmla="*/ 362 w 1043"/>
                  <a:gd name="T49" fmla="*/ 81 h 830"/>
                  <a:gd name="T50" fmla="*/ 392 w 1043"/>
                  <a:gd name="T51" fmla="*/ 128 h 830"/>
                  <a:gd name="T52" fmla="*/ 455 w 1043"/>
                  <a:gd name="T53" fmla="*/ 217 h 830"/>
                  <a:gd name="T54" fmla="*/ 523 w 1043"/>
                  <a:gd name="T55" fmla="*/ 207 h 830"/>
                  <a:gd name="T56" fmla="*/ 542 w 1043"/>
                  <a:gd name="T57" fmla="*/ 176 h 830"/>
                  <a:gd name="T58" fmla="*/ 536 w 1043"/>
                  <a:gd name="T59" fmla="*/ 125 h 830"/>
                  <a:gd name="T60" fmla="*/ 558 w 1043"/>
                  <a:gd name="T61" fmla="*/ 73 h 830"/>
                  <a:gd name="T62" fmla="*/ 591 w 1043"/>
                  <a:gd name="T63" fmla="*/ 47 h 830"/>
                  <a:gd name="T64" fmla="*/ 631 w 1043"/>
                  <a:gd name="T65" fmla="*/ 63 h 830"/>
                  <a:gd name="T66" fmla="*/ 666 w 1043"/>
                  <a:gd name="T67" fmla="*/ 41 h 830"/>
                  <a:gd name="T68" fmla="*/ 702 w 1043"/>
                  <a:gd name="T69" fmla="*/ 21 h 830"/>
                  <a:gd name="T70" fmla="*/ 748 w 1043"/>
                  <a:gd name="T71" fmla="*/ 6 h 830"/>
                  <a:gd name="T72" fmla="*/ 792 w 1043"/>
                  <a:gd name="T73" fmla="*/ 16 h 830"/>
                  <a:gd name="T74" fmla="*/ 810 w 1043"/>
                  <a:gd name="T75" fmla="*/ 59 h 830"/>
                  <a:gd name="T76" fmla="*/ 840 w 1043"/>
                  <a:gd name="T77" fmla="*/ 105 h 830"/>
                  <a:gd name="T78" fmla="*/ 848 w 1043"/>
                  <a:gd name="T79" fmla="*/ 147 h 830"/>
                  <a:gd name="T80" fmla="*/ 857 w 1043"/>
                  <a:gd name="T81" fmla="*/ 187 h 830"/>
                  <a:gd name="T82" fmla="*/ 859 w 1043"/>
                  <a:gd name="T83" fmla="*/ 233 h 830"/>
                  <a:gd name="T84" fmla="*/ 860 w 1043"/>
                  <a:gd name="T85" fmla="*/ 285 h 830"/>
                  <a:gd name="T86" fmla="*/ 873 w 1043"/>
                  <a:gd name="T87" fmla="*/ 326 h 830"/>
                  <a:gd name="T88" fmla="*/ 921 w 1043"/>
                  <a:gd name="T89" fmla="*/ 348 h 830"/>
                  <a:gd name="T90" fmla="*/ 957 w 1043"/>
                  <a:gd name="T91" fmla="*/ 372 h 830"/>
                  <a:gd name="T92" fmla="*/ 1000 w 1043"/>
                  <a:gd name="T93" fmla="*/ 371 h 830"/>
                  <a:gd name="T94" fmla="*/ 1016 w 1043"/>
                  <a:gd name="T95" fmla="*/ 407 h 830"/>
                  <a:gd name="T96" fmla="*/ 1038 w 1043"/>
                  <a:gd name="T97" fmla="*/ 494 h 830"/>
                  <a:gd name="T98" fmla="*/ 959 w 1043"/>
                  <a:gd name="T99" fmla="*/ 504 h 830"/>
                  <a:gd name="T100" fmla="*/ 884 w 1043"/>
                  <a:gd name="T101" fmla="*/ 502 h 830"/>
                  <a:gd name="T102" fmla="*/ 848 w 1043"/>
                  <a:gd name="T103" fmla="*/ 542 h 830"/>
                  <a:gd name="T104" fmla="*/ 826 w 1043"/>
                  <a:gd name="T105" fmla="*/ 589 h 830"/>
                  <a:gd name="T106" fmla="*/ 745 w 1043"/>
                  <a:gd name="T107" fmla="*/ 768 h 830"/>
                  <a:gd name="T108" fmla="*/ 593 w 1043"/>
                  <a:gd name="T109" fmla="*/ 801 h 830"/>
                  <a:gd name="T110" fmla="*/ 483 w 1043"/>
                  <a:gd name="T111" fmla="*/ 681 h 830"/>
                  <a:gd name="T112" fmla="*/ 453 w 1043"/>
                  <a:gd name="T113" fmla="*/ 618 h 830"/>
                  <a:gd name="T114" fmla="*/ 466 w 1043"/>
                  <a:gd name="T115" fmla="*/ 570 h 830"/>
                  <a:gd name="T116" fmla="*/ 480 w 1043"/>
                  <a:gd name="T117" fmla="*/ 507 h 830"/>
                  <a:gd name="T118" fmla="*/ 488 w 1043"/>
                  <a:gd name="T119" fmla="*/ 451 h 830"/>
                  <a:gd name="T120" fmla="*/ 487 w 1043"/>
                  <a:gd name="T121" fmla="*/ 388 h 830"/>
                  <a:gd name="T122" fmla="*/ 471 w 1043"/>
                  <a:gd name="T123" fmla="*/ 28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3" h="830">
                    <a:moveTo>
                      <a:pt x="469" y="239"/>
                    </a:moveTo>
                    <a:lnTo>
                      <a:pt x="468" y="241"/>
                    </a:lnTo>
                    <a:lnTo>
                      <a:pt x="466" y="241"/>
                    </a:lnTo>
                    <a:lnTo>
                      <a:pt x="464" y="241"/>
                    </a:lnTo>
                    <a:lnTo>
                      <a:pt x="464" y="242"/>
                    </a:lnTo>
                    <a:lnTo>
                      <a:pt x="463" y="242"/>
                    </a:lnTo>
                    <a:lnTo>
                      <a:pt x="461" y="242"/>
                    </a:lnTo>
                    <a:lnTo>
                      <a:pt x="460" y="242"/>
                    </a:lnTo>
                    <a:lnTo>
                      <a:pt x="458" y="242"/>
                    </a:lnTo>
                    <a:lnTo>
                      <a:pt x="458" y="244"/>
                    </a:lnTo>
                    <a:lnTo>
                      <a:pt x="457" y="244"/>
                    </a:lnTo>
                    <a:lnTo>
                      <a:pt x="455" y="244"/>
                    </a:lnTo>
                    <a:lnTo>
                      <a:pt x="453" y="245"/>
                    </a:lnTo>
                    <a:lnTo>
                      <a:pt x="452" y="245"/>
                    </a:lnTo>
                    <a:lnTo>
                      <a:pt x="449" y="245"/>
                    </a:lnTo>
                    <a:lnTo>
                      <a:pt x="447" y="247"/>
                    </a:lnTo>
                    <a:lnTo>
                      <a:pt x="444" y="247"/>
                    </a:lnTo>
                    <a:lnTo>
                      <a:pt x="442" y="249"/>
                    </a:lnTo>
                    <a:lnTo>
                      <a:pt x="438" y="250"/>
                    </a:lnTo>
                    <a:lnTo>
                      <a:pt x="436" y="250"/>
                    </a:lnTo>
                    <a:lnTo>
                      <a:pt x="433" y="250"/>
                    </a:lnTo>
                    <a:lnTo>
                      <a:pt x="431" y="252"/>
                    </a:lnTo>
                    <a:lnTo>
                      <a:pt x="428" y="253"/>
                    </a:lnTo>
                    <a:lnTo>
                      <a:pt x="426" y="253"/>
                    </a:lnTo>
                    <a:lnTo>
                      <a:pt x="426" y="252"/>
                    </a:lnTo>
                    <a:lnTo>
                      <a:pt x="422" y="255"/>
                    </a:lnTo>
                    <a:lnTo>
                      <a:pt x="407" y="258"/>
                    </a:lnTo>
                    <a:lnTo>
                      <a:pt x="407" y="260"/>
                    </a:lnTo>
                    <a:lnTo>
                      <a:pt x="406" y="260"/>
                    </a:lnTo>
                    <a:lnTo>
                      <a:pt x="388" y="261"/>
                    </a:lnTo>
                    <a:lnTo>
                      <a:pt x="387" y="263"/>
                    </a:lnTo>
                    <a:lnTo>
                      <a:pt x="385" y="263"/>
                    </a:lnTo>
                    <a:lnTo>
                      <a:pt x="385" y="264"/>
                    </a:lnTo>
                    <a:lnTo>
                      <a:pt x="384" y="264"/>
                    </a:lnTo>
                    <a:lnTo>
                      <a:pt x="384" y="266"/>
                    </a:lnTo>
                    <a:lnTo>
                      <a:pt x="382" y="266"/>
                    </a:lnTo>
                    <a:lnTo>
                      <a:pt x="382" y="268"/>
                    </a:lnTo>
                    <a:lnTo>
                      <a:pt x="381" y="268"/>
                    </a:lnTo>
                    <a:lnTo>
                      <a:pt x="381" y="269"/>
                    </a:lnTo>
                    <a:lnTo>
                      <a:pt x="379" y="269"/>
                    </a:lnTo>
                    <a:lnTo>
                      <a:pt x="379" y="271"/>
                    </a:lnTo>
                    <a:lnTo>
                      <a:pt x="377" y="271"/>
                    </a:lnTo>
                    <a:lnTo>
                      <a:pt x="377" y="272"/>
                    </a:lnTo>
                    <a:lnTo>
                      <a:pt x="376" y="272"/>
                    </a:lnTo>
                    <a:lnTo>
                      <a:pt x="374" y="274"/>
                    </a:lnTo>
                    <a:lnTo>
                      <a:pt x="373" y="276"/>
                    </a:lnTo>
                    <a:lnTo>
                      <a:pt x="371" y="276"/>
                    </a:lnTo>
                    <a:lnTo>
                      <a:pt x="371" y="274"/>
                    </a:lnTo>
                    <a:lnTo>
                      <a:pt x="369" y="274"/>
                    </a:lnTo>
                    <a:lnTo>
                      <a:pt x="369" y="276"/>
                    </a:lnTo>
                    <a:lnTo>
                      <a:pt x="369" y="277"/>
                    </a:lnTo>
                    <a:lnTo>
                      <a:pt x="369" y="276"/>
                    </a:lnTo>
                    <a:lnTo>
                      <a:pt x="368" y="276"/>
                    </a:lnTo>
                    <a:lnTo>
                      <a:pt x="366" y="277"/>
                    </a:lnTo>
                    <a:lnTo>
                      <a:pt x="365" y="277"/>
                    </a:lnTo>
                    <a:lnTo>
                      <a:pt x="363" y="277"/>
                    </a:lnTo>
                    <a:lnTo>
                      <a:pt x="363" y="280"/>
                    </a:lnTo>
                    <a:lnTo>
                      <a:pt x="363" y="284"/>
                    </a:lnTo>
                    <a:lnTo>
                      <a:pt x="363" y="285"/>
                    </a:lnTo>
                    <a:lnTo>
                      <a:pt x="363" y="287"/>
                    </a:lnTo>
                    <a:lnTo>
                      <a:pt x="363" y="290"/>
                    </a:lnTo>
                    <a:lnTo>
                      <a:pt x="363" y="291"/>
                    </a:lnTo>
                    <a:lnTo>
                      <a:pt x="363" y="295"/>
                    </a:lnTo>
                    <a:lnTo>
                      <a:pt x="363" y="296"/>
                    </a:lnTo>
                    <a:lnTo>
                      <a:pt x="360" y="296"/>
                    </a:lnTo>
                    <a:lnTo>
                      <a:pt x="355" y="295"/>
                    </a:lnTo>
                    <a:lnTo>
                      <a:pt x="352" y="293"/>
                    </a:lnTo>
                    <a:lnTo>
                      <a:pt x="349" y="293"/>
                    </a:lnTo>
                    <a:lnTo>
                      <a:pt x="347" y="293"/>
                    </a:lnTo>
                    <a:lnTo>
                      <a:pt x="346" y="291"/>
                    </a:lnTo>
                    <a:lnTo>
                      <a:pt x="344" y="293"/>
                    </a:lnTo>
                    <a:lnTo>
                      <a:pt x="342" y="291"/>
                    </a:lnTo>
                    <a:lnTo>
                      <a:pt x="342" y="293"/>
                    </a:lnTo>
                    <a:lnTo>
                      <a:pt x="341" y="293"/>
                    </a:lnTo>
                    <a:lnTo>
                      <a:pt x="341" y="295"/>
                    </a:lnTo>
                    <a:lnTo>
                      <a:pt x="339" y="295"/>
                    </a:lnTo>
                    <a:lnTo>
                      <a:pt x="339" y="293"/>
                    </a:lnTo>
                    <a:lnTo>
                      <a:pt x="338" y="293"/>
                    </a:lnTo>
                    <a:lnTo>
                      <a:pt x="338" y="295"/>
                    </a:lnTo>
                    <a:lnTo>
                      <a:pt x="336" y="295"/>
                    </a:lnTo>
                    <a:lnTo>
                      <a:pt x="336" y="296"/>
                    </a:lnTo>
                    <a:lnTo>
                      <a:pt x="335" y="296"/>
                    </a:lnTo>
                    <a:lnTo>
                      <a:pt x="335" y="298"/>
                    </a:lnTo>
                    <a:lnTo>
                      <a:pt x="335" y="299"/>
                    </a:lnTo>
                    <a:lnTo>
                      <a:pt x="333" y="298"/>
                    </a:lnTo>
                    <a:lnTo>
                      <a:pt x="333" y="299"/>
                    </a:lnTo>
                    <a:lnTo>
                      <a:pt x="331" y="299"/>
                    </a:lnTo>
                    <a:lnTo>
                      <a:pt x="331" y="301"/>
                    </a:lnTo>
                    <a:lnTo>
                      <a:pt x="331" y="303"/>
                    </a:lnTo>
                    <a:lnTo>
                      <a:pt x="330" y="303"/>
                    </a:lnTo>
                    <a:lnTo>
                      <a:pt x="328" y="303"/>
                    </a:lnTo>
                    <a:lnTo>
                      <a:pt x="327" y="303"/>
                    </a:lnTo>
                    <a:lnTo>
                      <a:pt x="325" y="303"/>
                    </a:lnTo>
                    <a:lnTo>
                      <a:pt x="323" y="303"/>
                    </a:lnTo>
                    <a:lnTo>
                      <a:pt x="323" y="301"/>
                    </a:lnTo>
                    <a:lnTo>
                      <a:pt x="323" y="299"/>
                    </a:lnTo>
                    <a:lnTo>
                      <a:pt x="322" y="299"/>
                    </a:lnTo>
                    <a:lnTo>
                      <a:pt x="320" y="299"/>
                    </a:lnTo>
                    <a:lnTo>
                      <a:pt x="319" y="298"/>
                    </a:lnTo>
                    <a:lnTo>
                      <a:pt x="317" y="298"/>
                    </a:lnTo>
                    <a:lnTo>
                      <a:pt x="316" y="296"/>
                    </a:lnTo>
                    <a:lnTo>
                      <a:pt x="314" y="298"/>
                    </a:lnTo>
                    <a:lnTo>
                      <a:pt x="312" y="298"/>
                    </a:lnTo>
                    <a:lnTo>
                      <a:pt x="311" y="298"/>
                    </a:lnTo>
                    <a:lnTo>
                      <a:pt x="311" y="299"/>
                    </a:lnTo>
                    <a:lnTo>
                      <a:pt x="309" y="301"/>
                    </a:lnTo>
                    <a:lnTo>
                      <a:pt x="309" y="303"/>
                    </a:lnTo>
                    <a:lnTo>
                      <a:pt x="308" y="303"/>
                    </a:lnTo>
                    <a:lnTo>
                      <a:pt x="308" y="304"/>
                    </a:lnTo>
                    <a:lnTo>
                      <a:pt x="308" y="306"/>
                    </a:lnTo>
                    <a:lnTo>
                      <a:pt x="306" y="307"/>
                    </a:lnTo>
                    <a:lnTo>
                      <a:pt x="306" y="309"/>
                    </a:lnTo>
                    <a:lnTo>
                      <a:pt x="306" y="310"/>
                    </a:lnTo>
                    <a:lnTo>
                      <a:pt x="304" y="310"/>
                    </a:lnTo>
                    <a:lnTo>
                      <a:pt x="303" y="312"/>
                    </a:lnTo>
                    <a:lnTo>
                      <a:pt x="301" y="314"/>
                    </a:lnTo>
                    <a:lnTo>
                      <a:pt x="300" y="314"/>
                    </a:lnTo>
                    <a:lnTo>
                      <a:pt x="298" y="314"/>
                    </a:lnTo>
                    <a:lnTo>
                      <a:pt x="297" y="314"/>
                    </a:lnTo>
                    <a:lnTo>
                      <a:pt x="295" y="315"/>
                    </a:lnTo>
                    <a:lnTo>
                      <a:pt x="293" y="315"/>
                    </a:lnTo>
                    <a:lnTo>
                      <a:pt x="292" y="315"/>
                    </a:lnTo>
                    <a:lnTo>
                      <a:pt x="292" y="317"/>
                    </a:lnTo>
                    <a:lnTo>
                      <a:pt x="290" y="318"/>
                    </a:lnTo>
                    <a:lnTo>
                      <a:pt x="290" y="320"/>
                    </a:lnTo>
                    <a:lnTo>
                      <a:pt x="289" y="320"/>
                    </a:lnTo>
                    <a:lnTo>
                      <a:pt x="289" y="322"/>
                    </a:lnTo>
                    <a:lnTo>
                      <a:pt x="287" y="322"/>
                    </a:lnTo>
                    <a:lnTo>
                      <a:pt x="287" y="323"/>
                    </a:lnTo>
                    <a:lnTo>
                      <a:pt x="285" y="323"/>
                    </a:lnTo>
                    <a:lnTo>
                      <a:pt x="284" y="325"/>
                    </a:lnTo>
                    <a:lnTo>
                      <a:pt x="282" y="325"/>
                    </a:lnTo>
                    <a:lnTo>
                      <a:pt x="282" y="326"/>
                    </a:lnTo>
                    <a:lnTo>
                      <a:pt x="281" y="326"/>
                    </a:lnTo>
                    <a:lnTo>
                      <a:pt x="279" y="326"/>
                    </a:lnTo>
                    <a:lnTo>
                      <a:pt x="279" y="328"/>
                    </a:lnTo>
                    <a:lnTo>
                      <a:pt x="278" y="328"/>
                    </a:lnTo>
                    <a:lnTo>
                      <a:pt x="278" y="329"/>
                    </a:lnTo>
                    <a:lnTo>
                      <a:pt x="276" y="329"/>
                    </a:lnTo>
                    <a:lnTo>
                      <a:pt x="276" y="331"/>
                    </a:lnTo>
                    <a:lnTo>
                      <a:pt x="274" y="331"/>
                    </a:lnTo>
                    <a:lnTo>
                      <a:pt x="274" y="333"/>
                    </a:lnTo>
                    <a:lnTo>
                      <a:pt x="273" y="333"/>
                    </a:lnTo>
                    <a:lnTo>
                      <a:pt x="271" y="334"/>
                    </a:lnTo>
                    <a:lnTo>
                      <a:pt x="270" y="334"/>
                    </a:lnTo>
                    <a:lnTo>
                      <a:pt x="268" y="336"/>
                    </a:lnTo>
                    <a:lnTo>
                      <a:pt x="266" y="336"/>
                    </a:lnTo>
                    <a:lnTo>
                      <a:pt x="266" y="337"/>
                    </a:lnTo>
                    <a:lnTo>
                      <a:pt x="265" y="337"/>
                    </a:lnTo>
                    <a:lnTo>
                      <a:pt x="263" y="337"/>
                    </a:lnTo>
                    <a:lnTo>
                      <a:pt x="262" y="337"/>
                    </a:lnTo>
                    <a:lnTo>
                      <a:pt x="262" y="339"/>
                    </a:lnTo>
                    <a:lnTo>
                      <a:pt x="262" y="341"/>
                    </a:lnTo>
                    <a:lnTo>
                      <a:pt x="260" y="341"/>
                    </a:lnTo>
                    <a:lnTo>
                      <a:pt x="259" y="339"/>
                    </a:lnTo>
                    <a:lnTo>
                      <a:pt x="259" y="337"/>
                    </a:lnTo>
                    <a:lnTo>
                      <a:pt x="259" y="336"/>
                    </a:lnTo>
                    <a:lnTo>
                      <a:pt x="259" y="334"/>
                    </a:lnTo>
                    <a:lnTo>
                      <a:pt x="257" y="334"/>
                    </a:lnTo>
                    <a:lnTo>
                      <a:pt x="255" y="339"/>
                    </a:lnTo>
                    <a:lnTo>
                      <a:pt x="255" y="341"/>
                    </a:lnTo>
                    <a:lnTo>
                      <a:pt x="254" y="341"/>
                    </a:lnTo>
                    <a:lnTo>
                      <a:pt x="254" y="342"/>
                    </a:lnTo>
                    <a:lnTo>
                      <a:pt x="254" y="344"/>
                    </a:lnTo>
                    <a:lnTo>
                      <a:pt x="254" y="345"/>
                    </a:lnTo>
                    <a:lnTo>
                      <a:pt x="255" y="345"/>
                    </a:lnTo>
                    <a:lnTo>
                      <a:pt x="255" y="347"/>
                    </a:lnTo>
                    <a:lnTo>
                      <a:pt x="255" y="348"/>
                    </a:lnTo>
                    <a:lnTo>
                      <a:pt x="257" y="350"/>
                    </a:lnTo>
                    <a:lnTo>
                      <a:pt x="255" y="350"/>
                    </a:lnTo>
                    <a:lnTo>
                      <a:pt x="257" y="352"/>
                    </a:lnTo>
                    <a:lnTo>
                      <a:pt x="257" y="353"/>
                    </a:lnTo>
                    <a:lnTo>
                      <a:pt x="257" y="355"/>
                    </a:lnTo>
                    <a:lnTo>
                      <a:pt x="259" y="355"/>
                    </a:lnTo>
                    <a:lnTo>
                      <a:pt x="259" y="356"/>
                    </a:lnTo>
                    <a:lnTo>
                      <a:pt x="260" y="358"/>
                    </a:lnTo>
                    <a:lnTo>
                      <a:pt x="262" y="356"/>
                    </a:lnTo>
                    <a:lnTo>
                      <a:pt x="262" y="358"/>
                    </a:lnTo>
                    <a:lnTo>
                      <a:pt x="263" y="360"/>
                    </a:lnTo>
                    <a:lnTo>
                      <a:pt x="263" y="361"/>
                    </a:lnTo>
                    <a:lnTo>
                      <a:pt x="263" y="363"/>
                    </a:lnTo>
                    <a:lnTo>
                      <a:pt x="263" y="364"/>
                    </a:lnTo>
                    <a:lnTo>
                      <a:pt x="265" y="364"/>
                    </a:lnTo>
                    <a:lnTo>
                      <a:pt x="265" y="366"/>
                    </a:lnTo>
                    <a:lnTo>
                      <a:pt x="263" y="367"/>
                    </a:lnTo>
                    <a:lnTo>
                      <a:pt x="262" y="369"/>
                    </a:lnTo>
                    <a:lnTo>
                      <a:pt x="260" y="372"/>
                    </a:lnTo>
                    <a:lnTo>
                      <a:pt x="259" y="377"/>
                    </a:lnTo>
                    <a:lnTo>
                      <a:pt x="255" y="382"/>
                    </a:lnTo>
                    <a:lnTo>
                      <a:pt x="254" y="386"/>
                    </a:lnTo>
                    <a:lnTo>
                      <a:pt x="251" y="390"/>
                    </a:lnTo>
                    <a:lnTo>
                      <a:pt x="249" y="394"/>
                    </a:lnTo>
                    <a:lnTo>
                      <a:pt x="246" y="399"/>
                    </a:lnTo>
                    <a:lnTo>
                      <a:pt x="244" y="399"/>
                    </a:lnTo>
                    <a:lnTo>
                      <a:pt x="244" y="401"/>
                    </a:lnTo>
                    <a:lnTo>
                      <a:pt x="243" y="401"/>
                    </a:lnTo>
                    <a:lnTo>
                      <a:pt x="243" y="402"/>
                    </a:lnTo>
                    <a:lnTo>
                      <a:pt x="243" y="404"/>
                    </a:lnTo>
                    <a:lnTo>
                      <a:pt x="241" y="404"/>
                    </a:lnTo>
                    <a:lnTo>
                      <a:pt x="241" y="405"/>
                    </a:lnTo>
                    <a:lnTo>
                      <a:pt x="241" y="407"/>
                    </a:lnTo>
                    <a:lnTo>
                      <a:pt x="240" y="409"/>
                    </a:lnTo>
                    <a:lnTo>
                      <a:pt x="240" y="410"/>
                    </a:lnTo>
                    <a:lnTo>
                      <a:pt x="238" y="410"/>
                    </a:lnTo>
                    <a:lnTo>
                      <a:pt x="238" y="412"/>
                    </a:lnTo>
                    <a:lnTo>
                      <a:pt x="238" y="413"/>
                    </a:lnTo>
                    <a:lnTo>
                      <a:pt x="236" y="415"/>
                    </a:lnTo>
                    <a:lnTo>
                      <a:pt x="236" y="417"/>
                    </a:lnTo>
                    <a:lnTo>
                      <a:pt x="235" y="418"/>
                    </a:lnTo>
                    <a:lnTo>
                      <a:pt x="233" y="420"/>
                    </a:lnTo>
                    <a:lnTo>
                      <a:pt x="232" y="423"/>
                    </a:lnTo>
                    <a:lnTo>
                      <a:pt x="230" y="428"/>
                    </a:lnTo>
                    <a:lnTo>
                      <a:pt x="227" y="432"/>
                    </a:lnTo>
                    <a:lnTo>
                      <a:pt x="225" y="437"/>
                    </a:lnTo>
                    <a:lnTo>
                      <a:pt x="222" y="442"/>
                    </a:lnTo>
                    <a:lnTo>
                      <a:pt x="221" y="447"/>
                    </a:lnTo>
                    <a:lnTo>
                      <a:pt x="219" y="450"/>
                    </a:lnTo>
                    <a:lnTo>
                      <a:pt x="214" y="461"/>
                    </a:lnTo>
                    <a:lnTo>
                      <a:pt x="213" y="461"/>
                    </a:lnTo>
                    <a:lnTo>
                      <a:pt x="211" y="461"/>
                    </a:lnTo>
                    <a:lnTo>
                      <a:pt x="209" y="461"/>
                    </a:lnTo>
                    <a:lnTo>
                      <a:pt x="208" y="461"/>
                    </a:lnTo>
                    <a:lnTo>
                      <a:pt x="206" y="461"/>
                    </a:lnTo>
                    <a:lnTo>
                      <a:pt x="205" y="461"/>
                    </a:lnTo>
                    <a:lnTo>
                      <a:pt x="203" y="461"/>
                    </a:lnTo>
                    <a:lnTo>
                      <a:pt x="202" y="461"/>
                    </a:lnTo>
                    <a:lnTo>
                      <a:pt x="200" y="459"/>
                    </a:lnTo>
                    <a:lnTo>
                      <a:pt x="198" y="459"/>
                    </a:lnTo>
                    <a:lnTo>
                      <a:pt x="197" y="459"/>
                    </a:lnTo>
                    <a:lnTo>
                      <a:pt x="195" y="459"/>
                    </a:lnTo>
                    <a:lnTo>
                      <a:pt x="194" y="459"/>
                    </a:lnTo>
                    <a:lnTo>
                      <a:pt x="192" y="459"/>
                    </a:lnTo>
                    <a:lnTo>
                      <a:pt x="190" y="459"/>
                    </a:lnTo>
                    <a:lnTo>
                      <a:pt x="189" y="459"/>
                    </a:lnTo>
                    <a:lnTo>
                      <a:pt x="187" y="459"/>
                    </a:lnTo>
                    <a:lnTo>
                      <a:pt x="186" y="461"/>
                    </a:lnTo>
                    <a:lnTo>
                      <a:pt x="184" y="461"/>
                    </a:lnTo>
                    <a:lnTo>
                      <a:pt x="183" y="463"/>
                    </a:lnTo>
                    <a:lnTo>
                      <a:pt x="181" y="461"/>
                    </a:lnTo>
                    <a:lnTo>
                      <a:pt x="179" y="461"/>
                    </a:lnTo>
                    <a:lnTo>
                      <a:pt x="179" y="459"/>
                    </a:lnTo>
                    <a:lnTo>
                      <a:pt x="178" y="459"/>
                    </a:lnTo>
                    <a:lnTo>
                      <a:pt x="176" y="459"/>
                    </a:lnTo>
                    <a:lnTo>
                      <a:pt x="175" y="461"/>
                    </a:lnTo>
                    <a:lnTo>
                      <a:pt x="173" y="461"/>
                    </a:lnTo>
                    <a:lnTo>
                      <a:pt x="171" y="461"/>
                    </a:lnTo>
                    <a:lnTo>
                      <a:pt x="170" y="461"/>
                    </a:lnTo>
                    <a:lnTo>
                      <a:pt x="168" y="461"/>
                    </a:lnTo>
                    <a:lnTo>
                      <a:pt x="167" y="459"/>
                    </a:lnTo>
                    <a:lnTo>
                      <a:pt x="165" y="458"/>
                    </a:lnTo>
                    <a:lnTo>
                      <a:pt x="164" y="458"/>
                    </a:lnTo>
                    <a:lnTo>
                      <a:pt x="162" y="458"/>
                    </a:lnTo>
                    <a:lnTo>
                      <a:pt x="160" y="458"/>
                    </a:lnTo>
                    <a:lnTo>
                      <a:pt x="159" y="458"/>
                    </a:lnTo>
                    <a:lnTo>
                      <a:pt x="157" y="458"/>
                    </a:lnTo>
                    <a:lnTo>
                      <a:pt x="156" y="459"/>
                    </a:lnTo>
                    <a:lnTo>
                      <a:pt x="154" y="459"/>
                    </a:lnTo>
                    <a:lnTo>
                      <a:pt x="152" y="459"/>
                    </a:lnTo>
                    <a:lnTo>
                      <a:pt x="152" y="461"/>
                    </a:lnTo>
                    <a:lnTo>
                      <a:pt x="151" y="461"/>
                    </a:lnTo>
                    <a:lnTo>
                      <a:pt x="149" y="461"/>
                    </a:lnTo>
                    <a:lnTo>
                      <a:pt x="148" y="461"/>
                    </a:lnTo>
                    <a:lnTo>
                      <a:pt x="148" y="459"/>
                    </a:lnTo>
                    <a:lnTo>
                      <a:pt x="146" y="459"/>
                    </a:lnTo>
                    <a:lnTo>
                      <a:pt x="146" y="458"/>
                    </a:lnTo>
                    <a:lnTo>
                      <a:pt x="146" y="456"/>
                    </a:lnTo>
                    <a:lnTo>
                      <a:pt x="144" y="456"/>
                    </a:lnTo>
                    <a:lnTo>
                      <a:pt x="144" y="455"/>
                    </a:lnTo>
                    <a:lnTo>
                      <a:pt x="143" y="455"/>
                    </a:lnTo>
                    <a:lnTo>
                      <a:pt x="143" y="453"/>
                    </a:lnTo>
                    <a:lnTo>
                      <a:pt x="141" y="453"/>
                    </a:lnTo>
                    <a:lnTo>
                      <a:pt x="140" y="453"/>
                    </a:lnTo>
                    <a:lnTo>
                      <a:pt x="140" y="451"/>
                    </a:lnTo>
                    <a:lnTo>
                      <a:pt x="138" y="450"/>
                    </a:lnTo>
                    <a:lnTo>
                      <a:pt x="138" y="448"/>
                    </a:lnTo>
                    <a:lnTo>
                      <a:pt x="138" y="447"/>
                    </a:lnTo>
                    <a:lnTo>
                      <a:pt x="137" y="447"/>
                    </a:lnTo>
                    <a:lnTo>
                      <a:pt x="137" y="445"/>
                    </a:lnTo>
                    <a:lnTo>
                      <a:pt x="137" y="443"/>
                    </a:lnTo>
                    <a:lnTo>
                      <a:pt x="137" y="442"/>
                    </a:lnTo>
                    <a:lnTo>
                      <a:pt x="135" y="442"/>
                    </a:lnTo>
                    <a:lnTo>
                      <a:pt x="135" y="440"/>
                    </a:lnTo>
                    <a:lnTo>
                      <a:pt x="135" y="439"/>
                    </a:lnTo>
                    <a:lnTo>
                      <a:pt x="133" y="437"/>
                    </a:lnTo>
                    <a:lnTo>
                      <a:pt x="133" y="436"/>
                    </a:lnTo>
                    <a:lnTo>
                      <a:pt x="132" y="434"/>
                    </a:lnTo>
                    <a:lnTo>
                      <a:pt x="130" y="432"/>
                    </a:lnTo>
                    <a:lnTo>
                      <a:pt x="130" y="431"/>
                    </a:lnTo>
                    <a:lnTo>
                      <a:pt x="129" y="431"/>
                    </a:lnTo>
                    <a:lnTo>
                      <a:pt x="129" y="429"/>
                    </a:lnTo>
                    <a:lnTo>
                      <a:pt x="129" y="428"/>
                    </a:lnTo>
                    <a:lnTo>
                      <a:pt x="127" y="428"/>
                    </a:lnTo>
                    <a:lnTo>
                      <a:pt x="127" y="426"/>
                    </a:lnTo>
                    <a:lnTo>
                      <a:pt x="125" y="426"/>
                    </a:lnTo>
                    <a:lnTo>
                      <a:pt x="125" y="424"/>
                    </a:lnTo>
                    <a:lnTo>
                      <a:pt x="124" y="424"/>
                    </a:lnTo>
                    <a:lnTo>
                      <a:pt x="124" y="423"/>
                    </a:lnTo>
                    <a:lnTo>
                      <a:pt x="122" y="423"/>
                    </a:lnTo>
                    <a:lnTo>
                      <a:pt x="122" y="421"/>
                    </a:lnTo>
                    <a:lnTo>
                      <a:pt x="121" y="421"/>
                    </a:lnTo>
                    <a:lnTo>
                      <a:pt x="119" y="421"/>
                    </a:lnTo>
                    <a:lnTo>
                      <a:pt x="118" y="421"/>
                    </a:lnTo>
                    <a:lnTo>
                      <a:pt x="116" y="421"/>
                    </a:lnTo>
                    <a:lnTo>
                      <a:pt x="114" y="421"/>
                    </a:lnTo>
                    <a:lnTo>
                      <a:pt x="113" y="421"/>
                    </a:lnTo>
                    <a:lnTo>
                      <a:pt x="111" y="421"/>
                    </a:lnTo>
                    <a:lnTo>
                      <a:pt x="111" y="423"/>
                    </a:lnTo>
                    <a:lnTo>
                      <a:pt x="110" y="423"/>
                    </a:lnTo>
                    <a:lnTo>
                      <a:pt x="110" y="424"/>
                    </a:lnTo>
                    <a:lnTo>
                      <a:pt x="108" y="424"/>
                    </a:lnTo>
                    <a:lnTo>
                      <a:pt x="106" y="424"/>
                    </a:lnTo>
                    <a:lnTo>
                      <a:pt x="105" y="426"/>
                    </a:lnTo>
                    <a:lnTo>
                      <a:pt x="103" y="426"/>
                    </a:lnTo>
                    <a:lnTo>
                      <a:pt x="102" y="426"/>
                    </a:lnTo>
                    <a:lnTo>
                      <a:pt x="100" y="426"/>
                    </a:lnTo>
                    <a:lnTo>
                      <a:pt x="99" y="424"/>
                    </a:lnTo>
                    <a:lnTo>
                      <a:pt x="97" y="424"/>
                    </a:lnTo>
                    <a:lnTo>
                      <a:pt x="97" y="423"/>
                    </a:lnTo>
                    <a:lnTo>
                      <a:pt x="97" y="421"/>
                    </a:lnTo>
                    <a:lnTo>
                      <a:pt x="97" y="420"/>
                    </a:lnTo>
                    <a:lnTo>
                      <a:pt x="95" y="420"/>
                    </a:lnTo>
                    <a:lnTo>
                      <a:pt x="95" y="418"/>
                    </a:lnTo>
                    <a:lnTo>
                      <a:pt x="95" y="417"/>
                    </a:lnTo>
                    <a:lnTo>
                      <a:pt x="95" y="415"/>
                    </a:lnTo>
                    <a:lnTo>
                      <a:pt x="94" y="415"/>
                    </a:lnTo>
                    <a:lnTo>
                      <a:pt x="94" y="413"/>
                    </a:lnTo>
                    <a:lnTo>
                      <a:pt x="94" y="412"/>
                    </a:lnTo>
                    <a:lnTo>
                      <a:pt x="94" y="410"/>
                    </a:lnTo>
                    <a:lnTo>
                      <a:pt x="94" y="409"/>
                    </a:lnTo>
                    <a:lnTo>
                      <a:pt x="94" y="407"/>
                    </a:lnTo>
                    <a:lnTo>
                      <a:pt x="94" y="405"/>
                    </a:lnTo>
                    <a:lnTo>
                      <a:pt x="94" y="404"/>
                    </a:lnTo>
                    <a:lnTo>
                      <a:pt x="95" y="404"/>
                    </a:lnTo>
                    <a:lnTo>
                      <a:pt x="95" y="402"/>
                    </a:lnTo>
                    <a:lnTo>
                      <a:pt x="95" y="401"/>
                    </a:lnTo>
                    <a:lnTo>
                      <a:pt x="95" y="399"/>
                    </a:lnTo>
                    <a:lnTo>
                      <a:pt x="94" y="398"/>
                    </a:lnTo>
                    <a:lnTo>
                      <a:pt x="94" y="396"/>
                    </a:lnTo>
                    <a:lnTo>
                      <a:pt x="94" y="394"/>
                    </a:lnTo>
                    <a:lnTo>
                      <a:pt x="94" y="393"/>
                    </a:lnTo>
                    <a:lnTo>
                      <a:pt x="94" y="391"/>
                    </a:lnTo>
                    <a:lnTo>
                      <a:pt x="94" y="390"/>
                    </a:lnTo>
                    <a:lnTo>
                      <a:pt x="92" y="388"/>
                    </a:lnTo>
                    <a:lnTo>
                      <a:pt x="92" y="386"/>
                    </a:lnTo>
                    <a:lnTo>
                      <a:pt x="91" y="386"/>
                    </a:lnTo>
                    <a:lnTo>
                      <a:pt x="89" y="385"/>
                    </a:lnTo>
                    <a:lnTo>
                      <a:pt x="87" y="385"/>
                    </a:lnTo>
                    <a:lnTo>
                      <a:pt x="86" y="385"/>
                    </a:lnTo>
                    <a:lnTo>
                      <a:pt x="84" y="383"/>
                    </a:lnTo>
                    <a:lnTo>
                      <a:pt x="83" y="383"/>
                    </a:lnTo>
                    <a:lnTo>
                      <a:pt x="81" y="383"/>
                    </a:lnTo>
                    <a:lnTo>
                      <a:pt x="80" y="383"/>
                    </a:lnTo>
                    <a:lnTo>
                      <a:pt x="78" y="382"/>
                    </a:lnTo>
                    <a:lnTo>
                      <a:pt x="76" y="382"/>
                    </a:lnTo>
                    <a:lnTo>
                      <a:pt x="75" y="382"/>
                    </a:lnTo>
                    <a:lnTo>
                      <a:pt x="73" y="382"/>
                    </a:lnTo>
                    <a:lnTo>
                      <a:pt x="73" y="380"/>
                    </a:lnTo>
                    <a:lnTo>
                      <a:pt x="72" y="380"/>
                    </a:lnTo>
                    <a:lnTo>
                      <a:pt x="70" y="379"/>
                    </a:lnTo>
                    <a:lnTo>
                      <a:pt x="70" y="377"/>
                    </a:lnTo>
                    <a:lnTo>
                      <a:pt x="70" y="375"/>
                    </a:lnTo>
                    <a:lnTo>
                      <a:pt x="68" y="375"/>
                    </a:lnTo>
                    <a:lnTo>
                      <a:pt x="68" y="374"/>
                    </a:lnTo>
                    <a:lnTo>
                      <a:pt x="68" y="372"/>
                    </a:lnTo>
                    <a:lnTo>
                      <a:pt x="67" y="371"/>
                    </a:lnTo>
                    <a:lnTo>
                      <a:pt x="67" y="369"/>
                    </a:lnTo>
                    <a:lnTo>
                      <a:pt x="65" y="367"/>
                    </a:lnTo>
                    <a:lnTo>
                      <a:pt x="65" y="366"/>
                    </a:lnTo>
                    <a:lnTo>
                      <a:pt x="65" y="364"/>
                    </a:lnTo>
                    <a:lnTo>
                      <a:pt x="64" y="364"/>
                    </a:lnTo>
                    <a:lnTo>
                      <a:pt x="64" y="363"/>
                    </a:lnTo>
                    <a:lnTo>
                      <a:pt x="64" y="361"/>
                    </a:lnTo>
                    <a:lnTo>
                      <a:pt x="62" y="361"/>
                    </a:lnTo>
                    <a:lnTo>
                      <a:pt x="62" y="360"/>
                    </a:lnTo>
                    <a:lnTo>
                      <a:pt x="62" y="358"/>
                    </a:lnTo>
                    <a:lnTo>
                      <a:pt x="61" y="358"/>
                    </a:lnTo>
                    <a:lnTo>
                      <a:pt x="61" y="356"/>
                    </a:lnTo>
                    <a:lnTo>
                      <a:pt x="61" y="355"/>
                    </a:lnTo>
                    <a:lnTo>
                      <a:pt x="61" y="353"/>
                    </a:lnTo>
                    <a:lnTo>
                      <a:pt x="61" y="352"/>
                    </a:lnTo>
                    <a:lnTo>
                      <a:pt x="59" y="350"/>
                    </a:lnTo>
                    <a:lnTo>
                      <a:pt x="57" y="350"/>
                    </a:lnTo>
                    <a:lnTo>
                      <a:pt x="56" y="350"/>
                    </a:lnTo>
                    <a:lnTo>
                      <a:pt x="56" y="348"/>
                    </a:lnTo>
                    <a:lnTo>
                      <a:pt x="54" y="348"/>
                    </a:lnTo>
                    <a:lnTo>
                      <a:pt x="53" y="347"/>
                    </a:lnTo>
                    <a:lnTo>
                      <a:pt x="53" y="345"/>
                    </a:lnTo>
                    <a:lnTo>
                      <a:pt x="51" y="345"/>
                    </a:lnTo>
                    <a:lnTo>
                      <a:pt x="51" y="344"/>
                    </a:lnTo>
                    <a:lnTo>
                      <a:pt x="49" y="344"/>
                    </a:lnTo>
                    <a:lnTo>
                      <a:pt x="49" y="342"/>
                    </a:lnTo>
                    <a:lnTo>
                      <a:pt x="48" y="341"/>
                    </a:lnTo>
                    <a:lnTo>
                      <a:pt x="45" y="337"/>
                    </a:lnTo>
                    <a:lnTo>
                      <a:pt x="45" y="336"/>
                    </a:lnTo>
                    <a:lnTo>
                      <a:pt x="43" y="334"/>
                    </a:lnTo>
                    <a:lnTo>
                      <a:pt x="43" y="333"/>
                    </a:lnTo>
                    <a:lnTo>
                      <a:pt x="42" y="333"/>
                    </a:lnTo>
                    <a:lnTo>
                      <a:pt x="42" y="331"/>
                    </a:lnTo>
                    <a:lnTo>
                      <a:pt x="40" y="331"/>
                    </a:lnTo>
                    <a:lnTo>
                      <a:pt x="40" y="329"/>
                    </a:lnTo>
                    <a:lnTo>
                      <a:pt x="38" y="329"/>
                    </a:lnTo>
                    <a:lnTo>
                      <a:pt x="38" y="328"/>
                    </a:lnTo>
                    <a:lnTo>
                      <a:pt x="37" y="328"/>
                    </a:lnTo>
                    <a:lnTo>
                      <a:pt x="37" y="326"/>
                    </a:lnTo>
                    <a:lnTo>
                      <a:pt x="35" y="326"/>
                    </a:lnTo>
                    <a:lnTo>
                      <a:pt x="34" y="326"/>
                    </a:lnTo>
                    <a:lnTo>
                      <a:pt x="34" y="325"/>
                    </a:lnTo>
                    <a:lnTo>
                      <a:pt x="32" y="325"/>
                    </a:lnTo>
                    <a:lnTo>
                      <a:pt x="30" y="325"/>
                    </a:lnTo>
                    <a:lnTo>
                      <a:pt x="29" y="323"/>
                    </a:lnTo>
                    <a:lnTo>
                      <a:pt x="27" y="323"/>
                    </a:lnTo>
                    <a:lnTo>
                      <a:pt x="26" y="322"/>
                    </a:lnTo>
                    <a:lnTo>
                      <a:pt x="24" y="322"/>
                    </a:lnTo>
                    <a:lnTo>
                      <a:pt x="24" y="320"/>
                    </a:lnTo>
                    <a:lnTo>
                      <a:pt x="23" y="320"/>
                    </a:lnTo>
                    <a:lnTo>
                      <a:pt x="21" y="320"/>
                    </a:lnTo>
                    <a:lnTo>
                      <a:pt x="19" y="318"/>
                    </a:lnTo>
                    <a:lnTo>
                      <a:pt x="18" y="318"/>
                    </a:lnTo>
                    <a:lnTo>
                      <a:pt x="16" y="317"/>
                    </a:lnTo>
                    <a:lnTo>
                      <a:pt x="15" y="317"/>
                    </a:lnTo>
                    <a:lnTo>
                      <a:pt x="13" y="317"/>
                    </a:lnTo>
                    <a:lnTo>
                      <a:pt x="13" y="315"/>
                    </a:lnTo>
                    <a:lnTo>
                      <a:pt x="11" y="315"/>
                    </a:lnTo>
                    <a:lnTo>
                      <a:pt x="10" y="315"/>
                    </a:lnTo>
                    <a:lnTo>
                      <a:pt x="10" y="314"/>
                    </a:lnTo>
                    <a:lnTo>
                      <a:pt x="8" y="314"/>
                    </a:lnTo>
                    <a:lnTo>
                      <a:pt x="7" y="314"/>
                    </a:lnTo>
                    <a:lnTo>
                      <a:pt x="7" y="312"/>
                    </a:lnTo>
                    <a:lnTo>
                      <a:pt x="5" y="312"/>
                    </a:lnTo>
                    <a:lnTo>
                      <a:pt x="4" y="312"/>
                    </a:lnTo>
                    <a:lnTo>
                      <a:pt x="2" y="310"/>
                    </a:lnTo>
                    <a:lnTo>
                      <a:pt x="0" y="310"/>
                    </a:lnTo>
                    <a:lnTo>
                      <a:pt x="0" y="309"/>
                    </a:lnTo>
                    <a:lnTo>
                      <a:pt x="0" y="307"/>
                    </a:lnTo>
                    <a:lnTo>
                      <a:pt x="2" y="307"/>
                    </a:lnTo>
                    <a:lnTo>
                      <a:pt x="2" y="306"/>
                    </a:lnTo>
                    <a:lnTo>
                      <a:pt x="2" y="304"/>
                    </a:lnTo>
                    <a:lnTo>
                      <a:pt x="4" y="304"/>
                    </a:lnTo>
                    <a:lnTo>
                      <a:pt x="4" y="303"/>
                    </a:lnTo>
                    <a:lnTo>
                      <a:pt x="4" y="301"/>
                    </a:lnTo>
                    <a:lnTo>
                      <a:pt x="5" y="301"/>
                    </a:lnTo>
                    <a:lnTo>
                      <a:pt x="5" y="299"/>
                    </a:lnTo>
                    <a:lnTo>
                      <a:pt x="5" y="298"/>
                    </a:lnTo>
                    <a:lnTo>
                      <a:pt x="7" y="298"/>
                    </a:lnTo>
                    <a:lnTo>
                      <a:pt x="7" y="296"/>
                    </a:lnTo>
                    <a:lnTo>
                      <a:pt x="7" y="295"/>
                    </a:lnTo>
                    <a:lnTo>
                      <a:pt x="8" y="295"/>
                    </a:lnTo>
                    <a:lnTo>
                      <a:pt x="8" y="293"/>
                    </a:lnTo>
                    <a:lnTo>
                      <a:pt x="8" y="291"/>
                    </a:lnTo>
                    <a:lnTo>
                      <a:pt x="10" y="291"/>
                    </a:lnTo>
                    <a:lnTo>
                      <a:pt x="10" y="290"/>
                    </a:lnTo>
                    <a:lnTo>
                      <a:pt x="10" y="288"/>
                    </a:lnTo>
                    <a:lnTo>
                      <a:pt x="11" y="288"/>
                    </a:lnTo>
                    <a:lnTo>
                      <a:pt x="11" y="287"/>
                    </a:lnTo>
                    <a:lnTo>
                      <a:pt x="11" y="285"/>
                    </a:lnTo>
                    <a:lnTo>
                      <a:pt x="13" y="284"/>
                    </a:lnTo>
                    <a:lnTo>
                      <a:pt x="13" y="282"/>
                    </a:lnTo>
                    <a:lnTo>
                      <a:pt x="15" y="280"/>
                    </a:lnTo>
                    <a:lnTo>
                      <a:pt x="15" y="279"/>
                    </a:lnTo>
                    <a:lnTo>
                      <a:pt x="16" y="277"/>
                    </a:lnTo>
                    <a:lnTo>
                      <a:pt x="16" y="276"/>
                    </a:lnTo>
                    <a:lnTo>
                      <a:pt x="18" y="274"/>
                    </a:lnTo>
                    <a:lnTo>
                      <a:pt x="18" y="272"/>
                    </a:lnTo>
                    <a:lnTo>
                      <a:pt x="19" y="271"/>
                    </a:lnTo>
                    <a:lnTo>
                      <a:pt x="19" y="269"/>
                    </a:lnTo>
                    <a:lnTo>
                      <a:pt x="21" y="268"/>
                    </a:lnTo>
                    <a:lnTo>
                      <a:pt x="21" y="266"/>
                    </a:lnTo>
                    <a:lnTo>
                      <a:pt x="21" y="264"/>
                    </a:lnTo>
                    <a:lnTo>
                      <a:pt x="23" y="264"/>
                    </a:lnTo>
                    <a:lnTo>
                      <a:pt x="23" y="263"/>
                    </a:lnTo>
                    <a:lnTo>
                      <a:pt x="24" y="261"/>
                    </a:lnTo>
                    <a:lnTo>
                      <a:pt x="24" y="260"/>
                    </a:lnTo>
                    <a:lnTo>
                      <a:pt x="26" y="258"/>
                    </a:lnTo>
                    <a:lnTo>
                      <a:pt x="26" y="257"/>
                    </a:lnTo>
                    <a:lnTo>
                      <a:pt x="27" y="255"/>
                    </a:lnTo>
                    <a:lnTo>
                      <a:pt x="27" y="253"/>
                    </a:lnTo>
                    <a:lnTo>
                      <a:pt x="29" y="252"/>
                    </a:lnTo>
                    <a:lnTo>
                      <a:pt x="29" y="250"/>
                    </a:lnTo>
                    <a:lnTo>
                      <a:pt x="29" y="249"/>
                    </a:lnTo>
                    <a:lnTo>
                      <a:pt x="30" y="249"/>
                    </a:lnTo>
                    <a:lnTo>
                      <a:pt x="30" y="247"/>
                    </a:lnTo>
                    <a:lnTo>
                      <a:pt x="30" y="245"/>
                    </a:lnTo>
                    <a:lnTo>
                      <a:pt x="32" y="245"/>
                    </a:lnTo>
                    <a:lnTo>
                      <a:pt x="32" y="244"/>
                    </a:lnTo>
                    <a:lnTo>
                      <a:pt x="32" y="242"/>
                    </a:lnTo>
                    <a:lnTo>
                      <a:pt x="34" y="242"/>
                    </a:lnTo>
                    <a:lnTo>
                      <a:pt x="34" y="241"/>
                    </a:lnTo>
                    <a:lnTo>
                      <a:pt x="35" y="239"/>
                    </a:lnTo>
                    <a:lnTo>
                      <a:pt x="35" y="238"/>
                    </a:lnTo>
                    <a:lnTo>
                      <a:pt x="35" y="236"/>
                    </a:lnTo>
                    <a:lnTo>
                      <a:pt x="37" y="236"/>
                    </a:lnTo>
                    <a:lnTo>
                      <a:pt x="37" y="234"/>
                    </a:lnTo>
                    <a:lnTo>
                      <a:pt x="37" y="233"/>
                    </a:lnTo>
                    <a:lnTo>
                      <a:pt x="38" y="233"/>
                    </a:lnTo>
                    <a:lnTo>
                      <a:pt x="38" y="231"/>
                    </a:lnTo>
                    <a:lnTo>
                      <a:pt x="40" y="231"/>
                    </a:lnTo>
                    <a:lnTo>
                      <a:pt x="40" y="230"/>
                    </a:lnTo>
                    <a:lnTo>
                      <a:pt x="42" y="228"/>
                    </a:lnTo>
                    <a:lnTo>
                      <a:pt x="42" y="226"/>
                    </a:lnTo>
                    <a:lnTo>
                      <a:pt x="43" y="226"/>
                    </a:lnTo>
                    <a:lnTo>
                      <a:pt x="45" y="225"/>
                    </a:lnTo>
                    <a:lnTo>
                      <a:pt x="45" y="223"/>
                    </a:lnTo>
                    <a:lnTo>
                      <a:pt x="46" y="223"/>
                    </a:lnTo>
                    <a:lnTo>
                      <a:pt x="46" y="222"/>
                    </a:lnTo>
                    <a:lnTo>
                      <a:pt x="48" y="222"/>
                    </a:lnTo>
                    <a:lnTo>
                      <a:pt x="48" y="220"/>
                    </a:lnTo>
                    <a:lnTo>
                      <a:pt x="49" y="220"/>
                    </a:lnTo>
                    <a:lnTo>
                      <a:pt x="49" y="219"/>
                    </a:lnTo>
                    <a:lnTo>
                      <a:pt x="51" y="217"/>
                    </a:lnTo>
                    <a:lnTo>
                      <a:pt x="53" y="215"/>
                    </a:lnTo>
                    <a:lnTo>
                      <a:pt x="54" y="214"/>
                    </a:lnTo>
                    <a:lnTo>
                      <a:pt x="54" y="212"/>
                    </a:lnTo>
                    <a:lnTo>
                      <a:pt x="56" y="212"/>
                    </a:lnTo>
                    <a:lnTo>
                      <a:pt x="56" y="211"/>
                    </a:lnTo>
                    <a:lnTo>
                      <a:pt x="53" y="207"/>
                    </a:lnTo>
                    <a:lnTo>
                      <a:pt x="53" y="206"/>
                    </a:lnTo>
                    <a:lnTo>
                      <a:pt x="48" y="200"/>
                    </a:lnTo>
                    <a:lnTo>
                      <a:pt x="43" y="195"/>
                    </a:lnTo>
                    <a:lnTo>
                      <a:pt x="43" y="193"/>
                    </a:lnTo>
                    <a:lnTo>
                      <a:pt x="42" y="193"/>
                    </a:lnTo>
                    <a:lnTo>
                      <a:pt x="42" y="192"/>
                    </a:lnTo>
                    <a:lnTo>
                      <a:pt x="40" y="190"/>
                    </a:lnTo>
                    <a:lnTo>
                      <a:pt x="38" y="188"/>
                    </a:lnTo>
                    <a:lnTo>
                      <a:pt x="34" y="184"/>
                    </a:lnTo>
                    <a:lnTo>
                      <a:pt x="34" y="182"/>
                    </a:lnTo>
                    <a:lnTo>
                      <a:pt x="30" y="179"/>
                    </a:lnTo>
                    <a:lnTo>
                      <a:pt x="29" y="176"/>
                    </a:lnTo>
                    <a:lnTo>
                      <a:pt x="27" y="174"/>
                    </a:lnTo>
                    <a:lnTo>
                      <a:pt x="26" y="173"/>
                    </a:lnTo>
                    <a:lnTo>
                      <a:pt x="23" y="168"/>
                    </a:lnTo>
                    <a:lnTo>
                      <a:pt x="19" y="165"/>
                    </a:lnTo>
                    <a:lnTo>
                      <a:pt x="15" y="158"/>
                    </a:lnTo>
                    <a:lnTo>
                      <a:pt x="13" y="155"/>
                    </a:lnTo>
                    <a:lnTo>
                      <a:pt x="13" y="154"/>
                    </a:lnTo>
                    <a:lnTo>
                      <a:pt x="13" y="150"/>
                    </a:lnTo>
                    <a:lnTo>
                      <a:pt x="13" y="149"/>
                    </a:lnTo>
                    <a:lnTo>
                      <a:pt x="15" y="149"/>
                    </a:lnTo>
                    <a:lnTo>
                      <a:pt x="15" y="147"/>
                    </a:lnTo>
                    <a:lnTo>
                      <a:pt x="16" y="147"/>
                    </a:lnTo>
                    <a:lnTo>
                      <a:pt x="18" y="147"/>
                    </a:lnTo>
                    <a:lnTo>
                      <a:pt x="19" y="147"/>
                    </a:lnTo>
                    <a:lnTo>
                      <a:pt x="21" y="147"/>
                    </a:lnTo>
                    <a:lnTo>
                      <a:pt x="21" y="146"/>
                    </a:lnTo>
                    <a:lnTo>
                      <a:pt x="23" y="146"/>
                    </a:lnTo>
                    <a:lnTo>
                      <a:pt x="24" y="146"/>
                    </a:lnTo>
                    <a:lnTo>
                      <a:pt x="26" y="144"/>
                    </a:lnTo>
                    <a:lnTo>
                      <a:pt x="27" y="144"/>
                    </a:lnTo>
                    <a:lnTo>
                      <a:pt x="29" y="144"/>
                    </a:lnTo>
                    <a:lnTo>
                      <a:pt x="30" y="143"/>
                    </a:lnTo>
                    <a:lnTo>
                      <a:pt x="32" y="143"/>
                    </a:lnTo>
                    <a:lnTo>
                      <a:pt x="34" y="141"/>
                    </a:lnTo>
                    <a:lnTo>
                      <a:pt x="35" y="141"/>
                    </a:lnTo>
                    <a:lnTo>
                      <a:pt x="37" y="139"/>
                    </a:lnTo>
                    <a:lnTo>
                      <a:pt x="38" y="139"/>
                    </a:lnTo>
                    <a:lnTo>
                      <a:pt x="42" y="136"/>
                    </a:lnTo>
                    <a:lnTo>
                      <a:pt x="43" y="135"/>
                    </a:lnTo>
                    <a:lnTo>
                      <a:pt x="45" y="133"/>
                    </a:lnTo>
                    <a:lnTo>
                      <a:pt x="46" y="133"/>
                    </a:lnTo>
                    <a:lnTo>
                      <a:pt x="48" y="133"/>
                    </a:lnTo>
                    <a:lnTo>
                      <a:pt x="49" y="131"/>
                    </a:lnTo>
                    <a:lnTo>
                      <a:pt x="51" y="131"/>
                    </a:lnTo>
                    <a:lnTo>
                      <a:pt x="53" y="131"/>
                    </a:lnTo>
                    <a:lnTo>
                      <a:pt x="54" y="131"/>
                    </a:lnTo>
                    <a:lnTo>
                      <a:pt x="54" y="130"/>
                    </a:lnTo>
                    <a:lnTo>
                      <a:pt x="56" y="130"/>
                    </a:lnTo>
                    <a:lnTo>
                      <a:pt x="57" y="130"/>
                    </a:lnTo>
                    <a:lnTo>
                      <a:pt x="59" y="130"/>
                    </a:lnTo>
                    <a:lnTo>
                      <a:pt x="61" y="130"/>
                    </a:lnTo>
                    <a:lnTo>
                      <a:pt x="61" y="128"/>
                    </a:lnTo>
                    <a:lnTo>
                      <a:pt x="62" y="128"/>
                    </a:lnTo>
                    <a:lnTo>
                      <a:pt x="64" y="128"/>
                    </a:lnTo>
                    <a:lnTo>
                      <a:pt x="65" y="128"/>
                    </a:lnTo>
                    <a:lnTo>
                      <a:pt x="67" y="127"/>
                    </a:lnTo>
                    <a:lnTo>
                      <a:pt x="68" y="127"/>
                    </a:lnTo>
                    <a:lnTo>
                      <a:pt x="70" y="127"/>
                    </a:lnTo>
                    <a:lnTo>
                      <a:pt x="72" y="127"/>
                    </a:lnTo>
                    <a:lnTo>
                      <a:pt x="72" y="125"/>
                    </a:lnTo>
                    <a:lnTo>
                      <a:pt x="72" y="124"/>
                    </a:lnTo>
                    <a:lnTo>
                      <a:pt x="72" y="122"/>
                    </a:lnTo>
                    <a:lnTo>
                      <a:pt x="70" y="122"/>
                    </a:lnTo>
                    <a:lnTo>
                      <a:pt x="70" y="120"/>
                    </a:lnTo>
                    <a:lnTo>
                      <a:pt x="70" y="119"/>
                    </a:lnTo>
                    <a:lnTo>
                      <a:pt x="70" y="117"/>
                    </a:lnTo>
                    <a:lnTo>
                      <a:pt x="72" y="117"/>
                    </a:lnTo>
                    <a:lnTo>
                      <a:pt x="72" y="116"/>
                    </a:lnTo>
                    <a:lnTo>
                      <a:pt x="73" y="116"/>
                    </a:lnTo>
                    <a:lnTo>
                      <a:pt x="73" y="114"/>
                    </a:lnTo>
                    <a:lnTo>
                      <a:pt x="75" y="114"/>
                    </a:lnTo>
                    <a:lnTo>
                      <a:pt x="76" y="114"/>
                    </a:lnTo>
                    <a:lnTo>
                      <a:pt x="76" y="112"/>
                    </a:lnTo>
                    <a:lnTo>
                      <a:pt x="78" y="112"/>
                    </a:lnTo>
                    <a:lnTo>
                      <a:pt x="78" y="111"/>
                    </a:lnTo>
                    <a:lnTo>
                      <a:pt x="80" y="111"/>
                    </a:lnTo>
                    <a:lnTo>
                      <a:pt x="81" y="111"/>
                    </a:lnTo>
                    <a:lnTo>
                      <a:pt x="81" y="109"/>
                    </a:lnTo>
                    <a:lnTo>
                      <a:pt x="83" y="109"/>
                    </a:lnTo>
                    <a:lnTo>
                      <a:pt x="83" y="108"/>
                    </a:lnTo>
                    <a:lnTo>
                      <a:pt x="84" y="108"/>
                    </a:lnTo>
                    <a:lnTo>
                      <a:pt x="86" y="108"/>
                    </a:lnTo>
                    <a:lnTo>
                      <a:pt x="86" y="106"/>
                    </a:lnTo>
                    <a:lnTo>
                      <a:pt x="87" y="106"/>
                    </a:lnTo>
                    <a:lnTo>
                      <a:pt x="89" y="105"/>
                    </a:lnTo>
                    <a:lnTo>
                      <a:pt x="91" y="105"/>
                    </a:lnTo>
                    <a:lnTo>
                      <a:pt x="91" y="103"/>
                    </a:lnTo>
                    <a:lnTo>
                      <a:pt x="92" y="103"/>
                    </a:lnTo>
                    <a:lnTo>
                      <a:pt x="94" y="101"/>
                    </a:lnTo>
                    <a:lnTo>
                      <a:pt x="95" y="101"/>
                    </a:lnTo>
                    <a:lnTo>
                      <a:pt x="97" y="100"/>
                    </a:lnTo>
                    <a:lnTo>
                      <a:pt x="99" y="100"/>
                    </a:lnTo>
                    <a:lnTo>
                      <a:pt x="99" y="98"/>
                    </a:lnTo>
                    <a:lnTo>
                      <a:pt x="100" y="98"/>
                    </a:lnTo>
                    <a:lnTo>
                      <a:pt x="102" y="97"/>
                    </a:lnTo>
                    <a:lnTo>
                      <a:pt x="103" y="97"/>
                    </a:lnTo>
                    <a:lnTo>
                      <a:pt x="103" y="95"/>
                    </a:lnTo>
                    <a:lnTo>
                      <a:pt x="105" y="95"/>
                    </a:lnTo>
                    <a:lnTo>
                      <a:pt x="106" y="93"/>
                    </a:lnTo>
                    <a:lnTo>
                      <a:pt x="108" y="93"/>
                    </a:lnTo>
                    <a:lnTo>
                      <a:pt x="108" y="92"/>
                    </a:lnTo>
                    <a:lnTo>
                      <a:pt x="110" y="93"/>
                    </a:lnTo>
                    <a:lnTo>
                      <a:pt x="111" y="95"/>
                    </a:lnTo>
                    <a:lnTo>
                      <a:pt x="113" y="95"/>
                    </a:lnTo>
                    <a:lnTo>
                      <a:pt x="114" y="95"/>
                    </a:lnTo>
                    <a:lnTo>
                      <a:pt x="116" y="97"/>
                    </a:lnTo>
                    <a:lnTo>
                      <a:pt x="116" y="98"/>
                    </a:lnTo>
                    <a:lnTo>
                      <a:pt x="118" y="100"/>
                    </a:lnTo>
                    <a:lnTo>
                      <a:pt x="129" y="87"/>
                    </a:lnTo>
                    <a:lnTo>
                      <a:pt x="130" y="87"/>
                    </a:lnTo>
                    <a:lnTo>
                      <a:pt x="130" y="86"/>
                    </a:lnTo>
                    <a:lnTo>
                      <a:pt x="132" y="86"/>
                    </a:lnTo>
                    <a:lnTo>
                      <a:pt x="133" y="84"/>
                    </a:lnTo>
                    <a:lnTo>
                      <a:pt x="135" y="84"/>
                    </a:lnTo>
                    <a:lnTo>
                      <a:pt x="137" y="84"/>
                    </a:lnTo>
                    <a:lnTo>
                      <a:pt x="137" y="82"/>
                    </a:lnTo>
                    <a:lnTo>
                      <a:pt x="138" y="82"/>
                    </a:lnTo>
                    <a:lnTo>
                      <a:pt x="140" y="82"/>
                    </a:lnTo>
                    <a:lnTo>
                      <a:pt x="141" y="82"/>
                    </a:lnTo>
                    <a:lnTo>
                      <a:pt x="141" y="81"/>
                    </a:lnTo>
                    <a:lnTo>
                      <a:pt x="143" y="81"/>
                    </a:lnTo>
                    <a:lnTo>
                      <a:pt x="144" y="81"/>
                    </a:lnTo>
                    <a:lnTo>
                      <a:pt x="146" y="81"/>
                    </a:lnTo>
                    <a:lnTo>
                      <a:pt x="148" y="81"/>
                    </a:lnTo>
                    <a:lnTo>
                      <a:pt x="149" y="79"/>
                    </a:lnTo>
                    <a:lnTo>
                      <a:pt x="151" y="79"/>
                    </a:lnTo>
                    <a:lnTo>
                      <a:pt x="152" y="78"/>
                    </a:lnTo>
                    <a:lnTo>
                      <a:pt x="154" y="78"/>
                    </a:lnTo>
                    <a:lnTo>
                      <a:pt x="154" y="76"/>
                    </a:lnTo>
                    <a:lnTo>
                      <a:pt x="156" y="76"/>
                    </a:lnTo>
                    <a:lnTo>
                      <a:pt x="156" y="74"/>
                    </a:lnTo>
                    <a:lnTo>
                      <a:pt x="157" y="74"/>
                    </a:lnTo>
                    <a:lnTo>
                      <a:pt x="157" y="73"/>
                    </a:lnTo>
                    <a:lnTo>
                      <a:pt x="157" y="71"/>
                    </a:lnTo>
                    <a:lnTo>
                      <a:pt x="159" y="70"/>
                    </a:lnTo>
                    <a:lnTo>
                      <a:pt x="159" y="68"/>
                    </a:lnTo>
                    <a:lnTo>
                      <a:pt x="159" y="66"/>
                    </a:lnTo>
                    <a:lnTo>
                      <a:pt x="160" y="66"/>
                    </a:lnTo>
                    <a:lnTo>
                      <a:pt x="160" y="65"/>
                    </a:lnTo>
                    <a:lnTo>
                      <a:pt x="160" y="63"/>
                    </a:lnTo>
                    <a:lnTo>
                      <a:pt x="160" y="62"/>
                    </a:lnTo>
                    <a:lnTo>
                      <a:pt x="162" y="62"/>
                    </a:lnTo>
                    <a:lnTo>
                      <a:pt x="164" y="62"/>
                    </a:lnTo>
                    <a:lnTo>
                      <a:pt x="164" y="60"/>
                    </a:lnTo>
                    <a:lnTo>
                      <a:pt x="165" y="60"/>
                    </a:lnTo>
                    <a:lnTo>
                      <a:pt x="167" y="60"/>
                    </a:lnTo>
                    <a:lnTo>
                      <a:pt x="168" y="59"/>
                    </a:lnTo>
                    <a:lnTo>
                      <a:pt x="170" y="59"/>
                    </a:lnTo>
                    <a:lnTo>
                      <a:pt x="171" y="59"/>
                    </a:lnTo>
                    <a:lnTo>
                      <a:pt x="171" y="57"/>
                    </a:lnTo>
                    <a:lnTo>
                      <a:pt x="173" y="57"/>
                    </a:lnTo>
                    <a:lnTo>
                      <a:pt x="175" y="57"/>
                    </a:lnTo>
                    <a:lnTo>
                      <a:pt x="176" y="55"/>
                    </a:lnTo>
                    <a:lnTo>
                      <a:pt x="178" y="55"/>
                    </a:lnTo>
                    <a:lnTo>
                      <a:pt x="178" y="54"/>
                    </a:lnTo>
                    <a:lnTo>
                      <a:pt x="179" y="54"/>
                    </a:lnTo>
                    <a:lnTo>
                      <a:pt x="181" y="54"/>
                    </a:lnTo>
                    <a:lnTo>
                      <a:pt x="181" y="55"/>
                    </a:lnTo>
                    <a:lnTo>
                      <a:pt x="183" y="55"/>
                    </a:lnTo>
                    <a:lnTo>
                      <a:pt x="184" y="57"/>
                    </a:lnTo>
                    <a:lnTo>
                      <a:pt x="186" y="59"/>
                    </a:lnTo>
                    <a:lnTo>
                      <a:pt x="187" y="59"/>
                    </a:lnTo>
                    <a:lnTo>
                      <a:pt x="187" y="60"/>
                    </a:lnTo>
                    <a:lnTo>
                      <a:pt x="189" y="60"/>
                    </a:lnTo>
                    <a:lnTo>
                      <a:pt x="190" y="60"/>
                    </a:lnTo>
                    <a:lnTo>
                      <a:pt x="190" y="62"/>
                    </a:lnTo>
                    <a:lnTo>
                      <a:pt x="192" y="62"/>
                    </a:lnTo>
                    <a:lnTo>
                      <a:pt x="194" y="62"/>
                    </a:lnTo>
                    <a:lnTo>
                      <a:pt x="194" y="63"/>
                    </a:lnTo>
                    <a:lnTo>
                      <a:pt x="195" y="63"/>
                    </a:lnTo>
                    <a:lnTo>
                      <a:pt x="197" y="63"/>
                    </a:lnTo>
                    <a:lnTo>
                      <a:pt x="197" y="65"/>
                    </a:lnTo>
                    <a:lnTo>
                      <a:pt x="198" y="65"/>
                    </a:lnTo>
                    <a:lnTo>
                      <a:pt x="200" y="65"/>
                    </a:lnTo>
                    <a:lnTo>
                      <a:pt x="200" y="66"/>
                    </a:lnTo>
                    <a:lnTo>
                      <a:pt x="202" y="66"/>
                    </a:lnTo>
                    <a:lnTo>
                      <a:pt x="203" y="66"/>
                    </a:lnTo>
                    <a:lnTo>
                      <a:pt x="205" y="68"/>
                    </a:lnTo>
                    <a:lnTo>
                      <a:pt x="206" y="68"/>
                    </a:lnTo>
                    <a:lnTo>
                      <a:pt x="208" y="68"/>
                    </a:lnTo>
                    <a:lnTo>
                      <a:pt x="209" y="70"/>
                    </a:lnTo>
                    <a:lnTo>
                      <a:pt x="211" y="68"/>
                    </a:lnTo>
                    <a:lnTo>
                      <a:pt x="213" y="68"/>
                    </a:lnTo>
                    <a:lnTo>
                      <a:pt x="214" y="68"/>
                    </a:lnTo>
                    <a:lnTo>
                      <a:pt x="216" y="68"/>
                    </a:lnTo>
                    <a:lnTo>
                      <a:pt x="217" y="68"/>
                    </a:lnTo>
                    <a:lnTo>
                      <a:pt x="219" y="68"/>
                    </a:lnTo>
                    <a:lnTo>
                      <a:pt x="219" y="70"/>
                    </a:lnTo>
                    <a:lnTo>
                      <a:pt x="221" y="70"/>
                    </a:lnTo>
                    <a:lnTo>
                      <a:pt x="221" y="71"/>
                    </a:lnTo>
                    <a:lnTo>
                      <a:pt x="222" y="71"/>
                    </a:lnTo>
                    <a:lnTo>
                      <a:pt x="222" y="73"/>
                    </a:lnTo>
                    <a:lnTo>
                      <a:pt x="221" y="73"/>
                    </a:lnTo>
                    <a:lnTo>
                      <a:pt x="221" y="74"/>
                    </a:lnTo>
                    <a:lnTo>
                      <a:pt x="219" y="74"/>
                    </a:lnTo>
                    <a:lnTo>
                      <a:pt x="219" y="76"/>
                    </a:lnTo>
                    <a:lnTo>
                      <a:pt x="217" y="76"/>
                    </a:lnTo>
                    <a:lnTo>
                      <a:pt x="216" y="78"/>
                    </a:lnTo>
                    <a:lnTo>
                      <a:pt x="214" y="78"/>
                    </a:lnTo>
                    <a:lnTo>
                      <a:pt x="214" y="79"/>
                    </a:lnTo>
                    <a:lnTo>
                      <a:pt x="213" y="79"/>
                    </a:lnTo>
                    <a:lnTo>
                      <a:pt x="211" y="81"/>
                    </a:lnTo>
                    <a:lnTo>
                      <a:pt x="209" y="81"/>
                    </a:lnTo>
                    <a:lnTo>
                      <a:pt x="208" y="82"/>
                    </a:lnTo>
                    <a:lnTo>
                      <a:pt x="208" y="84"/>
                    </a:lnTo>
                    <a:lnTo>
                      <a:pt x="206" y="84"/>
                    </a:lnTo>
                    <a:lnTo>
                      <a:pt x="206" y="86"/>
                    </a:lnTo>
                    <a:lnTo>
                      <a:pt x="206" y="87"/>
                    </a:lnTo>
                    <a:lnTo>
                      <a:pt x="205" y="89"/>
                    </a:lnTo>
                    <a:lnTo>
                      <a:pt x="205" y="90"/>
                    </a:lnTo>
                    <a:lnTo>
                      <a:pt x="205" y="92"/>
                    </a:lnTo>
                    <a:lnTo>
                      <a:pt x="205" y="93"/>
                    </a:lnTo>
                    <a:lnTo>
                      <a:pt x="206" y="93"/>
                    </a:lnTo>
                    <a:lnTo>
                      <a:pt x="206" y="95"/>
                    </a:lnTo>
                    <a:lnTo>
                      <a:pt x="208" y="95"/>
                    </a:lnTo>
                    <a:lnTo>
                      <a:pt x="208" y="97"/>
                    </a:lnTo>
                    <a:lnTo>
                      <a:pt x="209" y="97"/>
                    </a:lnTo>
                    <a:lnTo>
                      <a:pt x="211" y="98"/>
                    </a:lnTo>
                    <a:lnTo>
                      <a:pt x="213" y="100"/>
                    </a:lnTo>
                    <a:lnTo>
                      <a:pt x="214" y="100"/>
                    </a:lnTo>
                    <a:lnTo>
                      <a:pt x="216" y="101"/>
                    </a:lnTo>
                    <a:lnTo>
                      <a:pt x="217" y="101"/>
                    </a:lnTo>
                    <a:lnTo>
                      <a:pt x="217" y="103"/>
                    </a:lnTo>
                    <a:lnTo>
                      <a:pt x="219" y="103"/>
                    </a:lnTo>
                    <a:lnTo>
                      <a:pt x="221" y="103"/>
                    </a:lnTo>
                    <a:lnTo>
                      <a:pt x="222" y="103"/>
                    </a:lnTo>
                    <a:lnTo>
                      <a:pt x="224" y="103"/>
                    </a:lnTo>
                    <a:lnTo>
                      <a:pt x="225" y="103"/>
                    </a:lnTo>
                    <a:lnTo>
                      <a:pt x="227" y="103"/>
                    </a:lnTo>
                    <a:lnTo>
                      <a:pt x="228" y="103"/>
                    </a:lnTo>
                    <a:lnTo>
                      <a:pt x="230" y="103"/>
                    </a:lnTo>
                    <a:lnTo>
                      <a:pt x="232" y="103"/>
                    </a:lnTo>
                    <a:lnTo>
                      <a:pt x="233" y="103"/>
                    </a:lnTo>
                    <a:lnTo>
                      <a:pt x="235" y="103"/>
                    </a:lnTo>
                    <a:lnTo>
                      <a:pt x="236" y="103"/>
                    </a:lnTo>
                    <a:lnTo>
                      <a:pt x="238" y="103"/>
                    </a:lnTo>
                    <a:lnTo>
                      <a:pt x="238" y="101"/>
                    </a:lnTo>
                    <a:lnTo>
                      <a:pt x="238" y="100"/>
                    </a:lnTo>
                    <a:lnTo>
                      <a:pt x="236" y="98"/>
                    </a:lnTo>
                    <a:lnTo>
                      <a:pt x="236" y="97"/>
                    </a:lnTo>
                    <a:lnTo>
                      <a:pt x="236" y="95"/>
                    </a:lnTo>
                    <a:lnTo>
                      <a:pt x="238" y="95"/>
                    </a:lnTo>
                    <a:lnTo>
                      <a:pt x="238" y="93"/>
                    </a:lnTo>
                    <a:lnTo>
                      <a:pt x="236" y="93"/>
                    </a:lnTo>
                    <a:lnTo>
                      <a:pt x="236" y="92"/>
                    </a:lnTo>
                    <a:lnTo>
                      <a:pt x="236" y="90"/>
                    </a:lnTo>
                    <a:lnTo>
                      <a:pt x="235" y="89"/>
                    </a:lnTo>
                    <a:lnTo>
                      <a:pt x="235" y="87"/>
                    </a:lnTo>
                    <a:lnTo>
                      <a:pt x="235" y="86"/>
                    </a:lnTo>
                    <a:lnTo>
                      <a:pt x="235" y="84"/>
                    </a:lnTo>
                    <a:lnTo>
                      <a:pt x="235" y="82"/>
                    </a:lnTo>
                    <a:lnTo>
                      <a:pt x="233" y="82"/>
                    </a:lnTo>
                    <a:lnTo>
                      <a:pt x="233" y="81"/>
                    </a:lnTo>
                    <a:lnTo>
                      <a:pt x="233" y="79"/>
                    </a:lnTo>
                    <a:lnTo>
                      <a:pt x="235" y="79"/>
                    </a:lnTo>
                    <a:lnTo>
                      <a:pt x="236" y="81"/>
                    </a:lnTo>
                    <a:lnTo>
                      <a:pt x="238" y="81"/>
                    </a:lnTo>
                    <a:lnTo>
                      <a:pt x="240" y="81"/>
                    </a:lnTo>
                    <a:lnTo>
                      <a:pt x="241" y="81"/>
                    </a:lnTo>
                    <a:lnTo>
                      <a:pt x="243" y="81"/>
                    </a:lnTo>
                    <a:lnTo>
                      <a:pt x="244" y="81"/>
                    </a:lnTo>
                    <a:lnTo>
                      <a:pt x="246" y="81"/>
                    </a:lnTo>
                    <a:lnTo>
                      <a:pt x="247" y="81"/>
                    </a:lnTo>
                    <a:lnTo>
                      <a:pt x="249" y="81"/>
                    </a:lnTo>
                    <a:lnTo>
                      <a:pt x="251" y="81"/>
                    </a:lnTo>
                    <a:lnTo>
                      <a:pt x="252" y="81"/>
                    </a:lnTo>
                    <a:lnTo>
                      <a:pt x="254" y="81"/>
                    </a:lnTo>
                    <a:lnTo>
                      <a:pt x="255" y="81"/>
                    </a:lnTo>
                    <a:lnTo>
                      <a:pt x="257" y="81"/>
                    </a:lnTo>
                    <a:lnTo>
                      <a:pt x="259" y="81"/>
                    </a:lnTo>
                    <a:lnTo>
                      <a:pt x="260" y="81"/>
                    </a:lnTo>
                    <a:lnTo>
                      <a:pt x="262" y="81"/>
                    </a:lnTo>
                    <a:lnTo>
                      <a:pt x="263" y="81"/>
                    </a:lnTo>
                    <a:lnTo>
                      <a:pt x="265" y="81"/>
                    </a:lnTo>
                    <a:lnTo>
                      <a:pt x="266" y="81"/>
                    </a:lnTo>
                    <a:lnTo>
                      <a:pt x="268" y="81"/>
                    </a:lnTo>
                    <a:lnTo>
                      <a:pt x="270" y="81"/>
                    </a:lnTo>
                    <a:lnTo>
                      <a:pt x="271" y="81"/>
                    </a:lnTo>
                    <a:lnTo>
                      <a:pt x="273" y="81"/>
                    </a:lnTo>
                    <a:lnTo>
                      <a:pt x="274" y="81"/>
                    </a:lnTo>
                    <a:lnTo>
                      <a:pt x="276" y="82"/>
                    </a:lnTo>
                    <a:lnTo>
                      <a:pt x="278" y="82"/>
                    </a:lnTo>
                    <a:lnTo>
                      <a:pt x="279" y="81"/>
                    </a:lnTo>
                    <a:lnTo>
                      <a:pt x="279" y="79"/>
                    </a:lnTo>
                    <a:lnTo>
                      <a:pt x="279" y="78"/>
                    </a:lnTo>
                    <a:lnTo>
                      <a:pt x="279" y="76"/>
                    </a:lnTo>
                    <a:lnTo>
                      <a:pt x="279" y="74"/>
                    </a:lnTo>
                    <a:lnTo>
                      <a:pt x="279" y="73"/>
                    </a:lnTo>
                    <a:lnTo>
                      <a:pt x="279" y="71"/>
                    </a:lnTo>
                    <a:lnTo>
                      <a:pt x="279" y="70"/>
                    </a:lnTo>
                    <a:lnTo>
                      <a:pt x="279" y="68"/>
                    </a:lnTo>
                    <a:lnTo>
                      <a:pt x="281" y="66"/>
                    </a:lnTo>
                    <a:lnTo>
                      <a:pt x="281" y="65"/>
                    </a:lnTo>
                    <a:lnTo>
                      <a:pt x="282" y="65"/>
                    </a:lnTo>
                    <a:lnTo>
                      <a:pt x="282" y="63"/>
                    </a:lnTo>
                    <a:lnTo>
                      <a:pt x="284" y="62"/>
                    </a:lnTo>
                    <a:lnTo>
                      <a:pt x="284" y="60"/>
                    </a:lnTo>
                    <a:lnTo>
                      <a:pt x="284" y="59"/>
                    </a:lnTo>
                    <a:lnTo>
                      <a:pt x="285" y="57"/>
                    </a:lnTo>
                    <a:lnTo>
                      <a:pt x="285" y="55"/>
                    </a:lnTo>
                    <a:lnTo>
                      <a:pt x="284" y="54"/>
                    </a:lnTo>
                    <a:lnTo>
                      <a:pt x="284" y="52"/>
                    </a:lnTo>
                    <a:lnTo>
                      <a:pt x="282" y="51"/>
                    </a:lnTo>
                    <a:lnTo>
                      <a:pt x="282" y="49"/>
                    </a:lnTo>
                    <a:lnTo>
                      <a:pt x="282" y="47"/>
                    </a:lnTo>
                    <a:lnTo>
                      <a:pt x="281" y="46"/>
                    </a:lnTo>
                    <a:lnTo>
                      <a:pt x="281" y="44"/>
                    </a:lnTo>
                    <a:lnTo>
                      <a:pt x="279" y="43"/>
                    </a:lnTo>
                    <a:lnTo>
                      <a:pt x="279" y="41"/>
                    </a:lnTo>
                    <a:lnTo>
                      <a:pt x="279" y="40"/>
                    </a:lnTo>
                    <a:lnTo>
                      <a:pt x="279" y="38"/>
                    </a:lnTo>
                    <a:lnTo>
                      <a:pt x="281" y="38"/>
                    </a:lnTo>
                    <a:lnTo>
                      <a:pt x="281" y="36"/>
                    </a:lnTo>
                    <a:lnTo>
                      <a:pt x="281" y="35"/>
                    </a:lnTo>
                    <a:lnTo>
                      <a:pt x="282" y="35"/>
                    </a:lnTo>
                    <a:lnTo>
                      <a:pt x="284" y="35"/>
                    </a:lnTo>
                    <a:lnTo>
                      <a:pt x="284" y="36"/>
                    </a:lnTo>
                    <a:lnTo>
                      <a:pt x="284" y="38"/>
                    </a:lnTo>
                    <a:lnTo>
                      <a:pt x="285" y="38"/>
                    </a:lnTo>
                    <a:lnTo>
                      <a:pt x="287" y="38"/>
                    </a:lnTo>
                    <a:lnTo>
                      <a:pt x="289" y="40"/>
                    </a:lnTo>
                    <a:lnTo>
                      <a:pt x="290" y="40"/>
                    </a:lnTo>
                    <a:lnTo>
                      <a:pt x="290" y="38"/>
                    </a:lnTo>
                    <a:lnTo>
                      <a:pt x="298" y="40"/>
                    </a:lnTo>
                    <a:lnTo>
                      <a:pt x="298" y="41"/>
                    </a:lnTo>
                    <a:lnTo>
                      <a:pt x="297" y="55"/>
                    </a:lnTo>
                    <a:lnTo>
                      <a:pt x="287" y="63"/>
                    </a:lnTo>
                    <a:lnTo>
                      <a:pt x="285" y="74"/>
                    </a:lnTo>
                    <a:lnTo>
                      <a:pt x="287" y="86"/>
                    </a:lnTo>
                    <a:lnTo>
                      <a:pt x="282" y="95"/>
                    </a:lnTo>
                    <a:lnTo>
                      <a:pt x="284" y="98"/>
                    </a:lnTo>
                    <a:lnTo>
                      <a:pt x="282" y="111"/>
                    </a:lnTo>
                    <a:lnTo>
                      <a:pt x="292" y="125"/>
                    </a:lnTo>
                    <a:lnTo>
                      <a:pt x="297" y="127"/>
                    </a:lnTo>
                    <a:lnTo>
                      <a:pt x="297" y="125"/>
                    </a:lnTo>
                    <a:lnTo>
                      <a:pt x="297" y="124"/>
                    </a:lnTo>
                    <a:lnTo>
                      <a:pt x="298" y="122"/>
                    </a:lnTo>
                    <a:lnTo>
                      <a:pt x="298" y="120"/>
                    </a:lnTo>
                    <a:lnTo>
                      <a:pt x="298" y="119"/>
                    </a:lnTo>
                    <a:lnTo>
                      <a:pt x="298" y="117"/>
                    </a:lnTo>
                    <a:lnTo>
                      <a:pt x="298" y="116"/>
                    </a:lnTo>
                    <a:lnTo>
                      <a:pt x="298" y="114"/>
                    </a:lnTo>
                    <a:lnTo>
                      <a:pt x="298" y="112"/>
                    </a:lnTo>
                    <a:lnTo>
                      <a:pt x="298" y="111"/>
                    </a:lnTo>
                    <a:lnTo>
                      <a:pt x="298" y="109"/>
                    </a:lnTo>
                    <a:lnTo>
                      <a:pt x="300" y="108"/>
                    </a:lnTo>
                    <a:lnTo>
                      <a:pt x="301" y="108"/>
                    </a:lnTo>
                    <a:lnTo>
                      <a:pt x="303" y="108"/>
                    </a:lnTo>
                    <a:lnTo>
                      <a:pt x="303" y="106"/>
                    </a:lnTo>
                    <a:lnTo>
                      <a:pt x="304" y="105"/>
                    </a:lnTo>
                    <a:lnTo>
                      <a:pt x="306" y="103"/>
                    </a:lnTo>
                    <a:lnTo>
                      <a:pt x="308" y="103"/>
                    </a:lnTo>
                    <a:lnTo>
                      <a:pt x="309" y="101"/>
                    </a:lnTo>
                    <a:lnTo>
                      <a:pt x="311" y="100"/>
                    </a:lnTo>
                    <a:lnTo>
                      <a:pt x="312" y="97"/>
                    </a:lnTo>
                    <a:lnTo>
                      <a:pt x="314" y="95"/>
                    </a:lnTo>
                    <a:lnTo>
                      <a:pt x="316" y="92"/>
                    </a:lnTo>
                    <a:lnTo>
                      <a:pt x="317" y="92"/>
                    </a:lnTo>
                    <a:lnTo>
                      <a:pt x="317" y="90"/>
                    </a:lnTo>
                    <a:lnTo>
                      <a:pt x="319" y="89"/>
                    </a:lnTo>
                    <a:lnTo>
                      <a:pt x="320" y="86"/>
                    </a:lnTo>
                    <a:lnTo>
                      <a:pt x="322" y="84"/>
                    </a:lnTo>
                    <a:lnTo>
                      <a:pt x="323" y="84"/>
                    </a:lnTo>
                    <a:lnTo>
                      <a:pt x="323" y="82"/>
                    </a:lnTo>
                    <a:lnTo>
                      <a:pt x="325" y="82"/>
                    </a:lnTo>
                    <a:lnTo>
                      <a:pt x="325" y="81"/>
                    </a:lnTo>
                    <a:lnTo>
                      <a:pt x="327" y="81"/>
                    </a:lnTo>
                    <a:lnTo>
                      <a:pt x="327" y="78"/>
                    </a:lnTo>
                    <a:lnTo>
                      <a:pt x="328" y="74"/>
                    </a:lnTo>
                    <a:lnTo>
                      <a:pt x="330" y="73"/>
                    </a:lnTo>
                    <a:lnTo>
                      <a:pt x="330" y="71"/>
                    </a:lnTo>
                    <a:lnTo>
                      <a:pt x="330" y="70"/>
                    </a:lnTo>
                    <a:lnTo>
                      <a:pt x="331" y="70"/>
                    </a:lnTo>
                    <a:lnTo>
                      <a:pt x="333" y="70"/>
                    </a:lnTo>
                    <a:lnTo>
                      <a:pt x="335" y="70"/>
                    </a:lnTo>
                    <a:lnTo>
                      <a:pt x="336" y="70"/>
                    </a:lnTo>
                    <a:lnTo>
                      <a:pt x="336" y="68"/>
                    </a:lnTo>
                    <a:lnTo>
                      <a:pt x="336" y="66"/>
                    </a:lnTo>
                    <a:lnTo>
                      <a:pt x="338" y="66"/>
                    </a:lnTo>
                    <a:lnTo>
                      <a:pt x="338" y="65"/>
                    </a:lnTo>
                    <a:lnTo>
                      <a:pt x="339" y="65"/>
                    </a:lnTo>
                    <a:lnTo>
                      <a:pt x="341" y="65"/>
                    </a:lnTo>
                    <a:lnTo>
                      <a:pt x="342" y="65"/>
                    </a:lnTo>
                    <a:lnTo>
                      <a:pt x="344" y="63"/>
                    </a:lnTo>
                    <a:lnTo>
                      <a:pt x="344" y="62"/>
                    </a:lnTo>
                    <a:lnTo>
                      <a:pt x="346" y="62"/>
                    </a:lnTo>
                    <a:lnTo>
                      <a:pt x="347" y="62"/>
                    </a:lnTo>
                    <a:lnTo>
                      <a:pt x="347" y="60"/>
                    </a:lnTo>
                    <a:lnTo>
                      <a:pt x="349" y="60"/>
                    </a:lnTo>
                    <a:lnTo>
                      <a:pt x="350" y="60"/>
                    </a:lnTo>
                    <a:lnTo>
                      <a:pt x="352" y="60"/>
                    </a:lnTo>
                    <a:lnTo>
                      <a:pt x="354" y="62"/>
                    </a:lnTo>
                    <a:lnTo>
                      <a:pt x="354" y="63"/>
                    </a:lnTo>
                    <a:lnTo>
                      <a:pt x="355" y="65"/>
                    </a:lnTo>
                    <a:lnTo>
                      <a:pt x="355" y="66"/>
                    </a:lnTo>
                    <a:lnTo>
                      <a:pt x="357" y="66"/>
                    </a:lnTo>
                    <a:lnTo>
                      <a:pt x="357" y="68"/>
                    </a:lnTo>
                    <a:lnTo>
                      <a:pt x="357" y="70"/>
                    </a:lnTo>
                    <a:lnTo>
                      <a:pt x="358" y="70"/>
                    </a:lnTo>
                    <a:lnTo>
                      <a:pt x="360" y="71"/>
                    </a:lnTo>
                    <a:lnTo>
                      <a:pt x="358" y="73"/>
                    </a:lnTo>
                    <a:lnTo>
                      <a:pt x="358" y="74"/>
                    </a:lnTo>
                    <a:lnTo>
                      <a:pt x="360" y="74"/>
                    </a:lnTo>
                    <a:lnTo>
                      <a:pt x="360" y="76"/>
                    </a:lnTo>
                    <a:lnTo>
                      <a:pt x="360" y="78"/>
                    </a:lnTo>
                    <a:lnTo>
                      <a:pt x="362" y="78"/>
                    </a:lnTo>
                    <a:lnTo>
                      <a:pt x="362" y="79"/>
                    </a:lnTo>
                    <a:lnTo>
                      <a:pt x="362" y="81"/>
                    </a:lnTo>
                    <a:lnTo>
                      <a:pt x="363" y="81"/>
                    </a:lnTo>
                    <a:lnTo>
                      <a:pt x="363" y="82"/>
                    </a:lnTo>
                    <a:lnTo>
                      <a:pt x="363" y="84"/>
                    </a:lnTo>
                    <a:lnTo>
                      <a:pt x="365" y="84"/>
                    </a:lnTo>
                    <a:lnTo>
                      <a:pt x="365" y="86"/>
                    </a:lnTo>
                    <a:lnTo>
                      <a:pt x="366" y="87"/>
                    </a:lnTo>
                    <a:lnTo>
                      <a:pt x="366" y="89"/>
                    </a:lnTo>
                    <a:lnTo>
                      <a:pt x="368" y="89"/>
                    </a:lnTo>
                    <a:lnTo>
                      <a:pt x="368" y="90"/>
                    </a:lnTo>
                    <a:lnTo>
                      <a:pt x="369" y="90"/>
                    </a:lnTo>
                    <a:lnTo>
                      <a:pt x="369" y="92"/>
                    </a:lnTo>
                    <a:lnTo>
                      <a:pt x="371" y="93"/>
                    </a:lnTo>
                    <a:lnTo>
                      <a:pt x="371" y="95"/>
                    </a:lnTo>
                    <a:lnTo>
                      <a:pt x="373" y="97"/>
                    </a:lnTo>
                    <a:lnTo>
                      <a:pt x="373" y="98"/>
                    </a:lnTo>
                    <a:lnTo>
                      <a:pt x="374" y="98"/>
                    </a:lnTo>
                    <a:lnTo>
                      <a:pt x="374" y="100"/>
                    </a:lnTo>
                    <a:lnTo>
                      <a:pt x="374" y="101"/>
                    </a:lnTo>
                    <a:lnTo>
                      <a:pt x="376" y="101"/>
                    </a:lnTo>
                    <a:lnTo>
                      <a:pt x="376" y="103"/>
                    </a:lnTo>
                    <a:lnTo>
                      <a:pt x="376" y="105"/>
                    </a:lnTo>
                    <a:lnTo>
                      <a:pt x="377" y="105"/>
                    </a:lnTo>
                    <a:lnTo>
                      <a:pt x="377" y="106"/>
                    </a:lnTo>
                    <a:lnTo>
                      <a:pt x="379" y="106"/>
                    </a:lnTo>
                    <a:lnTo>
                      <a:pt x="379" y="108"/>
                    </a:lnTo>
                    <a:lnTo>
                      <a:pt x="379" y="109"/>
                    </a:lnTo>
                    <a:lnTo>
                      <a:pt x="384" y="116"/>
                    </a:lnTo>
                    <a:lnTo>
                      <a:pt x="385" y="116"/>
                    </a:lnTo>
                    <a:lnTo>
                      <a:pt x="385" y="117"/>
                    </a:lnTo>
                    <a:lnTo>
                      <a:pt x="385" y="119"/>
                    </a:lnTo>
                    <a:lnTo>
                      <a:pt x="387" y="119"/>
                    </a:lnTo>
                    <a:lnTo>
                      <a:pt x="387" y="120"/>
                    </a:lnTo>
                    <a:lnTo>
                      <a:pt x="388" y="124"/>
                    </a:lnTo>
                    <a:lnTo>
                      <a:pt x="390" y="124"/>
                    </a:lnTo>
                    <a:lnTo>
                      <a:pt x="390" y="125"/>
                    </a:lnTo>
                    <a:lnTo>
                      <a:pt x="392" y="127"/>
                    </a:lnTo>
                    <a:lnTo>
                      <a:pt x="392" y="128"/>
                    </a:lnTo>
                    <a:lnTo>
                      <a:pt x="393" y="128"/>
                    </a:lnTo>
                    <a:lnTo>
                      <a:pt x="396" y="133"/>
                    </a:lnTo>
                    <a:lnTo>
                      <a:pt x="396" y="135"/>
                    </a:lnTo>
                    <a:lnTo>
                      <a:pt x="398" y="136"/>
                    </a:lnTo>
                    <a:lnTo>
                      <a:pt x="398" y="138"/>
                    </a:lnTo>
                    <a:lnTo>
                      <a:pt x="400" y="139"/>
                    </a:lnTo>
                    <a:lnTo>
                      <a:pt x="401" y="141"/>
                    </a:lnTo>
                    <a:lnTo>
                      <a:pt x="401" y="143"/>
                    </a:lnTo>
                    <a:lnTo>
                      <a:pt x="403" y="143"/>
                    </a:lnTo>
                    <a:lnTo>
                      <a:pt x="403" y="144"/>
                    </a:lnTo>
                    <a:lnTo>
                      <a:pt x="404" y="146"/>
                    </a:lnTo>
                    <a:lnTo>
                      <a:pt x="404" y="147"/>
                    </a:lnTo>
                    <a:lnTo>
                      <a:pt x="406" y="147"/>
                    </a:lnTo>
                    <a:lnTo>
                      <a:pt x="406" y="149"/>
                    </a:lnTo>
                    <a:lnTo>
                      <a:pt x="407" y="150"/>
                    </a:lnTo>
                    <a:lnTo>
                      <a:pt x="414" y="160"/>
                    </a:lnTo>
                    <a:lnTo>
                      <a:pt x="417" y="165"/>
                    </a:lnTo>
                    <a:lnTo>
                      <a:pt x="419" y="166"/>
                    </a:lnTo>
                    <a:lnTo>
                      <a:pt x="419" y="168"/>
                    </a:lnTo>
                    <a:lnTo>
                      <a:pt x="420" y="168"/>
                    </a:lnTo>
                    <a:lnTo>
                      <a:pt x="420" y="169"/>
                    </a:lnTo>
                    <a:lnTo>
                      <a:pt x="422" y="171"/>
                    </a:lnTo>
                    <a:lnTo>
                      <a:pt x="422" y="173"/>
                    </a:lnTo>
                    <a:lnTo>
                      <a:pt x="423" y="173"/>
                    </a:lnTo>
                    <a:lnTo>
                      <a:pt x="423" y="174"/>
                    </a:lnTo>
                    <a:lnTo>
                      <a:pt x="425" y="176"/>
                    </a:lnTo>
                    <a:lnTo>
                      <a:pt x="425" y="177"/>
                    </a:lnTo>
                    <a:lnTo>
                      <a:pt x="426" y="179"/>
                    </a:lnTo>
                    <a:lnTo>
                      <a:pt x="431" y="182"/>
                    </a:lnTo>
                    <a:lnTo>
                      <a:pt x="433" y="185"/>
                    </a:lnTo>
                    <a:lnTo>
                      <a:pt x="434" y="187"/>
                    </a:lnTo>
                    <a:lnTo>
                      <a:pt x="436" y="188"/>
                    </a:lnTo>
                    <a:lnTo>
                      <a:pt x="439" y="193"/>
                    </a:lnTo>
                    <a:lnTo>
                      <a:pt x="439" y="195"/>
                    </a:lnTo>
                    <a:lnTo>
                      <a:pt x="450" y="214"/>
                    </a:lnTo>
                    <a:lnTo>
                      <a:pt x="453" y="215"/>
                    </a:lnTo>
                    <a:lnTo>
                      <a:pt x="455" y="217"/>
                    </a:lnTo>
                    <a:lnTo>
                      <a:pt x="460" y="223"/>
                    </a:lnTo>
                    <a:lnTo>
                      <a:pt x="460" y="225"/>
                    </a:lnTo>
                    <a:lnTo>
                      <a:pt x="469" y="238"/>
                    </a:lnTo>
                    <a:lnTo>
                      <a:pt x="469" y="239"/>
                    </a:lnTo>
                    <a:close/>
                    <a:moveTo>
                      <a:pt x="469" y="239"/>
                    </a:moveTo>
                    <a:lnTo>
                      <a:pt x="471" y="239"/>
                    </a:lnTo>
                    <a:lnTo>
                      <a:pt x="474" y="236"/>
                    </a:lnTo>
                    <a:lnTo>
                      <a:pt x="477" y="231"/>
                    </a:lnTo>
                    <a:lnTo>
                      <a:pt x="483" y="226"/>
                    </a:lnTo>
                    <a:lnTo>
                      <a:pt x="485" y="220"/>
                    </a:lnTo>
                    <a:lnTo>
                      <a:pt x="485" y="219"/>
                    </a:lnTo>
                    <a:lnTo>
                      <a:pt x="487" y="212"/>
                    </a:lnTo>
                    <a:lnTo>
                      <a:pt x="488" y="212"/>
                    </a:lnTo>
                    <a:lnTo>
                      <a:pt x="490" y="212"/>
                    </a:lnTo>
                    <a:lnTo>
                      <a:pt x="491" y="212"/>
                    </a:lnTo>
                    <a:lnTo>
                      <a:pt x="493" y="212"/>
                    </a:lnTo>
                    <a:lnTo>
                      <a:pt x="495" y="212"/>
                    </a:lnTo>
                    <a:lnTo>
                      <a:pt x="496" y="212"/>
                    </a:lnTo>
                    <a:lnTo>
                      <a:pt x="496" y="211"/>
                    </a:lnTo>
                    <a:lnTo>
                      <a:pt x="498" y="211"/>
                    </a:lnTo>
                    <a:lnTo>
                      <a:pt x="499" y="211"/>
                    </a:lnTo>
                    <a:lnTo>
                      <a:pt x="501" y="211"/>
                    </a:lnTo>
                    <a:lnTo>
                      <a:pt x="502" y="211"/>
                    </a:lnTo>
                    <a:lnTo>
                      <a:pt x="504" y="211"/>
                    </a:lnTo>
                    <a:lnTo>
                      <a:pt x="506" y="211"/>
                    </a:lnTo>
                    <a:lnTo>
                      <a:pt x="507" y="211"/>
                    </a:lnTo>
                    <a:lnTo>
                      <a:pt x="509" y="211"/>
                    </a:lnTo>
                    <a:lnTo>
                      <a:pt x="510" y="211"/>
                    </a:lnTo>
                    <a:lnTo>
                      <a:pt x="512" y="211"/>
                    </a:lnTo>
                    <a:lnTo>
                      <a:pt x="514" y="211"/>
                    </a:lnTo>
                    <a:lnTo>
                      <a:pt x="515" y="211"/>
                    </a:lnTo>
                    <a:lnTo>
                      <a:pt x="515" y="209"/>
                    </a:lnTo>
                    <a:lnTo>
                      <a:pt x="517" y="209"/>
                    </a:lnTo>
                    <a:lnTo>
                      <a:pt x="518" y="209"/>
                    </a:lnTo>
                    <a:lnTo>
                      <a:pt x="520" y="209"/>
                    </a:lnTo>
                    <a:lnTo>
                      <a:pt x="521" y="207"/>
                    </a:lnTo>
                    <a:lnTo>
                      <a:pt x="523" y="207"/>
                    </a:lnTo>
                    <a:lnTo>
                      <a:pt x="525" y="206"/>
                    </a:lnTo>
                    <a:lnTo>
                      <a:pt x="526" y="206"/>
                    </a:lnTo>
                    <a:lnTo>
                      <a:pt x="528" y="206"/>
                    </a:lnTo>
                    <a:lnTo>
                      <a:pt x="529" y="206"/>
                    </a:lnTo>
                    <a:lnTo>
                      <a:pt x="531" y="206"/>
                    </a:lnTo>
                    <a:lnTo>
                      <a:pt x="533" y="206"/>
                    </a:lnTo>
                    <a:lnTo>
                      <a:pt x="534" y="206"/>
                    </a:lnTo>
                    <a:lnTo>
                      <a:pt x="536" y="206"/>
                    </a:lnTo>
                    <a:lnTo>
                      <a:pt x="537" y="207"/>
                    </a:lnTo>
                    <a:lnTo>
                      <a:pt x="539" y="207"/>
                    </a:lnTo>
                    <a:lnTo>
                      <a:pt x="541" y="209"/>
                    </a:lnTo>
                    <a:lnTo>
                      <a:pt x="542" y="209"/>
                    </a:lnTo>
                    <a:lnTo>
                      <a:pt x="544" y="209"/>
                    </a:lnTo>
                    <a:lnTo>
                      <a:pt x="545" y="209"/>
                    </a:lnTo>
                    <a:lnTo>
                      <a:pt x="545" y="207"/>
                    </a:lnTo>
                    <a:lnTo>
                      <a:pt x="545" y="206"/>
                    </a:lnTo>
                    <a:lnTo>
                      <a:pt x="545" y="204"/>
                    </a:lnTo>
                    <a:lnTo>
                      <a:pt x="545" y="203"/>
                    </a:lnTo>
                    <a:lnTo>
                      <a:pt x="545" y="201"/>
                    </a:lnTo>
                    <a:lnTo>
                      <a:pt x="545" y="200"/>
                    </a:lnTo>
                    <a:lnTo>
                      <a:pt x="545" y="198"/>
                    </a:lnTo>
                    <a:lnTo>
                      <a:pt x="545" y="196"/>
                    </a:lnTo>
                    <a:lnTo>
                      <a:pt x="545" y="195"/>
                    </a:lnTo>
                    <a:lnTo>
                      <a:pt x="545" y="193"/>
                    </a:lnTo>
                    <a:lnTo>
                      <a:pt x="545" y="192"/>
                    </a:lnTo>
                    <a:lnTo>
                      <a:pt x="544" y="192"/>
                    </a:lnTo>
                    <a:lnTo>
                      <a:pt x="544" y="190"/>
                    </a:lnTo>
                    <a:lnTo>
                      <a:pt x="544" y="188"/>
                    </a:lnTo>
                    <a:lnTo>
                      <a:pt x="544" y="187"/>
                    </a:lnTo>
                    <a:lnTo>
                      <a:pt x="544" y="185"/>
                    </a:lnTo>
                    <a:lnTo>
                      <a:pt x="544" y="184"/>
                    </a:lnTo>
                    <a:lnTo>
                      <a:pt x="544" y="182"/>
                    </a:lnTo>
                    <a:lnTo>
                      <a:pt x="542" y="181"/>
                    </a:lnTo>
                    <a:lnTo>
                      <a:pt x="542" y="179"/>
                    </a:lnTo>
                    <a:lnTo>
                      <a:pt x="541" y="177"/>
                    </a:lnTo>
                    <a:lnTo>
                      <a:pt x="541" y="176"/>
                    </a:lnTo>
                    <a:lnTo>
                      <a:pt x="542" y="176"/>
                    </a:lnTo>
                    <a:lnTo>
                      <a:pt x="542" y="174"/>
                    </a:lnTo>
                    <a:lnTo>
                      <a:pt x="542" y="173"/>
                    </a:lnTo>
                    <a:lnTo>
                      <a:pt x="544" y="173"/>
                    </a:lnTo>
                    <a:lnTo>
                      <a:pt x="544" y="171"/>
                    </a:lnTo>
                    <a:lnTo>
                      <a:pt x="544" y="169"/>
                    </a:lnTo>
                    <a:lnTo>
                      <a:pt x="542" y="169"/>
                    </a:lnTo>
                    <a:lnTo>
                      <a:pt x="542" y="168"/>
                    </a:lnTo>
                    <a:lnTo>
                      <a:pt x="542" y="166"/>
                    </a:lnTo>
                    <a:lnTo>
                      <a:pt x="542" y="165"/>
                    </a:lnTo>
                    <a:lnTo>
                      <a:pt x="542" y="163"/>
                    </a:lnTo>
                    <a:lnTo>
                      <a:pt x="542" y="162"/>
                    </a:lnTo>
                    <a:lnTo>
                      <a:pt x="541" y="162"/>
                    </a:lnTo>
                    <a:lnTo>
                      <a:pt x="541" y="160"/>
                    </a:lnTo>
                    <a:lnTo>
                      <a:pt x="541" y="158"/>
                    </a:lnTo>
                    <a:lnTo>
                      <a:pt x="541" y="157"/>
                    </a:lnTo>
                    <a:lnTo>
                      <a:pt x="541" y="155"/>
                    </a:lnTo>
                    <a:lnTo>
                      <a:pt x="539" y="154"/>
                    </a:lnTo>
                    <a:lnTo>
                      <a:pt x="539" y="152"/>
                    </a:lnTo>
                    <a:lnTo>
                      <a:pt x="539" y="150"/>
                    </a:lnTo>
                    <a:lnTo>
                      <a:pt x="539" y="149"/>
                    </a:lnTo>
                    <a:lnTo>
                      <a:pt x="539" y="147"/>
                    </a:lnTo>
                    <a:lnTo>
                      <a:pt x="539" y="146"/>
                    </a:lnTo>
                    <a:lnTo>
                      <a:pt x="539" y="144"/>
                    </a:lnTo>
                    <a:lnTo>
                      <a:pt x="537" y="144"/>
                    </a:lnTo>
                    <a:lnTo>
                      <a:pt x="537" y="143"/>
                    </a:lnTo>
                    <a:lnTo>
                      <a:pt x="537" y="141"/>
                    </a:lnTo>
                    <a:lnTo>
                      <a:pt x="537" y="139"/>
                    </a:lnTo>
                    <a:lnTo>
                      <a:pt x="537" y="138"/>
                    </a:lnTo>
                    <a:lnTo>
                      <a:pt x="537" y="136"/>
                    </a:lnTo>
                    <a:lnTo>
                      <a:pt x="536" y="136"/>
                    </a:lnTo>
                    <a:lnTo>
                      <a:pt x="536" y="135"/>
                    </a:lnTo>
                    <a:lnTo>
                      <a:pt x="536" y="133"/>
                    </a:lnTo>
                    <a:lnTo>
                      <a:pt x="536" y="131"/>
                    </a:lnTo>
                    <a:lnTo>
                      <a:pt x="536" y="130"/>
                    </a:lnTo>
                    <a:lnTo>
                      <a:pt x="536" y="128"/>
                    </a:lnTo>
                    <a:lnTo>
                      <a:pt x="536" y="127"/>
                    </a:lnTo>
                    <a:lnTo>
                      <a:pt x="536" y="125"/>
                    </a:lnTo>
                    <a:lnTo>
                      <a:pt x="536" y="124"/>
                    </a:lnTo>
                    <a:lnTo>
                      <a:pt x="536" y="122"/>
                    </a:lnTo>
                    <a:lnTo>
                      <a:pt x="536" y="120"/>
                    </a:lnTo>
                    <a:lnTo>
                      <a:pt x="536" y="119"/>
                    </a:lnTo>
                    <a:lnTo>
                      <a:pt x="536" y="117"/>
                    </a:lnTo>
                    <a:lnTo>
                      <a:pt x="536" y="116"/>
                    </a:lnTo>
                    <a:lnTo>
                      <a:pt x="536" y="114"/>
                    </a:lnTo>
                    <a:lnTo>
                      <a:pt x="536" y="112"/>
                    </a:lnTo>
                    <a:lnTo>
                      <a:pt x="536" y="100"/>
                    </a:lnTo>
                    <a:lnTo>
                      <a:pt x="537" y="98"/>
                    </a:lnTo>
                    <a:lnTo>
                      <a:pt x="539" y="98"/>
                    </a:lnTo>
                    <a:lnTo>
                      <a:pt x="539" y="97"/>
                    </a:lnTo>
                    <a:lnTo>
                      <a:pt x="541" y="97"/>
                    </a:lnTo>
                    <a:lnTo>
                      <a:pt x="541" y="95"/>
                    </a:lnTo>
                    <a:lnTo>
                      <a:pt x="542" y="95"/>
                    </a:lnTo>
                    <a:lnTo>
                      <a:pt x="544" y="95"/>
                    </a:lnTo>
                    <a:lnTo>
                      <a:pt x="544" y="93"/>
                    </a:lnTo>
                    <a:lnTo>
                      <a:pt x="545" y="93"/>
                    </a:lnTo>
                    <a:lnTo>
                      <a:pt x="545" y="92"/>
                    </a:lnTo>
                    <a:lnTo>
                      <a:pt x="547" y="92"/>
                    </a:lnTo>
                    <a:lnTo>
                      <a:pt x="547" y="90"/>
                    </a:lnTo>
                    <a:lnTo>
                      <a:pt x="548" y="89"/>
                    </a:lnTo>
                    <a:lnTo>
                      <a:pt x="548" y="87"/>
                    </a:lnTo>
                    <a:lnTo>
                      <a:pt x="550" y="87"/>
                    </a:lnTo>
                    <a:lnTo>
                      <a:pt x="550" y="86"/>
                    </a:lnTo>
                    <a:lnTo>
                      <a:pt x="552" y="86"/>
                    </a:lnTo>
                    <a:lnTo>
                      <a:pt x="552" y="84"/>
                    </a:lnTo>
                    <a:lnTo>
                      <a:pt x="553" y="84"/>
                    </a:lnTo>
                    <a:lnTo>
                      <a:pt x="553" y="82"/>
                    </a:lnTo>
                    <a:lnTo>
                      <a:pt x="553" y="81"/>
                    </a:lnTo>
                    <a:lnTo>
                      <a:pt x="555" y="79"/>
                    </a:lnTo>
                    <a:lnTo>
                      <a:pt x="555" y="78"/>
                    </a:lnTo>
                    <a:lnTo>
                      <a:pt x="556" y="78"/>
                    </a:lnTo>
                    <a:lnTo>
                      <a:pt x="556" y="76"/>
                    </a:lnTo>
                    <a:lnTo>
                      <a:pt x="556" y="74"/>
                    </a:lnTo>
                    <a:lnTo>
                      <a:pt x="558" y="74"/>
                    </a:lnTo>
                    <a:lnTo>
                      <a:pt x="558" y="73"/>
                    </a:lnTo>
                    <a:lnTo>
                      <a:pt x="558" y="71"/>
                    </a:lnTo>
                    <a:lnTo>
                      <a:pt x="560" y="71"/>
                    </a:lnTo>
                    <a:lnTo>
                      <a:pt x="560" y="70"/>
                    </a:lnTo>
                    <a:lnTo>
                      <a:pt x="561" y="70"/>
                    </a:lnTo>
                    <a:lnTo>
                      <a:pt x="561" y="68"/>
                    </a:lnTo>
                    <a:lnTo>
                      <a:pt x="563" y="68"/>
                    </a:lnTo>
                    <a:lnTo>
                      <a:pt x="564" y="68"/>
                    </a:lnTo>
                    <a:lnTo>
                      <a:pt x="566" y="68"/>
                    </a:lnTo>
                    <a:lnTo>
                      <a:pt x="566" y="66"/>
                    </a:lnTo>
                    <a:lnTo>
                      <a:pt x="567" y="66"/>
                    </a:lnTo>
                    <a:lnTo>
                      <a:pt x="567" y="68"/>
                    </a:lnTo>
                    <a:lnTo>
                      <a:pt x="569" y="68"/>
                    </a:lnTo>
                    <a:lnTo>
                      <a:pt x="571" y="68"/>
                    </a:lnTo>
                    <a:lnTo>
                      <a:pt x="572" y="68"/>
                    </a:lnTo>
                    <a:lnTo>
                      <a:pt x="572" y="66"/>
                    </a:lnTo>
                    <a:lnTo>
                      <a:pt x="572" y="65"/>
                    </a:lnTo>
                    <a:lnTo>
                      <a:pt x="574" y="63"/>
                    </a:lnTo>
                    <a:lnTo>
                      <a:pt x="575" y="63"/>
                    </a:lnTo>
                    <a:lnTo>
                      <a:pt x="577" y="63"/>
                    </a:lnTo>
                    <a:lnTo>
                      <a:pt x="577" y="62"/>
                    </a:lnTo>
                    <a:lnTo>
                      <a:pt x="579" y="62"/>
                    </a:lnTo>
                    <a:lnTo>
                      <a:pt x="580" y="62"/>
                    </a:lnTo>
                    <a:lnTo>
                      <a:pt x="580" y="60"/>
                    </a:lnTo>
                    <a:lnTo>
                      <a:pt x="582" y="60"/>
                    </a:lnTo>
                    <a:lnTo>
                      <a:pt x="583" y="60"/>
                    </a:lnTo>
                    <a:lnTo>
                      <a:pt x="585" y="60"/>
                    </a:lnTo>
                    <a:lnTo>
                      <a:pt x="585" y="59"/>
                    </a:lnTo>
                    <a:lnTo>
                      <a:pt x="586" y="59"/>
                    </a:lnTo>
                    <a:lnTo>
                      <a:pt x="588" y="57"/>
                    </a:lnTo>
                    <a:lnTo>
                      <a:pt x="588" y="55"/>
                    </a:lnTo>
                    <a:lnTo>
                      <a:pt x="588" y="54"/>
                    </a:lnTo>
                    <a:lnTo>
                      <a:pt x="588" y="52"/>
                    </a:lnTo>
                    <a:lnTo>
                      <a:pt x="588" y="51"/>
                    </a:lnTo>
                    <a:lnTo>
                      <a:pt x="588" y="49"/>
                    </a:lnTo>
                    <a:lnTo>
                      <a:pt x="590" y="49"/>
                    </a:lnTo>
                    <a:lnTo>
                      <a:pt x="590" y="47"/>
                    </a:lnTo>
                    <a:lnTo>
                      <a:pt x="591" y="47"/>
                    </a:lnTo>
                    <a:lnTo>
                      <a:pt x="593" y="47"/>
                    </a:lnTo>
                    <a:lnTo>
                      <a:pt x="594" y="47"/>
                    </a:lnTo>
                    <a:lnTo>
                      <a:pt x="596" y="47"/>
                    </a:lnTo>
                    <a:lnTo>
                      <a:pt x="598" y="49"/>
                    </a:lnTo>
                    <a:lnTo>
                      <a:pt x="599" y="49"/>
                    </a:lnTo>
                    <a:lnTo>
                      <a:pt x="599" y="47"/>
                    </a:lnTo>
                    <a:lnTo>
                      <a:pt x="601" y="47"/>
                    </a:lnTo>
                    <a:lnTo>
                      <a:pt x="602" y="47"/>
                    </a:lnTo>
                    <a:lnTo>
                      <a:pt x="602" y="46"/>
                    </a:lnTo>
                    <a:lnTo>
                      <a:pt x="604" y="46"/>
                    </a:lnTo>
                    <a:lnTo>
                      <a:pt x="604" y="47"/>
                    </a:lnTo>
                    <a:lnTo>
                      <a:pt x="605" y="47"/>
                    </a:lnTo>
                    <a:lnTo>
                      <a:pt x="607" y="49"/>
                    </a:lnTo>
                    <a:lnTo>
                      <a:pt x="607" y="47"/>
                    </a:lnTo>
                    <a:lnTo>
                      <a:pt x="609" y="47"/>
                    </a:lnTo>
                    <a:lnTo>
                      <a:pt x="610" y="47"/>
                    </a:lnTo>
                    <a:lnTo>
                      <a:pt x="612" y="47"/>
                    </a:lnTo>
                    <a:lnTo>
                      <a:pt x="613" y="47"/>
                    </a:lnTo>
                    <a:lnTo>
                      <a:pt x="615" y="47"/>
                    </a:lnTo>
                    <a:lnTo>
                      <a:pt x="617" y="46"/>
                    </a:lnTo>
                    <a:lnTo>
                      <a:pt x="617" y="47"/>
                    </a:lnTo>
                    <a:lnTo>
                      <a:pt x="618" y="49"/>
                    </a:lnTo>
                    <a:lnTo>
                      <a:pt x="620" y="49"/>
                    </a:lnTo>
                    <a:lnTo>
                      <a:pt x="621" y="49"/>
                    </a:lnTo>
                    <a:lnTo>
                      <a:pt x="623" y="49"/>
                    </a:lnTo>
                    <a:lnTo>
                      <a:pt x="624" y="49"/>
                    </a:lnTo>
                    <a:lnTo>
                      <a:pt x="626" y="51"/>
                    </a:lnTo>
                    <a:lnTo>
                      <a:pt x="626" y="52"/>
                    </a:lnTo>
                    <a:lnTo>
                      <a:pt x="626" y="54"/>
                    </a:lnTo>
                    <a:lnTo>
                      <a:pt x="626" y="55"/>
                    </a:lnTo>
                    <a:lnTo>
                      <a:pt x="628" y="55"/>
                    </a:lnTo>
                    <a:lnTo>
                      <a:pt x="628" y="57"/>
                    </a:lnTo>
                    <a:lnTo>
                      <a:pt x="629" y="57"/>
                    </a:lnTo>
                    <a:lnTo>
                      <a:pt x="631" y="59"/>
                    </a:lnTo>
                    <a:lnTo>
                      <a:pt x="631" y="60"/>
                    </a:lnTo>
                    <a:lnTo>
                      <a:pt x="631" y="62"/>
                    </a:lnTo>
                    <a:lnTo>
                      <a:pt x="631" y="63"/>
                    </a:lnTo>
                    <a:lnTo>
                      <a:pt x="631" y="65"/>
                    </a:lnTo>
                    <a:lnTo>
                      <a:pt x="631" y="66"/>
                    </a:lnTo>
                    <a:lnTo>
                      <a:pt x="631" y="68"/>
                    </a:lnTo>
                    <a:lnTo>
                      <a:pt x="631" y="70"/>
                    </a:lnTo>
                    <a:lnTo>
                      <a:pt x="632" y="68"/>
                    </a:lnTo>
                    <a:lnTo>
                      <a:pt x="634" y="66"/>
                    </a:lnTo>
                    <a:lnTo>
                      <a:pt x="636" y="66"/>
                    </a:lnTo>
                    <a:lnTo>
                      <a:pt x="637" y="65"/>
                    </a:lnTo>
                    <a:lnTo>
                      <a:pt x="639" y="65"/>
                    </a:lnTo>
                    <a:lnTo>
                      <a:pt x="640" y="65"/>
                    </a:lnTo>
                    <a:lnTo>
                      <a:pt x="640" y="63"/>
                    </a:lnTo>
                    <a:lnTo>
                      <a:pt x="642" y="63"/>
                    </a:lnTo>
                    <a:lnTo>
                      <a:pt x="642" y="62"/>
                    </a:lnTo>
                    <a:lnTo>
                      <a:pt x="643" y="62"/>
                    </a:lnTo>
                    <a:lnTo>
                      <a:pt x="643" y="60"/>
                    </a:lnTo>
                    <a:lnTo>
                      <a:pt x="645" y="60"/>
                    </a:lnTo>
                    <a:lnTo>
                      <a:pt x="647" y="60"/>
                    </a:lnTo>
                    <a:lnTo>
                      <a:pt x="647" y="59"/>
                    </a:lnTo>
                    <a:lnTo>
                      <a:pt x="647" y="57"/>
                    </a:lnTo>
                    <a:lnTo>
                      <a:pt x="648" y="55"/>
                    </a:lnTo>
                    <a:lnTo>
                      <a:pt x="648" y="54"/>
                    </a:lnTo>
                    <a:lnTo>
                      <a:pt x="650" y="54"/>
                    </a:lnTo>
                    <a:lnTo>
                      <a:pt x="650" y="52"/>
                    </a:lnTo>
                    <a:lnTo>
                      <a:pt x="650" y="51"/>
                    </a:lnTo>
                    <a:lnTo>
                      <a:pt x="651" y="51"/>
                    </a:lnTo>
                    <a:lnTo>
                      <a:pt x="651" y="49"/>
                    </a:lnTo>
                    <a:lnTo>
                      <a:pt x="653" y="47"/>
                    </a:lnTo>
                    <a:lnTo>
                      <a:pt x="653" y="46"/>
                    </a:lnTo>
                    <a:lnTo>
                      <a:pt x="655" y="44"/>
                    </a:lnTo>
                    <a:lnTo>
                      <a:pt x="655" y="43"/>
                    </a:lnTo>
                    <a:lnTo>
                      <a:pt x="656" y="41"/>
                    </a:lnTo>
                    <a:lnTo>
                      <a:pt x="658" y="41"/>
                    </a:lnTo>
                    <a:lnTo>
                      <a:pt x="659" y="41"/>
                    </a:lnTo>
                    <a:lnTo>
                      <a:pt x="661" y="41"/>
                    </a:lnTo>
                    <a:lnTo>
                      <a:pt x="662" y="41"/>
                    </a:lnTo>
                    <a:lnTo>
                      <a:pt x="664" y="41"/>
                    </a:lnTo>
                    <a:lnTo>
                      <a:pt x="666" y="41"/>
                    </a:lnTo>
                    <a:lnTo>
                      <a:pt x="667" y="40"/>
                    </a:lnTo>
                    <a:lnTo>
                      <a:pt x="669" y="40"/>
                    </a:lnTo>
                    <a:lnTo>
                      <a:pt x="670" y="40"/>
                    </a:lnTo>
                    <a:lnTo>
                      <a:pt x="672" y="40"/>
                    </a:lnTo>
                    <a:lnTo>
                      <a:pt x="674" y="40"/>
                    </a:lnTo>
                    <a:lnTo>
                      <a:pt x="675" y="40"/>
                    </a:lnTo>
                    <a:lnTo>
                      <a:pt x="677" y="40"/>
                    </a:lnTo>
                    <a:lnTo>
                      <a:pt x="677" y="41"/>
                    </a:lnTo>
                    <a:lnTo>
                      <a:pt x="678" y="41"/>
                    </a:lnTo>
                    <a:lnTo>
                      <a:pt x="680" y="41"/>
                    </a:lnTo>
                    <a:lnTo>
                      <a:pt x="681" y="41"/>
                    </a:lnTo>
                    <a:lnTo>
                      <a:pt x="683" y="41"/>
                    </a:lnTo>
                    <a:lnTo>
                      <a:pt x="685" y="41"/>
                    </a:lnTo>
                    <a:lnTo>
                      <a:pt x="686" y="41"/>
                    </a:lnTo>
                    <a:lnTo>
                      <a:pt x="685" y="40"/>
                    </a:lnTo>
                    <a:lnTo>
                      <a:pt x="685" y="38"/>
                    </a:lnTo>
                    <a:lnTo>
                      <a:pt x="686" y="38"/>
                    </a:lnTo>
                    <a:lnTo>
                      <a:pt x="686" y="36"/>
                    </a:lnTo>
                    <a:lnTo>
                      <a:pt x="688" y="36"/>
                    </a:lnTo>
                    <a:lnTo>
                      <a:pt x="688" y="35"/>
                    </a:lnTo>
                    <a:lnTo>
                      <a:pt x="689" y="35"/>
                    </a:lnTo>
                    <a:lnTo>
                      <a:pt x="689" y="33"/>
                    </a:lnTo>
                    <a:lnTo>
                      <a:pt x="691" y="33"/>
                    </a:lnTo>
                    <a:lnTo>
                      <a:pt x="691" y="32"/>
                    </a:lnTo>
                    <a:lnTo>
                      <a:pt x="691" y="30"/>
                    </a:lnTo>
                    <a:lnTo>
                      <a:pt x="693" y="30"/>
                    </a:lnTo>
                    <a:lnTo>
                      <a:pt x="693" y="28"/>
                    </a:lnTo>
                    <a:lnTo>
                      <a:pt x="694" y="28"/>
                    </a:lnTo>
                    <a:lnTo>
                      <a:pt x="694" y="27"/>
                    </a:lnTo>
                    <a:lnTo>
                      <a:pt x="696" y="27"/>
                    </a:lnTo>
                    <a:lnTo>
                      <a:pt x="696" y="25"/>
                    </a:lnTo>
                    <a:lnTo>
                      <a:pt x="697" y="25"/>
                    </a:lnTo>
                    <a:lnTo>
                      <a:pt x="697" y="24"/>
                    </a:lnTo>
                    <a:lnTo>
                      <a:pt x="699" y="24"/>
                    </a:lnTo>
                    <a:lnTo>
                      <a:pt x="700" y="22"/>
                    </a:lnTo>
                    <a:lnTo>
                      <a:pt x="700" y="21"/>
                    </a:lnTo>
                    <a:lnTo>
                      <a:pt x="702" y="21"/>
                    </a:lnTo>
                    <a:lnTo>
                      <a:pt x="702" y="19"/>
                    </a:lnTo>
                    <a:lnTo>
                      <a:pt x="704" y="17"/>
                    </a:lnTo>
                    <a:lnTo>
                      <a:pt x="705" y="17"/>
                    </a:lnTo>
                    <a:lnTo>
                      <a:pt x="707" y="17"/>
                    </a:lnTo>
                    <a:lnTo>
                      <a:pt x="708" y="16"/>
                    </a:lnTo>
                    <a:lnTo>
                      <a:pt x="710" y="16"/>
                    </a:lnTo>
                    <a:lnTo>
                      <a:pt x="712" y="16"/>
                    </a:lnTo>
                    <a:lnTo>
                      <a:pt x="713" y="16"/>
                    </a:lnTo>
                    <a:lnTo>
                      <a:pt x="715" y="16"/>
                    </a:lnTo>
                    <a:lnTo>
                      <a:pt x="716" y="14"/>
                    </a:lnTo>
                    <a:lnTo>
                      <a:pt x="718" y="14"/>
                    </a:lnTo>
                    <a:lnTo>
                      <a:pt x="719" y="14"/>
                    </a:lnTo>
                    <a:lnTo>
                      <a:pt x="721" y="14"/>
                    </a:lnTo>
                    <a:lnTo>
                      <a:pt x="721" y="13"/>
                    </a:lnTo>
                    <a:lnTo>
                      <a:pt x="723" y="13"/>
                    </a:lnTo>
                    <a:lnTo>
                      <a:pt x="724" y="13"/>
                    </a:lnTo>
                    <a:lnTo>
                      <a:pt x="726" y="14"/>
                    </a:lnTo>
                    <a:lnTo>
                      <a:pt x="727" y="14"/>
                    </a:lnTo>
                    <a:lnTo>
                      <a:pt x="727" y="13"/>
                    </a:lnTo>
                    <a:lnTo>
                      <a:pt x="729" y="13"/>
                    </a:lnTo>
                    <a:lnTo>
                      <a:pt x="731" y="11"/>
                    </a:lnTo>
                    <a:lnTo>
                      <a:pt x="732" y="9"/>
                    </a:lnTo>
                    <a:lnTo>
                      <a:pt x="734" y="9"/>
                    </a:lnTo>
                    <a:lnTo>
                      <a:pt x="734" y="11"/>
                    </a:lnTo>
                    <a:lnTo>
                      <a:pt x="735" y="11"/>
                    </a:lnTo>
                    <a:lnTo>
                      <a:pt x="737" y="11"/>
                    </a:lnTo>
                    <a:lnTo>
                      <a:pt x="739" y="11"/>
                    </a:lnTo>
                    <a:lnTo>
                      <a:pt x="740" y="11"/>
                    </a:lnTo>
                    <a:lnTo>
                      <a:pt x="740" y="13"/>
                    </a:lnTo>
                    <a:lnTo>
                      <a:pt x="742" y="13"/>
                    </a:lnTo>
                    <a:lnTo>
                      <a:pt x="743" y="13"/>
                    </a:lnTo>
                    <a:lnTo>
                      <a:pt x="743" y="11"/>
                    </a:lnTo>
                    <a:lnTo>
                      <a:pt x="745" y="11"/>
                    </a:lnTo>
                    <a:lnTo>
                      <a:pt x="745" y="9"/>
                    </a:lnTo>
                    <a:lnTo>
                      <a:pt x="746" y="8"/>
                    </a:lnTo>
                    <a:lnTo>
                      <a:pt x="746" y="6"/>
                    </a:lnTo>
                    <a:lnTo>
                      <a:pt x="748" y="6"/>
                    </a:lnTo>
                    <a:lnTo>
                      <a:pt x="748" y="5"/>
                    </a:lnTo>
                    <a:lnTo>
                      <a:pt x="750" y="5"/>
                    </a:lnTo>
                    <a:lnTo>
                      <a:pt x="751" y="3"/>
                    </a:lnTo>
                    <a:lnTo>
                      <a:pt x="751" y="2"/>
                    </a:lnTo>
                    <a:lnTo>
                      <a:pt x="753" y="2"/>
                    </a:lnTo>
                    <a:lnTo>
                      <a:pt x="754" y="2"/>
                    </a:lnTo>
                    <a:lnTo>
                      <a:pt x="756" y="3"/>
                    </a:lnTo>
                    <a:lnTo>
                      <a:pt x="758" y="3"/>
                    </a:lnTo>
                    <a:lnTo>
                      <a:pt x="759" y="2"/>
                    </a:lnTo>
                    <a:lnTo>
                      <a:pt x="761" y="2"/>
                    </a:lnTo>
                    <a:lnTo>
                      <a:pt x="761" y="0"/>
                    </a:lnTo>
                    <a:lnTo>
                      <a:pt x="762" y="2"/>
                    </a:lnTo>
                    <a:lnTo>
                      <a:pt x="764" y="2"/>
                    </a:lnTo>
                    <a:lnTo>
                      <a:pt x="765" y="2"/>
                    </a:lnTo>
                    <a:lnTo>
                      <a:pt x="767" y="2"/>
                    </a:lnTo>
                    <a:lnTo>
                      <a:pt x="767" y="3"/>
                    </a:lnTo>
                    <a:lnTo>
                      <a:pt x="767" y="5"/>
                    </a:lnTo>
                    <a:lnTo>
                      <a:pt x="769" y="6"/>
                    </a:lnTo>
                    <a:lnTo>
                      <a:pt x="770" y="8"/>
                    </a:lnTo>
                    <a:lnTo>
                      <a:pt x="769" y="9"/>
                    </a:lnTo>
                    <a:lnTo>
                      <a:pt x="770" y="9"/>
                    </a:lnTo>
                    <a:lnTo>
                      <a:pt x="770" y="11"/>
                    </a:lnTo>
                    <a:lnTo>
                      <a:pt x="770" y="13"/>
                    </a:lnTo>
                    <a:lnTo>
                      <a:pt x="772" y="13"/>
                    </a:lnTo>
                    <a:lnTo>
                      <a:pt x="773" y="13"/>
                    </a:lnTo>
                    <a:lnTo>
                      <a:pt x="775" y="14"/>
                    </a:lnTo>
                    <a:lnTo>
                      <a:pt x="777" y="14"/>
                    </a:lnTo>
                    <a:lnTo>
                      <a:pt x="778" y="16"/>
                    </a:lnTo>
                    <a:lnTo>
                      <a:pt x="780" y="16"/>
                    </a:lnTo>
                    <a:lnTo>
                      <a:pt x="781" y="16"/>
                    </a:lnTo>
                    <a:lnTo>
                      <a:pt x="783" y="14"/>
                    </a:lnTo>
                    <a:lnTo>
                      <a:pt x="784" y="14"/>
                    </a:lnTo>
                    <a:lnTo>
                      <a:pt x="786" y="14"/>
                    </a:lnTo>
                    <a:lnTo>
                      <a:pt x="788" y="16"/>
                    </a:lnTo>
                    <a:lnTo>
                      <a:pt x="789" y="16"/>
                    </a:lnTo>
                    <a:lnTo>
                      <a:pt x="791" y="16"/>
                    </a:lnTo>
                    <a:lnTo>
                      <a:pt x="792" y="16"/>
                    </a:lnTo>
                    <a:lnTo>
                      <a:pt x="794" y="17"/>
                    </a:lnTo>
                    <a:lnTo>
                      <a:pt x="796" y="17"/>
                    </a:lnTo>
                    <a:lnTo>
                      <a:pt x="796" y="19"/>
                    </a:lnTo>
                    <a:lnTo>
                      <a:pt x="797" y="21"/>
                    </a:lnTo>
                    <a:lnTo>
                      <a:pt x="796" y="22"/>
                    </a:lnTo>
                    <a:lnTo>
                      <a:pt x="796" y="24"/>
                    </a:lnTo>
                    <a:lnTo>
                      <a:pt x="794" y="25"/>
                    </a:lnTo>
                    <a:lnTo>
                      <a:pt x="794" y="27"/>
                    </a:lnTo>
                    <a:lnTo>
                      <a:pt x="794" y="28"/>
                    </a:lnTo>
                    <a:lnTo>
                      <a:pt x="796" y="28"/>
                    </a:lnTo>
                    <a:lnTo>
                      <a:pt x="796" y="30"/>
                    </a:lnTo>
                    <a:lnTo>
                      <a:pt x="796" y="32"/>
                    </a:lnTo>
                    <a:lnTo>
                      <a:pt x="797" y="32"/>
                    </a:lnTo>
                    <a:lnTo>
                      <a:pt x="797" y="33"/>
                    </a:lnTo>
                    <a:lnTo>
                      <a:pt x="797" y="35"/>
                    </a:lnTo>
                    <a:lnTo>
                      <a:pt x="797" y="36"/>
                    </a:lnTo>
                    <a:lnTo>
                      <a:pt x="799" y="36"/>
                    </a:lnTo>
                    <a:lnTo>
                      <a:pt x="799" y="38"/>
                    </a:lnTo>
                    <a:lnTo>
                      <a:pt x="799" y="40"/>
                    </a:lnTo>
                    <a:lnTo>
                      <a:pt x="799" y="41"/>
                    </a:lnTo>
                    <a:lnTo>
                      <a:pt x="800" y="41"/>
                    </a:lnTo>
                    <a:lnTo>
                      <a:pt x="800" y="43"/>
                    </a:lnTo>
                    <a:lnTo>
                      <a:pt x="802" y="43"/>
                    </a:lnTo>
                    <a:lnTo>
                      <a:pt x="802" y="44"/>
                    </a:lnTo>
                    <a:lnTo>
                      <a:pt x="803" y="44"/>
                    </a:lnTo>
                    <a:lnTo>
                      <a:pt x="803" y="46"/>
                    </a:lnTo>
                    <a:lnTo>
                      <a:pt x="805" y="46"/>
                    </a:lnTo>
                    <a:lnTo>
                      <a:pt x="805" y="47"/>
                    </a:lnTo>
                    <a:lnTo>
                      <a:pt x="805" y="49"/>
                    </a:lnTo>
                    <a:lnTo>
                      <a:pt x="805" y="51"/>
                    </a:lnTo>
                    <a:lnTo>
                      <a:pt x="807" y="52"/>
                    </a:lnTo>
                    <a:lnTo>
                      <a:pt x="807" y="54"/>
                    </a:lnTo>
                    <a:lnTo>
                      <a:pt x="807" y="55"/>
                    </a:lnTo>
                    <a:lnTo>
                      <a:pt x="808" y="55"/>
                    </a:lnTo>
                    <a:lnTo>
                      <a:pt x="808" y="57"/>
                    </a:lnTo>
                    <a:lnTo>
                      <a:pt x="808" y="59"/>
                    </a:lnTo>
                    <a:lnTo>
                      <a:pt x="810" y="59"/>
                    </a:lnTo>
                    <a:lnTo>
                      <a:pt x="810" y="60"/>
                    </a:lnTo>
                    <a:lnTo>
                      <a:pt x="811" y="60"/>
                    </a:lnTo>
                    <a:lnTo>
                      <a:pt x="811" y="62"/>
                    </a:lnTo>
                    <a:lnTo>
                      <a:pt x="811" y="63"/>
                    </a:lnTo>
                    <a:lnTo>
                      <a:pt x="813" y="63"/>
                    </a:lnTo>
                    <a:lnTo>
                      <a:pt x="815" y="63"/>
                    </a:lnTo>
                    <a:lnTo>
                      <a:pt x="818" y="65"/>
                    </a:lnTo>
                    <a:lnTo>
                      <a:pt x="819" y="65"/>
                    </a:lnTo>
                    <a:lnTo>
                      <a:pt x="819" y="66"/>
                    </a:lnTo>
                    <a:lnTo>
                      <a:pt x="821" y="68"/>
                    </a:lnTo>
                    <a:lnTo>
                      <a:pt x="822" y="70"/>
                    </a:lnTo>
                    <a:lnTo>
                      <a:pt x="822" y="71"/>
                    </a:lnTo>
                    <a:lnTo>
                      <a:pt x="824" y="73"/>
                    </a:lnTo>
                    <a:lnTo>
                      <a:pt x="826" y="74"/>
                    </a:lnTo>
                    <a:lnTo>
                      <a:pt x="827" y="76"/>
                    </a:lnTo>
                    <a:lnTo>
                      <a:pt x="829" y="76"/>
                    </a:lnTo>
                    <a:lnTo>
                      <a:pt x="830" y="78"/>
                    </a:lnTo>
                    <a:lnTo>
                      <a:pt x="830" y="79"/>
                    </a:lnTo>
                    <a:lnTo>
                      <a:pt x="832" y="81"/>
                    </a:lnTo>
                    <a:lnTo>
                      <a:pt x="832" y="82"/>
                    </a:lnTo>
                    <a:lnTo>
                      <a:pt x="834" y="84"/>
                    </a:lnTo>
                    <a:lnTo>
                      <a:pt x="832" y="86"/>
                    </a:lnTo>
                    <a:lnTo>
                      <a:pt x="832" y="87"/>
                    </a:lnTo>
                    <a:lnTo>
                      <a:pt x="834" y="87"/>
                    </a:lnTo>
                    <a:lnTo>
                      <a:pt x="834" y="89"/>
                    </a:lnTo>
                    <a:lnTo>
                      <a:pt x="834" y="90"/>
                    </a:lnTo>
                    <a:lnTo>
                      <a:pt x="835" y="92"/>
                    </a:lnTo>
                    <a:lnTo>
                      <a:pt x="835" y="93"/>
                    </a:lnTo>
                    <a:lnTo>
                      <a:pt x="835" y="95"/>
                    </a:lnTo>
                    <a:lnTo>
                      <a:pt x="837" y="95"/>
                    </a:lnTo>
                    <a:lnTo>
                      <a:pt x="837" y="97"/>
                    </a:lnTo>
                    <a:lnTo>
                      <a:pt x="835" y="97"/>
                    </a:lnTo>
                    <a:lnTo>
                      <a:pt x="837" y="98"/>
                    </a:lnTo>
                    <a:lnTo>
                      <a:pt x="837" y="100"/>
                    </a:lnTo>
                    <a:lnTo>
                      <a:pt x="838" y="101"/>
                    </a:lnTo>
                    <a:lnTo>
                      <a:pt x="838" y="103"/>
                    </a:lnTo>
                    <a:lnTo>
                      <a:pt x="840" y="105"/>
                    </a:lnTo>
                    <a:lnTo>
                      <a:pt x="840" y="106"/>
                    </a:lnTo>
                    <a:lnTo>
                      <a:pt x="841" y="106"/>
                    </a:lnTo>
                    <a:lnTo>
                      <a:pt x="841" y="108"/>
                    </a:lnTo>
                    <a:lnTo>
                      <a:pt x="843" y="109"/>
                    </a:lnTo>
                    <a:lnTo>
                      <a:pt x="843" y="111"/>
                    </a:lnTo>
                    <a:lnTo>
                      <a:pt x="845" y="111"/>
                    </a:lnTo>
                    <a:lnTo>
                      <a:pt x="845" y="112"/>
                    </a:lnTo>
                    <a:lnTo>
                      <a:pt x="846" y="112"/>
                    </a:lnTo>
                    <a:lnTo>
                      <a:pt x="846" y="114"/>
                    </a:lnTo>
                    <a:lnTo>
                      <a:pt x="848" y="116"/>
                    </a:lnTo>
                    <a:lnTo>
                      <a:pt x="848" y="117"/>
                    </a:lnTo>
                    <a:lnTo>
                      <a:pt x="848" y="119"/>
                    </a:lnTo>
                    <a:lnTo>
                      <a:pt x="849" y="120"/>
                    </a:lnTo>
                    <a:lnTo>
                      <a:pt x="849" y="122"/>
                    </a:lnTo>
                    <a:lnTo>
                      <a:pt x="849" y="124"/>
                    </a:lnTo>
                    <a:lnTo>
                      <a:pt x="848" y="125"/>
                    </a:lnTo>
                    <a:lnTo>
                      <a:pt x="846" y="127"/>
                    </a:lnTo>
                    <a:lnTo>
                      <a:pt x="846" y="128"/>
                    </a:lnTo>
                    <a:lnTo>
                      <a:pt x="846" y="130"/>
                    </a:lnTo>
                    <a:lnTo>
                      <a:pt x="846" y="131"/>
                    </a:lnTo>
                    <a:lnTo>
                      <a:pt x="846" y="133"/>
                    </a:lnTo>
                    <a:lnTo>
                      <a:pt x="846" y="135"/>
                    </a:lnTo>
                    <a:lnTo>
                      <a:pt x="845" y="135"/>
                    </a:lnTo>
                    <a:lnTo>
                      <a:pt x="843" y="135"/>
                    </a:lnTo>
                    <a:lnTo>
                      <a:pt x="845" y="136"/>
                    </a:lnTo>
                    <a:lnTo>
                      <a:pt x="845" y="138"/>
                    </a:lnTo>
                    <a:lnTo>
                      <a:pt x="845" y="139"/>
                    </a:lnTo>
                    <a:lnTo>
                      <a:pt x="845" y="141"/>
                    </a:lnTo>
                    <a:lnTo>
                      <a:pt x="843" y="141"/>
                    </a:lnTo>
                    <a:lnTo>
                      <a:pt x="843" y="143"/>
                    </a:lnTo>
                    <a:lnTo>
                      <a:pt x="845" y="143"/>
                    </a:lnTo>
                    <a:lnTo>
                      <a:pt x="846" y="141"/>
                    </a:lnTo>
                    <a:lnTo>
                      <a:pt x="846" y="143"/>
                    </a:lnTo>
                    <a:lnTo>
                      <a:pt x="848" y="143"/>
                    </a:lnTo>
                    <a:lnTo>
                      <a:pt x="848" y="144"/>
                    </a:lnTo>
                    <a:lnTo>
                      <a:pt x="848" y="146"/>
                    </a:lnTo>
                    <a:lnTo>
                      <a:pt x="848" y="147"/>
                    </a:lnTo>
                    <a:lnTo>
                      <a:pt x="848" y="149"/>
                    </a:lnTo>
                    <a:lnTo>
                      <a:pt x="849" y="150"/>
                    </a:lnTo>
                    <a:lnTo>
                      <a:pt x="849" y="152"/>
                    </a:lnTo>
                    <a:lnTo>
                      <a:pt x="849" y="154"/>
                    </a:lnTo>
                    <a:lnTo>
                      <a:pt x="849" y="155"/>
                    </a:lnTo>
                    <a:lnTo>
                      <a:pt x="848" y="155"/>
                    </a:lnTo>
                    <a:lnTo>
                      <a:pt x="846" y="155"/>
                    </a:lnTo>
                    <a:lnTo>
                      <a:pt x="846" y="157"/>
                    </a:lnTo>
                    <a:lnTo>
                      <a:pt x="848" y="158"/>
                    </a:lnTo>
                    <a:lnTo>
                      <a:pt x="848" y="160"/>
                    </a:lnTo>
                    <a:lnTo>
                      <a:pt x="849" y="162"/>
                    </a:lnTo>
                    <a:lnTo>
                      <a:pt x="848" y="162"/>
                    </a:lnTo>
                    <a:lnTo>
                      <a:pt x="848" y="163"/>
                    </a:lnTo>
                    <a:lnTo>
                      <a:pt x="848" y="165"/>
                    </a:lnTo>
                    <a:lnTo>
                      <a:pt x="846" y="165"/>
                    </a:lnTo>
                    <a:lnTo>
                      <a:pt x="846" y="166"/>
                    </a:lnTo>
                    <a:lnTo>
                      <a:pt x="848" y="166"/>
                    </a:lnTo>
                    <a:lnTo>
                      <a:pt x="848" y="168"/>
                    </a:lnTo>
                    <a:lnTo>
                      <a:pt x="848" y="169"/>
                    </a:lnTo>
                    <a:lnTo>
                      <a:pt x="848" y="171"/>
                    </a:lnTo>
                    <a:lnTo>
                      <a:pt x="848" y="173"/>
                    </a:lnTo>
                    <a:lnTo>
                      <a:pt x="849" y="174"/>
                    </a:lnTo>
                    <a:lnTo>
                      <a:pt x="849" y="176"/>
                    </a:lnTo>
                    <a:lnTo>
                      <a:pt x="851" y="176"/>
                    </a:lnTo>
                    <a:lnTo>
                      <a:pt x="851" y="177"/>
                    </a:lnTo>
                    <a:lnTo>
                      <a:pt x="851" y="179"/>
                    </a:lnTo>
                    <a:lnTo>
                      <a:pt x="851" y="181"/>
                    </a:lnTo>
                    <a:lnTo>
                      <a:pt x="849" y="182"/>
                    </a:lnTo>
                    <a:lnTo>
                      <a:pt x="851" y="182"/>
                    </a:lnTo>
                    <a:lnTo>
                      <a:pt x="851" y="184"/>
                    </a:lnTo>
                    <a:lnTo>
                      <a:pt x="853" y="184"/>
                    </a:lnTo>
                    <a:lnTo>
                      <a:pt x="853" y="185"/>
                    </a:lnTo>
                    <a:lnTo>
                      <a:pt x="854" y="184"/>
                    </a:lnTo>
                    <a:lnTo>
                      <a:pt x="854" y="185"/>
                    </a:lnTo>
                    <a:lnTo>
                      <a:pt x="856" y="185"/>
                    </a:lnTo>
                    <a:lnTo>
                      <a:pt x="856" y="187"/>
                    </a:lnTo>
                    <a:lnTo>
                      <a:pt x="857" y="187"/>
                    </a:lnTo>
                    <a:lnTo>
                      <a:pt x="857" y="188"/>
                    </a:lnTo>
                    <a:lnTo>
                      <a:pt x="857" y="190"/>
                    </a:lnTo>
                    <a:lnTo>
                      <a:pt x="857" y="192"/>
                    </a:lnTo>
                    <a:lnTo>
                      <a:pt x="857" y="193"/>
                    </a:lnTo>
                    <a:lnTo>
                      <a:pt x="857" y="195"/>
                    </a:lnTo>
                    <a:lnTo>
                      <a:pt x="857" y="196"/>
                    </a:lnTo>
                    <a:lnTo>
                      <a:pt x="857" y="198"/>
                    </a:lnTo>
                    <a:lnTo>
                      <a:pt x="859" y="198"/>
                    </a:lnTo>
                    <a:lnTo>
                      <a:pt x="859" y="200"/>
                    </a:lnTo>
                    <a:lnTo>
                      <a:pt x="860" y="200"/>
                    </a:lnTo>
                    <a:lnTo>
                      <a:pt x="860" y="201"/>
                    </a:lnTo>
                    <a:lnTo>
                      <a:pt x="860" y="203"/>
                    </a:lnTo>
                    <a:lnTo>
                      <a:pt x="862" y="203"/>
                    </a:lnTo>
                    <a:lnTo>
                      <a:pt x="862" y="204"/>
                    </a:lnTo>
                    <a:lnTo>
                      <a:pt x="864" y="206"/>
                    </a:lnTo>
                    <a:lnTo>
                      <a:pt x="862" y="206"/>
                    </a:lnTo>
                    <a:lnTo>
                      <a:pt x="862" y="207"/>
                    </a:lnTo>
                    <a:lnTo>
                      <a:pt x="862" y="209"/>
                    </a:lnTo>
                    <a:lnTo>
                      <a:pt x="864" y="209"/>
                    </a:lnTo>
                    <a:lnTo>
                      <a:pt x="862" y="211"/>
                    </a:lnTo>
                    <a:lnTo>
                      <a:pt x="864" y="212"/>
                    </a:lnTo>
                    <a:lnTo>
                      <a:pt x="864" y="214"/>
                    </a:lnTo>
                    <a:lnTo>
                      <a:pt x="864" y="215"/>
                    </a:lnTo>
                    <a:lnTo>
                      <a:pt x="864" y="217"/>
                    </a:lnTo>
                    <a:lnTo>
                      <a:pt x="864" y="219"/>
                    </a:lnTo>
                    <a:lnTo>
                      <a:pt x="864" y="220"/>
                    </a:lnTo>
                    <a:lnTo>
                      <a:pt x="864" y="222"/>
                    </a:lnTo>
                    <a:lnTo>
                      <a:pt x="865" y="222"/>
                    </a:lnTo>
                    <a:lnTo>
                      <a:pt x="864" y="223"/>
                    </a:lnTo>
                    <a:lnTo>
                      <a:pt x="864" y="225"/>
                    </a:lnTo>
                    <a:lnTo>
                      <a:pt x="862" y="226"/>
                    </a:lnTo>
                    <a:lnTo>
                      <a:pt x="862" y="228"/>
                    </a:lnTo>
                    <a:lnTo>
                      <a:pt x="862" y="230"/>
                    </a:lnTo>
                    <a:lnTo>
                      <a:pt x="862" y="231"/>
                    </a:lnTo>
                    <a:lnTo>
                      <a:pt x="860" y="231"/>
                    </a:lnTo>
                    <a:lnTo>
                      <a:pt x="860" y="233"/>
                    </a:lnTo>
                    <a:lnTo>
                      <a:pt x="859" y="233"/>
                    </a:lnTo>
                    <a:lnTo>
                      <a:pt x="859" y="234"/>
                    </a:lnTo>
                    <a:lnTo>
                      <a:pt x="859" y="236"/>
                    </a:lnTo>
                    <a:lnTo>
                      <a:pt x="860" y="236"/>
                    </a:lnTo>
                    <a:lnTo>
                      <a:pt x="860" y="238"/>
                    </a:lnTo>
                    <a:lnTo>
                      <a:pt x="860" y="239"/>
                    </a:lnTo>
                    <a:lnTo>
                      <a:pt x="860" y="241"/>
                    </a:lnTo>
                    <a:lnTo>
                      <a:pt x="859" y="241"/>
                    </a:lnTo>
                    <a:lnTo>
                      <a:pt x="859" y="242"/>
                    </a:lnTo>
                    <a:lnTo>
                      <a:pt x="859" y="244"/>
                    </a:lnTo>
                    <a:lnTo>
                      <a:pt x="859" y="245"/>
                    </a:lnTo>
                    <a:lnTo>
                      <a:pt x="859" y="247"/>
                    </a:lnTo>
                    <a:lnTo>
                      <a:pt x="859" y="249"/>
                    </a:lnTo>
                    <a:lnTo>
                      <a:pt x="857" y="250"/>
                    </a:lnTo>
                    <a:lnTo>
                      <a:pt x="859" y="250"/>
                    </a:lnTo>
                    <a:lnTo>
                      <a:pt x="859" y="252"/>
                    </a:lnTo>
                    <a:lnTo>
                      <a:pt x="859" y="253"/>
                    </a:lnTo>
                    <a:lnTo>
                      <a:pt x="859" y="255"/>
                    </a:lnTo>
                    <a:lnTo>
                      <a:pt x="860" y="257"/>
                    </a:lnTo>
                    <a:lnTo>
                      <a:pt x="860" y="258"/>
                    </a:lnTo>
                    <a:lnTo>
                      <a:pt x="860" y="260"/>
                    </a:lnTo>
                    <a:lnTo>
                      <a:pt x="860" y="261"/>
                    </a:lnTo>
                    <a:lnTo>
                      <a:pt x="860" y="263"/>
                    </a:lnTo>
                    <a:lnTo>
                      <a:pt x="860" y="264"/>
                    </a:lnTo>
                    <a:lnTo>
                      <a:pt x="860" y="266"/>
                    </a:lnTo>
                    <a:lnTo>
                      <a:pt x="860" y="268"/>
                    </a:lnTo>
                    <a:lnTo>
                      <a:pt x="860" y="269"/>
                    </a:lnTo>
                    <a:lnTo>
                      <a:pt x="860" y="271"/>
                    </a:lnTo>
                    <a:lnTo>
                      <a:pt x="860" y="272"/>
                    </a:lnTo>
                    <a:lnTo>
                      <a:pt x="860" y="274"/>
                    </a:lnTo>
                    <a:lnTo>
                      <a:pt x="860" y="276"/>
                    </a:lnTo>
                    <a:lnTo>
                      <a:pt x="860" y="277"/>
                    </a:lnTo>
                    <a:lnTo>
                      <a:pt x="859" y="277"/>
                    </a:lnTo>
                    <a:lnTo>
                      <a:pt x="859" y="279"/>
                    </a:lnTo>
                    <a:lnTo>
                      <a:pt x="857" y="280"/>
                    </a:lnTo>
                    <a:lnTo>
                      <a:pt x="859" y="282"/>
                    </a:lnTo>
                    <a:lnTo>
                      <a:pt x="859" y="284"/>
                    </a:lnTo>
                    <a:lnTo>
                      <a:pt x="860" y="285"/>
                    </a:lnTo>
                    <a:lnTo>
                      <a:pt x="860" y="287"/>
                    </a:lnTo>
                    <a:lnTo>
                      <a:pt x="860" y="288"/>
                    </a:lnTo>
                    <a:lnTo>
                      <a:pt x="860" y="290"/>
                    </a:lnTo>
                    <a:lnTo>
                      <a:pt x="859" y="291"/>
                    </a:lnTo>
                    <a:lnTo>
                      <a:pt x="859" y="293"/>
                    </a:lnTo>
                    <a:lnTo>
                      <a:pt x="857" y="293"/>
                    </a:lnTo>
                    <a:lnTo>
                      <a:pt x="857" y="295"/>
                    </a:lnTo>
                    <a:lnTo>
                      <a:pt x="857" y="296"/>
                    </a:lnTo>
                    <a:lnTo>
                      <a:pt x="857" y="298"/>
                    </a:lnTo>
                    <a:lnTo>
                      <a:pt x="859" y="299"/>
                    </a:lnTo>
                    <a:lnTo>
                      <a:pt x="859" y="301"/>
                    </a:lnTo>
                    <a:lnTo>
                      <a:pt x="857" y="301"/>
                    </a:lnTo>
                    <a:lnTo>
                      <a:pt x="857" y="303"/>
                    </a:lnTo>
                    <a:lnTo>
                      <a:pt x="857" y="304"/>
                    </a:lnTo>
                    <a:lnTo>
                      <a:pt x="859" y="304"/>
                    </a:lnTo>
                    <a:lnTo>
                      <a:pt x="859" y="306"/>
                    </a:lnTo>
                    <a:lnTo>
                      <a:pt x="859" y="307"/>
                    </a:lnTo>
                    <a:lnTo>
                      <a:pt x="860" y="307"/>
                    </a:lnTo>
                    <a:lnTo>
                      <a:pt x="860" y="309"/>
                    </a:lnTo>
                    <a:lnTo>
                      <a:pt x="860" y="310"/>
                    </a:lnTo>
                    <a:lnTo>
                      <a:pt x="862" y="310"/>
                    </a:lnTo>
                    <a:lnTo>
                      <a:pt x="862" y="312"/>
                    </a:lnTo>
                    <a:lnTo>
                      <a:pt x="862" y="314"/>
                    </a:lnTo>
                    <a:lnTo>
                      <a:pt x="864" y="314"/>
                    </a:lnTo>
                    <a:lnTo>
                      <a:pt x="864" y="315"/>
                    </a:lnTo>
                    <a:lnTo>
                      <a:pt x="864" y="317"/>
                    </a:lnTo>
                    <a:lnTo>
                      <a:pt x="865" y="318"/>
                    </a:lnTo>
                    <a:lnTo>
                      <a:pt x="867" y="318"/>
                    </a:lnTo>
                    <a:lnTo>
                      <a:pt x="867" y="320"/>
                    </a:lnTo>
                    <a:lnTo>
                      <a:pt x="868" y="320"/>
                    </a:lnTo>
                    <a:lnTo>
                      <a:pt x="868" y="322"/>
                    </a:lnTo>
                    <a:lnTo>
                      <a:pt x="868" y="323"/>
                    </a:lnTo>
                    <a:lnTo>
                      <a:pt x="870" y="323"/>
                    </a:lnTo>
                    <a:lnTo>
                      <a:pt x="870" y="325"/>
                    </a:lnTo>
                    <a:lnTo>
                      <a:pt x="872" y="325"/>
                    </a:lnTo>
                    <a:lnTo>
                      <a:pt x="872" y="326"/>
                    </a:lnTo>
                    <a:lnTo>
                      <a:pt x="873" y="326"/>
                    </a:lnTo>
                    <a:lnTo>
                      <a:pt x="875" y="328"/>
                    </a:lnTo>
                    <a:lnTo>
                      <a:pt x="876" y="329"/>
                    </a:lnTo>
                    <a:lnTo>
                      <a:pt x="876" y="331"/>
                    </a:lnTo>
                    <a:lnTo>
                      <a:pt x="878" y="331"/>
                    </a:lnTo>
                    <a:lnTo>
                      <a:pt x="879" y="331"/>
                    </a:lnTo>
                    <a:lnTo>
                      <a:pt x="881" y="331"/>
                    </a:lnTo>
                    <a:lnTo>
                      <a:pt x="883" y="331"/>
                    </a:lnTo>
                    <a:lnTo>
                      <a:pt x="883" y="333"/>
                    </a:lnTo>
                    <a:lnTo>
                      <a:pt x="883" y="334"/>
                    </a:lnTo>
                    <a:lnTo>
                      <a:pt x="884" y="334"/>
                    </a:lnTo>
                    <a:lnTo>
                      <a:pt x="886" y="334"/>
                    </a:lnTo>
                    <a:lnTo>
                      <a:pt x="886" y="336"/>
                    </a:lnTo>
                    <a:lnTo>
                      <a:pt x="887" y="336"/>
                    </a:lnTo>
                    <a:lnTo>
                      <a:pt x="887" y="337"/>
                    </a:lnTo>
                    <a:lnTo>
                      <a:pt x="889" y="339"/>
                    </a:lnTo>
                    <a:lnTo>
                      <a:pt x="891" y="341"/>
                    </a:lnTo>
                    <a:lnTo>
                      <a:pt x="892" y="341"/>
                    </a:lnTo>
                    <a:lnTo>
                      <a:pt x="894" y="341"/>
                    </a:lnTo>
                    <a:lnTo>
                      <a:pt x="895" y="342"/>
                    </a:lnTo>
                    <a:lnTo>
                      <a:pt x="897" y="342"/>
                    </a:lnTo>
                    <a:lnTo>
                      <a:pt x="898" y="342"/>
                    </a:lnTo>
                    <a:lnTo>
                      <a:pt x="900" y="344"/>
                    </a:lnTo>
                    <a:lnTo>
                      <a:pt x="902" y="344"/>
                    </a:lnTo>
                    <a:lnTo>
                      <a:pt x="903" y="344"/>
                    </a:lnTo>
                    <a:lnTo>
                      <a:pt x="905" y="344"/>
                    </a:lnTo>
                    <a:lnTo>
                      <a:pt x="906" y="344"/>
                    </a:lnTo>
                    <a:lnTo>
                      <a:pt x="908" y="344"/>
                    </a:lnTo>
                    <a:lnTo>
                      <a:pt x="910" y="344"/>
                    </a:lnTo>
                    <a:lnTo>
                      <a:pt x="911" y="344"/>
                    </a:lnTo>
                    <a:lnTo>
                      <a:pt x="911" y="345"/>
                    </a:lnTo>
                    <a:lnTo>
                      <a:pt x="913" y="345"/>
                    </a:lnTo>
                    <a:lnTo>
                      <a:pt x="914" y="345"/>
                    </a:lnTo>
                    <a:lnTo>
                      <a:pt x="914" y="347"/>
                    </a:lnTo>
                    <a:lnTo>
                      <a:pt x="916" y="347"/>
                    </a:lnTo>
                    <a:lnTo>
                      <a:pt x="918" y="348"/>
                    </a:lnTo>
                    <a:lnTo>
                      <a:pt x="919" y="348"/>
                    </a:lnTo>
                    <a:lnTo>
                      <a:pt x="921" y="348"/>
                    </a:lnTo>
                    <a:lnTo>
                      <a:pt x="921" y="350"/>
                    </a:lnTo>
                    <a:lnTo>
                      <a:pt x="921" y="352"/>
                    </a:lnTo>
                    <a:lnTo>
                      <a:pt x="921" y="353"/>
                    </a:lnTo>
                    <a:lnTo>
                      <a:pt x="921" y="355"/>
                    </a:lnTo>
                    <a:lnTo>
                      <a:pt x="922" y="355"/>
                    </a:lnTo>
                    <a:lnTo>
                      <a:pt x="924" y="356"/>
                    </a:lnTo>
                    <a:lnTo>
                      <a:pt x="925" y="356"/>
                    </a:lnTo>
                    <a:lnTo>
                      <a:pt x="927" y="356"/>
                    </a:lnTo>
                    <a:lnTo>
                      <a:pt x="927" y="358"/>
                    </a:lnTo>
                    <a:lnTo>
                      <a:pt x="929" y="360"/>
                    </a:lnTo>
                    <a:lnTo>
                      <a:pt x="930" y="358"/>
                    </a:lnTo>
                    <a:lnTo>
                      <a:pt x="930" y="360"/>
                    </a:lnTo>
                    <a:lnTo>
                      <a:pt x="930" y="361"/>
                    </a:lnTo>
                    <a:lnTo>
                      <a:pt x="932" y="363"/>
                    </a:lnTo>
                    <a:lnTo>
                      <a:pt x="933" y="363"/>
                    </a:lnTo>
                    <a:lnTo>
                      <a:pt x="935" y="363"/>
                    </a:lnTo>
                    <a:lnTo>
                      <a:pt x="937" y="364"/>
                    </a:lnTo>
                    <a:lnTo>
                      <a:pt x="938" y="364"/>
                    </a:lnTo>
                    <a:lnTo>
                      <a:pt x="938" y="366"/>
                    </a:lnTo>
                    <a:lnTo>
                      <a:pt x="940" y="366"/>
                    </a:lnTo>
                    <a:lnTo>
                      <a:pt x="940" y="367"/>
                    </a:lnTo>
                    <a:lnTo>
                      <a:pt x="940" y="369"/>
                    </a:lnTo>
                    <a:lnTo>
                      <a:pt x="941" y="369"/>
                    </a:lnTo>
                    <a:lnTo>
                      <a:pt x="943" y="371"/>
                    </a:lnTo>
                    <a:lnTo>
                      <a:pt x="944" y="371"/>
                    </a:lnTo>
                    <a:lnTo>
                      <a:pt x="946" y="372"/>
                    </a:lnTo>
                    <a:lnTo>
                      <a:pt x="946" y="374"/>
                    </a:lnTo>
                    <a:lnTo>
                      <a:pt x="948" y="374"/>
                    </a:lnTo>
                    <a:lnTo>
                      <a:pt x="949" y="375"/>
                    </a:lnTo>
                    <a:lnTo>
                      <a:pt x="951" y="375"/>
                    </a:lnTo>
                    <a:lnTo>
                      <a:pt x="952" y="375"/>
                    </a:lnTo>
                    <a:lnTo>
                      <a:pt x="954" y="375"/>
                    </a:lnTo>
                    <a:lnTo>
                      <a:pt x="954" y="374"/>
                    </a:lnTo>
                    <a:lnTo>
                      <a:pt x="956" y="375"/>
                    </a:lnTo>
                    <a:lnTo>
                      <a:pt x="956" y="374"/>
                    </a:lnTo>
                    <a:lnTo>
                      <a:pt x="957" y="374"/>
                    </a:lnTo>
                    <a:lnTo>
                      <a:pt x="957" y="372"/>
                    </a:lnTo>
                    <a:lnTo>
                      <a:pt x="959" y="372"/>
                    </a:lnTo>
                    <a:lnTo>
                      <a:pt x="960" y="372"/>
                    </a:lnTo>
                    <a:lnTo>
                      <a:pt x="962" y="372"/>
                    </a:lnTo>
                    <a:lnTo>
                      <a:pt x="962" y="371"/>
                    </a:lnTo>
                    <a:lnTo>
                      <a:pt x="963" y="369"/>
                    </a:lnTo>
                    <a:lnTo>
                      <a:pt x="965" y="367"/>
                    </a:lnTo>
                    <a:lnTo>
                      <a:pt x="967" y="367"/>
                    </a:lnTo>
                    <a:lnTo>
                      <a:pt x="968" y="367"/>
                    </a:lnTo>
                    <a:lnTo>
                      <a:pt x="968" y="366"/>
                    </a:lnTo>
                    <a:lnTo>
                      <a:pt x="970" y="366"/>
                    </a:lnTo>
                    <a:lnTo>
                      <a:pt x="971" y="366"/>
                    </a:lnTo>
                    <a:lnTo>
                      <a:pt x="971" y="364"/>
                    </a:lnTo>
                    <a:lnTo>
                      <a:pt x="973" y="366"/>
                    </a:lnTo>
                    <a:lnTo>
                      <a:pt x="973" y="367"/>
                    </a:lnTo>
                    <a:lnTo>
                      <a:pt x="975" y="367"/>
                    </a:lnTo>
                    <a:lnTo>
                      <a:pt x="976" y="367"/>
                    </a:lnTo>
                    <a:lnTo>
                      <a:pt x="978" y="366"/>
                    </a:lnTo>
                    <a:lnTo>
                      <a:pt x="978" y="367"/>
                    </a:lnTo>
                    <a:lnTo>
                      <a:pt x="979" y="367"/>
                    </a:lnTo>
                    <a:lnTo>
                      <a:pt x="981" y="369"/>
                    </a:lnTo>
                    <a:lnTo>
                      <a:pt x="982" y="369"/>
                    </a:lnTo>
                    <a:lnTo>
                      <a:pt x="984" y="367"/>
                    </a:lnTo>
                    <a:lnTo>
                      <a:pt x="986" y="367"/>
                    </a:lnTo>
                    <a:lnTo>
                      <a:pt x="987" y="367"/>
                    </a:lnTo>
                    <a:lnTo>
                      <a:pt x="989" y="369"/>
                    </a:lnTo>
                    <a:lnTo>
                      <a:pt x="990" y="369"/>
                    </a:lnTo>
                    <a:lnTo>
                      <a:pt x="992" y="369"/>
                    </a:lnTo>
                    <a:lnTo>
                      <a:pt x="994" y="369"/>
                    </a:lnTo>
                    <a:lnTo>
                      <a:pt x="995" y="369"/>
                    </a:lnTo>
                    <a:lnTo>
                      <a:pt x="995" y="367"/>
                    </a:lnTo>
                    <a:lnTo>
                      <a:pt x="997" y="367"/>
                    </a:lnTo>
                    <a:lnTo>
                      <a:pt x="998" y="367"/>
                    </a:lnTo>
                    <a:lnTo>
                      <a:pt x="1000" y="367"/>
                    </a:lnTo>
                    <a:lnTo>
                      <a:pt x="1001" y="367"/>
                    </a:lnTo>
                    <a:lnTo>
                      <a:pt x="1001" y="369"/>
                    </a:lnTo>
                    <a:lnTo>
                      <a:pt x="1001" y="371"/>
                    </a:lnTo>
                    <a:lnTo>
                      <a:pt x="1000" y="371"/>
                    </a:lnTo>
                    <a:lnTo>
                      <a:pt x="1000" y="372"/>
                    </a:lnTo>
                    <a:lnTo>
                      <a:pt x="1000" y="374"/>
                    </a:lnTo>
                    <a:lnTo>
                      <a:pt x="1001" y="374"/>
                    </a:lnTo>
                    <a:lnTo>
                      <a:pt x="1001" y="375"/>
                    </a:lnTo>
                    <a:lnTo>
                      <a:pt x="1003" y="374"/>
                    </a:lnTo>
                    <a:lnTo>
                      <a:pt x="1005" y="374"/>
                    </a:lnTo>
                    <a:lnTo>
                      <a:pt x="1006" y="372"/>
                    </a:lnTo>
                    <a:lnTo>
                      <a:pt x="1006" y="374"/>
                    </a:lnTo>
                    <a:lnTo>
                      <a:pt x="1008" y="374"/>
                    </a:lnTo>
                    <a:lnTo>
                      <a:pt x="1009" y="374"/>
                    </a:lnTo>
                    <a:lnTo>
                      <a:pt x="1011" y="372"/>
                    </a:lnTo>
                    <a:lnTo>
                      <a:pt x="1013" y="374"/>
                    </a:lnTo>
                    <a:lnTo>
                      <a:pt x="1014" y="374"/>
                    </a:lnTo>
                    <a:lnTo>
                      <a:pt x="1014" y="375"/>
                    </a:lnTo>
                    <a:lnTo>
                      <a:pt x="1016" y="375"/>
                    </a:lnTo>
                    <a:lnTo>
                      <a:pt x="1017" y="375"/>
                    </a:lnTo>
                    <a:lnTo>
                      <a:pt x="1019" y="375"/>
                    </a:lnTo>
                    <a:lnTo>
                      <a:pt x="1019" y="377"/>
                    </a:lnTo>
                    <a:lnTo>
                      <a:pt x="1020" y="377"/>
                    </a:lnTo>
                    <a:lnTo>
                      <a:pt x="1020" y="379"/>
                    </a:lnTo>
                    <a:lnTo>
                      <a:pt x="1022" y="379"/>
                    </a:lnTo>
                    <a:lnTo>
                      <a:pt x="1022" y="380"/>
                    </a:lnTo>
                    <a:lnTo>
                      <a:pt x="1022" y="382"/>
                    </a:lnTo>
                    <a:lnTo>
                      <a:pt x="1022" y="383"/>
                    </a:lnTo>
                    <a:lnTo>
                      <a:pt x="1024" y="383"/>
                    </a:lnTo>
                    <a:lnTo>
                      <a:pt x="1025" y="383"/>
                    </a:lnTo>
                    <a:lnTo>
                      <a:pt x="1025" y="382"/>
                    </a:lnTo>
                    <a:lnTo>
                      <a:pt x="1027" y="382"/>
                    </a:lnTo>
                    <a:lnTo>
                      <a:pt x="1027" y="383"/>
                    </a:lnTo>
                    <a:lnTo>
                      <a:pt x="1028" y="385"/>
                    </a:lnTo>
                    <a:lnTo>
                      <a:pt x="1028" y="386"/>
                    </a:lnTo>
                    <a:lnTo>
                      <a:pt x="1030" y="388"/>
                    </a:lnTo>
                    <a:lnTo>
                      <a:pt x="1025" y="390"/>
                    </a:lnTo>
                    <a:lnTo>
                      <a:pt x="1022" y="393"/>
                    </a:lnTo>
                    <a:lnTo>
                      <a:pt x="1017" y="401"/>
                    </a:lnTo>
                    <a:lnTo>
                      <a:pt x="1016" y="404"/>
                    </a:lnTo>
                    <a:lnTo>
                      <a:pt x="1016" y="407"/>
                    </a:lnTo>
                    <a:lnTo>
                      <a:pt x="1014" y="409"/>
                    </a:lnTo>
                    <a:lnTo>
                      <a:pt x="1014" y="413"/>
                    </a:lnTo>
                    <a:lnTo>
                      <a:pt x="1014" y="415"/>
                    </a:lnTo>
                    <a:lnTo>
                      <a:pt x="1013" y="420"/>
                    </a:lnTo>
                    <a:lnTo>
                      <a:pt x="1013" y="423"/>
                    </a:lnTo>
                    <a:lnTo>
                      <a:pt x="1013" y="424"/>
                    </a:lnTo>
                    <a:lnTo>
                      <a:pt x="1013" y="428"/>
                    </a:lnTo>
                    <a:lnTo>
                      <a:pt x="1013" y="429"/>
                    </a:lnTo>
                    <a:lnTo>
                      <a:pt x="1014" y="431"/>
                    </a:lnTo>
                    <a:lnTo>
                      <a:pt x="1014" y="432"/>
                    </a:lnTo>
                    <a:lnTo>
                      <a:pt x="1014" y="434"/>
                    </a:lnTo>
                    <a:lnTo>
                      <a:pt x="1014" y="436"/>
                    </a:lnTo>
                    <a:lnTo>
                      <a:pt x="1014" y="437"/>
                    </a:lnTo>
                    <a:lnTo>
                      <a:pt x="1014" y="439"/>
                    </a:lnTo>
                    <a:lnTo>
                      <a:pt x="1013" y="443"/>
                    </a:lnTo>
                    <a:lnTo>
                      <a:pt x="1014" y="448"/>
                    </a:lnTo>
                    <a:lnTo>
                      <a:pt x="1014" y="451"/>
                    </a:lnTo>
                    <a:lnTo>
                      <a:pt x="1016" y="455"/>
                    </a:lnTo>
                    <a:lnTo>
                      <a:pt x="1024" y="461"/>
                    </a:lnTo>
                    <a:lnTo>
                      <a:pt x="1024" y="463"/>
                    </a:lnTo>
                    <a:lnTo>
                      <a:pt x="1025" y="464"/>
                    </a:lnTo>
                    <a:lnTo>
                      <a:pt x="1025" y="466"/>
                    </a:lnTo>
                    <a:lnTo>
                      <a:pt x="1025" y="467"/>
                    </a:lnTo>
                    <a:lnTo>
                      <a:pt x="1025" y="469"/>
                    </a:lnTo>
                    <a:lnTo>
                      <a:pt x="1025" y="472"/>
                    </a:lnTo>
                    <a:lnTo>
                      <a:pt x="1025" y="474"/>
                    </a:lnTo>
                    <a:lnTo>
                      <a:pt x="1027" y="477"/>
                    </a:lnTo>
                    <a:lnTo>
                      <a:pt x="1027" y="478"/>
                    </a:lnTo>
                    <a:lnTo>
                      <a:pt x="1028" y="478"/>
                    </a:lnTo>
                    <a:lnTo>
                      <a:pt x="1030" y="483"/>
                    </a:lnTo>
                    <a:lnTo>
                      <a:pt x="1033" y="486"/>
                    </a:lnTo>
                    <a:lnTo>
                      <a:pt x="1033" y="488"/>
                    </a:lnTo>
                    <a:lnTo>
                      <a:pt x="1035" y="489"/>
                    </a:lnTo>
                    <a:lnTo>
                      <a:pt x="1035" y="491"/>
                    </a:lnTo>
                    <a:lnTo>
                      <a:pt x="1036" y="491"/>
                    </a:lnTo>
                    <a:lnTo>
                      <a:pt x="1036" y="493"/>
                    </a:lnTo>
                    <a:lnTo>
                      <a:pt x="1038" y="494"/>
                    </a:lnTo>
                    <a:lnTo>
                      <a:pt x="1038" y="496"/>
                    </a:lnTo>
                    <a:lnTo>
                      <a:pt x="1038" y="497"/>
                    </a:lnTo>
                    <a:lnTo>
                      <a:pt x="1039" y="497"/>
                    </a:lnTo>
                    <a:lnTo>
                      <a:pt x="1039" y="499"/>
                    </a:lnTo>
                    <a:lnTo>
                      <a:pt x="1041" y="499"/>
                    </a:lnTo>
                    <a:lnTo>
                      <a:pt x="1041" y="501"/>
                    </a:lnTo>
                    <a:lnTo>
                      <a:pt x="1043" y="504"/>
                    </a:lnTo>
                    <a:lnTo>
                      <a:pt x="1039" y="505"/>
                    </a:lnTo>
                    <a:lnTo>
                      <a:pt x="1036" y="505"/>
                    </a:lnTo>
                    <a:lnTo>
                      <a:pt x="1032" y="504"/>
                    </a:lnTo>
                    <a:lnTo>
                      <a:pt x="1022" y="504"/>
                    </a:lnTo>
                    <a:lnTo>
                      <a:pt x="1016" y="502"/>
                    </a:lnTo>
                    <a:lnTo>
                      <a:pt x="1009" y="496"/>
                    </a:lnTo>
                    <a:lnTo>
                      <a:pt x="1008" y="494"/>
                    </a:lnTo>
                    <a:lnTo>
                      <a:pt x="1008" y="493"/>
                    </a:lnTo>
                    <a:lnTo>
                      <a:pt x="1006" y="493"/>
                    </a:lnTo>
                    <a:lnTo>
                      <a:pt x="1005" y="493"/>
                    </a:lnTo>
                    <a:lnTo>
                      <a:pt x="1003" y="493"/>
                    </a:lnTo>
                    <a:lnTo>
                      <a:pt x="1001" y="493"/>
                    </a:lnTo>
                    <a:lnTo>
                      <a:pt x="1000" y="491"/>
                    </a:lnTo>
                    <a:lnTo>
                      <a:pt x="998" y="493"/>
                    </a:lnTo>
                    <a:lnTo>
                      <a:pt x="998" y="494"/>
                    </a:lnTo>
                    <a:lnTo>
                      <a:pt x="997" y="494"/>
                    </a:lnTo>
                    <a:lnTo>
                      <a:pt x="995" y="493"/>
                    </a:lnTo>
                    <a:lnTo>
                      <a:pt x="994" y="493"/>
                    </a:lnTo>
                    <a:lnTo>
                      <a:pt x="992" y="494"/>
                    </a:lnTo>
                    <a:lnTo>
                      <a:pt x="990" y="494"/>
                    </a:lnTo>
                    <a:lnTo>
                      <a:pt x="990" y="496"/>
                    </a:lnTo>
                    <a:lnTo>
                      <a:pt x="989" y="496"/>
                    </a:lnTo>
                    <a:lnTo>
                      <a:pt x="987" y="497"/>
                    </a:lnTo>
                    <a:lnTo>
                      <a:pt x="986" y="497"/>
                    </a:lnTo>
                    <a:lnTo>
                      <a:pt x="986" y="496"/>
                    </a:lnTo>
                    <a:lnTo>
                      <a:pt x="984" y="496"/>
                    </a:lnTo>
                    <a:lnTo>
                      <a:pt x="982" y="496"/>
                    </a:lnTo>
                    <a:lnTo>
                      <a:pt x="970" y="501"/>
                    </a:lnTo>
                    <a:lnTo>
                      <a:pt x="965" y="502"/>
                    </a:lnTo>
                    <a:lnTo>
                      <a:pt x="959" y="504"/>
                    </a:lnTo>
                    <a:lnTo>
                      <a:pt x="948" y="505"/>
                    </a:lnTo>
                    <a:lnTo>
                      <a:pt x="937" y="507"/>
                    </a:lnTo>
                    <a:lnTo>
                      <a:pt x="930" y="507"/>
                    </a:lnTo>
                    <a:lnTo>
                      <a:pt x="925" y="505"/>
                    </a:lnTo>
                    <a:lnTo>
                      <a:pt x="925" y="502"/>
                    </a:lnTo>
                    <a:lnTo>
                      <a:pt x="924" y="502"/>
                    </a:lnTo>
                    <a:lnTo>
                      <a:pt x="922" y="502"/>
                    </a:lnTo>
                    <a:lnTo>
                      <a:pt x="921" y="502"/>
                    </a:lnTo>
                    <a:lnTo>
                      <a:pt x="919" y="502"/>
                    </a:lnTo>
                    <a:lnTo>
                      <a:pt x="918" y="501"/>
                    </a:lnTo>
                    <a:lnTo>
                      <a:pt x="916" y="501"/>
                    </a:lnTo>
                    <a:lnTo>
                      <a:pt x="914" y="501"/>
                    </a:lnTo>
                    <a:lnTo>
                      <a:pt x="913" y="501"/>
                    </a:lnTo>
                    <a:lnTo>
                      <a:pt x="911" y="501"/>
                    </a:lnTo>
                    <a:lnTo>
                      <a:pt x="910" y="499"/>
                    </a:lnTo>
                    <a:lnTo>
                      <a:pt x="908" y="499"/>
                    </a:lnTo>
                    <a:lnTo>
                      <a:pt x="906" y="499"/>
                    </a:lnTo>
                    <a:lnTo>
                      <a:pt x="905" y="499"/>
                    </a:lnTo>
                    <a:lnTo>
                      <a:pt x="903" y="499"/>
                    </a:lnTo>
                    <a:lnTo>
                      <a:pt x="903" y="497"/>
                    </a:lnTo>
                    <a:lnTo>
                      <a:pt x="902" y="497"/>
                    </a:lnTo>
                    <a:lnTo>
                      <a:pt x="900" y="497"/>
                    </a:lnTo>
                    <a:lnTo>
                      <a:pt x="898" y="497"/>
                    </a:lnTo>
                    <a:lnTo>
                      <a:pt x="897" y="497"/>
                    </a:lnTo>
                    <a:lnTo>
                      <a:pt x="897" y="496"/>
                    </a:lnTo>
                    <a:lnTo>
                      <a:pt x="895" y="496"/>
                    </a:lnTo>
                    <a:lnTo>
                      <a:pt x="894" y="496"/>
                    </a:lnTo>
                    <a:lnTo>
                      <a:pt x="892" y="496"/>
                    </a:lnTo>
                    <a:lnTo>
                      <a:pt x="891" y="496"/>
                    </a:lnTo>
                    <a:lnTo>
                      <a:pt x="889" y="496"/>
                    </a:lnTo>
                    <a:lnTo>
                      <a:pt x="889" y="497"/>
                    </a:lnTo>
                    <a:lnTo>
                      <a:pt x="887" y="497"/>
                    </a:lnTo>
                    <a:lnTo>
                      <a:pt x="887" y="499"/>
                    </a:lnTo>
                    <a:lnTo>
                      <a:pt x="886" y="499"/>
                    </a:lnTo>
                    <a:lnTo>
                      <a:pt x="886" y="501"/>
                    </a:lnTo>
                    <a:lnTo>
                      <a:pt x="884" y="501"/>
                    </a:lnTo>
                    <a:lnTo>
                      <a:pt x="884" y="502"/>
                    </a:lnTo>
                    <a:lnTo>
                      <a:pt x="883" y="502"/>
                    </a:lnTo>
                    <a:lnTo>
                      <a:pt x="883" y="504"/>
                    </a:lnTo>
                    <a:lnTo>
                      <a:pt x="881" y="504"/>
                    </a:lnTo>
                    <a:lnTo>
                      <a:pt x="881" y="505"/>
                    </a:lnTo>
                    <a:lnTo>
                      <a:pt x="879" y="507"/>
                    </a:lnTo>
                    <a:lnTo>
                      <a:pt x="879" y="508"/>
                    </a:lnTo>
                    <a:lnTo>
                      <a:pt x="878" y="508"/>
                    </a:lnTo>
                    <a:lnTo>
                      <a:pt x="876" y="510"/>
                    </a:lnTo>
                    <a:lnTo>
                      <a:pt x="876" y="512"/>
                    </a:lnTo>
                    <a:lnTo>
                      <a:pt x="875" y="512"/>
                    </a:lnTo>
                    <a:lnTo>
                      <a:pt x="875" y="513"/>
                    </a:lnTo>
                    <a:lnTo>
                      <a:pt x="873" y="513"/>
                    </a:lnTo>
                    <a:lnTo>
                      <a:pt x="873" y="515"/>
                    </a:lnTo>
                    <a:lnTo>
                      <a:pt x="872" y="516"/>
                    </a:lnTo>
                    <a:lnTo>
                      <a:pt x="870" y="518"/>
                    </a:lnTo>
                    <a:lnTo>
                      <a:pt x="868" y="520"/>
                    </a:lnTo>
                    <a:lnTo>
                      <a:pt x="867" y="521"/>
                    </a:lnTo>
                    <a:lnTo>
                      <a:pt x="867" y="523"/>
                    </a:lnTo>
                    <a:lnTo>
                      <a:pt x="865" y="523"/>
                    </a:lnTo>
                    <a:lnTo>
                      <a:pt x="865" y="524"/>
                    </a:lnTo>
                    <a:lnTo>
                      <a:pt x="864" y="524"/>
                    </a:lnTo>
                    <a:lnTo>
                      <a:pt x="862" y="526"/>
                    </a:lnTo>
                    <a:lnTo>
                      <a:pt x="862" y="527"/>
                    </a:lnTo>
                    <a:lnTo>
                      <a:pt x="860" y="527"/>
                    </a:lnTo>
                    <a:lnTo>
                      <a:pt x="860" y="529"/>
                    </a:lnTo>
                    <a:lnTo>
                      <a:pt x="859" y="531"/>
                    </a:lnTo>
                    <a:lnTo>
                      <a:pt x="857" y="531"/>
                    </a:lnTo>
                    <a:lnTo>
                      <a:pt x="857" y="532"/>
                    </a:lnTo>
                    <a:lnTo>
                      <a:pt x="856" y="534"/>
                    </a:lnTo>
                    <a:lnTo>
                      <a:pt x="854" y="535"/>
                    </a:lnTo>
                    <a:lnTo>
                      <a:pt x="854" y="537"/>
                    </a:lnTo>
                    <a:lnTo>
                      <a:pt x="853" y="537"/>
                    </a:lnTo>
                    <a:lnTo>
                      <a:pt x="853" y="539"/>
                    </a:lnTo>
                    <a:lnTo>
                      <a:pt x="851" y="539"/>
                    </a:lnTo>
                    <a:lnTo>
                      <a:pt x="851" y="540"/>
                    </a:lnTo>
                    <a:lnTo>
                      <a:pt x="849" y="540"/>
                    </a:lnTo>
                    <a:lnTo>
                      <a:pt x="848" y="542"/>
                    </a:lnTo>
                    <a:lnTo>
                      <a:pt x="848" y="543"/>
                    </a:lnTo>
                    <a:lnTo>
                      <a:pt x="846" y="543"/>
                    </a:lnTo>
                    <a:lnTo>
                      <a:pt x="846" y="545"/>
                    </a:lnTo>
                    <a:lnTo>
                      <a:pt x="845" y="546"/>
                    </a:lnTo>
                    <a:lnTo>
                      <a:pt x="845" y="548"/>
                    </a:lnTo>
                    <a:lnTo>
                      <a:pt x="843" y="548"/>
                    </a:lnTo>
                    <a:lnTo>
                      <a:pt x="841" y="550"/>
                    </a:lnTo>
                    <a:lnTo>
                      <a:pt x="841" y="551"/>
                    </a:lnTo>
                    <a:lnTo>
                      <a:pt x="840" y="551"/>
                    </a:lnTo>
                    <a:lnTo>
                      <a:pt x="840" y="553"/>
                    </a:lnTo>
                    <a:lnTo>
                      <a:pt x="838" y="553"/>
                    </a:lnTo>
                    <a:lnTo>
                      <a:pt x="838" y="554"/>
                    </a:lnTo>
                    <a:lnTo>
                      <a:pt x="837" y="554"/>
                    </a:lnTo>
                    <a:lnTo>
                      <a:pt x="837" y="556"/>
                    </a:lnTo>
                    <a:lnTo>
                      <a:pt x="835" y="556"/>
                    </a:lnTo>
                    <a:lnTo>
                      <a:pt x="835" y="558"/>
                    </a:lnTo>
                    <a:lnTo>
                      <a:pt x="834" y="559"/>
                    </a:lnTo>
                    <a:lnTo>
                      <a:pt x="834" y="561"/>
                    </a:lnTo>
                    <a:lnTo>
                      <a:pt x="832" y="561"/>
                    </a:lnTo>
                    <a:lnTo>
                      <a:pt x="832" y="562"/>
                    </a:lnTo>
                    <a:lnTo>
                      <a:pt x="830" y="562"/>
                    </a:lnTo>
                    <a:lnTo>
                      <a:pt x="830" y="564"/>
                    </a:lnTo>
                    <a:lnTo>
                      <a:pt x="829" y="565"/>
                    </a:lnTo>
                    <a:lnTo>
                      <a:pt x="827" y="567"/>
                    </a:lnTo>
                    <a:lnTo>
                      <a:pt x="827" y="569"/>
                    </a:lnTo>
                    <a:lnTo>
                      <a:pt x="826" y="569"/>
                    </a:lnTo>
                    <a:lnTo>
                      <a:pt x="826" y="570"/>
                    </a:lnTo>
                    <a:lnTo>
                      <a:pt x="824" y="570"/>
                    </a:lnTo>
                    <a:lnTo>
                      <a:pt x="824" y="572"/>
                    </a:lnTo>
                    <a:lnTo>
                      <a:pt x="822" y="572"/>
                    </a:lnTo>
                    <a:lnTo>
                      <a:pt x="822" y="573"/>
                    </a:lnTo>
                    <a:lnTo>
                      <a:pt x="821" y="575"/>
                    </a:lnTo>
                    <a:lnTo>
                      <a:pt x="818" y="577"/>
                    </a:lnTo>
                    <a:lnTo>
                      <a:pt x="822" y="583"/>
                    </a:lnTo>
                    <a:lnTo>
                      <a:pt x="826" y="586"/>
                    </a:lnTo>
                    <a:lnTo>
                      <a:pt x="826" y="588"/>
                    </a:lnTo>
                    <a:lnTo>
                      <a:pt x="826" y="589"/>
                    </a:lnTo>
                    <a:lnTo>
                      <a:pt x="824" y="596"/>
                    </a:lnTo>
                    <a:lnTo>
                      <a:pt x="824" y="597"/>
                    </a:lnTo>
                    <a:lnTo>
                      <a:pt x="822" y="600"/>
                    </a:lnTo>
                    <a:lnTo>
                      <a:pt x="815" y="630"/>
                    </a:lnTo>
                    <a:lnTo>
                      <a:pt x="815" y="634"/>
                    </a:lnTo>
                    <a:lnTo>
                      <a:pt x="813" y="638"/>
                    </a:lnTo>
                    <a:lnTo>
                      <a:pt x="810" y="649"/>
                    </a:lnTo>
                    <a:lnTo>
                      <a:pt x="808" y="651"/>
                    </a:lnTo>
                    <a:lnTo>
                      <a:pt x="807" y="654"/>
                    </a:lnTo>
                    <a:lnTo>
                      <a:pt x="803" y="657"/>
                    </a:lnTo>
                    <a:lnTo>
                      <a:pt x="802" y="661"/>
                    </a:lnTo>
                    <a:lnTo>
                      <a:pt x="800" y="661"/>
                    </a:lnTo>
                    <a:lnTo>
                      <a:pt x="797" y="665"/>
                    </a:lnTo>
                    <a:lnTo>
                      <a:pt x="796" y="667"/>
                    </a:lnTo>
                    <a:lnTo>
                      <a:pt x="792" y="672"/>
                    </a:lnTo>
                    <a:lnTo>
                      <a:pt x="789" y="675"/>
                    </a:lnTo>
                    <a:lnTo>
                      <a:pt x="788" y="676"/>
                    </a:lnTo>
                    <a:lnTo>
                      <a:pt x="783" y="681"/>
                    </a:lnTo>
                    <a:lnTo>
                      <a:pt x="781" y="684"/>
                    </a:lnTo>
                    <a:lnTo>
                      <a:pt x="780" y="687"/>
                    </a:lnTo>
                    <a:lnTo>
                      <a:pt x="777" y="695"/>
                    </a:lnTo>
                    <a:lnTo>
                      <a:pt x="775" y="703"/>
                    </a:lnTo>
                    <a:lnTo>
                      <a:pt x="773" y="705"/>
                    </a:lnTo>
                    <a:lnTo>
                      <a:pt x="773" y="710"/>
                    </a:lnTo>
                    <a:lnTo>
                      <a:pt x="772" y="714"/>
                    </a:lnTo>
                    <a:lnTo>
                      <a:pt x="770" y="719"/>
                    </a:lnTo>
                    <a:lnTo>
                      <a:pt x="769" y="729"/>
                    </a:lnTo>
                    <a:lnTo>
                      <a:pt x="767" y="737"/>
                    </a:lnTo>
                    <a:lnTo>
                      <a:pt x="765" y="741"/>
                    </a:lnTo>
                    <a:lnTo>
                      <a:pt x="765" y="743"/>
                    </a:lnTo>
                    <a:lnTo>
                      <a:pt x="764" y="752"/>
                    </a:lnTo>
                    <a:lnTo>
                      <a:pt x="764" y="754"/>
                    </a:lnTo>
                    <a:lnTo>
                      <a:pt x="762" y="756"/>
                    </a:lnTo>
                    <a:lnTo>
                      <a:pt x="759" y="757"/>
                    </a:lnTo>
                    <a:lnTo>
                      <a:pt x="753" y="762"/>
                    </a:lnTo>
                    <a:lnTo>
                      <a:pt x="751" y="762"/>
                    </a:lnTo>
                    <a:lnTo>
                      <a:pt x="745" y="768"/>
                    </a:lnTo>
                    <a:lnTo>
                      <a:pt x="718" y="787"/>
                    </a:lnTo>
                    <a:lnTo>
                      <a:pt x="716" y="787"/>
                    </a:lnTo>
                    <a:lnTo>
                      <a:pt x="715" y="787"/>
                    </a:lnTo>
                    <a:lnTo>
                      <a:pt x="705" y="795"/>
                    </a:lnTo>
                    <a:lnTo>
                      <a:pt x="704" y="797"/>
                    </a:lnTo>
                    <a:lnTo>
                      <a:pt x="704" y="798"/>
                    </a:lnTo>
                    <a:lnTo>
                      <a:pt x="697" y="803"/>
                    </a:lnTo>
                    <a:lnTo>
                      <a:pt x="694" y="805"/>
                    </a:lnTo>
                    <a:lnTo>
                      <a:pt x="693" y="806"/>
                    </a:lnTo>
                    <a:lnTo>
                      <a:pt x="691" y="808"/>
                    </a:lnTo>
                    <a:lnTo>
                      <a:pt x="677" y="817"/>
                    </a:lnTo>
                    <a:lnTo>
                      <a:pt x="675" y="819"/>
                    </a:lnTo>
                    <a:lnTo>
                      <a:pt x="670" y="824"/>
                    </a:lnTo>
                    <a:lnTo>
                      <a:pt x="666" y="825"/>
                    </a:lnTo>
                    <a:lnTo>
                      <a:pt x="656" y="830"/>
                    </a:lnTo>
                    <a:lnTo>
                      <a:pt x="653" y="830"/>
                    </a:lnTo>
                    <a:lnTo>
                      <a:pt x="651" y="830"/>
                    </a:lnTo>
                    <a:lnTo>
                      <a:pt x="650" y="828"/>
                    </a:lnTo>
                    <a:lnTo>
                      <a:pt x="648" y="828"/>
                    </a:lnTo>
                    <a:lnTo>
                      <a:pt x="640" y="827"/>
                    </a:lnTo>
                    <a:lnTo>
                      <a:pt x="637" y="827"/>
                    </a:lnTo>
                    <a:lnTo>
                      <a:pt x="636" y="825"/>
                    </a:lnTo>
                    <a:lnTo>
                      <a:pt x="632" y="825"/>
                    </a:lnTo>
                    <a:lnTo>
                      <a:pt x="629" y="824"/>
                    </a:lnTo>
                    <a:lnTo>
                      <a:pt x="623" y="822"/>
                    </a:lnTo>
                    <a:lnTo>
                      <a:pt x="620" y="820"/>
                    </a:lnTo>
                    <a:lnTo>
                      <a:pt x="617" y="820"/>
                    </a:lnTo>
                    <a:lnTo>
                      <a:pt x="615" y="819"/>
                    </a:lnTo>
                    <a:lnTo>
                      <a:pt x="612" y="817"/>
                    </a:lnTo>
                    <a:lnTo>
                      <a:pt x="610" y="816"/>
                    </a:lnTo>
                    <a:lnTo>
                      <a:pt x="602" y="813"/>
                    </a:lnTo>
                    <a:lnTo>
                      <a:pt x="601" y="813"/>
                    </a:lnTo>
                    <a:lnTo>
                      <a:pt x="601" y="811"/>
                    </a:lnTo>
                    <a:lnTo>
                      <a:pt x="599" y="811"/>
                    </a:lnTo>
                    <a:lnTo>
                      <a:pt x="598" y="809"/>
                    </a:lnTo>
                    <a:lnTo>
                      <a:pt x="596" y="808"/>
                    </a:lnTo>
                    <a:lnTo>
                      <a:pt x="593" y="801"/>
                    </a:lnTo>
                    <a:lnTo>
                      <a:pt x="591" y="800"/>
                    </a:lnTo>
                    <a:lnTo>
                      <a:pt x="590" y="797"/>
                    </a:lnTo>
                    <a:lnTo>
                      <a:pt x="586" y="792"/>
                    </a:lnTo>
                    <a:lnTo>
                      <a:pt x="582" y="782"/>
                    </a:lnTo>
                    <a:lnTo>
                      <a:pt x="580" y="782"/>
                    </a:lnTo>
                    <a:lnTo>
                      <a:pt x="579" y="778"/>
                    </a:lnTo>
                    <a:lnTo>
                      <a:pt x="574" y="771"/>
                    </a:lnTo>
                    <a:lnTo>
                      <a:pt x="569" y="762"/>
                    </a:lnTo>
                    <a:lnTo>
                      <a:pt x="567" y="760"/>
                    </a:lnTo>
                    <a:lnTo>
                      <a:pt x="564" y="751"/>
                    </a:lnTo>
                    <a:lnTo>
                      <a:pt x="563" y="749"/>
                    </a:lnTo>
                    <a:lnTo>
                      <a:pt x="561" y="749"/>
                    </a:lnTo>
                    <a:lnTo>
                      <a:pt x="560" y="749"/>
                    </a:lnTo>
                    <a:lnTo>
                      <a:pt x="553" y="746"/>
                    </a:lnTo>
                    <a:lnTo>
                      <a:pt x="548" y="744"/>
                    </a:lnTo>
                    <a:lnTo>
                      <a:pt x="545" y="743"/>
                    </a:lnTo>
                    <a:lnTo>
                      <a:pt x="544" y="741"/>
                    </a:lnTo>
                    <a:lnTo>
                      <a:pt x="537" y="740"/>
                    </a:lnTo>
                    <a:lnTo>
                      <a:pt x="534" y="738"/>
                    </a:lnTo>
                    <a:lnTo>
                      <a:pt x="533" y="738"/>
                    </a:lnTo>
                    <a:lnTo>
                      <a:pt x="528" y="735"/>
                    </a:lnTo>
                    <a:lnTo>
                      <a:pt x="520" y="727"/>
                    </a:lnTo>
                    <a:lnTo>
                      <a:pt x="515" y="722"/>
                    </a:lnTo>
                    <a:lnTo>
                      <a:pt x="509" y="716"/>
                    </a:lnTo>
                    <a:lnTo>
                      <a:pt x="507" y="714"/>
                    </a:lnTo>
                    <a:lnTo>
                      <a:pt x="506" y="711"/>
                    </a:lnTo>
                    <a:lnTo>
                      <a:pt x="504" y="710"/>
                    </a:lnTo>
                    <a:lnTo>
                      <a:pt x="504" y="708"/>
                    </a:lnTo>
                    <a:lnTo>
                      <a:pt x="502" y="702"/>
                    </a:lnTo>
                    <a:lnTo>
                      <a:pt x="501" y="702"/>
                    </a:lnTo>
                    <a:lnTo>
                      <a:pt x="501" y="699"/>
                    </a:lnTo>
                    <a:lnTo>
                      <a:pt x="499" y="697"/>
                    </a:lnTo>
                    <a:lnTo>
                      <a:pt x="496" y="691"/>
                    </a:lnTo>
                    <a:lnTo>
                      <a:pt x="493" y="689"/>
                    </a:lnTo>
                    <a:lnTo>
                      <a:pt x="491" y="687"/>
                    </a:lnTo>
                    <a:lnTo>
                      <a:pt x="485" y="683"/>
                    </a:lnTo>
                    <a:lnTo>
                      <a:pt x="483" y="681"/>
                    </a:lnTo>
                    <a:lnTo>
                      <a:pt x="480" y="680"/>
                    </a:lnTo>
                    <a:lnTo>
                      <a:pt x="476" y="676"/>
                    </a:lnTo>
                    <a:lnTo>
                      <a:pt x="472" y="675"/>
                    </a:lnTo>
                    <a:lnTo>
                      <a:pt x="471" y="673"/>
                    </a:lnTo>
                    <a:lnTo>
                      <a:pt x="468" y="670"/>
                    </a:lnTo>
                    <a:lnTo>
                      <a:pt x="466" y="670"/>
                    </a:lnTo>
                    <a:lnTo>
                      <a:pt x="466" y="668"/>
                    </a:lnTo>
                    <a:lnTo>
                      <a:pt x="464" y="667"/>
                    </a:lnTo>
                    <a:lnTo>
                      <a:pt x="461" y="662"/>
                    </a:lnTo>
                    <a:lnTo>
                      <a:pt x="460" y="662"/>
                    </a:lnTo>
                    <a:lnTo>
                      <a:pt x="458" y="659"/>
                    </a:lnTo>
                    <a:lnTo>
                      <a:pt x="457" y="657"/>
                    </a:lnTo>
                    <a:lnTo>
                      <a:pt x="453" y="654"/>
                    </a:lnTo>
                    <a:lnTo>
                      <a:pt x="452" y="651"/>
                    </a:lnTo>
                    <a:lnTo>
                      <a:pt x="449" y="646"/>
                    </a:lnTo>
                    <a:lnTo>
                      <a:pt x="447" y="645"/>
                    </a:lnTo>
                    <a:lnTo>
                      <a:pt x="447" y="643"/>
                    </a:lnTo>
                    <a:lnTo>
                      <a:pt x="445" y="641"/>
                    </a:lnTo>
                    <a:lnTo>
                      <a:pt x="445" y="638"/>
                    </a:lnTo>
                    <a:lnTo>
                      <a:pt x="447" y="638"/>
                    </a:lnTo>
                    <a:lnTo>
                      <a:pt x="447" y="637"/>
                    </a:lnTo>
                    <a:lnTo>
                      <a:pt x="449" y="637"/>
                    </a:lnTo>
                    <a:lnTo>
                      <a:pt x="450" y="637"/>
                    </a:lnTo>
                    <a:lnTo>
                      <a:pt x="450" y="635"/>
                    </a:lnTo>
                    <a:lnTo>
                      <a:pt x="452" y="635"/>
                    </a:lnTo>
                    <a:lnTo>
                      <a:pt x="452" y="634"/>
                    </a:lnTo>
                    <a:lnTo>
                      <a:pt x="453" y="634"/>
                    </a:lnTo>
                    <a:lnTo>
                      <a:pt x="453" y="632"/>
                    </a:lnTo>
                    <a:lnTo>
                      <a:pt x="453" y="630"/>
                    </a:lnTo>
                    <a:lnTo>
                      <a:pt x="453" y="629"/>
                    </a:lnTo>
                    <a:lnTo>
                      <a:pt x="453" y="627"/>
                    </a:lnTo>
                    <a:lnTo>
                      <a:pt x="453" y="626"/>
                    </a:lnTo>
                    <a:lnTo>
                      <a:pt x="453" y="624"/>
                    </a:lnTo>
                    <a:lnTo>
                      <a:pt x="453" y="622"/>
                    </a:lnTo>
                    <a:lnTo>
                      <a:pt x="453" y="621"/>
                    </a:lnTo>
                    <a:lnTo>
                      <a:pt x="453" y="619"/>
                    </a:lnTo>
                    <a:lnTo>
                      <a:pt x="453" y="618"/>
                    </a:lnTo>
                    <a:lnTo>
                      <a:pt x="453" y="616"/>
                    </a:lnTo>
                    <a:lnTo>
                      <a:pt x="453" y="615"/>
                    </a:lnTo>
                    <a:lnTo>
                      <a:pt x="452" y="613"/>
                    </a:lnTo>
                    <a:lnTo>
                      <a:pt x="452" y="611"/>
                    </a:lnTo>
                    <a:lnTo>
                      <a:pt x="452" y="610"/>
                    </a:lnTo>
                    <a:lnTo>
                      <a:pt x="452" y="608"/>
                    </a:lnTo>
                    <a:lnTo>
                      <a:pt x="452" y="607"/>
                    </a:lnTo>
                    <a:lnTo>
                      <a:pt x="450" y="605"/>
                    </a:lnTo>
                    <a:lnTo>
                      <a:pt x="450" y="603"/>
                    </a:lnTo>
                    <a:lnTo>
                      <a:pt x="450" y="602"/>
                    </a:lnTo>
                    <a:lnTo>
                      <a:pt x="450" y="600"/>
                    </a:lnTo>
                    <a:lnTo>
                      <a:pt x="450" y="599"/>
                    </a:lnTo>
                    <a:lnTo>
                      <a:pt x="450" y="597"/>
                    </a:lnTo>
                    <a:lnTo>
                      <a:pt x="450" y="596"/>
                    </a:lnTo>
                    <a:lnTo>
                      <a:pt x="450" y="594"/>
                    </a:lnTo>
                    <a:lnTo>
                      <a:pt x="452" y="592"/>
                    </a:lnTo>
                    <a:lnTo>
                      <a:pt x="452" y="591"/>
                    </a:lnTo>
                    <a:lnTo>
                      <a:pt x="452" y="589"/>
                    </a:lnTo>
                    <a:lnTo>
                      <a:pt x="452" y="588"/>
                    </a:lnTo>
                    <a:lnTo>
                      <a:pt x="453" y="586"/>
                    </a:lnTo>
                    <a:lnTo>
                      <a:pt x="453" y="584"/>
                    </a:lnTo>
                    <a:lnTo>
                      <a:pt x="455" y="584"/>
                    </a:lnTo>
                    <a:lnTo>
                      <a:pt x="455" y="583"/>
                    </a:lnTo>
                    <a:lnTo>
                      <a:pt x="455" y="581"/>
                    </a:lnTo>
                    <a:lnTo>
                      <a:pt x="457" y="581"/>
                    </a:lnTo>
                    <a:lnTo>
                      <a:pt x="457" y="580"/>
                    </a:lnTo>
                    <a:lnTo>
                      <a:pt x="458" y="580"/>
                    </a:lnTo>
                    <a:lnTo>
                      <a:pt x="458" y="578"/>
                    </a:lnTo>
                    <a:lnTo>
                      <a:pt x="460" y="578"/>
                    </a:lnTo>
                    <a:lnTo>
                      <a:pt x="461" y="577"/>
                    </a:lnTo>
                    <a:lnTo>
                      <a:pt x="463" y="577"/>
                    </a:lnTo>
                    <a:lnTo>
                      <a:pt x="463" y="575"/>
                    </a:lnTo>
                    <a:lnTo>
                      <a:pt x="464" y="575"/>
                    </a:lnTo>
                    <a:lnTo>
                      <a:pt x="464" y="573"/>
                    </a:lnTo>
                    <a:lnTo>
                      <a:pt x="464" y="572"/>
                    </a:lnTo>
                    <a:lnTo>
                      <a:pt x="466" y="572"/>
                    </a:lnTo>
                    <a:lnTo>
                      <a:pt x="466" y="570"/>
                    </a:lnTo>
                    <a:lnTo>
                      <a:pt x="466" y="569"/>
                    </a:lnTo>
                    <a:lnTo>
                      <a:pt x="466" y="567"/>
                    </a:lnTo>
                    <a:lnTo>
                      <a:pt x="468" y="565"/>
                    </a:lnTo>
                    <a:lnTo>
                      <a:pt x="468" y="564"/>
                    </a:lnTo>
                    <a:lnTo>
                      <a:pt x="468" y="562"/>
                    </a:lnTo>
                    <a:lnTo>
                      <a:pt x="469" y="561"/>
                    </a:lnTo>
                    <a:lnTo>
                      <a:pt x="469" y="559"/>
                    </a:lnTo>
                    <a:lnTo>
                      <a:pt x="469" y="558"/>
                    </a:lnTo>
                    <a:lnTo>
                      <a:pt x="471" y="556"/>
                    </a:lnTo>
                    <a:lnTo>
                      <a:pt x="471" y="554"/>
                    </a:lnTo>
                    <a:lnTo>
                      <a:pt x="472" y="553"/>
                    </a:lnTo>
                    <a:lnTo>
                      <a:pt x="472" y="551"/>
                    </a:lnTo>
                    <a:lnTo>
                      <a:pt x="472" y="550"/>
                    </a:lnTo>
                    <a:lnTo>
                      <a:pt x="472" y="548"/>
                    </a:lnTo>
                    <a:lnTo>
                      <a:pt x="472" y="546"/>
                    </a:lnTo>
                    <a:lnTo>
                      <a:pt x="472" y="545"/>
                    </a:lnTo>
                    <a:lnTo>
                      <a:pt x="474" y="543"/>
                    </a:lnTo>
                    <a:lnTo>
                      <a:pt x="474" y="542"/>
                    </a:lnTo>
                    <a:lnTo>
                      <a:pt x="474" y="540"/>
                    </a:lnTo>
                    <a:lnTo>
                      <a:pt x="474" y="539"/>
                    </a:lnTo>
                    <a:lnTo>
                      <a:pt x="474" y="537"/>
                    </a:lnTo>
                    <a:lnTo>
                      <a:pt x="476" y="535"/>
                    </a:lnTo>
                    <a:lnTo>
                      <a:pt x="476" y="532"/>
                    </a:lnTo>
                    <a:lnTo>
                      <a:pt x="476" y="531"/>
                    </a:lnTo>
                    <a:lnTo>
                      <a:pt x="477" y="527"/>
                    </a:lnTo>
                    <a:lnTo>
                      <a:pt x="477" y="526"/>
                    </a:lnTo>
                    <a:lnTo>
                      <a:pt x="477" y="524"/>
                    </a:lnTo>
                    <a:lnTo>
                      <a:pt x="477" y="521"/>
                    </a:lnTo>
                    <a:lnTo>
                      <a:pt x="479" y="520"/>
                    </a:lnTo>
                    <a:lnTo>
                      <a:pt x="479" y="518"/>
                    </a:lnTo>
                    <a:lnTo>
                      <a:pt x="479" y="516"/>
                    </a:lnTo>
                    <a:lnTo>
                      <a:pt x="479" y="515"/>
                    </a:lnTo>
                    <a:lnTo>
                      <a:pt x="479" y="513"/>
                    </a:lnTo>
                    <a:lnTo>
                      <a:pt x="480" y="512"/>
                    </a:lnTo>
                    <a:lnTo>
                      <a:pt x="480" y="510"/>
                    </a:lnTo>
                    <a:lnTo>
                      <a:pt x="480" y="508"/>
                    </a:lnTo>
                    <a:lnTo>
                      <a:pt x="480" y="507"/>
                    </a:lnTo>
                    <a:lnTo>
                      <a:pt x="482" y="507"/>
                    </a:lnTo>
                    <a:lnTo>
                      <a:pt x="482" y="505"/>
                    </a:lnTo>
                    <a:lnTo>
                      <a:pt x="482" y="504"/>
                    </a:lnTo>
                    <a:lnTo>
                      <a:pt x="482" y="502"/>
                    </a:lnTo>
                    <a:lnTo>
                      <a:pt x="482" y="501"/>
                    </a:lnTo>
                    <a:lnTo>
                      <a:pt x="482" y="499"/>
                    </a:lnTo>
                    <a:lnTo>
                      <a:pt x="482" y="497"/>
                    </a:lnTo>
                    <a:lnTo>
                      <a:pt x="482" y="496"/>
                    </a:lnTo>
                    <a:lnTo>
                      <a:pt x="482" y="494"/>
                    </a:lnTo>
                    <a:lnTo>
                      <a:pt x="483" y="493"/>
                    </a:lnTo>
                    <a:lnTo>
                      <a:pt x="483" y="491"/>
                    </a:lnTo>
                    <a:lnTo>
                      <a:pt x="483" y="489"/>
                    </a:lnTo>
                    <a:lnTo>
                      <a:pt x="483" y="488"/>
                    </a:lnTo>
                    <a:lnTo>
                      <a:pt x="483" y="486"/>
                    </a:lnTo>
                    <a:lnTo>
                      <a:pt x="483" y="485"/>
                    </a:lnTo>
                    <a:lnTo>
                      <a:pt x="483" y="483"/>
                    </a:lnTo>
                    <a:lnTo>
                      <a:pt x="485" y="483"/>
                    </a:lnTo>
                    <a:lnTo>
                      <a:pt x="485" y="482"/>
                    </a:lnTo>
                    <a:lnTo>
                      <a:pt x="485" y="480"/>
                    </a:lnTo>
                    <a:lnTo>
                      <a:pt x="485" y="478"/>
                    </a:lnTo>
                    <a:lnTo>
                      <a:pt x="485" y="477"/>
                    </a:lnTo>
                    <a:lnTo>
                      <a:pt x="485" y="475"/>
                    </a:lnTo>
                    <a:lnTo>
                      <a:pt x="485" y="474"/>
                    </a:lnTo>
                    <a:lnTo>
                      <a:pt x="487" y="472"/>
                    </a:lnTo>
                    <a:lnTo>
                      <a:pt x="487" y="470"/>
                    </a:lnTo>
                    <a:lnTo>
                      <a:pt x="487" y="469"/>
                    </a:lnTo>
                    <a:lnTo>
                      <a:pt x="487" y="467"/>
                    </a:lnTo>
                    <a:lnTo>
                      <a:pt x="487" y="466"/>
                    </a:lnTo>
                    <a:lnTo>
                      <a:pt x="487" y="464"/>
                    </a:lnTo>
                    <a:lnTo>
                      <a:pt x="487" y="463"/>
                    </a:lnTo>
                    <a:lnTo>
                      <a:pt x="487" y="461"/>
                    </a:lnTo>
                    <a:lnTo>
                      <a:pt x="487" y="459"/>
                    </a:lnTo>
                    <a:lnTo>
                      <a:pt x="487" y="458"/>
                    </a:lnTo>
                    <a:lnTo>
                      <a:pt x="487" y="456"/>
                    </a:lnTo>
                    <a:lnTo>
                      <a:pt x="487" y="455"/>
                    </a:lnTo>
                    <a:lnTo>
                      <a:pt x="487" y="453"/>
                    </a:lnTo>
                    <a:lnTo>
                      <a:pt x="488" y="451"/>
                    </a:lnTo>
                    <a:lnTo>
                      <a:pt x="488" y="450"/>
                    </a:lnTo>
                    <a:lnTo>
                      <a:pt x="488" y="448"/>
                    </a:lnTo>
                    <a:lnTo>
                      <a:pt x="488" y="447"/>
                    </a:lnTo>
                    <a:lnTo>
                      <a:pt x="488" y="445"/>
                    </a:lnTo>
                    <a:lnTo>
                      <a:pt x="488" y="443"/>
                    </a:lnTo>
                    <a:lnTo>
                      <a:pt x="488" y="442"/>
                    </a:lnTo>
                    <a:lnTo>
                      <a:pt x="488" y="440"/>
                    </a:lnTo>
                    <a:lnTo>
                      <a:pt x="488" y="439"/>
                    </a:lnTo>
                    <a:lnTo>
                      <a:pt x="488" y="437"/>
                    </a:lnTo>
                    <a:lnTo>
                      <a:pt x="488" y="436"/>
                    </a:lnTo>
                    <a:lnTo>
                      <a:pt x="488" y="434"/>
                    </a:lnTo>
                    <a:lnTo>
                      <a:pt x="488" y="432"/>
                    </a:lnTo>
                    <a:lnTo>
                      <a:pt x="488" y="431"/>
                    </a:lnTo>
                    <a:lnTo>
                      <a:pt x="488" y="429"/>
                    </a:lnTo>
                    <a:lnTo>
                      <a:pt x="488" y="428"/>
                    </a:lnTo>
                    <a:lnTo>
                      <a:pt x="488" y="426"/>
                    </a:lnTo>
                    <a:lnTo>
                      <a:pt x="488" y="424"/>
                    </a:lnTo>
                    <a:lnTo>
                      <a:pt x="488" y="423"/>
                    </a:lnTo>
                    <a:lnTo>
                      <a:pt x="488" y="421"/>
                    </a:lnTo>
                    <a:lnTo>
                      <a:pt x="488" y="420"/>
                    </a:lnTo>
                    <a:lnTo>
                      <a:pt x="488" y="418"/>
                    </a:lnTo>
                    <a:lnTo>
                      <a:pt x="488" y="417"/>
                    </a:lnTo>
                    <a:lnTo>
                      <a:pt x="488" y="415"/>
                    </a:lnTo>
                    <a:lnTo>
                      <a:pt x="490" y="412"/>
                    </a:lnTo>
                    <a:lnTo>
                      <a:pt x="490" y="410"/>
                    </a:lnTo>
                    <a:lnTo>
                      <a:pt x="490" y="409"/>
                    </a:lnTo>
                    <a:lnTo>
                      <a:pt x="490" y="405"/>
                    </a:lnTo>
                    <a:lnTo>
                      <a:pt x="490" y="404"/>
                    </a:lnTo>
                    <a:lnTo>
                      <a:pt x="490" y="402"/>
                    </a:lnTo>
                    <a:lnTo>
                      <a:pt x="490" y="401"/>
                    </a:lnTo>
                    <a:lnTo>
                      <a:pt x="490" y="399"/>
                    </a:lnTo>
                    <a:lnTo>
                      <a:pt x="490" y="398"/>
                    </a:lnTo>
                    <a:lnTo>
                      <a:pt x="490" y="396"/>
                    </a:lnTo>
                    <a:lnTo>
                      <a:pt x="490" y="394"/>
                    </a:lnTo>
                    <a:lnTo>
                      <a:pt x="488" y="393"/>
                    </a:lnTo>
                    <a:lnTo>
                      <a:pt x="488" y="391"/>
                    </a:lnTo>
                    <a:lnTo>
                      <a:pt x="487" y="388"/>
                    </a:lnTo>
                    <a:lnTo>
                      <a:pt x="487" y="386"/>
                    </a:lnTo>
                    <a:lnTo>
                      <a:pt x="485" y="385"/>
                    </a:lnTo>
                    <a:lnTo>
                      <a:pt x="485" y="383"/>
                    </a:lnTo>
                    <a:lnTo>
                      <a:pt x="483" y="380"/>
                    </a:lnTo>
                    <a:lnTo>
                      <a:pt x="482" y="379"/>
                    </a:lnTo>
                    <a:lnTo>
                      <a:pt x="482" y="377"/>
                    </a:lnTo>
                    <a:lnTo>
                      <a:pt x="480" y="374"/>
                    </a:lnTo>
                    <a:lnTo>
                      <a:pt x="480" y="371"/>
                    </a:lnTo>
                    <a:lnTo>
                      <a:pt x="479" y="367"/>
                    </a:lnTo>
                    <a:lnTo>
                      <a:pt x="477" y="364"/>
                    </a:lnTo>
                    <a:lnTo>
                      <a:pt x="477" y="361"/>
                    </a:lnTo>
                    <a:lnTo>
                      <a:pt x="476" y="360"/>
                    </a:lnTo>
                    <a:lnTo>
                      <a:pt x="476" y="356"/>
                    </a:lnTo>
                    <a:lnTo>
                      <a:pt x="474" y="355"/>
                    </a:lnTo>
                    <a:lnTo>
                      <a:pt x="474" y="352"/>
                    </a:lnTo>
                    <a:lnTo>
                      <a:pt x="472" y="350"/>
                    </a:lnTo>
                    <a:lnTo>
                      <a:pt x="472" y="348"/>
                    </a:lnTo>
                    <a:lnTo>
                      <a:pt x="472" y="347"/>
                    </a:lnTo>
                    <a:lnTo>
                      <a:pt x="472" y="345"/>
                    </a:lnTo>
                    <a:lnTo>
                      <a:pt x="472" y="342"/>
                    </a:lnTo>
                    <a:lnTo>
                      <a:pt x="472" y="341"/>
                    </a:lnTo>
                    <a:lnTo>
                      <a:pt x="472" y="339"/>
                    </a:lnTo>
                    <a:lnTo>
                      <a:pt x="472" y="337"/>
                    </a:lnTo>
                    <a:lnTo>
                      <a:pt x="472" y="336"/>
                    </a:lnTo>
                    <a:lnTo>
                      <a:pt x="472" y="333"/>
                    </a:lnTo>
                    <a:lnTo>
                      <a:pt x="472" y="331"/>
                    </a:lnTo>
                    <a:lnTo>
                      <a:pt x="472" y="329"/>
                    </a:lnTo>
                    <a:lnTo>
                      <a:pt x="472" y="328"/>
                    </a:lnTo>
                    <a:lnTo>
                      <a:pt x="472" y="326"/>
                    </a:lnTo>
                    <a:lnTo>
                      <a:pt x="472" y="325"/>
                    </a:lnTo>
                    <a:lnTo>
                      <a:pt x="472" y="323"/>
                    </a:lnTo>
                    <a:lnTo>
                      <a:pt x="472" y="322"/>
                    </a:lnTo>
                    <a:lnTo>
                      <a:pt x="471" y="309"/>
                    </a:lnTo>
                    <a:lnTo>
                      <a:pt x="471" y="304"/>
                    </a:lnTo>
                    <a:lnTo>
                      <a:pt x="471" y="296"/>
                    </a:lnTo>
                    <a:lnTo>
                      <a:pt x="471" y="290"/>
                    </a:lnTo>
                    <a:lnTo>
                      <a:pt x="471" y="280"/>
                    </a:lnTo>
                    <a:lnTo>
                      <a:pt x="471" y="272"/>
                    </a:lnTo>
                    <a:lnTo>
                      <a:pt x="471" y="261"/>
                    </a:lnTo>
                    <a:lnTo>
                      <a:pt x="471" y="260"/>
                    </a:lnTo>
                    <a:lnTo>
                      <a:pt x="471" y="258"/>
                    </a:lnTo>
                    <a:lnTo>
                      <a:pt x="471" y="257"/>
                    </a:lnTo>
                    <a:lnTo>
                      <a:pt x="471" y="253"/>
                    </a:lnTo>
                    <a:lnTo>
                      <a:pt x="471" y="252"/>
                    </a:lnTo>
                    <a:lnTo>
                      <a:pt x="471" y="249"/>
                    </a:lnTo>
                    <a:lnTo>
                      <a:pt x="469" y="245"/>
                    </a:lnTo>
                    <a:lnTo>
                      <a:pt x="469" y="244"/>
                    </a:lnTo>
                    <a:lnTo>
                      <a:pt x="469" y="242"/>
                    </a:lnTo>
                    <a:lnTo>
                      <a:pt x="469" y="241"/>
                    </a:lnTo>
                    <a:lnTo>
                      <a:pt x="469" y="239"/>
                    </a:lnTo>
                    <a:close/>
                  </a:path>
                </a:pathLst>
              </a:custGeom>
              <a:solidFill>
                <a:srgbClr val="B4D7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72" name="Freeform 52"/>
              <p:cNvSpPr>
                <a:spLocks/>
              </p:cNvSpPr>
              <p:nvPr/>
            </p:nvSpPr>
            <p:spPr bwMode="auto">
              <a:xfrm>
                <a:off x="3665" y="1372"/>
                <a:ext cx="469" cy="428"/>
              </a:xfrm>
              <a:custGeom>
                <a:avLst/>
                <a:gdLst>
                  <a:gd name="T0" fmla="*/ 447 w 469"/>
                  <a:gd name="T1" fmla="*/ 212 h 428"/>
                  <a:gd name="T2" fmla="*/ 385 w 469"/>
                  <a:gd name="T3" fmla="*/ 228 h 428"/>
                  <a:gd name="T4" fmla="*/ 371 w 469"/>
                  <a:gd name="T5" fmla="*/ 239 h 428"/>
                  <a:gd name="T6" fmla="*/ 363 w 469"/>
                  <a:gd name="T7" fmla="*/ 261 h 428"/>
                  <a:gd name="T8" fmla="*/ 336 w 469"/>
                  <a:gd name="T9" fmla="*/ 260 h 428"/>
                  <a:gd name="T10" fmla="*/ 323 w 469"/>
                  <a:gd name="T11" fmla="*/ 264 h 428"/>
                  <a:gd name="T12" fmla="*/ 306 w 469"/>
                  <a:gd name="T13" fmla="*/ 274 h 428"/>
                  <a:gd name="T14" fmla="*/ 287 w 469"/>
                  <a:gd name="T15" fmla="*/ 287 h 428"/>
                  <a:gd name="T16" fmla="*/ 271 w 469"/>
                  <a:gd name="T17" fmla="*/ 299 h 428"/>
                  <a:gd name="T18" fmla="*/ 255 w 469"/>
                  <a:gd name="T19" fmla="*/ 304 h 428"/>
                  <a:gd name="T20" fmla="*/ 260 w 469"/>
                  <a:gd name="T21" fmla="*/ 323 h 428"/>
                  <a:gd name="T22" fmla="*/ 249 w 469"/>
                  <a:gd name="T23" fmla="*/ 359 h 428"/>
                  <a:gd name="T24" fmla="*/ 236 w 469"/>
                  <a:gd name="T25" fmla="*/ 382 h 428"/>
                  <a:gd name="T26" fmla="*/ 205 w 469"/>
                  <a:gd name="T27" fmla="*/ 426 h 428"/>
                  <a:gd name="T28" fmla="*/ 179 w 469"/>
                  <a:gd name="T29" fmla="*/ 426 h 428"/>
                  <a:gd name="T30" fmla="*/ 156 w 469"/>
                  <a:gd name="T31" fmla="*/ 424 h 428"/>
                  <a:gd name="T32" fmla="*/ 140 w 469"/>
                  <a:gd name="T33" fmla="*/ 418 h 428"/>
                  <a:gd name="T34" fmla="*/ 130 w 469"/>
                  <a:gd name="T35" fmla="*/ 396 h 428"/>
                  <a:gd name="T36" fmla="*/ 114 w 469"/>
                  <a:gd name="T37" fmla="*/ 386 h 428"/>
                  <a:gd name="T38" fmla="*/ 97 w 469"/>
                  <a:gd name="T39" fmla="*/ 385 h 428"/>
                  <a:gd name="T40" fmla="*/ 95 w 469"/>
                  <a:gd name="T41" fmla="*/ 364 h 428"/>
                  <a:gd name="T42" fmla="*/ 80 w 469"/>
                  <a:gd name="T43" fmla="*/ 348 h 428"/>
                  <a:gd name="T44" fmla="*/ 65 w 469"/>
                  <a:gd name="T45" fmla="*/ 331 h 428"/>
                  <a:gd name="T46" fmla="*/ 56 w 469"/>
                  <a:gd name="T47" fmla="*/ 313 h 428"/>
                  <a:gd name="T48" fmla="*/ 40 w 469"/>
                  <a:gd name="T49" fmla="*/ 294 h 428"/>
                  <a:gd name="T50" fmla="*/ 21 w 469"/>
                  <a:gd name="T51" fmla="*/ 285 h 428"/>
                  <a:gd name="T52" fmla="*/ 0 w 469"/>
                  <a:gd name="T53" fmla="*/ 275 h 428"/>
                  <a:gd name="T54" fmla="*/ 8 w 469"/>
                  <a:gd name="T55" fmla="*/ 258 h 428"/>
                  <a:gd name="T56" fmla="*/ 19 w 469"/>
                  <a:gd name="T57" fmla="*/ 236 h 428"/>
                  <a:gd name="T58" fmla="*/ 30 w 469"/>
                  <a:gd name="T59" fmla="*/ 214 h 428"/>
                  <a:gd name="T60" fmla="*/ 40 w 469"/>
                  <a:gd name="T61" fmla="*/ 196 h 428"/>
                  <a:gd name="T62" fmla="*/ 54 w 469"/>
                  <a:gd name="T63" fmla="*/ 177 h 428"/>
                  <a:gd name="T64" fmla="*/ 27 w 469"/>
                  <a:gd name="T65" fmla="*/ 139 h 428"/>
                  <a:gd name="T66" fmla="*/ 23 w 469"/>
                  <a:gd name="T67" fmla="*/ 111 h 428"/>
                  <a:gd name="T68" fmla="*/ 49 w 469"/>
                  <a:gd name="T69" fmla="*/ 96 h 428"/>
                  <a:gd name="T70" fmla="*/ 72 w 469"/>
                  <a:gd name="T71" fmla="*/ 92 h 428"/>
                  <a:gd name="T72" fmla="*/ 78 w 469"/>
                  <a:gd name="T73" fmla="*/ 76 h 428"/>
                  <a:gd name="T74" fmla="*/ 97 w 469"/>
                  <a:gd name="T75" fmla="*/ 65 h 428"/>
                  <a:gd name="T76" fmla="*/ 116 w 469"/>
                  <a:gd name="T77" fmla="*/ 63 h 428"/>
                  <a:gd name="T78" fmla="*/ 146 w 469"/>
                  <a:gd name="T79" fmla="*/ 46 h 428"/>
                  <a:gd name="T80" fmla="*/ 160 w 469"/>
                  <a:gd name="T81" fmla="*/ 30 h 428"/>
                  <a:gd name="T82" fmla="*/ 178 w 469"/>
                  <a:gd name="T83" fmla="*/ 19 h 428"/>
                  <a:gd name="T84" fmla="*/ 197 w 469"/>
                  <a:gd name="T85" fmla="*/ 28 h 428"/>
                  <a:gd name="T86" fmla="*/ 219 w 469"/>
                  <a:gd name="T87" fmla="*/ 33 h 428"/>
                  <a:gd name="T88" fmla="*/ 209 w 469"/>
                  <a:gd name="T89" fmla="*/ 46 h 428"/>
                  <a:gd name="T90" fmla="*/ 213 w 469"/>
                  <a:gd name="T91" fmla="*/ 65 h 428"/>
                  <a:gd name="T92" fmla="*/ 236 w 469"/>
                  <a:gd name="T93" fmla="*/ 68 h 428"/>
                  <a:gd name="T94" fmla="*/ 235 w 469"/>
                  <a:gd name="T95" fmla="*/ 47 h 428"/>
                  <a:gd name="T96" fmla="*/ 254 w 469"/>
                  <a:gd name="T97" fmla="*/ 46 h 428"/>
                  <a:gd name="T98" fmla="*/ 279 w 469"/>
                  <a:gd name="T99" fmla="*/ 46 h 428"/>
                  <a:gd name="T100" fmla="*/ 285 w 469"/>
                  <a:gd name="T101" fmla="*/ 22 h 428"/>
                  <a:gd name="T102" fmla="*/ 282 w 469"/>
                  <a:gd name="T103" fmla="*/ 0 h 428"/>
                  <a:gd name="T104" fmla="*/ 284 w 469"/>
                  <a:gd name="T105" fmla="*/ 63 h 428"/>
                  <a:gd name="T106" fmla="*/ 301 w 469"/>
                  <a:gd name="T107" fmla="*/ 73 h 428"/>
                  <a:gd name="T108" fmla="*/ 323 w 469"/>
                  <a:gd name="T109" fmla="*/ 49 h 428"/>
                  <a:gd name="T110" fmla="*/ 338 w 469"/>
                  <a:gd name="T111" fmla="*/ 31 h 428"/>
                  <a:gd name="T112" fmla="*/ 355 w 469"/>
                  <a:gd name="T113" fmla="*/ 31 h 428"/>
                  <a:gd name="T114" fmla="*/ 363 w 469"/>
                  <a:gd name="T115" fmla="*/ 49 h 428"/>
                  <a:gd name="T116" fmla="*/ 376 w 469"/>
                  <a:gd name="T117" fmla="*/ 66 h 428"/>
                  <a:gd name="T118" fmla="*/ 390 w 469"/>
                  <a:gd name="T119" fmla="*/ 90 h 428"/>
                  <a:gd name="T120" fmla="*/ 406 w 469"/>
                  <a:gd name="T121" fmla="*/ 114 h 428"/>
                  <a:gd name="T122" fmla="*/ 433 w 469"/>
                  <a:gd name="T123" fmla="*/ 15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9" h="428">
                    <a:moveTo>
                      <a:pt x="469" y="204"/>
                    </a:moveTo>
                    <a:lnTo>
                      <a:pt x="468" y="206"/>
                    </a:lnTo>
                    <a:lnTo>
                      <a:pt x="466" y="206"/>
                    </a:lnTo>
                    <a:lnTo>
                      <a:pt x="464" y="206"/>
                    </a:lnTo>
                    <a:lnTo>
                      <a:pt x="464" y="207"/>
                    </a:lnTo>
                    <a:lnTo>
                      <a:pt x="463" y="207"/>
                    </a:lnTo>
                    <a:lnTo>
                      <a:pt x="461" y="207"/>
                    </a:lnTo>
                    <a:lnTo>
                      <a:pt x="460" y="207"/>
                    </a:lnTo>
                    <a:lnTo>
                      <a:pt x="458" y="207"/>
                    </a:lnTo>
                    <a:lnTo>
                      <a:pt x="458" y="209"/>
                    </a:lnTo>
                    <a:lnTo>
                      <a:pt x="457" y="209"/>
                    </a:lnTo>
                    <a:lnTo>
                      <a:pt x="455" y="209"/>
                    </a:lnTo>
                    <a:lnTo>
                      <a:pt x="453" y="210"/>
                    </a:lnTo>
                    <a:lnTo>
                      <a:pt x="452" y="210"/>
                    </a:lnTo>
                    <a:lnTo>
                      <a:pt x="449" y="210"/>
                    </a:lnTo>
                    <a:lnTo>
                      <a:pt x="447" y="212"/>
                    </a:lnTo>
                    <a:lnTo>
                      <a:pt x="444" y="212"/>
                    </a:lnTo>
                    <a:lnTo>
                      <a:pt x="442" y="214"/>
                    </a:lnTo>
                    <a:lnTo>
                      <a:pt x="438" y="215"/>
                    </a:lnTo>
                    <a:lnTo>
                      <a:pt x="436" y="215"/>
                    </a:lnTo>
                    <a:lnTo>
                      <a:pt x="433" y="215"/>
                    </a:lnTo>
                    <a:lnTo>
                      <a:pt x="431" y="217"/>
                    </a:lnTo>
                    <a:lnTo>
                      <a:pt x="428" y="218"/>
                    </a:lnTo>
                    <a:lnTo>
                      <a:pt x="426" y="218"/>
                    </a:lnTo>
                    <a:lnTo>
                      <a:pt x="426" y="217"/>
                    </a:lnTo>
                    <a:lnTo>
                      <a:pt x="422" y="220"/>
                    </a:lnTo>
                    <a:lnTo>
                      <a:pt x="407" y="223"/>
                    </a:lnTo>
                    <a:lnTo>
                      <a:pt x="407" y="225"/>
                    </a:lnTo>
                    <a:lnTo>
                      <a:pt x="406" y="225"/>
                    </a:lnTo>
                    <a:lnTo>
                      <a:pt x="388" y="226"/>
                    </a:lnTo>
                    <a:lnTo>
                      <a:pt x="387" y="228"/>
                    </a:lnTo>
                    <a:lnTo>
                      <a:pt x="385" y="228"/>
                    </a:lnTo>
                    <a:lnTo>
                      <a:pt x="385" y="229"/>
                    </a:lnTo>
                    <a:lnTo>
                      <a:pt x="384" y="229"/>
                    </a:lnTo>
                    <a:lnTo>
                      <a:pt x="384" y="231"/>
                    </a:lnTo>
                    <a:lnTo>
                      <a:pt x="382" y="231"/>
                    </a:lnTo>
                    <a:lnTo>
                      <a:pt x="382" y="233"/>
                    </a:lnTo>
                    <a:lnTo>
                      <a:pt x="381" y="233"/>
                    </a:lnTo>
                    <a:lnTo>
                      <a:pt x="381" y="234"/>
                    </a:lnTo>
                    <a:lnTo>
                      <a:pt x="379" y="234"/>
                    </a:lnTo>
                    <a:lnTo>
                      <a:pt x="379" y="236"/>
                    </a:lnTo>
                    <a:lnTo>
                      <a:pt x="377" y="236"/>
                    </a:lnTo>
                    <a:lnTo>
                      <a:pt x="377" y="237"/>
                    </a:lnTo>
                    <a:lnTo>
                      <a:pt x="376" y="237"/>
                    </a:lnTo>
                    <a:lnTo>
                      <a:pt x="374" y="239"/>
                    </a:lnTo>
                    <a:lnTo>
                      <a:pt x="373" y="241"/>
                    </a:lnTo>
                    <a:lnTo>
                      <a:pt x="371" y="241"/>
                    </a:lnTo>
                    <a:lnTo>
                      <a:pt x="371" y="239"/>
                    </a:lnTo>
                    <a:lnTo>
                      <a:pt x="369" y="239"/>
                    </a:lnTo>
                    <a:lnTo>
                      <a:pt x="369" y="241"/>
                    </a:lnTo>
                    <a:lnTo>
                      <a:pt x="369" y="242"/>
                    </a:lnTo>
                    <a:lnTo>
                      <a:pt x="369" y="241"/>
                    </a:lnTo>
                    <a:lnTo>
                      <a:pt x="368" y="241"/>
                    </a:lnTo>
                    <a:lnTo>
                      <a:pt x="366" y="242"/>
                    </a:lnTo>
                    <a:lnTo>
                      <a:pt x="365" y="242"/>
                    </a:lnTo>
                    <a:lnTo>
                      <a:pt x="363" y="242"/>
                    </a:lnTo>
                    <a:lnTo>
                      <a:pt x="363" y="245"/>
                    </a:lnTo>
                    <a:lnTo>
                      <a:pt x="363" y="249"/>
                    </a:lnTo>
                    <a:lnTo>
                      <a:pt x="363" y="250"/>
                    </a:lnTo>
                    <a:lnTo>
                      <a:pt x="363" y="252"/>
                    </a:lnTo>
                    <a:lnTo>
                      <a:pt x="363" y="255"/>
                    </a:lnTo>
                    <a:lnTo>
                      <a:pt x="363" y="256"/>
                    </a:lnTo>
                    <a:lnTo>
                      <a:pt x="363" y="260"/>
                    </a:lnTo>
                    <a:lnTo>
                      <a:pt x="363" y="261"/>
                    </a:lnTo>
                    <a:lnTo>
                      <a:pt x="360" y="261"/>
                    </a:lnTo>
                    <a:lnTo>
                      <a:pt x="355" y="260"/>
                    </a:lnTo>
                    <a:lnTo>
                      <a:pt x="352" y="258"/>
                    </a:lnTo>
                    <a:lnTo>
                      <a:pt x="349" y="258"/>
                    </a:lnTo>
                    <a:lnTo>
                      <a:pt x="347" y="258"/>
                    </a:lnTo>
                    <a:lnTo>
                      <a:pt x="346" y="256"/>
                    </a:lnTo>
                    <a:lnTo>
                      <a:pt x="344" y="258"/>
                    </a:lnTo>
                    <a:lnTo>
                      <a:pt x="342" y="256"/>
                    </a:lnTo>
                    <a:lnTo>
                      <a:pt x="342" y="258"/>
                    </a:lnTo>
                    <a:lnTo>
                      <a:pt x="341" y="258"/>
                    </a:lnTo>
                    <a:lnTo>
                      <a:pt x="341" y="260"/>
                    </a:lnTo>
                    <a:lnTo>
                      <a:pt x="339" y="260"/>
                    </a:lnTo>
                    <a:lnTo>
                      <a:pt x="339" y="258"/>
                    </a:lnTo>
                    <a:lnTo>
                      <a:pt x="338" y="258"/>
                    </a:lnTo>
                    <a:lnTo>
                      <a:pt x="338" y="260"/>
                    </a:lnTo>
                    <a:lnTo>
                      <a:pt x="336" y="260"/>
                    </a:lnTo>
                    <a:lnTo>
                      <a:pt x="336" y="261"/>
                    </a:lnTo>
                    <a:lnTo>
                      <a:pt x="335" y="261"/>
                    </a:lnTo>
                    <a:lnTo>
                      <a:pt x="335" y="263"/>
                    </a:lnTo>
                    <a:lnTo>
                      <a:pt x="335" y="264"/>
                    </a:lnTo>
                    <a:lnTo>
                      <a:pt x="333" y="263"/>
                    </a:lnTo>
                    <a:lnTo>
                      <a:pt x="333" y="264"/>
                    </a:lnTo>
                    <a:lnTo>
                      <a:pt x="331" y="264"/>
                    </a:lnTo>
                    <a:lnTo>
                      <a:pt x="331" y="266"/>
                    </a:lnTo>
                    <a:lnTo>
                      <a:pt x="331" y="268"/>
                    </a:lnTo>
                    <a:lnTo>
                      <a:pt x="330" y="268"/>
                    </a:lnTo>
                    <a:lnTo>
                      <a:pt x="328" y="268"/>
                    </a:lnTo>
                    <a:lnTo>
                      <a:pt x="327" y="268"/>
                    </a:lnTo>
                    <a:lnTo>
                      <a:pt x="325" y="268"/>
                    </a:lnTo>
                    <a:lnTo>
                      <a:pt x="323" y="268"/>
                    </a:lnTo>
                    <a:lnTo>
                      <a:pt x="323" y="266"/>
                    </a:lnTo>
                    <a:lnTo>
                      <a:pt x="323" y="264"/>
                    </a:lnTo>
                    <a:lnTo>
                      <a:pt x="322" y="264"/>
                    </a:lnTo>
                    <a:lnTo>
                      <a:pt x="320" y="264"/>
                    </a:lnTo>
                    <a:lnTo>
                      <a:pt x="319" y="263"/>
                    </a:lnTo>
                    <a:lnTo>
                      <a:pt x="317" y="263"/>
                    </a:lnTo>
                    <a:lnTo>
                      <a:pt x="316" y="261"/>
                    </a:lnTo>
                    <a:lnTo>
                      <a:pt x="314" y="263"/>
                    </a:lnTo>
                    <a:lnTo>
                      <a:pt x="312" y="263"/>
                    </a:lnTo>
                    <a:lnTo>
                      <a:pt x="311" y="263"/>
                    </a:lnTo>
                    <a:lnTo>
                      <a:pt x="311" y="264"/>
                    </a:lnTo>
                    <a:lnTo>
                      <a:pt x="309" y="266"/>
                    </a:lnTo>
                    <a:lnTo>
                      <a:pt x="309" y="268"/>
                    </a:lnTo>
                    <a:lnTo>
                      <a:pt x="308" y="268"/>
                    </a:lnTo>
                    <a:lnTo>
                      <a:pt x="308" y="269"/>
                    </a:lnTo>
                    <a:lnTo>
                      <a:pt x="308" y="271"/>
                    </a:lnTo>
                    <a:lnTo>
                      <a:pt x="306" y="272"/>
                    </a:lnTo>
                    <a:lnTo>
                      <a:pt x="306" y="274"/>
                    </a:lnTo>
                    <a:lnTo>
                      <a:pt x="306" y="275"/>
                    </a:lnTo>
                    <a:lnTo>
                      <a:pt x="304" y="275"/>
                    </a:lnTo>
                    <a:lnTo>
                      <a:pt x="303" y="277"/>
                    </a:lnTo>
                    <a:lnTo>
                      <a:pt x="301" y="279"/>
                    </a:lnTo>
                    <a:lnTo>
                      <a:pt x="300" y="279"/>
                    </a:lnTo>
                    <a:lnTo>
                      <a:pt x="298" y="279"/>
                    </a:lnTo>
                    <a:lnTo>
                      <a:pt x="297" y="279"/>
                    </a:lnTo>
                    <a:lnTo>
                      <a:pt x="295" y="280"/>
                    </a:lnTo>
                    <a:lnTo>
                      <a:pt x="293" y="280"/>
                    </a:lnTo>
                    <a:lnTo>
                      <a:pt x="292" y="280"/>
                    </a:lnTo>
                    <a:lnTo>
                      <a:pt x="292" y="282"/>
                    </a:lnTo>
                    <a:lnTo>
                      <a:pt x="290" y="283"/>
                    </a:lnTo>
                    <a:lnTo>
                      <a:pt x="290" y="285"/>
                    </a:lnTo>
                    <a:lnTo>
                      <a:pt x="289" y="285"/>
                    </a:lnTo>
                    <a:lnTo>
                      <a:pt x="289" y="287"/>
                    </a:lnTo>
                    <a:lnTo>
                      <a:pt x="287" y="287"/>
                    </a:lnTo>
                    <a:lnTo>
                      <a:pt x="287" y="288"/>
                    </a:lnTo>
                    <a:lnTo>
                      <a:pt x="285" y="288"/>
                    </a:lnTo>
                    <a:lnTo>
                      <a:pt x="284" y="290"/>
                    </a:lnTo>
                    <a:lnTo>
                      <a:pt x="282" y="290"/>
                    </a:lnTo>
                    <a:lnTo>
                      <a:pt x="282" y="291"/>
                    </a:lnTo>
                    <a:lnTo>
                      <a:pt x="281" y="291"/>
                    </a:lnTo>
                    <a:lnTo>
                      <a:pt x="279" y="291"/>
                    </a:lnTo>
                    <a:lnTo>
                      <a:pt x="279" y="293"/>
                    </a:lnTo>
                    <a:lnTo>
                      <a:pt x="278" y="293"/>
                    </a:lnTo>
                    <a:lnTo>
                      <a:pt x="278" y="294"/>
                    </a:lnTo>
                    <a:lnTo>
                      <a:pt x="276" y="294"/>
                    </a:lnTo>
                    <a:lnTo>
                      <a:pt x="276" y="296"/>
                    </a:lnTo>
                    <a:lnTo>
                      <a:pt x="274" y="296"/>
                    </a:lnTo>
                    <a:lnTo>
                      <a:pt x="274" y="298"/>
                    </a:lnTo>
                    <a:lnTo>
                      <a:pt x="273" y="298"/>
                    </a:lnTo>
                    <a:lnTo>
                      <a:pt x="271" y="299"/>
                    </a:lnTo>
                    <a:lnTo>
                      <a:pt x="270" y="299"/>
                    </a:lnTo>
                    <a:lnTo>
                      <a:pt x="268" y="301"/>
                    </a:lnTo>
                    <a:lnTo>
                      <a:pt x="266" y="301"/>
                    </a:lnTo>
                    <a:lnTo>
                      <a:pt x="266" y="302"/>
                    </a:lnTo>
                    <a:lnTo>
                      <a:pt x="265" y="302"/>
                    </a:lnTo>
                    <a:lnTo>
                      <a:pt x="263" y="302"/>
                    </a:lnTo>
                    <a:lnTo>
                      <a:pt x="262" y="302"/>
                    </a:lnTo>
                    <a:lnTo>
                      <a:pt x="262" y="304"/>
                    </a:lnTo>
                    <a:lnTo>
                      <a:pt x="262" y="306"/>
                    </a:lnTo>
                    <a:lnTo>
                      <a:pt x="260" y="306"/>
                    </a:lnTo>
                    <a:lnTo>
                      <a:pt x="259" y="304"/>
                    </a:lnTo>
                    <a:lnTo>
                      <a:pt x="259" y="302"/>
                    </a:lnTo>
                    <a:lnTo>
                      <a:pt x="259" y="301"/>
                    </a:lnTo>
                    <a:lnTo>
                      <a:pt x="259" y="299"/>
                    </a:lnTo>
                    <a:lnTo>
                      <a:pt x="257" y="299"/>
                    </a:lnTo>
                    <a:lnTo>
                      <a:pt x="255" y="304"/>
                    </a:lnTo>
                    <a:lnTo>
                      <a:pt x="255" y="306"/>
                    </a:lnTo>
                    <a:lnTo>
                      <a:pt x="254" y="306"/>
                    </a:lnTo>
                    <a:lnTo>
                      <a:pt x="254" y="307"/>
                    </a:lnTo>
                    <a:lnTo>
                      <a:pt x="254" y="309"/>
                    </a:lnTo>
                    <a:lnTo>
                      <a:pt x="254" y="310"/>
                    </a:lnTo>
                    <a:lnTo>
                      <a:pt x="255" y="310"/>
                    </a:lnTo>
                    <a:lnTo>
                      <a:pt x="255" y="312"/>
                    </a:lnTo>
                    <a:lnTo>
                      <a:pt x="255" y="313"/>
                    </a:lnTo>
                    <a:lnTo>
                      <a:pt x="257" y="315"/>
                    </a:lnTo>
                    <a:lnTo>
                      <a:pt x="255" y="315"/>
                    </a:lnTo>
                    <a:lnTo>
                      <a:pt x="257" y="317"/>
                    </a:lnTo>
                    <a:lnTo>
                      <a:pt x="257" y="318"/>
                    </a:lnTo>
                    <a:lnTo>
                      <a:pt x="257" y="320"/>
                    </a:lnTo>
                    <a:lnTo>
                      <a:pt x="259" y="320"/>
                    </a:lnTo>
                    <a:lnTo>
                      <a:pt x="259" y="321"/>
                    </a:lnTo>
                    <a:lnTo>
                      <a:pt x="260" y="323"/>
                    </a:lnTo>
                    <a:lnTo>
                      <a:pt x="262" y="321"/>
                    </a:lnTo>
                    <a:lnTo>
                      <a:pt x="262" y="323"/>
                    </a:lnTo>
                    <a:lnTo>
                      <a:pt x="263" y="325"/>
                    </a:lnTo>
                    <a:lnTo>
                      <a:pt x="263" y="326"/>
                    </a:lnTo>
                    <a:lnTo>
                      <a:pt x="263" y="328"/>
                    </a:lnTo>
                    <a:lnTo>
                      <a:pt x="263" y="329"/>
                    </a:lnTo>
                    <a:lnTo>
                      <a:pt x="265" y="329"/>
                    </a:lnTo>
                    <a:lnTo>
                      <a:pt x="265" y="331"/>
                    </a:lnTo>
                    <a:lnTo>
                      <a:pt x="263" y="332"/>
                    </a:lnTo>
                    <a:lnTo>
                      <a:pt x="262" y="334"/>
                    </a:lnTo>
                    <a:lnTo>
                      <a:pt x="260" y="337"/>
                    </a:lnTo>
                    <a:lnTo>
                      <a:pt x="259" y="342"/>
                    </a:lnTo>
                    <a:lnTo>
                      <a:pt x="255" y="347"/>
                    </a:lnTo>
                    <a:lnTo>
                      <a:pt x="254" y="351"/>
                    </a:lnTo>
                    <a:lnTo>
                      <a:pt x="251" y="355"/>
                    </a:lnTo>
                    <a:lnTo>
                      <a:pt x="249" y="359"/>
                    </a:lnTo>
                    <a:lnTo>
                      <a:pt x="246" y="364"/>
                    </a:lnTo>
                    <a:lnTo>
                      <a:pt x="244" y="364"/>
                    </a:lnTo>
                    <a:lnTo>
                      <a:pt x="244" y="366"/>
                    </a:lnTo>
                    <a:lnTo>
                      <a:pt x="243" y="366"/>
                    </a:lnTo>
                    <a:lnTo>
                      <a:pt x="243" y="367"/>
                    </a:lnTo>
                    <a:lnTo>
                      <a:pt x="243" y="369"/>
                    </a:lnTo>
                    <a:lnTo>
                      <a:pt x="241" y="369"/>
                    </a:lnTo>
                    <a:lnTo>
                      <a:pt x="241" y="370"/>
                    </a:lnTo>
                    <a:lnTo>
                      <a:pt x="241" y="372"/>
                    </a:lnTo>
                    <a:lnTo>
                      <a:pt x="240" y="374"/>
                    </a:lnTo>
                    <a:lnTo>
                      <a:pt x="240" y="375"/>
                    </a:lnTo>
                    <a:lnTo>
                      <a:pt x="238" y="375"/>
                    </a:lnTo>
                    <a:lnTo>
                      <a:pt x="238" y="377"/>
                    </a:lnTo>
                    <a:lnTo>
                      <a:pt x="238" y="378"/>
                    </a:lnTo>
                    <a:lnTo>
                      <a:pt x="236" y="380"/>
                    </a:lnTo>
                    <a:lnTo>
                      <a:pt x="236" y="382"/>
                    </a:lnTo>
                    <a:lnTo>
                      <a:pt x="235" y="383"/>
                    </a:lnTo>
                    <a:lnTo>
                      <a:pt x="233" y="385"/>
                    </a:lnTo>
                    <a:lnTo>
                      <a:pt x="232" y="388"/>
                    </a:lnTo>
                    <a:lnTo>
                      <a:pt x="230" y="393"/>
                    </a:lnTo>
                    <a:lnTo>
                      <a:pt x="227" y="397"/>
                    </a:lnTo>
                    <a:lnTo>
                      <a:pt x="225" y="402"/>
                    </a:lnTo>
                    <a:lnTo>
                      <a:pt x="222" y="407"/>
                    </a:lnTo>
                    <a:lnTo>
                      <a:pt x="221" y="412"/>
                    </a:lnTo>
                    <a:lnTo>
                      <a:pt x="219" y="415"/>
                    </a:lnTo>
                    <a:lnTo>
                      <a:pt x="214" y="426"/>
                    </a:lnTo>
                    <a:lnTo>
                      <a:pt x="213" y="426"/>
                    </a:lnTo>
                    <a:lnTo>
                      <a:pt x="211" y="426"/>
                    </a:lnTo>
                    <a:lnTo>
                      <a:pt x="209" y="426"/>
                    </a:lnTo>
                    <a:lnTo>
                      <a:pt x="208" y="426"/>
                    </a:lnTo>
                    <a:lnTo>
                      <a:pt x="206" y="426"/>
                    </a:lnTo>
                    <a:lnTo>
                      <a:pt x="205" y="426"/>
                    </a:lnTo>
                    <a:lnTo>
                      <a:pt x="203" y="426"/>
                    </a:lnTo>
                    <a:lnTo>
                      <a:pt x="202" y="426"/>
                    </a:lnTo>
                    <a:lnTo>
                      <a:pt x="200" y="424"/>
                    </a:lnTo>
                    <a:lnTo>
                      <a:pt x="198" y="424"/>
                    </a:lnTo>
                    <a:lnTo>
                      <a:pt x="197" y="424"/>
                    </a:lnTo>
                    <a:lnTo>
                      <a:pt x="195" y="424"/>
                    </a:lnTo>
                    <a:lnTo>
                      <a:pt x="194" y="424"/>
                    </a:lnTo>
                    <a:lnTo>
                      <a:pt x="192" y="424"/>
                    </a:lnTo>
                    <a:lnTo>
                      <a:pt x="190" y="424"/>
                    </a:lnTo>
                    <a:lnTo>
                      <a:pt x="189" y="424"/>
                    </a:lnTo>
                    <a:lnTo>
                      <a:pt x="187" y="424"/>
                    </a:lnTo>
                    <a:lnTo>
                      <a:pt x="186" y="426"/>
                    </a:lnTo>
                    <a:lnTo>
                      <a:pt x="184" y="426"/>
                    </a:lnTo>
                    <a:lnTo>
                      <a:pt x="183" y="428"/>
                    </a:lnTo>
                    <a:lnTo>
                      <a:pt x="181" y="426"/>
                    </a:lnTo>
                    <a:lnTo>
                      <a:pt x="179" y="426"/>
                    </a:lnTo>
                    <a:lnTo>
                      <a:pt x="179" y="424"/>
                    </a:lnTo>
                    <a:lnTo>
                      <a:pt x="178" y="424"/>
                    </a:lnTo>
                    <a:lnTo>
                      <a:pt x="176" y="424"/>
                    </a:lnTo>
                    <a:lnTo>
                      <a:pt x="175" y="426"/>
                    </a:lnTo>
                    <a:lnTo>
                      <a:pt x="173" y="426"/>
                    </a:lnTo>
                    <a:lnTo>
                      <a:pt x="171" y="426"/>
                    </a:lnTo>
                    <a:lnTo>
                      <a:pt x="170" y="426"/>
                    </a:lnTo>
                    <a:lnTo>
                      <a:pt x="168" y="426"/>
                    </a:lnTo>
                    <a:lnTo>
                      <a:pt x="167" y="424"/>
                    </a:lnTo>
                    <a:lnTo>
                      <a:pt x="165" y="423"/>
                    </a:lnTo>
                    <a:lnTo>
                      <a:pt x="164" y="423"/>
                    </a:lnTo>
                    <a:lnTo>
                      <a:pt x="162" y="423"/>
                    </a:lnTo>
                    <a:lnTo>
                      <a:pt x="160" y="423"/>
                    </a:lnTo>
                    <a:lnTo>
                      <a:pt x="159" y="423"/>
                    </a:lnTo>
                    <a:lnTo>
                      <a:pt x="157" y="423"/>
                    </a:lnTo>
                    <a:lnTo>
                      <a:pt x="156" y="424"/>
                    </a:lnTo>
                    <a:lnTo>
                      <a:pt x="154" y="424"/>
                    </a:lnTo>
                    <a:lnTo>
                      <a:pt x="152" y="424"/>
                    </a:lnTo>
                    <a:lnTo>
                      <a:pt x="152" y="426"/>
                    </a:lnTo>
                    <a:lnTo>
                      <a:pt x="151" y="426"/>
                    </a:lnTo>
                    <a:lnTo>
                      <a:pt x="149" y="426"/>
                    </a:lnTo>
                    <a:lnTo>
                      <a:pt x="148" y="426"/>
                    </a:lnTo>
                    <a:lnTo>
                      <a:pt x="148" y="424"/>
                    </a:lnTo>
                    <a:lnTo>
                      <a:pt x="146" y="424"/>
                    </a:lnTo>
                    <a:lnTo>
                      <a:pt x="146" y="423"/>
                    </a:lnTo>
                    <a:lnTo>
                      <a:pt x="146" y="421"/>
                    </a:lnTo>
                    <a:lnTo>
                      <a:pt x="144" y="421"/>
                    </a:lnTo>
                    <a:lnTo>
                      <a:pt x="144" y="420"/>
                    </a:lnTo>
                    <a:lnTo>
                      <a:pt x="143" y="420"/>
                    </a:lnTo>
                    <a:lnTo>
                      <a:pt x="143" y="418"/>
                    </a:lnTo>
                    <a:lnTo>
                      <a:pt x="141" y="418"/>
                    </a:lnTo>
                    <a:lnTo>
                      <a:pt x="140" y="418"/>
                    </a:lnTo>
                    <a:lnTo>
                      <a:pt x="140" y="416"/>
                    </a:lnTo>
                    <a:lnTo>
                      <a:pt x="138" y="415"/>
                    </a:lnTo>
                    <a:lnTo>
                      <a:pt x="138" y="413"/>
                    </a:lnTo>
                    <a:lnTo>
                      <a:pt x="138" y="412"/>
                    </a:lnTo>
                    <a:lnTo>
                      <a:pt x="137" y="412"/>
                    </a:lnTo>
                    <a:lnTo>
                      <a:pt x="137" y="410"/>
                    </a:lnTo>
                    <a:lnTo>
                      <a:pt x="137" y="408"/>
                    </a:lnTo>
                    <a:lnTo>
                      <a:pt x="137" y="407"/>
                    </a:lnTo>
                    <a:lnTo>
                      <a:pt x="135" y="407"/>
                    </a:lnTo>
                    <a:lnTo>
                      <a:pt x="135" y="405"/>
                    </a:lnTo>
                    <a:lnTo>
                      <a:pt x="135" y="404"/>
                    </a:lnTo>
                    <a:lnTo>
                      <a:pt x="133" y="402"/>
                    </a:lnTo>
                    <a:lnTo>
                      <a:pt x="133" y="401"/>
                    </a:lnTo>
                    <a:lnTo>
                      <a:pt x="132" y="399"/>
                    </a:lnTo>
                    <a:lnTo>
                      <a:pt x="130" y="397"/>
                    </a:lnTo>
                    <a:lnTo>
                      <a:pt x="130" y="396"/>
                    </a:lnTo>
                    <a:lnTo>
                      <a:pt x="129" y="396"/>
                    </a:lnTo>
                    <a:lnTo>
                      <a:pt x="129" y="394"/>
                    </a:lnTo>
                    <a:lnTo>
                      <a:pt x="129" y="393"/>
                    </a:lnTo>
                    <a:lnTo>
                      <a:pt x="127" y="393"/>
                    </a:lnTo>
                    <a:lnTo>
                      <a:pt x="127" y="391"/>
                    </a:lnTo>
                    <a:lnTo>
                      <a:pt x="125" y="391"/>
                    </a:lnTo>
                    <a:lnTo>
                      <a:pt x="125" y="389"/>
                    </a:lnTo>
                    <a:lnTo>
                      <a:pt x="124" y="389"/>
                    </a:lnTo>
                    <a:lnTo>
                      <a:pt x="124" y="388"/>
                    </a:lnTo>
                    <a:lnTo>
                      <a:pt x="122" y="388"/>
                    </a:lnTo>
                    <a:lnTo>
                      <a:pt x="122" y="386"/>
                    </a:lnTo>
                    <a:lnTo>
                      <a:pt x="121" y="386"/>
                    </a:lnTo>
                    <a:lnTo>
                      <a:pt x="119" y="386"/>
                    </a:lnTo>
                    <a:lnTo>
                      <a:pt x="118" y="386"/>
                    </a:lnTo>
                    <a:lnTo>
                      <a:pt x="116" y="386"/>
                    </a:lnTo>
                    <a:lnTo>
                      <a:pt x="114" y="386"/>
                    </a:lnTo>
                    <a:lnTo>
                      <a:pt x="113" y="386"/>
                    </a:lnTo>
                    <a:lnTo>
                      <a:pt x="111" y="386"/>
                    </a:lnTo>
                    <a:lnTo>
                      <a:pt x="111" y="388"/>
                    </a:lnTo>
                    <a:lnTo>
                      <a:pt x="110" y="388"/>
                    </a:lnTo>
                    <a:lnTo>
                      <a:pt x="110" y="389"/>
                    </a:lnTo>
                    <a:lnTo>
                      <a:pt x="108" y="389"/>
                    </a:lnTo>
                    <a:lnTo>
                      <a:pt x="106" y="389"/>
                    </a:lnTo>
                    <a:lnTo>
                      <a:pt x="105" y="391"/>
                    </a:lnTo>
                    <a:lnTo>
                      <a:pt x="103" y="391"/>
                    </a:lnTo>
                    <a:lnTo>
                      <a:pt x="102" y="391"/>
                    </a:lnTo>
                    <a:lnTo>
                      <a:pt x="100" y="391"/>
                    </a:lnTo>
                    <a:lnTo>
                      <a:pt x="99" y="389"/>
                    </a:lnTo>
                    <a:lnTo>
                      <a:pt x="97" y="389"/>
                    </a:lnTo>
                    <a:lnTo>
                      <a:pt x="97" y="388"/>
                    </a:lnTo>
                    <a:lnTo>
                      <a:pt x="97" y="386"/>
                    </a:lnTo>
                    <a:lnTo>
                      <a:pt x="97" y="385"/>
                    </a:lnTo>
                    <a:lnTo>
                      <a:pt x="95" y="385"/>
                    </a:lnTo>
                    <a:lnTo>
                      <a:pt x="95" y="383"/>
                    </a:lnTo>
                    <a:lnTo>
                      <a:pt x="95" y="382"/>
                    </a:lnTo>
                    <a:lnTo>
                      <a:pt x="95" y="380"/>
                    </a:lnTo>
                    <a:lnTo>
                      <a:pt x="94" y="380"/>
                    </a:lnTo>
                    <a:lnTo>
                      <a:pt x="94" y="378"/>
                    </a:lnTo>
                    <a:lnTo>
                      <a:pt x="94" y="377"/>
                    </a:lnTo>
                    <a:lnTo>
                      <a:pt x="94" y="375"/>
                    </a:lnTo>
                    <a:lnTo>
                      <a:pt x="94" y="374"/>
                    </a:lnTo>
                    <a:lnTo>
                      <a:pt x="94" y="372"/>
                    </a:lnTo>
                    <a:lnTo>
                      <a:pt x="94" y="370"/>
                    </a:lnTo>
                    <a:lnTo>
                      <a:pt x="94" y="369"/>
                    </a:lnTo>
                    <a:lnTo>
                      <a:pt x="95" y="369"/>
                    </a:lnTo>
                    <a:lnTo>
                      <a:pt x="95" y="367"/>
                    </a:lnTo>
                    <a:lnTo>
                      <a:pt x="95" y="366"/>
                    </a:lnTo>
                    <a:lnTo>
                      <a:pt x="95" y="364"/>
                    </a:lnTo>
                    <a:lnTo>
                      <a:pt x="94" y="363"/>
                    </a:lnTo>
                    <a:lnTo>
                      <a:pt x="94" y="361"/>
                    </a:lnTo>
                    <a:lnTo>
                      <a:pt x="94" y="359"/>
                    </a:lnTo>
                    <a:lnTo>
                      <a:pt x="94" y="358"/>
                    </a:lnTo>
                    <a:lnTo>
                      <a:pt x="94" y="356"/>
                    </a:lnTo>
                    <a:lnTo>
                      <a:pt x="94" y="355"/>
                    </a:lnTo>
                    <a:lnTo>
                      <a:pt x="92" y="353"/>
                    </a:lnTo>
                    <a:lnTo>
                      <a:pt x="92" y="351"/>
                    </a:lnTo>
                    <a:lnTo>
                      <a:pt x="91" y="351"/>
                    </a:lnTo>
                    <a:lnTo>
                      <a:pt x="89" y="350"/>
                    </a:lnTo>
                    <a:lnTo>
                      <a:pt x="87" y="350"/>
                    </a:lnTo>
                    <a:lnTo>
                      <a:pt x="86" y="350"/>
                    </a:lnTo>
                    <a:lnTo>
                      <a:pt x="84" y="348"/>
                    </a:lnTo>
                    <a:lnTo>
                      <a:pt x="83" y="348"/>
                    </a:lnTo>
                    <a:lnTo>
                      <a:pt x="81" y="348"/>
                    </a:lnTo>
                    <a:lnTo>
                      <a:pt x="80" y="348"/>
                    </a:lnTo>
                    <a:lnTo>
                      <a:pt x="78" y="347"/>
                    </a:lnTo>
                    <a:lnTo>
                      <a:pt x="76" y="347"/>
                    </a:lnTo>
                    <a:lnTo>
                      <a:pt x="75" y="347"/>
                    </a:lnTo>
                    <a:lnTo>
                      <a:pt x="73" y="347"/>
                    </a:lnTo>
                    <a:lnTo>
                      <a:pt x="73" y="345"/>
                    </a:lnTo>
                    <a:lnTo>
                      <a:pt x="72" y="345"/>
                    </a:lnTo>
                    <a:lnTo>
                      <a:pt x="70" y="344"/>
                    </a:lnTo>
                    <a:lnTo>
                      <a:pt x="70" y="342"/>
                    </a:lnTo>
                    <a:lnTo>
                      <a:pt x="70" y="340"/>
                    </a:lnTo>
                    <a:lnTo>
                      <a:pt x="68" y="340"/>
                    </a:lnTo>
                    <a:lnTo>
                      <a:pt x="68" y="339"/>
                    </a:lnTo>
                    <a:lnTo>
                      <a:pt x="68" y="337"/>
                    </a:lnTo>
                    <a:lnTo>
                      <a:pt x="67" y="336"/>
                    </a:lnTo>
                    <a:lnTo>
                      <a:pt x="67" y="334"/>
                    </a:lnTo>
                    <a:lnTo>
                      <a:pt x="65" y="332"/>
                    </a:lnTo>
                    <a:lnTo>
                      <a:pt x="65" y="331"/>
                    </a:lnTo>
                    <a:lnTo>
                      <a:pt x="65" y="329"/>
                    </a:lnTo>
                    <a:lnTo>
                      <a:pt x="64" y="329"/>
                    </a:lnTo>
                    <a:lnTo>
                      <a:pt x="64" y="328"/>
                    </a:lnTo>
                    <a:lnTo>
                      <a:pt x="64" y="326"/>
                    </a:lnTo>
                    <a:lnTo>
                      <a:pt x="62" y="326"/>
                    </a:lnTo>
                    <a:lnTo>
                      <a:pt x="62" y="325"/>
                    </a:lnTo>
                    <a:lnTo>
                      <a:pt x="62" y="323"/>
                    </a:lnTo>
                    <a:lnTo>
                      <a:pt x="61" y="323"/>
                    </a:lnTo>
                    <a:lnTo>
                      <a:pt x="61" y="321"/>
                    </a:lnTo>
                    <a:lnTo>
                      <a:pt x="61" y="320"/>
                    </a:lnTo>
                    <a:lnTo>
                      <a:pt x="61" y="318"/>
                    </a:lnTo>
                    <a:lnTo>
                      <a:pt x="61" y="317"/>
                    </a:lnTo>
                    <a:lnTo>
                      <a:pt x="59" y="315"/>
                    </a:lnTo>
                    <a:lnTo>
                      <a:pt x="57" y="315"/>
                    </a:lnTo>
                    <a:lnTo>
                      <a:pt x="56" y="315"/>
                    </a:lnTo>
                    <a:lnTo>
                      <a:pt x="56" y="313"/>
                    </a:lnTo>
                    <a:lnTo>
                      <a:pt x="54" y="313"/>
                    </a:lnTo>
                    <a:lnTo>
                      <a:pt x="53" y="312"/>
                    </a:lnTo>
                    <a:lnTo>
                      <a:pt x="53" y="310"/>
                    </a:lnTo>
                    <a:lnTo>
                      <a:pt x="51" y="310"/>
                    </a:lnTo>
                    <a:lnTo>
                      <a:pt x="51" y="309"/>
                    </a:lnTo>
                    <a:lnTo>
                      <a:pt x="49" y="309"/>
                    </a:lnTo>
                    <a:lnTo>
                      <a:pt x="49" y="307"/>
                    </a:lnTo>
                    <a:lnTo>
                      <a:pt x="48" y="306"/>
                    </a:lnTo>
                    <a:lnTo>
                      <a:pt x="45" y="302"/>
                    </a:lnTo>
                    <a:lnTo>
                      <a:pt x="45" y="301"/>
                    </a:lnTo>
                    <a:lnTo>
                      <a:pt x="43" y="299"/>
                    </a:lnTo>
                    <a:lnTo>
                      <a:pt x="43" y="298"/>
                    </a:lnTo>
                    <a:lnTo>
                      <a:pt x="42" y="298"/>
                    </a:lnTo>
                    <a:lnTo>
                      <a:pt x="42" y="296"/>
                    </a:lnTo>
                    <a:lnTo>
                      <a:pt x="40" y="296"/>
                    </a:lnTo>
                    <a:lnTo>
                      <a:pt x="40" y="294"/>
                    </a:lnTo>
                    <a:lnTo>
                      <a:pt x="38" y="294"/>
                    </a:lnTo>
                    <a:lnTo>
                      <a:pt x="38" y="293"/>
                    </a:lnTo>
                    <a:lnTo>
                      <a:pt x="37" y="293"/>
                    </a:lnTo>
                    <a:lnTo>
                      <a:pt x="37" y="291"/>
                    </a:lnTo>
                    <a:lnTo>
                      <a:pt x="35" y="291"/>
                    </a:lnTo>
                    <a:lnTo>
                      <a:pt x="34" y="291"/>
                    </a:lnTo>
                    <a:lnTo>
                      <a:pt x="34" y="290"/>
                    </a:lnTo>
                    <a:lnTo>
                      <a:pt x="32" y="290"/>
                    </a:lnTo>
                    <a:lnTo>
                      <a:pt x="30" y="290"/>
                    </a:lnTo>
                    <a:lnTo>
                      <a:pt x="29" y="288"/>
                    </a:lnTo>
                    <a:lnTo>
                      <a:pt x="27" y="288"/>
                    </a:lnTo>
                    <a:lnTo>
                      <a:pt x="26" y="287"/>
                    </a:lnTo>
                    <a:lnTo>
                      <a:pt x="24" y="287"/>
                    </a:lnTo>
                    <a:lnTo>
                      <a:pt x="24" y="285"/>
                    </a:lnTo>
                    <a:lnTo>
                      <a:pt x="23" y="285"/>
                    </a:lnTo>
                    <a:lnTo>
                      <a:pt x="21" y="285"/>
                    </a:lnTo>
                    <a:lnTo>
                      <a:pt x="19" y="283"/>
                    </a:lnTo>
                    <a:lnTo>
                      <a:pt x="18" y="283"/>
                    </a:lnTo>
                    <a:lnTo>
                      <a:pt x="16" y="282"/>
                    </a:lnTo>
                    <a:lnTo>
                      <a:pt x="15" y="282"/>
                    </a:lnTo>
                    <a:lnTo>
                      <a:pt x="13" y="282"/>
                    </a:lnTo>
                    <a:lnTo>
                      <a:pt x="13" y="280"/>
                    </a:lnTo>
                    <a:lnTo>
                      <a:pt x="11" y="280"/>
                    </a:lnTo>
                    <a:lnTo>
                      <a:pt x="10" y="280"/>
                    </a:lnTo>
                    <a:lnTo>
                      <a:pt x="10" y="279"/>
                    </a:lnTo>
                    <a:lnTo>
                      <a:pt x="8" y="279"/>
                    </a:lnTo>
                    <a:lnTo>
                      <a:pt x="7" y="279"/>
                    </a:lnTo>
                    <a:lnTo>
                      <a:pt x="7" y="277"/>
                    </a:lnTo>
                    <a:lnTo>
                      <a:pt x="5" y="277"/>
                    </a:lnTo>
                    <a:lnTo>
                      <a:pt x="4" y="277"/>
                    </a:lnTo>
                    <a:lnTo>
                      <a:pt x="2" y="275"/>
                    </a:lnTo>
                    <a:lnTo>
                      <a:pt x="0" y="275"/>
                    </a:lnTo>
                    <a:lnTo>
                      <a:pt x="0" y="274"/>
                    </a:lnTo>
                    <a:lnTo>
                      <a:pt x="0" y="272"/>
                    </a:lnTo>
                    <a:lnTo>
                      <a:pt x="2" y="272"/>
                    </a:lnTo>
                    <a:lnTo>
                      <a:pt x="2" y="271"/>
                    </a:lnTo>
                    <a:lnTo>
                      <a:pt x="2" y="269"/>
                    </a:lnTo>
                    <a:lnTo>
                      <a:pt x="4" y="269"/>
                    </a:lnTo>
                    <a:lnTo>
                      <a:pt x="4" y="268"/>
                    </a:lnTo>
                    <a:lnTo>
                      <a:pt x="4" y="266"/>
                    </a:lnTo>
                    <a:lnTo>
                      <a:pt x="5" y="266"/>
                    </a:lnTo>
                    <a:lnTo>
                      <a:pt x="5" y="264"/>
                    </a:lnTo>
                    <a:lnTo>
                      <a:pt x="5" y="263"/>
                    </a:lnTo>
                    <a:lnTo>
                      <a:pt x="7" y="263"/>
                    </a:lnTo>
                    <a:lnTo>
                      <a:pt x="7" y="261"/>
                    </a:lnTo>
                    <a:lnTo>
                      <a:pt x="7" y="260"/>
                    </a:lnTo>
                    <a:lnTo>
                      <a:pt x="8" y="260"/>
                    </a:lnTo>
                    <a:lnTo>
                      <a:pt x="8" y="258"/>
                    </a:lnTo>
                    <a:lnTo>
                      <a:pt x="8" y="256"/>
                    </a:lnTo>
                    <a:lnTo>
                      <a:pt x="10" y="256"/>
                    </a:lnTo>
                    <a:lnTo>
                      <a:pt x="10" y="255"/>
                    </a:lnTo>
                    <a:lnTo>
                      <a:pt x="10" y="253"/>
                    </a:lnTo>
                    <a:lnTo>
                      <a:pt x="11" y="253"/>
                    </a:lnTo>
                    <a:lnTo>
                      <a:pt x="11" y="252"/>
                    </a:lnTo>
                    <a:lnTo>
                      <a:pt x="11" y="250"/>
                    </a:lnTo>
                    <a:lnTo>
                      <a:pt x="13" y="249"/>
                    </a:lnTo>
                    <a:lnTo>
                      <a:pt x="13" y="247"/>
                    </a:lnTo>
                    <a:lnTo>
                      <a:pt x="15" y="245"/>
                    </a:lnTo>
                    <a:lnTo>
                      <a:pt x="15" y="244"/>
                    </a:lnTo>
                    <a:lnTo>
                      <a:pt x="16" y="242"/>
                    </a:lnTo>
                    <a:lnTo>
                      <a:pt x="16" y="241"/>
                    </a:lnTo>
                    <a:lnTo>
                      <a:pt x="18" y="239"/>
                    </a:lnTo>
                    <a:lnTo>
                      <a:pt x="18" y="237"/>
                    </a:lnTo>
                    <a:lnTo>
                      <a:pt x="19" y="236"/>
                    </a:lnTo>
                    <a:lnTo>
                      <a:pt x="19" y="234"/>
                    </a:lnTo>
                    <a:lnTo>
                      <a:pt x="21" y="233"/>
                    </a:lnTo>
                    <a:lnTo>
                      <a:pt x="21" y="231"/>
                    </a:lnTo>
                    <a:lnTo>
                      <a:pt x="21" y="229"/>
                    </a:lnTo>
                    <a:lnTo>
                      <a:pt x="23" y="229"/>
                    </a:lnTo>
                    <a:lnTo>
                      <a:pt x="23" y="228"/>
                    </a:lnTo>
                    <a:lnTo>
                      <a:pt x="24" y="226"/>
                    </a:lnTo>
                    <a:lnTo>
                      <a:pt x="24" y="225"/>
                    </a:lnTo>
                    <a:lnTo>
                      <a:pt x="26" y="223"/>
                    </a:lnTo>
                    <a:lnTo>
                      <a:pt x="26" y="222"/>
                    </a:lnTo>
                    <a:lnTo>
                      <a:pt x="27" y="220"/>
                    </a:lnTo>
                    <a:lnTo>
                      <a:pt x="27" y="218"/>
                    </a:lnTo>
                    <a:lnTo>
                      <a:pt x="29" y="217"/>
                    </a:lnTo>
                    <a:lnTo>
                      <a:pt x="29" y="215"/>
                    </a:lnTo>
                    <a:lnTo>
                      <a:pt x="29" y="214"/>
                    </a:lnTo>
                    <a:lnTo>
                      <a:pt x="30" y="214"/>
                    </a:lnTo>
                    <a:lnTo>
                      <a:pt x="30" y="212"/>
                    </a:lnTo>
                    <a:lnTo>
                      <a:pt x="30" y="210"/>
                    </a:lnTo>
                    <a:lnTo>
                      <a:pt x="32" y="210"/>
                    </a:lnTo>
                    <a:lnTo>
                      <a:pt x="32" y="209"/>
                    </a:lnTo>
                    <a:lnTo>
                      <a:pt x="32" y="207"/>
                    </a:lnTo>
                    <a:lnTo>
                      <a:pt x="34" y="207"/>
                    </a:lnTo>
                    <a:lnTo>
                      <a:pt x="34" y="206"/>
                    </a:lnTo>
                    <a:lnTo>
                      <a:pt x="35" y="204"/>
                    </a:lnTo>
                    <a:lnTo>
                      <a:pt x="35" y="203"/>
                    </a:lnTo>
                    <a:lnTo>
                      <a:pt x="35" y="201"/>
                    </a:lnTo>
                    <a:lnTo>
                      <a:pt x="37" y="201"/>
                    </a:lnTo>
                    <a:lnTo>
                      <a:pt x="37" y="199"/>
                    </a:lnTo>
                    <a:lnTo>
                      <a:pt x="37" y="198"/>
                    </a:lnTo>
                    <a:lnTo>
                      <a:pt x="38" y="198"/>
                    </a:lnTo>
                    <a:lnTo>
                      <a:pt x="38" y="196"/>
                    </a:lnTo>
                    <a:lnTo>
                      <a:pt x="40" y="196"/>
                    </a:lnTo>
                    <a:lnTo>
                      <a:pt x="40" y="195"/>
                    </a:lnTo>
                    <a:lnTo>
                      <a:pt x="42" y="193"/>
                    </a:lnTo>
                    <a:lnTo>
                      <a:pt x="42" y="191"/>
                    </a:lnTo>
                    <a:lnTo>
                      <a:pt x="43" y="191"/>
                    </a:lnTo>
                    <a:lnTo>
                      <a:pt x="45" y="190"/>
                    </a:lnTo>
                    <a:lnTo>
                      <a:pt x="45" y="188"/>
                    </a:lnTo>
                    <a:lnTo>
                      <a:pt x="46" y="188"/>
                    </a:lnTo>
                    <a:lnTo>
                      <a:pt x="46" y="187"/>
                    </a:lnTo>
                    <a:lnTo>
                      <a:pt x="48" y="187"/>
                    </a:lnTo>
                    <a:lnTo>
                      <a:pt x="48" y="185"/>
                    </a:lnTo>
                    <a:lnTo>
                      <a:pt x="49" y="185"/>
                    </a:lnTo>
                    <a:lnTo>
                      <a:pt x="49" y="184"/>
                    </a:lnTo>
                    <a:lnTo>
                      <a:pt x="51" y="182"/>
                    </a:lnTo>
                    <a:lnTo>
                      <a:pt x="53" y="180"/>
                    </a:lnTo>
                    <a:lnTo>
                      <a:pt x="54" y="179"/>
                    </a:lnTo>
                    <a:lnTo>
                      <a:pt x="54" y="177"/>
                    </a:lnTo>
                    <a:lnTo>
                      <a:pt x="56" y="177"/>
                    </a:lnTo>
                    <a:lnTo>
                      <a:pt x="56" y="176"/>
                    </a:lnTo>
                    <a:lnTo>
                      <a:pt x="53" y="172"/>
                    </a:lnTo>
                    <a:lnTo>
                      <a:pt x="53" y="171"/>
                    </a:lnTo>
                    <a:lnTo>
                      <a:pt x="48" y="165"/>
                    </a:lnTo>
                    <a:lnTo>
                      <a:pt x="43" y="160"/>
                    </a:lnTo>
                    <a:lnTo>
                      <a:pt x="43" y="158"/>
                    </a:lnTo>
                    <a:lnTo>
                      <a:pt x="42" y="158"/>
                    </a:lnTo>
                    <a:lnTo>
                      <a:pt x="42" y="157"/>
                    </a:lnTo>
                    <a:lnTo>
                      <a:pt x="40" y="155"/>
                    </a:lnTo>
                    <a:lnTo>
                      <a:pt x="38" y="153"/>
                    </a:lnTo>
                    <a:lnTo>
                      <a:pt x="34" y="149"/>
                    </a:lnTo>
                    <a:lnTo>
                      <a:pt x="34" y="147"/>
                    </a:lnTo>
                    <a:lnTo>
                      <a:pt x="30" y="144"/>
                    </a:lnTo>
                    <a:lnTo>
                      <a:pt x="29" y="141"/>
                    </a:lnTo>
                    <a:lnTo>
                      <a:pt x="27" y="139"/>
                    </a:lnTo>
                    <a:lnTo>
                      <a:pt x="26" y="138"/>
                    </a:lnTo>
                    <a:lnTo>
                      <a:pt x="23" y="133"/>
                    </a:lnTo>
                    <a:lnTo>
                      <a:pt x="19" y="130"/>
                    </a:lnTo>
                    <a:lnTo>
                      <a:pt x="15" y="123"/>
                    </a:lnTo>
                    <a:lnTo>
                      <a:pt x="13" y="120"/>
                    </a:lnTo>
                    <a:lnTo>
                      <a:pt x="13" y="119"/>
                    </a:lnTo>
                    <a:lnTo>
                      <a:pt x="13" y="115"/>
                    </a:lnTo>
                    <a:lnTo>
                      <a:pt x="13" y="114"/>
                    </a:lnTo>
                    <a:lnTo>
                      <a:pt x="15" y="114"/>
                    </a:lnTo>
                    <a:lnTo>
                      <a:pt x="15" y="112"/>
                    </a:lnTo>
                    <a:lnTo>
                      <a:pt x="16" y="112"/>
                    </a:lnTo>
                    <a:lnTo>
                      <a:pt x="18" y="112"/>
                    </a:lnTo>
                    <a:lnTo>
                      <a:pt x="19" y="112"/>
                    </a:lnTo>
                    <a:lnTo>
                      <a:pt x="21" y="112"/>
                    </a:lnTo>
                    <a:lnTo>
                      <a:pt x="21" y="111"/>
                    </a:lnTo>
                    <a:lnTo>
                      <a:pt x="23" y="111"/>
                    </a:lnTo>
                    <a:lnTo>
                      <a:pt x="24" y="111"/>
                    </a:lnTo>
                    <a:lnTo>
                      <a:pt x="26" y="109"/>
                    </a:lnTo>
                    <a:lnTo>
                      <a:pt x="27" y="109"/>
                    </a:lnTo>
                    <a:lnTo>
                      <a:pt x="29" y="109"/>
                    </a:lnTo>
                    <a:lnTo>
                      <a:pt x="30" y="108"/>
                    </a:lnTo>
                    <a:lnTo>
                      <a:pt x="32" y="108"/>
                    </a:lnTo>
                    <a:lnTo>
                      <a:pt x="34" y="106"/>
                    </a:lnTo>
                    <a:lnTo>
                      <a:pt x="35" y="106"/>
                    </a:lnTo>
                    <a:lnTo>
                      <a:pt x="37" y="104"/>
                    </a:lnTo>
                    <a:lnTo>
                      <a:pt x="38" y="104"/>
                    </a:lnTo>
                    <a:lnTo>
                      <a:pt x="42" y="101"/>
                    </a:lnTo>
                    <a:lnTo>
                      <a:pt x="43" y="100"/>
                    </a:lnTo>
                    <a:lnTo>
                      <a:pt x="45" y="98"/>
                    </a:lnTo>
                    <a:lnTo>
                      <a:pt x="46" y="98"/>
                    </a:lnTo>
                    <a:lnTo>
                      <a:pt x="48" y="98"/>
                    </a:lnTo>
                    <a:lnTo>
                      <a:pt x="49" y="96"/>
                    </a:lnTo>
                    <a:lnTo>
                      <a:pt x="51" y="96"/>
                    </a:lnTo>
                    <a:lnTo>
                      <a:pt x="53" y="96"/>
                    </a:lnTo>
                    <a:lnTo>
                      <a:pt x="54" y="96"/>
                    </a:lnTo>
                    <a:lnTo>
                      <a:pt x="54" y="95"/>
                    </a:lnTo>
                    <a:lnTo>
                      <a:pt x="56" y="95"/>
                    </a:lnTo>
                    <a:lnTo>
                      <a:pt x="57" y="95"/>
                    </a:lnTo>
                    <a:lnTo>
                      <a:pt x="59" y="95"/>
                    </a:lnTo>
                    <a:lnTo>
                      <a:pt x="61" y="95"/>
                    </a:lnTo>
                    <a:lnTo>
                      <a:pt x="61" y="93"/>
                    </a:lnTo>
                    <a:lnTo>
                      <a:pt x="62" y="93"/>
                    </a:lnTo>
                    <a:lnTo>
                      <a:pt x="64" y="93"/>
                    </a:lnTo>
                    <a:lnTo>
                      <a:pt x="65" y="93"/>
                    </a:lnTo>
                    <a:lnTo>
                      <a:pt x="67" y="92"/>
                    </a:lnTo>
                    <a:lnTo>
                      <a:pt x="68" y="92"/>
                    </a:lnTo>
                    <a:lnTo>
                      <a:pt x="70" y="92"/>
                    </a:lnTo>
                    <a:lnTo>
                      <a:pt x="72" y="92"/>
                    </a:lnTo>
                    <a:lnTo>
                      <a:pt x="72" y="90"/>
                    </a:lnTo>
                    <a:lnTo>
                      <a:pt x="72" y="89"/>
                    </a:lnTo>
                    <a:lnTo>
                      <a:pt x="72" y="87"/>
                    </a:lnTo>
                    <a:lnTo>
                      <a:pt x="70" y="87"/>
                    </a:lnTo>
                    <a:lnTo>
                      <a:pt x="70" y="85"/>
                    </a:lnTo>
                    <a:lnTo>
                      <a:pt x="70" y="84"/>
                    </a:lnTo>
                    <a:lnTo>
                      <a:pt x="70" y="82"/>
                    </a:lnTo>
                    <a:lnTo>
                      <a:pt x="72" y="82"/>
                    </a:lnTo>
                    <a:lnTo>
                      <a:pt x="72" y="81"/>
                    </a:lnTo>
                    <a:lnTo>
                      <a:pt x="73" y="81"/>
                    </a:lnTo>
                    <a:lnTo>
                      <a:pt x="73" y="79"/>
                    </a:lnTo>
                    <a:lnTo>
                      <a:pt x="75" y="79"/>
                    </a:lnTo>
                    <a:lnTo>
                      <a:pt x="76" y="79"/>
                    </a:lnTo>
                    <a:lnTo>
                      <a:pt x="76" y="77"/>
                    </a:lnTo>
                    <a:lnTo>
                      <a:pt x="78" y="77"/>
                    </a:lnTo>
                    <a:lnTo>
                      <a:pt x="78" y="76"/>
                    </a:lnTo>
                    <a:lnTo>
                      <a:pt x="80" y="76"/>
                    </a:lnTo>
                    <a:lnTo>
                      <a:pt x="81" y="76"/>
                    </a:lnTo>
                    <a:lnTo>
                      <a:pt x="81" y="74"/>
                    </a:lnTo>
                    <a:lnTo>
                      <a:pt x="83" y="74"/>
                    </a:lnTo>
                    <a:lnTo>
                      <a:pt x="83" y="73"/>
                    </a:lnTo>
                    <a:lnTo>
                      <a:pt x="84" y="73"/>
                    </a:lnTo>
                    <a:lnTo>
                      <a:pt x="86" y="73"/>
                    </a:lnTo>
                    <a:lnTo>
                      <a:pt x="86" y="71"/>
                    </a:lnTo>
                    <a:lnTo>
                      <a:pt x="87" y="71"/>
                    </a:lnTo>
                    <a:lnTo>
                      <a:pt x="89" y="70"/>
                    </a:lnTo>
                    <a:lnTo>
                      <a:pt x="91" y="70"/>
                    </a:lnTo>
                    <a:lnTo>
                      <a:pt x="91" y="68"/>
                    </a:lnTo>
                    <a:lnTo>
                      <a:pt x="92" y="68"/>
                    </a:lnTo>
                    <a:lnTo>
                      <a:pt x="94" y="66"/>
                    </a:lnTo>
                    <a:lnTo>
                      <a:pt x="95" y="66"/>
                    </a:lnTo>
                    <a:lnTo>
                      <a:pt x="97" y="65"/>
                    </a:lnTo>
                    <a:lnTo>
                      <a:pt x="99" y="65"/>
                    </a:lnTo>
                    <a:lnTo>
                      <a:pt x="99" y="63"/>
                    </a:lnTo>
                    <a:lnTo>
                      <a:pt x="100" y="63"/>
                    </a:lnTo>
                    <a:lnTo>
                      <a:pt x="102" y="62"/>
                    </a:lnTo>
                    <a:lnTo>
                      <a:pt x="103" y="62"/>
                    </a:lnTo>
                    <a:lnTo>
                      <a:pt x="103" y="60"/>
                    </a:lnTo>
                    <a:lnTo>
                      <a:pt x="105" y="60"/>
                    </a:lnTo>
                    <a:lnTo>
                      <a:pt x="106" y="58"/>
                    </a:lnTo>
                    <a:lnTo>
                      <a:pt x="108" y="58"/>
                    </a:lnTo>
                    <a:lnTo>
                      <a:pt x="108" y="57"/>
                    </a:lnTo>
                    <a:lnTo>
                      <a:pt x="110" y="58"/>
                    </a:lnTo>
                    <a:lnTo>
                      <a:pt x="111" y="60"/>
                    </a:lnTo>
                    <a:lnTo>
                      <a:pt x="113" y="60"/>
                    </a:lnTo>
                    <a:lnTo>
                      <a:pt x="114" y="60"/>
                    </a:lnTo>
                    <a:lnTo>
                      <a:pt x="116" y="62"/>
                    </a:lnTo>
                    <a:lnTo>
                      <a:pt x="116" y="63"/>
                    </a:lnTo>
                    <a:lnTo>
                      <a:pt x="118" y="65"/>
                    </a:lnTo>
                    <a:lnTo>
                      <a:pt x="129" y="52"/>
                    </a:lnTo>
                    <a:lnTo>
                      <a:pt x="130" y="52"/>
                    </a:lnTo>
                    <a:lnTo>
                      <a:pt x="130" y="51"/>
                    </a:lnTo>
                    <a:lnTo>
                      <a:pt x="132" y="51"/>
                    </a:lnTo>
                    <a:lnTo>
                      <a:pt x="133" y="49"/>
                    </a:lnTo>
                    <a:lnTo>
                      <a:pt x="135" y="49"/>
                    </a:lnTo>
                    <a:lnTo>
                      <a:pt x="137" y="49"/>
                    </a:lnTo>
                    <a:lnTo>
                      <a:pt x="137" y="47"/>
                    </a:lnTo>
                    <a:lnTo>
                      <a:pt x="138" y="47"/>
                    </a:lnTo>
                    <a:lnTo>
                      <a:pt x="140" y="47"/>
                    </a:lnTo>
                    <a:lnTo>
                      <a:pt x="141" y="47"/>
                    </a:lnTo>
                    <a:lnTo>
                      <a:pt x="141" y="46"/>
                    </a:lnTo>
                    <a:lnTo>
                      <a:pt x="143" y="46"/>
                    </a:lnTo>
                    <a:lnTo>
                      <a:pt x="144" y="46"/>
                    </a:lnTo>
                    <a:lnTo>
                      <a:pt x="146" y="46"/>
                    </a:lnTo>
                    <a:lnTo>
                      <a:pt x="148" y="46"/>
                    </a:lnTo>
                    <a:lnTo>
                      <a:pt x="149" y="44"/>
                    </a:lnTo>
                    <a:lnTo>
                      <a:pt x="151" y="44"/>
                    </a:lnTo>
                    <a:lnTo>
                      <a:pt x="152" y="43"/>
                    </a:lnTo>
                    <a:lnTo>
                      <a:pt x="154" y="43"/>
                    </a:lnTo>
                    <a:lnTo>
                      <a:pt x="154" y="41"/>
                    </a:lnTo>
                    <a:lnTo>
                      <a:pt x="156" y="41"/>
                    </a:lnTo>
                    <a:lnTo>
                      <a:pt x="156" y="39"/>
                    </a:lnTo>
                    <a:lnTo>
                      <a:pt x="157" y="39"/>
                    </a:lnTo>
                    <a:lnTo>
                      <a:pt x="157" y="38"/>
                    </a:lnTo>
                    <a:lnTo>
                      <a:pt x="157" y="36"/>
                    </a:lnTo>
                    <a:lnTo>
                      <a:pt x="159" y="35"/>
                    </a:lnTo>
                    <a:lnTo>
                      <a:pt x="159" y="33"/>
                    </a:lnTo>
                    <a:lnTo>
                      <a:pt x="159" y="31"/>
                    </a:lnTo>
                    <a:lnTo>
                      <a:pt x="160" y="31"/>
                    </a:lnTo>
                    <a:lnTo>
                      <a:pt x="160" y="30"/>
                    </a:lnTo>
                    <a:lnTo>
                      <a:pt x="160" y="28"/>
                    </a:lnTo>
                    <a:lnTo>
                      <a:pt x="160" y="27"/>
                    </a:lnTo>
                    <a:lnTo>
                      <a:pt x="162" y="27"/>
                    </a:lnTo>
                    <a:lnTo>
                      <a:pt x="164" y="27"/>
                    </a:lnTo>
                    <a:lnTo>
                      <a:pt x="164" y="25"/>
                    </a:lnTo>
                    <a:lnTo>
                      <a:pt x="165" y="25"/>
                    </a:lnTo>
                    <a:lnTo>
                      <a:pt x="167" y="25"/>
                    </a:lnTo>
                    <a:lnTo>
                      <a:pt x="168" y="24"/>
                    </a:lnTo>
                    <a:lnTo>
                      <a:pt x="170" y="24"/>
                    </a:lnTo>
                    <a:lnTo>
                      <a:pt x="171" y="24"/>
                    </a:lnTo>
                    <a:lnTo>
                      <a:pt x="171" y="22"/>
                    </a:lnTo>
                    <a:lnTo>
                      <a:pt x="173" y="22"/>
                    </a:lnTo>
                    <a:lnTo>
                      <a:pt x="175" y="22"/>
                    </a:lnTo>
                    <a:lnTo>
                      <a:pt x="176" y="20"/>
                    </a:lnTo>
                    <a:lnTo>
                      <a:pt x="178" y="20"/>
                    </a:lnTo>
                    <a:lnTo>
                      <a:pt x="178" y="19"/>
                    </a:lnTo>
                    <a:lnTo>
                      <a:pt x="179" y="19"/>
                    </a:lnTo>
                    <a:lnTo>
                      <a:pt x="181" y="19"/>
                    </a:lnTo>
                    <a:lnTo>
                      <a:pt x="181" y="20"/>
                    </a:lnTo>
                    <a:lnTo>
                      <a:pt x="183" y="20"/>
                    </a:lnTo>
                    <a:lnTo>
                      <a:pt x="184" y="22"/>
                    </a:lnTo>
                    <a:lnTo>
                      <a:pt x="186" y="24"/>
                    </a:lnTo>
                    <a:lnTo>
                      <a:pt x="187" y="24"/>
                    </a:lnTo>
                    <a:lnTo>
                      <a:pt x="187" y="25"/>
                    </a:lnTo>
                    <a:lnTo>
                      <a:pt x="189" y="25"/>
                    </a:lnTo>
                    <a:lnTo>
                      <a:pt x="190" y="25"/>
                    </a:lnTo>
                    <a:lnTo>
                      <a:pt x="190" y="27"/>
                    </a:lnTo>
                    <a:lnTo>
                      <a:pt x="192" y="27"/>
                    </a:lnTo>
                    <a:lnTo>
                      <a:pt x="194" y="27"/>
                    </a:lnTo>
                    <a:lnTo>
                      <a:pt x="194" y="28"/>
                    </a:lnTo>
                    <a:lnTo>
                      <a:pt x="195" y="28"/>
                    </a:lnTo>
                    <a:lnTo>
                      <a:pt x="197" y="28"/>
                    </a:lnTo>
                    <a:lnTo>
                      <a:pt x="197" y="30"/>
                    </a:lnTo>
                    <a:lnTo>
                      <a:pt x="198" y="30"/>
                    </a:lnTo>
                    <a:lnTo>
                      <a:pt x="200" y="30"/>
                    </a:lnTo>
                    <a:lnTo>
                      <a:pt x="200" y="31"/>
                    </a:lnTo>
                    <a:lnTo>
                      <a:pt x="202" y="31"/>
                    </a:lnTo>
                    <a:lnTo>
                      <a:pt x="203" y="31"/>
                    </a:lnTo>
                    <a:lnTo>
                      <a:pt x="205" y="33"/>
                    </a:lnTo>
                    <a:lnTo>
                      <a:pt x="206" y="33"/>
                    </a:lnTo>
                    <a:lnTo>
                      <a:pt x="208" y="33"/>
                    </a:lnTo>
                    <a:lnTo>
                      <a:pt x="209" y="35"/>
                    </a:lnTo>
                    <a:lnTo>
                      <a:pt x="211" y="33"/>
                    </a:lnTo>
                    <a:lnTo>
                      <a:pt x="213" y="33"/>
                    </a:lnTo>
                    <a:lnTo>
                      <a:pt x="214" y="33"/>
                    </a:lnTo>
                    <a:lnTo>
                      <a:pt x="216" y="33"/>
                    </a:lnTo>
                    <a:lnTo>
                      <a:pt x="217" y="33"/>
                    </a:lnTo>
                    <a:lnTo>
                      <a:pt x="219" y="33"/>
                    </a:lnTo>
                    <a:lnTo>
                      <a:pt x="219" y="35"/>
                    </a:lnTo>
                    <a:lnTo>
                      <a:pt x="221" y="35"/>
                    </a:lnTo>
                    <a:lnTo>
                      <a:pt x="221" y="36"/>
                    </a:lnTo>
                    <a:lnTo>
                      <a:pt x="222" y="36"/>
                    </a:lnTo>
                    <a:lnTo>
                      <a:pt x="222" y="38"/>
                    </a:lnTo>
                    <a:lnTo>
                      <a:pt x="221" y="38"/>
                    </a:lnTo>
                    <a:lnTo>
                      <a:pt x="221" y="39"/>
                    </a:lnTo>
                    <a:lnTo>
                      <a:pt x="219" y="39"/>
                    </a:lnTo>
                    <a:lnTo>
                      <a:pt x="219" y="41"/>
                    </a:lnTo>
                    <a:lnTo>
                      <a:pt x="217" y="41"/>
                    </a:lnTo>
                    <a:lnTo>
                      <a:pt x="216" y="43"/>
                    </a:lnTo>
                    <a:lnTo>
                      <a:pt x="214" y="43"/>
                    </a:lnTo>
                    <a:lnTo>
                      <a:pt x="214" y="44"/>
                    </a:lnTo>
                    <a:lnTo>
                      <a:pt x="213" y="44"/>
                    </a:lnTo>
                    <a:lnTo>
                      <a:pt x="211" y="46"/>
                    </a:lnTo>
                    <a:lnTo>
                      <a:pt x="209" y="46"/>
                    </a:lnTo>
                    <a:lnTo>
                      <a:pt x="208" y="47"/>
                    </a:lnTo>
                    <a:lnTo>
                      <a:pt x="208" y="49"/>
                    </a:lnTo>
                    <a:lnTo>
                      <a:pt x="206" y="49"/>
                    </a:lnTo>
                    <a:lnTo>
                      <a:pt x="206" y="51"/>
                    </a:lnTo>
                    <a:lnTo>
                      <a:pt x="206" y="52"/>
                    </a:lnTo>
                    <a:lnTo>
                      <a:pt x="205" y="54"/>
                    </a:lnTo>
                    <a:lnTo>
                      <a:pt x="205" y="55"/>
                    </a:lnTo>
                    <a:lnTo>
                      <a:pt x="205" y="57"/>
                    </a:lnTo>
                    <a:lnTo>
                      <a:pt x="205" y="58"/>
                    </a:lnTo>
                    <a:lnTo>
                      <a:pt x="206" y="58"/>
                    </a:lnTo>
                    <a:lnTo>
                      <a:pt x="206" y="60"/>
                    </a:lnTo>
                    <a:lnTo>
                      <a:pt x="208" y="60"/>
                    </a:lnTo>
                    <a:lnTo>
                      <a:pt x="208" y="62"/>
                    </a:lnTo>
                    <a:lnTo>
                      <a:pt x="209" y="62"/>
                    </a:lnTo>
                    <a:lnTo>
                      <a:pt x="211" y="63"/>
                    </a:lnTo>
                    <a:lnTo>
                      <a:pt x="213" y="65"/>
                    </a:lnTo>
                    <a:lnTo>
                      <a:pt x="214" y="65"/>
                    </a:lnTo>
                    <a:lnTo>
                      <a:pt x="216" y="66"/>
                    </a:lnTo>
                    <a:lnTo>
                      <a:pt x="217" y="66"/>
                    </a:lnTo>
                    <a:lnTo>
                      <a:pt x="217" y="68"/>
                    </a:lnTo>
                    <a:lnTo>
                      <a:pt x="219" y="68"/>
                    </a:lnTo>
                    <a:lnTo>
                      <a:pt x="221" y="68"/>
                    </a:lnTo>
                    <a:lnTo>
                      <a:pt x="222" y="68"/>
                    </a:lnTo>
                    <a:lnTo>
                      <a:pt x="224" y="68"/>
                    </a:lnTo>
                    <a:lnTo>
                      <a:pt x="225" y="68"/>
                    </a:lnTo>
                    <a:lnTo>
                      <a:pt x="227" y="68"/>
                    </a:lnTo>
                    <a:lnTo>
                      <a:pt x="228" y="68"/>
                    </a:lnTo>
                    <a:lnTo>
                      <a:pt x="230" y="68"/>
                    </a:lnTo>
                    <a:lnTo>
                      <a:pt x="232" y="68"/>
                    </a:lnTo>
                    <a:lnTo>
                      <a:pt x="233" y="68"/>
                    </a:lnTo>
                    <a:lnTo>
                      <a:pt x="235" y="68"/>
                    </a:lnTo>
                    <a:lnTo>
                      <a:pt x="236" y="68"/>
                    </a:lnTo>
                    <a:lnTo>
                      <a:pt x="238" y="68"/>
                    </a:lnTo>
                    <a:lnTo>
                      <a:pt x="238" y="66"/>
                    </a:lnTo>
                    <a:lnTo>
                      <a:pt x="238" y="65"/>
                    </a:lnTo>
                    <a:lnTo>
                      <a:pt x="236" y="63"/>
                    </a:lnTo>
                    <a:lnTo>
                      <a:pt x="236" y="62"/>
                    </a:lnTo>
                    <a:lnTo>
                      <a:pt x="236" y="60"/>
                    </a:lnTo>
                    <a:lnTo>
                      <a:pt x="238" y="60"/>
                    </a:lnTo>
                    <a:lnTo>
                      <a:pt x="238" y="58"/>
                    </a:lnTo>
                    <a:lnTo>
                      <a:pt x="236" y="58"/>
                    </a:lnTo>
                    <a:lnTo>
                      <a:pt x="236" y="57"/>
                    </a:lnTo>
                    <a:lnTo>
                      <a:pt x="236" y="55"/>
                    </a:lnTo>
                    <a:lnTo>
                      <a:pt x="235" y="54"/>
                    </a:lnTo>
                    <a:lnTo>
                      <a:pt x="235" y="52"/>
                    </a:lnTo>
                    <a:lnTo>
                      <a:pt x="235" y="51"/>
                    </a:lnTo>
                    <a:lnTo>
                      <a:pt x="235" y="49"/>
                    </a:lnTo>
                    <a:lnTo>
                      <a:pt x="235" y="47"/>
                    </a:lnTo>
                    <a:lnTo>
                      <a:pt x="233" y="47"/>
                    </a:lnTo>
                    <a:lnTo>
                      <a:pt x="233" y="46"/>
                    </a:lnTo>
                    <a:lnTo>
                      <a:pt x="233" y="44"/>
                    </a:lnTo>
                    <a:lnTo>
                      <a:pt x="235" y="44"/>
                    </a:lnTo>
                    <a:lnTo>
                      <a:pt x="236" y="46"/>
                    </a:lnTo>
                    <a:lnTo>
                      <a:pt x="238" y="46"/>
                    </a:lnTo>
                    <a:lnTo>
                      <a:pt x="240" y="46"/>
                    </a:lnTo>
                    <a:lnTo>
                      <a:pt x="241" y="46"/>
                    </a:lnTo>
                    <a:lnTo>
                      <a:pt x="243" y="46"/>
                    </a:lnTo>
                    <a:lnTo>
                      <a:pt x="244" y="46"/>
                    </a:lnTo>
                    <a:lnTo>
                      <a:pt x="246" y="46"/>
                    </a:lnTo>
                    <a:lnTo>
                      <a:pt x="247" y="46"/>
                    </a:lnTo>
                    <a:lnTo>
                      <a:pt x="249" y="46"/>
                    </a:lnTo>
                    <a:lnTo>
                      <a:pt x="251" y="46"/>
                    </a:lnTo>
                    <a:lnTo>
                      <a:pt x="252" y="46"/>
                    </a:lnTo>
                    <a:lnTo>
                      <a:pt x="254" y="46"/>
                    </a:lnTo>
                    <a:lnTo>
                      <a:pt x="255" y="46"/>
                    </a:lnTo>
                    <a:lnTo>
                      <a:pt x="257" y="46"/>
                    </a:lnTo>
                    <a:lnTo>
                      <a:pt x="259" y="46"/>
                    </a:lnTo>
                    <a:lnTo>
                      <a:pt x="260" y="46"/>
                    </a:lnTo>
                    <a:lnTo>
                      <a:pt x="262" y="46"/>
                    </a:lnTo>
                    <a:lnTo>
                      <a:pt x="263" y="46"/>
                    </a:lnTo>
                    <a:lnTo>
                      <a:pt x="265" y="46"/>
                    </a:lnTo>
                    <a:lnTo>
                      <a:pt x="266" y="46"/>
                    </a:lnTo>
                    <a:lnTo>
                      <a:pt x="268" y="46"/>
                    </a:lnTo>
                    <a:lnTo>
                      <a:pt x="270" y="46"/>
                    </a:lnTo>
                    <a:lnTo>
                      <a:pt x="271" y="46"/>
                    </a:lnTo>
                    <a:lnTo>
                      <a:pt x="273" y="46"/>
                    </a:lnTo>
                    <a:lnTo>
                      <a:pt x="274" y="46"/>
                    </a:lnTo>
                    <a:lnTo>
                      <a:pt x="276" y="47"/>
                    </a:lnTo>
                    <a:lnTo>
                      <a:pt x="278" y="47"/>
                    </a:lnTo>
                    <a:lnTo>
                      <a:pt x="279" y="46"/>
                    </a:lnTo>
                    <a:lnTo>
                      <a:pt x="279" y="44"/>
                    </a:lnTo>
                    <a:lnTo>
                      <a:pt x="279" y="43"/>
                    </a:lnTo>
                    <a:lnTo>
                      <a:pt x="279" y="41"/>
                    </a:lnTo>
                    <a:lnTo>
                      <a:pt x="279" y="39"/>
                    </a:lnTo>
                    <a:lnTo>
                      <a:pt x="279" y="38"/>
                    </a:lnTo>
                    <a:lnTo>
                      <a:pt x="279" y="36"/>
                    </a:lnTo>
                    <a:lnTo>
                      <a:pt x="279" y="35"/>
                    </a:lnTo>
                    <a:lnTo>
                      <a:pt x="279" y="33"/>
                    </a:lnTo>
                    <a:lnTo>
                      <a:pt x="281" y="31"/>
                    </a:lnTo>
                    <a:lnTo>
                      <a:pt x="281" y="30"/>
                    </a:lnTo>
                    <a:lnTo>
                      <a:pt x="282" y="30"/>
                    </a:lnTo>
                    <a:lnTo>
                      <a:pt x="282" y="28"/>
                    </a:lnTo>
                    <a:lnTo>
                      <a:pt x="284" y="27"/>
                    </a:lnTo>
                    <a:lnTo>
                      <a:pt x="284" y="25"/>
                    </a:lnTo>
                    <a:lnTo>
                      <a:pt x="284" y="24"/>
                    </a:lnTo>
                    <a:lnTo>
                      <a:pt x="285" y="22"/>
                    </a:lnTo>
                    <a:lnTo>
                      <a:pt x="285" y="20"/>
                    </a:lnTo>
                    <a:lnTo>
                      <a:pt x="284" y="19"/>
                    </a:lnTo>
                    <a:lnTo>
                      <a:pt x="284" y="17"/>
                    </a:lnTo>
                    <a:lnTo>
                      <a:pt x="282" y="16"/>
                    </a:lnTo>
                    <a:lnTo>
                      <a:pt x="282" y="14"/>
                    </a:lnTo>
                    <a:lnTo>
                      <a:pt x="282" y="12"/>
                    </a:lnTo>
                    <a:lnTo>
                      <a:pt x="281" y="11"/>
                    </a:lnTo>
                    <a:lnTo>
                      <a:pt x="281" y="9"/>
                    </a:lnTo>
                    <a:lnTo>
                      <a:pt x="279" y="8"/>
                    </a:lnTo>
                    <a:lnTo>
                      <a:pt x="279" y="6"/>
                    </a:lnTo>
                    <a:lnTo>
                      <a:pt x="279" y="5"/>
                    </a:lnTo>
                    <a:lnTo>
                      <a:pt x="279" y="3"/>
                    </a:lnTo>
                    <a:lnTo>
                      <a:pt x="281" y="3"/>
                    </a:lnTo>
                    <a:lnTo>
                      <a:pt x="281" y="1"/>
                    </a:lnTo>
                    <a:lnTo>
                      <a:pt x="281" y="0"/>
                    </a:lnTo>
                    <a:lnTo>
                      <a:pt x="282" y="0"/>
                    </a:lnTo>
                    <a:lnTo>
                      <a:pt x="284" y="0"/>
                    </a:lnTo>
                    <a:lnTo>
                      <a:pt x="284" y="1"/>
                    </a:lnTo>
                    <a:lnTo>
                      <a:pt x="284" y="3"/>
                    </a:lnTo>
                    <a:lnTo>
                      <a:pt x="285" y="3"/>
                    </a:lnTo>
                    <a:lnTo>
                      <a:pt x="287" y="3"/>
                    </a:lnTo>
                    <a:lnTo>
                      <a:pt x="289" y="5"/>
                    </a:lnTo>
                    <a:lnTo>
                      <a:pt x="290" y="5"/>
                    </a:lnTo>
                    <a:lnTo>
                      <a:pt x="290" y="3"/>
                    </a:lnTo>
                    <a:lnTo>
                      <a:pt x="298" y="5"/>
                    </a:lnTo>
                    <a:lnTo>
                      <a:pt x="298" y="6"/>
                    </a:lnTo>
                    <a:lnTo>
                      <a:pt x="297" y="20"/>
                    </a:lnTo>
                    <a:lnTo>
                      <a:pt x="287" y="28"/>
                    </a:lnTo>
                    <a:lnTo>
                      <a:pt x="285" y="39"/>
                    </a:lnTo>
                    <a:lnTo>
                      <a:pt x="287" y="51"/>
                    </a:lnTo>
                    <a:lnTo>
                      <a:pt x="282" y="60"/>
                    </a:lnTo>
                    <a:lnTo>
                      <a:pt x="284" y="63"/>
                    </a:lnTo>
                    <a:lnTo>
                      <a:pt x="282" y="76"/>
                    </a:lnTo>
                    <a:lnTo>
                      <a:pt x="292" y="90"/>
                    </a:lnTo>
                    <a:lnTo>
                      <a:pt x="297" y="92"/>
                    </a:lnTo>
                    <a:lnTo>
                      <a:pt x="297" y="90"/>
                    </a:lnTo>
                    <a:lnTo>
                      <a:pt x="297" y="89"/>
                    </a:lnTo>
                    <a:lnTo>
                      <a:pt x="298" y="87"/>
                    </a:lnTo>
                    <a:lnTo>
                      <a:pt x="298" y="85"/>
                    </a:lnTo>
                    <a:lnTo>
                      <a:pt x="298" y="84"/>
                    </a:lnTo>
                    <a:lnTo>
                      <a:pt x="298" y="82"/>
                    </a:lnTo>
                    <a:lnTo>
                      <a:pt x="298" y="81"/>
                    </a:lnTo>
                    <a:lnTo>
                      <a:pt x="298" y="79"/>
                    </a:lnTo>
                    <a:lnTo>
                      <a:pt x="298" y="77"/>
                    </a:lnTo>
                    <a:lnTo>
                      <a:pt x="298" y="76"/>
                    </a:lnTo>
                    <a:lnTo>
                      <a:pt x="298" y="74"/>
                    </a:lnTo>
                    <a:lnTo>
                      <a:pt x="300" y="73"/>
                    </a:lnTo>
                    <a:lnTo>
                      <a:pt x="301" y="73"/>
                    </a:lnTo>
                    <a:lnTo>
                      <a:pt x="303" y="73"/>
                    </a:lnTo>
                    <a:lnTo>
                      <a:pt x="303" y="71"/>
                    </a:lnTo>
                    <a:lnTo>
                      <a:pt x="304" y="70"/>
                    </a:lnTo>
                    <a:lnTo>
                      <a:pt x="306" y="68"/>
                    </a:lnTo>
                    <a:lnTo>
                      <a:pt x="308" y="68"/>
                    </a:lnTo>
                    <a:lnTo>
                      <a:pt x="309" y="66"/>
                    </a:lnTo>
                    <a:lnTo>
                      <a:pt x="311" y="65"/>
                    </a:lnTo>
                    <a:lnTo>
                      <a:pt x="312" y="62"/>
                    </a:lnTo>
                    <a:lnTo>
                      <a:pt x="314" y="60"/>
                    </a:lnTo>
                    <a:lnTo>
                      <a:pt x="316" y="57"/>
                    </a:lnTo>
                    <a:lnTo>
                      <a:pt x="317" y="57"/>
                    </a:lnTo>
                    <a:lnTo>
                      <a:pt x="317" y="55"/>
                    </a:lnTo>
                    <a:lnTo>
                      <a:pt x="319" y="54"/>
                    </a:lnTo>
                    <a:lnTo>
                      <a:pt x="320" y="51"/>
                    </a:lnTo>
                    <a:lnTo>
                      <a:pt x="322" y="49"/>
                    </a:lnTo>
                    <a:lnTo>
                      <a:pt x="323" y="49"/>
                    </a:lnTo>
                    <a:lnTo>
                      <a:pt x="323" y="47"/>
                    </a:lnTo>
                    <a:lnTo>
                      <a:pt x="325" y="47"/>
                    </a:lnTo>
                    <a:lnTo>
                      <a:pt x="325" y="46"/>
                    </a:lnTo>
                    <a:lnTo>
                      <a:pt x="327" y="46"/>
                    </a:lnTo>
                    <a:lnTo>
                      <a:pt x="327" y="43"/>
                    </a:lnTo>
                    <a:lnTo>
                      <a:pt x="328" y="39"/>
                    </a:lnTo>
                    <a:lnTo>
                      <a:pt x="330" y="38"/>
                    </a:lnTo>
                    <a:lnTo>
                      <a:pt x="330" y="36"/>
                    </a:lnTo>
                    <a:lnTo>
                      <a:pt x="330" y="35"/>
                    </a:lnTo>
                    <a:lnTo>
                      <a:pt x="331" y="35"/>
                    </a:lnTo>
                    <a:lnTo>
                      <a:pt x="333" y="35"/>
                    </a:lnTo>
                    <a:lnTo>
                      <a:pt x="335" y="35"/>
                    </a:lnTo>
                    <a:lnTo>
                      <a:pt x="336" y="35"/>
                    </a:lnTo>
                    <a:lnTo>
                      <a:pt x="336" y="33"/>
                    </a:lnTo>
                    <a:lnTo>
                      <a:pt x="336" y="31"/>
                    </a:lnTo>
                    <a:lnTo>
                      <a:pt x="338" y="31"/>
                    </a:lnTo>
                    <a:lnTo>
                      <a:pt x="338" y="30"/>
                    </a:lnTo>
                    <a:lnTo>
                      <a:pt x="339" y="30"/>
                    </a:lnTo>
                    <a:lnTo>
                      <a:pt x="341" y="30"/>
                    </a:lnTo>
                    <a:lnTo>
                      <a:pt x="342" y="30"/>
                    </a:lnTo>
                    <a:lnTo>
                      <a:pt x="344" y="28"/>
                    </a:lnTo>
                    <a:lnTo>
                      <a:pt x="344" y="27"/>
                    </a:lnTo>
                    <a:lnTo>
                      <a:pt x="346" y="27"/>
                    </a:lnTo>
                    <a:lnTo>
                      <a:pt x="347" y="27"/>
                    </a:lnTo>
                    <a:lnTo>
                      <a:pt x="347" y="25"/>
                    </a:lnTo>
                    <a:lnTo>
                      <a:pt x="349" y="25"/>
                    </a:lnTo>
                    <a:lnTo>
                      <a:pt x="350" y="25"/>
                    </a:lnTo>
                    <a:lnTo>
                      <a:pt x="352" y="25"/>
                    </a:lnTo>
                    <a:lnTo>
                      <a:pt x="354" y="27"/>
                    </a:lnTo>
                    <a:lnTo>
                      <a:pt x="354" y="28"/>
                    </a:lnTo>
                    <a:lnTo>
                      <a:pt x="355" y="30"/>
                    </a:lnTo>
                    <a:lnTo>
                      <a:pt x="355" y="31"/>
                    </a:lnTo>
                    <a:lnTo>
                      <a:pt x="357" y="31"/>
                    </a:lnTo>
                    <a:lnTo>
                      <a:pt x="357" y="33"/>
                    </a:lnTo>
                    <a:lnTo>
                      <a:pt x="357" y="35"/>
                    </a:lnTo>
                    <a:lnTo>
                      <a:pt x="358" y="35"/>
                    </a:lnTo>
                    <a:lnTo>
                      <a:pt x="360" y="36"/>
                    </a:lnTo>
                    <a:lnTo>
                      <a:pt x="358" y="38"/>
                    </a:lnTo>
                    <a:lnTo>
                      <a:pt x="358" y="39"/>
                    </a:lnTo>
                    <a:lnTo>
                      <a:pt x="360" y="39"/>
                    </a:lnTo>
                    <a:lnTo>
                      <a:pt x="360" y="41"/>
                    </a:lnTo>
                    <a:lnTo>
                      <a:pt x="360" y="43"/>
                    </a:lnTo>
                    <a:lnTo>
                      <a:pt x="362" y="43"/>
                    </a:lnTo>
                    <a:lnTo>
                      <a:pt x="362" y="44"/>
                    </a:lnTo>
                    <a:lnTo>
                      <a:pt x="362" y="46"/>
                    </a:lnTo>
                    <a:lnTo>
                      <a:pt x="363" y="46"/>
                    </a:lnTo>
                    <a:lnTo>
                      <a:pt x="363" y="47"/>
                    </a:lnTo>
                    <a:lnTo>
                      <a:pt x="363" y="49"/>
                    </a:lnTo>
                    <a:lnTo>
                      <a:pt x="365" y="49"/>
                    </a:lnTo>
                    <a:lnTo>
                      <a:pt x="365" y="51"/>
                    </a:lnTo>
                    <a:lnTo>
                      <a:pt x="366" y="52"/>
                    </a:lnTo>
                    <a:lnTo>
                      <a:pt x="366" y="54"/>
                    </a:lnTo>
                    <a:lnTo>
                      <a:pt x="368" y="54"/>
                    </a:lnTo>
                    <a:lnTo>
                      <a:pt x="368" y="55"/>
                    </a:lnTo>
                    <a:lnTo>
                      <a:pt x="369" y="55"/>
                    </a:lnTo>
                    <a:lnTo>
                      <a:pt x="369" y="57"/>
                    </a:lnTo>
                    <a:lnTo>
                      <a:pt x="371" y="58"/>
                    </a:lnTo>
                    <a:lnTo>
                      <a:pt x="371" y="60"/>
                    </a:lnTo>
                    <a:lnTo>
                      <a:pt x="373" y="62"/>
                    </a:lnTo>
                    <a:lnTo>
                      <a:pt x="373" y="63"/>
                    </a:lnTo>
                    <a:lnTo>
                      <a:pt x="374" y="63"/>
                    </a:lnTo>
                    <a:lnTo>
                      <a:pt x="374" y="65"/>
                    </a:lnTo>
                    <a:lnTo>
                      <a:pt x="374" y="66"/>
                    </a:lnTo>
                    <a:lnTo>
                      <a:pt x="376" y="66"/>
                    </a:lnTo>
                    <a:lnTo>
                      <a:pt x="376" y="68"/>
                    </a:lnTo>
                    <a:lnTo>
                      <a:pt x="376" y="70"/>
                    </a:lnTo>
                    <a:lnTo>
                      <a:pt x="377" y="70"/>
                    </a:lnTo>
                    <a:lnTo>
                      <a:pt x="377" y="71"/>
                    </a:lnTo>
                    <a:lnTo>
                      <a:pt x="379" y="71"/>
                    </a:lnTo>
                    <a:lnTo>
                      <a:pt x="379" y="73"/>
                    </a:lnTo>
                    <a:lnTo>
                      <a:pt x="379" y="74"/>
                    </a:lnTo>
                    <a:lnTo>
                      <a:pt x="384" y="81"/>
                    </a:lnTo>
                    <a:lnTo>
                      <a:pt x="385" y="81"/>
                    </a:lnTo>
                    <a:lnTo>
                      <a:pt x="385" y="82"/>
                    </a:lnTo>
                    <a:lnTo>
                      <a:pt x="385" y="84"/>
                    </a:lnTo>
                    <a:lnTo>
                      <a:pt x="387" y="84"/>
                    </a:lnTo>
                    <a:lnTo>
                      <a:pt x="387" y="85"/>
                    </a:lnTo>
                    <a:lnTo>
                      <a:pt x="388" y="89"/>
                    </a:lnTo>
                    <a:lnTo>
                      <a:pt x="390" y="89"/>
                    </a:lnTo>
                    <a:lnTo>
                      <a:pt x="390" y="90"/>
                    </a:lnTo>
                    <a:lnTo>
                      <a:pt x="392" y="92"/>
                    </a:lnTo>
                    <a:lnTo>
                      <a:pt x="392" y="93"/>
                    </a:lnTo>
                    <a:lnTo>
                      <a:pt x="393" y="93"/>
                    </a:lnTo>
                    <a:lnTo>
                      <a:pt x="396" y="98"/>
                    </a:lnTo>
                    <a:lnTo>
                      <a:pt x="396" y="100"/>
                    </a:lnTo>
                    <a:lnTo>
                      <a:pt x="398" y="101"/>
                    </a:lnTo>
                    <a:lnTo>
                      <a:pt x="398" y="103"/>
                    </a:lnTo>
                    <a:lnTo>
                      <a:pt x="400" y="104"/>
                    </a:lnTo>
                    <a:lnTo>
                      <a:pt x="401" y="106"/>
                    </a:lnTo>
                    <a:lnTo>
                      <a:pt x="401" y="108"/>
                    </a:lnTo>
                    <a:lnTo>
                      <a:pt x="403" y="108"/>
                    </a:lnTo>
                    <a:lnTo>
                      <a:pt x="403" y="109"/>
                    </a:lnTo>
                    <a:lnTo>
                      <a:pt x="404" y="111"/>
                    </a:lnTo>
                    <a:lnTo>
                      <a:pt x="404" y="112"/>
                    </a:lnTo>
                    <a:lnTo>
                      <a:pt x="406" y="112"/>
                    </a:lnTo>
                    <a:lnTo>
                      <a:pt x="406" y="114"/>
                    </a:lnTo>
                    <a:lnTo>
                      <a:pt x="407" y="115"/>
                    </a:lnTo>
                    <a:lnTo>
                      <a:pt x="414" y="125"/>
                    </a:lnTo>
                    <a:lnTo>
                      <a:pt x="417" y="130"/>
                    </a:lnTo>
                    <a:lnTo>
                      <a:pt x="419" y="131"/>
                    </a:lnTo>
                    <a:lnTo>
                      <a:pt x="419" y="133"/>
                    </a:lnTo>
                    <a:lnTo>
                      <a:pt x="420" y="133"/>
                    </a:lnTo>
                    <a:lnTo>
                      <a:pt x="420" y="134"/>
                    </a:lnTo>
                    <a:lnTo>
                      <a:pt x="422" y="136"/>
                    </a:lnTo>
                    <a:lnTo>
                      <a:pt x="422" y="138"/>
                    </a:lnTo>
                    <a:lnTo>
                      <a:pt x="423" y="138"/>
                    </a:lnTo>
                    <a:lnTo>
                      <a:pt x="423" y="139"/>
                    </a:lnTo>
                    <a:lnTo>
                      <a:pt x="425" y="141"/>
                    </a:lnTo>
                    <a:lnTo>
                      <a:pt x="425" y="142"/>
                    </a:lnTo>
                    <a:lnTo>
                      <a:pt x="426" y="144"/>
                    </a:lnTo>
                    <a:lnTo>
                      <a:pt x="431" y="147"/>
                    </a:lnTo>
                    <a:lnTo>
                      <a:pt x="433" y="150"/>
                    </a:lnTo>
                    <a:lnTo>
                      <a:pt x="434" y="152"/>
                    </a:lnTo>
                    <a:lnTo>
                      <a:pt x="436" y="153"/>
                    </a:lnTo>
                    <a:lnTo>
                      <a:pt x="439" y="158"/>
                    </a:lnTo>
                    <a:lnTo>
                      <a:pt x="439" y="160"/>
                    </a:lnTo>
                    <a:lnTo>
                      <a:pt x="450" y="179"/>
                    </a:lnTo>
                    <a:lnTo>
                      <a:pt x="453" y="180"/>
                    </a:lnTo>
                    <a:lnTo>
                      <a:pt x="455" y="182"/>
                    </a:lnTo>
                    <a:lnTo>
                      <a:pt x="460" y="188"/>
                    </a:lnTo>
                    <a:lnTo>
                      <a:pt x="460" y="190"/>
                    </a:lnTo>
                    <a:lnTo>
                      <a:pt x="469" y="203"/>
                    </a:lnTo>
                    <a:lnTo>
                      <a:pt x="469" y="204"/>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73" name="Freeform 53"/>
              <p:cNvSpPr>
                <a:spLocks/>
              </p:cNvSpPr>
              <p:nvPr/>
            </p:nvSpPr>
            <p:spPr bwMode="auto">
              <a:xfrm>
                <a:off x="4134" y="1337"/>
                <a:ext cx="574" cy="830"/>
              </a:xfrm>
              <a:custGeom>
                <a:avLst/>
                <a:gdLst>
                  <a:gd name="T0" fmla="*/ 30 w 574"/>
                  <a:gd name="T1" fmla="*/ 211 h 830"/>
                  <a:gd name="T2" fmla="*/ 56 w 574"/>
                  <a:gd name="T3" fmla="*/ 206 h 830"/>
                  <a:gd name="T4" fmla="*/ 76 w 574"/>
                  <a:gd name="T5" fmla="*/ 203 h 830"/>
                  <a:gd name="T6" fmla="*/ 72 w 574"/>
                  <a:gd name="T7" fmla="*/ 177 h 830"/>
                  <a:gd name="T8" fmla="*/ 72 w 574"/>
                  <a:gd name="T9" fmla="*/ 157 h 830"/>
                  <a:gd name="T10" fmla="*/ 67 w 574"/>
                  <a:gd name="T11" fmla="*/ 133 h 830"/>
                  <a:gd name="T12" fmla="*/ 70 w 574"/>
                  <a:gd name="T13" fmla="*/ 97 h 830"/>
                  <a:gd name="T14" fmla="*/ 84 w 574"/>
                  <a:gd name="T15" fmla="*/ 82 h 830"/>
                  <a:gd name="T16" fmla="*/ 97 w 574"/>
                  <a:gd name="T17" fmla="*/ 66 h 830"/>
                  <a:gd name="T18" fmla="*/ 116 w 574"/>
                  <a:gd name="T19" fmla="*/ 60 h 830"/>
                  <a:gd name="T20" fmla="*/ 130 w 574"/>
                  <a:gd name="T21" fmla="*/ 47 h 830"/>
                  <a:gd name="T22" fmla="*/ 151 w 574"/>
                  <a:gd name="T23" fmla="*/ 49 h 830"/>
                  <a:gd name="T24" fmla="*/ 162 w 574"/>
                  <a:gd name="T25" fmla="*/ 68 h 830"/>
                  <a:gd name="T26" fmla="*/ 179 w 574"/>
                  <a:gd name="T27" fmla="*/ 55 h 830"/>
                  <a:gd name="T28" fmla="*/ 197 w 574"/>
                  <a:gd name="T29" fmla="*/ 41 h 830"/>
                  <a:gd name="T30" fmla="*/ 217 w 574"/>
                  <a:gd name="T31" fmla="*/ 38 h 830"/>
                  <a:gd name="T32" fmla="*/ 230 w 574"/>
                  <a:gd name="T33" fmla="*/ 24 h 830"/>
                  <a:gd name="T34" fmla="*/ 252 w 574"/>
                  <a:gd name="T35" fmla="*/ 13 h 830"/>
                  <a:gd name="T36" fmla="*/ 274 w 574"/>
                  <a:gd name="T37" fmla="*/ 13 h 830"/>
                  <a:gd name="T38" fmla="*/ 292 w 574"/>
                  <a:gd name="T39" fmla="*/ 0 h 830"/>
                  <a:gd name="T40" fmla="*/ 309 w 574"/>
                  <a:gd name="T41" fmla="*/ 16 h 830"/>
                  <a:gd name="T42" fmla="*/ 325 w 574"/>
                  <a:gd name="T43" fmla="*/ 27 h 830"/>
                  <a:gd name="T44" fmla="*/ 334 w 574"/>
                  <a:gd name="T45" fmla="*/ 44 h 830"/>
                  <a:gd name="T46" fmla="*/ 344 w 574"/>
                  <a:gd name="T47" fmla="*/ 63 h 830"/>
                  <a:gd name="T48" fmla="*/ 363 w 574"/>
                  <a:gd name="T49" fmla="*/ 86 h 830"/>
                  <a:gd name="T50" fmla="*/ 372 w 574"/>
                  <a:gd name="T51" fmla="*/ 106 h 830"/>
                  <a:gd name="T52" fmla="*/ 377 w 574"/>
                  <a:gd name="T53" fmla="*/ 130 h 830"/>
                  <a:gd name="T54" fmla="*/ 379 w 574"/>
                  <a:gd name="T55" fmla="*/ 146 h 830"/>
                  <a:gd name="T56" fmla="*/ 377 w 574"/>
                  <a:gd name="T57" fmla="*/ 166 h 830"/>
                  <a:gd name="T58" fmla="*/ 385 w 574"/>
                  <a:gd name="T59" fmla="*/ 184 h 830"/>
                  <a:gd name="T60" fmla="*/ 393 w 574"/>
                  <a:gd name="T61" fmla="*/ 203 h 830"/>
                  <a:gd name="T62" fmla="*/ 395 w 574"/>
                  <a:gd name="T63" fmla="*/ 225 h 830"/>
                  <a:gd name="T64" fmla="*/ 390 w 574"/>
                  <a:gd name="T65" fmla="*/ 245 h 830"/>
                  <a:gd name="T66" fmla="*/ 391 w 574"/>
                  <a:gd name="T67" fmla="*/ 271 h 830"/>
                  <a:gd name="T68" fmla="*/ 388 w 574"/>
                  <a:gd name="T69" fmla="*/ 295 h 830"/>
                  <a:gd name="T70" fmla="*/ 395 w 574"/>
                  <a:gd name="T71" fmla="*/ 314 h 830"/>
                  <a:gd name="T72" fmla="*/ 409 w 574"/>
                  <a:gd name="T73" fmla="*/ 331 h 830"/>
                  <a:gd name="T74" fmla="*/ 429 w 574"/>
                  <a:gd name="T75" fmla="*/ 342 h 830"/>
                  <a:gd name="T76" fmla="*/ 452 w 574"/>
                  <a:gd name="T77" fmla="*/ 350 h 830"/>
                  <a:gd name="T78" fmla="*/ 469 w 574"/>
                  <a:gd name="T79" fmla="*/ 364 h 830"/>
                  <a:gd name="T80" fmla="*/ 487 w 574"/>
                  <a:gd name="T81" fmla="*/ 374 h 830"/>
                  <a:gd name="T82" fmla="*/ 506 w 574"/>
                  <a:gd name="T83" fmla="*/ 367 h 830"/>
                  <a:gd name="T84" fmla="*/ 529 w 574"/>
                  <a:gd name="T85" fmla="*/ 367 h 830"/>
                  <a:gd name="T86" fmla="*/ 544 w 574"/>
                  <a:gd name="T87" fmla="*/ 374 h 830"/>
                  <a:gd name="T88" fmla="*/ 558 w 574"/>
                  <a:gd name="T89" fmla="*/ 383 h 830"/>
                  <a:gd name="T90" fmla="*/ 545 w 574"/>
                  <a:gd name="T91" fmla="*/ 431 h 830"/>
                  <a:gd name="T92" fmla="*/ 556 w 574"/>
                  <a:gd name="T93" fmla="*/ 474 h 830"/>
                  <a:gd name="T94" fmla="*/ 572 w 574"/>
                  <a:gd name="T95" fmla="*/ 501 h 830"/>
                  <a:gd name="T96" fmla="*/ 528 w 574"/>
                  <a:gd name="T97" fmla="*/ 494 h 830"/>
                  <a:gd name="T98" fmla="*/ 461 w 574"/>
                  <a:gd name="T99" fmla="*/ 507 h 830"/>
                  <a:gd name="T100" fmla="*/ 434 w 574"/>
                  <a:gd name="T101" fmla="*/ 497 h 830"/>
                  <a:gd name="T102" fmla="*/ 415 w 574"/>
                  <a:gd name="T103" fmla="*/ 502 h 830"/>
                  <a:gd name="T104" fmla="*/ 398 w 574"/>
                  <a:gd name="T105" fmla="*/ 521 h 830"/>
                  <a:gd name="T106" fmla="*/ 382 w 574"/>
                  <a:gd name="T107" fmla="*/ 539 h 830"/>
                  <a:gd name="T108" fmla="*/ 368 w 574"/>
                  <a:gd name="T109" fmla="*/ 556 h 830"/>
                  <a:gd name="T110" fmla="*/ 353 w 574"/>
                  <a:gd name="T111" fmla="*/ 573 h 830"/>
                  <a:gd name="T112" fmla="*/ 333 w 574"/>
                  <a:gd name="T113" fmla="*/ 661 h 830"/>
                  <a:gd name="T114" fmla="*/ 298 w 574"/>
                  <a:gd name="T115" fmla="*/ 737 h 830"/>
                  <a:gd name="T116" fmla="*/ 225 w 574"/>
                  <a:gd name="T117" fmla="*/ 805 h 830"/>
                  <a:gd name="T118" fmla="*/ 154 w 574"/>
                  <a:gd name="T119" fmla="*/ 82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4" h="830">
                    <a:moveTo>
                      <a:pt x="0" y="239"/>
                    </a:moveTo>
                    <a:lnTo>
                      <a:pt x="2" y="239"/>
                    </a:lnTo>
                    <a:lnTo>
                      <a:pt x="5" y="236"/>
                    </a:lnTo>
                    <a:lnTo>
                      <a:pt x="8" y="231"/>
                    </a:lnTo>
                    <a:lnTo>
                      <a:pt x="14" y="226"/>
                    </a:lnTo>
                    <a:lnTo>
                      <a:pt x="16" y="220"/>
                    </a:lnTo>
                    <a:lnTo>
                      <a:pt x="16" y="219"/>
                    </a:lnTo>
                    <a:lnTo>
                      <a:pt x="18" y="212"/>
                    </a:lnTo>
                    <a:lnTo>
                      <a:pt x="19" y="212"/>
                    </a:lnTo>
                    <a:lnTo>
                      <a:pt x="21" y="212"/>
                    </a:lnTo>
                    <a:lnTo>
                      <a:pt x="22" y="212"/>
                    </a:lnTo>
                    <a:lnTo>
                      <a:pt x="24" y="212"/>
                    </a:lnTo>
                    <a:lnTo>
                      <a:pt x="26" y="212"/>
                    </a:lnTo>
                    <a:lnTo>
                      <a:pt x="27" y="212"/>
                    </a:lnTo>
                    <a:lnTo>
                      <a:pt x="27" y="211"/>
                    </a:lnTo>
                    <a:lnTo>
                      <a:pt x="29" y="211"/>
                    </a:lnTo>
                    <a:lnTo>
                      <a:pt x="30" y="211"/>
                    </a:lnTo>
                    <a:lnTo>
                      <a:pt x="32" y="211"/>
                    </a:lnTo>
                    <a:lnTo>
                      <a:pt x="33" y="211"/>
                    </a:lnTo>
                    <a:lnTo>
                      <a:pt x="35" y="211"/>
                    </a:lnTo>
                    <a:lnTo>
                      <a:pt x="37" y="211"/>
                    </a:lnTo>
                    <a:lnTo>
                      <a:pt x="38" y="211"/>
                    </a:lnTo>
                    <a:lnTo>
                      <a:pt x="40" y="211"/>
                    </a:lnTo>
                    <a:lnTo>
                      <a:pt x="41" y="211"/>
                    </a:lnTo>
                    <a:lnTo>
                      <a:pt x="43" y="211"/>
                    </a:lnTo>
                    <a:lnTo>
                      <a:pt x="45" y="211"/>
                    </a:lnTo>
                    <a:lnTo>
                      <a:pt x="46" y="211"/>
                    </a:lnTo>
                    <a:lnTo>
                      <a:pt x="46" y="209"/>
                    </a:lnTo>
                    <a:lnTo>
                      <a:pt x="48" y="209"/>
                    </a:lnTo>
                    <a:lnTo>
                      <a:pt x="49" y="209"/>
                    </a:lnTo>
                    <a:lnTo>
                      <a:pt x="51" y="209"/>
                    </a:lnTo>
                    <a:lnTo>
                      <a:pt x="52" y="207"/>
                    </a:lnTo>
                    <a:lnTo>
                      <a:pt x="54" y="207"/>
                    </a:lnTo>
                    <a:lnTo>
                      <a:pt x="56" y="206"/>
                    </a:lnTo>
                    <a:lnTo>
                      <a:pt x="57" y="206"/>
                    </a:lnTo>
                    <a:lnTo>
                      <a:pt x="59" y="206"/>
                    </a:lnTo>
                    <a:lnTo>
                      <a:pt x="60" y="206"/>
                    </a:lnTo>
                    <a:lnTo>
                      <a:pt x="62" y="206"/>
                    </a:lnTo>
                    <a:lnTo>
                      <a:pt x="64" y="206"/>
                    </a:lnTo>
                    <a:lnTo>
                      <a:pt x="65" y="206"/>
                    </a:lnTo>
                    <a:lnTo>
                      <a:pt x="67" y="206"/>
                    </a:lnTo>
                    <a:lnTo>
                      <a:pt x="68" y="207"/>
                    </a:lnTo>
                    <a:lnTo>
                      <a:pt x="70" y="207"/>
                    </a:lnTo>
                    <a:lnTo>
                      <a:pt x="72" y="209"/>
                    </a:lnTo>
                    <a:lnTo>
                      <a:pt x="73" y="209"/>
                    </a:lnTo>
                    <a:lnTo>
                      <a:pt x="75" y="209"/>
                    </a:lnTo>
                    <a:lnTo>
                      <a:pt x="76" y="209"/>
                    </a:lnTo>
                    <a:lnTo>
                      <a:pt x="76" y="207"/>
                    </a:lnTo>
                    <a:lnTo>
                      <a:pt x="76" y="206"/>
                    </a:lnTo>
                    <a:lnTo>
                      <a:pt x="76" y="204"/>
                    </a:lnTo>
                    <a:lnTo>
                      <a:pt x="76" y="203"/>
                    </a:lnTo>
                    <a:lnTo>
                      <a:pt x="76" y="201"/>
                    </a:lnTo>
                    <a:lnTo>
                      <a:pt x="76" y="200"/>
                    </a:lnTo>
                    <a:lnTo>
                      <a:pt x="76" y="198"/>
                    </a:lnTo>
                    <a:lnTo>
                      <a:pt x="76" y="196"/>
                    </a:lnTo>
                    <a:lnTo>
                      <a:pt x="76" y="195"/>
                    </a:lnTo>
                    <a:lnTo>
                      <a:pt x="76" y="193"/>
                    </a:lnTo>
                    <a:lnTo>
                      <a:pt x="76" y="192"/>
                    </a:lnTo>
                    <a:lnTo>
                      <a:pt x="75" y="192"/>
                    </a:lnTo>
                    <a:lnTo>
                      <a:pt x="75" y="190"/>
                    </a:lnTo>
                    <a:lnTo>
                      <a:pt x="75" y="188"/>
                    </a:lnTo>
                    <a:lnTo>
                      <a:pt x="75" y="187"/>
                    </a:lnTo>
                    <a:lnTo>
                      <a:pt x="75" y="185"/>
                    </a:lnTo>
                    <a:lnTo>
                      <a:pt x="75" y="184"/>
                    </a:lnTo>
                    <a:lnTo>
                      <a:pt x="75" y="182"/>
                    </a:lnTo>
                    <a:lnTo>
                      <a:pt x="73" y="181"/>
                    </a:lnTo>
                    <a:lnTo>
                      <a:pt x="73" y="179"/>
                    </a:lnTo>
                    <a:lnTo>
                      <a:pt x="72" y="177"/>
                    </a:lnTo>
                    <a:lnTo>
                      <a:pt x="72" y="176"/>
                    </a:lnTo>
                    <a:lnTo>
                      <a:pt x="73" y="176"/>
                    </a:lnTo>
                    <a:lnTo>
                      <a:pt x="73" y="174"/>
                    </a:lnTo>
                    <a:lnTo>
                      <a:pt x="73" y="173"/>
                    </a:lnTo>
                    <a:lnTo>
                      <a:pt x="75" y="173"/>
                    </a:lnTo>
                    <a:lnTo>
                      <a:pt x="75" y="171"/>
                    </a:lnTo>
                    <a:lnTo>
                      <a:pt x="75" y="169"/>
                    </a:lnTo>
                    <a:lnTo>
                      <a:pt x="73" y="169"/>
                    </a:lnTo>
                    <a:lnTo>
                      <a:pt x="73" y="168"/>
                    </a:lnTo>
                    <a:lnTo>
                      <a:pt x="73" y="166"/>
                    </a:lnTo>
                    <a:lnTo>
                      <a:pt x="73" y="165"/>
                    </a:lnTo>
                    <a:lnTo>
                      <a:pt x="73" y="163"/>
                    </a:lnTo>
                    <a:lnTo>
                      <a:pt x="73" y="162"/>
                    </a:lnTo>
                    <a:lnTo>
                      <a:pt x="72" y="162"/>
                    </a:lnTo>
                    <a:lnTo>
                      <a:pt x="72" y="160"/>
                    </a:lnTo>
                    <a:lnTo>
                      <a:pt x="72" y="158"/>
                    </a:lnTo>
                    <a:lnTo>
                      <a:pt x="72" y="157"/>
                    </a:lnTo>
                    <a:lnTo>
                      <a:pt x="72" y="155"/>
                    </a:lnTo>
                    <a:lnTo>
                      <a:pt x="70" y="154"/>
                    </a:lnTo>
                    <a:lnTo>
                      <a:pt x="70" y="152"/>
                    </a:lnTo>
                    <a:lnTo>
                      <a:pt x="70" y="150"/>
                    </a:lnTo>
                    <a:lnTo>
                      <a:pt x="70" y="149"/>
                    </a:lnTo>
                    <a:lnTo>
                      <a:pt x="70" y="147"/>
                    </a:lnTo>
                    <a:lnTo>
                      <a:pt x="70" y="146"/>
                    </a:lnTo>
                    <a:lnTo>
                      <a:pt x="70" y="144"/>
                    </a:lnTo>
                    <a:lnTo>
                      <a:pt x="68" y="144"/>
                    </a:lnTo>
                    <a:lnTo>
                      <a:pt x="68" y="143"/>
                    </a:lnTo>
                    <a:lnTo>
                      <a:pt x="68" y="141"/>
                    </a:lnTo>
                    <a:lnTo>
                      <a:pt x="68" y="139"/>
                    </a:lnTo>
                    <a:lnTo>
                      <a:pt x="68" y="138"/>
                    </a:lnTo>
                    <a:lnTo>
                      <a:pt x="68" y="136"/>
                    </a:lnTo>
                    <a:lnTo>
                      <a:pt x="67" y="136"/>
                    </a:lnTo>
                    <a:lnTo>
                      <a:pt x="67" y="135"/>
                    </a:lnTo>
                    <a:lnTo>
                      <a:pt x="67" y="133"/>
                    </a:lnTo>
                    <a:lnTo>
                      <a:pt x="67" y="131"/>
                    </a:lnTo>
                    <a:lnTo>
                      <a:pt x="67" y="130"/>
                    </a:lnTo>
                    <a:lnTo>
                      <a:pt x="67" y="128"/>
                    </a:lnTo>
                    <a:lnTo>
                      <a:pt x="67" y="127"/>
                    </a:lnTo>
                    <a:lnTo>
                      <a:pt x="67" y="125"/>
                    </a:lnTo>
                    <a:lnTo>
                      <a:pt x="67" y="124"/>
                    </a:lnTo>
                    <a:lnTo>
                      <a:pt x="67" y="122"/>
                    </a:lnTo>
                    <a:lnTo>
                      <a:pt x="67" y="120"/>
                    </a:lnTo>
                    <a:lnTo>
                      <a:pt x="67" y="119"/>
                    </a:lnTo>
                    <a:lnTo>
                      <a:pt x="67" y="117"/>
                    </a:lnTo>
                    <a:lnTo>
                      <a:pt x="67" y="116"/>
                    </a:lnTo>
                    <a:lnTo>
                      <a:pt x="67" y="114"/>
                    </a:lnTo>
                    <a:lnTo>
                      <a:pt x="67" y="112"/>
                    </a:lnTo>
                    <a:lnTo>
                      <a:pt x="67" y="100"/>
                    </a:lnTo>
                    <a:lnTo>
                      <a:pt x="68" y="98"/>
                    </a:lnTo>
                    <a:lnTo>
                      <a:pt x="70" y="98"/>
                    </a:lnTo>
                    <a:lnTo>
                      <a:pt x="70" y="97"/>
                    </a:lnTo>
                    <a:lnTo>
                      <a:pt x="72" y="97"/>
                    </a:lnTo>
                    <a:lnTo>
                      <a:pt x="72" y="95"/>
                    </a:lnTo>
                    <a:lnTo>
                      <a:pt x="73" y="95"/>
                    </a:lnTo>
                    <a:lnTo>
                      <a:pt x="75" y="95"/>
                    </a:lnTo>
                    <a:lnTo>
                      <a:pt x="75" y="93"/>
                    </a:lnTo>
                    <a:lnTo>
                      <a:pt x="76" y="93"/>
                    </a:lnTo>
                    <a:lnTo>
                      <a:pt x="76" y="92"/>
                    </a:lnTo>
                    <a:lnTo>
                      <a:pt x="78" y="92"/>
                    </a:lnTo>
                    <a:lnTo>
                      <a:pt x="78" y="90"/>
                    </a:lnTo>
                    <a:lnTo>
                      <a:pt x="79" y="89"/>
                    </a:lnTo>
                    <a:lnTo>
                      <a:pt x="79" y="87"/>
                    </a:lnTo>
                    <a:lnTo>
                      <a:pt x="81" y="87"/>
                    </a:lnTo>
                    <a:lnTo>
                      <a:pt x="81" y="86"/>
                    </a:lnTo>
                    <a:lnTo>
                      <a:pt x="83" y="86"/>
                    </a:lnTo>
                    <a:lnTo>
                      <a:pt x="83" y="84"/>
                    </a:lnTo>
                    <a:lnTo>
                      <a:pt x="84" y="84"/>
                    </a:lnTo>
                    <a:lnTo>
                      <a:pt x="84" y="82"/>
                    </a:lnTo>
                    <a:lnTo>
                      <a:pt x="84" y="81"/>
                    </a:lnTo>
                    <a:lnTo>
                      <a:pt x="86" y="79"/>
                    </a:lnTo>
                    <a:lnTo>
                      <a:pt x="86" y="78"/>
                    </a:lnTo>
                    <a:lnTo>
                      <a:pt x="87" y="78"/>
                    </a:lnTo>
                    <a:lnTo>
                      <a:pt x="87" y="76"/>
                    </a:lnTo>
                    <a:lnTo>
                      <a:pt x="87" y="74"/>
                    </a:lnTo>
                    <a:lnTo>
                      <a:pt x="89" y="74"/>
                    </a:lnTo>
                    <a:lnTo>
                      <a:pt x="89" y="73"/>
                    </a:lnTo>
                    <a:lnTo>
                      <a:pt x="89" y="71"/>
                    </a:lnTo>
                    <a:lnTo>
                      <a:pt x="91" y="71"/>
                    </a:lnTo>
                    <a:lnTo>
                      <a:pt x="91" y="70"/>
                    </a:lnTo>
                    <a:lnTo>
                      <a:pt x="92" y="70"/>
                    </a:lnTo>
                    <a:lnTo>
                      <a:pt x="92" y="68"/>
                    </a:lnTo>
                    <a:lnTo>
                      <a:pt x="94" y="68"/>
                    </a:lnTo>
                    <a:lnTo>
                      <a:pt x="95" y="68"/>
                    </a:lnTo>
                    <a:lnTo>
                      <a:pt x="97" y="68"/>
                    </a:lnTo>
                    <a:lnTo>
                      <a:pt x="97" y="66"/>
                    </a:lnTo>
                    <a:lnTo>
                      <a:pt x="98" y="66"/>
                    </a:lnTo>
                    <a:lnTo>
                      <a:pt x="98" y="68"/>
                    </a:lnTo>
                    <a:lnTo>
                      <a:pt x="100" y="68"/>
                    </a:lnTo>
                    <a:lnTo>
                      <a:pt x="102" y="68"/>
                    </a:lnTo>
                    <a:lnTo>
                      <a:pt x="103" y="68"/>
                    </a:lnTo>
                    <a:lnTo>
                      <a:pt x="103" y="66"/>
                    </a:lnTo>
                    <a:lnTo>
                      <a:pt x="103" y="65"/>
                    </a:lnTo>
                    <a:lnTo>
                      <a:pt x="105" y="63"/>
                    </a:lnTo>
                    <a:lnTo>
                      <a:pt x="106" y="63"/>
                    </a:lnTo>
                    <a:lnTo>
                      <a:pt x="108" y="63"/>
                    </a:lnTo>
                    <a:lnTo>
                      <a:pt x="108" y="62"/>
                    </a:lnTo>
                    <a:lnTo>
                      <a:pt x="110" y="62"/>
                    </a:lnTo>
                    <a:lnTo>
                      <a:pt x="111" y="62"/>
                    </a:lnTo>
                    <a:lnTo>
                      <a:pt x="111" y="60"/>
                    </a:lnTo>
                    <a:lnTo>
                      <a:pt x="113" y="60"/>
                    </a:lnTo>
                    <a:lnTo>
                      <a:pt x="114" y="60"/>
                    </a:lnTo>
                    <a:lnTo>
                      <a:pt x="116" y="60"/>
                    </a:lnTo>
                    <a:lnTo>
                      <a:pt x="116" y="59"/>
                    </a:lnTo>
                    <a:lnTo>
                      <a:pt x="117" y="59"/>
                    </a:lnTo>
                    <a:lnTo>
                      <a:pt x="119" y="57"/>
                    </a:lnTo>
                    <a:lnTo>
                      <a:pt x="119" y="55"/>
                    </a:lnTo>
                    <a:lnTo>
                      <a:pt x="119" y="54"/>
                    </a:lnTo>
                    <a:lnTo>
                      <a:pt x="119" y="52"/>
                    </a:lnTo>
                    <a:lnTo>
                      <a:pt x="119" y="51"/>
                    </a:lnTo>
                    <a:lnTo>
                      <a:pt x="119" y="49"/>
                    </a:lnTo>
                    <a:lnTo>
                      <a:pt x="121" y="49"/>
                    </a:lnTo>
                    <a:lnTo>
                      <a:pt x="121" y="47"/>
                    </a:lnTo>
                    <a:lnTo>
                      <a:pt x="122" y="47"/>
                    </a:lnTo>
                    <a:lnTo>
                      <a:pt x="124" y="47"/>
                    </a:lnTo>
                    <a:lnTo>
                      <a:pt x="125" y="47"/>
                    </a:lnTo>
                    <a:lnTo>
                      <a:pt x="127" y="47"/>
                    </a:lnTo>
                    <a:lnTo>
                      <a:pt x="129" y="49"/>
                    </a:lnTo>
                    <a:lnTo>
                      <a:pt x="130" y="49"/>
                    </a:lnTo>
                    <a:lnTo>
                      <a:pt x="130" y="47"/>
                    </a:lnTo>
                    <a:lnTo>
                      <a:pt x="132" y="47"/>
                    </a:lnTo>
                    <a:lnTo>
                      <a:pt x="133" y="47"/>
                    </a:lnTo>
                    <a:lnTo>
                      <a:pt x="133" y="46"/>
                    </a:lnTo>
                    <a:lnTo>
                      <a:pt x="135" y="46"/>
                    </a:lnTo>
                    <a:lnTo>
                      <a:pt x="135" y="47"/>
                    </a:lnTo>
                    <a:lnTo>
                      <a:pt x="136" y="47"/>
                    </a:lnTo>
                    <a:lnTo>
                      <a:pt x="138" y="49"/>
                    </a:lnTo>
                    <a:lnTo>
                      <a:pt x="138" y="47"/>
                    </a:lnTo>
                    <a:lnTo>
                      <a:pt x="140" y="47"/>
                    </a:lnTo>
                    <a:lnTo>
                      <a:pt x="141" y="47"/>
                    </a:lnTo>
                    <a:lnTo>
                      <a:pt x="143" y="47"/>
                    </a:lnTo>
                    <a:lnTo>
                      <a:pt x="144" y="47"/>
                    </a:lnTo>
                    <a:lnTo>
                      <a:pt x="146" y="47"/>
                    </a:lnTo>
                    <a:lnTo>
                      <a:pt x="148" y="46"/>
                    </a:lnTo>
                    <a:lnTo>
                      <a:pt x="148" y="47"/>
                    </a:lnTo>
                    <a:lnTo>
                      <a:pt x="149" y="49"/>
                    </a:lnTo>
                    <a:lnTo>
                      <a:pt x="151" y="49"/>
                    </a:lnTo>
                    <a:lnTo>
                      <a:pt x="152" y="49"/>
                    </a:lnTo>
                    <a:lnTo>
                      <a:pt x="154" y="49"/>
                    </a:lnTo>
                    <a:lnTo>
                      <a:pt x="155" y="49"/>
                    </a:lnTo>
                    <a:lnTo>
                      <a:pt x="157" y="51"/>
                    </a:lnTo>
                    <a:lnTo>
                      <a:pt x="157" y="52"/>
                    </a:lnTo>
                    <a:lnTo>
                      <a:pt x="157" y="54"/>
                    </a:lnTo>
                    <a:lnTo>
                      <a:pt x="157" y="55"/>
                    </a:lnTo>
                    <a:lnTo>
                      <a:pt x="159" y="55"/>
                    </a:lnTo>
                    <a:lnTo>
                      <a:pt x="159" y="57"/>
                    </a:lnTo>
                    <a:lnTo>
                      <a:pt x="160" y="57"/>
                    </a:lnTo>
                    <a:lnTo>
                      <a:pt x="162" y="59"/>
                    </a:lnTo>
                    <a:lnTo>
                      <a:pt x="162" y="60"/>
                    </a:lnTo>
                    <a:lnTo>
                      <a:pt x="162" y="62"/>
                    </a:lnTo>
                    <a:lnTo>
                      <a:pt x="162" y="63"/>
                    </a:lnTo>
                    <a:lnTo>
                      <a:pt x="162" y="65"/>
                    </a:lnTo>
                    <a:lnTo>
                      <a:pt x="162" y="66"/>
                    </a:lnTo>
                    <a:lnTo>
                      <a:pt x="162" y="68"/>
                    </a:lnTo>
                    <a:lnTo>
                      <a:pt x="162" y="70"/>
                    </a:lnTo>
                    <a:lnTo>
                      <a:pt x="163" y="68"/>
                    </a:lnTo>
                    <a:lnTo>
                      <a:pt x="165" y="66"/>
                    </a:lnTo>
                    <a:lnTo>
                      <a:pt x="167" y="66"/>
                    </a:lnTo>
                    <a:lnTo>
                      <a:pt x="168" y="65"/>
                    </a:lnTo>
                    <a:lnTo>
                      <a:pt x="170" y="65"/>
                    </a:lnTo>
                    <a:lnTo>
                      <a:pt x="171" y="65"/>
                    </a:lnTo>
                    <a:lnTo>
                      <a:pt x="171" y="63"/>
                    </a:lnTo>
                    <a:lnTo>
                      <a:pt x="173" y="63"/>
                    </a:lnTo>
                    <a:lnTo>
                      <a:pt x="173" y="62"/>
                    </a:lnTo>
                    <a:lnTo>
                      <a:pt x="174" y="62"/>
                    </a:lnTo>
                    <a:lnTo>
                      <a:pt x="174" y="60"/>
                    </a:lnTo>
                    <a:lnTo>
                      <a:pt x="176" y="60"/>
                    </a:lnTo>
                    <a:lnTo>
                      <a:pt x="178" y="60"/>
                    </a:lnTo>
                    <a:lnTo>
                      <a:pt x="178" y="59"/>
                    </a:lnTo>
                    <a:lnTo>
                      <a:pt x="178" y="57"/>
                    </a:lnTo>
                    <a:lnTo>
                      <a:pt x="179" y="55"/>
                    </a:lnTo>
                    <a:lnTo>
                      <a:pt x="179" y="54"/>
                    </a:lnTo>
                    <a:lnTo>
                      <a:pt x="181" y="54"/>
                    </a:lnTo>
                    <a:lnTo>
                      <a:pt x="181" y="52"/>
                    </a:lnTo>
                    <a:lnTo>
                      <a:pt x="181" y="51"/>
                    </a:lnTo>
                    <a:lnTo>
                      <a:pt x="182" y="51"/>
                    </a:lnTo>
                    <a:lnTo>
                      <a:pt x="182" y="49"/>
                    </a:lnTo>
                    <a:lnTo>
                      <a:pt x="184" y="47"/>
                    </a:lnTo>
                    <a:lnTo>
                      <a:pt x="184" y="46"/>
                    </a:lnTo>
                    <a:lnTo>
                      <a:pt x="186" y="44"/>
                    </a:lnTo>
                    <a:lnTo>
                      <a:pt x="186" y="43"/>
                    </a:lnTo>
                    <a:lnTo>
                      <a:pt x="187" y="41"/>
                    </a:lnTo>
                    <a:lnTo>
                      <a:pt x="189" y="41"/>
                    </a:lnTo>
                    <a:lnTo>
                      <a:pt x="190" y="41"/>
                    </a:lnTo>
                    <a:lnTo>
                      <a:pt x="192" y="41"/>
                    </a:lnTo>
                    <a:lnTo>
                      <a:pt x="193" y="41"/>
                    </a:lnTo>
                    <a:lnTo>
                      <a:pt x="195" y="41"/>
                    </a:lnTo>
                    <a:lnTo>
                      <a:pt x="197" y="41"/>
                    </a:lnTo>
                    <a:lnTo>
                      <a:pt x="198" y="40"/>
                    </a:lnTo>
                    <a:lnTo>
                      <a:pt x="200" y="40"/>
                    </a:lnTo>
                    <a:lnTo>
                      <a:pt x="201" y="40"/>
                    </a:lnTo>
                    <a:lnTo>
                      <a:pt x="203" y="40"/>
                    </a:lnTo>
                    <a:lnTo>
                      <a:pt x="205" y="40"/>
                    </a:lnTo>
                    <a:lnTo>
                      <a:pt x="206" y="40"/>
                    </a:lnTo>
                    <a:lnTo>
                      <a:pt x="208" y="40"/>
                    </a:lnTo>
                    <a:lnTo>
                      <a:pt x="208" y="41"/>
                    </a:lnTo>
                    <a:lnTo>
                      <a:pt x="209" y="41"/>
                    </a:lnTo>
                    <a:lnTo>
                      <a:pt x="211" y="41"/>
                    </a:lnTo>
                    <a:lnTo>
                      <a:pt x="212" y="41"/>
                    </a:lnTo>
                    <a:lnTo>
                      <a:pt x="214" y="41"/>
                    </a:lnTo>
                    <a:lnTo>
                      <a:pt x="216" y="41"/>
                    </a:lnTo>
                    <a:lnTo>
                      <a:pt x="217" y="41"/>
                    </a:lnTo>
                    <a:lnTo>
                      <a:pt x="216" y="40"/>
                    </a:lnTo>
                    <a:lnTo>
                      <a:pt x="216" y="38"/>
                    </a:lnTo>
                    <a:lnTo>
                      <a:pt x="217" y="38"/>
                    </a:lnTo>
                    <a:lnTo>
                      <a:pt x="217" y="36"/>
                    </a:lnTo>
                    <a:lnTo>
                      <a:pt x="219" y="36"/>
                    </a:lnTo>
                    <a:lnTo>
                      <a:pt x="219" y="35"/>
                    </a:lnTo>
                    <a:lnTo>
                      <a:pt x="220" y="35"/>
                    </a:lnTo>
                    <a:lnTo>
                      <a:pt x="220" y="33"/>
                    </a:lnTo>
                    <a:lnTo>
                      <a:pt x="222" y="33"/>
                    </a:lnTo>
                    <a:lnTo>
                      <a:pt x="222" y="32"/>
                    </a:lnTo>
                    <a:lnTo>
                      <a:pt x="222" y="30"/>
                    </a:lnTo>
                    <a:lnTo>
                      <a:pt x="224" y="30"/>
                    </a:lnTo>
                    <a:lnTo>
                      <a:pt x="224" y="28"/>
                    </a:lnTo>
                    <a:lnTo>
                      <a:pt x="225" y="28"/>
                    </a:lnTo>
                    <a:lnTo>
                      <a:pt x="225" y="27"/>
                    </a:lnTo>
                    <a:lnTo>
                      <a:pt x="227" y="27"/>
                    </a:lnTo>
                    <a:lnTo>
                      <a:pt x="227" y="25"/>
                    </a:lnTo>
                    <a:lnTo>
                      <a:pt x="228" y="25"/>
                    </a:lnTo>
                    <a:lnTo>
                      <a:pt x="228" y="24"/>
                    </a:lnTo>
                    <a:lnTo>
                      <a:pt x="230" y="24"/>
                    </a:lnTo>
                    <a:lnTo>
                      <a:pt x="231" y="22"/>
                    </a:lnTo>
                    <a:lnTo>
                      <a:pt x="231" y="21"/>
                    </a:lnTo>
                    <a:lnTo>
                      <a:pt x="233" y="21"/>
                    </a:lnTo>
                    <a:lnTo>
                      <a:pt x="233" y="19"/>
                    </a:lnTo>
                    <a:lnTo>
                      <a:pt x="235" y="17"/>
                    </a:lnTo>
                    <a:lnTo>
                      <a:pt x="236" y="17"/>
                    </a:lnTo>
                    <a:lnTo>
                      <a:pt x="238" y="17"/>
                    </a:lnTo>
                    <a:lnTo>
                      <a:pt x="239" y="16"/>
                    </a:lnTo>
                    <a:lnTo>
                      <a:pt x="241" y="16"/>
                    </a:lnTo>
                    <a:lnTo>
                      <a:pt x="243" y="16"/>
                    </a:lnTo>
                    <a:lnTo>
                      <a:pt x="244" y="16"/>
                    </a:lnTo>
                    <a:lnTo>
                      <a:pt x="246" y="16"/>
                    </a:lnTo>
                    <a:lnTo>
                      <a:pt x="247" y="14"/>
                    </a:lnTo>
                    <a:lnTo>
                      <a:pt x="249" y="14"/>
                    </a:lnTo>
                    <a:lnTo>
                      <a:pt x="250" y="14"/>
                    </a:lnTo>
                    <a:lnTo>
                      <a:pt x="252" y="14"/>
                    </a:lnTo>
                    <a:lnTo>
                      <a:pt x="252" y="13"/>
                    </a:lnTo>
                    <a:lnTo>
                      <a:pt x="254" y="13"/>
                    </a:lnTo>
                    <a:lnTo>
                      <a:pt x="255" y="13"/>
                    </a:lnTo>
                    <a:lnTo>
                      <a:pt x="257" y="14"/>
                    </a:lnTo>
                    <a:lnTo>
                      <a:pt x="258" y="14"/>
                    </a:lnTo>
                    <a:lnTo>
                      <a:pt x="258" y="13"/>
                    </a:lnTo>
                    <a:lnTo>
                      <a:pt x="260" y="13"/>
                    </a:lnTo>
                    <a:lnTo>
                      <a:pt x="262" y="11"/>
                    </a:lnTo>
                    <a:lnTo>
                      <a:pt x="263" y="9"/>
                    </a:lnTo>
                    <a:lnTo>
                      <a:pt x="265" y="9"/>
                    </a:lnTo>
                    <a:lnTo>
                      <a:pt x="265" y="11"/>
                    </a:lnTo>
                    <a:lnTo>
                      <a:pt x="266" y="11"/>
                    </a:lnTo>
                    <a:lnTo>
                      <a:pt x="268" y="11"/>
                    </a:lnTo>
                    <a:lnTo>
                      <a:pt x="270" y="11"/>
                    </a:lnTo>
                    <a:lnTo>
                      <a:pt x="271" y="11"/>
                    </a:lnTo>
                    <a:lnTo>
                      <a:pt x="271" y="13"/>
                    </a:lnTo>
                    <a:lnTo>
                      <a:pt x="273" y="13"/>
                    </a:lnTo>
                    <a:lnTo>
                      <a:pt x="274" y="13"/>
                    </a:lnTo>
                    <a:lnTo>
                      <a:pt x="274" y="11"/>
                    </a:lnTo>
                    <a:lnTo>
                      <a:pt x="276" y="11"/>
                    </a:lnTo>
                    <a:lnTo>
                      <a:pt x="276" y="9"/>
                    </a:lnTo>
                    <a:lnTo>
                      <a:pt x="277" y="8"/>
                    </a:lnTo>
                    <a:lnTo>
                      <a:pt x="277" y="6"/>
                    </a:lnTo>
                    <a:lnTo>
                      <a:pt x="279" y="6"/>
                    </a:lnTo>
                    <a:lnTo>
                      <a:pt x="279" y="5"/>
                    </a:lnTo>
                    <a:lnTo>
                      <a:pt x="281" y="5"/>
                    </a:lnTo>
                    <a:lnTo>
                      <a:pt x="282" y="3"/>
                    </a:lnTo>
                    <a:lnTo>
                      <a:pt x="282" y="2"/>
                    </a:lnTo>
                    <a:lnTo>
                      <a:pt x="284" y="2"/>
                    </a:lnTo>
                    <a:lnTo>
                      <a:pt x="285" y="2"/>
                    </a:lnTo>
                    <a:lnTo>
                      <a:pt x="287" y="3"/>
                    </a:lnTo>
                    <a:lnTo>
                      <a:pt x="289" y="3"/>
                    </a:lnTo>
                    <a:lnTo>
                      <a:pt x="290" y="2"/>
                    </a:lnTo>
                    <a:lnTo>
                      <a:pt x="292" y="2"/>
                    </a:lnTo>
                    <a:lnTo>
                      <a:pt x="292" y="0"/>
                    </a:lnTo>
                    <a:lnTo>
                      <a:pt x="293" y="2"/>
                    </a:lnTo>
                    <a:lnTo>
                      <a:pt x="295" y="2"/>
                    </a:lnTo>
                    <a:lnTo>
                      <a:pt x="296" y="2"/>
                    </a:lnTo>
                    <a:lnTo>
                      <a:pt x="298" y="2"/>
                    </a:lnTo>
                    <a:lnTo>
                      <a:pt x="298" y="3"/>
                    </a:lnTo>
                    <a:lnTo>
                      <a:pt x="298" y="5"/>
                    </a:lnTo>
                    <a:lnTo>
                      <a:pt x="300" y="6"/>
                    </a:lnTo>
                    <a:lnTo>
                      <a:pt x="301" y="8"/>
                    </a:lnTo>
                    <a:lnTo>
                      <a:pt x="300" y="9"/>
                    </a:lnTo>
                    <a:lnTo>
                      <a:pt x="301" y="9"/>
                    </a:lnTo>
                    <a:lnTo>
                      <a:pt x="301" y="11"/>
                    </a:lnTo>
                    <a:lnTo>
                      <a:pt x="301" y="13"/>
                    </a:lnTo>
                    <a:lnTo>
                      <a:pt x="303" y="13"/>
                    </a:lnTo>
                    <a:lnTo>
                      <a:pt x="304" y="13"/>
                    </a:lnTo>
                    <a:lnTo>
                      <a:pt x="306" y="14"/>
                    </a:lnTo>
                    <a:lnTo>
                      <a:pt x="308" y="14"/>
                    </a:lnTo>
                    <a:lnTo>
                      <a:pt x="309" y="16"/>
                    </a:lnTo>
                    <a:lnTo>
                      <a:pt x="311" y="16"/>
                    </a:lnTo>
                    <a:lnTo>
                      <a:pt x="312" y="16"/>
                    </a:lnTo>
                    <a:lnTo>
                      <a:pt x="314" y="14"/>
                    </a:lnTo>
                    <a:lnTo>
                      <a:pt x="315" y="14"/>
                    </a:lnTo>
                    <a:lnTo>
                      <a:pt x="317" y="14"/>
                    </a:lnTo>
                    <a:lnTo>
                      <a:pt x="319" y="16"/>
                    </a:lnTo>
                    <a:lnTo>
                      <a:pt x="320" y="16"/>
                    </a:lnTo>
                    <a:lnTo>
                      <a:pt x="322" y="16"/>
                    </a:lnTo>
                    <a:lnTo>
                      <a:pt x="323" y="16"/>
                    </a:lnTo>
                    <a:lnTo>
                      <a:pt x="325" y="17"/>
                    </a:lnTo>
                    <a:lnTo>
                      <a:pt x="327" y="17"/>
                    </a:lnTo>
                    <a:lnTo>
                      <a:pt x="327" y="19"/>
                    </a:lnTo>
                    <a:lnTo>
                      <a:pt x="328" y="21"/>
                    </a:lnTo>
                    <a:lnTo>
                      <a:pt x="327" y="22"/>
                    </a:lnTo>
                    <a:lnTo>
                      <a:pt x="327" y="24"/>
                    </a:lnTo>
                    <a:lnTo>
                      <a:pt x="325" y="25"/>
                    </a:lnTo>
                    <a:lnTo>
                      <a:pt x="325" y="27"/>
                    </a:lnTo>
                    <a:lnTo>
                      <a:pt x="325" y="28"/>
                    </a:lnTo>
                    <a:lnTo>
                      <a:pt x="327" y="28"/>
                    </a:lnTo>
                    <a:lnTo>
                      <a:pt x="327" y="30"/>
                    </a:lnTo>
                    <a:lnTo>
                      <a:pt x="327" y="32"/>
                    </a:lnTo>
                    <a:lnTo>
                      <a:pt x="328" y="32"/>
                    </a:lnTo>
                    <a:lnTo>
                      <a:pt x="328" y="33"/>
                    </a:lnTo>
                    <a:lnTo>
                      <a:pt x="328" y="35"/>
                    </a:lnTo>
                    <a:lnTo>
                      <a:pt x="328" y="36"/>
                    </a:lnTo>
                    <a:lnTo>
                      <a:pt x="330" y="36"/>
                    </a:lnTo>
                    <a:lnTo>
                      <a:pt x="330" y="38"/>
                    </a:lnTo>
                    <a:lnTo>
                      <a:pt x="330" y="40"/>
                    </a:lnTo>
                    <a:lnTo>
                      <a:pt x="330" y="41"/>
                    </a:lnTo>
                    <a:lnTo>
                      <a:pt x="331" y="41"/>
                    </a:lnTo>
                    <a:lnTo>
                      <a:pt x="331" y="43"/>
                    </a:lnTo>
                    <a:lnTo>
                      <a:pt x="333" y="43"/>
                    </a:lnTo>
                    <a:lnTo>
                      <a:pt x="333" y="44"/>
                    </a:lnTo>
                    <a:lnTo>
                      <a:pt x="334" y="44"/>
                    </a:lnTo>
                    <a:lnTo>
                      <a:pt x="334" y="46"/>
                    </a:lnTo>
                    <a:lnTo>
                      <a:pt x="336" y="46"/>
                    </a:lnTo>
                    <a:lnTo>
                      <a:pt x="336" y="47"/>
                    </a:lnTo>
                    <a:lnTo>
                      <a:pt x="336" y="49"/>
                    </a:lnTo>
                    <a:lnTo>
                      <a:pt x="336" y="51"/>
                    </a:lnTo>
                    <a:lnTo>
                      <a:pt x="338" y="52"/>
                    </a:lnTo>
                    <a:lnTo>
                      <a:pt x="338" y="54"/>
                    </a:lnTo>
                    <a:lnTo>
                      <a:pt x="338" y="55"/>
                    </a:lnTo>
                    <a:lnTo>
                      <a:pt x="339" y="55"/>
                    </a:lnTo>
                    <a:lnTo>
                      <a:pt x="339" y="57"/>
                    </a:lnTo>
                    <a:lnTo>
                      <a:pt x="339" y="59"/>
                    </a:lnTo>
                    <a:lnTo>
                      <a:pt x="341" y="59"/>
                    </a:lnTo>
                    <a:lnTo>
                      <a:pt x="341" y="60"/>
                    </a:lnTo>
                    <a:lnTo>
                      <a:pt x="342" y="60"/>
                    </a:lnTo>
                    <a:lnTo>
                      <a:pt x="342" y="62"/>
                    </a:lnTo>
                    <a:lnTo>
                      <a:pt x="342" y="63"/>
                    </a:lnTo>
                    <a:lnTo>
                      <a:pt x="344" y="63"/>
                    </a:lnTo>
                    <a:lnTo>
                      <a:pt x="346" y="63"/>
                    </a:lnTo>
                    <a:lnTo>
                      <a:pt x="349" y="65"/>
                    </a:lnTo>
                    <a:lnTo>
                      <a:pt x="350" y="65"/>
                    </a:lnTo>
                    <a:lnTo>
                      <a:pt x="350" y="66"/>
                    </a:lnTo>
                    <a:lnTo>
                      <a:pt x="352" y="68"/>
                    </a:lnTo>
                    <a:lnTo>
                      <a:pt x="353" y="70"/>
                    </a:lnTo>
                    <a:lnTo>
                      <a:pt x="353" y="71"/>
                    </a:lnTo>
                    <a:lnTo>
                      <a:pt x="355" y="73"/>
                    </a:lnTo>
                    <a:lnTo>
                      <a:pt x="357" y="74"/>
                    </a:lnTo>
                    <a:lnTo>
                      <a:pt x="358" y="76"/>
                    </a:lnTo>
                    <a:lnTo>
                      <a:pt x="360" y="76"/>
                    </a:lnTo>
                    <a:lnTo>
                      <a:pt x="361" y="78"/>
                    </a:lnTo>
                    <a:lnTo>
                      <a:pt x="361" y="79"/>
                    </a:lnTo>
                    <a:lnTo>
                      <a:pt x="363" y="81"/>
                    </a:lnTo>
                    <a:lnTo>
                      <a:pt x="363" y="82"/>
                    </a:lnTo>
                    <a:lnTo>
                      <a:pt x="365" y="84"/>
                    </a:lnTo>
                    <a:lnTo>
                      <a:pt x="363" y="86"/>
                    </a:lnTo>
                    <a:lnTo>
                      <a:pt x="363" y="87"/>
                    </a:lnTo>
                    <a:lnTo>
                      <a:pt x="365" y="87"/>
                    </a:lnTo>
                    <a:lnTo>
                      <a:pt x="365" y="89"/>
                    </a:lnTo>
                    <a:lnTo>
                      <a:pt x="365" y="90"/>
                    </a:lnTo>
                    <a:lnTo>
                      <a:pt x="366" y="92"/>
                    </a:lnTo>
                    <a:lnTo>
                      <a:pt x="366" y="93"/>
                    </a:lnTo>
                    <a:lnTo>
                      <a:pt x="366" y="95"/>
                    </a:lnTo>
                    <a:lnTo>
                      <a:pt x="368" y="95"/>
                    </a:lnTo>
                    <a:lnTo>
                      <a:pt x="368" y="97"/>
                    </a:lnTo>
                    <a:lnTo>
                      <a:pt x="366" y="97"/>
                    </a:lnTo>
                    <a:lnTo>
                      <a:pt x="368" y="98"/>
                    </a:lnTo>
                    <a:lnTo>
                      <a:pt x="368" y="100"/>
                    </a:lnTo>
                    <a:lnTo>
                      <a:pt x="369" y="101"/>
                    </a:lnTo>
                    <a:lnTo>
                      <a:pt x="369" y="103"/>
                    </a:lnTo>
                    <a:lnTo>
                      <a:pt x="371" y="105"/>
                    </a:lnTo>
                    <a:lnTo>
                      <a:pt x="371" y="106"/>
                    </a:lnTo>
                    <a:lnTo>
                      <a:pt x="372" y="106"/>
                    </a:lnTo>
                    <a:lnTo>
                      <a:pt x="372" y="108"/>
                    </a:lnTo>
                    <a:lnTo>
                      <a:pt x="374" y="109"/>
                    </a:lnTo>
                    <a:lnTo>
                      <a:pt x="374" y="111"/>
                    </a:lnTo>
                    <a:lnTo>
                      <a:pt x="376" y="111"/>
                    </a:lnTo>
                    <a:lnTo>
                      <a:pt x="376" y="112"/>
                    </a:lnTo>
                    <a:lnTo>
                      <a:pt x="377" y="112"/>
                    </a:lnTo>
                    <a:lnTo>
                      <a:pt x="377" y="114"/>
                    </a:lnTo>
                    <a:lnTo>
                      <a:pt x="379" y="116"/>
                    </a:lnTo>
                    <a:lnTo>
                      <a:pt x="379" y="117"/>
                    </a:lnTo>
                    <a:lnTo>
                      <a:pt x="379" y="119"/>
                    </a:lnTo>
                    <a:lnTo>
                      <a:pt x="380" y="120"/>
                    </a:lnTo>
                    <a:lnTo>
                      <a:pt x="380" y="122"/>
                    </a:lnTo>
                    <a:lnTo>
                      <a:pt x="380" y="124"/>
                    </a:lnTo>
                    <a:lnTo>
                      <a:pt x="379" y="125"/>
                    </a:lnTo>
                    <a:lnTo>
                      <a:pt x="377" y="127"/>
                    </a:lnTo>
                    <a:lnTo>
                      <a:pt x="377" y="128"/>
                    </a:lnTo>
                    <a:lnTo>
                      <a:pt x="377" y="130"/>
                    </a:lnTo>
                    <a:lnTo>
                      <a:pt x="377" y="131"/>
                    </a:lnTo>
                    <a:lnTo>
                      <a:pt x="377" y="133"/>
                    </a:lnTo>
                    <a:lnTo>
                      <a:pt x="377" y="135"/>
                    </a:lnTo>
                    <a:lnTo>
                      <a:pt x="376" y="135"/>
                    </a:lnTo>
                    <a:lnTo>
                      <a:pt x="374" y="135"/>
                    </a:lnTo>
                    <a:lnTo>
                      <a:pt x="376" y="136"/>
                    </a:lnTo>
                    <a:lnTo>
                      <a:pt x="376" y="138"/>
                    </a:lnTo>
                    <a:lnTo>
                      <a:pt x="376" y="139"/>
                    </a:lnTo>
                    <a:lnTo>
                      <a:pt x="376" y="141"/>
                    </a:lnTo>
                    <a:lnTo>
                      <a:pt x="374" y="141"/>
                    </a:lnTo>
                    <a:lnTo>
                      <a:pt x="374" y="143"/>
                    </a:lnTo>
                    <a:lnTo>
                      <a:pt x="376" y="143"/>
                    </a:lnTo>
                    <a:lnTo>
                      <a:pt x="377" y="141"/>
                    </a:lnTo>
                    <a:lnTo>
                      <a:pt x="377" y="143"/>
                    </a:lnTo>
                    <a:lnTo>
                      <a:pt x="379" y="143"/>
                    </a:lnTo>
                    <a:lnTo>
                      <a:pt x="379" y="144"/>
                    </a:lnTo>
                    <a:lnTo>
                      <a:pt x="379" y="146"/>
                    </a:lnTo>
                    <a:lnTo>
                      <a:pt x="379" y="147"/>
                    </a:lnTo>
                    <a:lnTo>
                      <a:pt x="379" y="149"/>
                    </a:lnTo>
                    <a:lnTo>
                      <a:pt x="380" y="150"/>
                    </a:lnTo>
                    <a:lnTo>
                      <a:pt x="380" y="152"/>
                    </a:lnTo>
                    <a:lnTo>
                      <a:pt x="380" y="154"/>
                    </a:lnTo>
                    <a:lnTo>
                      <a:pt x="380" y="155"/>
                    </a:lnTo>
                    <a:lnTo>
                      <a:pt x="379" y="155"/>
                    </a:lnTo>
                    <a:lnTo>
                      <a:pt x="377" y="155"/>
                    </a:lnTo>
                    <a:lnTo>
                      <a:pt x="377" y="157"/>
                    </a:lnTo>
                    <a:lnTo>
                      <a:pt x="379" y="158"/>
                    </a:lnTo>
                    <a:lnTo>
                      <a:pt x="379" y="160"/>
                    </a:lnTo>
                    <a:lnTo>
                      <a:pt x="380" y="162"/>
                    </a:lnTo>
                    <a:lnTo>
                      <a:pt x="379" y="162"/>
                    </a:lnTo>
                    <a:lnTo>
                      <a:pt x="379" y="163"/>
                    </a:lnTo>
                    <a:lnTo>
                      <a:pt x="379" y="165"/>
                    </a:lnTo>
                    <a:lnTo>
                      <a:pt x="377" y="165"/>
                    </a:lnTo>
                    <a:lnTo>
                      <a:pt x="377" y="166"/>
                    </a:lnTo>
                    <a:lnTo>
                      <a:pt x="379" y="166"/>
                    </a:lnTo>
                    <a:lnTo>
                      <a:pt x="379" y="168"/>
                    </a:lnTo>
                    <a:lnTo>
                      <a:pt x="379" y="169"/>
                    </a:lnTo>
                    <a:lnTo>
                      <a:pt x="379" y="171"/>
                    </a:lnTo>
                    <a:lnTo>
                      <a:pt x="379" y="173"/>
                    </a:lnTo>
                    <a:lnTo>
                      <a:pt x="380" y="174"/>
                    </a:lnTo>
                    <a:lnTo>
                      <a:pt x="380" y="176"/>
                    </a:lnTo>
                    <a:lnTo>
                      <a:pt x="382" y="176"/>
                    </a:lnTo>
                    <a:lnTo>
                      <a:pt x="382" y="177"/>
                    </a:lnTo>
                    <a:lnTo>
                      <a:pt x="382" y="179"/>
                    </a:lnTo>
                    <a:lnTo>
                      <a:pt x="382" y="181"/>
                    </a:lnTo>
                    <a:lnTo>
                      <a:pt x="380" y="182"/>
                    </a:lnTo>
                    <a:lnTo>
                      <a:pt x="382" y="182"/>
                    </a:lnTo>
                    <a:lnTo>
                      <a:pt x="382" y="184"/>
                    </a:lnTo>
                    <a:lnTo>
                      <a:pt x="384" y="184"/>
                    </a:lnTo>
                    <a:lnTo>
                      <a:pt x="384" y="185"/>
                    </a:lnTo>
                    <a:lnTo>
                      <a:pt x="385" y="184"/>
                    </a:lnTo>
                    <a:lnTo>
                      <a:pt x="385" y="185"/>
                    </a:lnTo>
                    <a:lnTo>
                      <a:pt x="387" y="185"/>
                    </a:lnTo>
                    <a:lnTo>
                      <a:pt x="387" y="187"/>
                    </a:lnTo>
                    <a:lnTo>
                      <a:pt x="388" y="187"/>
                    </a:lnTo>
                    <a:lnTo>
                      <a:pt x="388" y="188"/>
                    </a:lnTo>
                    <a:lnTo>
                      <a:pt x="388" y="190"/>
                    </a:lnTo>
                    <a:lnTo>
                      <a:pt x="388" y="192"/>
                    </a:lnTo>
                    <a:lnTo>
                      <a:pt x="388" y="193"/>
                    </a:lnTo>
                    <a:lnTo>
                      <a:pt x="388" y="195"/>
                    </a:lnTo>
                    <a:lnTo>
                      <a:pt x="388" y="196"/>
                    </a:lnTo>
                    <a:lnTo>
                      <a:pt x="388" y="198"/>
                    </a:lnTo>
                    <a:lnTo>
                      <a:pt x="390" y="198"/>
                    </a:lnTo>
                    <a:lnTo>
                      <a:pt x="390" y="200"/>
                    </a:lnTo>
                    <a:lnTo>
                      <a:pt x="391" y="200"/>
                    </a:lnTo>
                    <a:lnTo>
                      <a:pt x="391" y="201"/>
                    </a:lnTo>
                    <a:lnTo>
                      <a:pt x="391" y="203"/>
                    </a:lnTo>
                    <a:lnTo>
                      <a:pt x="393" y="203"/>
                    </a:lnTo>
                    <a:lnTo>
                      <a:pt x="393" y="204"/>
                    </a:lnTo>
                    <a:lnTo>
                      <a:pt x="395" y="206"/>
                    </a:lnTo>
                    <a:lnTo>
                      <a:pt x="393" y="206"/>
                    </a:lnTo>
                    <a:lnTo>
                      <a:pt x="393" y="207"/>
                    </a:lnTo>
                    <a:lnTo>
                      <a:pt x="393" y="209"/>
                    </a:lnTo>
                    <a:lnTo>
                      <a:pt x="395" y="209"/>
                    </a:lnTo>
                    <a:lnTo>
                      <a:pt x="393" y="211"/>
                    </a:lnTo>
                    <a:lnTo>
                      <a:pt x="395" y="212"/>
                    </a:lnTo>
                    <a:lnTo>
                      <a:pt x="395" y="214"/>
                    </a:lnTo>
                    <a:lnTo>
                      <a:pt x="395" y="215"/>
                    </a:lnTo>
                    <a:lnTo>
                      <a:pt x="395" y="217"/>
                    </a:lnTo>
                    <a:lnTo>
                      <a:pt x="395" y="219"/>
                    </a:lnTo>
                    <a:lnTo>
                      <a:pt x="395" y="220"/>
                    </a:lnTo>
                    <a:lnTo>
                      <a:pt x="395" y="222"/>
                    </a:lnTo>
                    <a:lnTo>
                      <a:pt x="396" y="222"/>
                    </a:lnTo>
                    <a:lnTo>
                      <a:pt x="395" y="223"/>
                    </a:lnTo>
                    <a:lnTo>
                      <a:pt x="395" y="225"/>
                    </a:lnTo>
                    <a:lnTo>
                      <a:pt x="393" y="226"/>
                    </a:lnTo>
                    <a:lnTo>
                      <a:pt x="393" y="228"/>
                    </a:lnTo>
                    <a:lnTo>
                      <a:pt x="393" y="230"/>
                    </a:lnTo>
                    <a:lnTo>
                      <a:pt x="393" y="231"/>
                    </a:lnTo>
                    <a:lnTo>
                      <a:pt x="391" y="231"/>
                    </a:lnTo>
                    <a:lnTo>
                      <a:pt x="391" y="233"/>
                    </a:lnTo>
                    <a:lnTo>
                      <a:pt x="390" y="233"/>
                    </a:lnTo>
                    <a:lnTo>
                      <a:pt x="390" y="234"/>
                    </a:lnTo>
                    <a:lnTo>
                      <a:pt x="390" y="236"/>
                    </a:lnTo>
                    <a:lnTo>
                      <a:pt x="391" y="236"/>
                    </a:lnTo>
                    <a:lnTo>
                      <a:pt x="391" y="238"/>
                    </a:lnTo>
                    <a:lnTo>
                      <a:pt x="391" y="239"/>
                    </a:lnTo>
                    <a:lnTo>
                      <a:pt x="391" y="241"/>
                    </a:lnTo>
                    <a:lnTo>
                      <a:pt x="390" y="241"/>
                    </a:lnTo>
                    <a:lnTo>
                      <a:pt x="390" y="242"/>
                    </a:lnTo>
                    <a:lnTo>
                      <a:pt x="390" y="244"/>
                    </a:lnTo>
                    <a:lnTo>
                      <a:pt x="390" y="245"/>
                    </a:lnTo>
                    <a:lnTo>
                      <a:pt x="390" y="247"/>
                    </a:lnTo>
                    <a:lnTo>
                      <a:pt x="390" y="249"/>
                    </a:lnTo>
                    <a:lnTo>
                      <a:pt x="388" y="250"/>
                    </a:lnTo>
                    <a:lnTo>
                      <a:pt x="390" y="250"/>
                    </a:lnTo>
                    <a:lnTo>
                      <a:pt x="390" y="252"/>
                    </a:lnTo>
                    <a:lnTo>
                      <a:pt x="390" y="253"/>
                    </a:lnTo>
                    <a:lnTo>
                      <a:pt x="390" y="255"/>
                    </a:lnTo>
                    <a:lnTo>
                      <a:pt x="391" y="257"/>
                    </a:lnTo>
                    <a:lnTo>
                      <a:pt x="391" y="258"/>
                    </a:lnTo>
                    <a:lnTo>
                      <a:pt x="391" y="260"/>
                    </a:lnTo>
                    <a:lnTo>
                      <a:pt x="391" y="261"/>
                    </a:lnTo>
                    <a:lnTo>
                      <a:pt x="391" y="263"/>
                    </a:lnTo>
                    <a:lnTo>
                      <a:pt x="391" y="264"/>
                    </a:lnTo>
                    <a:lnTo>
                      <a:pt x="391" y="266"/>
                    </a:lnTo>
                    <a:lnTo>
                      <a:pt x="391" y="268"/>
                    </a:lnTo>
                    <a:lnTo>
                      <a:pt x="391" y="269"/>
                    </a:lnTo>
                    <a:lnTo>
                      <a:pt x="391" y="271"/>
                    </a:lnTo>
                    <a:lnTo>
                      <a:pt x="391" y="272"/>
                    </a:lnTo>
                    <a:lnTo>
                      <a:pt x="391" y="274"/>
                    </a:lnTo>
                    <a:lnTo>
                      <a:pt x="391" y="276"/>
                    </a:lnTo>
                    <a:lnTo>
                      <a:pt x="391" y="277"/>
                    </a:lnTo>
                    <a:lnTo>
                      <a:pt x="390" y="277"/>
                    </a:lnTo>
                    <a:lnTo>
                      <a:pt x="390" y="279"/>
                    </a:lnTo>
                    <a:lnTo>
                      <a:pt x="388" y="280"/>
                    </a:lnTo>
                    <a:lnTo>
                      <a:pt x="390" y="282"/>
                    </a:lnTo>
                    <a:lnTo>
                      <a:pt x="390" y="284"/>
                    </a:lnTo>
                    <a:lnTo>
                      <a:pt x="391" y="285"/>
                    </a:lnTo>
                    <a:lnTo>
                      <a:pt x="391" y="287"/>
                    </a:lnTo>
                    <a:lnTo>
                      <a:pt x="391" y="288"/>
                    </a:lnTo>
                    <a:lnTo>
                      <a:pt x="391" y="290"/>
                    </a:lnTo>
                    <a:lnTo>
                      <a:pt x="390" y="291"/>
                    </a:lnTo>
                    <a:lnTo>
                      <a:pt x="390" y="293"/>
                    </a:lnTo>
                    <a:lnTo>
                      <a:pt x="388" y="293"/>
                    </a:lnTo>
                    <a:lnTo>
                      <a:pt x="388" y="295"/>
                    </a:lnTo>
                    <a:lnTo>
                      <a:pt x="388" y="296"/>
                    </a:lnTo>
                    <a:lnTo>
                      <a:pt x="388" y="298"/>
                    </a:lnTo>
                    <a:lnTo>
                      <a:pt x="390" y="299"/>
                    </a:lnTo>
                    <a:lnTo>
                      <a:pt x="390" y="301"/>
                    </a:lnTo>
                    <a:lnTo>
                      <a:pt x="388" y="301"/>
                    </a:lnTo>
                    <a:lnTo>
                      <a:pt x="388" y="303"/>
                    </a:lnTo>
                    <a:lnTo>
                      <a:pt x="388" y="304"/>
                    </a:lnTo>
                    <a:lnTo>
                      <a:pt x="390" y="304"/>
                    </a:lnTo>
                    <a:lnTo>
                      <a:pt x="390" y="306"/>
                    </a:lnTo>
                    <a:lnTo>
                      <a:pt x="390" y="307"/>
                    </a:lnTo>
                    <a:lnTo>
                      <a:pt x="391" y="307"/>
                    </a:lnTo>
                    <a:lnTo>
                      <a:pt x="391" y="309"/>
                    </a:lnTo>
                    <a:lnTo>
                      <a:pt x="391" y="310"/>
                    </a:lnTo>
                    <a:lnTo>
                      <a:pt x="393" y="310"/>
                    </a:lnTo>
                    <a:lnTo>
                      <a:pt x="393" y="312"/>
                    </a:lnTo>
                    <a:lnTo>
                      <a:pt x="393" y="314"/>
                    </a:lnTo>
                    <a:lnTo>
                      <a:pt x="395" y="314"/>
                    </a:lnTo>
                    <a:lnTo>
                      <a:pt x="395" y="315"/>
                    </a:lnTo>
                    <a:lnTo>
                      <a:pt x="395" y="317"/>
                    </a:lnTo>
                    <a:lnTo>
                      <a:pt x="396" y="318"/>
                    </a:lnTo>
                    <a:lnTo>
                      <a:pt x="398" y="318"/>
                    </a:lnTo>
                    <a:lnTo>
                      <a:pt x="398" y="320"/>
                    </a:lnTo>
                    <a:lnTo>
                      <a:pt x="399" y="320"/>
                    </a:lnTo>
                    <a:lnTo>
                      <a:pt x="399" y="322"/>
                    </a:lnTo>
                    <a:lnTo>
                      <a:pt x="399" y="323"/>
                    </a:lnTo>
                    <a:lnTo>
                      <a:pt x="401" y="323"/>
                    </a:lnTo>
                    <a:lnTo>
                      <a:pt x="401" y="325"/>
                    </a:lnTo>
                    <a:lnTo>
                      <a:pt x="403" y="325"/>
                    </a:lnTo>
                    <a:lnTo>
                      <a:pt x="403" y="326"/>
                    </a:lnTo>
                    <a:lnTo>
                      <a:pt x="404" y="326"/>
                    </a:lnTo>
                    <a:lnTo>
                      <a:pt x="406" y="328"/>
                    </a:lnTo>
                    <a:lnTo>
                      <a:pt x="407" y="329"/>
                    </a:lnTo>
                    <a:lnTo>
                      <a:pt x="407" y="331"/>
                    </a:lnTo>
                    <a:lnTo>
                      <a:pt x="409" y="331"/>
                    </a:lnTo>
                    <a:lnTo>
                      <a:pt x="410" y="331"/>
                    </a:lnTo>
                    <a:lnTo>
                      <a:pt x="412" y="331"/>
                    </a:lnTo>
                    <a:lnTo>
                      <a:pt x="414" y="331"/>
                    </a:lnTo>
                    <a:lnTo>
                      <a:pt x="414" y="333"/>
                    </a:lnTo>
                    <a:lnTo>
                      <a:pt x="414" y="334"/>
                    </a:lnTo>
                    <a:lnTo>
                      <a:pt x="415" y="334"/>
                    </a:lnTo>
                    <a:lnTo>
                      <a:pt x="417" y="334"/>
                    </a:lnTo>
                    <a:lnTo>
                      <a:pt x="417" y="336"/>
                    </a:lnTo>
                    <a:lnTo>
                      <a:pt x="418" y="336"/>
                    </a:lnTo>
                    <a:lnTo>
                      <a:pt x="418" y="337"/>
                    </a:lnTo>
                    <a:lnTo>
                      <a:pt x="420" y="339"/>
                    </a:lnTo>
                    <a:lnTo>
                      <a:pt x="422" y="341"/>
                    </a:lnTo>
                    <a:lnTo>
                      <a:pt x="423" y="341"/>
                    </a:lnTo>
                    <a:lnTo>
                      <a:pt x="425" y="341"/>
                    </a:lnTo>
                    <a:lnTo>
                      <a:pt x="426" y="342"/>
                    </a:lnTo>
                    <a:lnTo>
                      <a:pt x="428" y="342"/>
                    </a:lnTo>
                    <a:lnTo>
                      <a:pt x="429" y="342"/>
                    </a:lnTo>
                    <a:lnTo>
                      <a:pt x="431" y="344"/>
                    </a:lnTo>
                    <a:lnTo>
                      <a:pt x="433" y="344"/>
                    </a:lnTo>
                    <a:lnTo>
                      <a:pt x="434" y="344"/>
                    </a:lnTo>
                    <a:lnTo>
                      <a:pt x="436" y="344"/>
                    </a:lnTo>
                    <a:lnTo>
                      <a:pt x="437" y="344"/>
                    </a:lnTo>
                    <a:lnTo>
                      <a:pt x="439" y="344"/>
                    </a:lnTo>
                    <a:lnTo>
                      <a:pt x="441" y="344"/>
                    </a:lnTo>
                    <a:lnTo>
                      <a:pt x="442" y="344"/>
                    </a:lnTo>
                    <a:lnTo>
                      <a:pt x="442" y="345"/>
                    </a:lnTo>
                    <a:lnTo>
                      <a:pt x="444" y="345"/>
                    </a:lnTo>
                    <a:lnTo>
                      <a:pt x="445" y="345"/>
                    </a:lnTo>
                    <a:lnTo>
                      <a:pt x="445" y="347"/>
                    </a:lnTo>
                    <a:lnTo>
                      <a:pt x="447" y="347"/>
                    </a:lnTo>
                    <a:lnTo>
                      <a:pt x="449" y="348"/>
                    </a:lnTo>
                    <a:lnTo>
                      <a:pt x="450" y="348"/>
                    </a:lnTo>
                    <a:lnTo>
                      <a:pt x="452" y="348"/>
                    </a:lnTo>
                    <a:lnTo>
                      <a:pt x="452" y="350"/>
                    </a:lnTo>
                    <a:lnTo>
                      <a:pt x="452" y="352"/>
                    </a:lnTo>
                    <a:lnTo>
                      <a:pt x="452" y="353"/>
                    </a:lnTo>
                    <a:lnTo>
                      <a:pt x="452" y="355"/>
                    </a:lnTo>
                    <a:lnTo>
                      <a:pt x="453" y="355"/>
                    </a:lnTo>
                    <a:lnTo>
                      <a:pt x="455" y="356"/>
                    </a:lnTo>
                    <a:lnTo>
                      <a:pt x="456" y="356"/>
                    </a:lnTo>
                    <a:lnTo>
                      <a:pt x="458" y="356"/>
                    </a:lnTo>
                    <a:lnTo>
                      <a:pt x="458" y="358"/>
                    </a:lnTo>
                    <a:lnTo>
                      <a:pt x="460" y="360"/>
                    </a:lnTo>
                    <a:lnTo>
                      <a:pt x="461" y="358"/>
                    </a:lnTo>
                    <a:lnTo>
                      <a:pt x="461" y="360"/>
                    </a:lnTo>
                    <a:lnTo>
                      <a:pt x="461" y="361"/>
                    </a:lnTo>
                    <a:lnTo>
                      <a:pt x="463" y="363"/>
                    </a:lnTo>
                    <a:lnTo>
                      <a:pt x="464" y="363"/>
                    </a:lnTo>
                    <a:lnTo>
                      <a:pt x="466" y="363"/>
                    </a:lnTo>
                    <a:lnTo>
                      <a:pt x="468" y="364"/>
                    </a:lnTo>
                    <a:lnTo>
                      <a:pt x="469" y="364"/>
                    </a:lnTo>
                    <a:lnTo>
                      <a:pt x="469" y="366"/>
                    </a:lnTo>
                    <a:lnTo>
                      <a:pt x="471" y="366"/>
                    </a:lnTo>
                    <a:lnTo>
                      <a:pt x="471" y="367"/>
                    </a:lnTo>
                    <a:lnTo>
                      <a:pt x="471" y="369"/>
                    </a:lnTo>
                    <a:lnTo>
                      <a:pt x="472" y="369"/>
                    </a:lnTo>
                    <a:lnTo>
                      <a:pt x="474" y="371"/>
                    </a:lnTo>
                    <a:lnTo>
                      <a:pt x="475" y="371"/>
                    </a:lnTo>
                    <a:lnTo>
                      <a:pt x="477" y="372"/>
                    </a:lnTo>
                    <a:lnTo>
                      <a:pt x="477" y="374"/>
                    </a:lnTo>
                    <a:lnTo>
                      <a:pt x="479" y="374"/>
                    </a:lnTo>
                    <a:lnTo>
                      <a:pt x="480" y="375"/>
                    </a:lnTo>
                    <a:lnTo>
                      <a:pt x="482" y="375"/>
                    </a:lnTo>
                    <a:lnTo>
                      <a:pt x="483" y="375"/>
                    </a:lnTo>
                    <a:lnTo>
                      <a:pt x="485" y="375"/>
                    </a:lnTo>
                    <a:lnTo>
                      <a:pt x="485" y="374"/>
                    </a:lnTo>
                    <a:lnTo>
                      <a:pt x="487" y="375"/>
                    </a:lnTo>
                    <a:lnTo>
                      <a:pt x="487" y="374"/>
                    </a:lnTo>
                    <a:lnTo>
                      <a:pt x="488" y="374"/>
                    </a:lnTo>
                    <a:lnTo>
                      <a:pt x="488" y="372"/>
                    </a:lnTo>
                    <a:lnTo>
                      <a:pt x="490" y="372"/>
                    </a:lnTo>
                    <a:lnTo>
                      <a:pt x="491" y="372"/>
                    </a:lnTo>
                    <a:lnTo>
                      <a:pt x="493" y="372"/>
                    </a:lnTo>
                    <a:lnTo>
                      <a:pt x="493" y="371"/>
                    </a:lnTo>
                    <a:lnTo>
                      <a:pt x="494" y="369"/>
                    </a:lnTo>
                    <a:lnTo>
                      <a:pt x="496" y="367"/>
                    </a:lnTo>
                    <a:lnTo>
                      <a:pt x="498" y="367"/>
                    </a:lnTo>
                    <a:lnTo>
                      <a:pt x="499" y="367"/>
                    </a:lnTo>
                    <a:lnTo>
                      <a:pt x="499" y="366"/>
                    </a:lnTo>
                    <a:lnTo>
                      <a:pt x="501" y="366"/>
                    </a:lnTo>
                    <a:lnTo>
                      <a:pt x="502" y="366"/>
                    </a:lnTo>
                    <a:lnTo>
                      <a:pt x="502" y="364"/>
                    </a:lnTo>
                    <a:lnTo>
                      <a:pt x="504" y="366"/>
                    </a:lnTo>
                    <a:lnTo>
                      <a:pt x="504" y="367"/>
                    </a:lnTo>
                    <a:lnTo>
                      <a:pt x="506" y="367"/>
                    </a:lnTo>
                    <a:lnTo>
                      <a:pt x="507" y="367"/>
                    </a:lnTo>
                    <a:lnTo>
                      <a:pt x="509" y="366"/>
                    </a:lnTo>
                    <a:lnTo>
                      <a:pt x="509" y="367"/>
                    </a:lnTo>
                    <a:lnTo>
                      <a:pt x="510" y="367"/>
                    </a:lnTo>
                    <a:lnTo>
                      <a:pt x="512" y="369"/>
                    </a:lnTo>
                    <a:lnTo>
                      <a:pt x="513" y="369"/>
                    </a:lnTo>
                    <a:lnTo>
                      <a:pt x="515" y="367"/>
                    </a:lnTo>
                    <a:lnTo>
                      <a:pt x="517" y="367"/>
                    </a:lnTo>
                    <a:lnTo>
                      <a:pt x="518" y="367"/>
                    </a:lnTo>
                    <a:lnTo>
                      <a:pt x="520" y="369"/>
                    </a:lnTo>
                    <a:lnTo>
                      <a:pt x="521" y="369"/>
                    </a:lnTo>
                    <a:lnTo>
                      <a:pt x="523" y="369"/>
                    </a:lnTo>
                    <a:lnTo>
                      <a:pt x="525" y="369"/>
                    </a:lnTo>
                    <a:lnTo>
                      <a:pt x="526" y="369"/>
                    </a:lnTo>
                    <a:lnTo>
                      <a:pt x="526" y="367"/>
                    </a:lnTo>
                    <a:lnTo>
                      <a:pt x="528" y="367"/>
                    </a:lnTo>
                    <a:lnTo>
                      <a:pt x="529" y="367"/>
                    </a:lnTo>
                    <a:lnTo>
                      <a:pt x="531" y="367"/>
                    </a:lnTo>
                    <a:lnTo>
                      <a:pt x="532" y="367"/>
                    </a:lnTo>
                    <a:lnTo>
                      <a:pt x="532" y="369"/>
                    </a:lnTo>
                    <a:lnTo>
                      <a:pt x="532" y="371"/>
                    </a:lnTo>
                    <a:lnTo>
                      <a:pt x="531" y="371"/>
                    </a:lnTo>
                    <a:lnTo>
                      <a:pt x="531" y="372"/>
                    </a:lnTo>
                    <a:lnTo>
                      <a:pt x="531" y="374"/>
                    </a:lnTo>
                    <a:lnTo>
                      <a:pt x="532" y="374"/>
                    </a:lnTo>
                    <a:lnTo>
                      <a:pt x="532" y="375"/>
                    </a:lnTo>
                    <a:lnTo>
                      <a:pt x="534" y="374"/>
                    </a:lnTo>
                    <a:lnTo>
                      <a:pt x="536" y="374"/>
                    </a:lnTo>
                    <a:lnTo>
                      <a:pt x="537" y="372"/>
                    </a:lnTo>
                    <a:lnTo>
                      <a:pt x="537" y="374"/>
                    </a:lnTo>
                    <a:lnTo>
                      <a:pt x="539" y="374"/>
                    </a:lnTo>
                    <a:lnTo>
                      <a:pt x="540" y="374"/>
                    </a:lnTo>
                    <a:lnTo>
                      <a:pt x="542" y="372"/>
                    </a:lnTo>
                    <a:lnTo>
                      <a:pt x="544" y="374"/>
                    </a:lnTo>
                    <a:lnTo>
                      <a:pt x="545" y="374"/>
                    </a:lnTo>
                    <a:lnTo>
                      <a:pt x="545" y="375"/>
                    </a:lnTo>
                    <a:lnTo>
                      <a:pt x="547" y="375"/>
                    </a:lnTo>
                    <a:lnTo>
                      <a:pt x="548" y="375"/>
                    </a:lnTo>
                    <a:lnTo>
                      <a:pt x="550" y="375"/>
                    </a:lnTo>
                    <a:lnTo>
                      <a:pt x="550" y="377"/>
                    </a:lnTo>
                    <a:lnTo>
                      <a:pt x="551" y="377"/>
                    </a:lnTo>
                    <a:lnTo>
                      <a:pt x="551" y="379"/>
                    </a:lnTo>
                    <a:lnTo>
                      <a:pt x="553" y="379"/>
                    </a:lnTo>
                    <a:lnTo>
                      <a:pt x="553" y="380"/>
                    </a:lnTo>
                    <a:lnTo>
                      <a:pt x="553" y="382"/>
                    </a:lnTo>
                    <a:lnTo>
                      <a:pt x="553" y="383"/>
                    </a:lnTo>
                    <a:lnTo>
                      <a:pt x="555" y="383"/>
                    </a:lnTo>
                    <a:lnTo>
                      <a:pt x="556" y="383"/>
                    </a:lnTo>
                    <a:lnTo>
                      <a:pt x="556" y="382"/>
                    </a:lnTo>
                    <a:lnTo>
                      <a:pt x="558" y="382"/>
                    </a:lnTo>
                    <a:lnTo>
                      <a:pt x="558" y="383"/>
                    </a:lnTo>
                    <a:lnTo>
                      <a:pt x="559" y="385"/>
                    </a:lnTo>
                    <a:lnTo>
                      <a:pt x="559" y="386"/>
                    </a:lnTo>
                    <a:lnTo>
                      <a:pt x="561" y="388"/>
                    </a:lnTo>
                    <a:lnTo>
                      <a:pt x="556" y="390"/>
                    </a:lnTo>
                    <a:lnTo>
                      <a:pt x="553" y="393"/>
                    </a:lnTo>
                    <a:lnTo>
                      <a:pt x="548" y="401"/>
                    </a:lnTo>
                    <a:lnTo>
                      <a:pt x="547" y="404"/>
                    </a:lnTo>
                    <a:lnTo>
                      <a:pt x="547" y="407"/>
                    </a:lnTo>
                    <a:lnTo>
                      <a:pt x="545" y="409"/>
                    </a:lnTo>
                    <a:lnTo>
                      <a:pt x="545" y="413"/>
                    </a:lnTo>
                    <a:lnTo>
                      <a:pt x="545" y="415"/>
                    </a:lnTo>
                    <a:lnTo>
                      <a:pt x="544" y="420"/>
                    </a:lnTo>
                    <a:lnTo>
                      <a:pt x="544" y="423"/>
                    </a:lnTo>
                    <a:lnTo>
                      <a:pt x="544" y="424"/>
                    </a:lnTo>
                    <a:lnTo>
                      <a:pt x="544" y="428"/>
                    </a:lnTo>
                    <a:lnTo>
                      <a:pt x="544" y="429"/>
                    </a:lnTo>
                    <a:lnTo>
                      <a:pt x="545" y="431"/>
                    </a:lnTo>
                    <a:lnTo>
                      <a:pt x="545" y="432"/>
                    </a:lnTo>
                    <a:lnTo>
                      <a:pt x="545" y="434"/>
                    </a:lnTo>
                    <a:lnTo>
                      <a:pt x="545" y="436"/>
                    </a:lnTo>
                    <a:lnTo>
                      <a:pt x="545" y="437"/>
                    </a:lnTo>
                    <a:lnTo>
                      <a:pt x="545" y="439"/>
                    </a:lnTo>
                    <a:lnTo>
                      <a:pt x="544" y="443"/>
                    </a:lnTo>
                    <a:lnTo>
                      <a:pt x="545" y="448"/>
                    </a:lnTo>
                    <a:lnTo>
                      <a:pt x="545" y="451"/>
                    </a:lnTo>
                    <a:lnTo>
                      <a:pt x="547" y="455"/>
                    </a:lnTo>
                    <a:lnTo>
                      <a:pt x="555" y="461"/>
                    </a:lnTo>
                    <a:lnTo>
                      <a:pt x="555" y="463"/>
                    </a:lnTo>
                    <a:lnTo>
                      <a:pt x="556" y="464"/>
                    </a:lnTo>
                    <a:lnTo>
                      <a:pt x="556" y="466"/>
                    </a:lnTo>
                    <a:lnTo>
                      <a:pt x="556" y="467"/>
                    </a:lnTo>
                    <a:lnTo>
                      <a:pt x="556" y="469"/>
                    </a:lnTo>
                    <a:lnTo>
                      <a:pt x="556" y="472"/>
                    </a:lnTo>
                    <a:lnTo>
                      <a:pt x="556" y="474"/>
                    </a:lnTo>
                    <a:lnTo>
                      <a:pt x="558" y="477"/>
                    </a:lnTo>
                    <a:lnTo>
                      <a:pt x="558" y="478"/>
                    </a:lnTo>
                    <a:lnTo>
                      <a:pt x="559" y="478"/>
                    </a:lnTo>
                    <a:lnTo>
                      <a:pt x="561" y="483"/>
                    </a:lnTo>
                    <a:lnTo>
                      <a:pt x="564" y="486"/>
                    </a:lnTo>
                    <a:lnTo>
                      <a:pt x="564" y="488"/>
                    </a:lnTo>
                    <a:lnTo>
                      <a:pt x="566" y="489"/>
                    </a:lnTo>
                    <a:lnTo>
                      <a:pt x="566" y="491"/>
                    </a:lnTo>
                    <a:lnTo>
                      <a:pt x="567" y="491"/>
                    </a:lnTo>
                    <a:lnTo>
                      <a:pt x="567" y="493"/>
                    </a:lnTo>
                    <a:lnTo>
                      <a:pt x="569" y="494"/>
                    </a:lnTo>
                    <a:lnTo>
                      <a:pt x="569" y="496"/>
                    </a:lnTo>
                    <a:lnTo>
                      <a:pt x="569" y="497"/>
                    </a:lnTo>
                    <a:lnTo>
                      <a:pt x="570" y="497"/>
                    </a:lnTo>
                    <a:lnTo>
                      <a:pt x="570" y="499"/>
                    </a:lnTo>
                    <a:lnTo>
                      <a:pt x="572" y="499"/>
                    </a:lnTo>
                    <a:lnTo>
                      <a:pt x="572" y="501"/>
                    </a:lnTo>
                    <a:lnTo>
                      <a:pt x="574" y="504"/>
                    </a:lnTo>
                    <a:lnTo>
                      <a:pt x="570" y="505"/>
                    </a:lnTo>
                    <a:lnTo>
                      <a:pt x="567" y="505"/>
                    </a:lnTo>
                    <a:lnTo>
                      <a:pt x="563" y="504"/>
                    </a:lnTo>
                    <a:lnTo>
                      <a:pt x="553" y="504"/>
                    </a:lnTo>
                    <a:lnTo>
                      <a:pt x="547" y="502"/>
                    </a:lnTo>
                    <a:lnTo>
                      <a:pt x="540" y="496"/>
                    </a:lnTo>
                    <a:lnTo>
                      <a:pt x="539" y="494"/>
                    </a:lnTo>
                    <a:lnTo>
                      <a:pt x="539" y="493"/>
                    </a:lnTo>
                    <a:lnTo>
                      <a:pt x="537" y="493"/>
                    </a:lnTo>
                    <a:lnTo>
                      <a:pt x="536" y="493"/>
                    </a:lnTo>
                    <a:lnTo>
                      <a:pt x="534" y="493"/>
                    </a:lnTo>
                    <a:lnTo>
                      <a:pt x="532" y="493"/>
                    </a:lnTo>
                    <a:lnTo>
                      <a:pt x="531" y="491"/>
                    </a:lnTo>
                    <a:lnTo>
                      <a:pt x="529" y="493"/>
                    </a:lnTo>
                    <a:lnTo>
                      <a:pt x="529" y="494"/>
                    </a:lnTo>
                    <a:lnTo>
                      <a:pt x="528" y="494"/>
                    </a:lnTo>
                    <a:lnTo>
                      <a:pt x="526" y="493"/>
                    </a:lnTo>
                    <a:lnTo>
                      <a:pt x="525" y="493"/>
                    </a:lnTo>
                    <a:lnTo>
                      <a:pt x="523" y="494"/>
                    </a:lnTo>
                    <a:lnTo>
                      <a:pt x="521" y="494"/>
                    </a:lnTo>
                    <a:lnTo>
                      <a:pt x="521" y="496"/>
                    </a:lnTo>
                    <a:lnTo>
                      <a:pt x="520" y="496"/>
                    </a:lnTo>
                    <a:lnTo>
                      <a:pt x="518" y="497"/>
                    </a:lnTo>
                    <a:lnTo>
                      <a:pt x="517" y="497"/>
                    </a:lnTo>
                    <a:lnTo>
                      <a:pt x="517" y="496"/>
                    </a:lnTo>
                    <a:lnTo>
                      <a:pt x="515" y="496"/>
                    </a:lnTo>
                    <a:lnTo>
                      <a:pt x="513" y="496"/>
                    </a:lnTo>
                    <a:lnTo>
                      <a:pt x="501" y="501"/>
                    </a:lnTo>
                    <a:lnTo>
                      <a:pt x="496" y="502"/>
                    </a:lnTo>
                    <a:lnTo>
                      <a:pt x="490" y="504"/>
                    </a:lnTo>
                    <a:lnTo>
                      <a:pt x="479" y="505"/>
                    </a:lnTo>
                    <a:lnTo>
                      <a:pt x="468" y="507"/>
                    </a:lnTo>
                    <a:lnTo>
                      <a:pt x="461" y="507"/>
                    </a:lnTo>
                    <a:lnTo>
                      <a:pt x="456" y="505"/>
                    </a:lnTo>
                    <a:lnTo>
                      <a:pt x="456" y="502"/>
                    </a:lnTo>
                    <a:lnTo>
                      <a:pt x="455" y="502"/>
                    </a:lnTo>
                    <a:lnTo>
                      <a:pt x="453" y="502"/>
                    </a:lnTo>
                    <a:lnTo>
                      <a:pt x="452" y="502"/>
                    </a:lnTo>
                    <a:lnTo>
                      <a:pt x="450" y="502"/>
                    </a:lnTo>
                    <a:lnTo>
                      <a:pt x="449" y="501"/>
                    </a:lnTo>
                    <a:lnTo>
                      <a:pt x="447" y="501"/>
                    </a:lnTo>
                    <a:lnTo>
                      <a:pt x="445" y="501"/>
                    </a:lnTo>
                    <a:lnTo>
                      <a:pt x="444" y="501"/>
                    </a:lnTo>
                    <a:lnTo>
                      <a:pt x="442" y="501"/>
                    </a:lnTo>
                    <a:lnTo>
                      <a:pt x="441" y="499"/>
                    </a:lnTo>
                    <a:lnTo>
                      <a:pt x="439" y="499"/>
                    </a:lnTo>
                    <a:lnTo>
                      <a:pt x="437" y="499"/>
                    </a:lnTo>
                    <a:lnTo>
                      <a:pt x="436" y="499"/>
                    </a:lnTo>
                    <a:lnTo>
                      <a:pt x="434" y="499"/>
                    </a:lnTo>
                    <a:lnTo>
                      <a:pt x="434" y="497"/>
                    </a:lnTo>
                    <a:lnTo>
                      <a:pt x="433" y="497"/>
                    </a:lnTo>
                    <a:lnTo>
                      <a:pt x="431" y="497"/>
                    </a:lnTo>
                    <a:lnTo>
                      <a:pt x="429" y="497"/>
                    </a:lnTo>
                    <a:lnTo>
                      <a:pt x="428" y="497"/>
                    </a:lnTo>
                    <a:lnTo>
                      <a:pt x="428" y="496"/>
                    </a:lnTo>
                    <a:lnTo>
                      <a:pt x="426" y="496"/>
                    </a:lnTo>
                    <a:lnTo>
                      <a:pt x="425" y="496"/>
                    </a:lnTo>
                    <a:lnTo>
                      <a:pt x="423" y="496"/>
                    </a:lnTo>
                    <a:lnTo>
                      <a:pt x="422" y="496"/>
                    </a:lnTo>
                    <a:lnTo>
                      <a:pt x="420" y="496"/>
                    </a:lnTo>
                    <a:lnTo>
                      <a:pt x="420" y="497"/>
                    </a:lnTo>
                    <a:lnTo>
                      <a:pt x="418" y="497"/>
                    </a:lnTo>
                    <a:lnTo>
                      <a:pt x="418" y="499"/>
                    </a:lnTo>
                    <a:lnTo>
                      <a:pt x="417" y="499"/>
                    </a:lnTo>
                    <a:lnTo>
                      <a:pt x="417" y="501"/>
                    </a:lnTo>
                    <a:lnTo>
                      <a:pt x="415" y="501"/>
                    </a:lnTo>
                    <a:lnTo>
                      <a:pt x="415" y="502"/>
                    </a:lnTo>
                    <a:lnTo>
                      <a:pt x="414" y="502"/>
                    </a:lnTo>
                    <a:lnTo>
                      <a:pt x="414" y="504"/>
                    </a:lnTo>
                    <a:lnTo>
                      <a:pt x="412" y="504"/>
                    </a:lnTo>
                    <a:lnTo>
                      <a:pt x="412" y="505"/>
                    </a:lnTo>
                    <a:lnTo>
                      <a:pt x="410" y="507"/>
                    </a:lnTo>
                    <a:lnTo>
                      <a:pt x="410" y="508"/>
                    </a:lnTo>
                    <a:lnTo>
                      <a:pt x="409" y="508"/>
                    </a:lnTo>
                    <a:lnTo>
                      <a:pt x="407" y="510"/>
                    </a:lnTo>
                    <a:lnTo>
                      <a:pt x="407" y="512"/>
                    </a:lnTo>
                    <a:lnTo>
                      <a:pt x="406" y="512"/>
                    </a:lnTo>
                    <a:lnTo>
                      <a:pt x="406" y="513"/>
                    </a:lnTo>
                    <a:lnTo>
                      <a:pt x="404" y="513"/>
                    </a:lnTo>
                    <a:lnTo>
                      <a:pt x="404" y="515"/>
                    </a:lnTo>
                    <a:lnTo>
                      <a:pt x="403" y="516"/>
                    </a:lnTo>
                    <a:lnTo>
                      <a:pt x="401" y="518"/>
                    </a:lnTo>
                    <a:lnTo>
                      <a:pt x="399" y="520"/>
                    </a:lnTo>
                    <a:lnTo>
                      <a:pt x="398" y="521"/>
                    </a:lnTo>
                    <a:lnTo>
                      <a:pt x="398" y="523"/>
                    </a:lnTo>
                    <a:lnTo>
                      <a:pt x="396" y="523"/>
                    </a:lnTo>
                    <a:lnTo>
                      <a:pt x="396" y="524"/>
                    </a:lnTo>
                    <a:lnTo>
                      <a:pt x="395" y="524"/>
                    </a:lnTo>
                    <a:lnTo>
                      <a:pt x="393" y="526"/>
                    </a:lnTo>
                    <a:lnTo>
                      <a:pt x="393" y="527"/>
                    </a:lnTo>
                    <a:lnTo>
                      <a:pt x="391" y="527"/>
                    </a:lnTo>
                    <a:lnTo>
                      <a:pt x="391" y="529"/>
                    </a:lnTo>
                    <a:lnTo>
                      <a:pt x="390" y="531"/>
                    </a:lnTo>
                    <a:lnTo>
                      <a:pt x="388" y="531"/>
                    </a:lnTo>
                    <a:lnTo>
                      <a:pt x="388" y="532"/>
                    </a:lnTo>
                    <a:lnTo>
                      <a:pt x="387" y="534"/>
                    </a:lnTo>
                    <a:lnTo>
                      <a:pt x="385" y="535"/>
                    </a:lnTo>
                    <a:lnTo>
                      <a:pt x="385" y="537"/>
                    </a:lnTo>
                    <a:lnTo>
                      <a:pt x="384" y="537"/>
                    </a:lnTo>
                    <a:lnTo>
                      <a:pt x="384" y="539"/>
                    </a:lnTo>
                    <a:lnTo>
                      <a:pt x="382" y="539"/>
                    </a:lnTo>
                    <a:lnTo>
                      <a:pt x="382" y="540"/>
                    </a:lnTo>
                    <a:lnTo>
                      <a:pt x="380" y="540"/>
                    </a:lnTo>
                    <a:lnTo>
                      <a:pt x="379" y="542"/>
                    </a:lnTo>
                    <a:lnTo>
                      <a:pt x="379" y="543"/>
                    </a:lnTo>
                    <a:lnTo>
                      <a:pt x="377" y="543"/>
                    </a:lnTo>
                    <a:lnTo>
                      <a:pt x="377" y="545"/>
                    </a:lnTo>
                    <a:lnTo>
                      <a:pt x="376" y="546"/>
                    </a:lnTo>
                    <a:lnTo>
                      <a:pt x="376" y="548"/>
                    </a:lnTo>
                    <a:lnTo>
                      <a:pt x="374" y="548"/>
                    </a:lnTo>
                    <a:lnTo>
                      <a:pt x="372" y="550"/>
                    </a:lnTo>
                    <a:lnTo>
                      <a:pt x="372" y="551"/>
                    </a:lnTo>
                    <a:lnTo>
                      <a:pt x="371" y="551"/>
                    </a:lnTo>
                    <a:lnTo>
                      <a:pt x="371" y="553"/>
                    </a:lnTo>
                    <a:lnTo>
                      <a:pt x="369" y="553"/>
                    </a:lnTo>
                    <a:lnTo>
                      <a:pt x="369" y="554"/>
                    </a:lnTo>
                    <a:lnTo>
                      <a:pt x="368" y="554"/>
                    </a:lnTo>
                    <a:lnTo>
                      <a:pt x="368" y="556"/>
                    </a:lnTo>
                    <a:lnTo>
                      <a:pt x="366" y="556"/>
                    </a:lnTo>
                    <a:lnTo>
                      <a:pt x="366" y="558"/>
                    </a:lnTo>
                    <a:lnTo>
                      <a:pt x="365" y="559"/>
                    </a:lnTo>
                    <a:lnTo>
                      <a:pt x="365" y="561"/>
                    </a:lnTo>
                    <a:lnTo>
                      <a:pt x="363" y="561"/>
                    </a:lnTo>
                    <a:lnTo>
                      <a:pt x="363" y="562"/>
                    </a:lnTo>
                    <a:lnTo>
                      <a:pt x="361" y="562"/>
                    </a:lnTo>
                    <a:lnTo>
                      <a:pt x="361" y="564"/>
                    </a:lnTo>
                    <a:lnTo>
                      <a:pt x="360" y="565"/>
                    </a:lnTo>
                    <a:lnTo>
                      <a:pt x="358" y="567"/>
                    </a:lnTo>
                    <a:lnTo>
                      <a:pt x="358" y="569"/>
                    </a:lnTo>
                    <a:lnTo>
                      <a:pt x="357" y="569"/>
                    </a:lnTo>
                    <a:lnTo>
                      <a:pt x="357" y="570"/>
                    </a:lnTo>
                    <a:lnTo>
                      <a:pt x="355" y="570"/>
                    </a:lnTo>
                    <a:lnTo>
                      <a:pt x="355" y="572"/>
                    </a:lnTo>
                    <a:lnTo>
                      <a:pt x="353" y="572"/>
                    </a:lnTo>
                    <a:lnTo>
                      <a:pt x="353" y="573"/>
                    </a:lnTo>
                    <a:lnTo>
                      <a:pt x="352" y="575"/>
                    </a:lnTo>
                    <a:lnTo>
                      <a:pt x="349" y="577"/>
                    </a:lnTo>
                    <a:lnTo>
                      <a:pt x="353" y="583"/>
                    </a:lnTo>
                    <a:lnTo>
                      <a:pt x="357" y="586"/>
                    </a:lnTo>
                    <a:lnTo>
                      <a:pt x="357" y="588"/>
                    </a:lnTo>
                    <a:lnTo>
                      <a:pt x="357" y="589"/>
                    </a:lnTo>
                    <a:lnTo>
                      <a:pt x="355" y="596"/>
                    </a:lnTo>
                    <a:lnTo>
                      <a:pt x="355" y="597"/>
                    </a:lnTo>
                    <a:lnTo>
                      <a:pt x="353" y="600"/>
                    </a:lnTo>
                    <a:lnTo>
                      <a:pt x="346" y="630"/>
                    </a:lnTo>
                    <a:lnTo>
                      <a:pt x="346" y="634"/>
                    </a:lnTo>
                    <a:lnTo>
                      <a:pt x="344" y="638"/>
                    </a:lnTo>
                    <a:lnTo>
                      <a:pt x="341" y="649"/>
                    </a:lnTo>
                    <a:lnTo>
                      <a:pt x="339" y="651"/>
                    </a:lnTo>
                    <a:lnTo>
                      <a:pt x="338" y="654"/>
                    </a:lnTo>
                    <a:lnTo>
                      <a:pt x="334" y="657"/>
                    </a:lnTo>
                    <a:lnTo>
                      <a:pt x="333" y="661"/>
                    </a:lnTo>
                    <a:lnTo>
                      <a:pt x="331" y="661"/>
                    </a:lnTo>
                    <a:lnTo>
                      <a:pt x="328" y="665"/>
                    </a:lnTo>
                    <a:lnTo>
                      <a:pt x="327" y="667"/>
                    </a:lnTo>
                    <a:lnTo>
                      <a:pt x="323" y="672"/>
                    </a:lnTo>
                    <a:lnTo>
                      <a:pt x="320" y="675"/>
                    </a:lnTo>
                    <a:lnTo>
                      <a:pt x="319" y="676"/>
                    </a:lnTo>
                    <a:lnTo>
                      <a:pt x="314" y="681"/>
                    </a:lnTo>
                    <a:lnTo>
                      <a:pt x="312" y="684"/>
                    </a:lnTo>
                    <a:lnTo>
                      <a:pt x="311" y="687"/>
                    </a:lnTo>
                    <a:lnTo>
                      <a:pt x="308" y="695"/>
                    </a:lnTo>
                    <a:lnTo>
                      <a:pt x="306" y="703"/>
                    </a:lnTo>
                    <a:lnTo>
                      <a:pt x="304" y="705"/>
                    </a:lnTo>
                    <a:lnTo>
                      <a:pt x="304" y="710"/>
                    </a:lnTo>
                    <a:lnTo>
                      <a:pt x="303" y="714"/>
                    </a:lnTo>
                    <a:lnTo>
                      <a:pt x="301" y="719"/>
                    </a:lnTo>
                    <a:lnTo>
                      <a:pt x="300" y="729"/>
                    </a:lnTo>
                    <a:lnTo>
                      <a:pt x="298" y="737"/>
                    </a:lnTo>
                    <a:lnTo>
                      <a:pt x="296" y="741"/>
                    </a:lnTo>
                    <a:lnTo>
                      <a:pt x="296" y="743"/>
                    </a:lnTo>
                    <a:lnTo>
                      <a:pt x="295" y="752"/>
                    </a:lnTo>
                    <a:lnTo>
                      <a:pt x="295" y="754"/>
                    </a:lnTo>
                    <a:lnTo>
                      <a:pt x="293" y="756"/>
                    </a:lnTo>
                    <a:lnTo>
                      <a:pt x="290" y="757"/>
                    </a:lnTo>
                    <a:lnTo>
                      <a:pt x="284" y="762"/>
                    </a:lnTo>
                    <a:lnTo>
                      <a:pt x="282" y="762"/>
                    </a:lnTo>
                    <a:lnTo>
                      <a:pt x="276" y="768"/>
                    </a:lnTo>
                    <a:lnTo>
                      <a:pt x="249" y="787"/>
                    </a:lnTo>
                    <a:lnTo>
                      <a:pt x="247" y="787"/>
                    </a:lnTo>
                    <a:lnTo>
                      <a:pt x="246" y="787"/>
                    </a:lnTo>
                    <a:lnTo>
                      <a:pt x="236" y="795"/>
                    </a:lnTo>
                    <a:lnTo>
                      <a:pt x="235" y="797"/>
                    </a:lnTo>
                    <a:lnTo>
                      <a:pt x="235" y="798"/>
                    </a:lnTo>
                    <a:lnTo>
                      <a:pt x="228" y="803"/>
                    </a:lnTo>
                    <a:lnTo>
                      <a:pt x="225" y="805"/>
                    </a:lnTo>
                    <a:lnTo>
                      <a:pt x="224" y="806"/>
                    </a:lnTo>
                    <a:lnTo>
                      <a:pt x="222" y="808"/>
                    </a:lnTo>
                    <a:lnTo>
                      <a:pt x="208" y="817"/>
                    </a:lnTo>
                    <a:lnTo>
                      <a:pt x="206" y="819"/>
                    </a:lnTo>
                    <a:lnTo>
                      <a:pt x="201" y="824"/>
                    </a:lnTo>
                    <a:lnTo>
                      <a:pt x="197" y="825"/>
                    </a:lnTo>
                    <a:lnTo>
                      <a:pt x="187" y="830"/>
                    </a:lnTo>
                    <a:lnTo>
                      <a:pt x="184" y="830"/>
                    </a:lnTo>
                    <a:lnTo>
                      <a:pt x="182" y="830"/>
                    </a:lnTo>
                    <a:lnTo>
                      <a:pt x="181" y="828"/>
                    </a:lnTo>
                    <a:lnTo>
                      <a:pt x="179" y="828"/>
                    </a:lnTo>
                    <a:lnTo>
                      <a:pt x="171" y="827"/>
                    </a:lnTo>
                    <a:lnTo>
                      <a:pt x="168" y="827"/>
                    </a:lnTo>
                    <a:lnTo>
                      <a:pt x="167" y="825"/>
                    </a:lnTo>
                    <a:lnTo>
                      <a:pt x="163" y="825"/>
                    </a:lnTo>
                    <a:lnTo>
                      <a:pt x="160" y="824"/>
                    </a:lnTo>
                    <a:lnTo>
                      <a:pt x="154" y="822"/>
                    </a:lnTo>
                    <a:lnTo>
                      <a:pt x="151" y="820"/>
                    </a:lnTo>
                    <a:lnTo>
                      <a:pt x="148" y="820"/>
                    </a:lnTo>
                    <a:lnTo>
                      <a:pt x="146" y="819"/>
                    </a:lnTo>
                    <a:lnTo>
                      <a:pt x="143" y="817"/>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74" name="Freeform 54"/>
              <p:cNvSpPr>
                <a:spLocks/>
              </p:cNvSpPr>
              <p:nvPr/>
            </p:nvSpPr>
            <p:spPr bwMode="auto">
              <a:xfrm>
                <a:off x="4110" y="1576"/>
                <a:ext cx="167" cy="578"/>
              </a:xfrm>
              <a:custGeom>
                <a:avLst/>
                <a:gdLst>
                  <a:gd name="T0" fmla="*/ 156 w 167"/>
                  <a:gd name="T1" fmla="*/ 572 h 578"/>
                  <a:gd name="T2" fmla="*/ 146 w 167"/>
                  <a:gd name="T3" fmla="*/ 561 h 578"/>
                  <a:gd name="T4" fmla="*/ 134 w 167"/>
                  <a:gd name="T5" fmla="*/ 539 h 578"/>
                  <a:gd name="T6" fmla="*/ 118 w 167"/>
                  <a:gd name="T7" fmla="*/ 510 h 578"/>
                  <a:gd name="T8" fmla="*/ 100 w 167"/>
                  <a:gd name="T9" fmla="*/ 504 h 578"/>
                  <a:gd name="T10" fmla="*/ 83 w 167"/>
                  <a:gd name="T11" fmla="*/ 496 h 578"/>
                  <a:gd name="T12" fmla="*/ 61 w 167"/>
                  <a:gd name="T13" fmla="*/ 472 h 578"/>
                  <a:gd name="T14" fmla="*/ 56 w 167"/>
                  <a:gd name="T15" fmla="*/ 460 h 578"/>
                  <a:gd name="T16" fmla="*/ 40 w 167"/>
                  <a:gd name="T17" fmla="*/ 444 h 578"/>
                  <a:gd name="T18" fmla="*/ 26 w 167"/>
                  <a:gd name="T19" fmla="*/ 434 h 578"/>
                  <a:gd name="T20" fmla="*/ 16 w 167"/>
                  <a:gd name="T21" fmla="*/ 423 h 578"/>
                  <a:gd name="T22" fmla="*/ 7 w 167"/>
                  <a:gd name="T23" fmla="*/ 412 h 578"/>
                  <a:gd name="T24" fmla="*/ 0 w 167"/>
                  <a:gd name="T25" fmla="*/ 399 h 578"/>
                  <a:gd name="T26" fmla="*/ 5 w 167"/>
                  <a:gd name="T27" fmla="*/ 396 h 578"/>
                  <a:gd name="T28" fmla="*/ 8 w 167"/>
                  <a:gd name="T29" fmla="*/ 391 h 578"/>
                  <a:gd name="T30" fmla="*/ 8 w 167"/>
                  <a:gd name="T31" fmla="*/ 383 h 578"/>
                  <a:gd name="T32" fmla="*/ 8 w 167"/>
                  <a:gd name="T33" fmla="*/ 376 h 578"/>
                  <a:gd name="T34" fmla="*/ 7 w 167"/>
                  <a:gd name="T35" fmla="*/ 368 h 578"/>
                  <a:gd name="T36" fmla="*/ 5 w 167"/>
                  <a:gd name="T37" fmla="*/ 360 h 578"/>
                  <a:gd name="T38" fmla="*/ 7 w 167"/>
                  <a:gd name="T39" fmla="*/ 352 h 578"/>
                  <a:gd name="T40" fmla="*/ 10 w 167"/>
                  <a:gd name="T41" fmla="*/ 345 h 578"/>
                  <a:gd name="T42" fmla="*/ 13 w 167"/>
                  <a:gd name="T43" fmla="*/ 341 h 578"/>
                  <a:gd name="T44" fmla="*/ 18 w 167"/>
                  <a:gd name="T45" fmla="*/ 336 h 578"/>
                  <a:gd name="T46" fmla="*/ 21 w 167"/>
                  <a:gd name="T47" fmla="*/ 331 h 578"/>
                  <a:gd name="T48" fmla="*/ 23 w 167"/>
                  <a:gd name="T49" fmla="*/ 323 h 578"/>
                  <a:gd name="T50" fmla="*/ 26 w 167"/>
                  <a:gd name="T51" fmla="*/ 315 h 578"/>
                  <a:gd name="T52" fmla="*/ 27 w 167"/>
                  <a:gd name="T53" fmla="*/ 307 h 578"/>
                  <a:gd name="T54" fmla="*/ 29 w 167"/>
                  <a:gd name="T55" fmla="*/ 300 h 578"/>
                  <a:gd name="T56" fmla="*/ 32 w 167"/>
                  <a:gd name="T57" fmla="*/ 288 h 578"/>
                  <a:gd name="T58" fmla="*/ 34 w 167"/>
                  <a:gd name="T59" fmla="*/ 279 h 578"/>
                  <a:gd name="T60" fmla="*/ 35 w 167"/>
                  <a:gd name="T61" fmla="*/ 271 h 578"/>
                  <a:gd name="T62" fmla="*/ 37 w 167"/>
                  <a:gd name="T63" fmla="*/ 265 h 578"/>
                  <a:gd name="T64" fmla="*/ 37 w 167"/>
                  <a:gd name="T65" fmla="*/ 257 h 578"/>
                  <a:gd name="T66" fmla="*/ 38 w 167"/>
                  <a:gd name="T67" fmla="*/ 249 h 578"/>
                  <a:gd name="T68" fmla="*/ 40 w 167"/>
                  <a:gd name="T69" fmla="*/ 243 h 578"/>
                  <a:gd name="T70" fmla="*/ 40 w 167"/>
                  <a:gd name="T71" fmla="*/ 235 h 578"/>
                  <a:gd name="T72" fmla="*/ 42 w 167"/>
                  <a:gd name="T73" fmla="*/ 227 h 578"/>
                  <a:gd name="T74" fmla="*/ 42 w 167"/>
                  <a:gd name="T75" fmla="*/ 219 h 578"/>
                  <a:gd name="T76" fmla="*/ 43 w 167"/>
                  <a:gd name="T77" fmla="*/ 211 h 578"/>
                  <a:gd name="T78" fmla="*/ 43 w 167"/>
                  <a:gd name="T79" fmla="*/ 203 h 578"/>
                  <a:gd name="T80" fmla="*/ 43 w 167"/>
                  <a:gd name="T81" fmla="*/ 195 h 578"/>
                  <a:gd name="T82" fmla="*/ 43 w 167"/>
                  <a:gd name="T83" fmla="*/ 187 h 578"/>
                  <a:gd name="T84" fmla="*/ 43 w 167"/>
                  <a:gd name="T85" fmla="*/ 179 h 578"/>
                  <a:gd name="T86" fmla="*/ 45 w 167"/>
                  <a:gd name="T87" fmla="*/ 170 h 578"/>
                  <a:gd name="T88" fmla="*/ 45 w 167"/>
                  <a:gd name="T89" fmla="*/ 160 h 578"/>
                  <a:gd name="T90" fmla="*/ 43 w 167"/>
                  <a:gd name="T91" fmla="*/ 152 h 578"/>
                  <a:gd name="T92" fmla="*/ 38 w 167"/>
                  <a:gd name="T93" fmla="*/ 141 h 578"/>
                  <a:gd name="T94" fmla="*/ 34 w 167"/>
                  <a:gd name="T95" fmla="*/ 128 h 578"/>
                  <a:gd name="T96" fmla="*/ 29 w 167"/>
                  <a:gd name="T97" fmla="*/ 116 h 578"/>
                  <a:gd name="T98" fmla="*/ 27 w 167"/>
                  <a:gd name="T99" fmla="*/ 106 h 578"/>
                  <a:gd name="T100" fmla="*/ 27 w 167"/>
                  <a:gd name="T101" fmla="*/ 97 h 578"/>
                  <a:gd name="T102" fmla="*/ 27 w 167"/>
                  <a:gd name="T103" fmla="*/ 87 h 578"/>
                  <a:gd name="T104" fmla="*/ 26 w 167"/>
                  <a:gd name="T105" fmla="*/ 65 h 578"/>
                  <a:gd name="T106" fmla="*/ 26 w 167"/>
                  <a:gd name="T107" fmla="*/ 22 h 578"/>
                  <a:gd name="T108" fmla="*/ 26 w 167"/>
                  <a:gd name="T109" fmla="*/ 13 h 578"/>
                  <a:gd name="T110" fmla="*/ 24 w 167"/>
                  <a:gd name="T111" fmla="*/ 2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7" h="578">
                    <a:moveTo>
                      <a:pt x="167" y="578"/>
                    </a:moveTo>
                    <a:lnTo>
                      <a:pt x="165" y="577"/>
                    </a:lnTo>
                    <a:lnTo>
                      <a:pt x="157" y="574"/>
                    </a:lnTo>
                    <a:lnTo>
                      <a:pt x="156" y="574"/>
                    </a:lnTo>
                    <a:lnTo>
                      <a:pt x="156" y="572"/>
                    </a:lnTo>
                    <a:lnTo>
                      <a:pt x="154" y="572"/>
                    </a:lnTo>
                    <a:lnTo>
                      <a:pt x="153" y="570"/>
                    </a:lnTo>
                    <a:lnTo>
                      <a:pt x="151" y="569"/>
                    </a:lnTo>
                    <a:lnTo>
                      <a:pt x="148" y="562"/>
                    </a:lnTo>
                    <a:lnTo>
                      <a:pt x="146" y="561"/>
                    </a:lnTo>
                    <a:lnTo>
                      <a:pt x="145" y="558"/>
                    </a:lnTo>
                    <a:lnTo>
                      <a:pt x="141" y="553"/>
                    </a:lnTo>
                    <a:lnTo>
                      <a:pt x="137" y="543"/>
                    </a:lnTo>
                    <a:lnTo>
                      <a:pt x="135" y="543"/>
                    </a:lnTo>
                    <a:lnTo>
                      <a:pt x="134" y="539"/>
                    </a:lnTo>
                    <a:lnTo>
                      <a:pt x="129" y="532"/>
                    </a:lnTo>
                    <a:lnTo>
                      <a:pt x="124" y="523"/>
                    </a:lnTo>
                    <a:lnTo>
                      <a:pt x="122" y="521"/>
                    </a:lnTo>
                    <a:lnTo>
                      <a:pt x="119" y="512"/>
                    </a:lnTo>
                    <a:lnTo>
                      <a:pt x="118" y="510"/>
                    </a:lnTo>
                    <a:lnTo>
                      <a:pt x="116" y="510"/>
                    </a:lnTo>
                    <a:lnTo>
                      <a:pt x="115" y="510"/>
                    </a:lnTo>
                    <a:lnTo>
                      <a:pt x="108" y="507"/>
                    </a:lnTo>
                    <a:lnTo>
                      <a:pt x="103" y="505"/>
                    </a:lnTo>
                    <a:lnTo>
                      <a:pt x="100" y="504"/>
                    </a:lnTo>
                    <a:lnTo>
                      <a:pt x="99" y="502"/>
                    </a:lnTo>
                    <a:lnTo>
                      <a:pt x="92" y="501"/>
                    </a:lnTo>
                    <a:lnTo>
                      <a:pt x="89" y="499"/>
                    </a:lnTo>
                    <a:lnTo>
                      <a:pt x="88" y="499"/>
                    </a:lnTo>
                    <a:lnTo>
                      <a:pt x="83" y="496"/>
                    </a:lnTo>
                    <a:lnTo>
                      <a:pt x="75" y="488"/>
                    </a:lnTo>
                    <a:lnTo>
                      <a:pt x="70" y="483"/>
                    </a:lnTo>
                    <a:lnTo>
                      <a:pt x="64" y="477"/>
                    </a:lnTo>
                    <a:lnTo>
                      <a:pt x="62" y="475"/>
                    </a:lnTo>
                    <a:lnTo>
                      <a:pt x="61" y="472"/>
                    </a:lnTo>
                    <a:lnTo>
                      <a:pt x="59" y="471"/>
                    </a:lnTo>
                    <a:lnTo>
                      <a:pt x="59" y="469"/>
                    </a:lnTo>
                    <a:lnTo>
                      <a:pt x="57" y="463"/>
                    </a:lnTo>
                    <a:lnTo>
                      <a:pt x="56" y="463"/>
                    </a:lnTo>
                    <a:lnTo>
                      <a:pt x="56" y="460"/>
                    </a:lnTo>
                    <a:lnTo>
                      <a:pt x="54" y="458"/>
                    </a:lnTo>
                    <a:lnTo>
                      <a:pt x="51" y="452"/>
                    </a:lnTo>
                    <a:lnTo>
                      <a:pt x="48" y="450"/>
                    </a:lnTo>
                    <a:lnTo>
                      <a:pt x="46" y="448"/>
                    </a:lnTo>
                    <a:lnTo>
                      <a:pt x="40" y="444"/>
                    </a:lnTo>
                    <a:lnTo>
                      <a:pt x="38" y="442"/>
                    </a:lnTo>
                    <a:lnTo>
                      <a:pt x="35" y="441"/>
                    </a:lnTo>
                    <a:lnTo>
                      <a:pt x="31" y="437"/>
                    </a:lnTo>
                    <a:lnTo>
                      <a:pt x="27" y="436"/>
                    </a:lnTo>
                    <a:lnTo>
                      <a:pt x="26" y="434"/>
                    </a:lnTo>
                    <a:lnTo>
                      <a:pt x="23" y="431"/>
                    </a:lnTo>
                    <a:lnTo>
                      <a:pt x="21" y="431"/>
                    </a:lnTo>
                    <a:lnTo>
                      <a:pt x="21" y="429"/>
                    </a:lnTo>
                    <a:lnTo>
                      <a:pt x="19" y="428"/>
                    </a:lnTo>
                    <a:lnTo>
                      <a:pt x="16" y="423"/>
                    </a:lnTo>
                    <a:lnTo>
                      <a:pt x="15" y="423"/>
                    </a:lnTo>
                    <a:lnTo>
                      <a:pt x="13" y="420"/>
                    </a:lnTo>
                    <a:lnTo>
                      <a:pt x="12" y="418"/>
                    </a:lnTo>
                    <a:lnTo>
                      <a:pt x="8" y="415"/>
                    </a:lnTo>
                    <a:lnTo>
                      <a:pt x="7" y="412"/>
                    </a:lnTo>
                    <a:lnTo>
                      <a:pt x="4" y="407"/>
                    </a:lnTo>
                    <a:lnTo>
                      <a:pt x="2" y="406"/>
                    </a:lnTo>
                    <a:lnTo>
                      <a:pt x="2" y="404"/>
                    </a:lnTo>
                    <a:lnTo>
                      <a:pt x="0" y="402"/>
                    </a:lnTo>
                    <a:lnTo>
                      <a:pt x="0" y="399"/>
                    </a:lnTo>
                    <a:lnTo>
                      <a:pt x="2" y="399"/>
                    </a:lnTo>
                    <a:lnTo>
                      <a:pt x="2" y="398"/>
                    </a:lnTo>
                    <a:lnTo>
                      <a:pt x="4" y="398"/>
                    </a:lnTo>
                    <a:lnTo>
                      <a:pt x="5" y="398"/>
                    </a:lnTo>
                    <a:lnTo>
                      <a:pt x="5" y="396"/>
                    </a:lnTo>
                    <a:lnTo>
                      <a:pt x="7" y="396"/>
                    </a:lnTo>
                    <a:lnTo>
                      <a:pt x="7" y="395"/>
                    </a:lnTo>
                    <a:lnTo>
                      <a:pt x="8" y="395"/>
                    </a:lnTo>
                    <a:lnTo>
                      <a:pt x="8" y="393"/>
                    </a:lnTo>
                    <a:lnTo>
                      <a:pt x="8" y="391"/>
                    </a:lnTo>
                    <a:lnTo>
                      <a:pt x="8" y="390"/>
                    </a:lnTo>
                    <a:lnTo>
                      <a:pt x="8" y="388"/>
                    </a:lnTo>
                    <a:lnTo>
                      <a:pt x="8" y="387"/>
                    </a:lnTo>
                    <a:lnTo>
                      <a:pt x="8" y="385"/>
                    </a:lnTo>
                    <a:lnTo>
                      <a:pt x="8" y="383"/>
                    </a:lnTo>
                    <a:lnTo>
                      <a:pt x="8" y="382"/>
                    </a:lnTo>
                    <a:lnTo>
                      <a:pt x="8" y="380"/>
                    </a:lnTo>
                    <a:lnTo>
                      <a:pt x="8" y="379"/>
                    </a:lnTo>
                    <a:lnTo>
                      <a:pt x="8" y="377"/>
                    </a:lnTo>
                    <a:lnTo>
                      <a:pt x="8" y="376"/>
                    </a:lnTo>
                    <a:lnTo>
                      <a:pt x="7" y="374"/>
                    </a:lnTo>
                    <a:lnTo>
                      <a:pt x="7" y="372"/>
                    </a:lnTo>
                    <a:lnTo>
                      <a:pt x="7" y="371"/>
                    </a:lnTo>
                    <a:lnTo>
                      <a:pt x="7" y="369"/>
                    </a:lnTo>
                    <a:lnTo>
                      <a:pt x="7" y="368"/>
                    </a:lnTo>
                    <a:lnTo>
                      <a:pt x="5" y="366"/>
                    </a:lnTo>
                    <a:lnTo>
                      <a:pt x="5" y="364"/>
                    </a:lnTo>
                    <a:lnTo>
                      <a:pt x="5" y="363"/>
                    </a:lnTo>
                    <a:lnTo>
                      <a:pt x="5" y="361"/>
                    </a:lnTo>
                    <a:lnTo>
                      <a:pt x="5" y="360"/>
                    </a:lnTo>
                    <a:lnTo>
                      <a:pt x="5" y="358"/>
                    </a:lnTo>
                    <a:lnTo>
                      <a:pt x="5" y="357"/>
                    </a:lnTo>
                    <a:lnTo>
                      <a:pt x="5" y="355"/>
                    </a:lnTo>
                    <a:lnTo>
                      <a:pt x="7" y="353"/>
                    </a:lnTo>
                    <a:lnTo>
                      <a:pt x="7" y="352"/>
                    </a:lnTo>
                    <a:lnTo>
                      <a:pt x="7" y="350"/>
                    </a:lnTo>
                    <a:lnTo>
                      <a:pt x="7" y="349"/>
                    </a:lnTo>
                    <a:lnTo>
                      <a:pt x="8" y="347"/>
                    </a:lnTo>
                    <a:lnTo>
                      <a:pt x="8" y="345"/>
                    </a:lnTo>
                    <a:lnTo>
                      <a:pt x="10" y="345"/>
                    </a:lnTo>
                    <a:lnTo>
                      <a:pt x="10" y="344"/>
                    </a:lnTo>
                    <a:lnTo>
                      <a:pt x="10" y="342"/>
                    </a:lnTo>
                    <a:lnTo>
                      <a:pt x="12" y="342"/>
                    </a:lnTo>
                    <a:lnTo>
                      <a:pt x="12" y="341"/>
                    </a:lnTo>
                    <a:lnTo>
                      <a:pt x="13" y="341"/>
                    </a:lnTo>
                    <a:lnTo>
                      <a:pt x="13" y="339"/>
                    </a:lnTo>
                    <a:lnTo>
                      <a:pt x="15" y="339"/>
                    </a:lnTo>
                    <a:lnTo>
                      <a:pt x="16" y="338"/>
                    </a:lnTo>
                    <a:lnTo>
                      <a:pt x="18" y="338"/>
                    </a:lnTo>
                    <a:lnTo>
                      <a:pt x="18" y="336"/>
                    </a:lnTo>
                    <a:lnTo>
                      <a:pt x="19" y="336"/>
                    </a:lnTo>
                    <a:lnTo>
                      <a:pt x="19" y="334"/>
                    </a:lnTo>
                    <a:lnTo>
                      <a:pt x="19" y="333"/>
                    </a:lnTo>
                    <a:lnTo>
                      <a:pt x="21" y="333"/>
                    </a:lnTo>
                    <a:lnTo>
                      <a:pt x="21" y="331"/>
                    </a:lnTo>
                    <a:lnTo>
                      <a:pt x="21" y="330"/>
                    </a:lnTo>
                    <a:lnTo>
                      <a:pt x="21" y="328"/>
                    </a:lnTo>
                    <a:lnTo>
                      <a:pt x="23" y="326"/>
                    </a:lnTo>
                    <a:lnTo>
                      <a:pt x="23" y="325"/>
                    </a:lnTo>
                    <a:lnTo>
                      <a:pt x="23" y="323"/>
                    </a:lnTo>
                    <a:lnTo>
                      <a:pt x="24" y="322"/>
                    </a:lnTo>
                    <a:lnTo>
                      <a:pt x="24" y="320"/>
                    </a:lnTo>
                    <a:lnTo>
                      <a:pt x="24" y="319"/>
                    </a:lnTo>
                    <a:lnTo>
                      <a:pt x="26" y="317"/>
                    </a:lnTo>
                    <a:lnTo>
                      <a:pt x="26" y="315"/>
                    </a:lnTo>
                    <a:lnTo>
                      <a:pt x="27" y="314"/>
                    </a:lnTo>
                    <a:lnTo>
                      <a:pt x="27" y="312"/>
                    </a:lnTo>
                    <a:lnTo>
                      <a:pt x="27" y="311"/>
                    </a:lnTo>
                    <a:lnTo>
                      <a:pt x="27" y="309"/>
                    </a:lnTo>
                    <a:lnTo>
                      <a:pt x="27" y="307"/>
                    </a:lnTo>
                    <a:lnTo>
                      <a:pt x="27" y="306"/>
                    </a:lnTo>
                    <a:lnTo>
                      <a:pt x="29" y="304"/>
                    </a:lnTo>
                    <a:lnTo>
                      <a:pt x="29" y="303"/>
                    </a:lnTo>
                    <a:lnTo>
                      <a:pt x="29" y="301"/>
                    </a:lnTo>
                    <a:lnTo>
                      <a:pt x="29" y="300"/>
                    </a:lnTo>
                    <a:lnTo>
                      <a:pt x="29" y="298"/>
                    </a:lnTo>
                    <a:lnTo>
                      <a:pt x="31" y="296"/>
                    </a:lnTo>
                    <a:lnTo>
                      <a:pt x="31" y="293"/>
                    </a:lnTo>
                    <a:lnTo>
                      <a:pt x="31" y="292"/>
                    </a:lnTo>
                    <a:lnTo>
                      <a:pt x="32" y="288"/>
                    </a:lnTo>
                    <a:lnTo>
                      <a:pt x="32" y="287"/>
                    </a:lnTo>
                    <a:lnTo>
                      <a:pt x="32" y="285"/>
                    </a:lnTo>
                    <a:lnTo>
                      <a:pt x="32" y="282"/>
                    </a:lnTo>
                    <a:lnTo>
                      <a:pt x="34" y="281"/>
                    </a:lnTo>
                    <a:lnTo>
                      <a:pt x="34" y="279"/>
                    </a:lnTo>
                    <a:lnTo>
                      <a:pt x="34" y="277"/>
                    </a:lnTo>
                    <a:lnTo>
                      <a:pt x="34" y="276"/>
                    </a:lnTo>
                    <a:lnTo>
                      <a:pt x="34" y="274"/>
                    </a:lnTo>
                    <a:lnTo>
                      <a:pt x="35" y="273"/>
                    </a:lnTo>
                    <a:lnTo>
                      <a:pt x="35" y="271"/>
                    </a:lnTo>
                    <a:lnTo>
                      <a:pt x="35" y="269"/>
                    </a:lnTo>
                    <a:lnTo>
                      <a:pt x="35" y="268"/>
                    </a:lnTo>
                    <a:lnTo>
                      <a:pt x="37" y="268"/>
                    </a:lnTo>
                    <a:lnTo>
                      <a:pt x="37" y="266"/>
                    </a:lnTo>
                    <a:lnTo>
                      <a:pt x="37" y="265"/>
                    </a:lnTo>
                    <a:lnTo>
                      <a:pt x="37" y="263"/>
                    </a:lnTo>
                    <a:lnTo>
                      <a:pt x="37" y="262"/>
                    </a:lnTo>
                    <a:lnTo>
                      <a:pt x="37" y="260"/>
                    </a:lnTo>
                    <a:lnTo>
                      <a:pt x="37" y="258"/>
                    </a:lnTo>
                    <a:lnTo>
                      <a:pt x="37" y="257"/>
                    </a:lnTo>
                    <a:lnTo>
                      <a:pt x="37" y="255"/>
                    </a:lnTo>
                    <a:lnTo>
                      <a:pt x="38" y="254"/>
                    </a:lnTo>
                    <a:lnTo>
                      <a:pt x="38" y="252"/>
                    </a:lnTo>
                    <a:lnTo>
                      <a:pt x="38" y="250"/>
                    </a:lnTo>
                    <a:lnTo>
                      <a:pt x="38" y="249"/>
                    </a:lnTo>
                    <a:lnTo>
                      <a:pt x="38" y="247"/>
                    </a:lnTo>
                    <a:lnTo>
                      <a:pt x="38" y="246"/>
                    </a:lnTo>
                    <a:lnTo>
                      <a:pt x="38" y="244"/>
                    </a:lnTo>
                    <a:lnTo>
                      <a:pt x="40" y="244"/>
                    </a:lnTo>
                    <a:lnTo>
                      <a:pt x="40" y="243"/>
                    </a:lnTo>
                    <a:lnTo>
                      <a:pt x="40" y="241"/>
                    </a:lnTo>
                    <a:lnTo>
                      <a:pt x="40" y="239"/>
                    </a:lnTo>
                    <a:lnTo>
                      <a:pt x="40" y="238"/>
                    </a:lnTo>
                    <a:lnTo>
                      <a:pt x="40" y="236"/>
                    </a:lnTo>
                    <a:lnTo>
                      <a:pt x="40" y="235"/>
                    </a:lnTo>
                    <a:lnTo>
                      <a:pt x="42" y="233"/>
                    </a:lnTo>
                    <a:lnTo>
                      <a:pt x="42" y="231"/>
                    </a:lnTo>
                    <a:lnTo>
                      <a:pt x="42" y="230"/>
                    </a:lnTo>
                    <a:lnTo>
                      <a:pt x="42" y="228"/>
                    </a:lnTo>
                    <a:lnTo>
                      <a:pt x="42" y="227"/>
                    </a:lnTo>
                    <a:lnTo>
                      <a:pt x="42" y="225"/>
                    </a:lnTo>
                    <a:lnTo>
                      <a:pt x="42" y="224"/>
                    </a:lnTo>
                    <a:lnTo>
                      <a:pt x="42" y="222"/>
                    </a:lnTo>
                    <a:lnTo>
                      <a:pt x="42" y="220"/>
                    </a:lnTo>
                    <a:lnTo>
                      <a:pt x="42" y="219"/>
                    </a:lnTo>
                    <a:lnTo>
                      <a:pt x="42" y="217"/>
                    </a:lnTo>
                    <a:lnTo>
                      <a:pt x="42" y="216"/>
                    </a:lnTo>
                    <a:lnTo>
                      <a:pt x="42" y="214"/>
                    </a:lnTo>
                    <a:lnTo>
                      <a:pt x="43" y="212"/>
                    </a:lnTo>
                    <a:lnTo>
                      <a:pt x="43" y="211"/>
                    </a:lnTo>
                    <a:lnTo>
                      <a:pt x="43" y="209"/>
                    </a:lnTo>
                    <a:lnTo>
                      <a:pt x="43" y="208"/>
                    </a:lnTo>
                    <a:lnTo>
                      <a:pt x="43" y="206"/>
                    </a:lnTo>
                    <a:lnTo>
                      <a:pt x="43" y="204"/>
                    </a:lnTo>
                    <a:lnTo>
                      <a:pt x="43" y="203"/>
                    </a:lnTo>
                    <a:lnTo>
                      <a:pt x="43" y="201"/>
                    </a:lnTo>
                    <a:lnTo>
                      <a:pt x="43" y="200"/>
                    </a:lnTo>
                    <a:lnTo>
                      <a:pt x="43" y="198"/>
                    </a:lnTo>
                    <a:lnTo>
                      <a:pt x="43" y="197"/>
                    </a:lnTo>
                    <a:lnTo>
                      <a:pt x="43" y="195"/>
                    </a:lnTo>
                    <a:lnTo>
                      <a:pt x="43" y="193"/>
                    </a:lnTo>
                    <a:lnTo>
                      <a:pt x="43" y="192"/>
                    </a:lnTo>
                    <a:lnTo>
                      <a:pt x="43" y="190"/>
                    </a:lnTo>
                    <a:lnTo>
                      <a:pt x="43" y="189"/>
                    </a:lnTo>
                    <a:lnTo>
                      <a:pt x="43" y="187"/>
                    </a:lnTo>
                    <a:lnTo>
                      <a:pt x="43" y="185"/>
                    </a:lnTo>
                    <a:lnTo>
                      <a:pt x="43" y="184"/>
                    </a:lnTo>
                    <a:lnTo>
                      <a:pt x="43" y="182"/>
                    </a:lnTo>
                    <a:lnTo>
                      <a:pt x="43" y="181"/>
                    </a:lnTo>
                    <a:lnTo>
                      <a:pt x="43" y="179"/>
                    </a:lnTo>
                    <a:lnTo>
                      <a:pt x="43" y="178"/>
                    </a:lnTo>
                    <a:lnTo>
                      <a:pt x="43" y="176"/>
                    </a:lnTo>
                    <a:lnTo>
                      <a:pt x="45" y="173"/>
                    </a:lnTo>
                    <a:lnTo>
                      <a:pt x="45" y="171"/>
                    </a:lnTo>
                    <a:lnTo>
                      <a:pt x="45" y="170"/>
                    </a:lnTo>
                    <a:lnTo>
                      <a:pt x="45" y="166"/>
                    </a:lnTo>
                    <a:lnTo>
                      <a:pt x="45" y="165"/>
                    </a:lnTo>
                    <a:lnTo>
                      <a:pt x="45" y="163"/>
                    </a:lnTo>
                    <a:lnTo>
                      <a:pt x="45" y="162"/>
                    </a:lnTo>
                    <a:lnTo>
                      <a:pt x="45" y="160"/>
                    </a:lnTo>
                    <a:lnTo>
                      <a:pt x="45" y="159"/>
                    </a:lnTo>
                    <a:lnTo>
                      <a:pt x="45" y="157"/>
                    </a:lnTo>
                    <a:lnTo>
                      <a:pt x="45" y="155"/>
                    </a:lnTo>
                    <a:lnTo>
                      <a:pt x="43" y="154"/>
                    </a:lnTo>
                    <a:lnTo>
                      <a:pt x="43" y="152"/>
                    </a:lnTo>
                    <a:lnTo>
                      <a:pt x="42" y="149"/>
                    </a:lnTo>
                    <a:lnTo>
                      <a:pt x="42" y="147"/>
                    </a:lnTo>
                    <a:lnTo>
                      <a:pt x="40" y="146"/>
                    </a:lnTo>
                    <a:lnTo>
                      <a:pt x="40" y="144"/>
                    </a:lnTo>
                    <a:lnTo>
                      <a:pt x="38" y="141"/>
                    </a:lnTo>
                    <a:lnTo>
                      <a:pt x="37" y="140"/>
                    </a:lnTo>
                    <a:lnTo>
                      <a:pt x="37" y="138"/>
                    </a:lnTo>
                    <a:lnTo>
                      <a:pt x="35" y="135"/>
                    </a:lnTo>
                    <a:lnTo>
                      <a:pt x="35" y="132"/>
                    </a:lnTo>
                    <a:lnTo>
                      <a:pt x="34" y="128"/>
                    </a:lnTo>
                    <a:lnTo>
                      <a:pt x="32" y="125"/>
                    </a:lnTo>
                    <a:lnTo>
                      <a:pt x="32" y="122"/>
                    </a:lnTo>
                    <a:lnTo>
                      <a:pt x="31" y="121"/>
                    </a:lnTo>
                    <a:lnTo>
                      <a:pt x="31" y="117"/>
                    </a:lnTo>
                    <a:lnTo>
                      <a:pt x="29" y="116"/>
                    </a:lnTo>
                    <a:lnTo>
                      <a:pt x="29" y="113"/>
                    </a:lnTo>
                    <a:lnTo>
                      <a:pt x="27" y="111"/>
                    </a:lnTo>
                    <a:lnTo>
                      <a:pt x="27" y="109"/>
                    </a:lnTo>
                    <a:lnTo>
                      <a:pt x="27" y="108"/>
                    </a:lnTo>
                    <a:lnTo>
                      <a:pt x="27" y="106"/>
                    </a:lnTo>
                    <a:lnTo>
                      <a:pt x="27" y="103"/>
                    </a:lnTo>
                    <a:lnTo>
                      <a:pt x="27" y="102"/>
                    </a:lnTo>
                    <a:lnTo>
                      <a:pt x="27" y="100"/>
                    </a:lnTo>
                    <a:lnTo>
                      <a:pt x="27" y="98"/>
                    </a:lnTo>
                    <a:lnTo>
                      <a:pt x="27" y="97"/>
                    </a:lnTo>
                    <a:lnTo>
                      <a:pt x="27" y="94"/>
                    </a:lnTo>
                    <a:lnTo>
                      <a:pt x="27" y="92"/>
                    </a:lnTo>
                    <a:lnTo>
                      <a:pt x="27" y="90"/>
                    </a:lnTo>
                    <a:lnTo>
                      <a:pt x="27" y="89"/>
                    </a:lnTo>
                    <a:lnTo>
                      <a:pt x="27" y="87"/>
                    </a:lnTo>
                    <a:lnTo>
                      <a:pt x="27" y="86"/>
                    </a:lnTo>
                    <a:lnTo>
                      <a:pt x="27" y="84"/>
                    </a:lnTo>
                    <a:lnTo>
                      <a:pt x="27" y="83"/>
                    </a:lnTo>
                    <a:lnTo>
                      <a:pt x="26" y="70"/>
                    </a:lnTo>
                    <a:lnTo>
                      <a:pt x="26" y="65"/>
                    </a:lnTo>
                    <a:lnTo>
                      <a:pt x="26" y="57"/>
                    </a:lnTo>
                    <a:lnTo>
                      <a:pt x="26" y="51"/>
                    </a:lnTo>
                    <a:lnTo>
                      <a:pt x="26" y="41"/>
                    </a:lnTo>
                    <a:lnTo>
                      <a:pt x="26" y="33"/>
                    </a:lnTo>
                    <a:lnTo>
                      <a:pt x="26" y="22"/>
                    </a:lnTo>
                    <a:lnTo>
                      <a:pt x="26" y="21"/>
                    </a:lnTo>
                    <a:lnTo>
                      <a:pt x="26" y="19"/>
                    </a:lnTo>
                    <a:lnTo>
                      <a:pt x="26" y="18"/>
                    </a:lnTo>
                    <a:lnTo>
                      <a:pt x="26" y="14"/>
                    </a:lnTo>
                    <a:lnTo>
                      <a:pt x="26" y="13"/>
                    </a:lnTo>
                    <a:lnTo>
                      <a:pt x="26" y="10"/>
                    </a:lnTo>
                    <a:lnTo>
                      <a:pt x="24" y="6"/>
                    </a:lnTo>
                    <a:lnTo>
                      <a:pt x="24" y="5"/>
                    </a:lnTo>
                    <a:lnTo>
                      <a:pt x="24" y="3"/>
                    </a:lnTo>
                    <a:lnTo>
                      <a:pt x="24" y="2"/>
                    </a:lnTo>
                    <a:lnTo>
                      <a:pt x="24" y="0"/>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75" name="Freeform 55"/>
              <p:cNvSpPr>
                <a:spLocks/>
              </p:cNvSpPr>
              <p:nvPr/>
            </p:nvSpPr>
            <p:spPr bwMode="auto">
              <a:xfrm>
                <a:off x="2967" y="540"/>
                <a:ext cx="860" cy="488"/>
              </a:xfrm>
              <a:custGeom>
                <a:avLst/>
                <a:gdLst>
                  <a:gd name="T0" fmla="*/ 446 w 860"/>
                  <a:gd name="T1" fmla="*/ 10 h 488"/>
                  <a:gd name="T2" fmla="*/ 499 w 860"/>
                  <a:gd name="T3" fmla="*/ 35 h 488"/>
                  <a:gd name="T4" fmla="*/ 523 w 860"/>
                  <a:gd name="T5" fmla="*/ 49 h 488"/>
                  <a:gd name="T6" fmla="*/ 565 w 860"/>
                  <a:gd name="T7" fmla="*/ 78 h 488"/>
                  <a:gd name="T8" fmla="*/ 613 w 860"/>
                  <a:gd name="T9" fmla="*/ 103 h 488"/>
                  <a:gd name="T10" fmla="*/ 637 w 860"/>
                  <a:gd name="T11" fmla="*/ 114 h 488"/>
                  <a:gd name="T12" fmla="*/ 714 w 860"/>
                  <a:gd name="T13" fmla="*/ 157 h 488"/>
                  <a:gd name="T14" fmla="*/ 754 w 860"/>
                  <a:gd name="T15" fmla="*/ 179 h 488"/>
                  <a:gd name="T16" fmla="*/ 827 w 860"/>
                  <a:gd name="T17" fmla="*/ 225 h 488"/>
                  <a:gd name="T18" fmla="*/ 825 w 860"/>
                  <a:gd name="T19" fmla="*/ 257 h 488"/>
                  <a:gd name="T20" fmla="*/ 820 w 860"/>
                  <a:gd name="T21" fmla="*/ 287 h 488"/>
                  <a:gd name="T22" fmla="*/ 817 w 860"/>
                  <a:gd name="T23" fmla="*/ 317 h 488"/>
                  <a:gd name="T24" fmla="*/ 819 w 860"/>
                  <a:gd name="T25" fmla="*/ 349 h 488"/>
                  <a:gd name="T26" fmla="*/ 825 w 860"/>
                  <a:gd name="T27" fmla="*/ 377 h 488"/>
                  <a:gd name="T28" fmla="*/ 852 w 860"/>
                  <a:gd name="T29" fmla="*/ 387 h 488"/>
                  <a:gd name="T30" fmla="*/ 855 w 860"/>
                  <a:gd name="T31" fmla="*/ 410 h 488"/>
                  <a:gd name="T32" fmla="*/ 844 w 860"/>
                  <a:gd name="T33" fmla="*/ 437 h 488"/>
                  <a:gd name="T34" fmla="*/ 804 w 860"/>
                  <a:gd name="T35" fmla="*/ 485 h 488"/>
                  <a:gd name="T36" fmla="*/ 771 w 860"/>
                  <a:gd name="T37" fmla="*/ 485 h 488"/>
                  <a:gd name="T38" fmla="*/ 738 w 860"/>
                  <a:gd name="T39" fmla="*/ 485 h 488"/>
                  <a:gd name="T40" fmla="*/ 705 w 860"/>
                  <a:gd name="T41" fmla="*/ 486 h 488"/>
                  <a:gd name="T42" fmla="*/ 671 w 860"/>
                  <a:gd name="T43" fmla="*/ 486 h 488"/>
                  <a:gd name="T44" fmla="*/ 641 w 860"/>
                  <a:gd name="T45" fmla="*/ 486 h 488"/>
                  <a:gd name="T46" fmla="*/ 613 w 860"/>
                  <a:gd name="T47" fmla="*/ 475 h 488"/>
                  <a:gd name="T48" fmla="*/ 584 w 860"/>
                  <a:gd name="T49" fmla="*/ 469 h 488"/>
                  <a:gd name="T50" fmla="*/ 568 w 860"/>
                  <a:gd name="T51" fmla="*/ 448 h 488"/>
                  <a:gd name="T52" fmla="*/ 545 w 860"/>
                  <a:gd name="T53" fmla="*/ 434 h 488"/>
                  <a:gd name="T54" fmla="*/ 521 w 860"/>
                  <a:gd name="T55" fmla="*/ 418 h 488"/>
                  <a:gd name="T56" fmla="*/ 500 w 860"/>
                  <a:gd name="T57" fmla="*/ 406 h 488"/>
                  <a:gd name="T58" fmla="*/ 477 w 860"/>
                  <a:gd name="T59" fmla="*/ 390 h 488"/>
                  <a:gd name="T60" fmla="*/ 450 w 860"/>
                  <a:gd name="T61" fmla="*/ 387 h 488"/>
                  <a:gd name="T62" fmla="*/ 427 w 860"/>
                  <a:gd name="T63" fmla="*/ 369 h 488"/>
                  <a:gd name="T64" fmla="*/ 405 w 860"/>
                  <a:gd name="T65" fmla="*/ 388 h 488"/>
                  <a:gd name="T66" fmla="*/ 372 w 860"/>
                  <a:gd name="T67" fmla="*/ 390 h 488"/>
                  <a:gd name="T68" fmla="*/ 359 w 860"/>
                  <a:gd name="T69" fmla="*/ 366 h 488"/>
                  <a:gd name="T70" fmla="*/ 320 w 860"/>
                  <a:gd name="T71" fmla="*/ 355 h 488"/>
                  <a:gd name="T72" fmla="*/ 299 w 860"/>
                  <a:gd name="T73" fmla="*/ 369 h 488"/>
                  <a:gd name="T74" fmla="*/ 272 w 860"/>
                  <a:gd name="T75" fmla="*/ 380 h 488"/>
                  <a:gd name="T76" fmla="*/ 242 w 860"/>
                  <a:gd name="T77" fmla="*/ 387 h 488"/>
                  <a:gd name="T78" fmla="*/ 214 w 860"/>
                  <a:gd name="T79" fmla="*/ 377 h 488"/>
                  <a:gd name="T80" fmla="*/ 191 w 860"/>
                  <a:gd name="T81" fmla="*/ 360 h 488"/>
                  <a:gd name="T82" fmla="*/ 163 w 860"/>
                  <a:gd name="T83" fmla="*/ 360 h 488"/>
                  <a:gd name="T84" fmla="*/ 157 w 860"/>
                  <a:gd name="T85" fmla="*/ 334 h 488"/>
                  <a:gd name="T86" fmla="*/ 177 w 860"/>
                  <a:gd name="T87" fmla="*/ 334 h 488"/>
                  <a:gd name="T88" fmla="*/ 195 w 860"/>
                  <a:gd name="T89" fmla="*/ 350 h 488"/>
                  <a:gd name="T90" fmla="*/ 185 w 860"/>
                  <a:gd name="T91" fmla="*/ 327 h 488"/>
                  <a:gd name="T92" fmla="*/ 195 w 860"/>
                  <a:gd name="T93" fmla="*/ 336 h 488"/>
                  <a:gd name="T94" fmla="*/ 206 w 860"/>
                  <a:gd name="T95" fmla="*/ 331 h 488"/>
                  <a:gd name="T96" fmla="*/ 225 w 860"/>
                  <a:gd name="T97" fmla="*/ 336 h 488"/>
                  <a:gd name="T98" fmla="*/ 231 w 860"/>
                  <a:gd name="T99" fmla="*/ 317 h 488"/>
                  <a:gd name="T100" fmla="*/ 256 w 860"/>
                  <a:gd name="T101" fmla="*/ 334 h 488"/>
                  <a:gd name="T102" fmla="*/ 275 w 860"/>
                  <a:gd name="T103" fmla="*/ 331 h 488"/>
                  <a:gd name="T104" fmla="*/ 271 w 860"/>
                  <a:gd name="T105" fmla="*/ 315 h 488"/>
                  <a:gd name="T106" fmla="*/ 247 w 860"/>
                  <a:gd name="T107" fmla="*/ 312 h 488"/>
                  <a:gd name="T108" fmla="*/ 244 w 860"/>
                  <a:gd name="T109" fmla="*/ 295 h 488"/>
                  <a:gd name="T110" fmla="*/ 223 w 860"/>
                  <a:gd name="T111" fmla="*/ 296 h 488"/>
                  <a:gd name="T112" fmla="*/ 201 w 860"/>
                  <a:gd name="T113" fmla="*/ 309 h 488"/>
                  <a:gd name="T114" fmla="*/ 198 w 860"/>
                  <a:gd name="T115" fmla="*/ 296 h 488"/>
                  <a:gd name="T116" fmla="*/ 193 w 860"/>
                  <a:gd name="T117" fmla="*/ 276 h 488"/>
                  <a:gd name="T118" fmla="*/ 204 w 860"/>
                  <a:gd name="T119" fmla="*/ 250 h 488"/>
                  <a:gd name="T120" fmla="*/ 220 w 860"/>
                  <a:gd name="T121" fmla="*/ 231 h 488"/>
                  <a:gd name="T122" fmla="*/ 244 w 860"/>
                  <a:gd name="T123" fmla="*/ 243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0" h="488">
                    <a:moveTo>
                      <a:pt x="399" y="0"/>
                    </a:moveTo>
                    <a:lnTo>
                      <a:pt x="399" y="3"/>
                    </a:lnTo>
                    <a:lnTo>
                      <a:pt x="426" y="3"/>
                    </a:lnTo>
                    <a:lnTo>
                      <a:pt x="427" y="5"/>
                    </a:lnTo>
                    <a:lnTo>
                      <a:pt x="429" y="7"/>
                    </a:lnTo>
                    <a:lnTo>
                      <a:pt x="429" y="8"/>
                    </a:lnTo>
                    <a:lnTo>
                      <a:pt x="429" y="10"/>
                    </a:lnTo>
                    <a:lnTo>
                      <a:pt x="429" y="11"/>
                    </a:lnTo>
                    <a:lnTo>
                      <a:pt x="431" y="13"/>
                    </a:lnTo>
                    <a:lnTo>
                      <a:pt x="431" y="14"/>
                    </a:lnTo>
                    <a:lnTo>
                      <a:pt x="432" y="16"/>
                    </a:lnTo>
                    <a:lnTo>
                      <a:pt x="434" y="18"/>
                    </a:lnTo>
                    <a:lnTo>
                      <a:pt x="437" y="18"/>
                    </a:lnTo>
                    <a:lnTo>
                      <a:pt x="439" y="16"/>
                    </a:lnTo>
                    <a:lnTo>
                      <a:pt x="440" y="16"/>
                    </a:lnTo>
                    <a:lnTo>
                      <a:pt x="442" y="14"/>
                    </a:lnTo>
                    <a:lnTo>
                      <a:pt x="442" y="13"/>
                    </a:lnTo>
                    <a:lnTo>
                      <a:pt x="442" y="11"/>
                    </a:lnTo>
                    <a:lnTo>
                      <a:pt x="443" y="11"/>
                    </a:lnTo>
                    <a:lnTo>
                      <a:pt x="445" y="11"/>
                    </a:lnTo>
                    <a:lnTo>
                      <a:pt x="446" y="10"/>
                    </a:lnTo>
                    <a:lnTo>
                      <a:pt x="450" y="13"/>
                    </a:lnTo>
                    <a:lnTo>
                      <a:pt x="469" y="22"/>
                    </a:lnTo>
                    <a:lnTo>
                      <a:pt x="475" y="27"/>
                    </a:lnTo>
                    <a:lnTo>
                      <a:pt x="477" y="26"/>
                    </a:lnTo>
                    <a:lnTo>
                      <a:pt x="477" y="24"/>
                    </a:lnTo>
                    <a:lnTo>
                      <a:pt x="477" y="22"/>
                    </a:lnTo>
                    <a:lnTo>
                      <a:pt x="475" y="22"/>
                    </a:lnTo>
                    <a:lnTo>
                      <a:pt x="477" y="22"/>
                    </a:lnTo>
                    <a:lnTo>
                      <a:pt x="478" y="22"/>
                    </a:lnTo>
                    <a:lnTo>
                      <a:pt x="480" y="24"/>
                    </a:lnTo>
                    <a:lnTo>
                      <a:pt x="483" y="26"/>
                    </a:lnTo>
                    <a:lnTo>
                      <a:pt x="483" y="27"/>
                    </a:lnTo>
                    <a:lnTo>
                      <a:pt x="483" y="29"/>
                    </a:lnTo>
                    <a:lnTo>
                      <a:pt x="483" y="30"/>
                    </a:lnTo>
                    <a:lnTo>
                      <a:pt x="494" y="37"/>
                    </a:lnTo>
                    <a:lnTo>
                      <a:pt x="494" y="35"/>
                    </a:lnTo>
                    <a:lnTo>
                      <a:pt x="494" y="33"/>
                    </a:lnTo>
                    <a:lnTo>
                      <a:pt x="496" y="33"/>
                    </a:lnTo>
                    <a:lnTo>
                      <a:pt x="497" y="33"/>
                    </a:lnTo>
                    <a:lnTo>
                      <a:pt x="497" y="35"/>
                    </a:lnTo>
                    <a:lnTo>
                      <a:pt x="499" y="35"/>
                    </a:lnTo>
                    <a:lnTo>
                      <a:pt x="500" y="35"/>
                    </a:lnTo>
                    <a:lnTo>
                      <a:pt x="500" y="37"/>
                    </a:lnTo>
                    <a:lnTo>
                      <a:pt x="502" y="37"/>
                    </a:lnTo>
                    <a:lnTo>
                      <a:pt x="504" y="37"/>
                    </a:lnTo>
                    <a:lnTo>
                      <a:pt x="504" y="38"/>
                    </a:lnTo>
                    <a:lnTo>
                      <a:pt x="505" y="38"/>
                    </a:lnTo>
                    <a:lnTo>
                      <a:pt x="507" y="38"/>
                    </a:lnTo>
                    <a:lnTo>
                      <a:pt x="507" y="40"/>
                    </a:lnTo>
                    <a:lnTo>
                      <a:pt x="508" y="40"/>
                    </a:lnTo>
                    <a:lnTo>
                      <a:pt x="510" y="41"/>
                    </a:lnTo>
                    <a:lnTo>
                      <a:pt x="511" y="41"/>
                    </a:lnTo>
                    <a:lnTo>
                      <a:pt x="511" y="43"/>
                    </a:lnTo>
                    <a:lnTo>
                      <a:pt x="513" y="43"/>
                    </a:lnTo>
                    <a:lnTo>
                      <a:pt x="515" y="45"/>
                    </a:lnTo>
                    <a:lnTo>
                      <a:pt x="516" y="45"/>
                    </a:lnTo>
                    <a:lnTo>
                      <a:pt x="518" y="46"/>
                    </a:lnTo>
                    <a:lnTo>
                      <a:pt x="519" y="46"/>
                    </a:lnTo>
                    <a:lnTo>
                      <a:pt x="519" y="48"/>
                    </a:lnTo>
                    <a:lnTo>
                      <a:pt x="521" y="48"/>
                    </a:lnTo>
                    <a:lnTo>
                      <a:pt x="523" y="48"/>
                    </a:lnTo>
                    <a:lnTo>
                      <a:pt x="523" y="49"/>
                    </a:lnTo>
                    <a:lnTo>
                      <a:pt x="524" y="49"/>
                    </a:lnTo>
                    <a:lnTo>
                      <a:pt x="526" y="49"/>
                    </a:lnTo>
                    <a:lnTo>
                      <a:pt x="526" y="51"/>
                    </a:lnTo>
                    <a:lnTo>
                      <a:pt x="527" y="51"/>
                    </a:lnTo>
                    <a:lnTo>
                      <a:pt x="529" y="52"/>
                    </a:lnTo>
                    <a:lnTo>
                      <a:pt x="530" y="52"/>
                    </a:lnTo>
                    <a:lnTo>
                      <a:pt x="530" y="54"/>
                    </a:lnTo>
                    <a:lnTo>
                      <a:pt x="532" y="54"/>
                    </a:lnTo>
                    <a:lnTo>
                      <a:pt x="534" y="54"/>
                    </a:lnTo>
                    <a:lnTo>
                      <a:pt x="534" y="56"/>
                    </a:lnTo>
                    <a:lnTo>
                      <a:pt x="535" y="56"/>
                    </a:lnTo>
                    <a:lnTo>
                      <a:pt x="537" y="56"/>
                    </a:lnTo>
                    <a:lnTo>
                      <a:pt x="537" y="57"/>
                    </a:lnTo>
                    <a:lnTo>
                      <a:pt x="538" y="57"/>
                    </a:lnTo>
                    <a:lnTo>
                      <a:pt x="540" y="59"/>
                    </a:lnTo>
                    <a:lnTo>
                      <a:pt x="542" y="59"/>
                    </a:lnTo>
                    <a:lnTo>
                      <a:pt x="543" y="60"/>
                    </a:lnTo>
                    <a:lnTo>
                      <a:pt x="545" y="60"/>
                    </a:lnTo>
                    <a:lnTo>
                      <a:pt x="543" y="62"/>
                    </a:lnTo>
                    <a:lnTo>
                      <a:pt x="542" y="64"/>
                    </a:lnTo>
                    <a:lnTo>
                      <a:pt x="565" y="78"/>
                    </a:lnTo>
                    <a:lnTo>
                      <a:pt x="565" y="76"/>
                    </a:lnTo>
                    <a:lnTo>
                      <a:pt x="567" y="75"/>
                    </a:lnTo>
                    <a:lnTo>
                      <a:pt x="567" y="73"/>
                    </a:lnTo>
                    <a:lnTo>
                      <a:pt x="572" y="76"/>
                    </a:lnTo>
                    <a:lnTo>
                      <a:pt x="583" y="83"/>
                    </a:lnTo>
                    <a:lnTo>
                      <a:pt x="583" y="84"/>
                    </a:lnTo>
                    <a:lnTo>
                      <a:pt x="583" y="86"/>
                    </a:lnTo>
                    <a:lnTo>
                      <a:pt x="583" y="87"/>
                    </a:lnTo>
                    <a:lnTo>
                      <a:pt x="586" y="89"/>
                    </a:lnTo>
                    <a:lnTo>
                      <a:pt x="587" y="89"/>
                    </a:lnTo>
                    <a:lnTo>
                      <a:pt x="602" y="98"/>
                    </a:lnTo>
                    <a:lnTo>
                      <a:pt x="605" y="100"/>
                    </a:lnTo>
                    <a:lnTo>
                      <a:pt x="605" y="97"/>
                    </a:lnTo>
                    <a:lnTo>
                      <a:pt x="603" y="95"/>
                    </a:lnTo>
                    <a:lnTo>
                      <a:pt x="605" y="95"/>
                    </a:lnTo>
                    <a:lnTo>
                      <a:pt x="606" y="97"/>
                    </a:lnTo>
                    <a:lnTo>
                      <a:pt x="608" y="97"/>
                    </a:lnTo>
                    <a:lnTo>
                      <a:pt x="610" y="98"/>
                    </a:lnTo>
                    <a:lnTo>
                      <a:pt x="610" y="100"/>
                    </a:lnTo>
                    <a:lnTo>
                      <a:pt x="610" y="102"/>
                    </a:lnTo>
                    <a:lnTo>
                      <a:pt x="613" y="103"/>
                    </a:lnTo>
                    <a:lnTo>
                      <a:pt x="613" y="105"/>
                    </a:lnTo>
                    <a:lnTo>
                      <a:pt x="614" y="103"/>
                    </a:lnTo>
                    <a:lnTo>
                      <a:pt x="616" y="103"/>
                    </a:lnTo>
                    <a:lnTo>
                      <a:pt x="616" y="102"/>
                    </a:lnTo>
                    <a:lnTo>
                      <a:pt x="619" y="103"/>
                    </a:lnTo>
                    <a:lnTo>
                      <a:pt x="621" y="103"/>
                    </a:lnTo>
                    <a:lnTo>
                      <a:pt x="621" y="105"/>
                    </a:lnTo>
                    <a:lnTo>
                      <a:pt x="622" y="105"/>
                    </a:lnTo>
                    <a:lnTo>
                      <a:pt x="624" y="106"/>
                    </a:lnTo>
                    <a:lnTo>
                      <a:pt x="625" y="106"/>
                    </a:lnTo>
                    <a:lnTo>
                      <a:pt x="627" y="108"/>
                    </a:lnTo>
                    <a:lnTo>
                      <a:pt x="629" y="108"/>
                    </a:lnTo>
                    <a:lnTo>
                      <a:pt x="629" y="109"/>
                    </a:lnTo>
                    <a:lnTo>
                      <a:pt x="630" y="109"/>
                    </a:lnTo>
                    <a:lnTo>
                      <a:pt x="632" y="109"/>
                    </a:lnTo>
                    <a:lnTo>
                      <a:pt x="632" y="111"/>
                    </a:lnTo>
                    <a:lnTo>
                      <a:pt x="633" y="111"/>
                    </a:lnTo>
                    <a:lnTo>
                      <a:pt x="633" y="113"/>
                    </a:lnTo>
                    <a:lnTo>
                      <a:pt x="635" y="113"/>
                    </a:lnTo>
                    <a:lnTo>
                      <a:pt x="637" y="113"/>
                    </a:lnTo>
                    <a:lnTo>
                      <a:pt x="637" y="114"/>
                    </a:lnTo>
                    <a:lnTo>
                      <a:pt x="638" y="114"/>
                    </a:lnTo>
                    <a:lnTo>
                      <a:pt x="640" y="114"/>
                    </a:lnTo>
                    <a:lnTo>
                      <a:pt x="640" y="116"/>
                    </a:lnTo>
                    <a:lnTo>
                      <a:pt x="641" y="116"/>
                    </a:lnTo>
                    <a:lnTo>
                      <a:pt x="646" y="117"/>
                    </a:lnTo>
                    <a:lnTo>
                      <a:pt x="646" y="119"/>
                    </a:lnTo>
                    <a:lnTo>
                      <a:pt x="649" y="121"/>
                    </a:lnTo>
                    <a:lnTo>
                      <a:pt x="649" y="122"/>
                    </a:lnTo>
                    <a:lnTo>
                      <a:pt x="649" y="124"/>
                    </a:lnTo>
                    <a:lnTo>
                      <a:pt x="656" y="129"/>
                    </a:lnTo>
                    <a:lnTo>
                      <a:pt x="656" y="130"/>
                    </a:lnTo>
                    <a:lnTo>
                      <a:pt x="675" y="140"/>
                    </a:lnTo>
                    <a:lnTo>
                      <a:pt x="678" y="136"/>
                    </a:lnTo>
                    <a:lnTo>
                      <a:pt x="679" y="138"/>
                    </a:lnTo>
                    <a:lnTo>
                      <a:pt x="681" y="138"/>
                    </a:lnTo>
                    <a:lnTo>
                      <a:pt x="684" y="140"/>
                    </a:lnTo>
                    <a:lnTo>
                      <a:pt x="687" y="143"/>
                    </a:lnTo>
                    <a:lnTo>
                      <a:pt x="706" y="152"/>
                    </a:lnTo>
                    <a:lnTo>
                      <a:pt x="706" y="154"/>
                    </a:lnTo>
                    <a:lnTo>
                      <a:pt x="708" y="154"/>
                    </a:lnTo>
                    <a:lnTo>
                      <a:pt x="714" y="157"/>
                    </a:lnTo>
                    <a:lnTo>
                      <a:pt x="716" y="159"/>
                    </a:lnTo>
                    <a:lnTo>
                      <a:pt x="717" y="159"/>
                    </a:lnTo>
                    <a:lnTo>
                      <a:pt x="717" y="160"/>
                    </a:lnTo>
                    <a:lnTo>
                      <a:pt x="722" y="162"/>
                    </a:lnTo>
                    <a:lnTo>
                      <a:pt x="725" y="163"/>
                    </a:lnTo>
                    <a:lnTo>
                      <a:pt x="725" y="165"/>
                    </a:lnTo>
                    <a:lnTo>
                      <a:pt x="727" y="165"/>
                    </a:lnTo>
                    <a:lnTo>
                      <a:pt x="728" y="165"/>
                    </a:lnTo>
                    <a:lnTo>
                      <a:pt x="732" y="167"/>
                    </a:lnTo>
                    <a:lnTo>
                      <a:pt x="735" y="170"/>
                    </a:lnTo>
                    <a:lnTo>
                      <a:pt x="736" y="170"/>
                    </a:lnTo>
                    <a:lnTo>
                      <a:pt x="740" y="173"/>
                    </a:lnTo>
                    <a:lnTo>
                      <a:pt x="743" y="174"/>
                    </a:lnTo>
                    <a:lnTo>
                      <a:pt x="746" y="174"/>
                    </a:lnTo>
                    <a:lnTo>
                      <a:pt x="746" y="176"/>
                    </a:lnTo>
                    <a:lnTo>
                      <a:pt x="747" y="176"/>
                    </a:lnTo>
                    <a:lnTo>
                      <a:pt x="749" y="178"/>
                    </a:lnTo>
                    <a:lnTo>
                      <a:pt x="751" y="178"/>
                    </a:lnTo>
                    <a:lnTo>
                      <a:pt x="751" y="179"/>
                    </a:lnTo>
                    <a:lnTo>
                      <a:pt x="752" y="179"/>
                    </a:lnTo>
                    <a:lnTo>
                      <a:pt x="754" y="179"/>
                    </a:lnTo>
                    <a:lnTo>
                      <a:pt x="760" y="184"/>
                    </a:lnTo>
                    <a:lnTo>
                      <a:pt x="765" y="186"/>
                    </a:lnTo>
                    <a:lnTo>
                      <a:pt x="766" y="187"/>
                    </a:lnTo>
                    <a:lnTo>
                      <a:pt x="768" y="189"/>
                    </a:lnTo>
                    <a:lnTo>
                      <a:pt x="770" y="189"/>
                    </a:lnTo>
                    <a:lnTo>
                      <a:pt x="771" y="190"/>
                    </a:lnTo>
                    <a:lnTo>
                      <a:pt x="774" y="190"/>
                    </a:lnTo>
                    <a:lnTo>
                      <a:pt x="776" y="193"/>
                    </a:lnTo>
                    <a:lnTo>
                      <a:pt x="778" y="193"/>
                    </a:lnTo>
                    <a:lnTo>
                      <a:pt x="779" y="193"/>
                    </a:lnTo>
                    <a:lnTo>
                      <a:pt x="779" y="195"/>
                    </a:lnTo>
                    <a:lnTo>
                      <a:pt x="781" y="195"/>
                    </a:lnTo>
                    <a:lnTo>
                      <a:pt x="797" y="205"/>
                    </a:lnTo>
                    <a:lnTo>
                      <a:pt x="801" y="208"/>
                    </a:lnTo>
                    <a:lnTo>
                      <a:pt x="804" y="208"/>
                    </a:lnTo>
                    <a:lnTo>
                      <a:pt x="804" y="209"/>
                    </a:lnTo>
                    <a:lnTo>
                      <a:pt x="806" y="209"/>
                    </a:lnTo>
                    <a:lnTo>
                      <a:pt x="808" y="209"/>
                    </a:lnTo>
                    <a:lnTo>
                      <a:pt x="806" y="211"/>
                    </a:lnTo>
                    <a:lnTo>
                      <a:pt x="803" y="212"/>
                    </a:lnTo>
                    <a:lnTo>
                      <a:pt x="827" y="225"/>
                    </a:lnTo>
                    <a:lnTo>
                      <a:pt x="827" y="227"/>
                    </a:lnTo>
                    <a:lnTo>
                      <a:pt x="827" y="228"/>
                    </a:lnTo>
                    <a:lnTo>
                      <a:pt x="827" y="230"/>
                    </a:lnTo>
                    <a:lnTo>
                      <a:pt x="827" y="231"/>
                    </a:lnTo>
                    <a:lnTo>
                      <a:pt x="827" y="233"/>
                    </a:lnTo>
                    <a:lnTo>
                      <a:pt x="827" y="235"/>
                    </a:lnTo>
                    <a:lnTo>
                      <a:pt x="827" y="236"/>
                    </a:lnTo>
                    <a:lnTo>
                      <a:pt x="827" y="238"/>
                    </a:lnTo>
                    <a:lnTo>
                      <a:pt x="827" y="239"/>
                    </a:lnTo>
                    <a:lnTo>
                      <a:pt x="827" y="241"/>
                    </a:lnTo>
                    <a:lnTo>
                      <a:pt x="827" y="243"/>
                    </a:lnTo>
                    <a:lnTo>
                      <a:pt x="827" y="244"/>
                    </a:lnTo>
                    <a:lnTo>
                      <a:pt x="827" y="246"/>
                    </a:lnTo>
                    <a:lnTo>
                      <a:pt x="825" y="246"/>
                    </a:lnTo>
                    <a:lnTo>
                      <a:pt x="825" y="247"/>
                    </a:lnTo>
                    <a:lnTo>
                      <a:pt x="825" y="249"/>
                    </a:lnTo>
                    <a:lnTo>
                      <a:pt x="825" y="250"/>
                    </a:lnTo>
                    <a:lnTo>
                      <a:pt x="825" y="252"/>
                    </a:lnTo>
                    <a:lnTo>
                      <a:pt x="825" y="254"/>
                    </a:lnTo>
                    <a:lnTo>
                      <a:pt x="825" y="255"/>
                    </a:lnTo>
                    <a:lnTo>
                      <a:pt x="825" y="257"/>
                    </a:lnTo>
                    <a:lnTo>
                      <a:pt x="825" y="258"/>
                    </a:lnTo>
                    <a:lnTo>
                      <a:pt x="825" y="260"/>
                    </a:lnTo>
                    <a:lnTo>
                      <a:pt x="825" y="262"/>
                    </a:lnTo>
                    <a:lnTo>
                      <a:pt x="823" y="263"/>
                    </a:lnTo>
                    <a:lnTo>
                      <a:pt x="823" y="265"/>
                    </a:lnTo>
                    <a:lnTo>
                      <a:pt x="823" y="266"/>
                    </a:lnTo>
                    <a:lnTo>
                      <a:pt x="823" y="268"/>
                    </a:lnTo>
                    <a:lnTo>
                      <a:pt x="823" y="269"/>
                    </a:lnTo>
                    <a:lnTo>
                      <a:pt x="823" y="271"/>
                    </a:lnTo>
                    <a:lnTo>
                      <a:pt x="823" y="273"/>
                    </a:lnTo>
                    <a:lnTo>
                      <a:pt x="823" y="274"/>
                    </a:lnTo>
                    <a:lnTo>
                      <a:pt x="822" y="274"/>
                    </a:lnTo>
                    <a:lnTo>
                      <a:pt x="822" y="276"/>
                    </a:lnTo>
                    <a:lnTo>
                      <a:pt x="822" y="277"/>
                    </a:lnTo>
                    <a:lnTo>
                      <a:pt x="822" y="279"/>
                    </a:lnTo>
                    <a:lnTo>
                      <a:pt x="822" y="281"/>
                    </a:lnTo>
                    <a:lnTo>
                      <a:pt x="822" y="282"/>
                    </a:lnTo>
                    <a:lnTo>
                      <a:pt x="822" y="284"/>
                    </a:lnTo>
                    <a:lnTo>
                      <a:pt x="822" y="285"/>
                    </a:lnTo>
                    <a:lnTo>
                      <a:pt x="822" y="287"/>
                    </a:lnTo>
                    <a:lnTo>
                      <a:pt x="820" y="287"/>
                    </a:lnTo>
                    <a:lnTo>
                      <a:pt x="820" y="288"/>
                    </a:lnTo>
                    <a:lnTo>
                      <a:pt x="820" y="290"/>
                    </a:lnTo>
                    <a:lnTo>
                      <a:pt x="820" y="292"/>
                    </a:lnTo>
                    <a:lnTo>
                      <a:pt x="820" y="293"/>
                    </a:lnTo>
                    <a:lnTo>
                      <a:pt x="820" y="295"/>
                    </a:lnTo>
                    <a:lnTo>
                      <a:pt x="820" y="296"/>
                    </a:lnTo>
                    <a:lnTo>
                      <a:pt x="820" y="298"/>
                    </a:lnTo>
                    <a:lnTo>
                      <a:pt x="820" y="300"/>
                    </a:lnTo>
                    <a:lnTo>
                      <a:pt x="819" y="300"/>
                    </a:lnTo>
                    <a:lnTo>
                      <a:pt x="819" y="301"/>
                    </a:lnTo>
                    <a:lnTo>
                      <a:pt x="819" y="303"/>
                    </a:lnTo>
                    <a:lnTo>
                      <a:pt x="819" y="304"/>
                    </a:lnTo>
                    <a:lnTo>
                      <a:pt x="819" y="306"/>
                    </a:lnTo>
                    <a:lnTo>
                      <a:pt x="819" y="307"/>
                    </a:lnTo>
                    <a:lnTo>
                      <a:pt x="819" y="309"/>
                    </a:lnTo>
                    <a:lnTo>
                      <a:pt x="819" y="311"/>
                    </a:lnTo>
                    <a:lnTo>
                      <a:pt x="819" y="312"/>
                    </a:lnTo>
                    <a:lnTo>
                      <a:pt x="819" y="314"/>
                    </a:lnTo>
                    <a:lnTo>
                      <a:pt x="817" y="314"/>
                    </a:lnTo>
                    <a:lnTo>
                      <a:pt x="817" y="315"/>
                    </a:lnTo>
                    <a:lnTo>
                      <a:pt x="817" y="317"/>
                    </a:lnTo>
                    <a:lnTo>
                      <a:pt x="817" y="319"/>
                    </a:lnTo>
                    <a:lnTo>
                      <a:pt x="817" y="320"/>
                    </a:lnTo>
                    <a:lnTo>
                      <a:pt x="817" y="322"/>
                    </a:lnTo>
                    <a:lnTo>
                      <a:pt x="817" y="323"/>
                    </a:lnTo>
                    <a:lnTo>
                      <a:pt x="817" y="325"/>
                    </a:lnTo>
                    <a:lnTo>
                      <a:pt x="817" y="327"/>
                    </a:lnTo>
                    <a:lnTo>
                      <a:pt x="819" y="327"/>
                    </a:lnTo>
                    <a:lnTo>
                      <a:pt x="819" y="328"/>
                    </a:lnTo>
                    <a:lnTo>
                      <a:pt x="819" y="330"/>
                    </a:lnTo>
                    <a:lnTo>
                      <a:pt x="819" y="331"/>
                    </a:lnTo>
                    <a:lnTo>
                      <a:pt x="819" y="333"/>
                    </a:lnTo>
                    <a:lnTo>
                      <a:pt x="819" y="334"/>
                    </a:lnTo>
                    <a:lnTo>
                      <a:pt x="819" y="336"/>
                    </a:lnTo>
                    <a:lnTo>
                      <a:pt x="819" y="338"/>
                    </a:lnTo>
                    <a:lnTo>
                      <a:pt x="819" y="339"/>
                    </a:lnTo>
                    <a:lnTo>
                      <a:pt x="819" y="341"/>
                    </a:lnTo>
                    <a:lnTo>
                      <a:pt x="819" y="342"/>
                    </a:lnTo>
                    <a:lnTo>
                      <a:pt x="819" y="344"/>
                    </a:lnTo>
                    <a:lnTo>
                      <a:pt x="819" y="346"/>
                    </a:lnTo>
                    <a:lnTo>
                      <a:pt x="819" y="347"/>
                    </a:lnTo>
                    <a:lnTo>
                      <a:pt x="819" y="349"/>
                    </a:lnTo>
                    <a:lnTo>
                      <a:pt x="819" y="350"/>
                    </a:lnTo>
                    <a:lnTo>
                      <a:pt x="819" y="352"/>
                    </a:lnTo>
                    <a:lnTo>
                      <a:pt x="820" y="352"/>
                    </a:lnTo>
                    <a:lnTo>
                      <a:pt x="820" y="353"/>
                    </a:lnTo>
                    <a:lnTo>
                      <a:pt x="820" y="355"/>
                    </a:lnTo>
                    <a:lnTo>
                      <a:pt x="820" y="357"/>
                    </a:lnTo>
                    <a:lnTo>
                      <a:pt x="820" y="358"/>
                    </a:lnTo>
                    <a:lnTo>
                      <a:pt x="820" y="360"/>
                    </a:lnTo>
                    <a:lnTo>
                      <a:pt x="820" y="361"/>
                    </a:lnTo>
                    <a:lnTo>
                      <a:pt x="820" y="363"/>
                    </a:lnTo>
                    <a:lnTo>
                      <a:pt x="820" y="365"/>
                    </a:lnTo>
                    <a:lnTo>
                      <a:pt x="820" y="366"/>
                    </a:lnTo>
                    <a:lnTo>
                      <a:pt x="820" y="368"/>
                    </a:lnTo>
                    <a:lnTo>
                      <a:pt x="820" y="369"/>
                    </a:lnTo>
                    <a:lnTo>
                      <a:pt x="820" y="371"/>
                    </a:lnTo>
                    <a:lnTo>
                      <a:pt x="820" y="372"/>
                    </a:lnTo>
                    <a:lnTo>
                      <a:pt x="820" y="374"/>
                    </a:lnTo>
                    <a:lnTo>
                      <a:pt x="820" y="376"/>
                    </a:lnTo>
                    <a:lnTo>
                      <a:pt x="822" y="376"/>
                    </a:lnTo>
                    <a:lnTo>
                      <a:pt x="823" y="377"/>
                    </a:lnTo>
                    <a:lnTo>
                      <a:pt x="825" y="377"/>
                    </a:lnTo>
                    <a:lnTo>
                      <a:pt x="827" y="377"/>
                    </a:lnTo>
                    <a:lnTo>
                      <a:pt x="827" y="379"/>
                    </a:lnTo>
                    <a:lnTo>
                      <a:pt x="828" y="379"/>
                    </a:lnTo>
                    <a:lnTo>
                      <a:pt x="830" y="379"/>
                    </a:lnTo>
                    <a:lnTo>
                      <a:pt x="831" y="379"/>
                    </a:lnTo>
                    <a:lnTo>
                      <a:pt x="831" y="380"/>
                    </a:lnTo>
                    <a:lnTo>
                      <a:pt x="833" y="380"/>
                    </a:lnTo>
                    <a:lnTo>
                      <a:pt x="835" y="380"/>
                    </a:lnTo>
                    <a:lnTo>
                      <a:pt x="836" y="380"/>
                    </a:lnTo>
                    <a:lnTo>
                      <a:pt x="836" y="382"/>
                    </a:lnTo>
                    <a:lnTo>
                      <a:pt x="838" y="382"/>
                    </a:lnTo>
                    <a:lnTo>
                      <a:pt x="839" y="382"/>
                    </a:lnTo>
                    <a:lnTo>
                      <a:pt x="841" y="384"/>
                    </a:lnTo>
                    <a:lnTo>
                      <a:pt x="842" y="384"/>
                    </a:lnTo>
                    <a:lnTo>
                      <a:pt x="844" y="384"/>
                    </a:lnTo>
                    <a:lnTo>
                      <a:pt x="846" y="385"/>
                    </a:lnTo>
                    <a:lnTo>
                      <a:pt x="847" y="385"/>
                    </a:lnTo>
                    <a:lnTo>
                      <a:pt x="849" y="385"/>
                    </a:lnTo>
                    <a:lnTo>
                      <a:pt x="850" y="385"/>
                    </a:lnTo>
                    <a:lnTo>
                      <a:pt x="852" y="385"/>
                    </a:lnTo>
                    <a:lnTo>
                      <a:pt x="852" y="387"/>
                    </a:lnTo>
                    <a:lnTo>
                      <a:pt x="854" y="387"/>
                    </a:lnTo>
                    <a:lnTo>
                      <a:pt x="855" y="387"/>
                    </a:lnTo>
                    <a:lnTo>
                      <a:pt x="857" y="387"/>
                    </a:lnTo>
                    <a:lnTo>
                      <a:pt x="858" y="387"/>
                    </a:lnTo>
                    <a:lnTo>
                      <a:pt x="860" y="388"/>
                    </a:lnTo>
                    <a:lnTo>
                      <a:pt x="860" y="390"/>
                    </a:lnTo>
                    <a:lnTo>
                      <a:pt x="860" y="391"/>
                    </a:lnTo>
                    <a:lnTo>
                      <a:pt x="860" y="393"/>
                    </a:lnTo>
                    <a:lnTo>
                      <a:pt x="858" y="393"/>
                    </a:lnTo>
                    <a:lnTo>
                      <a:pt x="858" y="395"/>
                    </a:lnTo>
                    <a:lnTo>
                      <a:pt x="858" y="396"/>
                    </a:lnTo>
                    <a:lnTo>
                      <a:pt x="858" y="398"/>
                    </a:lnTo>
                    <a:lnTo>
                      <a:pt x="858" y="399"/>
                    </a:lnTo>
                    <a:lnTo>
                      <a:pt x="858" y="401"/>
                    </a:lnTo>
                    <a:lnTo>
                      <a:pt x="857" y="401"/>
                    </a:lnTo>
                    <a:lnTo>
                      <a:pt x="857" y="403"/>
                    </a:lnTo>
                    <a:lnTo>
                      <a:pt x="857" y="404"/>
                    </a:lnTo>
                    <a:lnTo>
                      <a:pt x="857" y="406"/>
                    </a:lnTo>
                    <a:lnTo>
                      <a:pt x="857" y="407"/>
                    </a:lnTo>
                    <a:lnTo>
                      <a:pt x="857" y="409"/>
                    </a:lnTo>
                    <a:lnTo>
                      <a:pt x="855" y="410"/>
                    </a:lnTo>
                    <a:lnTo>
                      <a:pt x="855" y="412"/>
                    </a:lnTo>
                    <a:lnTo>
                      <a:pt x="855" y="414"/>
                    </a:lnTo>
                    <a:lnTo>
                      <a:pt x="854" y="414"/>
                    </a:lnTo>
                    <a:lnTo>
                      <a:pt x="854" y="415"/>
                    </a:lnTo>
                    <a:lnTo>
                      <a:pt x="854" y="417"/>
                    </a:lnTo>
                    <a:lnTo>
                      <a:pt x="852" y="418"/>
                    </a:lnTo>
                    <a:lnTo>
                      <a:pt x="852" y="420"/>
                    </a:lnTo>
                    <a:lnTo>
                      <a:pt x="852" y="422"/>
                    </a:lnTo>
                    <a:lnTo>
                      <a:pt x="850" y="422"/>
                    </a:lnTo>
                    <a:lnTo>
                      <a:pt x="850" y="423"/>
                    </a:lnTo>
                    <a:lnTo>
                      <a:pt x="850" y="425"/>
                    </a:lnTo>
                    <a:lnTo>
                      <a:pt x="849" y="426"/>
                    </a:lnTo>
                    <a:lnTo>
                      <a:pt x="849" y="428"/>
                    </a:lnTo>
                    <a:lnTo>
                      <a:pt x="849" y="429"/>
                    </a:lnTo>
                    <a:lnTo>
                      <a:pt x="847" y="429"/>
                    </a:lnTo>
                    <a:lnTo>
                      <a:pt x="847" y="431"/>
                    </a:lnTo>
                    <a:lnTo>
                      <a:pt x="847" y="433"/>
                    </a:lnTo>
                    <a:lnTo>
                      <a:pt x="846" y="434"/>
                    </a:lnTo>
                    <a:lnTo>
                      <a:pt x="846" y="436"/>
                    </a:lnTo>
                    <a:lnTo>
                      <a:pt x="846" y="437"/>
                    </a:lnTo>
                    <a:lnTo>
                      <a:pt x="844" y="437"/>
                    </a:lnTo>
                    <a:lnTo>
                      <a:pt x="844" y="439"/>
                    </a:lnTo>
                    <a:lnTo>
                      <a:pt x="844" y="441"/>
                    </a:lnTo>
                    <a:lnTo>
                      <a:pt x="842" y="441"/>
                    </a:lnTo>
                    <a:lnTo>
                      <a:pt x="842" y="442"/>
                    </a:lnTo>
                    <a:lnTo>
                      <a:pt x="842" y="444"/>
                    </a:lnTo>
                    <a:lnTo>
                      <a:pt x="841" y="444"/>
                    </a:lnTo>
                    <a:lnTo>
                      <a:pt x="839" y="444"/>
                    </a:lnTo>
                    <a:lnTo>
                      <a:pt x="838" y="444"/>
                    </a:lnTo>
                    <a:lnTo>
                      <a:pt x="836" y="444"/>
                    </a:lnTo>
                    <a:lnTo>
                      <a:pt x="835" y="444"/>
                    </a:lnTo>
                    <a:lnTo>
                      <a:pt x="833" y="444"/>
                    </a:lnTo>
                    <a:lnTo>
                      <a:pt x="831" y="444"/>
                    </a:lnTo>
                    <a:lnTo>
                      <a:pt x="830" y="444"/>
                    </a:lnTo>
                    <a:lnTo>
                      <a:pt x="828" y="444"/>
                    </a:lnTo>
                    <a:lnTo>
                      <a:pt x="827" y="444"/>
                    </a:lnTo>
                    <a:lnTo>
                      <a:pt x="812" y="485"/>
                    </a:lnTo>
                    <a:lnTo>
                      <a:pt x="811" y="485"/>
                    </a:lnTo>
                    <a:lnTo>
                      <a:pt x="809" y="485"/>
                    </a:lnTo>
                    <a:lnTo>
                      <a:pt x="808" y="485"/>
                    </a:lnTo>
                    <a:lnTo>
                      <a:pt x="806" y="485"/>
                    </a:lnTo>
                    <a:lnTo>
                      <a:pt x="804" y="485"/>
                    </a:lnTo>
                    <a:lnTo>
                      <a:pt x="803" y="485"/>
                    </a:lnTo>
                    <a:lnTo>
                      <a:pt x="801" y="485"/>
                    </a:lnTo>
                    <a:lnTo>
                      <a:pt x="800" y="485"/>
                    </a:lnTo>
                    <a:lnTo>
                      <a:pt x="798" y="485"/>
                    </a:lnTo>
                    <a:lnTo>
                      <a:pt x="797" y="485"/>
                    </a:lnTo>
                    <a:lnTo>
                      <a:pt x="795" y="485"/>
                    </a:lnTo>
                    <a:lnTo>
                      <a:pt x="793" y="485"/>
                    </a:lnTo>
                    <a:lnTo>
                      <a:pt x="792" y="485"/>
                    </a:lnTo>
                    <a:lnTo>
                      <a:pt x="790" y="485"/>
                    </a:lnTo>
                    <a:lnTo>
                      <a:pt x="789" y="485"/>
                    </a:lnTo>
                    <a:lnTo>
                      <a:pt x="787" y="485"/>
                    </a:lnTo>
                    <a:lnTo>
                      <a:pt x="785" y="485"/>
                    </a:lnTo>
                    <a:lnTo>
                      <a:pt x="784" y="485"/>
                    </a:lnTo>
                    <a:lnTo>
                      <a:pt x="782" y="485"/>
                    </a:lnTo>
                    <a:lnTo>
                      <a:pt x="781" y="485"/>
                    </a:lnTo>
                    <a:lnTo>
                      <a:pt x="779" y="485"/>
                    </a:lnTo>
                    <a:lnTo>
                      <a:pt x="778" y="485"/>
                    </a:lnTo>
                    <a:lnTo>
                      <a:pt x="776" y="485"/>
                    </a:lnTo>
                    <a:lnTo>
                      <a:pt x="774" y="485"/>
                    </a:lnTo>
                    <a:lnTo>
                      <a:pt x="773" y="485"/>
                    </a:lnTo>
                    <a:lnTo>
                      <a:pt x="771" y="485"/>
                    </a:lnTo>
                    <a:lnTo>
                      <a:pt x="770" y="485"/>
                    </a:lnTo>
                    <a:lnTo>
                      <a:pt x="768" y="485"/>
                    </a:lnTo>
                    <a:lnTo>
                      <a:pt x="766" y="485"/>
                    </a:lnTo>
                    <a:lnTo>
                      <a:pt x="765" y="485"/>
                    </a:lnTo>
                    <a:lnTo>
                      <a:pt x="763" y="485"/>
                    </a:lnTo>
                    <a:lnTo>
                      <a:pt x="762" y="485"/>
                    </a:lnTo>
                    <a:lnTo>
                      <a:pt x="760" y="485"/>
                    </a:lnTo>
                    <a:lnTo>
                      <a:pt x="759" y="485"/>
                    </a:lnTo>
                    <a:lnTo>
                      <a:pt x="757" y="485"/>
                    </a:lnTo>
                    <a:lnTo>
                      <a:pt x="755" y="485"/>
                    </a:lnTo>
                    <a:lnTo>
                      <a:pt x="754" y="485"/>
                    </a:lnTo>
                    <a:lnTo>
                      <a:pt x="752" y="485"/>
                    </a:lnTo>
                    <a:lnTo>
                      <a:pt x="751" y="485"/>
                    </a:lnTo>
                    <a:lnTo>
                      <a:pt x="749" y="485"/>
                    </a:lnTo>
                    <a:lnTo>
                      <a:pt x="747" y="485"/>
                    </a:lnTo>
                    <a:lnTo>
                      <a:pt x="746" y="485"/>
                    </a:lnTo>
                    <a:lnTo>
                      <a:pt x="744" y="485"/>
                    </a:lnTo>
                    <a:lnTo>
                      <a:pt x="743" y="485"/>
                    </a:lnTo>
                    <a:lnTo>
                      <a:pt x="741" y="485"/>
                    </a:lnTo>
                    <a:lnTo>
                      <a:pt x="740" y="485"/>
                    </a:lnTo>
                    <a:lnTo>
                      <a:pt x="738" y="485"/>
                    </a:lnTo>
                    <a:lnTo>
                      <a:pt x="736" y="485"/>
                    </a:lnTo>
                    <a:lnTo>
                      <a:pt x="735" y="485"/>
                    </a:lnTo>
                    <a:lnTo>
                      <a:pt x="733" y="485"/>
                    </a:lnTo>
                    <a:lnTo>
                      <a:pt x="732" y="485"/>
                    </a:lnTo>
                    <a:lnTo>
                      <a:pt x="730" y="485"/>
                    </a:lnTo>
                    <a:lnTo>
                      <a:pt x="728" y="485"/>
                    </a:lnTo>
                    <a:lnTo>
                      <a:pt x="727" y="485"/>
                    </a:lnTo>
                    <a:lnTo>
                      <a:pt x="725" y="485"/>
                    </a:lnTo>
                    <a:lnTo>
                      <a:pt x="724" y="485"/>
                    </a:lnTo>
                    <a:lnTo>
                      <a:pt x="722" y="485"/>
                    </a:lnTo>
                    <a:lnTo>
                      <a:pt x="721" y="485"/>
                    </a:lnTo>
                    <a:lnTo>
                      <a:pt x="719" y="485"/>
                    </a:lnTo>
                    <a:lnTo>
                      <a:pt x="717" y="485"/>
                    </a:lnTo>
                    <a:lnTo>
                      <a:pt x="716" y="485"/>
                    </a:lnTo>
                    <a:lnTo>
                      <a:pt x="714" y="485"/>
                    </a:lnTo>
                    <a:lnTo>
                      <a:pt x="713" y="486"/>
                    </a:lnTo>
                    <a:lnTo>
                      <a:pt x="711" y="486"/>
                    </a:lnTo>
                    <a:lnTo>
                      <a:pt x="709" y="486"/>
                    </a:lnTo>
                    <a:lnTo>
                      <a:pt x="708" y="486"/>
                    </a:lnTo>
                    <a:lnTo>
                      <a:pt x="706" y="486"/>
                    </a:lnTo>
                    <a:lnTo>
                      <a:pt x="705" y="486"/>
                    </a:lnTo>
                    <a:lnTo>
                      <a:pt x="703" y="486"/>
                    </a:lnTo>
                    <a:lnTo>
                      <a:pt x="702" y="486"/>
                    </a:lnTo>
                    <a:lnTo>
                      <a:pt x="700" y="486"/>
                    </a:lnTo>
                    <a:lnTo>
                      <a:pt x="698" y="486"/>
                    </a:lnTo>
                    <a:lnTo>
                      <a:pt x="697" y="486"/>
                    </a:lnTo>
                    <a:lnTo>
                      <a:pt x="695" y="486"/>
                    </a:lnTo>
                    <a:lnTo>
                      <a:pt x="694" y="486"/>
                    </a:lnTo>
                    <a:lnTo>
                      <a:pt x="692" y="486"/>
                    </a:lnTo>
                    <a:lnTo>
                      <a:pt x="690" y="486"/>
                    </a:lnTo>
                    <a:lnTo>
                      <a:pt x="689" y="486"/>
                    </a:lnTo>
                    <a:lnTo>
                      <a:pt x="687" y="486"/>
                    </a:lnTo>
                    <a:lnTo>
                      <a:pt x="686" y="486"/>
                    </a:lnTo>
                    <a:lnTo>
                      <a:pt x="684" y="486"/>
                    </a:lnTo>
                    <a:lnTo>
                      <a:pt x="683" y="486"/>
                    </a:lnTo>
                    <a:lnTo>
                      <a:pt x="681" y="486"/>
                    </a:lnTo>
                    <a:lnTo>
                      <a:pt x="679" y="486"/>
                    </a:lnTo>
                    <a:lnTo>
                      <a:pt x="678" y="486"/>
                    </a:lnTo>
                    <a:lnTo>
                      <a:pt x="676" y="486"/>
                    </a:lnTo>
                    <a:lnTo>
                      <a:pt x="675" y="486"/>
                    </a:lnTo>
                    <a:lnTo>
                      <a:pt x="673" y="486"/>
                    </a:lnTo>
                    <a:lnTo>
                      <a:pt x="671" y="486"/>
                    </a:lnTo>
                    <a:lnTo>
                      <a:pt x="670" y="486"/>
                    </a:lnTo>
                    <a:lnTo>
                      <a:pt x="668" y="486"/>
                    </a:lnTo>
                    <a:lnTo>
                      <a:pt x="667" y="486"/>
                    </a:lnTo>
                    <a:lnTo>
                      <a:pt x="665" y="486"/>
                    </a:lnTo>
                    <a:lnTo>
                      <a:pt x="663" y="486"/>
                    </a:lnTo>
                    <a:lnTo>
                      <a:pt x="662" y="486"/>
                    </a:lnTo>
                    <a:lnTo>
                      <a:pt x="660" y="486"/>
                    </a:lnTo>
                    <a:lnTo>
                      <a:pt x="659" y="486"/>
                    </a:lnTo>
                    <a:lnTo>
                      <a:pt x="657" y="486"/>
                    </a:lnTo>
                    <a:lnTo>
                      <a:pt x="656" y="486"/>
                    </a:lnTo>
                    <a:lnTo>
                      <a:pt x="654" y="486"/>
                    </a:lnTo>
                    <a:lnTo>
                      <a:pt x="652" y="486"/>
                    </a:lnTo>
                    <a:lnTo>
                      <a:pt x="651" y="486"/>
                    </a:lnTo>
                    <a:lnTo>
                      <a:pt x="649" y="486"/>
                    </a:lnTo>
                    <a:lnTo>
                      <a:pt x="648" y="486"/>
                    </a:lnTo>
                    <a:lnTo>
                      <a:pt x="646" y="486"/>
                    </a:lnTo>
                    <a:lnTo>
                      <a:pt x="644" y="486"/>
                    </a:lnTo>
                    <a:lnTo>
                      <a:pt x="644" y="485"/>
                    </a:lnTo>
                    <a:lnTo>
                      <a:pt x="643" y="485"/>
                    </a:lnTo>
                    <a:lnTo>
                      <a:pt x="641" y="485"/>
                    </a:lnTo>
                    <a:lnTo>
                      <a:pt x="641" y="486"/>
                    </a:lnTo>
                    <a:lnTo>
                      <a:pt x="640" y="486"/>
                    </a:lnTo>
                    <a:lnTo>
                      <a:pt x="638" y="486"/>
                    </a:lnTo>
                    <a:lnTo>
                      <a:pt x="638" y="488"/>
                    </a:lnTo>
                    <a:lnTo>
                      <a:pt x="637" y="488"/>
                    </a:lnTo>
                    <a:lnTo>
                      <a:pt x="635" y="488"/>
                    </a:lnTo>
                    <a:lnTo>
                      <a:pt x="633" y="488"/>
                    </a:lnTo>
                    <a:lnTo>
                      <a:pt x="632" y="486"/>
                    </a:lnTo>
                    <a:lnTo>
                      <a:pt x="630" y="485"/>
                    </a:lnTo>
                    <a:lnTo>
                      <a:pt x="630" y="483"/>
                    </a:lnTo>
                    <a:lnTo>
                      <a:pt x="629" y="483"/>
                    </a:lnTo>
                    <a:lnTo>
                      <a:pt x="627" y="482"/>
                    </a:lnTo>
                    <a:lnTo>
                      <a:pt x="625" y="482"/>
                    </a:lnTo>
                    <a:lnTo>
                      <a:pt x="624" y="482"/>
                    </a:lnTo>
                    <a:lnTo>
                      <a:pt x="622" y="480"/>
                    </a:lnTo>
                    <a:lnTo>
                      <a:pt x="621" y="479"/>
                    </a:lnTo>
                    <a:lnTo>
                      <a:pt x="619" y="479"/>
                    </a:lnTo>
                    <a:lnTo>
                      <a:pt x="619" y="477"/>
                    </a:lnTo>
                    <a:lnTo>
                      <a:pt x="618" y="477"/>
                    </a:lnTo>
                    <a:lnTo>
                      <a:pt x="616" y="477"/>
                    </a:lnTo>
                    <a:lnTo>
                      <a:pt x="614" y="475"/>
                    </a:lnTo>
                    <a:lnTo>
                      <a:pt x="613" y="475"/>
                    </a:lnTo>
                    <a:lnTo>
                      <a:pt x="611" y="474"/>
                    </a:lnTo>
                    <a:lnTo>
                      <a:pt x="610" y="472"/>
                    </a:lnTo>
                    <a:lnTo>
                      <a:pt x="608" y="472"/>
                    </a:lnTo>
                    <a:lnTo>
                      <a:pt x="608" y="471"/>
                    </a:lnTo>
                    <a:lnTo>
                      <a:pt x="606" y="469"/>
                    </a:lnTo>
                    <a:lnTo>
                      <a:pt x="605" y="467"/>
                    </a:lnTo>
                    <a:lnTo>
                      <a:pt x="603" y="467"/>
                    </a:lnTo>
                    <a:lnTo>
                      <a:pt x="603" y="466"/>
                    </a:lnTo>
                    <a:lnTo>
                      <a:pt x="602" y="466"/>
                    </a:lnTo>
                    <a:lnTo>
                      <a:pt x="600" y="466"/>
                    </a:lnTo>
                    <a:lnTo>
                      <a:pt x="599" y="466"/>
                    </a:lnTo>
                    <a:lnTo>
                      <a:pt x="599" y="467"/>
                    </a:lnTo>
                    <a:lnTo>
                      <a:pt x="597" y="467"/>
                    </a:lnTo>
                    <a:lnTo>
                      <a:pt x="595" y="469"/>
                    </a:lnTo>
                    <a:lnTo>
                      <a:pt x="594" y="469"/>
                    </a:lnTo>
                    <a:lnTo>
                      <a:pt x="592" y="469"/>
                    </a:lnTo>
                    <a:lnTo>
                      <a:pt x="591" y="469"/>
                    </a:lnTo>
                    <a:lnTo>
                      <a:pt x="589" y="469"/>
                    </a:lnTo>
                    <a:lnTo>
                      <a:pt x="587" y="469"/>
                    </a:lnTo>
                    <a:lnTo>
                      <a:pt x="586" y="469"/>
                    </a:lnTo>
                    <a:lnTo>
                      <a:pt x="584" y="469"/>
                    </a:lnTo>
                    <a:lnTo>
                      <a:pt x="583" y="469"/>
                    </a:lnTo>
                    <a:lnTo>
                      <a:pt x="581" y="469"/>
                    </a:lnTo>
                    <a:lnTo>
                      <a:pt x="580" y="469"/>
                    </a:lnTo>
                    <a:lnTo>
                      <a:pt x="580" y="467"/>
                    </a:lnTo>
                    <a:lnTo>
                      <a:pt x="578" y="467"/>
                    </a:lnTo>
                    <a:lnTo>
                      <a:pt x="578" y="466"/>
                    </a:lnTo>
                    <a:lnTo>
                      <a:pt x="576" y="466"/>
                    </a:lnTo>
                    <a:lnTo>
                      <a:pt x="576" y="464"/>
                    </a:lnTo>
                    <a:lnTo>
                      <a:pt x="575" y="464"/>
                    </a:lnTo>
                    <a:lnTo>
                      <a:pt x="575" y="463"/>
                    </a:lnTo>
                    <a:lnTo>
                      <a:pt x="573" y="461"/>
                    </a:lnTo>
                    <a:lnTo>
                      <a:pt x="573" y="460"/>
                    </a:lnTo>
                    <a:lnTo>
                      <a:pt x="572" y="460"/>
                    </a:lnTo>
                    <a:lnTo>
                      <a:pt x="572" y="458"/>
                    </a:lnTo>
                    <a:lnTo>
                      <a:pt x="570" y="456"/>
                    </a:lnTo>
                    <a:lnTo>
                      <a:pt x="570" y="455"/>
                    </a:lnTo>
                    <a:lnTo>
                      <a:pt x="568" y="455"/>
                    </a:lnTo>
                    <a:lnTo>
                      <a:pt x="568" y="453"/>
                    </a:lnTo>
                    <a:lnTo>
                      <a:pt x="568" y="452"/>
                    </a:lnTo>
                    <a:lnTo>
                      <a:pt x="568" y="450"/>
                    </a:lnTo>
                    <a:lnTo>
                      <a:pt x="568" y="448"/>
                    </a:lnTo>
                    <a:lnTo>
                      <a:pt x="567" y="448"/>
                    </a:lnTo>
                    <a:lnTo>
                      <a:pt x="565" y="448"/>
                    </a:lnTo>
                    <a:lnTo>
                      <a:pt x="564" y="447"/>
                    </a:lnTo>
                    <a:lnTo>
                      <a:pt x="562" y="447"/>
                    </a:lnTo>
                    <a:lnTo>
                      <a:pt x="561" y="447"/>
                    </a:lnTo>
                    <a:lnTo>
                      <a:pt x="561" y="445"/>
                    </a:lnTo>
                    <a:lnTo>
                      <a:pt x="559" y="445"/>
                    </a:lnTo>
                    <a:lnTo>
                      <a:pt x="559" y="444"/>
                    </a:lnTo>
                    <a:lnTo>
                      <a:pt x="557" y="444"/>
                    </a:lnTo>
                    <a:lnTo>
                      <a:pt x="557" y="442"/>
                    </a:lnTo>
                    <a:lnTo>
                      <a:pt x="556" y="442"/>
                    </a:lnTo>
                    <a:lnTo>
                      <a:pt x="554" y="441"/>
                    </a:lnTo>
                    <a:lnTo>
                      <a:pt x="554" y="439"/>
                    </a:lnTo>
                    <a:lnTo>
                      <a:pt x="553" y="439"/>
                    </a:lnTo>
                    <a:lnTo>
                      <a:pt x="553" y="437"/>
                    </a:lnTo>
                    <a:lnTo>
                      <a:pt x="551" y="437"/>
                    </a:lnTo>
                    <a:lnTo>
                      <a:pt x="551" y="436"/>
                    </a:lnTo>
                    <a:lnTo>
                      <a:pt x="549" y="436"/>
                    </a:lnTo>
                    <a:lnTo>
                      <a:pt x="548" y="434"/>
                    </a:lnTo>
                    <a:lnTo>
                      <a:pt x="546" y="434"/>
                    </a:lnTo>
                    <a:lnTo>
                      <a:pt x="545" y="434"/>
                    </a:lnTo>
                    <a:lnTo>
                      <a:pt x="545" y="433"/>
                    </a:lnTo>
                    <a:lnTo>
                      <a:pt x="543" y="433"/>
                    </a:lnTo>
                    <a:lnTo>
                      <a:pt x="542" y="433"/>
                    </a:lnTo>
                    <a:lnTo>
                      <a:pt x="540" y="433"/>
                    </a:lnTo>
                    <a:lnTo>
                      <a:pt x="540" y="431"/>
                    </a:lnTo>
                    <a:lnTo>
                      <a:pt x="538" y="431"/>
                    </a:lnTo>
                    <a:lnTo>
                      <a:pt x="537" y="431"/>
                    </a:lnTo>
                    <a:lnTo>
                      <a:pt x="537" y="429"/>
                    </a:lnTo>
                    <a:lnTo>
                      <a:pt x="535" y="429"/>
                    </a:lnTo>
                    <a:lnTo>
                      <a:pt x="534" y="429"/>
                    </a:lnTo>
                    <a:lnTo>
                      <a:pt x="534" y="428"/>
                    </a:lnTo>
                    <a:lnTo>
                      <a:pt x="532" y="428"/>
                    </a:lnTo>
                    <a:lnTo>
                      <a:pt x="530" y="426"/>
                    </a:lnTo>
                    <a:lnTo>
                      <a:pt x="529" y="426"/>
                    </a:lnTo>
                    <a:lnTo>
                      <a:pt x="529" y="425"/>
                    </a:lnTo>
                    <a:lnTo>
                      <a:pt x="527" y="423"/>
                    </a:lnTo>
                    <a:lnTo>
                      <a:pt x="526" y="423"/>
                    </a:lnTo>
                    <a:lnTo>
                      <a:pt x="524" y="422"/>
                    </a:lnTo>
                    <a:lnTo>
                      <a:pt x="523" y="420"/>
                    </a:lnTo>
                    <a:lnTo>
                      <a:pt x="523" y="418"/>
                    </a:lnTo>
                    <a:lnTo>
                      <a:pt x="521" y="418"/>
                    </a:lnTo>
                    <a:lnTo>
                      <a:pt x="521" y="417"/>
                    </a:lnTo>
                    <a:lnTo>
                      <a:pt x="519" y="417"/>
                    </a:lnTo>
                    <a:lnTo>
                      <a:pt x="519" y="415"/>
                    </a:lnTo>
                    <a:lnTo>
                      <a:pt x="519" y="414"/>
                    </a:lnTo>
                    <a:lnTo>
                      <a:pt x="518" y="412"/>
                    </a:lnTo>
                    <a:lnTo>
                      <a:pt x="519" y="412"/>
                    </a:lnTo>
                    <a:lnTo>
                      <a:pt x="519" y="410"/>
                    </a:lnTo>
                    <a:lnTo>
                      <a:pt x="518" y="409"/>
                    </a:lnTo>
                    <a:lnTo>
                      <a:pt x="518" y="407"/>
                    </a:lnTo>
                    <a:lnTo>
                      <a:pt x="516" y="407"/>
                    </a:lnTo>
                    <a:lnTo>
                      <a:pt x="516" y="406"/>
                    </a:lnTo>
                    <a:lnTo>
                      <a:pt x="515" y="406"/>
                    </a:lnTo>
                    <a:lnTo>
                      <a:pt x="513" y="406"/>
                    </a:lnTo>
                    <a:lnTo>
                      <a:pt x="511" y="406"/>
                    </a:lnTo>
                    <a:lnTo>
                      <a:pt x="510" y="406"/>
                    </a:lnTo>
                    <a:lnTo>
                      <a:pt x="508" y="406"/>
                    </a:lnTo>
                    <a:lnTo>
                      <a:pt x="507" y="406"/>
                    </a:lnTo>
                    <a:lnTo>
                      <a:pt x="505" y="406"/>
                    </a:lnTo>
                    <a:lnTo>
                      <a:pt x="504" y="406"/>
                    </a:lnTo>
                    <a:lnTo>
                      <a:pt x="502" y="406"/>
                    </a:lnTo>
                    <a:lnTo>
                      <a:pt x="500" y="406"/>
                    </a:lnTo>
                    <a:lnTo>
                      <a:pt x="500" y="404"/>
                    </a:lnTo>
                    <a:lnTo>
                      <a:pt x="499" y="404"/>
                    </a:lnTo>
                    <a:lnTo>
                      <a:pt x="497" y="404"/>
                    </a:lnTo>
                    <a:lnTo>
                      <a:pt x="497" y="403"/>
                    </a:lnTo>
                    <a:lnTo>
                      <a:pt x="496" y="403"/>
                    </a:lnTo>
                    <a:lnTo>
                      <a:pt x="494" y="401"/>
                    </a:lnTo>
                    <a:lnTo>
                      <a:pt x="492" y="401"/>
                    </a:lnTo>
                    <a:lnTo>
                      <a:pt x="491" y="399"/>
                    </a:lnTo>
                    <a:lnTo>
                      <a:pt x="489" y="399"/>
                    </a:lnTo>
                    <a:lnTo>
                      <a:pt x="488" y="398"/>
                    </a:lnTo>
                    <a:lnTo>
                      <a:pt x="486" y="398"/>
                    </a:lnTo>
                    <a:lnTo>
                      <a:pt x="486" y="396"/>
                    </a:lnTo>
                    <a:lnTo>
                      <a:pt x="485" y="396"/>
                    </a:lnTo>
                    <a:lnTo>
                      <a:pt x="483" y="396"/>
                    </a:lnTo>
                    <a:lnTo>
                      <a:pt x="483" y="395"/>
                    </a:lnTo>
                    <a:lnTo>
                      <a:pt x="481" y="395"/>
                    </a:lnTo>
                    <a:lnTo>
                      <a:pt x="481" y="393"/>
                    </a:lnTo>
                    <a:lnTo>
                      <a:pt x="480" y="393"/>
                    </a:lnTo>
                    <a:lnTo>
                      <a:pt x="478" y="391"/>
                    </a:lnTo>
                    <a:lnTo>
                      <a:pt x="477" y="391"/>
                    </a:lnTo>
                    <a:lnTo>
                      <a:pt x="477" y="390"/>
                    </a:lnTo>
                    <a:lnTo>
                      <a:pt x="475" y="390"/>
                    </a:lnTo>
                    <a:lnTo>
                      <a:pt x="473" y="390"/>
                    </a:lnTo>
                    <a:lnTo>
                      <a:pt x="472" y="390"/>
                    </a:lnTo>
                    <a:lnTo>
                      <a:pt x="470" y="390"/>
                    </a:lnTo>
                    <a:lnTo>
                      <a:pt x="469" y="390"/>
                    </a:lnTo>
                    <a:lnTo>
                      <a:pt x="469" y="391"/>
                    </a:lnTo>
                    <a:lnTo>
                      <a:pt x="467" y="391"/>
                    </a:lnTo>
                    <a:lnTo>
                      <a:pt x="465" y="391"/>
                    </a:lnTo>
                    <a:lnTo>
                      <a:pt x="464" y="391"/>
                    </a:lnTo>
                    <a:lnTo>
                      <a:pt x="462" y="391"/>
                    </a:lnTo>
                    <a:lnTo>
                      <a:pt x="461" y="391"/>
                    </a:lnTo>
                    <a:lnTo>
                      <a:pt x="459" y="391"/>
                    </a:lnTo>
                    <a:lnTo>
                      <a:pt x="458" y="391"/>
                    </a:lnTo>
                    <a:lnTo>
                      <a:pt x="458" y="390"/>
                    </a:lnTo>
                    <a:lnTo>
                      <a:pt x="456" y="390"/>
                    </a:lnTo>
                    <a:lnTo>
                      <a:pt x="454" y="390"/>
                    </a:lnTo>
                    <a:lnTo>
                      <a:pt x="453" y="390"/>
                    </a:lnTo>
                    <a:lnTo>
                      <a:pt x="453" y="388"/>
                    </a:lnTo>
                    <a:lnTo>
                      <a:pt x="451" y="388"/>
                    </a:lnTo>
                    <a:lnTo>
                      <a:pt x="450" y="388"/>
                    </a:lnTo>
                    <a:lnTo>
                      <a:pt x="450" y="387"/>
                    </a:lnTo>
                    <a:lnTo>
                      <a:pt x="448" y="385"/>
                    </a:lnTo>
                    <a:lnTo>
                      <a:pt x="448" y="384"/>
                    </a:lnTo>
                    <a:lnTo>
                      <a:pt x="446" y="384"/>
                    </a:lnTo>
                    <a:lnTo>
                      <a:pt x="446" y="382"/>
                    </a:lnTo>
                    <a:lnTo>
                      <a:pt x="445" y="382"/>
                    </a:lnTo>
                    <a:lnTo>
                      <a:pt x="443" y="380"/>
                    </a:lnTo>
                    <a:lnTo>
                      <a:pt x="442" y="379"/>
                    </a:lnTo>
                    <a:lnTo>
                      <a:pt x="440" y="379"/>
                    </a:lnTo>
                    <a:lnTo>
                      <a:pt x="440" y="377"/>
                    </a:lnTo>
                    <a:lnTo>
                      <a:pt x="439" y="377"/>
                    </a:lnTo>
                    <a:lnTo>
                      <a:pt x="439" y="376"/>
                    </a:lnTo>
                    <a:lnTo>
                      <a:pt x="437" y="374"/>
                    </a:lnTo>
                    <a:lnTo>
                      <a:pt x="437" y="372"/>
                    </a:lnTo>
                    <a:lnTo>
                      <a:pt x="435" y="372"/>
                    </a:lnTo>
                    <a:lnTo>
                      <a:pt x="435" y="371"/>
                    </a:lnTo>
                    <a:lnTo>
                      <a:pt x="434" y="371"/>
                    </a:lnTo>
                    <a:lnTo>
                      <a:pt x="432" y="371"/>
                    </a:lnTo>
                    <a:lnTo>
                      <a:pt x="432" y="369"/>
                    </a:lnTo>
                    <a:lnTo>
                      <a:pt x="431" y="369"/>
                    </a:lnTo>
                    <a:lnTo>
                      <a:pt x="429" y="369"/>
                    </a:lnTo>
                    <a:lnTo>
                      <a:pt x="427" y="369"/>
                    </a:lnTo>
                    <a:lnTo>
                      <a:pt x="427" y="371"/>
                    </a:lnTo>
                    <a:lnTo>
                      <a:pt x="426" y="371"/>
                    </a:lnTo>
                    <a:lnTo>
                      <a:pt x="426" y="372"/>
                    </a:lnTo>
                    <a:lnTo>
                      <a:pt x="426" y="374"/>
                    </a:lnTo>
                    <a:lnTo>
                      <a:pt x="424" y="374"/>
                    </a:lnTo>
                    <a:lnTo>
                      <a:pt x="424" y="376"/>
                    </a:lnTo>
                    <a:lnTo>
                      <a:pt x="424" y="377"/>
                    </a:lnTo>
                    <a:lnTo>
                      <a:pt x="424" y="379"/>
                    </a:lnTo>
                    <a:lnTo>
                      <a:pt x="423" y="379"/>
                    </a:lnTo>
                    <a:lnTo>
                      <a:pt x="423" y="380"/>
                    </a:lnTo>
                    <a:lnTo>
                      <a:pt x="423" y="382"/>
                    </a:lnTo>
                    <a:lnTo>
                      <a:pt x="423" y="384"/>
                    </a:lnTo>
                    <a:lnTo>
                      <a:pt x="423" y="385"/>
                    </a:lnTo>
                    <a:lnTo>
                      <a:pt x="418" y="385"/>
                    </a:lnTo>
                    <a:lnTo>
                      <a:pt x="416" y="385"/>
                    </a:lnTo>
                    <a:lnTo>
                      <a:pt x="415" y="387"/>
                    </a:lnTo>
                    <a:lnTo>
                      <a:pt x="413" y="387"/>
                    </a:lnTo>
                    <a:lnTo>
                      <a:pt x="410" y="387"/>
                    </a:lnTo>
                    <a:lnTo>
                      <a:pt x="408" y="388"/>
                    </a:lnTo>
                    <a:lnTo>
                      <a:pt x="407" y="388"/>
                    </a:lnTo>
                    <a:lnTo>
                      <a:pt x="405" y="388"/>
                    </a:lnTo>
                    <a:lnTo>
                      <a:pt x="404" y="388"/>
                    </a:lnTo>
                    <a:lnTo>
                      <a:pt x="402" y="388"/>
                    </a:lnTo>
                    <a:lnTo>
                      <a:pt x="401" y="388"/>
                    </a:lnTo>
                    <a:lnTo>
                      <a:pt x="399" y="388"/>
                    </a:lnTo>
                    <a:lnTo>
                      <a:pt x="399" y="387"/>
                    </a:lnTo>
                    <a:lnTo>
                      <a:pt x="397" y="387"/>
                    </a:lnTo>
                    <a:lnTo>
                      <a:pt x="396" y="385"/>
                    </a:lnTo>
                    <a:lnTo>
                      <a:pt x="393" y="385"/>
                    </a:lnTo>
                    <a:lnTo>
                      <a:pt x="391" y="385"/>
                    </a:lnTo>
                    <a:lnTo>
                      <a:pt x="389" y="385"/>
                    </a:lnTo>
                    <a:lnTo>
                      <a:pt x="388" y="385"/>
                    </a:lnTo>
                    <a:lnTo>
                      <a:pt x="386" y="385"/>
                    </a:lnTo>
                    <a:lnTo>
                      <a:pt x="385" y="387"/>
                    </a:lnTo>
                    <a:lnTo>
                      <a:pt x="382" y="388"/>
                    </a:lnTo>
                    <a:lnTo>
                      <a:pt x="380" y="388"/>
                    </a:lnTo>
                    <a:lnTo>
                      <a:pt x="380" y="390"/>
                    </a:lnTo>
                    <a:lnTo>
                      <a:pt x="378" y="390"/>
                    </a:lnTo>
                    <a:lnTo>
                      <a:pt x="377" y="388"/>
                    </a:lnTo>
                    <a:lnTo>
                      <a:pt x="375" y="390"/>
                    </a:lnTo>
                    <a:lnTo>
                      <a:pt x="374" y="390"/>
                    </a:lnTo>
                    <a:lnTo>
                      <a:pt x="372" y="390"/>
                    </a:lnTo>
                    <a:lnTo>
                      <a:pt x="370" y="391"/>
                    </a:lnTo>
                    <a:lnTo>
                      <a:pt x="370" y="390"/>
                    </a:lnTo>
                    <a:lnTo>
                      <a:pt x="369" y="388"/>
                    </a:lnTo>
                    <a:lnTo>
                      <a:pt x="369" y="390"/>
                    </a:lnTo>
                    <a:lnTo>
                      <a:pt x="367" y="390"/>
                    </a:lnTo>
                    <a:lnTo>
                      <a:pt x="366" y="390"/>
                    </a:lnTo>
                    <a:lnTo>
                      <a:pt x="364" y="387"/>
                    </a:lnTo>
                    <a:lnTo>
                      <a:pt x="363" y="387"/>
                    </a:lnTo>
                    <a:lnTo>
                      <a:pt x="363" y="385"/>
                    </a:lnTo>
                    <a:lnTo>
                      <a:pt x="363" y="384"/>
                    </a:lnTo>
                    <a:lnTo>
                      <a:pt x="361" y="382"/>
                    </a:lnTo>
                    <a:lnTo>
                      <a:pt x="361" y="380"/>
                    </a:lnTo>
                    <a:lnTo>
                      <a:pt x="361" y="379"/>
                    </a:lnTo>
                    <a:lnTo>
                      <a:pt x="361" y="377"/>
                    </a:lnTo>
                    <a:lnTo>
                      <a:pt x="361" y="376"/>
                    </a:lnTo>
                    <a:lnTo>
                      <a:pt x="359" y="374"/>
                    </a:lnTo>
                    <a:lnTo>
                      <a:pt x="359" y="372"/>
                    </a:lnTo>
                    <a:lnTo>
                      <a:pt x="359" y="371"/>
                    </a:lnTo>
                    <a:lnTo>
                      <a:pt x="359" y="369"/>
                    </a:lnTo>
                    <a:lnTo>
                      <a:pt x="359" y="368"/>
                    </a:lnTo>
                    <a:lnTo>
                      <a:pt x="359" y="366"/>
                    </a:lnTo>
                    <a:lnTo>
                      <a:pt x="359" y="365"/>
                    </a:lnTo>
                    <a:lnTo>
                      <a:pt x="359" y="363"/>
                    </a:lnTo>
                    <a:lnTo>
                      <a:pt x="359" y="361"/>
                    </a:lnTo>
                    <a:lnTo>
                      <a:pt x="359" y="360"/>
                    </a:lnTo>
                    <a:lnTo>
                      <a:pt x="358" y="360"/>
                    </a:lnTo>
                    <a:lnTo>
                      <a:pt x="358" y="358"/>
                    </a:lnTo>
                    <a:lnTo>
                      <a:pt x="356" y="357"/>
                    </a:lnTo>
                    <a:lnTo>
                      <a:pt x="356" y="355"/>
                    </a:lnTo>
                    <a:lnTo>
                      <a:pt x="355" y="355"/>
                    </a:lnTo>
                    <a:lnTo>
                      <a:pt x="355" y="353"/>
                    </a:lnTo>
                    <a:lnTo>
                      <a:pt x="353" y="353"/>
                    </a:lnTo>
                    <a:lnTo>
                      <a:pt x="351" y="353"/>
                    </a:lnTo>
                    <a:lnTo>
                      <a:pt x="350" y="353"/>
                    </a:lnTo>
                    <a:lnTo>
                      <a:pt x="331" y="353"/>
                    </a:lnTo>
                    <a:lnTo>
                      <a:pt x="329" y="353"/>
                    </a:lnTo>
                    <a:lnTo>
                      <a:pt x="328" y="353"/>
                    </a:lnTo>
                    <a:lnTo>
                      <a:pt x="326" y="353"/>
                    </a:lnTo>
                    <a:lnTo>
                      <a:pt x="325" y="353"/>
                    </a:lnTo>
                    <a:lnTo>
                      <a:pt x="323" y="355"/>
                    </a:lnTo>
                    <a:lnTo>
                      <a:pt x="321" y="355"/>
                    </a:lnTo>
                    <a:lnTo>
                      <a:pt x="320" y="355"/>
                    </a:lnTo>
                    <a:lnTo>
                      <a:pt x="318" y="357"/>
                    </a:lnTo>
                    <a:lnTo>
                      <a:pt x="317" y="355"/>
                    </a:lnTo>
                    <a:lnTo>
                      <a:pt x="317" y="357"/>
                    </a:lnTo>
                    <a:lnTo>
                      <a:pt x="315" y="357"/>
                    </a:lnTo>
                    <a:lnTo>
                      <a:pt x="313" y="358"/>
                    </a:lnTo>
                    <a:lnTo>
                      <a:pt x="312" y="358"/>
                    </a:lnTo>
                    <a:lnTo>
                      <a:pt x="312" y="360"/>
                    </a:lnTo>
                    <a:lnTo>
                      <a:pt x="310" y="360"/>
                    </a:lnTo>
                    <a:lnTo>
                      <a:pt x="309" y="360"/>
                    </a:lnTo>
                    <a:lnTo>
                      <a:pt x="307" y="360"/>
                    </a:lnTo>
                    <a:lnTo>
                      <a:pt x="307" y="361"/>
                    </a:lnTo>
                    <a:lnTo>
                      <a:pt x="306" y="361"/>
                    </a:lnTo>
                    <a:lnTo>
                      <a:pt x="304" y="361"/>
                    </a:lnTo>
                    <a:lnTo>
                      <a:pt x="304" y="363"/>
                    </a:lnTo>
                    <a:lnTo>
                      <a:pt x="302" y="363"/>
                    </a:lnTo>
                    <a:lnTo>
                      <a:pt x="302" y="365"/>
                    </a:lnTo>
                    <a:lnTo>
                      <a:pt x="301" y="365"/>
                    </a:lnTo>
                    <a:lnTo>
                      <a:pt x="301" y="366"/>
                    </a:lnTo>
                    <a:lnTo>
                      <a:pt x="301" y="368"/>
                    </a:lnTo>
                    <a:lnTo>
                      <a:pt x="299" y="368"/>
                    </a:lnTo>
                    <a:lnTo>
                      <a:pt x="299" y="369"/>
                    </a:lnTo>
                    <a:lnTo>
                      <a:pt x="298" y="371"/>
                    </a:lnTo>
                    <a:lnTo>
                      <a:pt x="296" y="372"/>
                    </a:lnTo>
                    <a:lnTo>
                      <a:pt x="294" y="374"/>
                    </a:lnTo>
                    <a:lnTo>
                      <a:pt x="294" y="372"/>
                    </a:lnTo>
                    <a:lnTo>
                      <a:pt x="293" y="372"/>
                    </a:lnTo>
                    <a:lnTo>
                      <a:pt x="291" y="372"/>
                    </a:lnTo>
                    <a:lnTo>
                      <a:pt x="291" y="374"/>
                    </a:lnTo>
                    <a:lnTo>
                      <a:pt x="290" y="374"/>
                    </a:lnTo>
                    <a:lnTo>
                      <a:pt x="290" y="376"/>
                    </a:lnTo>
                    <a:lnTo>
                      <a:pt x="288" y="376"/>
                    </a:lnTo>
                    <a:lnTo>
                      <a:pt x="286" y="376"/>
                    </a:lnTo>
                    <a:lnTo>
                      <a:pt x="285" y="376"/>
                    </a:lnTo>
                    <a:lnTo>
                      <a:pt x="283" y="376"/>
                    </a:lnTo>
                    <a:lnTo>
                      <a:pt x="282" y="376"/>
                    </a:lnTo>
                    <a:lnTo>
                      <a:pt x="280" y="376"/>
                    </a:lnTo>
                    <a:lnTo>
                      <a:pt x="280" y="377"/>
                    </a:lnTo>
                    <a:lnTo>
                      <a:pt x="279" y="377"/>
                    </a:lnTo>
                    <a:lnTo>
                      <a:pt x="277" y="377"/>
                    </a:lnTo>
                    <a:lnTo>
                      <a:pt x="275" y="379"/>
                    </a:lnTo>
                    <a:lnTo>
                      <a:pt x="274" y="379"/>
                    </a:lnTo>
                    <a:lnTo>
                      <a:pt x="272" y="380"/>
                    </a:lnTo>
                    <a:lnTo>
                      <a:pt x="271" y="380"/>
                    </a:lnTo>
                    <a:lnTo>
                      <a:pt x="269" y="380"/>
                    </a:lnTo>
                    <a:lnTo>
                      <a:pt x="267" y="380"/>
                    </a:lnTo>
                    <a:lnTo>
                      <a:pt x="266" y="380"/>
                    </a:lnTo>
                    <a:lnTo>
                      <a:pt x="266" y="382"/>
                    </a:lnTo>
                    <a:lnTo>
                      <a:pt x="264" y="382"/>
                    </a:lnTo>
                    <a:lnTo>
                      <a:pt x="263" y="384"/>
                    </a:lnTo>
                    <a:lnTo>
                      <a:pt x="261" y="384"/>
                    </a:lnTo>
                    <a:lnTo>
                      <a:pt x="260" y="384"/>
                    </a:lnTo>
                    <a:lnTo>
                      <a:pt x="258" y="384"/>
                    </a:lnTo>
                    <a:lnTo>
                      <a:pt x="256" y="385"/>
                    </a:lnTo>
                    <a:lnTo>
                      <a:pt x="255" y="385"/>
                    </a:lnTo>
                    <a:lnTo>
                      <a:pt x="253" y="385"/>
                    </a:lnTo>
                    <a:lnTo>
                      <a:pt x="252" y="385"/>
                    </a:lnTo>
                    <a:lnTo>
                      <a:pt x="250" y="385"/>
                    </a:lnTo>
                    <a:lnTo>
                      <a:pt x="248" y="385"/>
                    </a:lnTo>
                    <a:lnTo>
                      <a:pt x="248" y="387"/>
                    </a:lnTo>
                    <a:lnTo>
                      <a:pt x="247" y="387"/>
                    </a:lnTo>
                    <a:lnTo>
                      <a:pt x="245" y="387"/>
                    </a:lnTo>
                    <a:lnTo>
                      <a:pt x="244" y="387"/>
                    </a:lnTo>
                    <a:lnTo>
                      <a:pt x="242" y="387"/>
                    </a:lnTo>
                    <a:lnTo>
                      <a:pt x="241" y="387"/>
                    </a:lnTo>
                    <a:lnTo>
                      <a:pt x="239" y="387"/>
                    </a:lnTo>
                    <a:lnTo>
                      <a:pt x="237" y="387"/>
                    </a:lnTo>
                    <a:lnTo>
                      <a:pt x="236" y="387"/>
                    </a:lnTo>
                    <a:lnTo>
                      <a:pt x="234" y="387"/>
                    </a:lnTo>
                    <a:lnTo>
                      <a:pt x="233" y="385"/>
                    </a:lnTo>
                    <a:lnTo>
                      <a:pt x="231" y="385"/>
                    </a:lnTo>
                    <a:lnTo>
                      <a:pt x="229" y="385"/>
                    </a:lnTo>
                    <a:lnTo>
                      <a:pt x="228" y="385"/>
                    </a:lnTo>
                    <a:lnTo>
                      <a:pt x="226" y="385"/>
                    </a:lnTo>
                    <a:lnTo>
                      <a:pt x="225" y="385"/>
                    </a:lnTo>
                    <a:lnTo>
                      <a:pt x="225" y="384"/>
                    </a:lnTo>
                    <a:lnTo>
                      <a:pt x="223" y="384"/>
                    </a:lnTo>
                    <a:lnTo>
                      <a:pt x="222" y="384"/>
                    </a:lnTo>
                    <a:lnTo>
                      <a:pt x="220" y="382"/>
                    </a:lnTo>
                    <a:lnTo>
                      <a:pt x="218" y="380"/>
                    </a:lnTo>
                    <a:lnTo>
                      <a:pt x="217" y="380"/>
                    </a:lnTo>
                    <a:lnTo>
                      <a:pt x="217" y="379"/>
                    </a:lnTo>
                    <a:lnTo>
                      <a:pt x="215" y="379"/>
                    </a:lnTo>
                    <a:lnTo>
                      <a:pt x="215" y="377"/>
                    </a:lnTo>
                    <a:lnTo>
                      <a:pt x="214" y="377"/>
                    </a:lnTo>
                    <a:lnTo>
                      <a:pt x="214" y="376"/>
                    </a:lnTo>
                    <a:lnTo>
                      <a:pt x="212" y="376"/>
                    </a:lnTo>
                    <a:lnTo>
                      <a:pt x="212" y="374"/>
                    </a:lnTo>
                    <a:lnTo>
                      <a:pt x="210" y="374"/>
                    </a:lnTo>
                    <a:lnTo>
                      <a:pt x="209" y="372"/>
                    </a:lnTo>
                    <a:lnTo>
                      <a:pt x="207" y="372"/>
                    </a:lnTo>
                    <a:lnTo>
                      <a:pt x="207" y="371"/>
                    </a:lnTo>
                    <a:lnTo>
                      <a:pt x="206" y="371"/>
                    </a:lnTo>
                    <a:lnTo>
                      <a:pt x="206" y="369"/>
                    </a:lnTo>
                    <a:lnTo>
                      <a:pt x="204" y="369"/>
                    </a:lnTo>
                    <a:lnTo>
                      <a:pt x="203" y="368"/>
                    </a:lnTo>
                    <a:lnTo>
                      <a:pt x="203" y="366"/>
                    </a:lnTo>
                    <a:lnTo>
                      <a:pt x="201" y="366"/>
                    </a:lnTo>
                    <a:lnTo>
                      <a:pt x="201" y="365"/>
                    </a:lnTo>
                    <a:lnTo>
                      <a:pt x="199" y="365"/>
                    </a:lnTo>
                    <a:lnTo>
                      <a:pt x="199" y="363"/>
                    </a:lnTo>
                    <a:lnTo>
                      <a:pt x="198" y="363"/>
                    </a:lnTo>
                    <a:lnTo>
                      <a:pt x="196" y="361"/>
                    </a:lnTo>
                    <a:lnTo>
                      <a:pt x="195" y="361"/>
                    </a:lnTo>
                    <a:lnTo>
                      <a:pt x="193" y="360"/>
                    </a:lnTo>
                    <a:lnTo>
                      <a:pt x="191" y="360"/>
                    </a:lnTo>
                    <a:lnTo>
                      <a:pt x="190" y="360"/>
                    </a:lnTo>
                    <a:lnTo>
                      <a:pt x="188" y="360"/>
                    </a:lnTo>
                    <a:lnTo>
                      <a:pt x="187" y="360"/>
                    </a:lnTo>
                    <a:lnTo>
                      <a:pt x="187" y="358"/>
                    </a:lnTo>
                    <a:lnTo>
                      <a:pt x="185" y="358"/>
                    </a:lnTo>
                    <a:lnTo>
                      <a:pt x="184" y="358"/>
                    </a:lnTo>
                    <a:lnTo>
                      <a:pt x="182" y="358"/>
                    </a:lnTo>
                    <a:lnTo>
                      <a:pt x="180" y="358"/>
                    </a:lnTo>
                    <a:lnTo>
                      <a:pt x="180" y="360"/>
                    </a:lnTo>
                    <a:lnTo>
                      <a:pt x="179" y="360"/>
                    </a:lnTo>
                    <a:lnTo>
                      <a:pt x="177" y="360"/>
                    </a:lnTo>
                    <a:lnTo>
                      <a:pt x="176" y="360"/>
                    </a:lnTo>
                    <a:lnTo>
                      <a:pt x="174" y="360"/>
                    </a:lnTo>
                    <a:lnTo>
                      <a:pt x="172" y="360"/>
                    </a:lnTo>
                    <a:lnTo>
                      <a:pt x="171" y="360"/>
                    </a:lnTo>
                    <a:lnTo>
                      <a:pt x="169" y="361"/>
                    </a:lnTo>
                    <a:lnTo>
                      <a:pt x="168" y="361"/>
                    </a:lnTo>
                    <a:lnTo>
                      <a:pt x="166" y="361"/>
                    </a:lnTo>
                    <a:lnTo>
                      <a:pt x="165" y="361"/>
                    </a:lnTo>
                    <a:lnTo>
                      <a:pt x="163" y="361"/>
                    </a:lnTo>
                    <a:lnTo>
                      <a:pt x="163" y="360"/>
                    </a:lnTo>
                    <a:lnTo>
                      <a:pt x="161" y="360"/>
                    </a:lnTo>
                    <a:lnTo>
                      <a:pt x="161" y="358"/>
                    </a:lnTo>
                    <a:lnTo>
                      <a:pt x="160" y="358"/>
                    </a:lnTo>
                    <a:lnTo>
                      <a:pt x="160" y="357"/>
                    </a:lnTo>
                    <a:lnTo>
                      <a:pt x="160" y="355"/>
                    </a:lnTo>
                    <a:lnTo>
                      <a:pt x="158" y="353"/>
                    </a:lnTo>
                    <a:lnTo>
                      <a:pt x="158" y="352"/>
                    </a:lnTo>
                    <a:lnTo>
                      <a:pt x="158" y="350"/>
                    </a:lnTo>
                    <a:lnTo>
                      <a:pt x="157" y="349"/>
                    </a:lnTo>
                    <a:lnTo>
                      <a:pt x="157" y="347"/>
                    </a:lnTo>
                    <a:lnTo>
                      <a:pt x="158" y="347"/>
                    </a:lnTo>
                    <a:lnTo>
                      <a:pt x="158" y="346"/>
                    </a:lnTo>
                    <a:lnTo>
                      <a:pt x="158" y="344"/>
                    </a:lnTo>
                    <a:lnTo>
                      <a:pt x="160" y="344"/>
                    </a:lnTo>
                    <a:lnTo>
                      <a:pt x="160" y="342"/>
                    </a:lnTo>
                    <a:lnTo>
                      <a:pt x="161" y="341"/>
                    </a:lnTo>
                    <a:lnTo>
                      <a:pt x="160" y="339"/>
                    </a:lnTo>
                    <a:lnTo>
                      <a:pt x="160" y="338"/>
                    </a:lnTo>
                    <a:lnTo>
                      <a:pt x="158" y="338"/>
                    </a:lnTo>
                    <a:lnTo>
                      <a:pt x="158" y="336"/>
                    </a:lnTo>
                    <a:lnTo>
                      <a:pt x="157" y="334"/>
                    </a:lnTo>
                    <a:lnTo>
                      <a:pt x="157" y="333"/>
                    </a:lnTo>
                    <a:lnTo>
                      <a:pt x="155" y="331"/>
                    </a:lnTo>
                    <a:lnTo>
                      <a:pt x="157" y="331"/>
                    </a:lnTo>
                    <a:lnTo>
                      <a:pt x="157" y="330"/>
                    </a:lnTo>
                    <a:lnTo>
                      <a:pt x="158" y="328"/>
                    </a:lnTo>
                    <a:lnTo>
                      <a:pt x="160" y="328"/>
                    </a:lnTo>
                    <a:lnTo>
                      <a:pt x="160" y="330"/>
                    </a:lnTo>
                    <a:lnTo>
                      <a:pt x="161" y="330"/>
                    </a:lnTo>
                    <a:lnTo>
                      <a:pt x="163" y="330"/>
                    </a:lnTo>
                    <a:lnTo>
                      <a:pt x="163" y="331"/>
                    </a:lnTo>
                    <a:lnTo>
                      <a:pt x="165" y="331"/>
                    </a:lnTo>
                    <a:lnTo>
                      <a:pt x="165" y="333"/>
                    </a:lnTo>
                    <a:lnTo>
                      <a:pt x="166" y="333"/>
                    </a:lnTo>
                    <a:lnTo>
                      <a:pt x="166" y="334"/>
                    </a:lnTo>
                    <a:lnTo>
                      <a:pt x="168" y="334"/>
                    </a:lnTo>
                    <a:lnTo>
                      <a:pt x="169" y="334"/>
                    </a:lnTo>
                    <a:lnTo>
                      <a:pt x="171" y="333"/>
                    </a:lnTo>
                    <a:lnTo>
                      <a:pt x="172" y="333"/>
                    </a:lnTo>
                    <a:lnTo>
                      <a:pt x="174" y="333"/>
                    </a:lnTo>
                    <a:lnTo>
                      <a:pt x="176" y="334"/>
                    </a:lnTo>
                    <a:lnTo>
                      <a:pt x="177" y="334"/>
                    </a:lnTo>
                    <a:lnTo>
                      <a:pt x="177" y="336"/>
                    </a:lnTo>
                    <a:lnTo>
                      <a:pt x="179" y="336"/>
                    </a:lnTo>
                    <a:lnTo>
                      <a:pt x="179" y="338"/>
                    </a:lnTo>
                    <a:lnTo>
                      <a:pt x="179" y="339"/>
                    </a:lnTo>
                    <a:lnTo>
                      <a:pt x="180" y="339"/>
                    </a:lnTo>
                    <a:lnTo>
                      <a:pt x="180" y="341"/>
                    </a:lnTo>
                    <a:lnTo>
                      <a:pt x="182" y="341"/>
                    </a:lnTo>
                    <a:lnTo>
                      <a:pt x="184" y="341"/>
                    </a:lnTo>
                    <a:lnTo>
                      <a:pt x="185" y="341"/>
                    </a:lnTo>
                    <a:lnTo>
                      <a:pt x="185" y="342"/>
                    </a:lnTo>
                    <a:lnTo>
                      <a:pt x="187" y="342"/>
                    </a:lnTo>
                    <a:lnTo>
                      <a:pt x="187" y="344"/>
                    </a:lnTo>
                    <a:lnTo>
                      <a:pt x="188" y="344"/>
                    </a:lnTo>
                    <a:lnTo>
                      <a:pt x="188" y="346"/>
                    </a:lnTo>
                    <a:lnTo>
                      <a:pt x="190" y="346"/>
                    </a:lnTo>
                    <a:lnTo>
                      <a:pt x="190" y="347"/>
                    </a:lnTo>
                    <a:lnTo>
                      <a:pt x="190" y="349"/>
                    </a:lnTo>
                    <a:lnTo>
                      <a:pt x="191" y="349"/>
                    </a:lnTo>
                    <a:lnTo>
                      <a:pt x="191" y="350"/>
                    </a:lnTo>
                    <a:lnTo>
                      <a:pt x="193" y="350"/>
                    </a:lnTo>
                    <a:lnTo>
                      <a:pt x="195" y="350"/>
                    </a:lnTo>
                    <a:lnTo>
                      <a:pt x="195" y="349"/>
                    </a:lnTo>
                    <a:lnTo>
                      <a:pt x="195" y="347"/>
                    </a:lnTo>
                    <a:lnTo>
                      <a:pt x="195" y="346"/>
                    </a:lnTo>
                    <a:lnTo>
                      <a:pt x="195" y="344"/>
                    </a:lnTo>
                    <a:lnTo>
                      <a:pt x="193" y="344"/>
                    </a:lnTo>
                    <a:lnTo>
                      <a:pt x="193" y="342"/>
                    </a:lnTo>
                    <a:lnTo>
                      <a:pt x="193" y="341"/>
                    </a:lnTo>
                    <a:lnTo>
                      <a:pt x="191" y="341"/>
                    </a:lnTo>
                    <a:lnTo>
                      <a:pt x="191" y="339"/>
                    </a:lnTo>
                    <a:lnTo>
                      <a:pt x="191" y="338"/>
                    </a:lnTo>
                    <a:lnTo>
                      <a:pt x="191" y="336"/>
                    </a:lnTo>
                    <a:lnTo>
                      <a:pt x="190" y="336"/>
                    </a:lnTo>
                    <a:lnTo>
                      <a:pt x="190" y="334"/>
                    </a:lnTo>
                    <a:lnTo>
                      <a:pt x="190" y="333"/>
                    </a:lnTo>
                    <a:lnTo>
                      <a:pt x="188" y="333"/>
                    </a:lnTo>
                    <a:lnTo>
                      <a:pt x="188" y="331"/>
                    </a:lnTo>
                    <a:lnTo>
                      <a:pt x="187" y="331"/>
                    </a:lnTo>
                    <a:lnTo>
                      <a:pt x="187" y="330"/>
                    </a:lnTo>
                    <a:lnTo>
                      <a:pt x="187" y="328"/>
                    </a:lnTo>
                    <a:lnTo>
                      <a:pt x="185" y="328"/>
                    </a:lnTo>
                    <a:lnTo>
                      <a:pt x="185" y="327"/>
                    </a:lnTo>
                    <a:lnTo>
                      <a:pt x="184" y="325"/>
                    </a:lnTo>
                    <a:lnTo>
                      <a:pt x="185" y="325"/>
                    </a:lnTo>
                    <a:lnTo>
                      <a:pt x="185" y="323"/>
                    </a:lnTo>
                    <a:lnTo>
                      <a:pt x="187" y="323"/>
                    </a:lnTo>
                    <a:lnTo>
                      <a:pt x="188" y="323"/>
                    </a:lnTo>
                    <a:lnTo>
                      <a:pt x="188" y="322"/>
                    </a:lnTo>
                    <a:lnTo>
                      <a:pt x="190" y="322"/>
                    </a:lnTo>
                    <a:lnTo>
                      <a:pt x="191" y="322"/>
                    </a:lnTo>
                    <a:lnTo>
                      <a:pt x="191" y="323"/>
                    </a:lnTo>
                    <a:lnTo>
                      <a:pt x="193" y="323"/>
                    </a:lnTo>
                    <a:lnTo>
                      <a:pt x="193" y="325"/>
                    </a:lnTo>
                    <a:lnTo>
                      <a:pt x="193" y="327"/>
                    </a:lnTo>
                    <a:lnTo>
                      <a:pt x="195" y="327"/>
                    </a:lnTo>
                    <a:lnTo>
                      <a:pt x="193" y="327"/>
                    </a:lnTo>
                    <a:lnTo>
                      <a:pt x="193" y="328"/>
                    </a:lnTo>
                    <a:lnTo>
                      <a:pt x="191" y="330"/>
                    </a:lnTo>
                    <a:lnTo>
                      <a:pt x="191" y="331"/>
                    </a:lnTo>
                    <a:lnTo>
                      <a:pt x="191" y="333"/>
                    </a:lnTo>
                    <a:lnTo>
                      <a:pt x="193" y="334"/>
                    </a:lnTo>
                    <a:lnTo>
                      <a:pt x="193" y="336"/>
                    </a:lnTo>
                    <a:lnTo>
                      <a:pt x="195" y="336"/>
                    </a:lnTo>
                    <a:lnTo>
                      <a:pt x="195" y="338"/>
                    </a:lnTo>
                    <a:lnTo>
                      <a:pt x="195" y="339"/>
                    </a:lnTo>
                    <a:lnTo>
                      <a:pt x="196" y="341"/>
                    </a:lnTo>
                    <a:lnTo>
                      <a:pt x="196" y="342"/>
                    </a:lnTo>
                    <a:lnTo>
                      <a:pt x="198" y="342"/>
                    </a:lnTo>
                    <a:lnTo>
                      <a:pt x="198" y="341"/>
                    </a:lnTo>
                    <a:lnTo>
                      <a:pt x="199" y="342"/>
                    </a:lnTo>
                    <a:lnTo>
                      <a:pt x="201" y="342"/>
                    </a:lnTo>
                    <a:lnTo>
                      <a:pt x="203" y="342"/>
                    </a:lnTo>
                    <a:lnTo>
                      <a:pt x="203" y="341"/>
                    </a:lnTo>
                    <a:lnTo>
                      <a:pt x="203" y="339"/>
                    </a:lnTo>
                    <a:lnTo>
                      <a:pt x="203" y="338"/>
                    </a:lnTo>
                    <a:lnTo>
                      <a:pt x="203" y="336"/>
                    </a:lnTo>
                    <a:lnTo>
                      <a:pt x="201" y="336"/>
                    </a:lnTo>
                    <a:lnTo>
                      <a:pt x="201" y="334"/>
                    </a:lnTo>
                    <a:lnTo>
                      <a:pt x="201" y="333"/>
                    </a:lnTo>
                    <a:lnTo>
                      <a:pt x="203" y="333"/>
                    </a:lnTo>
                    <a:lnTo>
                      <a:pt x="204" y="333"/>
                    </a:lnTo>
                    <a:lnTo>
                      <a:pt x="204" y="334"/>
                    </a:lnTo>
                    <a:lnTo>
                      <a:pt x="206" y="333"/>
                    </a:lnTo>
                    <a:lnTo>
                      <a:pt x="206" y="331"/>
                    </a:lnTo>
                    <a:lnTo>
                      <a:pt x="207" y="331"/>
                    </a:lnTo>
                    <a:lnTo>
                      <a:pt x="209" y="331"/>
                    </a:lnTo>
                    <a:lnTo>
                      <a:pt x="209" y="333"/>
                    </a:lnTo>
                    <a:lnTo>
                      <a:pt x="209" y="334"/>
                    </a:lnTo>
                    <a:lnTo>
                      <a:pt x="210" y="334"/>
                    </a:lnTo>
                    <a:lnTo>
                      <a:pt x="210" y="336"/>
                    </a:lnTo>
                    <a:lnTo>
                      <a:pt x="212" y="336"/>
                    </a:lnTo>
                    <a:lnTo>
                      <a:pt x="212" y="338"/>
                    </a:lnTo>
                    <a:lnTo>
                      <a:pt x="214" y="338"/>
                    </a:lnTo>
                    <a:lnTo>
                      <a:pt x="214" y="339"/>
                    </a:lnTo>
                    <a:lnTo>
                      <a:pt x="215" y="341"/>
                    </a:lnTo>
                    <a:lnTo>
                      <a:pt x="217" y="342"/>
                    </a:lnTo>
                    <a:lnTo>
                      <a:pt x="218" y="342"/>
                    </a:lnTo>
                    <a:lnTo>
                      <a:pt x="220" y="341"/>
                    </a:lnTo>
                    <a:lnTo>
                      <a:pt x="222" y="341"/>
                    </a:lnTo>
                    <a:lnTo>
                      <a:pt x="223" y="341"/>
                    </a:lnTo>
                    <a:lnTo>
                      <a:pt x="225" y="341"/>
                    </a:lnTo>
                    <a:lnTo>
                      <a:pt x="226" y="341"/>
                    </a:lnTo>
                    <a:lnTo>
                      <a:pt x="228" y="339"/>
                    </a:lnTo>
                    <a:lnTo>
                      <a:pt x="226" y="338"/>
                    </a:lnTo>
                    <a:lnTo>
                      <a:pt x="225" y="336"/>
                    </a:lnTo>
                    <a:lnTo>
                      <a:pt x="225" y="334"/>
                    </a:lnTo>
                    <a:lnTo>
                      <a:pt x="223" y="333"/>
                    </a:lnTo>
                    <a:lnTo>
                      <a:pt x="222" y="331"/>
                    </a:lnTo>
                    <a:lnTo>
                      <a:pt x="222" y="330"/>
                    </a:lnTo>
                    <a:lnTo>
                      <a:pt x="220" y="328"/>
                    </a:lnTo>
                    <a:lnTo>
                      <a:pt x="220" y="327"/>
                    </a:lnTo>
                    <a:lnTo>
                      <a:pt x="220" y="325"/>
                    </a:lnTo>
                    <a:lnTo>
                      <a:pt x="220" y="323"/>
                    </a:lnTo>
                    <a:lnTo>
                      <a:pt x="220" y="322"/>
                    </a:lnTo>
                    <a:lnTo>
                      <a:pt x="220" y="320"/>
                    </a:lnTo>
                    <a:lnTo>
                      <a:pt x="220" y="319"/>
                    </a:lnTo>
                    <a:lnTo>
                      <a:pt x="222" y="319"/>
                    </a:lnTo>
                    <a:lnTo>
                      <a:pt x="223" y="319"/>
                    </a:lnTo>
                    <a:lnTo>
                      <a:pt x="223" y="317"/>
                    </a:lnTo>
                    <a:lnTo>
                      <a:pt x="225" y="317"/>
                    </a:lnTo>
                    <a:lnTo>
                      <a:pt x="226" y="317"/>
                    </a:lnTo>
                    <a:lnTo>
                      <a:pt x="228" y="317"/>
                    </a:lnTo>
                    <a:lnTo>
                      <a:pt x="229" y="317"/>
                    </a:lnTo>
                    <a:lnTo>
                      <a:pt x="231" y="317"/>
                    </a:lnTo>
                    <a:lnTo>
                      <a:pt x="231" y="315"/>
                    </a:lnTo>
                    <a:lnTo>
                      <a:pt x="231" y="317"/>
                    </a:lnTo>
                    <a:lnTo>
                      <a:pt x="233" y="317"/>
                    </a:lnTo>
                    <a:lnTo>
                      <a:pt x="234" y="319"/>
                    </a:lnTo>
                    <a:lnTo>
                      <a:pt x="236" y="320"/>
                    </a:lnTo>
                    <a:lnTo>
                      <a:pt x="237" y="322"/>
                    </a:lnTo>
                    <a:lnTo>
                      <a:pt x="239" y="322"/>
                    </a:lnTo>
                    <a:lnTo>
                      <a:pt x="241" y="322"/>
                    </a:lnTo>
                    <a:lnTo>
                      <a:pt x="241" y="323"/>
                    </a:lnTo>
                    <a:lnTo>
                      <a:pt x="242" y="323"/>
                    </a:lnTo>
                    <a:lnTo>
                      <a:pt x="242" y="325"/>
                    </a:lnTo>
                    <a:lnTo>
                      <a:pt x="242" y="327"/>
                    </a:lnTo>
                    <a:lnTo>
                      <a:pt x="244" y="327"/>
                    </a:lnTo>
                    <a:lnTo>
                      <a:pt x="244" y="328"/>
                    </a:lnTo>
                    <a:lnTo>
                      <a:pt x="245" y="330"/>
                    </a:lnTo>
                    <a:lnTo>
                      <a:pt x="247" y="330"/>
                    </a:lnTo>
                    <a:lnTo>
                      <a:pt x="248" y="330"/>
                    </a:lnTo>
                    <a:lnTo>
                      <a:pt x="250" y="330"/>
                    </a:lnTo>
                    <a:lnTo>
                      <a:pt x="252" y="331"/>
                    </a:lnTo>
                    <a:lnTo>
                      <a:pt x="252" y="333"/>
                    </a:lnTo>
                    <a:lnTo>
                      <a:pt x="253" y="334"/>
                    </a:lnTo>
                    <a:lnTo>
                      <a:pt x="255" y="334"/>
                    </a:lnTo>
                    <a:lnTo>
                      <a:pt x="256" y="334"/>
                    </a:lnTo>
                    <a:lnTo>
                      <a:pt x="256" y="333"/>
                    </a:lnTo>
                    <a:lnTo>
                      <a:pt x="258" y="333"/>
                    </a:lnTo>
                    <a:lnTo>
                      <a:pt x="258" y="331"/>
                    </a:lnTo>
                    <a:lnTo>
                      <a:pt x="258" y="330"/>
                    </a:lnTo>
                    <a:lnTo>
                      <a:pt x="258" y="328"/>
                    </a:lnTo>
                    <a:lnTo>
                      <a:pt x="260" y="328"/>
                    </a:lnTo>
                    <a:lnTo>
                      <a:pt x="261" y="328"/>
                    </a:lnTo>
                    <a:lnTo>
                      <a:pt x="263" y="328"/>
                    </a:lnTo>
                    <a:lnTo>
                      <a:pt x="264" y="328"/>
                    </a:lnTo>
                    <a:lnTo>
                      <a:pt x="266" y="328"/>
                    </a:lnTo>
                    <a:lnTo>
                      <a:pt x="266" y="330"/>
                    </a:lnTo>
                    <a:lnTo>
                      <a:pt x="266" y="331"/>
                    </a:lnTo>
                    <a:lnTo>
                      <a:pt x="266" y="333"/>
                    </a:lnTo>
                    <a:lnTo>
                      <a:pt x="267" y="333"/>
                    </a:lnTo>
                    <a:lnTo>
                      <a:pt x="267" y="334"/>
                    </a:lnTo>
                    <a:lnTo>
                      <a:pt x="269" y="334"/>
                    </a:lnTo>
                    <a:lnTo>
                      <a:pt x="271" y="334"/>
                    </a:lnTo>
                    <a:lnTo>
                      <a:pt x="272" y="333"/>
                    </a:lnTo>
                    <a:lnTo>
                      <a:pt x="274" y="333"/>
                    </a:lnTo>
                    <a:lnTo>
                      <a:pt x="275" y="333"/>
                    </a:lnTo>
                    <a:lnTo>
                      <a:pt x="275" y="331"/>
                    </a:lnTo>
                    <a:lnTo>
                      <a:pt x="277" y="331"/>
                    </a:lnTo>
                    <a:lnTo>
                      <a:pt x="279" y="331"/>
                    </a:lnTo>
                    <a:lnTo>
                      <a:pt x="280" y="330"/>
                    </a:lnTo>
                    <a:lnTo>
                      <a:pt x="280" y="328"/>
                    </a:lnTo>
                    <a:lnTo>
                      <a:pt x="280" y="327"/>
                    </a:lnTo>
                    <a:lnTo>
                      <a:pt x="279" y="325"/>
                    </a:lnTo>
                    <a:lnTo>
                      <a:pt x="277" y="323"/>
                    </a:lnTo>
                    <a:lnTo>
                      <a:pt x="275" y="322"/>
                    </a:lnTo>
                    <a:lnTo>
                      <a:pt x="275" y="323"/>
                    </a:lnTo>
                    <a:lnTo>
                      <a:pt x="274" y="323"/>
                    </a:lnTo>
                    <a:lnTo>
                      <a:pt x="272" y="323"/>
                    </a:lnTo>
                    <a:lnTo>
                      <a:pt x="272" y="322"/>
                    </a:lnTo>
                    <a:lnTo>
                      <a:pt x="271" y="322"/>
                    </a:lnTo>
                    <a:lnTo>
                      <a:pt x="271" y="320"/>
                    </a:lnTo>
                    <a:lnTo>
                      <a:pt x="272" y="319"/>
                    </a:lnTo>
                    <a:lnTo>
                      <a:pt x="274" y="317"/>
                    </a:lnTo>
                    <a:lnTo>
                      <a:pt x="274" y="315"/>
                    </a:lnTo>
                    <a:lnTo>
                      <a:pt x="272" y="315"/>
                    </a:lnTo>
                    <a:lnTo>
                      <a:pt x="272" y="314"/>
                    </a:lnTo>
                    <a:lnTo>
                      <a:pt x="271" y="314"/>
                    </a:lnTo>
                    <a:lnTo>
                      <a:pt x="271" y="315"/>
                    </a:lnTo>
                    <a:lnTo>
                      <a:pt x="269" y="315"/>
                    </a:lnTo>
                    <a:lnTo>
                      <a:pt x="269" y="314"/>
                    </a:lnTo>
                    <a:lnTo>
                      <a:pt x="267" y="314"/>
                    </a:lnTo>
                    <a:lnTo>
                      <a:pt x="266" y="314"/>
                    </a:lnTo>
                    <a:lnTo>
                      <a:pt x="266" y="312"/>
                    </a:lnTo>
                    <a:lnTo>
                      <a:pt x="264" y="312"/>
                    </a:lnTo>
                    <a:lnTo>
                      <a:pt x="264" y="314"/>
                    </a:lnTo>
                    <a:lnTo>
                      <a:pt x="263" y="314"/>
                    </a:lnTo>
                    <a:lnTo>
                      <a:pt x="263" y="315"/>
                    </a:lnTo>
                    <a:lnTo>
                      <a:pt x="261" y="315"/>
                    </a:lnTo>
                    <a:lnTo>
                      <a:pt x="260" y="314"/>
                    </a:lnTo>
                    <a:lnTo>
                      <a:pt x="260" y="312"/>
                    </a:lnTo>
                    <a:lnTo>
                      <a:pt x="258" y="312"/>
                    </a:lnTo>
                    <a:lnTo>
                      <a:pt x="256" y="312"/>
                    </a:lnTo>
                    <a:lnTo>
                      <a:pt x="255" y="312"/>
                    </a:lnTo>
                    <a:lnTo>
                      <a:pt x="253" y="312"/>
                    </a:lnTo>
                    <a:lnTo>
                      <a:pt x="253" y="311"/>
                    </a:lnTo>
                    <a:lnTo>
                      <a:pt x="252" y="311"/>
                    </a:lnTo>
                    <a:lnTo>
                      <a:pt x="250" y="311"/>
                    </a:lnTo>
                    <a:lnTo>
                      <a:pt x="248" y="312"/>
                    </a:lnTo>
                    <a:lnTo>
                      <a:pt x="247" y="312"/>
                    </a:lnTo>
                    <a:lnTo>
                      <a:pt x="247" y="311"/>
                    </a:lnTo>
                    <a:lnTo>
                      <a:pt x="248" y="311"/>
                    </a:lnTo>
                    <a:lnTo>
                      <a:pt x="248" y="309"/>
                    </a:lnTo>
                    <a:lnTo>
                      <a:pt x="248" y="307"/>
                    </a:lnTo>
                    <a:lnTo>
                      <a:pt x="250" y="307"/>
                    </a:lnTo>
                    <a:lnTo>
                      <a:pt x="252" y="306"/>
                    </a:lnTo>
                    <a:lnTo>
                      <a:pt x="253" y="306"/>
                    </a:lnTo>
                    <a:lnTo>
                      <a:pt x="253" y="304"/>
                    </a:lnTo>
                    <a:lnTo>
                      <a:pt x="255" y="304"/>
                    </a:lnTo>
                    <a:lnTo>
                      <a:pt x="255" y="303"/>
                    </a:lnTo>
                    <a:lnTo>
                      <a:pt x="255" y="301"/>
                    </a:lnTo>
                    <a:lnTo>
                      <a:pt x="255" y="300"/>
                    </a:lnTo>
                    <a:lnTo>
                      <a:pt x="253" y="300"/>
                    </a:lnTo>
                    <a:lnTo>
                      <a:pt x="252" y="300"/>
                    </a:lnTo>
                    <a:lnTo>
                      <a:pt x="252" y="298"/>
                    </a:lnTo>
                    <a:lnTo>
                      <a:pt x="250" y="296"/>
                    </a:lnTo>
                    <a:lnTo>
                      <a:pt x="250" y="295"/>
                    </a:lnTo>
                    <a:lnTo>
                      <a:pt x="248" y="295"/>
                    </a:lnTo>
                    <a:lnTo>
                      <a:pt x="247" y="295"/>
                    </a:lnTo>
                    <a:lnTo>
                      <a:pt x="245" y="295"/>
                    </a:lnTo>
                    <a:lnTo>
                      <a:pt x="244" y="295"/>
                    </a:lnTo>
                    <a:lnTo>
                      <a:pt x="244" y="293"/>
                    </a:lnTo>
                    <a:lnTo>
                      <a:pt x="244" y="292"/>
                    </a:lnTo>
                    <a:lnTo>
                      <a:pt x="244" y="290"/>
                    </a:lnTo>
                    <a:lnTo>
                      <a:pt x="244" y="288"/>
                    </a:lnTo>
                    <a:lnTo>
                      <a:pt x="242" y="288"/>
                    </a:lnTo>
                    <a:lnTo>
                      <a:pt x="241" y="288"/>
                    </a:lnTo>
                    <a:lnTo>
                      <a:pt x="239" y="288"/>
                    </a:lnTo>
                    <a:lnTo>
                      <a:pt x="237" y="288"/>
                    </a:lnTo>
                    <a:lnTo>
                      <a:pt x="237" y="290"/>
                    </a:lnTo>
                    <a:lnTo>
                      <a:pt x="236" y="292"/>
                    </a:lnTo>
                    <a:lnTo>
                      <a:pt x="236" y="293"/>
                    </a:lnTo>
                    <a:lnTo>
                      <a:pt x="234" y="293"/>
                    </a:lnTo>
                    <a:lnTo>
                      <a:pt x="233" y="293"/>
                    </a:lnTo>
                    <a:lnTo>
                      <a:pt x="233" y="292"/>
                    </a:lnTo>
                    <a:lnTo>
                      <a:pt x="231" y="293"/>
                    </a:lnTo>
                    <a:lnTo>
                      <a:pt x="229" y="295"/>
                    </a:lnTo>
                    <a:lnTo>
                      <a:pt x="228" y="295"/>
                    </a:lnTo>
                    <a:lnTo>
                      <a:pt x="226" y="295"/>
                    </a:lnTo>
                    <a:lnTo>
                      <a:pt x="225" y="295"/>
                    </a:lnTo>
                    <a:lnTo>
                      <a:pt x="225" y="296"/>
                    </a:lnTo>
                    <a:lnTo>
                      <a:pt x="223" y="296"/>
                    </a:lnTo>
                    <a:lnTo>
                      <a:pt x="222" y="298"/>
                    </a:lnTo>
                    <a:lnTo>
                      <a:pt x="220" y="298"/>
                    </a:lnTo>
                    <a:lnTo>
                      <a:pt x="218" y="298"/>
                    </a:lnTo>
                    <a:lnTo>
                      <a:pt x="218" y="300"/>
                    </a:lnTo>
                    <a:lnTo>
                      <a:pt x="217" y="300"/>
                    </a:lnTo>
                    <a:lnTo>
                      <a:pt x="217" y="301"/>
                    </a:lnTo>
                    <a:lnTo>
                      <a:pt x="215" y="301"/>
                    </a:lnTo>
                    <a:lnTo>
                      <a:pt x="214" y="303"/>
                    </a:lnTo>
                    <a:lnTo>
                      <a:pt x="214" y="301"/>
                    </a:lnTo>
                    <a:lnTo>
                      <a:pt x="212" y="301"/>
                    </a:lnTo>
                    <a:lnTo>
                      <a:pt x="210" y="301"/>
                    </a:lnTo>
                    <a:lnTo>
                      <a:pt x="210" y="303"/>
                    </a:lnTo>
                    <a:lnTo>
                      <a:pt x="209" y="303"/>
                    </a:lnTo>
                    <a:lnTo>
                      <a:pt x="209" y="304"/>
                    </a:lnTo>
                    <a:lnTo>
                      <a:pt x="207" y="304"/>
                    </a:lnTo>
                    <a:lnTo>
                      <a:pt x="207" y="306"/>
                    </a:lnTo>
                    <a:lnTo>
                      <a:pt x="206" y="307"/>
                    </a:lnTo>
                    <a:lnTo>
                      <a:pt x="204" y="307"/>
                    </a:lnTo>
                    <a:lnTo>
                      <a:pt x="204" y="309"/>
                    </a:lnTo>
                    <a:lnTo>
                      <a:pt x="203" y="309"/>
                    </a:lnTo>
                    <a:lnTo>
                      <a:pt x="201" y="309"/>
                    </a:lnTo>
                    <a:lnTo>
                      <a:pt x="199" y="309"/>
                    </a:lnTo>
                    <a:lnTo>
                      <a:pt x="198" y="309"/>
                    </a:lnTo>
                    <a:lnTo>
                      <a:pt x="198" y="311"/>
                    </a:lnTo>
                    <a:lnTo>
                      <a:pt x="196" y="311"/>
                    </a:lnTo>
                    <a:lnTo>
                      <a:pt x="196" y="309"/>
                    </a:lnTo>
                    <a:lnTo>
                      <a:pt x="195" y="309"/>
                    </a:lnTo>
                    <a:lnTo>
                      <a:pt x="193" y="309"/>
                    </a:lnTo>
                    <a:lnTo>
                      <a:pt x="193" y="307"/>
                    </a:lnTo>
                    <a:lnTo>
                      <a:pt x="191" y="307"/>
                    </a:lnTo>
                    <a:lnTo>
                      <a:pt x="191" y="306"/>
                    </a:lnTo>
                    <a:lnTo>
                      <a:pt x="190" y="306"/>
                    </a:lnTo>
                    <a:lnTo>
                      <a:pt x="190" y="304"/>
                    </a:lnTo>
                    <a:lnTo>
                      <a:pt x="190" y="303"/>
                    </a:lnTo>
                    <a:lnTo>
                      <a:pt x="191" y="301"/>
                    </a:lnTo>
                    <a:lnTo>
                      <a:pt x="191" y="300"/>
                    </a:lnTo>
                    <a:lnTo>
                      <a:pt x="193" y="300"/>
                    </a:lnTo>
                    <a:lnTo>
                      <a:pt x="195" y="300"/>
                    </a:lnTo>
                    <a:lnTo>
                      <a:pt x="195" y="298"/>
                    </a:lnTo>
                    <a:lnTo>
                      <a:pt x="196" y="298"/>
                    </a:lnTo>
                    <a:lnTo>
                      <a:pt x="196" y="296"/>
                    </a:lnTo>
                    <a:lnTo>
                      <a:pt x="198" y="296"/>
                    </a:lnTo>
                    <a:lnTo>
                      <a:pt x="198" y="295"/>
                    </a:lnTo>
                    <a:lnTo>
                      <a:pt x="199" y="295"/>
                    </a:lnTo>
                    <a:lnTo>
                      <a:pt x="199" y="293"/>
                    </a:lnTo>
                    <a:lnTo>
                      <a:pt x="199" y="292"/>
                    </a:lnTo>
                    <a:lnTo>
                      <a:pt x="199" y="290"/>
                    </a:lnTo>
                    <a:lnTo>
                      <a:pt x="199" y="288"/>
                    </a:lnTo>
                    <a:lnTo>
                      <a:pt x="199" y="287"/>
                    </a:lnTo>
                    <a:lnTo>
                      <a:pt x="199" y="285"/>
                    </a:lnTo>
                    <a:lnTo>
                      <a:pt x="201" y="285"/>
                    </a:lnTo>
                    <a:lnTo>
                      <a:pt x="199" y="284"/>
                    </a:lnTo>
                    <a:lnTo>
                      <a:pt x="201" y="284"/>
                    </a:lnTo>
                    <a:lnTo>
                      <a:pt x="201" y="282"/>
                    </a:lnTo>
                    <a:lnTo>
                      <a:pt x="201" y="281"/>
                    </a:lnTo>
                    <a:lnTo>
                      <a:pt x="199" y="281"/>
                    </a:lnTo>
                    <a:lnTo>
                      <a:pt x="198" y="281"/>
                    </a:lnTo>
                    <a:lnTo>
                      <a:pt x="196" y="281"/>
                    </a:lnTo>
                    <a:lnTo>
                      <a:pt x="195" y="281"/>
                    </a:lnTo>
                    <a:lnTo>
                      <a:pt x="195" y="279"/>
                    </a:lnTo>
                    <a:lnTo>
                      <a:pt x="195" y="277"/>
                    </a:lnTo>
                    <a:lnTo>
                      <a:pt x="193" y="277"/>
                    </a:lnTo>
                    <a:lnTo>
                      <a:pt x="193" y="276"/>
                    </a:lnTo>
                    <a:lnTo>
                      <a:pt x="193" y="274"/>
                    </a:lnTo>
                    <a:lnTo>
                      <a:pt x="193" y="273"/>
                    </a:lnTo>
                    <a:lnTo>
                      <a:pt x="193" y="271"/>
                    </a:lnTo>
                    <a:lnTo>
                      <a:pt x="195" y="271"/>
                    </a:lnTo>
                    <a:lnTo>
                      <a:pt x="195" y="269"/>
                    </a:lnTo>
                    <a:lnTo>
                      <a:pt x="196" y="268"/>
                    </a:lnTo>
                    <a:lnTo>
                      <a:pt x="196" y="266"/>
                    </a:lnTo>
                    <a:lnTo>
                      <a:pt x="198" y="266"/>
                    </a:lnTo>
                    <a:lnTo>
                      <a:pt x="198" y="265"/>
                    </a:lnTo>
                    <a:lnTo>
                      <a:pt x="198" y="263"/>
                    </a:lnTo>
                    <a:lnTo>
                      <a:pt x="199" y="263"/>
                    </a:lnTo>
                    <a:lnTo>
                      <a:pt x="199" y="262"/>
                    </a:lnTo>
                    <a:lnTo>
                      <a:pt x="199" y="260"/>
                    </a:lnTo>
                    <a:lnTo>
                      <a:pt x="201" y="260"/>
                    </a:lnTo>
                    <a:lnTo>
                      <a:pt x="201" y="258"/>
                    </a:lnTo>
                    <a:lnTo>
                      <a:pt x="201" y="257"/>
                    </a:lnTo>
                    <a:lnTo>
                      <a:pt x="201" y="255"/>
                    </a:lnTo>
                    <a:lnTo>
                      <a:pt x="203" y="254"/>
                    </a:lnTo>
                    <a:lnTo>
                      <a:pt x="203" y="252"/>
                    </a:lnTo>
                    <a:lnTo>
                      <a:pt x="203" y="250"/>
                    </a:lnTo>
                    <a:lnTo>
                      <a:pt x="204" y="250"/>
                    </a:lnTo>
                    <a:lnTo>
                      <a:pt x="204" y="249"/>
                    </a:lnTo>
                    <a:lnTo>
                      <a:pt x="204" y="247"/>
                    </a:lnTo>
                    <a:lnTo>
                      <a:pt x="206" y="246"/>
                    </a:lnTo>
                    <a:lnTo>
                      <a:pt x="206" y="244"/>
                    </a:lnTo>
                    <a:lnTo>
                      <a:pt x="206" y="243"/>
                    </a:lnTo>
                    <a:lnTo>
                      <a:pt x="207" y="243"/>
                    </a:lnTo>
                    <a:lnTo>
                      <a:pt x="207" y="241"/>
                    </a:lnTo>
                    <a:lnTo>
                      <a:pt x="207" y="239"/>
                    </a:lnTo>
                    <a:lnTo>
                      <a:pt x="209" y="239"/>
                    </a:lnTo>
                    <a:lnTo>
                      <a:pt x="209" y="238"/>
                    </a:lnTo>
                    <a:lnTo>
                      <a:pt x="210" y="238"/>
                    </a:lnTo>
                    <a:lnTo>
                      <a:pt x="210" y="236"/>
                    </a:lnTo>
                    <a:lnTo>
                      <a:pt x="212" y="236"/>
                    </a:lnTo>
                    <a:lnTo>
                      <a:pt x="212" y="235"/>
                    </a:lnTo>
                    <a:lnTo>
                      <a:pt x="214" y="235"/>
                    </a:lnTo>
                    <a:lnTo>
                      <a:pt x="215" y="235"/>
                    </a:lnTo>
                    <a:lnTo>
                      <a:pt x="215" y="233"/>
                    </a:lnTo>
                    <a:lnTo>
                      <a:pt x="217" y="233"/>
                    </a:lnTo>
                    <a:lnTo>
                      <a:pt x="218" y="233"/>
                    </a:lnTo>
                    <a:lnTo>
                      <a:pt x="220" y="233"/>
                    </a:lnTo>
                    <a:lnTo>
                      <a:pt x="220" y="231"/>
                    </a:lnTo>
                    <a:lnTo>
                      <a:pt x="222" y="231"/>
                    </a:lnTo>
                    <a:lnTo>
                      <a:pt x="223" y="231"/>
                    </a:lnTo>
                    <a:lnTo>
                      <a:pt x="225" y="231"/>
                    </a:lnTo>
                    <a:lnTo>
                      <a:pt x="226" y="231"/>
                    </a:lnTo>
                    <a:lnTo>
                      <a:pt x="228" y="231"/>
                    </a:lnTo>
                    <a:lnTo>
                      <a:pt x="229" y="231"/>
                    </a:lnTo>
                    <a:lnTo>
                      <a:pt x="231" y="231"/>
                    </a:lnTo>
                    <a:lnTo>
                      <a:pt x="233" y="231"/>
                    </a:lnTo>
                    <a:lnTo>
                      <a:pt x="234" y="233"/>
                    </a:lnTo>
                    <a:lnTo>
                      <a:pt x="236" y="231"/>
                    </a:lnTo>
                    <a:lnTo>
                      <a:pt x="237" y="231"/>
                    </a:lnTo>
                    <a:lnTo>
                      <a:pt x="239" y="231"/>
                    </a:lnTo>
                    <a:lnTo>
                      <a:pt x="241" y="231"/>
                    </a:lnTo>
                    <a:lnTo>
                      <a:pt x="241" y="233"/>
                    </a:lnTo>
                    <a:lnTo>
                      <a:pt x="242" y="233"/>
                    </a:lnTo>
                    <a:lnTo>
                      <a:pt x="242" y="235"/>
                    </a:lnTo>
                    <a:lnTo>
                      <a:pt x="242" y="236"/>
                    </a:lnTo>
                    <a:lnTo>
                      <a:pt x="244" y="238"/>
                    </a:lnTo>
                    <a:lnTo>
                      <a:pt x="244" y="239"/>
                    </a:lnTo>
                    <a:lnTo>
                      <a:pt x="244" y="241"/>
                    </a:lnTo>
                    <a:lnTo>
                      <a:pt x="244" y="243"/>
                    </a:lnTo>
                    <a:lnTo>
                      <a:pt x="245" y="244"/>
                    </a:lnTo>
                    <a:lnTo>
                      <a:pt x="247" y="155"/>
                    </a:lnTo>
                    <a:lnTo>
                      <a:pt x="138" y="155"/>
                    </a:lnTo>
                    <a:lnTo>
                      <a:pt x="0" y="159"/>
                    </a:lnTo>
                    <a:lnTo>
                      <a:pt x="0" y="154"/>
                    </a:lnTo>
                    <a:lnTo>
                      <a:pt x="5" y="35"/>
                    </a:lnTo>
                    <a:lnTo>
                      <a:pt x="6" y="0"/>
                    </a:lnTo>
                    <a:lnTo>
                      <a:pt x="55" y="0"/>
                    </a:lnTo>
                    <a:lnTo>
                      <a:pt x="264" y="0"/>
                    </a:lnTo>
                    <a:lnTo>
                      <a:pt x="309" y="0"/>
                    </a:lnTo>
                    <a:lnTo>
                      <a:pt x="321" y="0"/>
                    </a:lnTo>
                    <a:lnTo>
                      <a:pt x="399" y="0"/>
                    </a:lnTo>
                    <a:close/>
                  </a:path>
                </a:pathLst>
              </a:custGeom>
              <a:solidFill>
                <a:srgbClr val="D3FF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76" name="Freeform 56"/>
              <p:cNvSpPr>
                <a:spLocks/>
              </p:cNvSpPr>
              <p:nvPr/>
            </p:nvSpPr>
            <p:spPr bwMode="auto">
              <a:xfrm>
                <a:off x="3122" y="540"/>
                <a:ext cx="705" cy="488"/>
              </a:xfrm>
              <a:custGeom>
                <a:avLst/>
                <a:gdLst>
                  <a:gd name="T0" fmla="*/ 287 w 705"/>
                  <a:gd name="T1" fmla="*/ 13 h 488"/>
                  <a:gd name="T2" fmla="*/ 328 w 705"/>
                  <a:gd name="T3" fmla="*/ 29 h 488"/>
                  <a:gd name="T4" fmla="*/ 353 w 705"/>
                  <a:gd name="T5" fmla="*/ 40 h 488"/>
                  <a:gd name="T6" fmla="*/ 374 w 705"/>
                  <a:gd name="T7" fmla="*/ 52 h 488"/>
                  <a:gd name="T8" fmla="*/ 410 w 705"/>
                  <a:gd name="T9" fmla="*/ 76 h 488"/>
                  <a:gd name="T10" fmla="*/ 455 w 705"/>
                  <a:gd name="T11" fmla="*/ 98 h 488"/>
                  <a:gd name="T12" fmla="*/ 475 w 705"/>
                  <a:gd name="T13" fmla="*/ 109 h 488"/>
                  <a:gd name="T14" fmla="*/ 501 w 705"/>
                  <a:gd name="T15" fmla="*/ 129 h 488"/>
                  <a:gd name="T16" fmla="*/ 570 w 705"/>
                  <a:gd name="T17" fmla="*/ 165 h 488"/>
                  <a:gd name="T18" fmla="*/ 610 w 705"/>
                  <a:gd name="T19" fmla="*/ 186 h 488"/>
                  <a:gd name="T20" fmla="*/ 651 w 705"/>
                  <a:gd name="T21" fmla="*/ 211 h 488"/>
                  <a:gd name="T22" fmla="*/ 670 w 705"/>
                  <a:gd name="T23" fmla="*/ 247 h 488"/>
                  <a:gd name="T24" fmla="*/ 668 w 705"/>
                  <a:gd name="T25" fmla="*/ 274 h 488"/>
                  <a:gd name="T26" fmla="*/ 665 w 705"/>
                  <a:gd name="T27" fmla="*/ 298 h 488"/>
                  <a:gd name="T28" fmla="*/ 662 w 705"/>
                  <a:gd name="T29" fmla="*/ 322 h 488"/>
                  <a:gd name="T30" fmla="*/ 664 w 705"/>
                  <a:gd name="T31" fmla="*/ 347 h 488"/>
                  <a:gd name="T32" fmla="*/ 665 w 705"/>
                  <a:gd name="T33" fmla="*/ 372 h 488"/>
                  <a:gd name="T34" fmla="*/ 684 w 705"/>
                  <a:gd name="T35" fmla="*/ 382 h 488"/>
                  <a:gd name="T36" fmla="*/ 705 w 705"/>
                  <a:gd name="T37" fmla="*/ 393 h 488"/>
                  <a:gd name="T38" fmla="*/ 699 w 705"/>
                  <a:gd name="T39" fmla="*/ 415 h 488"/>
                  <a:gd name="T40" fmla="*/ 689 w 705"/>
                  <a:gd name="T41" fmla="*/ 437 h 488"/>
                  <a:gd name="T42" fmla="*/ 656 w 705"/>
                  <a:gd name="T43" fmla="*/ 485 h 488"/>
                  <a:gd name="T44" fmla="*/ 629 w 705"/>
                  <a:gd name="T45" fmla="*/ 485 h 488"/>
                  <a:gd name="T46" fmla="*/ 602 w 705"/>
                  <a:gd name="T47" fmla="*/ 485 h 488"/>
                  <a:gd name="T48" fmla="*/ 575 w 705"/>
                  <a:gd name="T49" fmla="*/ 485 h 488"/>
                  <a:gd name="T50" fmla="*/ 548 w 705"/>
                  <a:gd name="T51" fmla="*/ 486 h 488"/>
                  <a:gd name="T52" fmla="*/ 521 w 705"/>
                  <a:gd name="T53" fmla="*/ 486 h 488"/>
                  <a:gd name="T54" fmla="*/ 494 w 705"/>
                  <a:gd name="T55" fmla="*/ 486 h 488"/>
                  <a:gd name="T56" fmla="*/ 474 w 705"/>
                  <a:gd name="T57" fmla="*/ 483 h 488"/>
                  <a:gd name="T58" fmla="*/ 450 w 705"/>
                  <a:gd name="T59" fmla="*/ 467 h 488"/>
                  <a:gd name="T60" fmla="*/ 426 w 705"/>
                  <a:gd name="T61" fmla="*/ 469 h 488"/>
                  <a:gd name="T62" fmla="*/ 413 w 705"/>
                  <a:gd name="T63" fmla="*/ 452 h 488"/>
                  <a:gd name="T64" fmla="*/ 398 w 705"/>
                  <a:gd name="T65" fmla="*/ 437 h 488"/>
                  <a:gd name="T66" fmla="*/ 379 w 705"/>
                  <a:gd name="T67" fmla="*/ 428 h 488"/>
                  <a:gd name="T68" fmla="*/ 364 w 705"/>
                  <a:gd name="T69" fmla="*/ 410 h 488"/>
                  <a:gd name="T70" fmla="*/ 342 w 705"/>
                  <a:gd name="T71" fmla="*/ 404 h 488"/>
                  <a:gd name="T72" fmla="*/ 322 w 705"/>
                  <a:gd name="T73" fmla="*/ 391 h 488"/>
                  <a:gd name="T74" fmla="*/ 299 w 705"/>
                  <a:gd name="T75" fmla="*/ 390 h 488"/>
                  <a:gd name="T76" fmla="*/ 282 w 705"/>
                  <a:gd name="T77" fmla="*/ 374 h 488"/>
                  <a:gd name="T78" fmla="*/ 269 w 705"/>
                  <a:gd name="T79" fmla="*/ 379 h 488"/>
                  <a:gd name="T80" fmla="*/ 244 w 705"/>
                  <a:gd name="T81" fmla="*/ 388 h 488"/>
                  <a:gd name="T82" fmla="*/ 217 w 705"/>
                  <a:gd name="T83" fmla="*/ 390 h 488"/>
                  <a:gd name="T84" fmla="*/ 204 w 705"/>
                  <a:gd name="T85" fmla="*/ 372 h 488"/>
                  <a:gd name="T86" fmla="*/ 195 w 705"/>
                  <a:gd name="T87" fmla="*/ 353 h 488"/>
                  <a:gd name="T88" fmla="*/ 154 w 705"/>
                  <a:gd name="T89" fmla="*/ 360 h 488"/>
                  <a:gd name="T90" fmla="*/ 138 w 705"/>
                  <a:gd name="T91" fmla="*/ 372 h 488"/>
                  <a:gd name="T92" fmla="*/ 116 w 705"/>
                  <a:gd name="T93" fmla="*/ 380 h 488"/>
                  <a:gd name="T94" fmla="*/ 92 w 705"/>
                  <a:gd name="T95" fmla="*/ 387 h 488"/>
                  <a:gd name="T96" fmla="*/ 67 w 705"/>
                  <a:gd name="T97" fmla="*/ 384 h 488"/>
                  <a:gd name="T98" fmla="*/ 49 w 705"/>
                  <a:gd name="T99" fmla="*/ 369 h 488"/>
                  <a:gd name="T100" fmla="*/ 29 w 705"/>
                  <a:gd name="T101" fmla="*/ 358 h 488"/>
                  <a:gd name="T102" fmla="*/ 6 w 705"/>
                  <a:gd name="T103" fmla="*/ 358 h 488"/>
                  <a:gd name="T104" fmla="*/ 3 w 705"/>
                  <a:gd name="T105" fmla="*/ 338 h 488"/>
                  <a:gd name="T106" fmla="*/ 13 w 705"/>
                  <a:gd name="T107" fmla="*/ 334 h 488"/>
                  <a:gd name="T108" fmla="*/ 32 w 705"/>
                  <a:gd name="T109" fmla="*/ 342 h 488"/>
                  <a:gd name="T110" fmla="*/ 38 w 705"/>
                  <a:gd name="T111" fmla="*/ 341 h 488"/>
                  <a:gd name="T112" fmla="*/ 30 w 705"/>
                  <a:gd name="T113" fmla="*/ 323 h 488"/>
                  <a:gd name="T114" fmla="*/ 38 w 705"/>
                  <a:gd name="T115" fmla="*/ 336 h 488"/>
                  <a:gd name="T116" fmla="*/ 46 w 705"/>
                  <a:gd name="T117" fmla="*/ 333 h 488"/>
                  <a:gd name="T118" fmla="*/ 62 w 705"/>
                  <a:gd name="T119" fmla="*/ 342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5" h="488">
                    <a:moveTo>
                      <a:pt x="244" y="0"/>
                    </a:moveTo>
                    <a:lnTo>
                      <a:pt x="244" y="3"/>
                    </a:lnTo>
                    <a:lnTo>
                      <a:pt x="271" y="3"/>
                    </a:lnTo>
                    <a:lnTo>
                      <a:pt x="272" y="5"/>
                    </a:lnTo>
                    <a:lnTo>
                      <a:pt x="274" y="7"/>
                    </a:lnTo>
                    <a:lnTo>
                      <a:pt x="274" y="8"/>
                    </a:lnTo>
                    <a:lnTo>
                      <a:pt x="274" y="10"/>
                    </a:lnTo>
                    <a:lnTo>
                      <a:pt x="274" y="11"/>
                    </a:lnTo>
                    <a:lnTo>
                      <a:pt x="276" y="13"/>
                    </a:lnTo>
                    <a:lnTo>
                      <a:pt x="276" y="14"/>
                    </a:lnTo>
                    <a:lnTo>
                      <a:pt x="277" y="16"/>
                    </a:lnTo>
                    <a:lnTo>
                      <a:pt x="279" y="18"/>
                    </a:lnTo>
                    <a:lnTo>
                      <a:pt x="282" y="18"/>
                    </a:lnTo>
                    <a:lnTo>
                      <a:pt x="284" y="16"/>
                    </a:lnTo>
                    <a:lnTo>
                      <a:pt x="285" y="16"/>
                    </a:lnTo>
                    <a:lnTo>
                      <a:pt x="287" y="14"/>
                    </a:lnTo>
                    <a:lnTo>
                      <a:pt x="287" y="13"/>
                    </a:lnTo>
                    <a:lnTo>
                      <a:pt x="287" y="11"/>
                    </a:lnTo>
                    <a:lnTo>
                      <a:pt x="288" y="11"/>
                    </a:lnTo>
                    <a:lnTo>
                      <a:pt x="290" y="11"/>
                    </a:lnTo>
                    <a:lnTo>
                      <a:pt x="291" y="10"/>
                    </a:lnTo>
                    <a:lnTo>
                      <a:pt x="295" y="13"/>
                    </a:lnTo>
                    <a:lnTo>
                      <a:pt x="314" y="22"/>
                    </a:lnTo>
                    <a:lnTo>
                      <a:pt x="320" y="27"/>
                    </a:lnTo>
                    <a:lnTo>
                      <a:pt x="322" y="26"/>
                    </a:lnTo>
                    <a:lnTo>
                      <a:pt x="322" y="24"/>
                    </a:lnTo>
                    <a:lnTo>
                      <a:pt x="322" y="22"/>
                    </a:lnTo>
                    <a:lnTo>
                      <a:pt x="320" y="22"/>
                    </a:lnTo>
                    <a:lnTo>
                      <a:pt x="322" y="22"/>
                    </a:lnTo>
                    <a:lnTo>
                      <a:pt x="323" y="22"/>
                    </a:lnTo>
                    <a:lnTo>
                      <a:pt x="325" y="24"/>
                    </a:lnTo>
                    <a:lnTo>
                      <a:pt x="328" y="26"/>
                    </a:lnTo>
                    <a:lnTo>
                      <a:pt x="328" y="27"/>
                    </a:lnTo>
                    <a:lnTo>
                      <a:pt x="328" y="29"/>
                    </a:lnTo>
                    <a:lnTo>
                      <a:pt x="328" y="30"/>
                    </a:lnTo>
                    <a:lnTo>
                      <a:pt x="339" y="37"/>
                    </a:lnTo>
                    <a:lnTo>
                      <a:pt x="339" y="35"/>
                    </a:lnTo>
                    <a:lnTo>
                      <a:pt x="339" y="33"/>
                    </a:lnTo>
                    <a:lnTo>
                      <a:pt x="341" y="33"/>
                    </a:lnTo>
                    <a:lnTo>
                      <a:pt x="342" y="33"/>
                    </a:lnTo>
                    <a:lnTo>
                      <a:pt x="342" y="35"/>
                    </a:lnTo>
                    <a:lnTo>
                      <a:pt x="344" y="35"/>
                    </a:lnTo>
                    <a:lnTo>
                      <a:pt x="345" y="35"/>
                    </a:lnTo>
                    <a:lnTo>
                      <a:pt x="345" y="37"/>
                    </a:lnTo>
                    <a:lnTo>
                      <a:pt x="347" y="37"/>
                    </a:lnTo>
                    <a:lnTo>
                      <a:pt x="349" y="37"/>
                    </a:lnTo>
                    <a:lnTo>
                      <a:pt x="349" y="38"/>
                    </a:lnTo>
                    <a:lnTo>
                      <a:pt x="350" y="38"/>
                    </a:lnTo>
                    <a:lnTo>
                      <a:pt x="352" y="38"/>
                    </a:lnTo>
                    <a:lnTo>
                      <a:pt x="352" y="40"/>
                    </a:lnTo>
                    <a:lnTo>
                      <a:pt x="353" y="40"/>
                    </a:lnTo>
                    <a:lnTo>
                      <a:pt x="355" y="41"/>
                    </a:lnTo>
                    <a:lnTo>
                      <a:pt x="356" y="41"/>
                    </a:lnTo>
                    <a:lnTo>
                      <a:pt x="356" y="43"/>
                    </a:lnTo>
                    <a:lnTo>
                      <a:pt x="358" y="43"/>
                    </a:lnTo>
                    <a:lnTo>
                      <a:pt x="360" y="45"/>
                    </a:lnTo>
                    <a:lnTo>
                      <a:pt x="361" y="45"/>
                    </a:lnTo>
                    <a:lnTo>
                      <a:pt x="363" y="46"/>
                    </a:lnTo>
                    <a:lnTo>
                      <a:pt x="364" y="46"/>
                    </a:lnTo>
                    <a:lnTo>
                      <a:pt x="364" y="48"/>
                    </a:lnTo>
                    <a:lnTo>
                      <a:pt x="366" y="48"/>
                    </a:lnTo>
                    <a:lnTo>
                      <a:pt x="368" y="48"/>
                    </a:lnTo>
                    <a:lnTo>
                      <a:pt x="368" y="49"/>
                    </a:lnTo>
                    <a:lnTo>
                      <a:pt x="369" y="49"/>
                    </a:lnTo>
                    <a:lnTo>
                      <a:pt x="371" y="49"/>
                    </a:lnTo>
                    <a:lnTo>
                      <a:pt x="371" y="51"/>
                    </a:lnTo>
                    <a:lnTo>
                      <a:pt x="372" y="51"/>
                    </a:lnTo>
                    <a:lnTo>
                      <a:pt x="374" y="52"/>
                    </a:lnTo>
                    <a:lnTo>
                      <a:pt x="375" y="52"/>
                    </a:lnTo>
                    <a:lnTo>
                      <a:pt x="375" y="54"/>
                    </a:lnTo>
                    <a:lnTo>
                      <a:pt x="377" y="54"/>
                    </a:lnTo>
                    <a:lnTo>
                      <a:pt x="379" y="54"/>
                    </a:lnTo>
                    <a:lnTo>
                      <a:pt x="379" y="56"/>
                    </a:lnTo>
                    <a:lnTo>
                      <a:pt x="380" y="56"/>
                    </a:lnTo>
                    <a:lnTo>
                      <a:pt x="382" y="56"/>
                    </a:lnTo>
                    <a:lnTo>
                      <a:pt x="382" y="57"/>
                    </a:lnTo>
                    <a:lnTo>
                      <a:pt x="383" y="57"/>
                    </a:lnTo>
                    <a:lnTo>
                      <a:pt x="385" y="59"/>
                    </a:lnTo>
                    <a:lnTo>
                      <a:pt x="387" y="59"/>
                    </a:lnTo>
                    <a:lnTo>
                      <a:pt x="388" y="60"/>
                    </a:lnTo>
                    <a:lnTo>
                      <a:pt x="390" y="60"/>
                    </a:lnTo>
                    <a:lnTo>
                      <a:pt x="388" y="62"/>
                    </a:lnTo>
                    <a:lnTo>
                      <a:pt x="387" y="64"/>
                    </a:lnTo>
                    <a:lnTo>
                      <a:pt x="410" y="78"/>
                    </a:lnTo>
                    <a:lnTo>
                      <a:pt x="410" y="76"/>
                    </a:lnTo>
                    <a:lnTo>
                      <a:pt x="412" y="75"/>
                    </a:lnTo>
                    <a:lnTo>
                      <a:pt x="412" y="73"/>
                    </a:lnTo>
                    <a:lnTo>
                      <a:pt x="417" y="76"/>
                    </a:lnTo>
                    <a:lnTo>
                      <a:pt x="428" y="83"/>
                    </a:lnTo>
                    <a:lnTo>
                      <a:pt x="428" y="84"/>
                    </a:lnTo>
                    <a:lnTo>
                      <a:pt x="428" y="86"/>
                    </a:lnTo>
                    <a:lnTo>
                      <a:pt x="428" y="87"/>
                    </a:lnTo>
                    <a:lnTo>
                      <a:pt x="431" y="89"/>
                    </a:lnTo>
                    <a:lnTo>
                      <a:pt x="432" y="89"/>
                    </a:lnTo>
                    <a:lnTo>
                      <a:pt x="447" y="98"/>
                    </a:lnTo>
                    <a:lnTo>
                      <a:pt x="450" y="100"/>
                    </a:lnTo>
                    <a:lnTo>
                      <a:pt x="450" y="97"/>
                    </a:lnTo>
                    <a:lnTo>
                      <a:pt x="448" y="95"/>
                    </a:lnTo>
                    <a:lnTo>
                      <a:pt x="450" y="95"/>
                    </a:lnTo>
                    <a:lnTo>
                      <a:pt x="451" y="97"/>
                    </a:lnTo>
                    <a:lnTo>
                      <a:pt x="453" y="97"/>
                    </a:lnTo>
                    <a:lnTo>
                      <a:pt x="455" y="98"/>
                    </a:lnTo>
                    <a:lnTo>
                      <a:pt x="455" y="100"/>
                    </a:lnTo>
                    <a:lnTo>
                      <a:pt x="455" y="102"/>
                    </a:lnTo>
                    <a:lnTo>
                      <a:pt x="458" y="103"/>
                    </a:lnTo>
                    <a:lnTo>
                      <a:pt x="458" y="105"/>
                    </a:lnTo>
                    <a:lnTo>
                      <a:pt x="459" y="103"/>
                    </a:lnTo>
                    <a:lnTo>
                      <a:pt x="461" y="103"/>
                    </a:lnTo>
                    <a:lnTo>
                      <a:pt x="461" y="102"/>
                    </a:lnTo>
                    <a:lnTo>
                      <a:pt x="464" y="103"/>
                    </a:lnTo>
                    <a:lnTo>
                      <a:pt x="466" y="103"/>
                    </a:lnTo>
                    <a:lnTo>
                      <a:pt x="466" y="105"/>
                    </a:lnTo>
                    <a:lnTo>
                      <a:pt x="467" y="105"/>
                    </a:lnTo>
                    <a:lnTo>
                      <a:pt x="469" y="106"/>
                    </a:lnTo>
                    <a:lnTo>
                      <a:pt x="470" y="106"/>
                    </a:lnTo>
                    <a:lnTo>
                      <a:pt x="472" y="108"/>
                    </a:lnTo>
                    <a:lnTo>
                      <a:pt x="474" y="108"/>
                    </a:lnTo>
                    <a:lnTo>
                      <a:pt x="474" y="109"/>
                    </a:lnTo>
                    <a:lnTo>
                      <a:pt x="475" y="109"/>
                    </a:lnTo>
                    <a:lnTo>
                      <a:pt x="477" y="109"/>
                    </a:lnTo>
                    <a:lnTo>
                      <a:pt x="477" y="111"/>
                    </a:lnTo>
                    <a:lnTo>
                      <a:pt x="478" y="111"/>
                    </a:lnTo>
                    <a:lnTo>
                      <a:pt x="478" y="113"/>
                    </a:lnTo>
                    <a:lnTo>
                      <a:pt x="480" y="113"/>
                    </a:lnTo>
                    <a:lnTo>
                      <a:pt x="482" y="113"/>
                    </a:lnTo>
                    <a:lnTo>
                      <a:pt x="482" y="114"/>
                    </a:lnTo>
                    <a:lnTo>
                      <a:pt x="483" y="114"/>
                    </a:lnTo>
                    <a:lnTo>
                      <a:pt x="485" y="114"/>
                    </a:lnTo>
                    <a:lnTo>
                      <a:pt x="485" y="116"/>
                    </a:lnTo>
                    <a:lnTo>
                      <a:pt x="486" y="116"/>
                    </a:lnTo>
                    <a:lnTo>
                      <a:pt x="491" y="117"/>
                    </a:lnTo>
                    <a:lnTo>
                      <a:pt x="491" y="119"/>
                    </a:lnTo>
                    <a:lnTo>
                      <a:pt x="494" y="121"/>
                    </a:lnTo>
                    <a:lnTo>
                      <a:pt x="494" y="122"/>
                    </a:lnTo>
                    <a:lnTo>
                      <a:pt x="494" y="124"/>
                    </a:lnTo>
                    <a:lnTo>
                      <a:pt x="501" y="129"/>
                    </a:lnTo>
                    <a:lnTo>
                      <a:pt x="501" y="130"/>
                    </a:lnTo>
                    <a:lnTo>
                      <a:pt x="520" y="140"/>
                    </a:lnTo>
                    <a:lnTo>
                      <a:pt x="523" y="136"/>
                    </a:lnTo>
                    <a:lnTo>
                      <a:pt x="524" y="138"/>
                    </a:lnTo>
                    <a:lnTo>
                      <a:pt x="526" y="138"/>
                    </a:lnTo>
                    <a:lnTo>
                      <a:pt x="529" y="140"/>
                    </a:lnTo>
                    <a:lnTo>
                      <a:pt x="532" y="143"/>
                    </a:lnTo>
                    <a:lnTo>
                      <a:pt x="551" y="152"/>
                    </a:lnTo>
                    <a:lnTo>
                      <a:pt x="551" y="154"/>
                    </a:lnTo>
                    <a:lnTo>
                      <a:pt x="553" y="154"/>
                    </a:lnTo>
                    <a:lnTo>
                      <a:pt x="559" y="157"/>
                    </a:lnTo>
                    <a:lnTo>
                      <a:pt x="561" y="159"/>
                    </a:lnTo>
                    <a:lnTo>
                      <a:pt x="562" y="159"/>
                    </a:lnTo>
                    <a:lnTo>
                      <a:pt x="562" y="160"/>
                    </a:lnTo>
                    <a:lnTo>
                      <a:pt x="567" y="162"/>
                    </a:lnTo>
                    <a:lnTo>
                      <a:pt x="570" y="163"/>
                    </a:lnTo>
                    <a:lnTo>
                      <a:pt x="570" y="165"/>
                    </a:lnTo>
                    <a:lnTo>
                      <a:pt x="572" y="165"/>
                    </a:lnTo>
                    <a:lnTo>
                      <a:pt x="573" y="165"/>
                    </a:lnTo>
                    <a:lnTo>
                      <a:pt x="577" y="167"/>
                    </a:lnTo>
                    <a:lnTo>
                      <a:pt x="580" y="170"/>
                    </a:lnTo>
                    <a:lnTo>
                      <a:pt x="581" y="170"/>
                    </a:lnTo>
                    <a:lnTo>
                      <a:pt x="585" y="173"/>
                    </a:lnTo>
                    <a:lnTo>
                      <a:pt x="588" y="174"/>
                    </a:lnTo>
                    <a:lnTo>
                      <a:pt x="591" y="174"/>
                    </a:lnTo>
                    <a:lnTo>
                      <a:pt x="591" y="176"/>
                    </a:lnTo>
                    <a:lnTo>
                      <a:pt x="592" y="176"/>
                    </a:lnTo>
                    <a:lnTo>
                      <a:pt x="594" y="178"/>
                    </a:lnTo>
                    <a:lnTo>
                      <a:pt x="596" y="178"/>
                    </a:lnTo>
                    <a:lnTo>
                      <a:pt x="596" y="179"/>
                    </a:lnTo>
                    <a:lnTo>
                      <a:pt x="597" y="179"/>
                    </a:lnTo>
                    <a:lnTo>
                      <a:pt x="599" y="179"/>
                    </a:lnTo>
                    <a:lnTo>
                      <a:pt x="605" y="184"/>
                    </a:lnTo>
                    <a:lnTo>
                      <a:pt x="610" y="186"/>
                    </a:lnTo>
                    <a:lnTo>
                      <a:pt x="611" y="187"/>
                    </a:lnTo>
                    <a:lnTo>
                      <a:pt x="613" y="189"/>
                    </a:lnTo>
                    <a:lnTo>
                      <a:pt x="615" y="189"/>
                    </a:lnTo>
                    <a:lnTo>
                      <a:pt x="616" y="190"/>
                    </a:lnTo>
                    <a:lnTo>
                      <a:pt x="619" y="190"/>
                    </a:lnTo>
                    <a:lnTo>
                      <a:pt x="621" y="193"/>
                    </a:lnTo>
                    <a:lnTo>
                      <a:pt x="623" y="193"/>
                    </a:lnTo>
                    <a:lnTo>
                      <a:pt x="624" y="193"/>
                    </a:lnTo>
                    <a:lnTo>
                      <a:pt x="624" y="195"/>
                    </a:lnTo>
                    <a:lnTo>
                      <a:pt x="626" y="195"/>
                    </a:lnTo>
                    <a:lnTo>
                      <a:pt x="642" y="205"/>
                    </a:lnTo>
                    <a:lnTo>
                      <a:pt x="646" y="208"/>
                    </a:lnTo>
                    <a:lnTo>
                      <a:pt x="649" y="208"/>
                    </a:lnTo>
                    <a:lnTo>
                      <a:pt x="649" y="209"/>
                    </a:lnTo>
                    <a:lnTo>
                      <a:pt x="651" y="209"/>
                    </a:lnTo>
                    <a:lnTo>
                      <a:pt x="653" y="209"/>
                    </a:lnTo>
                    <a:lnTo>
                      <a:pt x="651" y="211"/>
                    </a:lnTo>
                    <a:lnTo>
                      <a:pt x="648" y="212"/>
                    </a:lnTo>
                    <a:lnTo>
                      <a:pt x="672" y="225"/>
                    </a:lnTo>
                    <a:lnTo>
                      <a:pt x="672" y="227"/>
                    </a:lnTo>
                    <a:lnTo>
                      <a:pt x="672" y="228"/>
                    </a:lnTo>
                    <a:lnTo>
                      <a:pt x="672" y="230"/>
                    </a:lnTo>
                    <a:lnTo>
                      <a:pt x="672" y="231"/>
                    </a:lnTo>
                    <a:lnTo>
                      <a:pt x="672" y="233"/>
                    </a:lnTo>
                    <a:lnTo>
                      <a:pt x="672" y="235"/>
                    </a:lnTo>
                    <a:lnTo>
                      <a:pt x="672" y="236"/>
                    </a:lnTo>
                    <a:lnTo>
                      <a:pt x="672" y="238"/>
                    </a:lnTo>
                    <a:lnTo>
                      <a:pt x="672" y="239"/>
                    </a:lnTo>
                    <a:lnTo>
                      <a:pt x="672" y="241"/>
                    </a:lnTo>
                    <a:lnTo>
                      <a:pt x="672" y="243"/>
                    </a:lnTo>
                    <a:lnTo>
                      <a:pt x="672" y="244"/>
                    </a:lnTo>
                    <a:lnTo>
                      <a:pt x="672" y="246"/>
                    </a:lnTo>
                    <a:lnTo>
                      <a:pt x="670" y="246"/>
                    </a:lnTo>
                    <a:lnTo>
                      <a:pt x="670" y="247"/>
                    </a:lnTo>
                    <a:lnTo>
                      <a:pt x="670" y="249"/>
                    </a:lnTo>
                    <a:lnTo>
                      <a:pt x="670" y="250"/>
                    </a:lnTo>
                    <a:lnTo>
                      <a:pt x="670" y="252"/>
                    </a:lnTo>
                    <a:lnTo>
                      <a:pt x="670" y="254"/>
                    </a:lnTo>
                    <a:lnTo>
                      <a:pt x="670" y="255"/>
                    </a:lnTo>
                    <a:lnTo>
                      <a:pt x="670" y="257"/>
                    </a:lnTo>
                    <a:lnTo>
                      <a:pt x="670" y="258"/>
                    </a:lnTo>
                    <a:lnTo>
                      <a:pt x="670" y="260"/>
                    </a:lnTo>
                    <a:lnTo>
                      <a:pt x="670" y="262"/>
                    </a:lnTo>
                    <a:lnTo>
                      <a:pt x="668" y="263"/>
                    </a:lnTo>
                    <a:lnTo>
                      <a:pt x="668" y="265"/>
                    </a:lnTo>
                    <a:lnTo>
                      <a:pt x="668" y="266"/>
                    </a:lnTo>
                    <a:lnTo>
                      <a:pt x="668" y="268"/>
                    </a:lnTo>
                    <a:lnTo>
                      <a:pt x="668" y="269"/>
                    </a:lnTo>
                    <a:lnTo>
                      <a:pt x="668" y="271"/>
                    </a:lnTo>
                    <a:lnTo>
                      <a:pt x="668" y="273"/>
                    </a:lnTo>
                    <a:lnTo>
                      <a:pt x="668" y="274"/>
                    </a:lnTo>
                    <a:lnTo>
                      <a:pt x="667" y="274"/>
                    </a:lnTo>
                    <a:lnTo>
                      <a:pt x="667" y="276"/>
                    </a:lnTo>
                    <a:lnTo>
                      <a:pt x="667" y="277"/>
                    </a:lnTo>
                    <a:lnTo>
                      <a:pt x="667" y="279"/>
                    </a:lnTo>
                    <a:lnTo>
                      <a:pt x="667" y="281"/>
                    </a:lnTo>
                    <a:lnTo>
                      <a:pt x="667" y="282"/>
                    </a:lnTo>
                    <a:lnTo>
                      <a:pt x="667" y="284"/>
                    </a:lnTo>
                    <a:lnTo>
                      <a:pt x="667" y="285"/>
                    </a:lnTo>
                    <a:lnTo>
                      <a:pt x="667" y="287"/>
                    </a:lnTo>
                    <a:lnTo>
                      <a:pt x="665" y="287"/>
                    </a:lnTo>
                    <a:lnTo>
                      <a:pt x="665" y="288"/>
                    </a:lnTo>
                    <a:lnTo>
                      <a:pt x="665" y="290"/>
                    </a:lnTo>
                    <a:lnTo>
                      <a:pt x="665" y="292"/>
                    </a:lnTo>
                    <a:lnTo>
                      <a:pt x="665" y="293"/>
                    </a:lnTo>
                    <a:lnTo>
                      <a:pt x="665" y="295"/>
                    </a:lnTo>
                    <a:lnTo>
                      <a:pt x="665" y="296"/>
                    </a:lnTo>
                    <a:lnTo>
                      <a:pt x="665" y="298"/>
                    </a:lnTo>
                    <a:lnTo>
                      <a:pt x="665" y="300"/>
                    </a:lnTo>
                    <a:lnTo>
                      <a:pt x="664" y="300"/>
                    </a:lnTo>
                    <a:lnTo>
                      <a:pt x="664" y="301"/>
                    </a:lnTo>
                    <a:lnTo>
                      <a:pt x="664" y="303"/>
                    </a:lnTo>
                    <a:lnTo>
                      <a:pt x="664" y="304"/>
                    </a:lnTo>
                    <a:lnTo>
                      <a:pt x="664" y="306"/>
                    </a:lnTo>
                    <a:lnTo>
                      <a:pt x="664" y="307"/>
                    </a:lnTo>
                    <a:lnTo>
                      <a:pt x="664" y="309"/>
                    </a:lnTo>
                    <a:lnTo>
                      <a:pt x="664" y="311"/>
                    </a:lnTo>
                    <a:lnTo>
                      <a:pt x="664" y="312"/>
                    </a:lnTo>
                    <a:lnTo>
                      <a:pt x="664" y="314"/>
                    </a:lnTo>
                    <a:lnTo>
                      <a:pt x="662" y="314"/>
                    </a:lnTo>
                    <a:lnTo>
                      <a:pt x="662" y="315"/>
                    </a:lnTo>
                    <a:lnTo>
                      <a:pt x="662" y="317"/>
                    </a:lnTo>
                    <a:lnTo>
                      <a:pt x="662" y="319"/>
                    </a:lnTo>
                    <a:lnTo>
                      <a:pt x="662" y="320"/>
                    </a:lnTo>
                    <a:lnTo>
                      <a:pt x="662" y="322"/>
                    </a:lnTo>
                    <a:lnTo>
                      <a:pt x="662" y="323"/>
                    </a:lnTo>
                    <a:lnTo>
                      <a:pt x="662" y="325"/>
                    </a:lnTo>
                    <a:lnTo>
                      <a:pt x="662" y="327"/>
                    </a:lnTo>
                    <a:lnTo>
                      <a:pt x="664" y="327"/>
                    </a:lnTo>
                    <a:lnTo>
                      <a:pt x="664" y="328"/>
                    </a:lnTo>
                    <a:lnTo>
                      <a:pt x="664" y="330"/>
                    </a:lnTo>
                    <a:lnTo>
                      <a:pt x="664" y="331"/>
                    </a:lnTo>
                    <a:lnTo>
                      <a:pt x="664" y="333"/>
                    </a:lnTo>
                    <a:lnTo>
                      <a:pt x="664" y="334"/>
                    </a:lnTo>
                    <a:lnTo>
                      <a:pt x="664" y="336"/>
                    </a:lnTo>
                    <a:lnTo>
                      <a:pt x="664" y="338"/>
                    </a:lnTo>
                    <a:lnTo>
                      <a:pt x="664" y="339"/>
                    </a:lnTo>
                    <a:lnTo>
                      <a:pt x="664" y="341"/>
                    </a:lnTo>
                    <a:lnTo>
                      <a:pt x="664" y="342"/>
                    </a:lnTo>
                    <a:lnTo>
                      <a:pt x="664" y="344"/>
                    </a:lnTo>
                    <a:lnTo>
                      <a:pt x="664" y="346"/>
                    </a:lnTo>
                    <a:lnTo>
                      <a:pt x="664" y="347"/>
                    </a:lnTo>
                    <a:lnTo>
                      <a:pt x="664" y="349"/>
                    </a:lnTo>
                    <a:lnTo>
                      <a:pt x="664" y="350"/>
                    </a:lnTo>
                    <a:lnTo>
                      <a:pt x="664" y="352"/>
                    </a:lnTo>
                    <a:lnTo>
                      <a:pt x="665" y="352"/>
                    </a:lnTo>
                    <a:lnTo>
                      <a:pt x="665" y="353"/>
                    </a:lnTo>
                    <a:lnTo>
                      <a:pt x="665" y="355"/>
                    </a:lnTo>
                    <a:lnTo>
                      <a:pt x="665" y="357"/>
                    </a:lnTo>
                    <a:lnTo>
                      <a:pt x="665" y="358"/>
                    </a:lnTo>
                    <a:lnTo>
                      <a:pt x="665" y="360"/>
                    </a:lnTo>
                    <a:lnTo>
                      <a:pt x="665" y="361"/>
                    </a:lnTo>
                    <a:lnTo>
                      <a:pt x="665" y="363"/>
                    </a:lnTo>
                    <a:lnTo>
                      <a:pt x="665" y="365"/>
                    </a:lnTo>
                    <a:lnTo>
                      <a:pt x="665" y="366"/>
                    </a:lnTo>
                    <a:lnTo>
                      <a:pt x="665" y="368"/>
                    </a:lnTo>
                    <a:lnTo>
                      <a:pt x="665" y="369"/>
                    </a:lnTo>
                    <a:lnTo>
                      <a:pt x="665" y="371"/>
                    </a:lnTo>
                    <a:lnTo>
                      <a:pt x="665" y="372"/>
                    </a:lnTo>
                    <a:lnTo>
                      <a:pt x="665" y="374"/>
                    </a:lnTo>
                    <a:lnTo>
                      <a:pt x="665" y="376"/>
                    </a:lnTo>
                    <a:lnTo>
                      <a:pt x="667" y="376"/>
                    </a:lnTo>
                    <a:lnTo>
                      <a:pt x="668" y="377"/>
                    </a:lnTo>
                    <a:lnTo>
                      <a:pt x="670" y="377"/>
                    </a:lnTo>
                    <a:lnTo>
                      <a:pt x="672" y="377"/>
                    </a:lnTo>
                    <a:lnTo>
                      <a:pt x="672" y="379"/>
                    </a:lnTo>
                    <a:lnTo>
                      <a:pt x="673" y="379"/>
                    </a:lnTo>
                    <a:lnTo>
                      <a:pt x="675" y="379"/>
                    </a:lnTo>
                    <a:lnTo>
                      <a:pt x="676" y="379"/>
                    </a:lnTo>
                    <a:lnTo>
                      <a:pt x="676" y="380"/>
                    </a:lnTo>
                    <a:lnTo>
                      <a:pt x="678" y="380"/>
                    </a:lnTo>
                    <a:lnTo>
                      <a:pt x="680" y="380"/>
                    </a:lnTo>
                    <a:lnTo>
                      <a:pt x="681" y="380"/>
                    </a:lnTo>
                    <a:lnTo>
                      <a:pt x="681" y="382"/>
                    </a:lnTo>
                    <a:lnTo>
                      <a:pt x="683" y="382"/>
                    </a:lnTo>
                    <a:lnTo>
                      <a:pt x="684" y="382"/>
                    </a:lnTo>
                    <a:lnTo>
                      <a:pt x="686" y="384"/>
                    </a:lnTo>
                    <a:lnTo>
                      <a:pt x="687" y="384"/>
                    </a:lnTo>
                    <a:lnTo>
                      <a:pt x="689" y="384"/>
                    </a:lnTo>
                    <a:lnTo>
                      <a:pt x="691" y="385"/>
                    </a:lnTo>
                    <a:lnTo>
                      <a:pt x="692" y="385"/>
                    </a:lnTo>
                    <a:lnTo>
                      <a:pt x="694" y="385"/>
                    </a:lnTo>
                    <a:lnTo>
                      <a:pt x="695" y="385"/>
                    </a:lnTo>
                    <a:lnTo>
                      <a:pt x="697" y="385"/>
                    </a:lnTo>
                    <a:lnTo>
                      <a:pt x="697" y="387"/>
                    </a:lnTo>
                    <a:lnTo>
                      <a:pt x="699" y="387"/>
                    </a:lnTo>
                    <a:lnTo>
                      <a:pt x="700" y="387"/>
                    </a:lnTo>
                    <a:lnTo>
                      <a:pt x="702" y="387"/>
                    </a:lnTo>
                    <a:lnTo>
                      <a:pt x="703" y="387"/>
                    </a:lnTo>
                    <a:lnTo>
                      <a:pt x="705" y="388"/>
                    </a:lnTo>
                    <a:lnTo>
                      <a:pt x="705" y="390"/>
                    </a:lnTo>
                    <a:lnTo>
                      <a:pt x="705" y="391"/>
                    </a:lnTo>
                    <a:lnTo>
                      <a:pt x="705" y="393"/>
                    </a:lnTo>
                    <a:lnTo>
                      <a:pt x="703" y="393"/>
                    </a:lnTo>
                    <a:lnTo>
                      <a:pt x="703" y="395"/>
                    </a:lnTo>
                    <a:lnTo>
                      <a:pt x="703" y="396"/>
                    </a:lnTo>
                    <a:lnTo>
                      <a:pt x="703" y="398"/>
                    </a:lnTo>
                    <a:lnTo>
                      <a:pt x="703" y="399"/>
                    </a:lnTo>
                    <a:lnTo>
                      <a:pt x="703" y="401"/>
                    </a:lnTo>
                    <a:lnTo>
                      <a:pt x="702" y="401"/>
                    </a:lnTo>
                    <a:lnTo>
                      <a:pt x="702" y="403"/>
                    </a:lnTo>
                    <a:lnTo>
                      <a:pt x="702" y="404"/>
                    </a:lnTo>
                    <a:lnTo>
                      <a:pt x="702" y="406"/>
                    </a:lnTo>
                    <a:lnTo>
                      <a:pt x="702" y="407"/>
                    </a:lnTo>
                    <a:lnTo>
                      <a:pt x="702" y="409"/>
                    </a:lnTo>
                    <a:lnTo>
                      <a:pt x="700" y="410"/>
                    </a:lnTo>
                    <a:lnTo>
                      <a:pt x="700" y="412"/>
                    </a:lnTo>
                    <a:lnTo>
                      <a:pt x="700" y="414"/>
                    </a:lnTo>
                    <a:lnTo>
                      <a:pt x="699" y="414"/>
                    </a:lnTo>
                    <a:lnTo>
                      <a:pt x="699" y="415"/>
                    </a:lnTo>
                    <a:lnTo>
                      <a:pt x="699" y="417"/>
                    </a:lnTo>
                    <a:lnTo>
                      <a:pt x="697" y="418"/>
                    </a:lnTo>
                    <a:lnTo>
                      <a:pt x="697" y="420"/>
                    </a:lnTo>
                    <a:lnTo>
                      <a:pt x="697" y="422"/>
                    </a:lnTo>
                    <a:lnTo>
                      <a:pt x="695" y="422"/>
                    </a:lnTo>
                    <a:lnTo>
                      <a:pt x="695" y="423"/>
                    </a:lnTo>
                    <a:lnTo>
                      <a:pt x="695" y="425"/>
                    </a:lnTo>
                    <a:lnTo>
                      <a:pt x="694" y="426"/>
                    </a:lnTo>
                    <a:lnTo>
                      <a:pt x="694" y="428"/>
                    </a:lnTo>
                    <a:lnTo>
                      <a:pt x="694" y="429"/>
                    </a:lnTo>
                    <a:lnTo>
                      <a:pt x="692" y="429"/>
                    </a:lnTo>
                    <a:lnTo>
                      <a:pt x="692" y="431"/>
                    </a:lnTo>
                    <a:lnTo>
                      <a:pt x="692" y="433"/>
                    </a:lnTo>
                    <a:lnTo>
                      <a:pt x="691" y="434"/>
                    </a:lnTo>
                    <a:lnTo>
                      <a:pt x="691" y="436"/>
                    </a:lnTo>
                    <a:lnTo>
                      <a:pt x="691" y="437"/>
                    </a:lnTo>
                    <a:lnTo>
                      <a:pt x="689" y="437"/>
                    </a:lnTo>
                    <a:lnTo>
                      <a:pt x="689" y="439"/>
                    </a:lnTo>
                    <a:lnTo>
                      <a:pt x="689" y="441"/>
                    </a:lnTo>
                    <a:lnTo>
                      <a:pt x="687" y="441"/>
                    </a:lnTo>
                    <a:lnTo>
                      <a:pt x="687" y="442"/>
                    </a:lnTo>
                    <a:lnTo>
                      <a:pt x="687" y="444"/>
                    </a:lnTo>
                    <a:lnTo>
                      <a:pt x="686" y="444"/>
                    </a:lnTo>
                    <a:lnTo>
                      <a:pt x="684" y="444"/>
                    </a:lnTo>
                    <a:lnTo>
                      <a:pt x="683" y="444"/>
                    </a:lnTo>
                    <a:lnTo>
                      <a:pt x="681" y="444"/>
                    </a:lnTo>
                    <a:lnTo>
                      <a:pt x="680" y="444"/>
                    </a:lnTo>
                    <a:lnTo>
                      <a:pt x="678" y="444"/>
                    </a:lnTo>
                    <a:lnTo>
                      <a:pt x="676" y="444"/>
                    </a:lnTo>
                    <a:lnTo>
                      <a:pt x="675" y="444"/>
                    </a:lnTo>
                    <a:lnTo>
                      <a:pt x="673" y="444"/>
                    </a:lnTo>
                    <a:lnTo>
                      <a:pt x="672" y="444"/>
                    </a:lnTo>
                    <a:lnTo>
                      <a:pt x="657" y="485"/>
                    </a:lnTo>
                    <a:lnTo>
                      <a:pt x="656" y="485"/>
                    </a:lnTo>
                    <a:lnTo>
                      <a:pt x="654" y="485"/>
                    </a:lnTo>
                    <a:lnTo>
                      <a:pt x="653" y="485"/>
                    </a:lnTo>
                    <a:lnTo>
                      <a:pt x="651" y="485"/>
                    </a:lnTo>
                    <a:lnTo>
                      <a:pt x="649" y="485"/>
                    </a:lnTo>
                    <a:lnTo>
                      <a:pt x="648" y="485"/>
                    </a:lnTo>
                    <a:lnTo>
                      <a:pt x="646" y="485"/>
                    </a:lnTo>
                    <a:lnTo>
                      <a:pt x="645" y="485"/>
                    </a:lnTo>
                    <a:lnTo>
                      <a:pt x="643" y="485"/>
                    </a:lnTo>
                    <a:lnTo>
                      <a:pt x="642" y="485"/>
                    </a:lnTo>
                    <a:lnTo>
                      <a:pt x="640" y="485"/>
                    </a:lnTo>
                    <a:lnTo>
                      <a:pt x="638" y="485"/>
                    </a:lnTo>
                    <a:lnTo>
                      <a:pt x="637" y="485"/>
                    </a:lnTo>
                    <a:lnTo>
                      <a:pt x="635" y="485"/>
                    </a:lnTo>
                    <a:lnTo>
                      <a:pt x="634" y="485"/>
                    </a:lnTo>
                    <a:lnTo>
                      <a:pt x="632" y="485"/>
                    </a:lnTo>
                    <a:lnTo>
                      <a:pt x="630" y="485"/>
                    </a:lnTo>
                    <a:lnTo>
                      <a:pt x="629" y="485"/>
                    </a:lnTo>
                    <a:lnTo>
                      <a:pt x="627" y="485"/>
                    </a:lnTo>
                    <a:lnTo>
                      <a:pt x="626" y="485"/>
                    </a:lnTo>
                    <a:lnTo>
                      <a:pt x="624" y="485"/>
                    </a:lnTo>
                    <a:lnTo>
                      <a:pt x="623" y="485"/>
                    </a:lnTo>
                    <a:lnTo>
                      <a:pt x="621" y="485"/>
                    </a:lnTo>
                    <a:lnTo>
                      <a:pt x="619" y="485"/>
                    </a:lnTo>
                    <a:lnTo>
                      <a:pt x="618" y="485"/>
                    </a:lnTo>
                    <a:lnTo>
                      <a:pt x="616" y="485"/>
                    </a:lnTo>
                    <a:lnTo>
                      <a:pt x="615" y="485"/>
                    </a:lnTo>
                    <a:lnTo>
                      <a:pt x="613" y="485"/>
                    </a:lnTo>
                    <a:lnTo>
                      <a:pt x="611" y="485"/>
                    </a:lnTo>
                    <a:lnTo>
                      <a:pt x="610" y="485"/>
                    </a:lnTo>
                    <a:lnTo>
                      <a:pt x="608" y="485"/>
                    </a:lnTo>
                    <a:lnTo>
                      <a:pt x="607" y="485"/>
                    </a:lnTo>
                    <a:lnTo>
                      <a:pt x="605" y="485"/>
                    </a:lnTo>
                    <a:lnTo>
                      <a:pt x="604" y="485"/>
                    </a:lnTo>
                    <a:lnTo>
                      <a:pt x="602" y="485"/>
                    </a:lnTo>
                    <a:lnTo>
                      <a:pt x="600" y="485"/>
                    </a:lnTo>
                    <a:lnTo>
                      <a:pt x="599" y="485"/>
                    </a:lnTo>
                    <a:lnTo>
                      <a:pt x="597" y="485"/>
                    </a:lnTo>
                    <a:lnTo>
                      <a:pt x="596" y="485"/>
                    </a:lnTo>
                    <a:lnTo>
                      <a:pt x="594" y="485"/>
                    </a:lnTo>
                    <a:lnTo>
                      <a:pt x="592" y="485"/>
                    </a:lnTo>
                    <a:lnTo>
                      <a:pt x="591" y="485"/>
                    </a:lnTo>
                    <a:lnTo>
                      <a:pt x="589" y="485"/>
                    </a:lnTo>
                    <a:lnTo>
                      <a:pt x="588" y="485"/>
                    </a:lnTo>
                    <a:lnTo>
                      <a:pt x="586" y="485"/>
                    </a:lnTo>
                    <a:lnTo>
                      <a:pt x="585" y="485"/>
                    </a:lnTo>
                    <a:lnTo>
                      <a:pt x="583" y="485"/>
                    </a:lnTo>
                    <a:lnTo>
                      <a:pt x="581" y="485"/>
                    </a:lnTo>
                    <a:lnTo>
                      <a:pt x="580" y="485"/>
                    </a:lnTo>
                    <a:lnTo>
                      <a:pt x="578" y="485"/>
                    </a:lnTo>
                    <a:lnTo>
                      <a:pt x="577" y="485"/>
                    </a:lnTo>
                    <a:lnTo>
                      <a:pt x="575" y="485"/>
                    </a:lnTo>
                    <a:lnTo>
                      <a:pt x="573" y="485"/>
                    </a:lnTo>
                    <a:lnTo>
                      <a:pt x="572" y="485"/>
                    </a:lnTo>
                    <a:lnTo>
                      <a:pt x="570" y="485"/>
                    </a:lnTo>
                    <a:lnTo>
                      <a:pt x="569" y="485"/>
                    </a:lnTo>
                    <a:lnTo>
                      <a:pt x="567" y="485"/>
                    </a:lnTo>
                    <a:lnTo>
                      <a:pt x="566" y="485"/>
                    </a:lnTo>
                    <a:lnTo>
                      <a:pt x="564" y="485"/>
                    </a:lnTo>
                    <a:lnTo>
                      <a:pt x="562" y="485"/>
                    </a:lnTo>
                    <a:lnTo>
                      <a:pt x="561" y="485"/>
                    </a:lnTo>
                    <a:lnTo>
                      <a:pt x="559" y="485"/>
                    </a:lnTo>
                    <a:lnTo>
                      <a:pt x="558" y="486"/>
                    </a:lnTo>
                    <a:lnTo>
                      <a:pt x="556" y="486"/>
                    </a:lnTo>
                    <a:lnTo>
                      <a:pt x="554" y="486"/>
                    </a:lnTo>
                    <a:lnTo>
                      <a:pt x="553" y="486"/>
                    </a:lnTo>
                    <a:lnTo>
                      <a:pt x="551" y="486"/>
                    </a:lnTo>
                    <a:lnTo>
                      <a:pt x="550" y="486"/>
                    </a:lnTo>
                    <a:lnTo>
                      <a:pt x="548" y="486"/>
                    </a:lnTo>
                    <a:lnTo>
                      <a:pt x="547" y="486"/>
                    </a:lnTo>
                    <a:lnTo>
                      <a:pt x="545" y="486"/>
                    </a:lnTo>
                    <a:lnTo>
                      <a:pt x="543" y="486"/>
                    </a:lnTo>
                    <a:lnTo>
                      <a:pt x="542" y="486"/>
                    </a:lnTo>
                    <a:lnTo>
                      <a:pt x="540" y="486"/>
                    </a:lnTo>
                    <a:lnTo>
                      <a:pt x="539" y="486"/>
                    </a:lnTo>
                    <a:lnTo>
                      <a:pt x="537" y="486"/>
                    </a:lnTo>
                    <a:lnTo>
                      <a:pt x="535" y="486"/>
                    </a:lnTo>
                    <a:lnTo>
                      <a:pt x="534" y="486"/>
                    </a:lnTo>
                    <a:lnTo>
                      <a:pt x="532" y="486"/>
                    </a:lnTo>
                    <a:lnTo>
                      <a:pt x="531" y="486"/>
                    </a:lnTo>
                    <a:lnTo>
                      <a:pt x="529" y="486"/>
                    </a:lnTo>
                    <a:lnTo>
                      <a:pt x="528" y="486"/>
                    </a:lnTo>
                    <a:lnTo>
                      <a:pt x="526" y="486"/>
                    </a:lnTo>
                    <a:lnTo>
                      <a:pt x="524" y="486"/>
                    </a:lnTo>
                    <a:lnTo>
                      <a:pt x="523" y="486"/>
                    </a:lnTo>
                    <a:lnTo>
                      <a:pt x="521" y="486"/>
                    </a:lnTo>
                    <a:lnTo>
                      <a:pt x="520" y="486"/>
                    </a:lnTo>
                    <a:lnTo>
                      <a:pt x="518" y="486"/>
                    </a:lnTo>
                    <a:lnTo>
                      <a:pt x="516" y="486"/>
                    </a:lnTo>
                    <a:lnTo>
                      <a:pt x="515" y="486"/>
                    </a:lnTo>
                    <a:lnTo>
                      <a:pt x="513" y="486"/>
                    </a:lnTo>
                    <a:lnTo>
                      <a:pt x="512" y="486"/>
                    </a:lnTo>
                    <a:lnTo>
                      <a:pt x="510" y="486"/>
                    </a:lnTo>
                    <a:lnTo>
                      <a:pt x="508" y="486"/>
                    </a:lnTo>
                    <a:lnTo>
                      <a:pt x="507" y="486"/>
                    </a:lnTo>
                    <a:lnTo>
                      <a:pt x="505" y="486"/>
                    </a:lnTo>
                    <a:lnTo>
                      <a:pt x="504" y="486"/>
                    </a:lnTo>
                    <a:lnTo>
                      <a:pt x="502" y="486"/>
                    </a:lnTo>
                    <a:lnTo>
                      <a:pt x="501" y="486"/>
                    </a:lnTo>
                    <a:lnTo>
                      <a:pt x="499" y="486"/>
                    </a:lnTo>
                    <a:lnTo>
                      <a:pt x="497" y="486"/>
                    </a:lnTo>
                    <a:lnTo>
                      <a:pt x="496" y="486"/>
                    </a:lnTo>
                    <a:lnTo>
                      <a:pt x="494" y="486"/>
                    </a:lnTo>
                    <a:lnTo>
                      <a:pt x="493" y="486"/>
                    </a:lnTo>
                    <a:lnTo>
                      <a:pt x="491" y="486"/>
                    </a:lnTo>
                    <a:lnTo>
                      <a:pt x="489" y="486"/>
                    </a:lnTo>
                    <a:lnTo>
                      <a:pt x="489" y="485"/>
                    </a:lnTo>
                    <a:lnTo>
                      <a:pt x="488" y="485"/>
                    </a:lnTo>
                    <a:lnTo>
                      <a:pt x="486" y="485"/>
                    </a:lnTo>
                    <a:lnTo>
                      <a:pt x="486" y="486"/>
                    </a:lnTo>
                    <a:lnTo>
                      <a:pt x="485" y="486"/>
                    </a:lnTo>
                    <a:lnTo>
                      <a:pt x="483" y="486"/>
                    </a:lnTo>
                    <a:lnTo>
                      <a:pt x="483" y="488"/>
                    </a:lnTo>
                    <a:lnTo>
                      <a:pt x="482" y="488"/>
                    </a:lnTo>
                    <a:lnTo>
                      <a:pt x="480" y="488"/>
                    </a:lnTo>
                    <a:lnTo>
                      <a:pt x="478" y="488"/>
                    </a:lnTo>
                    <a:lnTo>
                      <a:pt x="477" y="486"/>
                    </a:lnTo>
                    <a:lnTo>
                      <a:pt x="475" y="485"/>
                    </a:lnTo>
                    <a:lnTo>
                      <a:pt x="475" y="483"/>
                    </a:lnTo>
                    <a:lnTo>
                      <a:pt x="474" y="483"/>
                    </a:lnTo>
                    <a:lnTo>
                      <a:pt x="472" y="482"/>
                    </a:lnTo>
                    <a:lnTo>
                      <a:pt x="470" y="482"/>
                    </a:lnTo>
                    <a:lnTo>
                      <a:pt x="469" y="482"/>
                    </a:lnTo>
                    <a:lnTo>
                      <a:pt x="467" y="480"/>
                    </a:lnTo>
                    <a:lnTo>
                      <a:pt x="466" y="479"/>
                    </a:lnTo>
                    <a:lnTo>
                      <a:pt x="464" y="479"/>
                    </a:lnTo>
                    <a:lnTo>
                      <a:pt x="464" y="477"/>
                    </a:lnTo>
                    <a:lnTo>
                      <a:pt x="463" y="477"/>
                    </a:lnTo>
                    <a:lnTo>
                      <a:pt x="461" y="477"/>
                    </a:lnTo>
                    <a:lnTo>
                      <a:pt x="459" y="475"/>
                    </a:lnTo>
                    <a:lnTo>
                      <a:pt x="458" y="475"/>
                    </a:lnTo>
                    <a:lnTo>
                      <a:pt x="456" y="474"/>
                    </a:lnTo>
                    <a:lnTo>
                      <a:pt x="455" y="472"/>
                    </a:lnTo>
                    <a:lnTo>
                      <a:pt x="453" y="472"/>
                    </a:lnTo>
                    <a:lnTo>
                      <a:pt x="453" y="471"/>
                    </a:lnTo>
                    <a:lnTo>
                      <a:pt x="451" y="469"/>
                    </a:lnTo>
                    <a:lnTo>
                      <a:pt x="450" y="467"/>
                    </a:lnTo>
                    <a:lnTo>
                      <a:pt x="448" y="467"/>
                    </a:lnTo>
                    <a:lnTo>
                      <a:pt x="448" y="466"/>
                    </a:lnTo>
                    <a:lnTo>
                      <a:pt x="447" y="466"/>
                    </a:lnTo>
                    <a:lnTo>
                      <a:pt x="445" y="466"/>
                    </a:lnTo>
                    <a:lnTo>
                      <a:pt x="444" y="466"/>
                    </a:lnTo>
                    <a:lnTo>
                      <a:pt x="444" y="467"/>
                    </a:lnTo>
                    <a:lnTo>
                      <a:pt x="442" y="467"/>
                    </a:lnTo>
                    <a:lnTo>
                      <a:pt x="440" y="469"/>
                    </a:lnTo>
                    <a:lnTo>
                      <a:pt x="439" y="469"/>
                    </a:lnTo>
                    <a:lnTo>
                      <a:pt x="437" y="469"/>
                    </a:lnTo>
                    <a:lnTo>
                      <a:pt x="436" y="469"/>
                    </a:lnTo>
                    <a:lnTo>
                      <a:pt x="434" y="469"/>
                    </a:lnTo>
                    <a:lnTo>
                      <a:pt x="432" y="469"/>
                    </a:lnTo>
                    <a:lnTo>
                      <a:pt x="431" y="469"/>
                    </a:lnTo>
                    <a:lnTo>
                      <a:pt x="429" y="469"/>
                    </a:lnTo>
                    <a:lnTo>
                      <a:pt x="428" y="469"/>
                    </a:lnTo>
                    <a:lnTo>
                      <a:pt x="426" y="469"/>
                    </a:lnTo>
                    <a:lnTo>
                      <a:pt x="425" y="469"/>
                    </a:lnTo>
                    <a:lnTo>
                      <a:pt x="425" y="467"/>
                    </a:lnTo>
                    <a:lnTo>
                      <a:pt x="423" y="467"/>
                    </a:lnTo>
                    <a:lnTo>
                      <a:pt x="423" y="466"/>
                    </a:lnTo>
                    <a:lnTo>
                      <a:pt x="421" y="466"/>
                    </a:lnTo>
                    <a:lnTo>
                      <a:pt x="421" y="464"/>
                    </a:lnTo>
                    <a:lnTo>
                      <a:pt x="420" y="464"/>
                    </a:lnTo>
                    <a:lnTo>
                      <a:pt x="420" y="463"/>
                    </a:lnTo>
                    <a:lnTo>
                      <a:pt x="418" y="461"/>
                    </a:lnTo>
                    <a:lnTo>
                      <a:pt x="418" y="460"/>
                    </a:lnTo>
                    <a:lnTo>
                      <a:pt x="417" y="460"/>
                    </a:lnTo>
                    <a:lnTo>
                      <a:pt x="417" y="458"/>
                    </a:lnTo>
                    <a:lnTo>
                      <a:pt x="415" y="456"/>
                    </a:lnTo>
                    <a:lnTo>
                      <a:pt x="415" y="455"/>
                    </a:lnTo>
                    <a:lnTo>
                      <a:pt x="413" y="455"/>
                    </a:lnTo>
                    <a:lnTo>
                      <a:pt x="413" y="453"/>
                    </a:lnTo>
                    <a:lnTo>
                      <a:pt x="413" y="452"/>
                    </a:lnTo>
                    <a:lnTo>
                      <a:pt x="413" y="450"/>
                    </a:lnTo>
                    <a:lnTo>
                      <a:pt x="413" y="448"/>
                    </a:lnTo>
                    <a:lnTo>
                      <a:pt x="412" y="448"/>
                    </a:lnTo>
                    <a:lnTo>
                      <a:pt x="410" y="448"/>
                    </a:lnTo>
                    <a:lnTo>
                      <a:pt x="409" y="447"/>
                    </a:lnTo>
                    <a:lnTo>
                      <a:pt x="407" y="447"/>
                    </a:lnTo>
                    <a:lnTo>
                      <a:pt x="406" y="447"/>
                    </a:lnTo>
                    <a:lnTo>
                      <a:pt x="406" y="445"/>
                    </a:lnTo>
                    <a:lnTo>
                      <a:pt x="404" y="445"/>
                    </a:lnTo>
                    <a:lnTo>
                      <a:pt x="404" y="444"/>
                    </a:lnTo>
                    <a:lnTo>
                      <a:pt x="402" y="444"/>
                    </a:lnTo>
                    <a:lnTo>
                      <a:pt x="402" y="442"/>
                    </a:lnTo>
                    <a:lnTo>
                      <a:pt x="401" y="442"/>
                    </a:lnTo>
                    <a:lnTo>
                      <a:pt x="399" y="441"/>
                    </a:lnTo>
                    <a:lnTo>
                      <a:pt x="399" y="439"/>
                    </a:lnTo>
                    <a:lnTo>
                      <a:pt x="398" y="439"/>
                    </a:lnTo>
                    <a:lnTo>
                      <a:pt x="398" y="437"/>
                    </a:lnTo>
                    <a:lnTo>
                      <a:pt x="396" y="437"/>
                    </a:lnTo>
                    <a:lnTo>
                      <a:pt x="396" y="436"/>
                    </a:lnTo>
                    <a:lnTo>
                      <a:pt x="394" y="436"/>
                    </a:lnTo>
                    <a:lnTo>
                      <a:pt x="393" y="434"/>
                    </a:lnTo>
                    <a:lnTo>
                      <a:pt x="391" y="434"/>
                    </a:lnTo>
                    <a:lnTo>
                      <a:pt x="390" y="434"/>
                    </a:lnTo>
                    <a:lnTo>
                      <a:pt x="390" y="433"/>
                    </a:lnTo>
                    <a:lnTo>
                      <a:pt x="388" y="433"/>
                    </a:lnTo>
                    <a:lnTo>
                      <a:pt x="387" y="433"/>
                    </a:lnTo>
                    <a:lnTo>
                      <a:pt x="385" y="433"/>
                    </a:lnTo>
                    <a:lnTo>
                      <a:pt x="385" y="431"/>
                    </a:lnTo>
                    <a:lnTo>
                      <a:pt x="383" y="431"/>
                    </a:lnTo>
                    <a:lnTo>
                      <a:pt x="382" y="431"/>
                    </a:lnTo>
                    <a:lnTo>
                      <a:pt x="382" y="429"/>
                    </a:lnTo>
                    <a:lnTo>
                      <a:pt x="380" y="429"/>
                    </a:lnTo>
                    <a:lnTo>
                      <a:pt x="379" y="429"/>
                    </a:lnTo>
                    <a:lnTo>
                      <a:pt x="379" y="428"/>
                    </a:lnTo>
                    <a:lnTo>
                      <a:pt x="377" y="428"/>
                    </a:lnTo>
                    <a:lnTo>
                      <a:pt x="375" y="426"/>
                    </a:lnTo>
                    <a:lnTo>
                      <a:pt x="374" y="426"/>
                    </a:lnTo>
                    <a:lnTo>
                      <a:pt x="374" y="425"/>
                    </a:lnTo>
                    <a:lnTo>
                      <a:pt x="372" y="423"/>
                    </a:lnTo>
                    <a:lnTo>
                      <a:pt x="371" y="423"/>
                    </a:lnTo>
                    <a:lnTo>
                      <a:pt x="369" y="422"/>
                    </a:lnTo>
                    <a:lnTo>
                      <a:pt x="368" y="420"/>
                    </a:lnTo>
                    <a:lnTo>
                      <a:pt x="368" y="418"/>
                    </a:lnTo>
                    <a:lnTo>
                      <a:pt x="366" y="418"/>
                    </a:lnTo>
                    <a:lnTo>
                      <a:pt x="366" y="417"/>
                    </a:lnTo>
                    <a:lnTo>
                      <a:pt x="364" y="417"/>
                    </a:lnTo>
                    <a:lnTo>
                      <a:pt x="364" y="415"/>
                    </a:lnTo>
                    <a:lnTo>
                      <a:pt x="364" y="414"/>
                    </a:lnTo>
                    <a:lnTo>
                      <a:pt x="363" y="412"/>
                    </a:lnTo>
                    <a:lnTo>
                      <a:pt x="364" y="412"/>
                    </a:lnTo>
                    <a:lnTo>
                      <a:pt x="364" y="410"/>
                    </a:lnTo>
                    <a:lnTo>
                      <a:pt x="363" y="409"/>
                    </a:lnTo>
                    <a:lnTo>
                      <a:pt x="363" y="407"/>
                    </a:lnTo>
                    <a:lnTo>
                      <a:pt x="361" y="407"/>
                    </a:lnTo>
                    <a:lnTo>
                      <a:pt x="361" y="406"/>
                    </a:lnTo>
                    <a:lnTo>
                      <a:pt x="360" y="406"/>
                    </a:lnTo>
                    <a:lnTo>
                      <a:pt x="358" y="406"/>
                    </a:lnTo>
                    <a:lnTo>
                      <a:pt x="356" y="406"/>
                    </a:lnTo>
                    <a:lnTo>
                      <a:pt x="355" y="406"/>
                    </a:lnTo>
                    <a:lnTo>
                      <a:pt x="353" y="406"/>
                    </a:lnTo>
                    <a:lnTo>
                      <a:pt x="352" y="406"/>
                    </a:lnTo>
                    <a:lnTo>
                      <a:pt x="350" y="406"/>
                    </a:lnTo>
                    <a:lnTo>
                      <a:pt x="349" y="406"/>
                    </a:lnTo>
                    <a:lnTo>
                      <a:pt x="347" y="406"/>
                    </a:lnTo>
                    <a:lnTo>
                      <a:pt x="345" y="406"/>
                    </a:lnTo>
                    <a:lnTo>
                      <a:pt x="345" y="404"/>
                    </a:lnTo>
                    <a:lnTo>
                      <a:pt x="344" y="404"/>
                    </a:lnTo>
                    <a:lnTo>
                      <a:pt x="342" y="404"/>
                    </a:lnTo>
                    <a:lnTo>
                      <a:pt x="342" y="403"/>
                    </a:lnTo>
                    <a:lnTo>
                      <a:pt x="341" y="403"/>
                    </a:lnTo>
                    <a:lnTo>
                      <a:pt x="339" y="401"/>
                    </a:lnTo>
                    <a:lnTo>
                      <a:pt x="337" y="401"/>
                    </a:lnTo>
                    <a:lnTo>
                      <a:pt x="336" y="399"/>
                    </a:lnTo>
                    <a:lnTo>
                      <a:pt x="334" y="399"/>
                    </a:lnTo>
                    <a:lnTo>
                      <a:pt x="333" y="398"/>
                    </a:lnTo>
                    <a:lnTo>
                      <a:pt x="331" y="398"/>
                    </a:lnTo>
                    <a:lnTo>
                      <a:pt x="331" y="396"/>
                    </a:lnTo>
                    <a:lnTo>
                      <a:pt x="330" y="396"/>
                    </a:lnTo>
                    <a:lnTo>
                      <a:pt x="328" y="396"/>
                    </a:lnTo>
                    <a:lnTo>
                      <a:pt x="328" y="395"/>
                    </a:lnTo>
                    <a:lnTo>
                      <a:pt x="326" y="395"/>
                    </a:lnTo>
                    <a:lnTo>
                      <a:pt x="326" y="393"/>
                    </a:lnTo>
                    <a:lnTo>
                      <a:pt x="325" y="393"/>
                    </a:lnTo>
                    <a:lnTo>
                      <a:pt x="323" y="391"/>
                    </a:lnTo>
                    <a:lnTo>
                      <a:pt x="322" y="391"/>
                    </a:lnTo>
                    <a:lnTo>
                      <a:pt x="322" y="390"/>
                    </a:lnTo>
                    <a:lnTo>
                      <a:pt x="320" y="390"/>
                    </a:lnTo>
                    <a:lnTo>
                      <a:pt x="318" y="390"/>
                    </a:lnTo>
                    <a:lnTo>
                      <a:pt x="317" y="390"/>
                    </a:lnTo>
                    <a:lnTo>
                      <a:pt x="315" y="390"/>
                    </a:lnTo>
                    <a:lnTo>
                      <a:pt x="314" y="390"/>
                    </a:lnTo>
                    <a:lnTo>
                      <a:pt x="314" y="391"/>
                    </a:lnTo>
                    <a:lnTo>
                      <a:pt x="312" y="391"/>
                    </a:lnTo>
                    <a:lnTo>
                      <a:pt x="310" y="391"/>
                    </a:lnTo>
                    <a:lnTo>
                      <a:pt x="309" y="391"/>
                    </a:lnTo>
                    <a:lnTo>
                      <a:pt x="307" y="391"/>
                    </a:lnTo>
                    <a:lnTo>
                      <a:pt x="306" y="391"/>
                    </a:lnTo>
                    <a:lnTo>
                      <a:pt x="304" y="391"/>
                    </a:lnTo>
                    <a:lnTo>
                      <a:pt x="303" y="391"/>
                    </a:lnTo>
                    <a:lnTo>
                      <a:pt x="303" y="390"/>
                    </a:lnTo>
                    <a:lnTo>
                      <a:pt x="301" y="390"/>
                    </a:lnTo>
                    <a:lnTo>
                      <a:pt x="299" y="390"/>
                    </a:lnTo>
                    <a:lnTo>
                      <a:pt x="298" y="390"/>
                    </a:lnTo>
                    <a:lnTo>
                      <a:pt x="298" y="388"/>
                    </a:lnTo>
                    <a:lnTo>
                      <a:pt x="296" y="388"/>
                    </a:lnTo>
                    <a:lnTo>
                      <a:pt x="295" y="388"/>
                    </a:lnTo>
                    <a:lnTo>
                      <a:pt x="295" y="387"/>
                    </a:lnTo>
                    <a:lnTo>
                      <a:pt x="293" y="385"/>
                    </a:lnTo>
                    <a:lnTo>
                      <a:pt x="293" y="384"/>
                    </a:lnTo>
                    <a:lnTo>
                      <a:pt x="291" y="384"/>
                    </a:lnTo>
                    <a:lnTo>
                      <a:pt x="291" y="382"/>
                    </a:lnTo>
                    <a:lnTo>
                      <a:pt x="290" y="382"/>
                    </a:lnTo>
                    <a:lnTo>
                      <a:pt x="288" y="380"/>
                    </a:lnTo>
                    <a:lnTo>
                      <a:pt x="287" y="379"/>
                    </a:lnTo>
                    <a:lnTo>
                      <a:pt x="285" y="379"/>
                    </a:lnTo>
                    <a:lnTo>
                      <a:pt x="285" y="377"/>
                    </a:lnTo>
                    <a:lnTo>
                      <a:pt x="284" y="377"/>
                    </a:lnTo>
                    <a:lnTo>
                      <a:pt x="284" y="376"/>
                    </a:lnTo>
                    <a:lnTo>
                      <a:pt x="282" y="374"/>
                    </a:lnTo>
                    <a:lnTo>
                      <a:pt x="282" y="372"/>
                    </a:lnTo>
                    <a:lnTo>
                      <a:pt x="280" y="372"/>
                    </a:lnTo>
                    <a:lnTo>
                      <a:pt x="280" y="371"/>
                    </a:lnTo>
                    <a:lnTo>
                      <a:pt x="279" y="371"/>
                    </a:lnTo>
                    <a:lnTo>
                      <a:pt x="277" y="371"/>
                    </a:lnTo>
                    <a:lnTo>
                      <a:pt x="277" y="369"/>
                    </a:lnTo>
                    <a:lnTo>
                      <a:pt x="276" y="369"/>
                    </a:lnTo>
                    <a:lnTo>
                      <a:pt x="274" y="369"/>
                    </a:lnTo>
                    <a:lnTo>
                      <a:pt x="272" y="369"/>
                    </a:lnTo>
                    <a:lnTo>
                      <a:pt x="272" y="371"/>
                    </a:lnTo>
                    <a:lnTo>
                      <a:pt x="271" y="371"/>
                    </a:lnTo>
                    <a:lnTo>
                      <a:pt x="271" y="372"/>
                    </a:lnTo>
                    <a:lnTo>
                      <a:pt x="271" y="374"/>
                    </a:lnTo>
                    <a:lnTo>
                      <a:pt x="269" y="374"/>
                    </a:lnTo>
                    <a:lnTo>
                      <a:pt x="269" y="376"/>
                    </a:lnTo>
                    <a:lnTo>
                      <a:pt x="269" y="377"/>
                    </a:lnTo>
                    <a:lnTo>
                      <a:pt x="269" y="379"/>
                    </a:lnTo>
                    <a:lnTo>
                      <a:pt x="268" y="379"/>
                    </a:lnTo>
                    <a:lnTo>
                      <a:pt x="268" y="380"/>
                    </a:lnTo>
                    <a:lnTo>
                      <a:pt x="268" y="382"/>
                    </a:lnTo>
                    <a:lnTo>
                      <a:pt x="268" y="384"/>
                    </a:lnTo>
                    <a:lnTo>
                      <a:pt x="268" y="385"/>
                    </a:lnTo>
                    <a:lnTo>
                      <a:pt x="263" y="385"/>
                    </a:lnTo>
                    <a:lnTo>
                      <a:pt x="261" y="385"/>
                    </a:lnTo>
                    <a:lnTo>
                      <a:pt x="260" y="387"/>
                    </a:lnTo>
                    <a:lnTo>
                      <a:pt x="258" y="387"/>
                    </a:lnTo>
                    <a:lnTo>
                      <a:pt x="255" y="387"/>
                    </a:lnTo>
                    <a:lnTo>
                      <a:pt x="253" y="388"/>
                    </a:lnTo>
                    <a:lnTo>
                      <a:pt x="252" y="388"/>
                    </a:lnTo>
                    <a:lnTo>
                      <a:pt x="250" y="388"/>
                    </a:lnTo>
                    <a:lnTo>
                      <a:pt x="249" y="388"/>
                    </a:lnTo>
                    <a:lnTo>
                      <a:pt x="247" y="388"/>
                    </a:lnTo>
                    <a:lnTo>
                      <a:pt x="246" y="388"/>
                    </a:lnTo>
                    <a:lnTo>
                      <a:pt x="244" y="388"/>
                    </a:lnTo>
                    <a:lnTo>
                      <a:pt x="244" y="387"/>
                    </a:lnTo>
                    <a:lnTo>
                      <a:pt x="242" y="387"/>
                    </a:lnTo>
                    <a:lnTo>
                      <a:pt x="241" y="385"/>
                    </a:lnTo>
                    <a:lnTo>
                      <a:pt x="238" y="385"/>
                    </a:lnTo>
                    <a:lnTo>
                      <a:pt x="236" y="385"/>
                    </a:lnTo>
                    <a:lnTo>
                      <a:pt x="234" y="385"/>
                    </a:lnTo>
                    <a:lnTo>
                      <a:pt x="233" y="385"/>
                    </a:lnTo>
                    <a:lnTo>
                      <a:pt x="231" y="385"/>
                    </a:lnTo>
                    <a:lnTo>
                      <a:pt x="230" y="387"/>
                    </a:lnTo>
                    <a:lnTo>
                      <a:pt x="227" y="388"/>
                    </a:lnTo>
                    <a:lnTo>
                      <a:pt x="225" y="388"/>
                    </a:lnTo>
                    <a:lnTo>
                      <a:pt x="225" y="390"/>
                    </a:lnTo>
                    <a:lnTo>
                      <a:pt x="223" y="390"/>
                    </a:lnTo>
                    <a:lnTo>
                      <a:pt x="222" y="388"/>
                    </a:lnTo>
                    <a:lnTo>
                      <a:pt x="220" y="390"/>
                    </a:lnTo>
                    <a:lnTo>
                      <a:pt x="219" y="390"/>
                    </a:lnTo>
                    <a:lnTo>
                      <a:pt x="217" y="390"/>
                    </a:lnTo>
                    <a:lnTo>
                      <a:pt x="215" y="391"/>
                    </a:lnTo>
                    <a:lnTo>
                      <a:pt x="215" y="390"/>
                    </a:lnTo>
                    <a:lnTo>
                      <a:pt x="214" y="388"/>
                    </a:lnTo>
                    <a:lnTo>
                      <a:pt x="214" y="390"/>
                    </a:lnTo>
                    <a:lnTo>
                      <a:pt x="212" y="390"/>
                    </a:lnTo>
                    <a:lnTo>
                      <a:pt x="211" y="390"/>
                    </a:lnTo>
                    <a:lnTo>
                      <a:pt x="209" y="387"/>
                    </a:lnTo>
                    <a:lnTo>
                      <a:pt x="208" y="387"/>
                    </a:lnTo>
                    <a:lnTo>
                      <a:pt x="208" y="385"/>
                    </a:lnTo>
                    <a:lnTo>
                      <a:pt x="208" y="384"/>
                    </a:lnTo>
                    <a:lnTo>
                      <a:pt x="206" y="382"/>
                    </a:lnTo>
                    <a:lnTo>
                      <a:pt x="206" y="380"/>
                    </a:lnTo>
                    <a:lnTo>
                      <a:pt x="206" y="379"/>
                    </a:lnTo>
                    <a:lnTo>
                      <a:pt x="206" y="377"/>
                    </a:lnTo>
                    <a:lnTo>
                      <a:pt x="206" y="376"/>
                    </a:lnTo>
                    <a:lnTo>
                      <a:pt x="204" y="374"/>
                    </a:lnTo>
                    <a:lnTo>
                      <a:pt x="204" y="372"/>
                    </a:lnTo>
                    <a:lnTo>
                      <a:pt x="204" y="371"/>
                    </a:lnTo>
                    <a:lnTo>
                      <a:pt x="204" y="369"/>
                    </a:lnTo>
                    <a:lnTo>
                      <a:pt x="204" y="368"/>
                    </a:lnTo>
                    <a:lnTo>
                      <a:pt x="204" y="366"/>
                    </a:lnTo>
                    <a:lnTo>
                      <a:pt x="204" y="365"/>
                    </a:lnTo>
                    <a:lnTo>
                      <a:pt x="204" y="363"/>
                    </a:lnTo>
                    <a:lnTo>
                      <a:pt x="204" y="361"/>
                    </a:lnTo>
                    <a:lnTo>
                      <a:pt x="204" y="360"/>
                    </a:lnTo>
                    <a:lnTo>
                      <a:pt x="203" y="360"/>
                    </a:lnTo>
                    <a:lnTo>
                      <a:pt x="203" y="358"/>
                    </a:lnTo>
                    <a:lnTo>
                      <a:pt x="201" y="357"/>
                    </a:lnTo>
                    <a:lnTo>
                      <a:pt x="201" y="355"/>
                    </a:lnTo>
                    <a:lnTo>
                      <a:pt x="200" y="355"/>
                    </a:lnTo>
                    <a:lnTo>
                      <a:pt x="200" y="353"/>
                    </a:lnTo>
                    <a:lnTo>
                      <a:pt x="198" y="353"/>
                    </a:lnTo>
                    <a:lnTo>
                      <a:pt x="196" y="353"/>
                    </a:lnTo>
                    <a:lnTo>
                      <a:pt x="195" y="353"/>
                    </a:lnTo>
                    <a:lnTo>
                      <a:pt x="176" y="353"/>
                    </a:lnTo>
                    <a:lnTo>
                      <a:pt x="174" y="353"/>
                    </a:lnTo>
                    <a:lnTo>
                      <a:pt x="173" y="353"/>
                    </a:lnTo>
                    <a:lnTo>
                      <a:pt x="171" y="353"/>
                    </a:lnTo>
                    <a:lnTo>
                      <a:pt x="170" y="353"/>
                    </a:lnTo>
                    <a:lnTo>
                      <a:pt x="168" y="355"/>
                    </a:lnTo>
                    <a:lnTo>
                      <a:pt x="166" y="355"/>
                    </a:lnTo>
                    <a:lnTo>
                      <a:pt x="165" y="355"/>
                    </a:lnTo>
                    <a:lnTo>
                      <a:pt x="163" y="357"/>
                    </a:lnTo>
                    <a:lnTo>
                      <a:pt x="162" y="355"/>
                    </a:lnTo>
                    <a:lnTo>
                      <a:pt x="162" y="357"/>
                    </a:lnTo>
                    <a:lnTo>
                      <a:pt x="160" y="357"/>
                    </a:lnTo>
                    <a:lnTo>
                      <a:pt x="158" y="358"/>
                    </a:lnTo>
                    <a:lnTo>
                      <a:pt x="157" y="358"/>
                    </a:lnTo>
                    <a:lnTo>
                      <a:pt x="157" y="360"/>
                    </a:lnTo>
                    <a:lnTo>
                      <a:pt x="155" y="360"/>
                    </a:lnTo>
                    <a:lnTo>
                      <a:pt x="154" y="360"/>
                    </a:lnTo>
                    <a:lnTo>
                      <a:pt x="152" y="360"/>
                    </a:lnTo>
                    <a:lnTo>
                      <a:pt x="152" y="361"/>
                    </a:lnTo>
                    <a:lnTo>
                      <a:pt x="151" y="361"/>
                    </a:lnTo>
                    <a:lnTo>
                      <a:pt x="149" y="361"/>
                    </a:lnTo>
                    <a:lnTo>
                      <a:pt x="149" y="363"/>
                    </a:lnTo>
                    <a:lnTo>
                      <a:pt x="147" y="363"/>
                    </a:lnTo>
                    <a:lnTo>
                      <a:pt x="147" y="365"/>
                    </a:lnTo>
                    <a:lnTo>
                      <a:pt x="146" y="365"/>
                    </a:lnTo>
                    <a:lnTo>
                      <a:pt x="146" y="366"/>
                    </a:lnTo>
                    <a:lnTo>
                      <a:pt x="146" y="368"/>
                    </a:lnTo>
                    <a:lnTo>
                      <a:pt x="144" y="368"/>
                    </a:lnTo>
                    <a:lnTo>
                      <a:pt x="144" y="369"/>
                    </a:lnTo>
                    <a:lnTo>
                      <a:pt x="143" y="371"/>
                    </a:lnTo>
                    <a:lnTo>
                      <a:pt x="141" y="372"/>
                    </a:lnTo>
                    <a:lnTo>
                      <a:pt x="139" y="374"/>
                    </a:lnTo>
                    <a:lnTo>
                      <a:pt x="139" y="372"/>
                    </a:lnTo>
                    <a:lnTo>
                      <a:pt x="138" y="372"/>
                    </a:lnTo>
                    <a:lnTo>
                      <a:pt x="136" y="372"/>
                    </a:lnTo>
                    <a:lnTo>
                      <a:pt x="136" y="374"/>
                    </a:lnTo>
                    <a:lnTo>
                      <a:pt x="135" y="374"/>
                    </a:lnTo>
                    <a:lnTo>
                      <a:pt x="135" y="376"/>
                    </a:lnTo>
                    <a:lnTo>
                      <a:pt x="133" y="376"/>
                    </a:lnTo>
                    <a:lnTo>
                      <a:pt x="131" y="376"/>
                    </a:lnTo>
                    <a:lnTo>
                      <a:pt x="130" y="376"/>
                    </a:lnTo>
                    <a:lnTo>
                      <a:pt x="128" y="376"/>
                    </a:lnTo>
                    <a:lnTo>
                      <a:pt x="127" y="376"/>
                    </a:lnTo>
                    <a:lnTo>
                      <a:pt x="125" y="376"/>
                    </a:lnTo>
                    <a:lnTo>
                      <a:pt x="125" y="377"/>
                    </a:lnTo>
                    <a:lnTo>
                      <a:pt x="124" y="377"/>
                    </a:lnTo>
                    <a:lnTo>
                      <a:pt x="122" y="377"/>
                    </a:lnTo>
                    <a:lnTo>
                      <a:pt x="120" y="379"/>
                    </a:lnTo>
                    <a:lnTo>
                      <a:pt x="119" y="379"/>
                    </a:lnTo>
                    <a:lnTo>
                      <a:pt x="117" y="380"/>
                    </a:lnTo>
                    <a:lnTo>
                      <a:pt x="116" y="380"/>
                    </a:lnTo>
                    <a:lnTo>
                      <a:pt x="114" y="380"/>
                    </a:lnTo>
                    <a:lnTo>
                      <a:pt x="112" y="380"/>
                    </a:lnTo>
                    <a:lnTo>
                      <a:pt x="111" y="380"/>
                    </a:lnTo>
                    <a:lnTo>
                      <a:pt x="111" y="382"/>
                    </a:lnTo>
                    <a:lnTo>
                      <a:pt x="109" y="382"/>
                    </a:lnTo>
                    <a:lnTo>
                      <a:pt x="108" y="384"/>
                    </a:lnTo>
                    <a:lnTo>
                      <a:pt x="106" y="384"/>
                    </a:lnTo>
                    <a:lnTo>
                      <a:pt x="105" y="384"/>
                    </a:lnTo>
                    <a:lnTo>
                      <a:pt x="103" y="384"/>
                    </a:lnTo>
                    <a:lnTo>
                      <a:pt x="101" y="385"/>
                    </a:lnTo>
                    <a:lnTo>
                      <a:pt x="100" y="385"/>
                    </a:lnTo>
                    <a:lnTo>
                      <a:pt x="98" y="385"/>
                    </a:lnTo>
                    <a:lnTo>
                      <a:pt x="97" y="385"/>
                    </a:lnTo>
                    <a:lnTo>
                      <a:pt x="95" y="385"/>
                    </a:lnTo>
                    <a:lnTo>
                      <a:pt x="93" y="385"/>
                    </a:lnTo>
                    <a:lnTo>
                      <a:pt x="93" y="387"/>
                    </a:lnTo>
                    <a:lnTo>
                      <a:pt x="92" y="387"/>
                    </a:lnTo>
                    <a:lnTo>
                      <a:pt x="90" y="387"/>
                    </a:lnTo>
                    <a:lnTo>
                      <a:pt x="89" y="387"/>
                    </a:lnTo>
                    <a:lnTo>
                      <a:pt x="87" y="387"/>
                    </a:lnTo>
                    <a:lnTo>
                      <a:pt x="86" y="387"/>
                    </a:lnTo>
                    <a:lnTo>
                      <a:pt x="84" y="387"/>
                    </a:lnTo>
                    <a:lnTo>
                      <a:pt x="82" y="387"/>
                    </a:lnTo>
                    <a:lnTo>
                      <a:pt x="81" y="387"/>
                    </a:lnTo>
                    <a:lnTo>
                      <a:pt x="79" y="387"/>
                    </a:lnTo>
                    <a:lnTo>
                      <a:pt x="78" y="385"/>
                    </a:lnTo>
                    <a:lnTo>
                      <a:pt x="76" y="385"/>
                    </a:lnTo>
                    <a:lnTo>
                      <a:pt x="74" y="385"/>
                    </a:lnTo>
                    <a:lnTo>
                      <a:pt x="73" y="385"/>
                    </a:lnTo>
                    <a:lnTo>
                      <a:pt x="71" y="385"/>
                    </a:lnTo>
                    <a:lnTo>
                      <a:pt x="70" y="385"/>
                    </a:lnTo>
                    <a:lnTo>
                      <a:pt x="70" y="384"/>
                    </a:lnTo>
                    <a:lnTo>
                      <a:pt x="68" y="384"/>
                    </a:lnTo>
                    <a:lnTo>
                      <a:pt x="67" y="384"/>
                    </a:lnTo>
                    <a:lnTo>
                      <a:pt x="65" y="382"/>
                    </a:lnTo>
                    <a:lnTo>
                      <a:pt x="63" y="380"/>
                    </a:lnTo>
                    <a:lnTo>
                      <a:pt x="62" y="380"/>
                    </a:lnTo>
                    <a:lnTo>
                      <a:pt x="62" y="379"/>
                    </a:lnTo>
                    <a:lnTo>
                      <a:pt x="60" y="379"/>
                    </a:lnTo>
                    <a:lnTo>
                      <a:pt x="60" y="377"/>
                    </a:lnTo>
                    <a:lnTo>
                      <a:pt x="59" y="377"/>
                    </a:lnTo>
                    <a:lnTo>
                      <a:pt x="59" y="376"/>
                    </a:lnTo>
                    <a:lnTo>
                      <a:pt x="57" y="376"/>
                    </a:lnTo>
                    <a:lnTo>
                      <a:pt x="57" y="374"/>
                    </a:lnTo>
                    <a:lnTo>
                      <a:pt x="55" y="374"/>
                    </a:lnTo>
                    <a:lnTo>
                      <a:pt x="54" y="372"/>
                    </a:lnTo>
                    <a:lnTo>
                      <a:pt x="52" y="372"/>
                    </a:lnTo>
                    <a:lnTo>
                      <a:pt x="52" y="371"/>
                    </a:lnTo>
                    <a:lnTo>
                      <a:pt x="51" y="371"/>
                    </a:lnTo>
                    <a:lnTo>
                      <a:pt x="51" y="369"/>
                    </a:lnTo>
                    <a:lnTo>
                      <a:pt x="49" y="369"/>
                    </a:lnTo>
                    <a:lnTo>
                      <a:pt x="48" y="368"/>
                    </a:lnTo>
                    <a:lnTo>
                      <a:pt x="48" y="366"/>
                    </a:lnTo>
                    <a:lnTo>
                      <a:pt x="46" y="366"/>
                    </a:lnTo>
                    <a:lnTo>
                      <a:pt x="46" y="365"/>
                    </a:lnTo>
                    <a:lnTo>
                      <a:pt x="44" y="365"/>
                    </a:lnTo>
                    <a:lnTo>
                      <a:pt x="44" y="363"/>
                    </a:lnTo>
                    <a:lnTo>
                      <a:pt x="43" y="363"/>
                    </a:lnTo>
                    <a:lnTo>
                      <a:pt x="41" y="361"/>
                    </a:lnTo>
                    <a:lnTo>
                      <a:pt x="40" y="361"/>
                    </a:lnTo>
                    <a:lnTo>
                      <a:pt x="38" y="360"/>
                    </a:lnTo>
                    <a:lnTo>
                      <a:pt x="36" y="360"/>
                    </a:lnTo>
                    <a:lnTo>
                      <a:pt x="35" y="360"/>
                    </a:lnTo>
                    <a:lnTo>
                      <a:pt x="33" y="360"/>
                    </a:lnTo>
                    <a:lnTo>
                      <a:pt x="32" y="360"/>
                    </a:lnTo>
                    <a:lnTo>
                      <a:pt x="32" y="358"/>
                    </a:lnTo>
                    <a:lnTo>
                      <a:pt x="30" y="358"/>
                    </a:lnTo>
                    <a:lnTo>
                      <a:pt x="29" y="358"/>
                    </a:lnTo>
                    <a:lnTo>
                      <a:pt x="27" y="358"/>
                    </a:lnTo>
                    <a:lnTo>
                      <a:pt x="25" y="358"/>
                    </a:lnTo>
                    <a:lnTo>
                      <a:pt x="25" y="360"/>
                    </a:lnTo>
                    <a:lnTo>
                      <a:pt x="24" y="360"/>
                    </a:lnTo>
                    <a:lnTo>
                      <a:pt x="22" y="360"/>
                    </a:lnTo>
                    <a:lnTo>
                      <a:pt x="21" y="360"/>
                    </a:lnTo>
                    <a:lnTo>
                      <a:pt x="19" y="360"/>
                    </a:lnTo>
                    <a:lnTo>
                      <a:pt x="17" y="360"/>
                    </a:lnTo>
                    <a:lnTo>
                      <a:pt x="16" y="360"/>
                    </a:lnTo>
                    <a:lnTo>
                      <a:pt x="14" y="361"/>
                    </a:lnTo>
                    <a:lnTo>
                      <a:pt x="13" y="361"/>
                    </a:lnTo>
                    <a:lnTo>
                      <a:pt x="11" y="361"/>
                    </a:lnTo>
                    <a:lnTo>
                      <a:pt x="10" y="361"/>
                    </a:lnTo>
                    <a:lnTo>
                      <a:pt x="8" y="361"/>
                    </a:lnTo>
                    <a:lnTo>
                      <a:pt x="8" y="360"/>
                    </a:lnTo>
                    <a:lnTo>
                      <a:pt x="6" y="360"/>
                    </a:lnTo>
                    <a:lnTo>
                      <a:pt x="6" y="358"/>
                    </a:lnTo>
                    <a:lnTo>
                      <a:pt x="5" y="358"/>
                    </a:lnTo>
                    <a:lnTo>
                      <a:pt x="5" y="357"/>
                    </a:lnTo>
                    <a:lnTo>
                      <a:pt x="5" y="355"/>
                    </a:lnTo>
                    <a:lnTo>
                      <a:pt x="3" y="353"/>
                    </a:lnTo>
                    <a:lnTo>
                      <a:pt x="3" y="352"/>
                    </a:lnTo>
                    <a:lnTo>
                      <a:pt x="3" y="350"/>
                    </a:lnTo>
                    <a:lnTo>
                      <a:pt x="2" y="349"/>
                    </a:lnTo>
                    <a:lnTo>
                      <a:pt x="2" y="347"/>
                    </a:lnTo>
                    <a:lnTo>
                      <a:pt x="3" y="347"/>
                    </a:lnTo>
                    <a:lnTo>
                      <a:pt x="3" y="346"/>
                    </a:lnTo>
                    <a:lnTo>
                      <a:pt x="3" y="344"/>
                    </a:lnTo>
                    <a:lnTo>
                      <a:pt x="5" y="344"/>
                    </a:lnTo>
                    <a:lnTo>
                      <a:pt x="5" y="342"/>
                    </a:lnTo>
                    <a:lnTo>
                      <a:pt x="6" y="341"/>
                    </a:lnTo>
                    <a:lnTo>
                      <a:pt x="5" y="339"/>
                    </a:lnTo>
                    <a:lnTo>
                      <a:pt x="5" y="338"/>
                    </a:lnTo>
                    <a:lnTo>
                      <a:pt x="3" y="338"/>
                    </a:lnTo>
                    <a:lnTo>
                      <a:pt x="3" y="336"/>
                    </a:lnTo>
                    <a:lnTo>
                      <a:pt x="2" y="334"/>
                    </a:lnTo>
                    <a:lnTo>
                      <a:pt x="2" y="333"/>
                    </a:lnTo>
                    <a:lnTo>
                      <a:pt x="0" y="331"/>
                    </a:lnTo>
                    <a:lnTo>
                      <a:pt x="2" y="331"/>
                    </a:lnTo>
                    <a:lnTo>
                      <a:pt x="2" y="330"/>
                    </a:lnTo>
                    <a:lnTo>
                      <a:pt x="3" y="328"/>
                    </a:lnTo>
                    <a:lnTo>
                      <a:pt x="5" y="328"/>
                    </a:lnTo>
                    <a:lnTo>
                      <a:pt x="5" y="330"/>
                    </a:lnTo>
                    <a:lnTo>
                      <a:pt x="6" y="330"/>
                    </a:lnTo>
                    <a:lnTo>
                      <a:pt x="8" y="330"/>
                    </a:lnTo>
                    <a:lnTo>
                      <a:pt x="8" y="331"/>
                    </a:lnTo>
                    <a:lnTo>
                      <a:pt x="10" y="331"/>
                    </a:lnTo>
                    <a:lnTo>
                      <a:pt x="10" y="333"/>
                    </a:lnTo>
                    <a:lnTo>
                      <a:pt x="11" y="333"/>
                    </a:lnTo>
                    <a:lnTo>
                      <a:pt x="11" y="334"/>
                    </a:lnTo>
                    <a:lnTo>
                      <a:pt x="13" y="334"/>
                    </a:lnTo>
                    <a:lnTo>
                      <a:pt x="14" y="334"/>
                    </a:lnTo>
                    <a:lnTo>
                      <a:pt x="16" y="333"/>
                    </a:lnTo>
                    <a:lnTo>
                      <a:pt x="17" y="333"/>
                    </a:lnTo>
                    <a:lnTo>
                      <a:pt x="19" y="333"/>
                    </a:lnTo>
                    <a:lnTo>
                      <a:pt x="21" y="334"/>
                    </a:lnTo>
                    <a:lnTo>
                      <a:pt x="22" y="334"/>
                    </a:lnTo>
                    <a:lnTo>
                      <a:pt x="22" y="336"/>
                    </a:lnTo>
                    <a:lnTo>
                      <a:pt x="24" y="336"/>
                    </a:lnTo>
                    <a:lnTo>
                      <a:pt x="24" y="338"/>
                    </a:lnTo>
                    <a:lnTo>
                      <a:pt x="24" y="339"/>
                    </a:lnTo>
                    <a:lnTo>
                      <a:pt x="25" y="339"/>
                    </a:lnTo>
                    <a:lnTo>
                      <a:pt x="25" y="341"/>
                    </a:lnTo>
                    <a:lnTo>
                      <a:pt x="27" y="341"/>
                    </a:lnTo>
                    <a:lnTo>
                      <a:pt x="29" y="341"/>
                    </a:lnTo>
                    <a:lnTo>
                      <a:pt x="30" y="341"/>
                    </a:lnTo>
                    <a:lnTo>
                      <a:pt x="30" y="342"/>
                    </a:lnTo>
                    <a:lnTo>
                      <a:pt x="32" y="342"/>
                    </a:lnTo>
                    <a:lnTo>
                      <a:pt x="32" y="344"/>
                    </a:lnTo>
                    <a:lnTo>
                      <a:pt x="33" y="344"/>
                    </a:lnTo>
                    <a:lnTo>
                      <a:pt x="33" y="346"/>
                    </a:lnTo>
                    <a:lnTo>
                      <a:pt x="35" y="346"/>
                    </a:lnTo>
                    <a:lnTo>
                      <a:pt x="35" y="347"/>
                    </a:lnTo>
                    <a:lnTo>
                      <a:pt x="35" y="349"/>
                    </a:lnTo>
                    <a:lnTo>
                      <a:pt x="36" y="349"/>
                    </a:lnTo>
                    <a:lnTo>
                      <a:pt x="36" y="350"/>
                    </a:lnTo>
                    <a:lnTo>
                      <a:pt x="38" y="350"/>
                    </a:lnTo>
                    <a:lnTo>
                      <a:pt x="40" y="350"/>
                    </a:lnTo>
                    <a:lnTo>
                      <a:pt x="40" y="349"/>
                    </a:lnTo>
                    <a:lnTo>
                      <a:pt x="40" y="347"/>
                    </a:lnTo>
                    <a:lnTo>
                      <a:pt x="40" y="346"/>
                    </a:lnTo>
                    <a:lnTo>
                      <a:pt x="40" y="344"/>
                    </a:lnTo>
                    <a:lnTo>
                      <a:pt x="38" y="344"/>
                    </a:lnTo>
                    <a:lnTo>
                      <a:pt x="38" y="342"/>
                    </a:lnTo>
                    <a:lnTo>
                      <a:pt x="38" y="341"/>
                    </a:lnTo>
                    <a:lnTo>
                      <a:pt x="36" y="341"/>
                    </a:lnTo>
                    <a:lnTo>
                      <a:pt x="36" y="339"/>
                    </a:lnTo>
                    <a:lnTo>
                      <a:pt x="36" y="338"/>
                    </a:lnTo>
                    <a:lnTo>
                      <a:pt x="36" y="336"/>
                    </a:lnTo>
                    <a:lnTo>
                      <a:pt x="35" y="336"/>
                    </a:lnTo>
                    <a:lnTo>
                      <a:pt x="35" y="334"/>
                    </a:lnTo>
                    <a:lnTo>
                      <a:pt x="35" y="333"/>
                    </a:lnTo>
                    <a:lnTo>
                      <a:pt x="33" y="333"/>
                    </a:lnTo>
                    <a:lnTo>
                      <a:pt x="33" y="331"/>
                    </a:lnTo>
                    <a:lnTo>
                      <a:pt x="32" y="331"/>
                    </a:lnTo>
                    <a:lnTo>
                      <a:pt x="32" y="330"/>
                    </a:lnTo>
                    <a:lnTo>
                      <a:pt x="32" y="328"/>
                    </a:lnTo>
                    <a:lnTo>
                      <a:pt x="30" y="328"/>
                    </a:lnTo>
                    <a:lnTo>
                      <a:pt x="30" y="327"/>
                    </a:lnTo>
                    <a:lnTo>
                      <a:pt x="29" y="325"/>
                    </a:lnTo>
                    <a:lnTo>
                      <a:pt x="30" y="325"/>
                    </a:lnTo>
                    <a:lnTo>
                      <a:pt x="30" y="323"/>
                    </a:lnTo>
                    <a:lnTo>
                      <a:pt x="32" y="323"/>
                    </a:lnTo>
                    <a:lnTo>
                      <a:pt x="33" y="323"/>
                    </a:lnTo>
                    <a:lnTo>
                      <a:pt x="33" y="322"/>
                    </a:lnTo>
                    <a:lnTo>
                      <a:pt x="35" y="322"/>
                    </a:lnTo>
                    <a:lnTo>
                      <a:pt x="36" y="322"/>
                    </a:lnTo>
                    <a:lnTo>
                      <a:pt x="36" y="323"/>
                    </a:lnTo>
                    <a:lnTo>
                      <a:pt x="38" y="323"/>
                    </a:lnTo>
                    <a:lnTo>
                      <a:pt x="38" y="325"/>
                    </a:lnTo>
                    <a:lnTo>
                      <a:pt x="38" y="327"/>
                    </a:lnTo>
                    <a:lnTo>
                      <a:pt x="40" y="327"/>
                    </a:lnTo>
                    <a:lnTo>
                      <a:pt x="38" y="327"/>
                    </a:lnTo>
                    <a:lnTo>
                      <a:pt x="38" y="328"/>
                    </a:lnTo>
                    <a:lnTo>
                      <a:pt x="36" y="330"/>
                    </a:lnTo>
                    <a:lnTo>
                      <a:pt x="36" y="331"/>
                    </a:lnTo>
                    <a:lnTo>
                      <a:pt x="36" y="333"/>
                    </a:lnTo>
                    <a:lnTo>
                      <a:pt x="38" y="334"/>
                    </a:lnTo>
                    <a:lnTo>
                      <a:pt x="38" y="336"/>
                    </a:lnTo>
                    <a:lnTo>
                      <a:pt x="40" y="336"/>
                    </a:lnTo>
                    <a:lnTo>
                      <a:pt x="40" y="338"/>
                    </a:lnTo>
                    <a:lnTo>
                      <a:pt x="40" y="339"/>
                    </a:lnTo>
                    <a:lnTo>
                      <a:pt x="41" y="341"/>
                    </a:lnTo>
                    <a:lnTo>
                      <a:pt x="41" y="342"/>
                    </a:lnTo>
                    <a:lnTo>
                      <a:pt x="43" y="342"/>
                    </a:lnTo>
                    <a:lnTo>
                      <a:pt x="43" y="341"/>
                    </a:lnTo>
                    <a:lnTo>
                      <a:pt x="44" y="342"/>
                    </a:lnTo>
                    <a:lnTo>
                      <a:pt x="46" y="342"/>
                    </a:lnTo>
                    <a:lnTo>
                      <a:pt x="48" y="342"/>
                    </a:lnTo>
                    <a:lnTo>
                      <a:pt x="48" y="341"/>
                    </a:lnTo>
                    <a:lnTo>
                      <a:pt x="48" y="339"/>
                    </a:lnTo>
                    <a:lnTo>
                      <a:pt x="48" y="338"/>
                    </a:lnTo>
                    <a:lnTo>
                      <a:pt x="48" y="336"/>
                    </a:lnTo>
                    <a:lnTo>
                      <a:pt x="46" y="336"/>
                    </a:lnTo>
                    <a:lnTo>
                      <a:pt x="46" y="334"/>
                    </a:lnTo>
                    <a:lnTo>
                      <a:pt x="46" y="333"/>
                    </a:lnTo>
                    <a:lnTo>
                      <a:pt x="48" y="333"/>
                    </a:lnTo>
                    <a:lnTo>
                      <a:pt x="49" y="333"/>
                    </a:lnTo>
                    <a:lnTo>
                      <a:pt x="49" y="334"/>
                    </a:lnTo>
                    <a:lnTo>
                      <a:pt x="51" y="333"/>
                    </a:lnTo>
                    <a:lnTo>
                      <a:pt x="51" y="331"/>
                    </a:lnTo>
                    <a:lnTo>
                      <a:pt x="52" y="331"/>
                    </a:lnTo>
                    <a:lnTo>
                      <a:pt x="54" y="331"/>
                    </a:lnTo>
                    <a:lnTo>
                      <a:pt x="54" y="333"/>
                    </a:lnTo>
                    <a:lnTo>
                      <a:pt x="54" y="334"/>
                    </a:lnTo>
                    <a:lnTo>
                      <a:pt x="55" y="334"/>
                    </a:lnTo>
                    <a:lnTo>
                      <a:pt x="55" y="336"/>
                    </a:lnTo>
                    <a:lnTo>
                      <a:pt x="57" y="336"/>
                    </a:lnTo>
                    <a:lnTo>
                      <a:pt x="57" y="338"/>
                    </a:lnTo>
                    <a:lnTo>
                      <a:pt x="59" y="338"/>
                    </a:lnTo>
                    <a:lnTo>
                      <a:pt x="59" y="339"/>
                    </a:lnTo>
                    <a:lnTo>
                      <a:pt x="60" y="341"/>
                    </a:lnTo>
                    <a:lnTo>
                      <a:pt x="62" y="342"/>
                    </a:lnTo>
                    <a:lnTo>
                      <a:pt x="63" y="342"/>
                    </a:lnTo>
                    <a:lnTo>
                      <a:pt x="65" y="341"/>
                    </a:lnTo>
                    <a:lnTo>
                      <a:pt x="67" y="341"/>
                    </a:lnTo>
                    <a:lnTo>
                      <a:pt x="68" y="341"/>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77" name="Freeform 57"/>
              <p:cNvSpPr>
                <a:spLocks/>
              </p:cNvSpPr>
              <p:nvPr/>
            </p:nvSpPr>
            <p:spPr bwMode="auto">
              <a:xfrm>
                <a:off x="2967" y="540"/>
                <a:ext cx="399" cy="341"/>
              </a:xfrm>
              <a:custGeom>
                <a:avLst/>
                <a:gdLst>
                  <a:gd name="T0" fmla="*/ 226 w 399"/>
                  <a:gd name="T1" fmla="*/ 338 h 341"/>
                  <a:gd name="T2" fmla="*/ 222 w 399"/>
                  <a:gd name="T3" fmla="*/ 330 h 341"/>
                  <a:gd name="T4" fmla="*/ 220 w 399"/>
                  <a:gd name="T5" fmla="*/ 322 h 341"/>
                  <a:gd name="T6" fmla="*/ 223 w 399"/>
                  <a:gd name="T7" fmla="*/ 317 h 341"/>
                  <a:gd name="T8" fmla="*/ 231 w 399"/>
                  <a:gd name="T9" fmla="*/ 317 h 341"/>
                  <a:gd name="T10" fmla="*/ 236 w 399"/>
                  <a:gd name="T11" fmla="*/ 320 h 341"/>
                  <a:gd name="T12" fmla="*/ 242 w 399"/>
                  <a:gd name="T13" fmla="*/ 323 h 341"/>
                  <a:gd name="T14" fmla="*/ 245 w 399"/>
                  <a:gd name="T15" fmla="*/ 330 h 341"/>
                  <a:gd name="T16" fmla="*/ 252 w 399"/>
                  <a:gd name="T17" fmla="*/ 333 h 341"/>
                  <a:gd name="T18" fmla="*/ 258 w 399"/>
                  <a:gd name="T19" fmla="*/ 333 h 341"/>
                  <a:gd name="T20" fmla="*/ 261 w 399"/>
                  <a:gd name="T21" fmla="*/ 328 h 341"/>
                  <a:gd name="T22" fmla="*/ 266 w 399"/>
                  <a:gd name="T23" fmla="*/ 331 h 341"/>
                  <a:gd name="T24" fmla="*/ 271 w 399"/>
                  <a:gd name="T25" fmla="*/ 334 h 341"/>
                  <a:gd name="T26" fmla="*/ 277 w 399"/>
                  <a:gd name="T27" fmla="*/ 331 h 341"/>
                  <a:gd name="T28" fmla="*/ 279 w 399"/>
                  <a:gd name="T29" fmla="*/ 325 h 341"/>
                  <a:gd name="T30" fmla="*/ 272 w 399"/>
                  <a:gd name="T31" fmla="*/ 323 h 341"/>
                  <a:gd name="T32" fmla="*/ 274 w 399"/>
                  <a:gd name="T33" fmla="*/ 317 h 341"/>
                  <a:gd name="T34" fmla="*/ 271 w 399"/>
                  <a:gd name="T35" fmla="*/ 315 h 341"/>
                  <a:gd name="T36" fmla="*/ 266 w 399"/>
                  <a:gd name="T37" fmla="*/ 312 h 341"/>
                  <a:gd name="T38" fmla="*/ 261 w 399"/>
                  <a:gd name="T39" fmla="*/ 315 h 341"/>
                  <a:gd name="T40" fmla="*/ 255 w 399"/>
                  <a:gd name="T41" fmla="*/ 312 h 341"/>
                  <a:gd name="T42" fmla="*/ 248 w 399"/>
                  <a:gd name="T43" fmla="*/ 312 h 341"/>
                  <a:gd name="T44" fmla="*/ 248 w 399"/>
                  <a:gd name="T45" fmla="*/ 307 h 341"/>
                  <a:gd name="T46" fmla="*/ 255 w 399"/>
                  <a:gd name="T47" fmla="*/ 304 h 341"/>
                  <a:gd name="T48" fmla="*/ 252 w 399"/>
                  <a:gd name="T49" fmla="*/ 300 h 341"/>
                  <a:gd name="T50" fmla="*/ 247 w 399"/>
                  <a:gd name="T51" fmla="*/ 295 h 341"/>
                  <a:gd name="T52" fmla="*/ 244 w 399"/>
                  <a:gd name="T53" fmla="*/ 290 h 341"/>
                  <a:gd name="T54" fmla="*/ 237 w 399"/>
                  <a:gd name="T55" fmla="*/ 288 h 341"/>
                  <a:gd name="T56" fmla="*/ 233 w 399"/>
                  <a:gd name="T57" fmla="*/ 293 h 341"/>
                  <a:gd name="T58" fmla="*/ 226 w 399"/>
                  <a:gd name="T59" fmla="*/ 295 h 341"/>
                  <a:gd name="T60" fmla="*/ 220 w 399"/>
                  <a:gd name="T61" fmla="*/ 298 h 341"/>
                  <a:gd name="T62" fmla="*/ 215 w 399"/>
                  <a:gd name="T63" fmla="*/ 301 h 341"/>
                  <a:gd name="T64" fmla="*/ 210 w 399"/>
                  <a:gd name="T65" fmla="*/ 303 h 341"/>
                  <a:gd name="T66" fmla="*/ 206 w 399"/>
                  <a:gd name="T67" fmla="*/ 307 h 341"/>
                  <a:gd name="T68" fmla="*/ 199 w 399"/>
                  <a:gd name="T69" fmla="*/ 309 h 341"/>
                  <a:gd name="T70" fmla="*/ 195 w 399"/>
                  <a:gd name="T71" fmla="*/ 309 h 341"/>
                  <a:gd name="T72" fmla="*/ 190 w 399"/>
                  <a:gd name="T73" fmla="*/ 306 h 341"/>
                  <a:gd name="T74" fmla="*/ 193 w 399"/>
                  <a:gd name="T75" fmla="*/ 300 h 341"/>
                  <a:gd name="T76" fmla="*/ 198 w 399"/>
                  <a:gd name="T77" fmla="*/ 296 h 341"/>
                  <a:gd name="T78" fmla="*/ 199 w 399"/>
                  <a:gd name="T79" fmla="*/ 290 h 341"/>
                  <a:gd name="T80" fmla="*/ 199 w 399"/>
                  <a:gd name="T81" fmla="*/ 284 h 341"/>
                  <a:gd name="T82" fmla="*/ 198 w 399"/>
                  <a:gd name="T83" fmla="*/ 281 h 341"/>
                  <a:gd name="T84" fmla="*/ 193 w 399"/>
                  <a:gd name="T85" fmla="*/ 277 h 341"/>
                  <a:gd name="T86" fmla="*/ 195 w 399"/>
                  <a:gd name="T87" fmla="*/ 271 h 341"/>
                  <a:gd name="T88" fmla="*/ 198 w 399"/>
                  <a:gd name="T89" fmla="*/ 265 h 341"/>
                  <a:gd name="T90" fmla="*/ 201 w 399"/>
                  <a:gd name="T91" fmla="*/ 260 h 341"/>
                  <a:gd name="T92" fmla="*/ 203 w 399"/>
                  <a:gd name="T93" fmla="*/ 252 h 341"/>
                  <a:gd name="T94" fmla="*/ 206 w 399"/>
                  <a:gd name="T95" fmla="*/ 246 h 341"/>
                  <a:gd name="T96" fmla="*/ 207 w 399"/>
                  <a:gd name="T97" fmla="*/ 239 h 341"/>
                  <a:gd name="T98" fmla="*/ 212 w 399"/>
                  <a:gd name="T99" fmla="*/ 236 h 341"/>
                  <a:gd name="T100" fmla="*/ 217 w 399"/>
                  <a:gd name="T101" fmla="*/ 233 h 341"/>
                  <a:gd name="T102" fmla="*/ 223 w 399"/>
                  <a:gd name="T103" fmla="*/ 231 h 341"/>
                  <a:gd name="T104" fmla="*/ 231 w 399"/>
                  <a:gd name="T105" fmla="*/ 231 h 341"/>
                  <a:gd name="T106" fmla="*/ 239 w 399"/>
                  <a:gd name="T107" fmla="*/ 231 h 341"/>
                  <a:gd name="T108" fmla="*/ 242 w 399"/>
                  <a:gd name="T109" fmla="*/ 236 h 341"/>
                  <a:gd name="T110" fmla="*/ 245 w 399"/>
                  <a:gd name="T111" fmla="*/ 244 h 341"/>
                  <a:gd name="T112" fmla="*/ 5 w 399"/>
                  <a:gd name="T113" fmla="*/ 35 h 341"/>
                  <a:gd name="T114" fmla="*/ 321 w 399"/>
                  <a:gd name="T115"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9" h="341">
                    <a:moveTo>
                      <a:pt x="223" y="341"/>
                    </a:moveTo>
                    <a:lnTo>
                      <a:pt x="225" y="341"/>
                    </a:lnTo>
                    <a:lnTo>
                      <a:pt x="226" y="341"/>
                    </a:lnTo>
                    <a:lnTo>
                      <a:pt x="228" y="339"/>
                    </a:lnTo>
                    <a:lnTo>
                      <a:pt x="226" y="338"/>
                    </a:lnTo>
                    <a:lnTo>
                      <a:pt x="225" y="336"/>
                    </a:lnTo>
                    <a:lnTo>
                      <a:pt x="225" y="334"/>
                    </a:lnTo>
                    <a:lnTo>
                      <a:pt x="223" y="333"/>
                    </a:lnTo>
                    <a:lnTo>
                      <a:pt x="222" y="331"/>
                    </a:lnTo>
                    <a:lnTo>
                      <a:pt x="222" y="330"/>
                    </a:lnTo>
                    <a:lnTo>
                      <a:pt x="220" y="328"/>
                    </a:lnTo>
                    <a:lnTo>
                      <a:pt x="220" y="327"/>
                    </a:lnTo>
                    <a:lnTo>
                      <a:pt x="220" y="325"/>
                    </a:lnTo>
                    <a:lnTo>
                      <a:pt x="220" y="323"/>
                    </a:lnTo>
                    <a:lnTo>
                      <a:pt x="220" y="322"/>
                    </a:lnTo>
                    <a:lnTo>
                      <a:pt x="220" y="320"/>
                    </a:lnTo>
                    <a:lnTo>
                      <a:pt x="220" y="319"/>
                    </a:lnTo>
                    <a:lnTo>
                      <a:pt x="222" y="319"/>
                    </a:lnTo>
                    <a:lnTo>
                      <a:pt x="223" y="319"/>
                    </a:lnTo>
                    <a:lnTo>
                      <a:pt x="223" y="317"/>
                    </a:lnTo>
                    <a:lnTo>
                      <a:pt x="225" y="317"/>
                    </a:lnTo>
                    <a:lnTo>
                      <a:pt x="226" y="317"/>
                    </a:lnTo>
                    <a:lnTo>
                      <a:pt x="228" y="317"/>
                    </a:lnTo>
                    <a:lnTo>
                      <a:pt x="229" y="317"/>
                    </a:lnTo>
                    <a:lnTo>
                      <a:pt x="231" y="317"/>
                    </a:lnTo>
                    <a:lnTo>
                      <a:pt x="231" y="315"/>
                    </a:lnTo>
                    <a:lnTo>
                      <a:pt x="231" y="317"/>
                    </a:lnTo>
                    <a:lnTo>
                      <a:pt x="233" y="317"/>
                    </a:lnTo>
                    <a:lnTo>
                      <a:pt x="234" y="319"/>
                    </a:lnTo>
                    <a:lnTo>
                      <a:pt x="236" y="320"/>
                    </a:lnTo>
                    <a:lnTo>
                      <a:pt x="237" y="322"/>
                    </a:lnTo>
                    <a:lnTo>
                      <a:pt x="239" y="322"/>
                    </a:lnTo>
                    <a:lnTo>
                      <a:pt x="241" y="322"/>
                    </a:lnTo>
                    <a:lnTo>
                      <a:pt x="241" y="323"/>
                    </a:lnTo>
                    <a:lnTo>
                      <a:pt x="242" y="323"/>
                    </a:lnTo>
                    <a:lnTo>
                      <a:pt x="242" y="325"/>
                    </a:lnTo>
                    <a:lnTo>
                      <a:pt x="242" y="327"/>
                    </a:lnTo>
                    <a:lnTo>
                      <a:pt x="244" y="327"/>
                    </a:lnTo>
                    <a:lnTo>
                      <a:pt x="244" y="328"/>
                    </a:lnTo>
                    <a:lnTo>
                      <a:pt x="245" y="330"/>
                    </a:lnTo>
                    <a:lnTo>
                      <a:pt x="247" y="330"/>
                    </a:lnTo>
                    <a:lnTo>
                      <a:pt x="248" y="330"/>
                    </a:lnTo>
                    <a:lnTo>
                      <a:pt x="250" y="330"/>
                    </a:lnTo>
                    <a:lnTo>
                      <a:pt x="252" y="331"/>
                    </a:lnTo>
                    <a:lnTo>
                      <a:pt x="252" y="333"/>
                    </a:lnTo>
                    <a:lnTo>
                      <a:pt x="253" y="334"/>
                    </a:lnTo>
                    <a:lnTo>
                      <a:pt x="255" y="334"/>
                    </a:lnTo>
                    <a:lnTo>
                      <a:pt x="256" y="334"/>
                    </a:lnTo>
                    <a:lnTo>
                      <a:pt x="256" y="333"/>
                    </a:lnTo>
                    <a:lnTo>
                      <a:pt x="258" y="333"/>
                    </a:lnTo>
                    <a:lnTo>
                      <a:pt x="258" y="331"/>
                    </a:lnTo>
                    <a:lnTo>
                      <a:pt x="258" y="330"/>
                    </a:lnTo>
                    <a:lnTo>
                      <a:pt x="258" y="328"/>
                    </a:lnTo>
                    <a:lnTo>
                      <a:pt x="260" y="328"/>
                    </a:lnTo>
                    <a:lnTo>
                      <a:pt x="261" y="328"/>
                    </a:lnTo>
                    <a:lnTo>
                      <a:pt x="263" y="328"/>
                    </a:lnTo>
                    <a:lnTo>
                      <a:pt x="264" y="328"/>
                    </a:lnTo>
                    <a:lnTo>
                      <a:pt x="266" y="328"/>
                    </a:lnTo>
                    <a:lnTo>
                      <a:pt x="266" y="330"/>
                    </a:lnTo>
                    <a:lnTo>
                      <a:pt x="266" y="331"/>
                    </a:lnTo>
                    <a:lnTo>
                      <a:pt x="266" y="333"/>
                    </a:lnTo>
                    <a:lnTo>
                      <a:pt x="267" y="333"/>
                    </a:lnTo>
                    <a:lnTo>
                      <a:pt x="267" y="334"/>
                    </a:lnTo>
                    <a:lnTo>
                      <a:pt x="269" y="334"/>
                    </a:lnTo>
                    <a:lnTo>
                      <a:pt x="271" y="334"/>
                    </a:lnTo>
                    <a:lnTo>
                      <a:pt x="272" y="333"/>
                    </a:lnTo>
                    <a:lnTo>
                      <a:pt x="274" y="333"/>
                    </a:lnTo>
                    <a:lnTo>
                      <a:pt x="275" y="333"/>
                    </a:lnTo>
                    <a:lnTo>
                      <a:pt x="275" y="331"/>
                    </a:lnTo>
                    <a:lnTo>
                      <a:pt x="277" y="331"/>
                    </a:lnTo>
                    <a:lnTo>
                      <a:pt x="279" y="331"/>
                    </a:lnTo>
                    <a:lnTo>
                      <a:pt x="280" y="330"/>
                    </a:lnTo>
                    <a:lnTo>
                      <a:pt x="280" y="328"/>
                    </a:lnTo>
                    <a:lnTo>
                      <a:pt x="280" y="327"/>
                    </a:lnTo>
                    <a:lnTo>
                      <a:pt x="279" y="325"/>
                    </a:lnTo>
                    <a:lnTo>
                      <a:pt x="277" y="323"/>
                    </a:lnTo>
                    <a:lnTo>
                      <a:pt x="275" y="322"/>
                    </a:lnTo>
                    <a:lnTo>
                      <a:pt x="275" y="323"/>
                    </a:lnTo>
                    <a:lnTo>
                      <a:pt x="274" y="323"/>
                    </a:lnTo>
                    <a:lnTo>
                      <a:pt x="272" y="323"/>
                    </a:lnTo>
                    <a:lnTo>
                      <a:pt x="272" y="322"/>
                    </a:lnTo>
                    <a:lnTo>
                      <a:pt x="271" y="322"/>
                    </a:lnTo>
                    <a:lnTo>
                      <a:pt x="271" y="320"/>
                    </a:lnTo>
                    <a:lnTo>
                      <a:pt x="272" y="319"/>
                    </a:lnTo>
                    <a:lnTo>
                      <a:pt x="274" y="317"/>
                    </a:lnTo>
                    <a:lnTo>
                      <a:pt x="274" y="315"/>
                    </a:lnTo>
                    <a:lnTo>
                      <a:pt x="272" y="315"/>
                    </a:lnTo>
                    <a:lnTo>
                      <a:pt x="272" y="314"/>
                    </a:lnTo>
                    <a:lnTo>
                      <a:pt x="271" y="314"/>
                    </a:lnTo>
                    <a:lnTo>
                      <a:pt x="271" y="315"/>
                    </a:lnTo>
                    <a:lnTo>
                      <a:pt x="269" y="315"/>
                    </a:lnTo>
                    <a:lnTo>
                      <a:pt x="269" y="314"/>
                    </a:lnTo>
                    <a:lnTo>
                      <a:pt x="267" y="314"/>
                    </a:lnTo>
                    <a:lnTo>
                      <a:pt x="266" y="314"/>
                    </a:lnTo>
                    <a:lnTo>
                      <a:pt x="266" y="312"/>
                    </a:lnTo>
                    <a:lnTo>
                      <a:pt x="264" y="312"/>
                    </a:lnTo>
                    <a:lnTo>
                      <a:pt x="264" y="314"/>
                    </a:lnTo>
                    <a:lnTo>
                      <a:pt x="263" y="314"/>
                    </a:lnTo>
                    <a:lnTo>
                      <a:pt x="263" y="315"/>
                    </a:lnTo>
                    <a:lnTo>
                      <a:pt x="261" y="315"/>
                    </a:lnTo>
                    <a:lnTo>
                      <a:pt x="260" y="314"/>
                    </a:lnTo>
                    <a:lnTo>
                      <a:pt x="260" y="312"/>
                    </a:lnTo>
                    <a:lnTo>
                      <a:pt x="258" y="312"/>
                    </a:lnTo>
                    <a:lnTo>
                      <a:pt x="256" y="312"/>
                    </a:lnTo>
                    <a:lnTo>
                      <a:pt x="255" y="312"/>
                    </a:lnTo>
                    <a:lnTo>
                      <a:pt x="253" y="312"/>
                    </a:lnTo>
                    <a:lnTo>
                      <a:pt x="253" y="311"/>
                    </a:lnTo>
                    <a:lnTo>
                      <a:pt x="252" y="311"/>
                    </a:lnTo>
                    <a:lnTo>
                      <a:pt x="250" y="311"/>
                    </a:lnTo>
                    <a:lnTo>
                      <a:pt x="248" y="312"/>
                    </a:lnTo>
                    <a:lnTo>
                      <a:pt x="247" y="312"/>
                    </a:lnTo>
                    <a:lnTo>
                      <a:pt x="247" y="311"/>
                    </a:lnTo>
                    <a:lnTo>
                      <a:pt x="248" y="311"/>
                    </a:lnTo>
                    <a:lnTo>
                      <a:pt x="248" y="309"/>
                    </a:lnTo>
                    <a:lnTo>
                      <a:pt x="248" y="307"/>
                    </a:lnTo>
                    <a:lnTo>
                      <a:pt x="250" y="307"/>
                    </a:lnTo>
                    <a:lnTo>
                      <a:pt x="252" y="306"/>
                    </a:lnTo>
                    <a:lnTo>
                      <a:pt x="253" y="306"/>
                    </a:lnTo>
                    <a:lnTo>
                      <a:pt x="253" y="304"/>
                    </a:lnTo>
                    <a:lnTo>
                      <a:pt x="255" y="304"/>
                    </a:lnTo>
                    <a:lnTo>
                      <a:pt x="255" y="303"/>
                    </a:lnTo>
                    <a:lnTo>
                      <a:pt x="255" y="301"/>
                    </a:lnTo>
                    <a:lnTo>
                      <a:pt x="255" y="300"/>
                    </a:lnTo>
                    <a:lnTo>
                      <a:pt x="253" y="300"/>
                    </a:lnTo>
                    <a:lnTo>
                      <a:pt x="252" y="300"/>
                    </a:lnTo>
                    <a:lnTo>
                      <a:pt x="252" y="298"/>
                    </a:lnTo>
                    <a:lnTo>
                      <a:pt x="250" y="296"/>
                    </a:lnTo>
                    <a:lnTo>
                      <a:pt x="250" y="295"/>
                    </a:lnTo>
                    <a:lnTo>
                      <a:pt x="248" y="295"/>
                    </a:lnTo>
                    <a:lnTo>
                      <a:pt x="247" y="295"/>
                    </a:lnTo>
                    <a:lnTo>
                      <a:pt x="245" y="295"/>
                    </a:lnTo>
                    <a:lnTo>
                      <a:pt x="244" y="295"/>
                    </a:lnTo>
                    <a:lnTo>
                      <a:pt x="244" y="293"/>
                    </a:lnTo>
                    <a:lnTo>
                      <a:pt x="244" y="292"/>
                    </a:lnTo>
                    <a:lnTo>
                      <a:pt x="244" y="290"/>
                    </a:lnTo>
                    <a:lnTo>
                      <a:pt x="244" y="288"/>
                    </a:lnTo>
                    <a:lnTo>
                      <a:pt x="242" y="288"/>
                    </a:lnTo>
                    <a:lnTo>
                      <a:pt x="241" y="288"/>
                    </a:lnTo>
                    <a:lnTo>
                      <a:pt x="239" y="288"/>
                    </a:lnTo>
                    <a:lnTo>
                      <a:pt x="237" y="288"/>
                    </a:lnTo>
                    <a:lnTo>
                      <a:pt x="237" y="290"/>
                    </a:lnTo>
                    <a:lnTo>
                      <a:pt x="236" y="292"/>
                    </a:lnTo>
                    <a:lnTo>
                      <a:pt x="236" y="293"/>
                    </a:lnTo>
                    <a:lnTo>
                      <a:pt x="234" y="293"/>
                    </a:lnTo>
                    <a:lnTo>
                      <a:pt x="233" y="293"/>
                    </a:lnTo>
                    <a:lnTo>
                      <a:pt x="233" y="292"/>
                    </a:lnTo>
                    <a:lnTo>
                      <a:pt x="231" y="293"/>
                    </a:lnTo>
                    <a:lnTo>
                      <a:pt x="229" y="295"/>
                    </a:lnTo>
                    <a:lnTo>
                      <a:pt x="228" y="295"/>
                    </a:lnTo>
                    <a:lnTo>
                      <a:pt x="226" y="295"/>
                    </a:lnTo>
                    <a:lnTo>
                      <a:pt x="225" y="295"/>
                    </a:lnTo>
                    <a:lnTo>
                      <a:pt x="225" y="296"/>
                    </a:lnTo>
                    <a:lnTo>
                      <a:pt x="223" y="296"/>
                    </a:lnTo>
                    <a:lnTo>
                      <a:pt x="222" y="298"/>
                    </a:lnTo>
                    <a:lnTo>
                      <a:pt x="220" y="298"/>
                    </a:lnTo>
                    <a:lnTo>
                      <a:pt x="218" y="298"/>
                    </a:lnTo>
                    <a:lnTo>
                      <a:pt x="218" y="300"/>
                    </a:lnTo>
                    <a:lnTo>
                      <a:pt x="217" y="300"/>
                    </a:lnTo>
                    <a:lnTo>
                      <a:pt x="217" y="301"/>
                    </a:lnTo>
                    <a:lnTo>
                      <a:pt x="215" y="301"/>
                    </a:lnTo>
                    <a:lnTo>
                      <a:pt x="214" y="303"/>
                    </a:lnTo>
                    <a:lnTo>
                      <a:pt x="214" y="301"/>
                    </a:lnTo>
                    <a:lnTo>
                      <a:pt x="212" y="301"/>
                    </a:lnTo>
                    <a:lnTo>
                      <a:pt x="210" y="301"/>
                    </a:lnTo>
                    <a:lnTo>
                      <a:pt x="210" y="303"/>
                    </a:lnTo>
                    <a:lnTo>
                      <a:pt x="209" y="303"/>
                    </a:lnTo>
                    <a:lnTo>
                      <a:pt x="209" y="304"/>
                    </a:lnTo>
                    <a:lnTo>
                      <a:pt x="207" y="304"/>
                    </a:lnTo>
                    <a:lnTo>
                      <a:pt x="207" y="306"/>
                    </a:lnTo>
                    <a:lnTo>
                      <a:pt x="206" y="307"/>
                    </a:lnTo>
                    <a:lnTo>
                      <a:pt x="204" y="307"/>
                    </a:lnTo>
                    <a:lnTo>
                      <a:pt x="204" y="309"/>
                    </a:lnTo>
                    <a:lnTo>
                      <a:pt x="203" y="309"/>
                    </a:lnTo>
                    <a:lnTo>
                      <a:pt x="201" y="309"/>
                    </a:lnTo>
                    <a:lnTo>
                      <a:pt x="199" y="309"/>
                    </a:lnTo>
                    <a:lnTo>
                      <a:pt x="198" y="309"/>
                    </a:lnTo>
                    <a:lnTo>
                      <a:pt x="198" y="311"/>
                    </a:lnTo>
                    <a:lnTo>
                      <a:pt x="196" y="311"/>
                    </a:lnTo>
                    <a:lnTo>
                      <a:pt x="196" y="309"/>
                    </a:lnTo>
                    <a:lnTo>
                      <a:pt x="195" y="309"/>
                    </a:lnTo>
                    <a:lnTo>
                      <a:pt x="193" y="309"/>
                    </a:lnTo>
                    <a:lnTo>
                      <a:pt x="193" y="307"/>
                    </a:lnTo>
                    <a:lnTo>
                      <a:pt x="191" y="307"/>
                    </a:lnTo>
                    <a:lnTo>
                      <a:pt x="191" y="306"/>
                    </a:lnTo>
                    <a:lnTo>
                      <a:pt x="190" y="306"/>
                    </a:lnTo>
                    <a:lnTo>
                      <a:pt x="190" y="304"/>
                    </a:lnTo>
                    <a:lnTo>
                      <a:pt x="190" y="303"/>
                    </a:lnTo>
                    <a:lnTo>
                      <a:pt x="191" y="301"/>
                    </a:lnTo>
                    <a:lnTo>
                      <a:pt x="191" y="300"/>
                    </a:lnTo>
                    <a:lnTo>
                      <a:pt x="193" y="300"/>
                    </a:lnTo>
                    <a:lnTo>
                      <a:pt x="195" y="300"/>
                    </a:lnTo>
                    <a:lnTo>
                      <a:pt x="195" y="298"/>
                    </a:lnTo>
                    <a:lnTo>
                      <a:pt x="196" y="298"/>
                    </a:lnTo>
                    <a:lnTo>
                      <a:pt x="196" y="296"/>
                    </a:lnTo>
                    <a:lnTo>
                      <a:pt x="198" y="296"/>
                    </a:lnTo>
                    <a:lnTo>
                      <a:pt x="198" y="295"/>
                    </a:lnTo>
                    <a:lnTo>
                      <a:pt x="199" y="295"/>
                    </a:lnTo>
                    <a:lnTo>
                      <a:pt x="199" y="293"/>
                    </a:lnTo>
                    <a:lnTo>
                      <a:pt x="199" y="292"/>
                    </a:lnTo>
                    <a:lnTo>
                      <a:pt x="199" y="290"/>
                    </a:lnTo>
                    <a:lnTo>
                      <a:pt x="199" y="288"/>
                    </a:lnTo>
                    <a:lnTo>
                      <a:pt x="199" y="287"/>
                    </a:lnTo>
                    <a:lnTo>
                      <a:pt x="199" y="285"/>
                    </a:lnTo>
                    <a:lnTo>
                      <a:pt x="201" y="285"/>
                    </a:lnTo>
                    <a:lnTo>
                      <a:pt x="199" y="284"/>
                    </a:lnTo>
                    <a:lnTo>
                      <a:pt x="201" y="284"/>
                    </a:lnTo>
                    <a:lnTo>
                      <a:pt x="201" y="282"/>
                    </a:lnTo>
                    <a:lnTo>
                      <a:pt x="201" y="281"/>
                    </a:lnTo>
                    <a:lnTo>
                      <a:pt x="199" y="281"/>
                    </a:lnTo>
                    <a:lnTo>
                      <a:pt x="198" y="281"/>
                    </a:lnTo>
                    <a:lnTo>
                      <a:pt x="196" y="281"/>
                    </a:lnTo>
                    <a:lnTo>
                      <a:pt x="195" y="281"/>
                    </a:lnTo>
                    <a:lnTo>
                      <a:pt x="195" y="279"/>
                    </a:lnTo>
                    <a:lnTo>
                      <a:pt x="195" y="277"/>
                    </a:lnTo>
                    <a:lnTo>
                      <a:pt x="193" y="277"/>
                    </a:lnTo>
                    <a:lnTo>
                      <a:pt x="193" y="276"/>
                    </a:lnTo>
                    <a:lnTo>
                      <a:pt x="193" y="274"/>
                    </a:lnTo>
                    <a:lnTo>
                      <a:pt x="193" y="273"/>
                    </a:lnTo>
                    <a:lnTo>
                      <a:pt x="193" y="271"/>
                    </a:lnTo>
                    <a:lnTo>
                      <a:pt x="195" y="271"/>
                    </a:lnTo>
                    <a:lnTo>
                      <a:pt x="195" y="269"/>
                    </a:lnTo>
                    <a:lnTo>
                      <a:pt x="196" y="268"/>
                    </a:lnTo>
                    <a:lnTo>
                      <a:pt x="196" y="266"/>
                    </a:lnTo>
                    <a:lnTo>
                      <a:pt x="198" y="266"/>
                    </a:lnTo>
                    <a:lnTo>
                      <a:pt x="198" y="265"/>
                    </a:lnTo>
                    <a:lnTo>
                      <a:pt x="198" y="263"/>
                    </a:lnTo>
                    <a:lnTo>
                      <a:pt x="199" y="263"/>
                    </a:lnTo>
                    <a:lnTo>
                      <a:pt x="199" y="262"/>
                    </a:lnTo>
                    <a:lnTo>
                      <a:pt x="199" y="260"/>
                    </a:lnTo>
                    <a:lnTo>
                      <a:pt x="201" y="260"/>
                    </a:lnTo>
                    <a:lnTo>
                      <a:pt x="201" y="258"/>
                    </a:lnTo>
                    <a:lnTo>
                      <a:pt x="201" y="257"/>
                    </a:lnTo>
                    <a:lnTo>
                      <a:pt x="201" y="255"/>
                    </a:lnTo>
                    <a:lnTo>
                      <a:pt x="203" y="254"/>
                    </a:lnTo>
                    <a:lnTo>
                      <a:pt x="203" y="252"/>
                    </a:lnTo>
                    <a:lnTo>
                      <a:pt x="203" y="250"/>
                    </a:lnTo>
                    <a:lnTo>
                      <a:pt x="204" y="250"/>
                    </a:lnTo>
                    <a:lnTo>
                      <a:pt x="204" y="249"/>
                    </a:lnTo>
                    <a:lnTo>
                      <a:pt x="204" y="247"/>
                    </a:lnTo>
                    <a:lnTo>
                      <a:pt x="206" y="246"/>
                    </a:lnTo>
                    <a:lnTo>
                      <a:pt x="206" y="244"/>
                    </a:lnTo>
                    <a:lnTo>
                      <a:pt x="206" y="243"/>
                    </a:lnTo>
                    <a:lnTo>
                      <a:pt x="207" y="243"/>
                    </a:lnTo>
                    <a:lnTo>
                      <a:pt x="207" y="241"/>
                    </a:lnTo>
                    <a:lnTo>
                      <a:pt x="207" y="239"/>
                    </a:lnTo>
                    <a:lnTo>
                      <a:pt x="209" y="239"/>
                    </a:lnTo>
                    <a:lnTo>
                      <a:pt x="209" y="238"/>
                    </a:lnTo>
                    <a:lnTo>
                      <a:pt x="210" y="238"/>
                    </a:lnTo>
                    <a:lnTo>
                      <a:pt x="210" y="236"/>
                    </a:lnTo>
                    <a:lnTo>
                      <a:pt x="212" y="236"/>
                    </a:lnTo>
                    <a:lnTo>
                      <a:pt x="212" y="235"/>
                    </a:lnTo>
                    <a:lnTo>
                      <a:pt x="214" y="235"/>
                    </a:lnTo>
                    <a:lnTo>
                      <a:pt x="215" y="235"/>
                    </a:lnTo>
                    <a:lnTo>
                      <a:pt x="215" y="233"/>
                    </a:lnTo>
                    <a:lnTo>
                      <a:pt x="217" y="233"/>
                    </a:lnTo>
                    <a:lnTo>
                      <a:pt x="218" y="233"/>
                    </a:lnTo>
                    <a:lnTo>
                      <a:pt x="220" y="233"/>
                    </a:lnTo>
                    <a:lnTo>
                      <a:pt x="220" y="231"/>
                    </a:lnTo>
                    <a:lnTo>
                      <a:pt x="222" y="231"/>
                    </a:lnTo>
                    <a:lnTo>
                      <a:pt x="223" y="231"/>
                    </a:lnTo>
                    <a:lnTo>
                      <a:pt x="225" y="231"/>
                    </a:lnTo>
                    <a:lnTo>
                      <a:pt x="226" y="231"/>
                    </a:lnTo>
                    <a:lnTo>
                      <a:pt x="228" y="231"/>
                    </a:lnTo>
                    <a:lnTo>
                      <a:pt x="229" y="231"/>
                    </a:lnTo>
                    <a:lnTo>
                      <a:pt x="231" y="231"/>
                    </a:lnTo>
                    <a:lnTo>
                      <a:pt x="233" y="231"/>
                    </a:lnTo>
                    <a:lnTo>
                      <a:pt x="234" y="233"/>
                    </a:lnTo>
                    <a:lnTo>
                      <a:pt x="236" y="231"/>
                    </a:lnTo>
                    <a:lnTo>
                      <a:pt x="237" y="231"/>
                    </a:lnTo>
                    <a:lnTo>
                      <a:pt x="239" y="231"/>
                    </a:lnTo>
                    <a:lnTo>
                      <a:pt x="241" y="231"/>
                    </a:lnTo>
                    <a:lnTo>
                      <a:pt x="241" y="233"/>
                    </a:lnTo>
                    <a:lnTo>
                      <a:pt x="242" y="233"/>
                    </a:lnTo>
                    <a:lnTo>
                      <a:pt x="242" y="235"/>
                    </a:lnTo>
                    <a:lnTo>
                      <a:pt x="242" y="236"/>
                    </a:lnTo>
                    <a:lnTo>
                      <a:pt x="244" y="238"/>
                    </a:lnTo>
                    <a:lnTo>
                      <a:pt x="244" y="239"/>
                    </a:lnTo>
                    <a:lnTo>
                      <a:pt x="244" y="241"/>
                    </a:lnTo>
                    <a:lnTo>
                      <a:pt x="244" y="243"/>
                    </a:lnTo>
                    <a:lnTo>
                      <a:pt x="245" y="244"/>
                    </a:lnTo>
                    <a:lnTo>
                      <a:pt x="247" y="155"/>
                    </a:lnTo>
                    <a:lnTo>
                      <a:pt x="138" y="155"/>
                    </a:lnTo>
                    <a:lnTo>
                      <a:pt x="0" y="159"/>
                    </a:lnTo>
                    <a:lnTo>
                      <a:pt x="0" y="154"/>
                    </a:lnTo>
                    <a:lnTo>
                      <a:pt x="5" y="35"/>
                    </a:lnTo>
                    <a:lnTo>
                      <a:pt x="6" y="0"/>
                    </a:lnTo>
                    <a:lnTo>
                      <a:pt x="55" y="0"/>
                    </a:lnTo>
                    <a:lnTo>
                      <a:pt x="264" y="0"/>
                    </a:lnTo>
                    <a:lnTo>
                      <a:pt x="309" y="0"/>
                    </a:lnTo>
                    <a:lnTo>
                      <a:pt x="321" y="0"/>
                    </a:lnTo>
                    <a:lnTo>
                      <a:pt x="399"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78" name="Freeform 58"/>
              <p:cNvSpPr>
                <a:spLocks/>
              </p:cNvSpPr>
              <p:nvPr/>
            </p:nvSpPr>
            <p:spPr bwMode="auto">
              <a:xfrm>
                <a:off x="2734" y="2446"/>
                <a:ext cx="1004" cy="926"/>
              </a:xfrm>
              <a:custGeom>
                <a:avLst/>
                <a:gdLst>
                  <a:gd name="T0" fmla="*/ 418 w 1004"/>
                  <a:gd name="T1" fmla="*/ 27 h 926"/>
                  <a:gd name="T2" fmla="*/ 464 w 1004"/>
                  <a:gd name="T3" fmla="*/ 31 h 926"/>
                  <a:gd name="T4" fmla="*/ 504 w 1004"/>
                  <a:gd name="T5" fmla="*/ 46 h 926"/>
                  <a:gd name="T6" fmla="*/ 518 w 1004"/>
                  <a:gd name="T7" fmla="*/ 95 h 926"/>
                  <a:gd name="T8" fmla="*/ 551 w 1004"/>
                  <a:gd name="T9" fmla="*/ 125 h 926"/>
                  <a:gd name="T10" fmla="*/ 588 w 1004"/>
                  <a:gd name="T11" fmla="*/ 153 h 926"/>
                  <a:gd name="T12" fmla="*/ 605 w 1004"/>
                  <a:gd name="T13" fmla="*/ 190 h 926"/>
                  <a:gd name="T14" fmla="*/ 648 w 1004"/>
                  <a:gd name="T15" fmla="*/ 218 h 926"/>
                  <a:gd name="T16" fmla="*/ 624 w 1004"/>
                  <a:gd name="T17" fmla="*/ 263 h 926"/>
                  <a:gd name="T18" fmla="*/ 664 w 1004"/>
                  <a:gd name="T19" fmla="*/ 317 h 926"/>
                  <a:gd name="T20" fmla="*/ 719 w 1004"/>
                  <a:gd name="T21" fmla="*/ 310 h 926"/>
                  <a:gd name="T22" fmla="*/ 776 w 1004"/>
                  <a:gd name="T23" fmla="*/ 310 h 926"/>
                  <a:gd name="T24" fmla="*/ 824 w 1004"/>
                  <a:gd name="T25" fmla="*/ 318 h 926"/>
                  <a:gd name="T26" fmla="*/ 868 w 1004"/>
                  <a:gd name="T27" fmla="*/ 336 h 926"/>
                  <a:gd name="T28" fmla="*/ 920 w 1004"/>
                  <a:gd name="T29" fmla="*/ 345 h 926"/>
                  <a:gd name="T30" fmla="*/ 949 w 1004"/>
                  <a:gd name="T31" fmla="*/ 367 h 926"/>
                  <a:gd name="T32" fmla="*/ 998 w 1004"/>
                  <a:gd name="T33" fmla="*/ 378 h 926"/>
                  <a:gd name="T34" fmla="*/ 968 w 1004"/>
                  <a:gd name="T35" fmla="*/ 407 h 926"/>
                  <a:gd name="T36" fmla="*/ 882 w 1004"/>
                  <a:gd name="T37" fmla="*/ 504 h 926"/>
                  <a:gd name="T38" fmla="*/ 887 w 1004"/>
                  <a:gd name="T39" fmla="*/ 572 h 926"/>
                  <a:gd name="T40" fmla="*/ 855 w 1004"/>
                  <a:gd name="T41" fmla="*/ 597 h 926"/>
                  <a:gd name="T42" fmla="*/ 828 w 1004"/>
                  <a:gd name="T43" fmla="*/ 627 h 926"/>
                  <a:gd name="T44" fmla="*/ 767 w 1004"/>
                  <a:gd name="T45" fmla="*/ 635 h 926"/>
                  <a:gd name="T46" fmla="*/ 683 w 1004"/>
                  <a:gd name="T47" fmla="*/ 641 h 926"/>
                  <a:gd name="T48" fmla="*/ 648 w 1004"/>
                  <a:gd name="T49" fmla="*/ 654 h 926"/>
                  <a:gd name="T50" fmla="*/ 605 w 1004"/>
                  <a:gd name="T51" fmla="*/ 667 h 926"/>
                  <a:gd name="T52" fmla="*/ 586 w 1004"/>
                  <a:gd name="T53" fmla="*/ 709 h 926"/>
                  <a:gd name="T54" fmla="*/ 610 w 1004"/>
                  <a:gd name="T55" fmla="*/ 747 h 926"/>
                  <a:gd name="T56" fmla="*/ 616 w 1004"/>
                  <a:gd name="T57" fmla="*/ 773 h 926"/>
                  <a:gd name="T58" fmla="*/ 643 w 1004"/>
                  <a:gd name="T59" fmla="*/ 819 h 926"/>
                  <a:gd name="T60" fmla="*/ 678 w 1004"/>
                  <a:gd name="T61" fmla="*/ 849 h 926"/>
                  <a:gd name="T62" fmla="*/ 643 w 1004"/>
                  <a:gd name="T63" fmla="*/ 898 h 926"/>
                  <a:gd name="T64" fmla="*/ 621 w 1004"/>
                  <a:gd name="T65" fmla="*/ 919 h 926"/>
                  <a:gd name="T66" fmla="*/ 588 w 1004"/>
                  <a:gd name="T67" fmla="*/ 892 h 926"/>
                  <a:gd name="T68" fmla="*/ 559 w 1004"/>
                  <a:gd name="T69" fmla="*/ 892 h 926"/>
                  <a:gd name="T70" fmla="*/ 513 w 1004"/>
                  <a:gd name="T71" fmla="*/ 885 h 926"/>
                  <a:gd name="T72" fmla="*/ 470 w 1004"/>
                  <a:gd name="T73" fmla="*/ 893 h 926"/>
                  <a:gd name="T74" fmla="*/ 437 w 1004"/>
                  <a:gd name="T75" fmla="*/ 855 h 926"/>
                  <a:gd name="T76" fmla="*/ 385 w 1004"/>
                  <a:gd name="T77" fmla="*/ 857 h 926"/>
                  <a:gd name="T78" fmla="*/ 341 w 1004"/>
                  <a:gd name="T79" fmla="*/ 830 h 926"/>
                  <a:gd name="T80" fmla="*/ 315 w 1004"/>
                  <a:gd name="T81" fmla="*/ 823 h 926"/>
                  <a:gd name="T82" fmla="*/ 258 w 1004"/>
                  <a:gd name="T83" fmla="*/ 798 h 926"/>
                  <a:gd name="T84" fmla="*/ 166 w 1004"/>
                  <a:gd name="T85" fmla="*/ 759 h 926"/>
                  <a:gd name="T86" fmla="*/ 90 w 1004"/>
                  <a:gd name="T87" fmla="*/ 738 h 926"/>
                  <a:gd name="T88" fmla="*/ 49 w 1004"/>
                  <a:gd name="T89" fmla="*/ 694 h 926"/>
                  <a:gd name="T90" fmla="*/ 30 w 1004"/>
                  <a:gd name="T91" fmla="*/ 659 h 926"/>
                  <a:gd name="T92" fmla="*/ 16 w 1004"/>
                  <a:gd name="T93" fmla="*/ 611 h 926"/>
                  <a:gd name="T94" fmla="*/ 82 w 1004"/>
                  <a:gd name="T95" fmla="*/ 576 h 926"/>
                  <a:gd name="T96" fmla="*/ 104 w 1004"/>
                  <a:gd name="T97" fmla="*/ 538 h 926"/>
                  <a:gd name="T98" fmla="*/ 93 w 1004"/>
                  <a:gd name="T99" fmla="*/ 500 h 926"/>
                  <a:gd name="T100" fmla="*/ 103 w 1004"/>
                  <a:gd name="T101" fmla="*/ 477 h 926"/>
                  <a:gd name="T102" fmla="*/ 138 w 1004"/>
                  <a:gd name="T103" fmla="*/ 459 h 926"/>
                  <a:gd name="T104" fmla="*/ 173 w 1004"/>
                  <a:gd name="T105" fmla="*/ 443 h 926"/>
                  <a:gd name="T106" fmla="*/ 179 w 1004"/>
                  <a:gd name="T107" fmla="*/ 477 h 926"/>
                  <a:gd name="T108" fmla="*/ 204 w 1004"/>
                  <a:gd name="T109" fmla="*/ 515 h 926"/>
                  <a:gd name="T110" fmla="*/ 245 w 1004"/>
                  <a:gd name="T111" fmla="*/ 521 h 926"/>
                  <a:gd name="T112" fmla="*/ 30 w 1004"/>
                  <a:gd name="T113" fmla="*/ 229 h 926"/>
                  <a:gd name="T114" fmla="*/ 66 w 1004"/>
                  <a:gd name="T115" fmla="*/ 206 h 926"/>
                  <a:gd name="T116" fmla="*/ 90 w 1004"/>
                  <a:gd name="T117" fmla="*/ 117 h 926"/>
                  <a:gd name="T118" fmla="*/ 136 w 1004"/>
                  <a:gd name="T119" fmla="*/ 98 h 926"/>
                  <a:gd name="T120" fmla="*/ 171 w 1004"/>
                  <a:gd name="T121" fmla="*/ 85 h 926"/>
                  <a:gd name="T122" fmla="*/ 211 w 1004"/>
                  <a:gd name="T123" fmla="*/ 81 h 926"/>
                  <a:gd name="T124" fmla="*/ 288 w 1004"/>
                  <a:gd name="T125" fmla="*/ 27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4" h="926">
                    <a:moveTo>
                      <a:pt x="374" y="17"/>
                    </a:moveTo>
                    <a:lnTo>
                      <a:pt x="375" y="17"/>
                    </a:lnTo>
                    <a:lnTo>
                      <a:pt x="377" y="17"/>
                    </a:lnTo>
                    <a:lnTo>
                      <a:pt x="379" y="19"/>
                    </a:lnTo>
                    <a:lnTo>
                      <a:pt x="380" y="19"/>
                    </a:lnTo>
                    <a:lnTo>
                      <a:pt x="380" y="20"/>
                    </a:lnTo>
                    <a:lnTo>
                      <a:pt x="382" y="20"/>
                    </a:lnTo>
                    <a:lnTo>
                      <a:pt x="382" y="22"/>
                    </a:lnTo>
                    <a:lnTo>
                      <a:pt x="383" y="22"/>
                    </a:lnTo>
                    <a:lnTo>
                      <a:pt x="383" y="24"/>
                    </a:lnTo>
                    <a:lnTo>
                      <a:pt x="385" y="24"/>
                    </a:lnTo>
                    <a:lnTo>
                      <a:pt x="386" y="24"/>
                    </a:lnTo>
                    <a:lnTo>
                      <a:pt x="386" y="25"/>
                    </a:lnTo>
                    <a:lnTo>
                      <a:pt x="388" y="27"/>
                    </a:lnTo>
                    <a:lnTo>
                      <a:pt x="390" y="28"/>
                    </a:lnTo>
                    <a:lnTo>
                      <a:pt x="391" y="28"/>
                    </a:lnTo>
                    <a:lnTo>
                      <a:pt x="393" y="28"/>
                    </a:lnTo>
                    <a:lnTo>
                      <a:pt x="393" y="30"/>
                    </a:lnTo>
                    <a:lnTo>
                      <a:pt x="394" y="30"/>
                    </a:lnTo>
                    <a:lnTo>
                      <a:pt x="396" y="30"/>
                    </a:lnTo>
                    <a:lnTo>
                      <a:pt x="398" y="30"/>
                    </a:lnTo>
                    <a:lnTo>
                      <a:pt x="399" y="30"/>
                    </a:lnTo>
                    <a:lnTo>
                      <a:pt x="401" y="30"/>
                    </a:lnTo>
                    <a:lnTo>
                      <a:pt x="402" y="30"/>
                    </a:lnTo>
                    <a:lnTo>
                      <a:pt x="402" y="31"/>
                    </a:lnTo>
                    <a:lnTo>
                      <a:pt x="404" y="31"/>
                    </a:lnTo>
                    <a:lnTo>
                      <a:pt x="405" y="31"/>
                    </a:lnTo>
                    <a:lnTo>
                      <a:pt x="405" y="30"/>
                    </a:lnTo>
                    <a:lnTo>
                      <a:pt x="407" y="30"/>
                    </a:lnTo>
                    <a:lnTo>
                      <a:pt x="409" y="30"/>
                    </a:lnTo>
                    <a:lnTo>
                      <a:pt x="410" y="28"/>
                    </a:lnTo>
                    <a:lnTo>
                      <a:pt x="412" y="28"/>
                    </a:lnTo>
                    <a:lnTo>
                      <a:pt x="413" y="28"/>
                    </a:lnTo>
                    <a:lnTo>
                      <a:pt x="415" y="28"/>
                    </a:lnTo>
                    <a:lnTo>
                      <a:pt x="417" y="27"/>
                    </a:lnTo>
                    <a:lnTo>
                      <a:pt x="418" y="27"/>
                    </a:lnTo>
                    <a:lnTo>
                      <a:pt x="420" y="27"/>
                    </a:lnTo>
                    <a:lnTo>
                      <a:pt x="421" y="27"/>
                    </a:lnTo>
                    <a:lnTo>
                      <a:pt x="423" y="28"/>
                    </a:lnTo>
                    <a:lnTo>
                      <a:pt x="424" y="28"/>
                    </a:lnTo>
                    <a:lnTo>
                      <a:pt x="426" y="28"/>
                    </a:lnTo>
                    <a:lnTo>
                      <a:pt x="428" y="27"/>
                    </a:lnTo>
                    <a:lnTo>
                      <a:pt x="429" y="27"/>
                    </a:lnTo>
                    <a:lnTo>
                      <a:pt x="429" y="28"/>
                    </a:lnTo>
                    <a:lnTo>
                      <a:pt x="431" y="28"/>
                    </a:lnTo>
                    <a:lnTo>
                      <a:pt x="432" y="28"/>
                    </a:lnTo>
                    <a:lnTo>
                      <a:pt x="432" y="30"/>
                    </a:lnTo>
                    <a:lnTo>
                      <a:pt x="434" y="30"/>
                    </a:lnTo>
                    <a:lnTo>
                      <a:pt x="436" y="30"/>
                    </a:lnTo>
                    <a:lnTo>
                      <a:pt x="437" y="28"/>
                    </a:lnTo>
                    <a:lnTo>
                      <a:pt x="437" y="30"/>
                    </a:lnTo>
                    <a:lnTo>
                      <a:pt x="439" y="30"/>
                    </a:lnTo>
                    <a:lnTo>
                      <a:pt x="440" y="30"/>
                    </a:lnTo>
                    <a:lnTo>
                      <a:pt x="440" y="31"/>
                    </a:lnTo>
                    <a:lnTo>
                      <a:pt x="442" y="31"/>
                    </a:lnTo>
                    <a:lnTo>
                      <a:pt x="443" y="31"/>
                    </a:lnTo>
                    <a:lnTo>
                      <a:pt x="445" y="31"/>
                    </a:lnTo>
                    <a:lnTo>
                      <a:pt x="447" y="31"/>
                    </a:lnTo>
                    <a:lnTo>
                      <a:pt x="448" y="31"/>
                    </a:lnTo>
                    <a:lnTo>
                      <a:pt x="448" y="30"/>
                    </a:lnTo>
                    <a:lnTo>
                      <a:pt x="450" y="28"/>
                    </a:lnTo>
                    <a:lnTo>
                      <a:pt x="451" y="28"/>
                    </a:lnTo>
                    <a:lnTo>
                      <a:pt x="453" y="28"/>
                    </a:lnTo>
                    <a:lnTo>
                      <a:pt x="455" y="28"/>
                    </a:lnTo>
                    <a:lnTo>
                      <a:pt x="456" y="28"/>
                    </a:lnTo>
                    <a:lnTo>
                      <a:pt x="458" y="28"/>
                    </a:lnTo>
                    <a:lnTo>
                      <a:pt x="459" y="28"/>
                    </a:lnTo>
                    <a:lnTo>
                      <a:pt x="461" y="28"/>
                    </a:lnTo>
                    <a:lnTo>
                      <a:pt x="462" y="28"/>
                    </a:lnTo>
                    <a:lnTo>
                      <a:pt x="462" y="30"/>
                    </a:lnTo>
                    <a:lnTo>
                      <a:pt x="464" y="30"/>
                    </a:lnTo>
                    <a:lnTo>
                      <a:pt x="464" y="31"/>
                    </a:lnTo>
                    <a:lnTo>
                      <a:pt x="466" y="31"/>
                    </a:lnTo>
                    <a:lnTo>
                      <a:pt x="467" y="30"/>
                    </a:lnTo>
                    <a:lnTo>
                      <a:pt x="469" y="30"/>
                    </a:lnTo>
                    <a:lnTo>
                      <a:pt x="470" y="28"/>
                    </a:lnTo>
                    <a:lnTo>
                      <a:pt x="470" y="27"/>
                    </a:lnTo>
                    <a:lnTo>
                      <a:pt x="472" y="27"/>
                    </a:lnTo>
                    <a:lnTo>
                      <a:pt x="474" y="27"/>
                    </a:lnTo>
                    <a:lnTo>
                      <a:pt x="474" y="25"/>
                    </a:lnTo>
                    <a:lnTo>
                      <a:pt x="475" y="27"/>
                    </a:lnTo>
                    <a:lnTo>
                      <a:pt x="477" y="27"/>
                    </a:lnTo>
                    <a:lnTo>
                      <a:pt x="478" y="27"/>
                    </a:lnTo>
                    <a:lnTo>
                      <a:pt x="480" y="27"/>
                    </a:lnTo>
                    <a:lnTo>
                      <a:pt x="481" y="27"/>
                    </a:lnTo>
                    <a:lnTo>
                      <a:pt x="483" y="27"/>
                    </a:lnTo>
                    <a:lnTo>
                      <a:pt x="485" y="27"/>
                    </a:lnTo>
                    <a:lnTo>
                      <a:pt x="486" y="27"/>
                    </a:lnTo>
                    <a:lnTo>
                      <a:pt x="488" y="28"/>
                    </a:lnTo>
                    <a:lnTo>
                      <a:pt x="489" y="28"/>
                    </a:lnTo>
                    <a:lnTo>
                      <a:pt x="491" y="28"/>
                    </a:lnTo>
                    <a:lnTo>
                      <a:pt x="491" y="30"/>
                    </a:lnTo>
                    <a:lnTo>
                      <a:pt x="493" y="30"/>
                    </a:lnTo>
                    <a:lnTo>
                      <a:pt x="494" y="30"/>
                    </a:lnTo>
                    <a:lnTo>
                      <a:pt x="496" y="30"/>
                    </a:lnTo>
                    <a:lnTo>
                      <a:pt x="496" y="31"/>
                    </a:lnTo>
                    <a:lnTo>
                      <a:pt x="497" y="31"/>
                    </a:lnTo>
                    <a:lnTo>
                      <a:pt x="497" y="33"/>
                    </a:lnTo>
                    <a:lnTo>
                      <a:pt x="497" y="35"/>
                    </a:lnTo>
                    <a:lnTo>
                      <a:pt x="499" y="36"/>
                    </a:lnTo>
                    <a:lnTo>
                      <a:pt x="499" y="38"/>
                    </a:lnTo>
                    <a:lnTo>
                      <a:pt x="500" y="38"/>
                    </a:lnTo>
                    <a:lnTo>
                      <a:pt x="500" y="39"/>
                    </a:lnTo>
                    <a:lnTo>
                      <a:pt x="500" y="41"/>
                    </a:lnTo>
                    <a:lnTo>
                      <a:pt x="500" y="43"/>
                    </a:lnTo>
                    <a:lnTo>
                      <a:pt x="502" y="44"/>
                    </a:lnTo>
                    <a:lnTo>
                      <a:pt x="502" y="46"/>
                    </a:lnTo>
                    <a:lnTo>
                      <a:pt x="504" y="46"/>
                    </a:lnTo>
                    <a:lnTo>
                      <a:pt x="504" y="47"/>
                    </a:lnTo>
                    <a:lnTo>
                      <a:pt x="505" y="49"/>
                    </a:lnTo>
                    <a:lnTo>
                      <a:pt x="505" y="50"/>
                    </a:lnTo>
                    <a:lnTo>
                      <a:pt x="507" y="50"/>
                    </a:lnTo>
                    <a:lnTo>
                      <a:pt x="508" y="52"/>
                    </a:lnTo>
                    <a:lnTo>
                      <a:pt x="508" y="54"/>
                    </a:lnTo>
                    <a:lnTo>
                      <a:pt x="507" y="55"/>
                    </a:lnTo>
                    <a:lnTo>
                      <a:pt x="507" y="57"/>
                    </a:lnTo>
                    <a:lnTo>
                      <a:pt x="507" y="58"/>
                    </a:lnTo>
                    <a:lnTo>
                      <a:pt x="505" y="60"/>
                    </a:lnTo>
                    <a:lnTo>
                      <a:pt x="505" y="62"/>
                    </a:lnTo>
                    <a:lnTo>
                      <a:pt x="505" y="63"/>
                    </a:lnTo>
                    <a:lnTo>
                      <a:pt x="507" y="65"/>
                    </a:lnTo>
                    <a:lnTo>
                      <a:pt x="507" y="66"/>
                    </a:lnTo>
                    <a:lnTo>
                      <a:pt x="507" y="68"/>
                    </a:lnTo>
                    <a:lnTo>
                      <a:pt x="507" y="69"/>
                    </a:lnTo>
                    <a:lnTo>
                      <a:pt x="508" y="71"/>
                    </a:lnTo>
                    <a:lnTo>
                      <a:pt x="508" y="73"/>
                    </a:lnTo>
                    <a:lnTo>
                      <a:pt x="510" y="73"/>
                    </a:lnTo>
                    <a:lnTo>
                      <a:pt x="510" y="74"/>
                    </a:lnTo>
                    <a:lnTo>
                      <a:pt x="510" y="76"/>
                    </a:lnTo>
                    <a:lnTo>
                      <a:pt x="510" y="77"/>
                    </a:lnTo>
                    <a:lnTo>
                      <a:pt x="510" y="79"/>
                    </a:lnTo>
                    <a:lnTo>
                      <a:pt x="510" y="81"/>
                    </a:lnTo>
                    <a:lnTo>
                      <a:pt x="512" y="81"/>
                    </a:lnTo>
                    <a:lnTo>
                      <a:pt x="512" y="82"/>
                    </a:lnTo>
                    <a:lnTo>
                      <a:pt x="510" y="82"/>
                    </a:lnTo>
                    <a:lnTo>
                      <a:pt x="510" y="84"/>
                    </a:lnTo>
                    <a:lnTo>
                      <a:pt x="512" y="84"/>
                    </a:lnTo>
                    <a:lnTo>
                      <a:pt x="512" y="85"/>
                    </a:lnTo>
                    <a:lnTo>
                      <a:pt x="512" y="87"/>
                    </a:lnTo>
                    <a:lnTo>
                      <a:pt x="513" y="88"/>
                    </a:lnTo>
                    <a:lnTo>
                      <a:pt x="515" y="90"/>
                    </a:lnTo>
                    <a:lnTo>
                      <a:pt x="516" y="92"/>
                    </a:lnTo>
                    <a:lnTo>
                      <a:pt x="516" y="93"/>
                    </a:lnTo>
                    <a:lnTo>
                      <a:pt x="518" y="95"/>
                    </a:lnTo>
                    <a:lnTo>
                      <a:pt x="519" y="95"/>
                    </a:lnTo>
                    <a:lnTo>
                      <a:pt x="521" y="96"/>
                    </a:lnTo>
                    <a:lnTo>
                      <a:pt x="523" y="96"/>
                    </a:lnTo>
                    <a:lnTo>
                      <a:pt x="523" y="98"/>
                    </a:lnTo>
                    <a:lnTo>
                      <a:pt x="524" y="98"/>
                    </a:lnTo>
                    <a:lnTo>
                      <a:pt x="526" y="100"/>
                    </a:lnTo>
                    <a:lnTo>
                      <a:pt x="527" y="100"/>
                    </a:lnTo>
                    <a:lnTo>
                      <a:pt x="529" y="100"/>
                    </a:lnTo>
                    <a:lnTo>
                      <a:pt x="531" y="100"/>
                    </a:lnTo>
                    <a:lnTo>
                      <a:pt x="532" y="98"/>
                    </a:lnTo>
                    <a:lnTo>
                      <a:pt x="534" y="98"/>
                    </a:lnTo>
                    <a:lnTo>
                      <a:pt x="534" y="100"/>
                    </a:lnTo>
                    <a:lnTo>
                      <a:pt x="535" y="100"/>
                    </a:lnTo>
                    <a:lnTo>
                      <a:pt x="537" y="100"/>
                    </a:lnTo>
                    <a:lnTo>
                      <a:pt x="537" y="101"/>
                    </a:lnTo>
                    <a:lnTo>
                      <a:pt x="539" y="101"/>
                    </a:lnTo>
                    <a:lnTo>
                      <a:pt x="539" y="103"/>
                    </a:lnTo>
                    <a:lnTo>
                      <a:pt x="540" y="104"/>
                    </a:lnTo>
                    <a:lnTo>
                      <a:pt x="540" y="106"/>
                    </a:lnTo>
                    <a:lnTo>
                      <a:pt x="542" y="106"/>
                    </a:lnTo>
                    <a:lnTo>
                      <a:pt x="542" y="108"/>
                    </a:lnTo>
                    <a:lnTo>
                      <a:pt x="542" y="109"/>
                    </a:lnTo>
                    <a:lnTo>
                      <a:pt x="543" y="109"/>
                    </a:lnTo>
                    <a:lnTo>
                      <a:pt x="543" y="111"/>
                    </a:lnTo>
                    <a:lnTo>
                      <a:pt x="545" y="111"/>
                    </a:lnTo>
                    <a:lnTo>
                      <a:pt x="545" y="112"/>
                    </a:lnTo>
                    <a:lnTo>
                      <a:pt x="546" y="114"/>
                    </a:lnTo>
                    <a:lnTo>
                      <a:pt x="546" y="115"/>
                    </a:lnTo>
                    <a:lnTo>
                      <a:pt x="548" y="115"/>
                    </a:lnTo>
                    <a:lnTo>
                      <a:pt x="548" y="117"/>
                    </a:lnTo>
                    <a:lnTo>
                      <a:pt x="548" y="119"/>
                    </a:lnTo>
                    <a:lnTo>
                      <a:pt x="548" y="120"/>
                    </a:lnTo>
                    <a:lnTo>
                      <a:pt x="548" y="122"/>
                    </a:lnTo>
                    <a:lnTo>
                      <a:pt x="550" y="122"/>
                    </a:lnTo>
                    <a:lnTo>
                      <a:pt x="550" y="123"/>
                    </a:lnTo>
                    <a:lnTo>
                      <a:pt x="551" y="125"/>
                    </a:lnTo>
                    <a:lnTo>
                      <a:pt x="551" y="127"/>
                    </a:lnTo>
                    <a:lnTo>
                      <a:pt x="553" y="127"/>
                    </a:lnTo>
                    <a:lnTo>
                      <a:pt x="554" y="127"/>
                    </a:lnTo>
                    <a:lnTo>
                      <a:pt x="554" y="128"/>
                    </a:lnTo>
                    <a:lnTo>
                      <a:pt x="556" y="128"/>
                    </a:lnTo>
                    <a:lnTo>
                      <a:pt x="556" y="130"/>
                    </a:lnTo>
                    <a:lnTo>
                      <a:pt x="558" y="130"/>
                    </a:lnTo>
                    <a:lnTo>
                      <a:pt x="558" y="131"/>
                    </a:lnTo>
                    <a:lnTo>
                      <a:pt x="559" y="131"/>
                    </a:lnTo>
                    <a:lnTo>
                      <a:pt x="559" y="133"/>
                    </a:lnTo>
                    <a:lnTo>
                      <a:pt x="561" y="134"/>
                    </a:lnTo>
                    <a:lnTo>
                      <a:pt x="561" y="136"/>
                    </a:lnTo>
                    <a:lnTo>
                      <a:pt x="562" y="138"/>
                    </a:lnTo>
                    <a:lnTo>
                      <a:pt x="564" y="138"/>
                    </a:lnTo>
                    <a:lnTo>
                      <a:pt x="565" y="139"/>
                    </a:lnTo>
                    <a:lnTo>
                      <a:pt x="567" y="139"/>
                    </a:lnTo>
                    <a:lnTo>
                      <a:pt x="569" y="139"/>
                    </a:lnTo>
                    <a:lnTo>
                      <a:pt x="569" y="141"/>
                    </a:lnTo>
                    <a:lnTo>
                      <a:pt x="570" y="141"/>
                    </a:lnTo>
                    <a:lnTo>
                      <a:pt x="572" y="141"/>
                    </a:lnTo>
                    <a:lnTo>
                      <a:pt x="573" y="142"/>
                    </a:lnTo>
                    <a:lnTo>
                      <a:pt x="575" y="142"/>
                    </a:lnTo>
                    <a:lnTo>
                      <a:pt x="577" y="142"/>
                    </a:lnTo>
                    <a:lnTo>
                      <a:pt x="578" y="142"/>
                    </a:lnTo>
                    <a:lnTo>
                      <a:pt x="580" y="142"/>
                    </a:lnTo>
                    <a:lnTo>
                      <a:pt x="580" y="144"/>
                    </a:lnTo>
                    <a:lnTo>
                      <a:pt x="581" y="144"/>
                    </a:lnTo>
                    <a:lnTo>
                      <a:pt x="583" y="144"/>
                    </a:lnTo>
                    <a:lnTo>
                      <a:pt x="584" y="144"/>
                    </a:lnTo>
                    <a:lnTo>
                      <a:pt x="584" y="146"/>
                    </a:lnTo>
                    <a:lnTo>
                      <a:pt x="584" y="147"/>
                    </a:lnTo>
                    <a:lnTo>
                      <a:pt x="584" y="149"/>
                    </a:lnTo>
                    <a:lnTo>
                      <a:pt x="584" y="150"/>
                    </a:lnTo>
                    <a:lnTo>
                      <a:pt x="586" y="150"/>
                    </a:lnTo>
                    <a:lnTo>
                      <a:pt x="586" y="152"/>
                    </a:lnTo>
                    <a:lnTo>
                      <a:pt x="588" y="153"/>
                    </a:lnTo>
                    <a:lnTo>
                      <a:pt x="588" y="155"/>
                    </a:lnTo>
                    <a:lnTo>
                      <a:pt x="588" y="157"/>
                    </a:lnTo>
                    <a:lnTo>
                      <a:pt x="586" y="157"/>
                    </a:lnTo>
                    <a:lnTo>
                      <a:pt x="586" y="158"/>
                    </a:lnTo>
                    <a:lnTo>
                      <a:pt x="586" y="160"/>
                    </a:lnTo>
                    <a:lnTo>
                      <a:pt x="588" y="160"/>
                    </a:lnTo>
                    <a:lnTo>
                      <a:pt x="588" y="161"/>
                    </a:lnTo>
                    <a:lnTo>
                      <a:pt x="588" y="163"/>
                    </a:lnTo>
                    <a:lnTo>
                      <a:pt x="589" y="163"/>
                    </a:lnTo>
                    <a:lnTo>
                      <a:pt x="589" y="165"/>
                    </a:lnTo>
                    <a:lnTo>
                      <a:pt x="589" y="166"/>
                    </a:lnTo>
                    <a:lnTo>
                      <a:pt x="589" y="168"/>
                    </a:lnTo>
                    <a:lnTo>
                      <a:pt x="591" y="169"/>
                    </a:lnTo>
                    <a:lnTo>
                      <a:pt x="591" y="171"/>
                    </a:lnTo>
                    <a:lnTo>
                      <a:pt x="591" y="172"/>
                    </a:lnTo>
                    <a:lnTo>
                      <a:pt x="592" y="172"/>
                    </a:lnTo>
                    <a:lnTo>
                      <a:pt x="592" y="174"/>
                    </a:lnTo>
                    <a:lnTo>
                      <a:pt x="592" y="176"/>
                    </a:lnTo>
                    <a:lnTo>
                      <a:pt x="594" y="176"/>
                    </a:lnTo>
                    <a:lnTo>
                      <a:pt x="594" y="177"/>
                    </a:lnTo>
                    <a:lnTo>
                      <a:pt x="594" y="179"/>
                    </a:lnTo>
                    <a:lnTo>
                      <a:pt x="594" y="180"/>
                    </a:lnTo>
                    <a:lnTo>
                      <a:pt x="592" y="182"/>
                    </a:lnTo>
                    <a:lnTo>
                      <a:pt x="592" y="184"/>
                    </a:lnTo>
                    <a:lnTo>
                      <a:pt x="592" y="185"/>
                    </a:lnTo>
                    <a:lnTo>
                      <a:pt x="592" y="187"/>
                    </a:lnTo>
                    <a:lnTo>
                      <a:pt x="592" y="188"/>
                    </a:lnTo>
                    <a:lnTo>
                      <a:pt x="594" y="188"/>
                    </a:lnTo>
                    <a:lnTo>
                      <a:pt x="594" y="190"/>
                    </a:lnTo>
                    <a:lnTo>
                      <a:pt x="596" y="190"/>
                    </a:lnTo>
                    <a:lnTo>
                      <a:pt x="597" y="190"/>
                    </a:lnTo>
                    <a:lnTo>
                      <a:pt x="599" y="190"/>
                    </a:lnTo>
                    <a:lnTo>
                      <a:pt x="600" y="190"/>
                    </a:lnTo>
                    <a:lnTo>
                      <a:pt x="602" y="190"/>
                    </a:lnTo>
                    <a:lnTo>
                      <a:pt x="603" y="190"/>
                    </a:lnTo>
                    <a:lnTo>
                      <a:pt x="605" y="190"/>
                    </a:lnTo>
                    <a:lnTo>
                      <a:pt x="607" y="191"/>
                    </a:lnTo>
                    <a:lnTo>
                      <a:pt x="608" y="191"/>
                    </a:lnTo>
                    <a:lnTo>
                      <a:pt x="610" y="191"/>
                    </a:lnTo>
                    <a:lnTo>
                      <a:pt x="610" y="193"/>
                    </a:lnTo>
                    <a:lnTo>
                      <a:pt x="611" y="193"/>
                    </a:lnTo>
                    <a:lnTo>
                      <a:pt x="613" y="195"/>
                    </a:lnTo>
                    <a:lnTo>
                      <a:pt x="615" y="195"/>
                    </a:lnTo>
                    <a:lnTo>
                      <a:pt x="616" y="196"/>
                    </a:lnTo>
                    <a:lnTo>
                      <a:pt x="618" y="198"/>
                    </a:lnTo>
                    <a:lnTo>
                      <a:pt x="619" y="198"/>
                    </a:lnTo>
                    <a:lnTo>
                      <a:pt x="619" y="199"/>
                    </a:lnTo>
                    <a:lnTo>
                      <a:pt x="621" y="201"/>
                    </a:lnTo>
                    <a:lnTo>
                      <a:pt x="622" y="203"/>
                    </a:lnTo>
                    <a:lnTo>
                      <a:pt x="624" y="203"/>
                    </a:lnTo>
                    <a:lnTo>
                      <a:pt x="624" y="204"/>
                    </a:lnTo>
                    <a:lnTo>
                      <a:pt x="626" y="204"/>
                    </a:lnTo>
                    <a:lnTo>
                      <a:pt x="627" y="204"/>
                    </a:lnTo>
                    <a:lnTo>
                      <a:pt x="627" y="206"/>
                    </a:lnTo>
                    <a:lnTo>
                      <a:pt x="629" y="206"/>
                    </a:lnTo>
                    <a:lnTo>
                      <a:pt x="630" y="207"/>
                    </a:lnTo>
                    <a:lnTo>
                      <a:pt x="632" y="207"/>
                    </a:lnTo>
                    <a:lnTo>
                      <a:pt x="634" y="207"/>
                    </a:lnTo>
                    <a:lnTo>
                      <a:pt x="634" y="209"/>
                    </a:lnTo>
                    <a:lnTo>
                      <a:pt x="635" y="209"/>
                    </a:lnTo>
                    <a:lnTo>
                      <a:pt x="635" y="210"/>
                    </a:lnTo>
                    <a:lnTo>
                      <a:pt x="637" y="210"/>
                    </a:lnTo>
                    <a:lnTo>
                      <a:pt x="638" y="212"/>
                    </a:lnTo>
                    <a:lnTo>
                      <a:pt x="640" y="212"/>
                    </a:lnTo>
                    <a:lnTo>
                      <a:pt x="641" y="214"/>
                    </a:lnTo>
                    <a:lnTo>
                      <a:pt x="643" y="214"/>
                    </a:lnTo>
                    <a:lnTo>
                      <a:pt x="645" y="214"/>
                    </a:lnTo>
                    <a:lnTo>
                      <a:pt x="646" y="214"/>
                    </a:lnTo>
                    <a:lnTo>
                      <a:pt x="648" y="214"/>
                    </a:lnTo>
                    <a:lnTo>
                      <a:pt x="648" y="215"/>
                    </a:lnTo>
                    <a:lnTo>
                      <a:pt x="648" y="217"/>
                    </a:lnTo>
                    <a:lnTo>
                      <a:pt x="648" y="218"/>
                    </a:lnTo>
                    <a:lnTo>
                      <a:pt x="648" y="220"/>
                    </a:lnTo>
                    <a:lnTo>
                      <a:pt x="646" y="220"/>
                    </a:lnTo>
                    <a:lnTo>
                      <a:pt x="646" y="222"/>
                    </a:lnTo>
                    <a:lnTo>
                      <a:pt x="646" y="223"/>
                    </a:lnTo>
                    <a:lnTo>
                      <a:pt x="645" y="223"/>
                    </a:lnTo>
                    <a:lnTo>
                      <a:pt x="645" y="225"/>
                    </a:lnTo>
                    <a:lnTo>
                      <a:pt x="645" y="226"/>
                    </a:lnTo>
                    <a:lnTo>
                      <a:pt x="645" y="228"/>
                    </a:lnTo>
                    <a:lnTo>
                      <a:pt x="645" y="229"/>
                    </a:lnTo>
                    <a:lnTo>
                      <a:pt x="643" y="229"/>
                    </a:lnTo>
                    <a:lnTo>
                      <a:pt x="643" y="231"/>
                    </a:lnTo>
                    <a:lnTo>
                      <a:pt x="641" y="231"/>
                    </a:lnTo>
                    <a:lnTo>
                      <a:pt x="640" y="231"/>
                    </a:lnTo>
                    <a:lnTo>
                      <a:pt x="638" y="233"/>
                    </a:lnTo>
                    <a:lnTo>
                      <a:pt x="638" y="234"/>
                    </a:lnTo>
                    <a:lnTo>
                      <a:pt x="637" y="234"/>
                    </a:lnTo>
                    <a:lnTo>
                      <a:pt x="637" y="236"/>
                    </a:lnTo>
                    <a:lnTo>
                      <a:pt x="635" y="237"/>
                    </a:lnTo>
                    <a:lnTo>
                      <a:pt x="635" y="239"/>
                    </a:lnTo>
                    <a:lnTo>
                      <a:pt x="634" y="241"/>
                    </a:lnTo>
                    <a:lnTo>
                      <a:pt x="634" y="242"/>
                    </a:lnTo>
                    <a:lnTo>
                      <a:pt x="634" y="244"/>
                    </a:lnTo>
                    <a:lnTo>
                      <a:pt x="632" y="245"/>
                    </a:lnTo>
                    <a:lnTo>
                      <a:pt x="632" y="247"/>
                    </a:lnTo>
                    <a:lnTo>
                      <a:pt x="632" y="248"/>
                    </a:lnTo>
                    <a:lnTo>
                      <a:pt x="630" y="250"/>
                    </a:lnTo>
                    <a:lnTo>
                      <a:pt x="630" y="252"/>
                    </a:lnTo>
                    <a:lnTo>
                      <a:pt x="629" y="253"/>
                    </a:lnTo>
                    <a:lnTo>
                      <a:pt x="629" y="255"/>
                    </a:lnTo>
                    <a:lnTo>
                      <a:pt x="627" y="255"/>
                    </a:lnTo>
                    <a:lnTo>
                      <a:pt x="626" y="256"/>
                    </a:lnTo>
                    <a:lnTo>
                      <a:pt x="626" y="258"/>
                    </a:lnTo>
                    <a:lnTo>
                      <a:pt x="626" y="260"/>
                    </a:lnTo>
                    <a:lnTo>
                      <a:pt x="624" y="260"/>
                    </a:lnTo>
                    <a:lnTo>
                      <a:pt x="624" y="261"/>
                    </a:lnTo>
                    <a:lnTo>
                      <a:pt x="624" y="263"/>
                    </a:lnTo>
                    <a:lnTo>
                      <a:pt x="624" y="264"/>
                    </a:lnTo>
                    <a:lnTo>
                      <a:pt x="622" y="264"/>
                    </a:lnTo>
                    <a:lnTo>
                      <a:pt x="622" y="266"/>
                    </a:lnTo>
                    <a:lnTo>
                      <a:pt x="621" y="267"/>
                    </a:lnTo>
                    <a:lnTo>
                      <a:pt x="619" y="269"/>
                    </a:lnTo>
                    <a:lnTo>
                      <a:pt x="619" y="271"/>
                    </a:lnTo>
                    <a:lnTo>
                      <a:pt x="618" y="271"/>
                    </a:lnTo>
                    <a:lnTo>
                      <a:pt x="618" y="272"/>
                    </a:lnTo>
                    <a:lnTo>
                      <a:pt x="618" y="274"/>
                    </a:lnTo>
                    <a:lnTo>
                      <a:pt x="616" y="274"/>
                    </a:lnTo>
                    <a:lnTo>
                      <a:pt x="616" y="275"/>
                    </a:lnTo>
                    <a:lnTo>
                      <a:pt x="615" y="277"/>
                    </a:lnTo>
                    <a:lnTo>
                      <a:pt x="613" y="279"/>
                    </a:lnTo>
                    <a:lnTo>
                      <a:pt x="611" y="280"/>
                    </a:lnTo>
                    <a:lnTo>
                      <a:pt x="610" y="280"/>
                    </a:lnTo>
                    <a:lnTo>
                      <a:pt x="610" y="282"/>
                    </a:lnTo>
                    <a:lnTo>
                      <a:pt x="608" y="282"/>
                    </a:lnTo>
                    <a:lnTo>
                      <a:pt x="608" y="283"/>
                    </a:lnTo>
                    <a:lnTo>
                      <a:pt x="608" y="285"/>
                    </a:lnTo>
                    <a:lnTo>
                      <a:pt x="608" y="287"/>
                    </a:lnTo>
                    <a:lnTo>
                      <a:pt x="607" y="287"/>
                    </a:lnTo>
                    <a:lnTo>
                      <a:pt x="607" y="288"/>
                    </a:lnTo>
                    <a:lnTo>
                      <a:pt x="602" y="307"/>
                    </a:lnTo>
                    <a:lnTo>
                      <a:pt x="602" y="309"/>
                    </a:lnTo>
                    <a:lnTo>
                      <a:pt x="602" y="310"/>
                    </a:lnTo>
                    <a:lnTo>
                      <a:pt x="600" y="313"/>
                    </a:lnTo>
                    <a:lnTo>
                      <a:pt x="600" y="318"/>
                    </a:lnTo>
                    <a:lnTo>
                      <a:pt x="607" y="318"/>
                    </a:lnTo>
                    <a:lnTo>
                      <a:pt x="622" y="317"/>
                    </a:lnTo>
                    <a:lnTo>
                      <a:pt x="634" y="317"/>
                    </a:lnTo>
                    <a:lnTo>
                      <a:pt x="646" y="317"/>
                    </a:lnTo>
                    <a:lnTo>
                      <a:pt x="659" y="317"/>
                    </a:lnTo>
                    <a:lnTo>
                      <a:pt x="660" y="315"/>
                    </a:lnTo>
                    <a:lnTo>
                      <a:pt x="660" y="317"/>
                    </a:lnTo>
                    <a:lnTo>
                      <a:pt x="662" y="317"/>
                    </a:lnTo>
                    <a:lnTo>
                      <a:pt x="664" y="317"/>
                    </a:lnTo>
                    <a:lnTo>
                      <a:pt x="665" y="317"/>
                    </a:lnTo>
                    <a:lnTo>
                      <a:pt x="667" y="317"/>
                    </a:lnTo>
                    <a:lnTo>
                      <a:pt x="668" y="317"/>
                    </a:lnTo>
                    <a:lnTo>
                      <a:pt x="668" y="315"/>
                    </a:lnTo>
                    <a:lnTo>
                      <a:pt x="670" y="315"/>
                    </a:lnTo>
                    <a:lnTo>
                      <a:pt x="672" y="315"/>
                    </a:lnTo>
                    <a:lnTo>
                      <a:pt x="673" y="315"/>
                    </a:lnTo>
                    <a:lnTo>
                      <a:pt x="675" y="315"/>
                    </a:lnTo>
                    <a:lnTo>
                      <a:pt x="676" y="315"/>
                    </a:lnTo>
                    <a:lnTo>
                      <a:pt x="678" y="315"/>
                    </a:lnTo>
                    <a:lnTo>
                      <a:pt x="679" y="313"/>
                    </a:lnTo>
                    <a:lnTo>
                      <a:pt x="681" y="313"/>
                    </a:lnTo>
                    <a:lnTo>
                      <a:pt x="683" y="313"/>
                    </a:lnTo>
                    <a:lnTo>
                      <a:pt x="684" y="313"/>
                    </a:lnTo>
                    <a:lnTo>
                      <a:pt x="686" y="313"/>
                    </a:lnTo>
                    <a:lnTo>
                      <a:pt x="687" y="313"/>
                    </a:lnTo>
                    <a:lnTo>
                      <a:pt x="689" y="313"/>
                    </a:lnTo>
                    <a:lnTo>
                      <a:pt x="691" y="312"/>
                    </a:lnTo>
                    <a:lnTo>
                      <a:pt x="692" y="312"/>
                    </a:lnTo>
                    <a:lnTo>
                      <a:pt x="694" y="312"/>
                    </a:lnTo>
                    <a:lnTo>
                      <a:pt x="695" y="312"/>
                    </a:lnTo>
                    <a:lnTo>
                      <a:pt x="697" y="312"/>
                    </a:lnTo>
                    <a:lnTo>
                      <a:pt x="698" y="312"/>
                    </a:lnTo>
                    <a:lnTo>
                      <a:pt x="700" y="312"/>
                    </a:lnTo>
                    <a:lnTo>
                      <a:pt x="702" y="312"/>
                    </a:lnTo>
                    <a:lnTo>
                      <a:pt x="703" y="312"/>
                    </a:lnTo>
                    <a:lnTo>
                      <a:pt x="705" y="310"/>
                    </a:lnTo>
                    <a:lnTo>
                      <a:pt x="706" y="310"/>
                    </a:lnTo>
                    <a:lnTo>
                      <a:pt x="708" y="310"/>
                    </a:lnTo>
                    <a:lnTo>
                      <a:pt x="710" y="310"/>
                    </a:lnTo>
                    <a:lnTo>
                      <a:pt x="711" y="310"/>
                    </a:lnTo>
                    <a:lnTo>
                      <a:pt x="713" y="310"/>
                    </a:lnTo>
                    <a:lnTo>
                      <a:pt x="714" y="310"/>
                    </a:lnTo>
                    <a:lnTo>
                      <a:pt x="716" y="310"/>
                    </a:lnTo>
                    <a:lnTo>
                      <a:pt x="718" y="310"/>
                    </a:lnTo>
                    <a:lnTo>
                      <a:pt x="719" y="310"/>
                    </a:lnTo>
                    <a:lnTo>
                      <a:pt x="721" y="310"/>
                    </a:lnTo>
                    <a:lnTo>
                      <a:pt x="722" y="310"/>
                    </a:lnTo>
                    <a:lnTo>
                      <a:pt x="724" y="312"/>
                    </a:lnTo>
                    <a:lnTo>
                      <a:pt x="725" y="312"/>
                    </a:lnTo>
                    <a:lnTo>
                      <a:pt x="727" y="312"/>
                    </a:lnTo>
                    <a:lnTo>
                      <a:pt x="729" y="312"/>
                    </a:lnTo>
                    <a:lnTo>
                      <a:pt x="730" y="312"/>
                    </a:lnTo>
                    <a:lnTo>
                      <a:pt x="732" y="312"/>
                    </a:lnTo>
                    <a:lnTo>
                      <a:pt x="733" y="312"/>
                    </a:lnTo>
                    <a:lnTo>
                      <a:pt x="735" y="312"/>
                    </a:lnTo>
                    <a:lnTo>
                      <a:pt x="737" y="312"/>
                    </a:lnTo>
                    <a:lnTo>
                      <a:pt x="738" y="312"/>
                    </a:lnTo>
                    <a:lnTo>
                      <a:pt x="740" y="312"/>
                    </a:lnTo>
                    <a:lnTo>
                      <a:pt x="741" y="312"/>
                    </a:lnTo>
                    <a:lnTo>
                      <a:pt x="743" y="312"/>
                    </a:lnTo>
                    <a:lnTo>
                      <a:pt x="744" y="312"/>
                    </a:lnTo>
                    <a:lnTo>
                      <a:pt x="746" y="312"/>
                    </a:lnTo>
                    <a:lnTo>
                      <a:pt x="748" y="312"/>
                    </a:lnTo>
                    <a:lnTo>
                      <a:pt x="749" y="312"/>
                    </a:lnTo>
                    <a:lnTo>
                      <a:pt x="751" y="310"/>
                    </a:lnTo>
                    <a:lnTo>
                      <a:pt x="752" y="310"/>
                    </a:lnTo>
                    <a:lnTo>
                      <a:pt x="754" y="310"/>
                    </a:lnTo>
                    <a:lnTo>
                      <a:pt x="756" y="310"/>
                    </a:lnTo>
                    <a:lnTo>
                      <a:pt x="757" y="310"/>
                    </a:lnTo>
                    <a:lnTo>
                      <a:pt x="759" y="310"/>
                    </a:lnTo>
                    <a:lnTo>
                      <a:pt x="760" y="310"/>
                    </a:lnTo>
                    <a:lnTo>
                      <a:pt x="762" y="310"/>
                    </a:lnTo>
                    <a:lnTo>
                      <a:pt x="763" y="310"/>
                    </a:lnTo>
                    <a:lnTo>
                      <a:pt x="765" y="310"/>
                    </a:lnTo>
                    <a:lnTo>
                      <a:pt x="767" y="310"/>
                    </a:lnTo>
                    <a:lnTo>
                      <a:pt x="768" y="310"/>
                    </a:lnTo>
                    <a:lnTo>
                      <a:pt x="770" y="310"/>
                    </a:lnTo>
                    <a:lnTo>
                      <a:pt x="771" y="310"/>
                    </a:lnTo>
                    <a:lnTo>
                      <a:pt x="773" y="310"/>
                    </a:lnTo>
                    <a:lnTo>
                      <a:pt x="775" y="310"/>
                    </a:lnTo>
                    <a:lnTo>
                      <a:pt x="776" y="310"/>
                    </a:lnTo>
                    <a:lnTo>
                      <a:pt x="778" y="310"/>
                    </a:lnTo>
                    <a:lnTo>
                      <a:pt x="779" y="310"/>
                    </a:lnTo>
                    <a:lnTo>
                      <a:pt x="781" y="310"/>
                    </a:lnTo>
                    <a:lnTo>
                      <a:pt x="782" y="310"/>
                    </a:lnTo>
                    <a:lnTo>
                      <a:pt x="784" y="310"/>
                    </a:lnTo>
                    <a:lnTo>
                      <a:pt x="784" y="312"/>
                    </a:lnTo>
                    <a:lnTo>
                      <a:pt x="786" y="312"/>
                    </a:lnTo>
                    <a:lnTo>
                      <a:pt x="787" y="312"/>
                    </a:lnTo>
                    <a:lnTo>
                      <a:pt x="789" y="312"/>
                    </a:lnTo>
                    <a:lnTo>
                      <a:pt x="790" y="312"/>
                    </a:lnTo>
                    <a:lnTo>
                      <a:pt x="792" y="312"/>
                    </a:lnTo>
                    <a:lnTo>
                      <a:pt x="794" y="312"/>
                    </a:lnTo>
                    <a:lnTo>
                      <a:pt x="795" y="312"/>
                    </a:lnTo>
                    <a:lnTo>
                      <a:pt x="795" y="313"/>
                    </a:lnTo>
                    <a:lnTo>
                      <a:pt x="797" y="313"/>
                    </a:lnTo>
                    <a:lnTo>
                      <a:pt x="798" y="313"/>
                    </a:lnTo>
                    <a:lnTo>
                      <a:pt x="800" y="313"/>
                    </a:lnTo>
                    <a:lnTo>
                      <a:pt x="801" y="313"/>
                    </a:lnTo>
                    <a:lnTo>
                      <a:pt x="801" y="315"/>
                    </a:lnTo>
                    <a:lnTo>
                      <a:pt x="803" y="315"/>
                    </a:lnTo>
                    <a:lnTo>
                      <a:pt x="805" y="315"/>
                    </a:lnTo>
                    <a:lnTo>
                      <a:pt x="806" y="315"/>
                    </a:lnTo>
                    <a:lnTo>
                      <a:pt x="806" y="317"/>
                    </a:lnTo>
                    <a:lnTo>
                      <a:pt x="808" y="317"/>
                    </a:lnTo>
                    <a:lnTo>
                      <a:pt x="809" y="318"/>
                    </a:lnTo>
                    <a:lnTo>
                      <a:pt x="811" y="318"/>
                    </a:lnTo>
                    <a:lnTo>
                      <a:pt x="813" y="318"/>
                    </a:lnTo>
                    <a:lnTo>
                      <a:pt x="814" y="320"/>
                    </a:lnTo>
                    <a:lnTo>
                      <a:pt x="816" y="320"/>
                    </a:lnTo>
                    <a:lnTo>
                      <a:pt x="816" y="318"/>
                    </a:lnTo>
                    <a:lnTo>
                      <a:pt x="817" y="318"/>
                    </a:lnTo>
                    <a:lnTo>
                      <a:pt x="819" y="320"/>
                    </a:lnTo>
                    <a:lnTo>
                      <a:pt x="820" y="320"/>
                    </a:lnTo>
                    <a:lnTo>
                      <a:pt x="820" y="318"/>
                    </a:lnTo>
                    <a:lnTo>
                      <a:pt x="822" y="318"/>
                    </a:lnTo>
                    <a:lnTo>
                      <a:pt x="824" y="318"/>
                    </a:lnTo>
                    <a:lnTo>
                      <a:pt x="825" y="318"/>
                    </a:lnTo>
                    <a:lnTo>
                      <a:pt x="825" y="320"/>
                    </a:lnTo>
                    <a:lnTo>
                      <a:pt x="827" y="320"/>
                    </a:lnTo>
                    <a:lnTo>
                      <a:pt x="828" y="320"/>
                    </a:lnTo>
                    <a:lnTo>
                      <a:pt x="830" y="320"/>
                    </a:lnTo>
                    <a:lnTo>
                      <a:pt x="832" y="320"/>
                    </a:lnTo>
                    <a:lnTo>
                      <a:pt x="833" y="320"/>
                    </a:lnTo>
                    <a:lnTo>
                      <a:pt x="833" y="321"/>
                    </a:lnTo>
                    <a:lnTo>
                      <a:pt x="835" y="321"/>
                    </a:lnTo>
                    <a:lnTo>
                      <a:pt x="835" y="323"/>
                    </a:lnTo>
                    <a:lnTo>
                      <a:pt x="836" y="323"/>
                    </a:lnTo>
                    <a:lnTo>
                      <a:pt x="836" y="325"/>
                    </a:lnTo>
                    <a:lnTo>
                      <a:pt x="838" y="325"/>
                    </a:lnTo>
                    <a:lnTo>
                      <a:pt x="838" y="326"/>
                    </a:lnTo>
                    <a:lnTo>
                      <a:pt x="839" y="326"/>
                    </a:lnTo>
                    <a:lnTo>
                      <a:pt x="839" y="328"/>
                    </a:lnTo>
                    <a:lnTo>
                      <a:pt x="841" y="328"/>
                    </a:lnTo>
                    <a:lnTo>
                      <a:pt x="843" y="329"/>
                    </a:lnTo>
                    <a:lnTo>
                      <a:pt x="844" y="329"/>
                    </a:lnTo>
                    <a:lnTo>
                      <a:pt x="844" y="331"/>
                    </a:lnTo>
                    <a:lnTo>
                      <a:pt x="846" y="331"/>
                    </a:lnTo>
                    <a:lnTo>
                      <a:pt x="847" y="331"/>
                    </a:lnTo>
                    <a:lnTo>
                      <a:pt x="847" y="332"/>
                    </a:lnTo>
                    <a:lnTo>
                      <a:pt x="849" y="332"/>
                    </a:lnTo>
                    <a:lnTo>
                      <a:pt x="851" y="332"/>
                    </a:lnTo>
                    <a:lnTo>
                      <a:pt x="852" y="334"/>
                    </a:lnTo>
                    <a:lnTo>
                      <a:pt x="854" y="334"/>
                    </a:lnTo>
                    <a:lnTo>
                      <a:pt x="855" y="334"/>
                    </a:lnTo>
                    <a:lnTo>
                      <a:pt x="857" y="336"/>
                    </a:lnTo>
                    <a:lnTo>
                      <a:pt x="858" y="336"/>
                    </a:lnTo>
                    <a:lnTo>
                      <a:pt x="860" y="336"/>
                    </a:lnTo>
                    <a:lnTo>
                      <a:pt x="862" y="336"/>
                    </a:lnTo>
                    <a:lnTo>
                      <a:pt x="863" y="336"/>
                    </a:lnTo>
                    <a:lnTo>
                      <a:pt x="865" y="336"/>
                    </a:lnTo>
                    <a:lnTo>
                      <a:pt x="866" y="336"/>
                    </a:lnTo>
                    <a:lnTo>
                      <a:pt x="868" y="336"/>
                    </a:lnTo>
                    <a:lnTo>
                      <a:pt x="870" y="336"/>
                    </a:lnTo>
                    <a:lnTo>
                      <a:pt x="871" y="336"/>
                    </a:lnTo>
                    <a:lnTo>
                      <a:pt x="873" y="336"/>
                    </a:lnTo>
                    <a:lnTo>
                      <a:pt x="874" y="336"/>
                    </a:lnTo>
                    <a:lnTo>
                      <a:pt x="874" y="337"/>
                    </a:lnTo>
                    <a:lnTo>
                      <a:pt x="876" y="337"/>
                    </a:lnTo>
                    <a:lnTo>
                      <a:pt x="877" y="337"/>
                    </a:lnTo>
                    <a:lnTo>
                      <a:pt x="879" y="337"/>
                    </a:lnTo>
                    <a:lnTo>
                      <a:pt x="881" y="337"/>
                    </a:lnTo>
                    <a:lnTo>
                      <a:pt x="882" y="339"/>
                    </a:lnTo>
                    <a:lnTo>
                      <a:pt x="884" y="339"/>
                    </a:lnTo>
                    <a:lnTo>
                      <a:pt x="885" y="339"/>
                    </a:lnTo>
                    <a:lnTo>
                      <a:pt x="887" y="339"/>
                    </a:lnTo>
                    <a:lnTo>
                      <a:pt x="889" y="339"/>
                    </a:lnTo>
                    <a:lnTo>
                      <a:pt x="889" y="340"/>
                    </a:lnTo>
                    <a:lnTo>
                      <a:pt x="890" y="340"/>
                    </a:lnTo>
                    <a:lnTo>
                      <a:pt x="892" y="340"/>
                    </a:lnTo>
                    <a:lnTo>
                      <a:pt x="893" y="340"/>
                    </a:lnTo>
                    <a:lnTo>
                      <a:pt x="895" y="340"/>
                    </a:lnTo>
                    <a:lnTo>
                      <a:pt x="896" y="340"/>
                    </a:lnTo>
                    <a:lnTo>
                      <a:pt x="898" y="340"/>
                    </a:lnTo>
                    <a:lnTo>
                      <a:pt x="900" y="340"/>
                    </a:lnTo>
                    <a:lnTo>
                      <a:pt x="901" y="342"/>
                    </a:lnTo>
                    <a:lnTo>
                      <a:pt x="903" y="342"/>
                    </a:lnTo>
                    <a:lnTo>
                      <a:pt x="904" y="342"/>
                    </a:lnTo>
                    <a:lnTo>
                      <a:pt x="906" y="342"/>
                    </a:lnTo>
                    <a:lnTo>
                      <a:pt x="908" y="342"/>
                    </a:lnTo>
                    <a:lnTo>
                      <a:pt x="909" y="342"/>
                    </a:lnTo>
                    <a:lnTo>
                      <a:pt x="911" y="342"/>
                    </a:lnTo>
                    <a:lnTo>
                      <a:pt x="912" y="342"/>
                    </a:lnTo>
                    <a:lnTo>
                      <a:pt x="912" y="344"/>
                    </a:lnTo>
                    <a:lnTo>
                      <a:pt x="914" y="344"/>
                    </a:lnTo>
                    <a:lnTo>
                      <a:pt x="916" y="344"/>
                    </a:lnTo>
                    <a:lnTo>
                      <a:pt x="917" y="344"/>
                    </a:lnTo>
                    <a:lnTo>
                      <a:pt x="919" y="344"/>
                    </a:lnTo>
                    <a:lnTo>
                      <a:pt x="920" y="345"/>
                    </a:lnTo>
                    <a:lnTo>
                      <a:pt x="922" y="345"/>
                    </a:lnTo>
                    <a:lnTo>
                      <a:pt x="923" y="345"/>
                    </a:lnTo>
                    <a:lnTo>
                      <a:pt x="925" y="345"/>
                    </a:lnTo>
                    <a:lnTo>
                      <a:pt x="927" y="345"/>
                    </a:lnTo>
                    <a:lnTo>
                      <a:pt x="928" y="345"/>
                    </a:lnTo>
                    <a:lnTo>
                      <a:pt x="928" y="347"/>
                    </a:lnTo>
                    <a:lnTo>
                      <a:pt x="930" y="347"/>
                    </a:lnTo>
                    <a:lnTo>
                      <a:pt x="931" y="347"/>
                    </a:lnTo>
                    <a:lnTo>
                      <a:pt x="933" y="347"/>
                    </a:lnTo>
                    <a:lnTo>
                      <a:pt x="935" y="347"/>
                    </a:lnTo>
                    <a:lnTo>
                      <a:pt x="936" y="347"/>
                    </a:lnTo>
                    <a:lnTo>
                      <a:pt x="938" y="347"/>
                    </a:lnTo>
                    <a:lnTo>
                      <a:pt x="939" y="347"/>
                    </a:lnTo>
                    <a:lnTo>
                      <a:pt x="939" y="348"/>
                    </a:lnTo>
                    <a:lnTo>
                      <a:pt x="941" y="348"/>
                    </a:lnTo>
                    <a:lnTo>
                      <a:pt x="942" y="348"/>
                    </a:lnTo>
                    <a:lnTo>
                      <a:pt x="944" y="348"/>
                    </a:lnTo>
                    <a:lnTo>
                      <a:pt x="946" y="348"/>
                    </a:lnTo>
                    <a:lnTo>
                      <a:pt x="947" y="350"/>
                    </a:lnTo>
                    <a:lnTo>
                      <a:pt x="949" y="350"/>
                    </a:lnTo>
                    <a:lnTo>
                      <a:pt x="950" y="350"/>
                    </a:lnTo>
                    <a:lnTo>
                      <a:pt x="952" y="350"/>
                    </a:lnTo>
                    <a:lnTo>
                      <a:pt x="954" y="350"/>
                    </a:lnTo>
                    <a:lnTo>
                      <a:pt x="955" y="350"/>
                    </a:lnTo>
                    <a:lnTo>
                      <a:pt x="955" y="351"/>
                    </a:lnTo>
                    <a:lnTo>
                      <a:pt x="955" y="353"/>
                    </a:lnTo>
                    <a:lnTo>
                      <a:pt x="955" y="355"/>
                    </a:lnTo>
                    <a:lnTo>
                      <a:pt x="955" y="356"/>
                    </a:lnTo>
                    <a:lnTo>
                      <a:pt x="955" y="358"/>
                    </a:lnTo>
                    <a:lnTo>
                      <a:pt x="954" y="359"/>
                    </a:lnTo>
                    <a:lnTo>
                      <a:pt x="954" y="361"/>
                    </a:lnTo>
                    <a:lnTo>
                      <a:pt x="952" y="361"/>
                    </a:lnTo>
                    <a:lnTo>
                      <a:pt x="952" y="363"/>
                    </a:lnTo>
                    <a:lnTo>
                      <a:pt x="950" y="364"/>
                    </a:lnTo>
                    <a:lnTo>
                      <a:pt x="949" y="366"/>
                    </a:lnTo>
                    <a:lnTo>
                      <a:pt x="949" y="367"/>
                    </a:lnTo>
                    <a:lnTo>
                      <a:pt x="950" y="367"/>
                    </a:lnTo>
                    <a:lnTo>
                      <a:pt x="952" y="367"/>
                    </a:lnTo>
                    <a:lnTo>
                      <a:pt x="952" y="369"/>
                    </a:lnTo>
                    <a:lnTo>
                      <a:pt x="954" y="369"/>
                    </a:lnTo>
                    <a:lnTo>
                      <a:pt x="955" y="369"/>
                    </a:lnTo>
                    <a:lnTo>
                      <a:pt x="957" y="369"/>
                    </a:lnTo>
                    <a:lnTo>
                      <a:pt x="958" y="369"/>
                    </a:lnTo>
                    <a:lnTo>
                      <a:pt x="960" y="369"/>
                    </a:lnTo>
                    <a:lnTo>
                      <a:pt x="961" y="369"/>
                    </a:lnTo>
                    <a:lnTo>
                      <a:pt x="963" y="369"/>
                    </a:lnTo>
                    <a:lnTo>
                      <a:pt x="965" y="369"/>
                    </a:lnTo>
                    <a:lnTo>
                      <a:pt x="965" y="367"/>
                    </a:lnTo>
                    <a:lnTo>
                      <a:pt x="966" y="367"/>
                    </a:lnTo>
                    <a:lnTo>
                      <a:pt x="968" y="367"/>
                    </a:lnTo>
                    <a:lnTo>
                      <a:pt x="969" y="366"/>
                    </a:lnTo>
                    <a:lnTo>
                      <a:pt x="971" y="366"/>
                    </a:lnTo>
                    <a:lnTo>
                      <a:pt x="973" y="366"/>
                    </a:lnTo>
                    <a:lnTo>
                      <a:pt x="974" y="366"/>
                    </a:lnTo>
                    <a:lnTo>
                      <a:pt x="976" y="367"/>
                    </a:lnTo>
                    <a:lnTo>
                      <a:pt x="977" y="367"/>
                    </a:lnTo>
                    <a:lnTo>
                      <a:pt x="979" y="367"/>
                    </a:lnTo>
                    <a:lnTo>
                      <a:pt x="980" y="369"/>
                    </a:lnTo>
                    <a:lnTo>
                      <a:pt x="982" y="369"/>
                    </a:lnTo>
                    <a:lnTo>
                      <a:pt x="984" y="369"/>
                    </a:lnTo>
                    <a:lnTo>
                      <a:pt x="985" y="370"/>
                    </a:lnTo>
                    <a:lnTo>
                      <a:pt x="987" y="370"/>
                    </a:lnTo>
                    <a:lnTo>
                      <a:pt x="988" y="370"/>
                    </a:lnTo>
                    <a:lnTo>
                      <a:pt x="988" y="372"/>
                    </a:lnTo>
                    <a:lnTo>
                      <a:pt x="990" y="372"/>
                    </a:lnTo>
                    <a:lnTo>
                      <a:pt x="990" y="374"/>
                    </a:lnTo>
                    <a:lnTo>
                      <a:pt x="992" y="374"/>
                    </a:lnTo>
                    <a:lnTo>
                      <a:pt x="993" y="375"/>
                    </a:lnTo>
                    <a:lnTo>
                      <a:pt x="995" y="375"/>
                    </a:lnTo>
                    <a:lnTo>
                      <a:pt x="995" y="377"/>
                    </a:lnTo>
                    <a:lnTo>
                      <a:pt x="996" y="377"/>
                    </a:lnTo>
                    <a:lnTo>
                      <a:pt x="998" y="378"/>
                    </a:lnTo>
                    <a:lnTo>
                      <a:pt x="999" y="378"/>
                    </a:lnTo>
                    <a:lnTo>
                      <a:pt x="1001" y="380"/>
                    </a:lnTo>
                    <a:lnTo>
                      <a:pt x="1003" y="380"/>
                    </a:lnTo>
                    <a:lnTo>
                      <a:pt x="1004" y="380"/>
                    </a:lnTo>
                    <a:lnTo>
                      <a:pt x="1004" y="382"/>
                    </a:lnTo>
                    <a:lnTo>
                      <a:pt x="1003" y="382"/>
                    </a:lnTo>
                    <a:lnTo>
                      <a:pt x="1003" y="383"/>
                    </a:lnTo>
                    <a:lnTo>
                      <a:pt x="1001" y="383"/>
                    </a:lnTo>
                    <a:lnTo>
                      <a:pt x="999" y="383"/>
                    </a:lnTo>
                    <a:lnTo>
                      <a:pt x="999" y="385"/>
                    </a:lnTo>
                    <a:lnTo>
                      <a:pt x="998" y="385"/>
                    </a:lnTo>
                    <a:lnTo>
                      <a:pt x="998" y="386"/>
                    </a:lnTo>
                    <a:lnTo>
                      <a:pt x="996" y="386"/>
                    </a:lnTo>
                    <a:lnTo>
                      <a:pt x="996" y="388"/>
                    </a:lnTo>
                    <a:lnTo>
                      <a:pt x="995" y="388"/>
                    </a:lnTo>
                    <a:lnTo>
                      <a:pt x="993" y="389"/>
                    </a:lnTo>
                    <a:lnTo>
                      <a:pt x="992" y="389"/>
                    </a:lnTo>
                    <a:lnTo>
                      <a:pt x="992" y="391"/>
                    </a:lnTo>
                    <a:lnTo>
                      <a:pt x="990" y="391"/>
                    </a:lnTo>
                    <a:lnTo>
                      <a:pt x="990" y="393"/>
                    </a:lnTo>
                    <a:lnTo>
                      <a:pt x="988" y="394"/>
                    </a:lnTo>
                    <a:lnTo>
                      <a:pt x="987" y="394"/>
                    </a:lnTo>
                    <a:lnTo>
                      <a:pt x="987" y="396"/>
                    </a:lnTo>
                    <a:lnTo>
                      <a:pt x="985" y="396"/>
                    </a:lnTo>
                    <a:lnTo>
                      <a:pt x="985" y="397"/>
                    </a:lnTo>
                    <a:lnTo>
                      <a:pt x="984" y="397"/>
                    </a:lnTo>
                    <a:lnTo>
                      <a:pt x="982" y="397"/>
                    </a:lnTo>
                    <a:lnTo>
                      <a:pt x="982" y="399"/>
                    </a:lnTo>
                    <a:lnTo>
                      <a:pt x="980" y="399"/>
                    </a:lnTo>
                    <a:lnTo>
                      <a:pt x="979" y="401"/>
                    </a:lnTo>
                    <a:lnTo>
                      <a:pt x="979" y="402"/>
                    </a:lnTo>
                    <a:lnTo>
                      <a:pt x="977" y="402"/>
                    </a:lnTo>
                    <a:lnTo>
                      <a:pt x="977" y="404"/>
                    </a:lnTo>
                    <a:lnTo>
                      <a:pt x="977" y="405"/>
                    </a:lnTo>
                    <a:lnTo>
                      <a:pt x="973" y="407"/>
                    </a:lnTo>
                    <a:lnTo>
                      <a:pt x="968" y="407"/>
                    </a:lnTo>
                    <a:lnTo>
                      <a:pt x="965" y="407"/>
                    </a:lnTo>
                    <a:lnTo>
                      <a:pt x="961" y="407"/>
                    </a:lnTo>
                    <a:lnTo>
                      <a:pt x="960" y="407"/>
                    </a:lnTo>
                    <a:lnTo>
                      <a:pt x="957" y="408"/>
                    </a:lnTo>
                    <a:lnTo>
                      <a:pt x="955" y="413"/>
                    </a:lnTo>
                    <a:lnTo>
                      <a:pt x="954" y="416"/>
                    </a:lnTo>
                    <a:lnTo>
                      <a:pt x="950" y="423"/>
                    </a:lnTo>
                    <a:lnTo>
                      <a:pt x="949" y="426"/>
                    </a:lnTo>
                    <a:lnTo>
                      <a:pt x="947" y="431"/>
                    </a:lnTo>
                    <a:lnTo>
                      <a:pt x="946" y="434"/>
                    </a:lnTo>
                    <a:lnTo>
                      <a:pt x="944" y="435"/>
                    </a:lnTo>
                    <a:lnTo>
                      <a:pt x="942" y="440"/>
                    </a:lnTo>
                    <a:lnTo>
                      <a:pt x="941" y="442"/>
                    </a:lnTo>
                    <a:lnTo>
                      <a:pt x="939" y="445"/>
                    </a:lnTo>
                    <a:lnTo>
                      <a:pt x="936" y="450"/>
                    </a:lnTo>
                    <a:lnTo>
                      <a:pt x="935" y="453"/>
                    </a:lnTo>
                    <a:lnTo>
                      <a:pt x="933" y="456"/>
                    </a:lnTo>
                    <a:lnTo>
                      <a:pt x="931" y="459"/>
                    </a:lnTo>
                    <a:lnTo>
                      <a:pt x="930" y="462"/>
                    </a:lnTo>
                    <a:lnTo>
                      <a:pt x="927" y="464"/>
                    </a:lnTo>
                    <a:lnTo>
                      <a:pt x="923" y="467"/>
                    </a:lnTo>
                    <a:lnTo>
                      <a:pt x="920" y="469"/>
                    </a:lnTo>
                    <a:lnTo>
                      <a:pt x="917" y="470"/>
                    </a:lnTo>
                    <a:lnTo>
                      <a:pt x="914" y="470"/>
                    </a:lnTo>
                    <a:lnTo>
                      <a:pt x="909" y="472"/>
                    </a:lnTo>
                    <a:lnTo>
                      <a:pt x="906" y="472"/>
                    </a:lnTo>
                    <a:lnTo>
                      <a:pt x="904" y="473"/>
                    </a:lnTo>
                    <a:lnTo>
                      <a:pt x="903" y="475"/>
                    </a:lnTo>
                    <a:lnTo>
                      <a:pt x="900" y="478"/>
                    </a:lnTo>
                    <a:lnTo>
                      <a:pt x="898" y="480"/>
                    </a:lnTo>
                    <a:lnTo>
                      <a:pt x="898" y="481"/>
                    </a:lnTo>
                    <a:lnTo>
                      <a:pt x="895" y="483"/>
                    </a:lnTo>
                    <a:lnTo>
                      <a:pt x="892" y="488"/>
                    </a:lnTo>
                    <a:lnTo>
                      <a:pt x="892" y="489"/>
                    </a:lnTo>
                    <a:lnTo>
                      <a:pt x="890" y="491"/>
                    </a:lnTo>
                    <a:lnTo>
                      <a:pt x="882" y="504"/>
                    </a:lnTo>
                    <a:lnTo>
                      <a:pt x="881" y="504"/>
                    </a:lnTo>
                    <a:lnTo>
                      <a:pt x="881" y="505"/>
                    </a:lnTo>
                    <a:lnTo>
                      <a:pt x="879" y="508"/>
                    </a:lnTo>
                    <a:lnTo>
                      <a:pt x="877" y="510"/>
                    </a:lnTo>
                    <a:lnTo>
                      <a:pt x="877" y="511"/>
                    </a:lnTo>
                    <a:lnTo>
                      <a:pt x="876" y="513"/>
                    </a:lnTo>
                    <a:lnTo>
                      <a:pt x="877" y="515"/>
                    </a:lnTo>
                    <a:lnTo>
                      <a:pt x="877" y="516"/>
                    </a:lnTo>
                    <a:lnTo>
                      <a:pt x="877" y="518"/>
                    </a:lnTo>
                    <a:lnTo>
                      <a:pt x="879" y="519"/>
                    </a:lnTo>
                    <a:lnTo>
                      <a:pt x="881" y="521"/>
                    </a:lnTo>
                    <a:lnTo>
                      <a:pt x="881" y="523"/>
                    </a:lnTo>
                    <a:lnTo>
                      <a:pt x="882" y="523"/>
                    </a:lnTo>
                    <a:lnTo>
                      <a:pt x="882" y="524"/>
                    </a:lnTo>
                    <a:lnTo>
                      <a:pt x="884" y="526"/>
                    </a:lnTo>
                    <a:lnTo>
                      <a:pt x="887" y="535"/>
                    </a:lnTo>
                    <a:lnTo>
                      <a:pt x="889" y="535"/>
                    </a:lnTo>
                    <a:lnTo>
                      <a:pt x="889" y="537"/>
                    </a:lnTo>
                    <a:lnTo>
                      <a:pt x="890" y="537"/>
                    </a:lnTo>
                    <a:lnTo>
                      <a:pt x="890" y="538"/>
                    </a:lnTo>
                    <a:lnTo>
                      <a:pt x="892" y="538"/>
                    </a:lnTo>
                    <a:lnTo>
                      <a:pt x="893" y="540"/>
                    </a:lnTo>
                    <a:lnTo>
                      <a:pt x="895" y="542"/>
                    </a:lnTo>
                    <a:lnTo>
                      <a:pt x="895" y="543"/>
                    </a:lnTo>
                    <a:lnTo>
                      <a:pt x="896" y="545"/>
                    </a:lnTo>
                    <a:lnTo>
                      <a:pt x="896" y="546"/>
                    </a:lnTo>
                    <a:lnTo>
                      <a:pt x="896" y="548"/>
                    </a:lnTo>
                    <a:lnTo>
                      <a:pt x="896" y="549"/>
                    </a:lnTo>
                    <a:lnTo>
                      <a:pt x="896" y="551"/>
                    </a:lnTo>
                    <a:lnTo>
                      <a:pt x="896" y="553"/>
                    </a:lnTo>
                    <a:lnTo>
                      <a:pt x="896" y="554"/>
                    </a:lnTo>
                    <a:lnTo>
                      <a:pt x="896" y="556"/>
                    </a:lnTo>
                    <a:lnTo>
                      <a:pt x="895" y="557"/>
                    </a:lnTo>
                    <a:lnTo>
                      <a:pt x="895" y="559"/>
                    </a:lnTo>
                    <a:lnTo>
                      <a:pt x="895" y="561"/>
                    </a:lnTo>
                    <a:lnTo>
                      <a:pt x="887" y="572"/>
                    </a:lnTo>
                    <a:lnTo>
                      <a:pt x="887" y="573"/>
                    </a:lnTo>
                    <a:lnTo>
                      <a:pt x="887" y="575"/>
                    </a:lnTo>
                    <a:lnTo>
                      <a:pt x="887" y="576"/>
                    </a:lnTo>
                    <a:lnTo>
                      <a:pt x="887" y="578"/>
                    </a:lnTo>
                    <a:lnTo>
                      <a:pt x="887" y="580"/>
                    </a:lnTo>
                    <a:lnTo>
                      <a:pt x="885" y="581"/>
                    </a:lnTo>
                    <a:lnTo>
                      <a:pt x="884" y="581"/>
                    </a:lnTo>
                    <a:lnTo>
                      <a:pt x="884" y="583"/>
                    </a:lnTo>
                    <a:lnTo>
                      <a:pt x="884" y="584"/>
                    </a:lnTo>
                    <a:lnTo>
                      <a:pt x="882" y="584"/>
                    </a:lnTo>
                    <a:lnTo>
                      <a:pt x="884" y="586"/>
                    </a:lnTo>
                    <a:lnTo>
                      <a:pt x="884" y="587"/>
                    </a:lnTo>
                    <a:lnTo>
                      <a:pt x="884" y="589"/>
                    </a:lnTo>
                    <a:lnTo>
                      <a:pt x="884" y="591"/>
                    </a:lnTo>
                    <a:lnTo>
                      <a:pt x="882" y="592"/>
                    </a:lnTo>
                    <a:lnTo>
                      <a:pt x="881" y="592"/>
                    </a:lnTo>
                    <a:lnTo>
                      <a:pt x="879" y="592"/>
                    </a:lnTo>
                    <a:lnTo>
                      <a:pt x="877" y="592"/>
                    </a:lnTo>
                    <a:lnTo>
                      <a:pt x="876" y="594"/>
                    </a:lnTo>
                    <a:lnTo>
                      <a:pt x="874" y="594"/>
                    </a:lnTo>
                    <a:lnTo>
                      <a:pt x="874" y="592"/>
                    </a:lnTo>
                    <a:lnTo>
                      <a:pt x="873" y="592"/>
                    </a:lnTo>
                    <a:lnTo>
                      <a:pt x="871" y="592"/>
                    </a:lnTo>
                    <a:lnTo>
                      <a:pt x="871" y="591"/>
                    </a:lnTo>
                    <a:lnTo>
                      <a:pt x="870" y="591"/>
                    </a:lnTo>
                    <a:lnTo>
                      <a:pt x="868" y="591"/>
                    </a:lnTo>
                    <a:lnTo>
                      <a:pt x="866" y="591"/>
                    </a:lnTo>
                    <a:lnTo>
                      <a:pt x="865" y="592"/>
                    </a:lnTo>
                    <a:lnTo>
                      <a:pt x="863" y="592"/>
                    </a:lnTo>
                    <a:lnTo>
                      <a:pt x="862" y="594"/>
                    </a:lnTo>
                    <a:lnTo>
                      <a:pt x="860" y="594"/>
                    </a:lnTo>
                    <a:lnTo>
                      <a:pt x="858" y="594"/>
                    </a:lnTo>
                    <a:lnTo>
                      <a:pt x="858" y="595"/>
                    </a:lnTo>
                    <a:lnTo>
                      <a:pt x="857" y="595"/>
                    </a:lnTo>
                    <a:lnTo>
                      <a:pt x="855" y="595"/>
                    </a:lnTo>
                    <a:lnTo>
                      <a:pt x="855" y="597"/>
                    </a:lnTo>
                    <a:lnTo>
                      <a:pt x="854" y="597"/>
                    </a:lnTo>
                    <a:lnTo>
                      <a:pt x="852" y="597"/>
                    </a:lnTo>
                    <a:lnTo>
                      <a:pt x="852" y="599"/>
                    </a:lnTo>
                    <a:lnTo>
                      <a:pt x="851" y="599"/>
                    </a:lnTo>
                    <a:lnTo>
                      <a:pt x="849" y="599"/>
                    </a:lnTo>
                    <a:lnTo>
                      <a:pt x="849" y="600"/>
                    </a:lnTo>
                    <a:lnTo>
                      <a:pt x="847" y="600"/>
                    </a:lnTo>
                    <a:lnTo>
                      <a:pt x="846" y="600"/>
                    </a:lnTo>
                    <a:lnTo>
                      <a:pt x="846" y="602"/>
                    </a:lnTo>
                    <a:lnTo>
                      <a:pt x="844" y="602"/>
                    </a:lnTo>
                    <a:lnTo>
                      <a:pt x="843" y="602"/>
                    </a:lnTo>
                    <a:lnTo>
                      <a:pt x="843" y="603"/>
                    </a:lnTo>
                    <a:lnTo>
                      <a:pt x="841" y="603"/>
                    </a:lnTo>
                    <a:lnTo>
                      <a:pt x="841" y="605"/>
                    </a:lnTo>
                    <a:lnTo>
                      <a:pt x="841" y="606"/>
                    </a:lnTo>
                    <a:lnTo>
                      <a:pt x="841" y="608"/>
                    </a:lnTo>
                    <a:lnTo>
                      <a:pt x="841" y="610"/>
                    </a:lnTo>
                    <a:lnTo>
                      <a:pt x="841" y="611"/>
                    </a:lnTo>
                    <a:lnTo>
                      <a:pt x="841" y="613"/>
                    </a:lnTo>
                    <a:lnTo>
                      <a:pt x="841" y="614"/>
                    </a:lnTo>
                    <a:lnTo>
                      <a:pt x="839" y="614"/>
                    </a:lnTo>
                    <a:lnTo>
                      <a:pt x="839" y="616"/>
                    </a:lnTo>
                    <a:lnTo>
                      <a:pt x="838" y="616"/>
                    </a:lnTo>
                    <a:lnTo>
                      <a:pt x="838" y="618"/>
                    </a:lnTo>
                    <a:lnTo>
                      <a:pt x="836" y="618"/>
                    </a:lnTo>
                    <a:lnTo>
                      <a:pt x="836" y="619"/>
                    </a:lnTo>
                    <a:lnTo>
                      <a:pt x="835" y="619"/>
                    </a:lnTo>
                    <a:lnTo>
                      <a:pt x="835" y="621"/>
                    </a:lnTo>
                    <a:lnTo>
                      <a:pt x="833" y="621"/>
                    </a:lnTo>
                    <a:lnTo>
                      <a:pt x="833" y="622"/>
                    </a:lnTo>
                    <a:lnTo>
                      <a:pt x="832" y="622"/>
                    </a:lnTo>
                    <a:lnTo>
                      <a:pt x="832" y="624"/>
                    </a:lnTo>
                    <a:lnTo>
                      <a:pt x="830" y="624"/>
                    </a:lnTo>
                    <a:lnTo>
                      <a:pt x="830" y="625"/>
                    </a:lnTo>
                    <a:lnTo>
                      <a:pt x="828" y="625"/>
                    </a:lnTo>
                    <a:lnTo>
                      <a:pt x="828" y="627"/>
                    </a:lnTo>
                    <a:lnTo>
                      <a:pt x="827" y="627"/>
                    </a:lnTo>
                    <a:lnTo>
                      <a:pt x="816" y="638"/>
                    </a:lnTo>
                    <a:lnTo>
                      <a:pt x="814" y="638"/>
                    </a:lnTo>
                    <a:lnTo>
                      <a:pt x="813" y="638"/>
                    </a:lnTo>
                    <a:lnTo>
                      <a:pt x="811" y="638"/>
                    </a:lnTo>
                    <a:lnTo>
                      <a:pt x="809" y="638"/>
                    </a:lnTo>
                    <a:lnTo>
                      <a:pt x="808" y="638"/>
                    </a:lnTo>
                    <a:lnTo>
                      <a:pt x="806" y="638"/>
                    </a:lnTo>
                    <a:lnTo>
                      <a:pt x="805" y="638"/>
                    </a:lnTo>
                    <a:lnTo>
                      <a:pt x="803" y="638"/>
                    </a:lnTo>
                    <a:lnTo>
                      <a:pt x="801" y="638"/>
                    </a:lnTo>
                    <a:lnTo>
                      <a:pt x="800" y="638"/>
                    </a:lnTo>
                    <a:lnTo>
                      <a:pt x="798" y="638"/>
                    </a:lnTo>
                    <a:lnTo>
                      <a:pt x="797" y="638"/>
                    </a:lnTo>
                    <a:lnTo>
                      <a:pt x="795" y="638"/>
                    </a:lnTo>
                    <a:lnTo>
                      <a:pt x="794" y="638"/>
                    </a:lnTo>
                    <a:lnTo>
                      <a:pt x="794" y="640"/>
                    </a:lnTo>
                    <a:lnTo>
                      <a:pt x="792" y="640"/>
                    </a:lnTo>
                    <a:lnTo>
                      <a:pt x="790" y="640"/>
                    </a:lnTo>
                    <a:lnTo>
                      <a:pt x="789" y="640"/>
                    </a:lnTo>
                    <a:lnTo>
                      <a:pt x="787" y="640"/>
                    </a:lnTo>
                    <a:lnTo>
                      <a:pt x="786" y="640"/>
                    </a:lnTo>
                    <a:lnTo>
                      <a:pt x="784" y="640"/>
                    </a:lnTo>
                    <a:lnTo>
                      <a:pt x="782" y="640"/>
                    </a:lnTo>
                    <a:lnTo>
                      <a:pt x="781" y="638"/>
                    </a:lnTo>
                    <a:lnTo>
                      <a:pt x="779" y="638"/>
                    </a:lnTo>
                    <a:lnTo>
                      <a:pt x="778" y="638"/>
                    </a:lnTo>
                    <a:lnTo>
                      <a:pt x="778" y="637"/>
                    </a:lnTo>
                    <a:lnTo>
                      <a:pt x="776" y="637"/>
                    </a:lnTo>
                    <a:lnTo>
                      <a:pt x="775" y="637"/>
                    </a:lnTo>
                    <a:lnTo>
                      <a:pt x="773" y="637"/>
                    </a:lnTo>
                    <a:lnTo>
                      <a:pt x="771" y="637"/>
                    </a:lnTo>
                    <a:lnTo>
                      <a:pt x="771" y="635"/>
                    </a:lnTo>
                    <a:lnTo>
                      <a:pt x="770" y="635"/>
                    </a:lnTo>
                    <a:lnTo>
                      <a:pt x="768" y="635"/>
                    </a:lnTo>
                    <a:lnTo>
                      <a:pt x="767" y="635"/>
                    </a:lnTo>
                    <a:lnTo>
                      <a:pt x="765" y="635"/>
                    </a:lnTo>
                    <a:lnTo>
                      <a:pt x="765" y="633"/>
                    </a:lnTo>
                    <a:lnTo>
                      <a:pt x="763" y="633"/>
                    </a:lnTo>
                    <a:lnTo>
                      <a:pt x="762" y="633"/>
                    </a:lnTo>
                    <a:lnTo>
                      <a:pt x="760" y="633"/>
                    </a:lnTo>
                    <a:lnTo>
                      <a:pt x="759" y="633"/>
                    </a:lnTo>
                    <a:lnTo>
                      <a:pt x="757" y="633"/>
                    </a:lnTo>
                    <a:lnTo>
                      <a:pt x="756" y="635"/>
                    </a:lnTo>
                    <a:lnTo>
                      <a:pt x="754" y="635"/>
                    </a:lnTo>
                    <a:lnTo>
                      <a:pt x="752" y="635"/>
                    </a:lnTo>
                    <a:lnTo>
                      <a:pt x="751" y="635"/>
                    </a:lnTo>
                    <a:lnTo>
                      <a:pt x="749" y="635"/>
                    </a:lnTo>
                    <a:lnTo>
                      <a:pt x="748" y="633"/>
                    </a:lnTo>
                    <a:lnTo>
                      <a:pt x="748" y="635"/>
                    </a:lnTo>
                    <a:lnTo>
                      <a:pt x="746" y="637"/>
                    </a:lnTo>
                    <a:lnTo>
                      <a:pt x="744" y="637"/>
                    </a:lnTo>
                    <a:lnTo>
                      <a:pt x="744" y="638"/>
                    </a:lnTo>
                    <a:lnTo>
                      <a:pt x="743" y="638"/>
                    </a:lnTo>
                    <a:lnTo>
                      <a:pt x="741" y="640"/>
                    </a:lnTo>
                    <a:lnTo>
                      <a:pt x="740" y="640"/>
                    </a:lnTo>
                    <a:lnTo>
                      <a:pt x="738" y="640"/>
                    </a:lnTo>
                    <a:lnTo>
                      <a:pt x="737" y="640"/>
                    </a:lnTo>
                    <a:lnTo>
                      <a:pt x="735" y="640"/>
                    </a:lnTo>
                    <a:lnTo>
                      <a:pt x="733" y="640"/>
                    </a:lnTo>
                    <a:lnTo>
                      <a:pt x="733" y="641"/>
                    </a:lnTo>
                    <a:lnTo>
                      <a:pt x="732" y="641"/>
                    </a:lnTo>
                    <a:lnTo>
                      <a:pt x="730" y="641"/>
                    </a:lnTo>
                    <a:lnTo>
                      <a:pt x="729" y="641"/>
                    </a:lnTo>
                    <a:lnTo>
                      <a:pt x="727" y="641"/>
                    </a:lnTo>
                    <a:lnTo>
                      <a:pt x="725" y="641"/>
                    </a:lnTo>
                    <a:lnTo>
                      <a:pt x="689" y="641"/>
                    </a:lnTo>
                    <a:lnTo>
                      <a:pt x="687" y="641"/>
                    </a:lnTo>
                    <a:lnTo>
                      <a:pt x="686" y="640"/>
                    </a:lnTo>
                    <a:lnTo>
                      <a:pt x="684" y="640"/>
                    </a:lnTo>
                    <a:lnTo>
                      <a:pt x="684" y="641"/>
                    </a:lnTo>
                    <a:lnTo>
                      <a:pt x="683" y="641"/>
                    </a:lnTo>
                    <a:lnTo>
                      <a:pt x="683" y="643"/>
                    </a:lnTo>
                    <a:lnTo>
                      <a:pt x="681" y="643"/>
                    </a:lnTo>
                    <a:lnTo>
                      <a:pt x="681" y="644"/>
                    </a:lnTo>
                    <a:lnTo>
                      <a:pt x="679" y="644"/>
                    </a:lnTo>
                    <a:lnTo>
                      <a:pt x="679" y="646"/>
                    </a:lnTo>
                    <a:lnTo>
                      <a:pt x="678" y="646"/>
                    </a:lnTo>
                    <a:lnTo>
                      <a:pt x="676" y="646"/>
                    </a:lnTo>
                    <a:lnTo>
                      <a:pt x="675" y="646"/>
                    </a:lnTo>
                    <a:lnTo>
                      <a:pt x="675" y="648"/>
                    </a:lnTo>
                    <a:lnTo>
                      <a:pt x="673" y="649"/>
                    </a:lnTo>
                    <a:lnTo>
                      <a:pt x="672" y="649"/>
                    </a:lnTo>
                    <a:lnTo>
                      <a:pt x="672" y="651"/>
                    </a:lnTo>
                    <a:lnTo>
                      <a:pt x="673" y="652"/>
                    </a:lnTo>
                    <a:lnTo>
                      <a:pt x="673" y="654"/>
                    </a:lnTo>
                    <a:lnTo>
                      <a:pt x="675" y="656"/>
                    </a:lnTo>
                    <a:lnTo>
                      <a:pt x="673" y="656"/>
                    </a:lnTo>
                    <a:lnTo>
                      <a:pt x="672" y="657"/>
                    </a:lnTo>
                    <a:lnTo>
                      <a:pt x="670" y="657"/>
                    </a:lnTo>
                    <a:lnTo>
                      <a:pt x="668" y="657"/>
                    </a:lnTo>
                    <a:lnTo>
                      <a:pt x="667" y="659"/>
                    </a:lnTo>
                    <a:lnTo>
                      <a:pt x="665" y="659"/>
                    </a:lnTo>
                    <a:lnTo>
                      <a:pt x="665" y="660"/>
                    </a:lnTo>
                    <a:lnTo>
                      <a:pt x="664" y="660"/>
                    </a:lnTo>
                    <a:lnTo>
                      <a:pt x="662" y="660"/>
                    </a:lnTo>
                    <a:lnTo>
                      <a:pt x="660" y="660"/>
                    </a:lnTo>
                    <a:lnTo>
                      <a:pt x="659" y="660"/>
                    </a:lnTo>
                    <a:lnTo>
                      <a:pt x="657" y="659"/>
                    </a:lnTo>
                    <a:lnTo>
                      <a:pt x="656" y="659"/>
                    </a:lnTo>
                    <a:lnTo>
                      <a:pt x="654" y="659"/>
                    </a:lnTo>
                    <a:lnTo>
                      <a:pt x="654" y="657"/>
                    </a:lnTo>
                    <a:lnTo>
                      <a:pt x="653" y="657"/>
                    </a:lnTo>
                    <a:lnTo>
                      <a:pt x="653" y="656"/>
                    </a:lnTo>
                    <a:lnTo>
                      <a:pt x="651" y="656"/>
                    </a:lnTo>
                    <a:lnTo>
                      <a:pt x="649" y="656"/>
                    </a:lnTo>
                    <a:lnTo>
                      <a:pt x="649" y="654"/>
                    </a:lnTo>
                    <a:lnTo>
                      <a:pt x="648" y="654"/>
                    </a:lnTo>
                    <a:lnTo>
                      <a:pt x="646" y="654"/>
                    </a:lnTo>
                    <a:lnTo>
                      <a:pt x="646" y="652"/>
                    </a:lnTo>
                    <a:lnTo>
                      <a:pt x="645" y="652"/>
                    </a:lnTo>
                    <a:lnTo>
                      <a:pt x="643" y="652"/>
                    </a:lnTo>
                    <a:lnTo>
                      <a:pt x="641" y="652"/>
                    </a:lnTo>
                    <a:lnTo>
                      <a:pt x="640" y="652"/>
                    </a:lnTo>
                    <a:lnTo>
                      <a:pt x="638" y="652"/>
                    </a:lnTo>
                    <a:lnTo>
                      <a:pt x="637" y="652"/>
                    </a:lnTo>
                    <a:lnTo>
                      <a:pt x="637" y="651"/>
                    </a:lnTo>
                    <a:lnTo>
                      <a:pt x="635" y="651"/>
                    </a:lnTo>
                    <a:lnTo>
                      <a:pt x="634" y="651"/>
                    </a:lnTo>
                    <a:lnTo>
                      <a:pt x="632" y="651"/>
                    </a:lnTo>
                    <a:lnTo>
                      <a:pt x="630" y="651"/>
                    </a:lnTo>
                    <a:lnTo>
                      <a:pt x="630" y="652"/>
                    </a:lnTo>
                    <a:lnTo>
                      <a:pt x="629" y="652"/>
                    </a:lnTo>
                    <a:lnTo>
                      <a:pt x="627" y="652"/>
                    </a:lnTo>
                    <a:lnTo>
                      <a:pt x="626" y="652"/>
                    </a:lnTo>
                    <a:lnTo>
                      <a:pt x="624" y="652"/>
                    </a:lnTo>
                    <a:lnTo>
                      <a:pt x="622" y="654"/>
                    </a:lnTo>
                    <a:lnTo>
                      <a:pt x="621" y="654"/>
                    </a:lnTo>
                    <a:lnTo>
                      <a:pt x="619" y="654"/>
                    </a:lnTo>
                    <a:lnTo>
                      <a:pt x="619" y="656"/>
                    </a:lnTo>
                    <a:lnTo>
                      <a:pt x="618" y="656"/>
                    </a:lnTo>
                    <a:lnTo>
                      <a:pt x="616" y="657"/>
                    </a:lnTo>
                    <a:lnTo>
                      <a:pt x="615" y="657"/>
                    </a:lnTo>
                    <a:lnTo>
                      <a:pt x="615" y="659"/>
                    </a:lnTo>
                    <a:lnTo>
                      <a:pt x="613" y="659"/>
                    </a:lnTo>
                    <a:lnTo>
                      <a:pt x="611" y="660"/>
                    </a:lnTo>
                    <a:lnTo>
                      <a:pt x="610" y="660"/>
                    </a:lnTo>
                    <a:lnTo>
                      <a:pt x="610" y="662"/>
                    </a:lnTo>
                    <a:lnTo>
                      <a:pt x="608" y="662"/>
                    </a:lnTo>
                    <a:lnTo>
                      <a:pt x="608" y="664"/>
                    </a:lnTo>
                    <a:lnTo>
                      <a:pt x="607" y="664"/>
                    </a:lnTo>
                    <a:lnTo>
                      <a:pt x="607" y="665"/>
                    </a:lnTo>
                    <a:lnTo>
                      <a:pt x="605" y="665"/>
                    </a:lnTo>
                    <a:lnTo>
                      <a:pt x="605" y="667"/>
                    </a:lnTo>
                    <a:lnTo>
                      <a:pt x="605" y="668"/>
                    </a:lnTo>
                    <a:lnTo>
                      <a:pt x="605" y="670"/>
                    </a:lnTo>
                    <a:lnTo>
                      <a:pt x="605" y="671"/>
                    </a:lnTo>
                    <a:lnTo>
                      <a:pt x="603" y="673"/>
                    </a:lnTo>
                    <a:lnTo>
                      <a:pt x="603" y="675"/>
                    </a:lnTo>
                    <a:lnTo>
                      <a:pt x="602" y="675"/>
                    </a:lnTo>
                    <a:lnTo>
                      <a:pt x="600" y="676"/>
                    </a:lnTo>
                    <a:lnTo>
                      <a:pt x="600" y="678"/>
                    </a:lnTo>
                    <a:lnTo>
                      <a:pt x="599" y="679"/>
                    </a:lnTo>
                    <a:lnTo>
                      <a:pt x="597" y="679"/>
                    </a:lnTo>
                    <a:lnTo>
                      <a:pt x="597" y="681"/>
                    </a:lnTo>
                    <a:lnTo>
                      <a:pt x="596" y="683"/>
                    </a:lnTo>
                    <a:lnTo>
                      <a:pt x="594" y="683"/>
                    </a:lnTo>
                    <a:lnTo>
                      <a:pt x="592" y="684"/>
                    </a:lnTo>
                    <a:lnTo>
                      <a:pt x="592" y="686"/>
                    </a:lnTo>
                    <a:lnTo>
                      <a:pt x="592" y="687"/>
                    </a:lnTo>
                    <a:lnTo>
                      <a:pt x="592" y="689"/>
                    </a:lnTo>
                    <a:lnTo>
                      <a:pt x="591" y="689"/>
                    </a:lnTo>
                    <a:lnTo>
                      <a:pt x="591" y="690"/>
                    </a:lnTo>
                    <a:lnTo>
                      <a:pt x="591" y="692"/>
                    </a:lnTo>
                    <a:lnTo>
                      <a:pt x="589" y="692"/>
                    </a:lnTo>
                    <a:lnTo>
                      <a:pt x="589" y="694"/>
                    </a:lnTo>
                    <a:lnTo>
                      <a:pt x="589" y="695"/>
                    </a:lnTo>
                    <a:lnTo>
                      <a:pt x="588" y="697"/>
                    </a:lnTo>
                    <a:lnTo>
                      <a:pt x="588" y="698"/>
                    </a:lnTo>
                    <a:lnTo>
                      <a:pt x="586" y="698"/>
                    </a:lnTo>
                    <a:lnTo>
                      <a:pt x="586" y="700"/>
                    </a:lnTo>
                    <a:lnTo>
                      <a:pt x="586" y="702"/>
                    </a:lnTo>
                    <a:lnTo>
                      <a:pt x="586" y="703"/>
                    </a:lnTo>
                    <a:lnTo>
                      <a:pt x="584" y="703"/>
                    </a:lnTo>
                    <a:lnTo>
                      <a:pt x="586" y="705"/>
                    </a:lnTo>
                    <a:lnTo>
                      <a:pt x="584" y="705"/>
                    </a:lnTo>
                    <a:lnTo>
                      <a:pt x="584" y="706"/>
                    </a:lnTo>
                    <a:lnTo>
                      <a:pt x="586" y="706"/>
                    </a:lnTo>
                    <a:lnTo>
                      <a:pt x="586" y="708"/>
                    </a:lnTo>
                    <a:lnTo>
                      <a:pt x="586" y="709"/>
                    </a:lnTo>
                    <a:lnTo>
                      <a:pt x="586" y="711"/>
                    </a:lnTo>
                    <a:lnTo>
                      <a:pt x="588" y="711"/>
                    </a:lnTo>
                    <a:lnTo>
                      <a:pt x="588" y="713"/>
                    </a:lnTo>
                    <a:lnTo>
                      <a:pt x="589" y="713"/>
                    </a:lnTo>
                    <a:lnTo>
                      <a:pt x="589" y="714"/>
                    </a:lnTo>
                    <a:lnTo>
                      <a:pt x="591" y="714"/>
                    </a:lnTo>
                    <a:lnTo>
                      <a:pt x="591" y="716"/>
                    </a:lnTo>
                    <a:lnTo>
                      <a:pt x="592" y="716"/>
                    </a:lnTo>
                    <a:lnTo>
                      <a:pt x="592" y="717"/>
                    </a:lnTo>
                    <a:lnTo>
                      <a:pt x="594" y="717"/>
                    </a:lnTo>
                    <a:lnTo>
                      <a:pt x="594" y="719"/>
                    </a:lnTo>
                    <a:lnTo>
                      <a:pt x="596" y="719"/>
                    </a:lnTo>
                    <a:lnTo>
                      <a:pt x="596" y="721"/>
                    </a:lnTo>
                    <a:lnTo>
                      <a:pt x="597" y="721"/>
                    </a:lnTo>
                    <a:lnTo>
                      <a:pt x="597" y="722"/>
                    </a:lnTo>
                    <a:lnTo>
                      <a:pt x="599" y="722"/>
                    </a:lnTo>
                    <a:lnTo>
                      <a:pt x="599" y="724"/>
                    </a:lnTo>
                    <a:lnTo>
                      <a:pt x="600" y="725"/>
                    </a:lnTo>
                    <a:lnTo>
                      <a:pt x="602" y="725"/>
                    </a:lnTo>
                    <a:lnTo>
                      <a:pt x="602" y="727"/>
                    </a:lnTo>
                    <a:lnTo>
                      <a:pt x="602" y="728"/>
                    </a:lnTo>
                    <a:lnTo>
                      <a:pt x="603" y="728"/>
                    </a:lnTo>
                    <a:lnTo>
                      <a:pt x="603" y="730"/>
                    </a:lnTo>
                    <a:lnTo>
                      <a:pt x="605" y="732"/>
                    </a:lnTo>
                    <a:lnTo>
                      <a:pt x="605" y="733"/>
                    </a:lnTo>
                    <a:lnTo>
                      <a:pt x="605" y="735"/>
                    </a:lnTo>
                    <a:lnTo>
                      <a:pt x="607" y="735"/>
                    </a:lnTo>
                    <a:lnTo>
                      <a:pt x="607" y="736"/>
                    </a:lnTo>
                    <a:lnTo>
                      <a:pt x="608" y="738"/>
                    </a:lnTo>
                    <a:lnTo>
                      <a:pt x="608" y="740"/>
                    </a:lnTo>
                    <a:lnTo>
                      <a:pt x="610" y="740"/>
                    </a:lnTo>
                    <a:lnTo>
                      <a:pt x="610" y="741"/>
                    </a:lnTo>
                    <a:lnTo>
                      <a:pt x="611" y="743"/>
                    </a:lnTo>
                    <a:lnTo>
                      <a:pt x="611" y="744"/>
                    </a:lnTo>
                    <a:lnTo>
                      <a:pt x="610" y="746"/>
                    </a:lnTo>
                    <a:lnTo>
                      <a:pt x="610" y="747"/>
                    </a:lnTo>
                    <a:lnTo>
                      <a:pt x="610" y="749"/>
                    </a:lnTo>
                    <a:lnTo>
                      <a:pt x="611" y="749"/>
                    </a:lnTo>
                    <a:lnTo>
                      <a:pt x="611" y="751"/>
                    </a:lnTo>
                    <a:lnTo>
                      <a:pt x="611" y="752"/>
                    </a:lnTo>
                    <a:lnTo>
                      <a:pt x="613" y="752"/>
                    </a:lnTo>
                    <a:lnTo>
                      <a:pt x="613" y="754"/>
                    </a:lnTo>
                    <a:lnTo>
                      <a:pt x="613" y="755"/>
                    </a:lnTo>
                    <a:lnTo>
                      <a:pt x="615" y="755"/>
                    </a:lnTo>
                    <a:lnTo>
                      <a:pt x="613" y="755"/>
                    </a:lnTo>
                    <a:lnTo>
                      <a:pt x="613" y="757"/>
                    </a:lnTo>
                    <a:lnTo>
                      <a:pt x="611" y="757"/>
                    </a:lnTo>
                    <a:lnTo>
                      <a:pt x="610" y="757"/>
                    </a:lnTo>
                    <a:lnTo>
                      <a:pt x="608" y="757"/>
                    </a:lnTo>
                    <a:lnTo>
                      <a:pt x="607" y="757"/>
                    </a:lnTo>
                    <a:lnTo>
                      <a:pt x="605" y="757"/>
                    </a:lnTo>
                    <a:lnTo>
                      <a:pt x="603" y="757"/>
                    </a:lnTo>
                    <a:lnTo>
                      <a:pt x="602" y="759"/>
                    </a:lnTo>
                    <a:lnTo>
                      <a:pt x="602" y="760"/>
                    </a:lnTo>
                    <a:lnTo>
                      <a:pt x="603" y="762"/>
                    </a:lnTo>
                    <a:lnTo>
                      <a:pt x="605" y="763"/>
                    </a:lnTo>
                    <a:lnTo>
                      <a:pt x="607" y="765"/>
                    </a:lnTo>
                    <a:lnTo>
                      <a:pt x="607" y="766"/>
                    </a:lnTo>
                    <a:lnTo>
                      <a:pt x="608" y="768"/>
                    </a:lnTo>
                    <a:lnTo>
                      <a:pt x="610" y="768"/>
                    </a:lnTo>
                    <a:lnTo>
                      <a:pt x="611" y="768"/>
                    </a:lnTo>
                    <a:lnTo>
                      <a:pt x="613" y="768"/>
                    </a:lnTo>
                    <a:lnTo>
                      <a:pt x="615" y="766"/>
                    </a:lnTo>
                    <a:lnTo>
                      <a:pt x="616" y="766"/>
                    </a:lnTo>
                    <a:lnTo>
                      <a:pt x="618" y="766"/>
                    </a:lnTo>
                    <a:lnTo>
                      <a:pt x="618" y="765"/>
                    </a:lnTo>
                    <a:lnTo>
                      <a:pt x="619" y="765"/>
                    </a:lnTo>
                    <a:lnTo>
                      <a:pt x="621" y="766"/>
                    </a:lnTo>
                    <a:lnTo>
                      <a:pt x="621" y="768"/>
                    </a:lnTo>
                    <a:lnTo>
                      <a:pt x="619" y="770"/>
                    </a:lnTo>
                    <a:lnTo>
                      <a:pt x="618" y="771"/>
                    </a:lnTo>
                    <a:lnTo>
                      <a:pt x="616" y="773"/>
                    </a:lnTo>
                    <a:lnTo>
                      <a:pt x="616" y="774"/>
                    </a:lnTo>
                    <a:lnTo>
                      <a:pt x="618" y="776"/>
                    </a:lnTo>
                    <a:lnTo>
                      <a:pt x="618" y="778"/>
                    </a:lnTo>
                    <a:lnTo>
                      <a:pt x="619" y="778"/>
                    </a:lnTo>
                    <a:lnTo>
                      <a:pt x="619" y="779"/>
                    </a:lnTo>
                    <a:lnTo>
                      <a:pt x="621" y="779"/>
                    </a:lnTo>
                    <a:lnTo>
                      <a:pt x="621" y="781"/>
                    </a:lnTo>
                    <a:lnTo>
                      <a:pt x="622" y="781"/>
                    </a:lnTo>
                    <a:lnTo>
                      <a:pt x="622" y="782"/>
                    </a:lnTo>
                    <a:lnTo>
                      <a:pt x="624" y="784"/>
                    </a:lnTo>
                    <a:lnTo>
                      <a:pt x="624" y="785"/>
                    </a:lnTo>
                    <a:lnTo>
                      <a:pt x="626" y="787"/>
                    </a:lnTo>
                    <a:lnTo>
                      <a:pt x="626" y="789"/>
                    </a:lnTo>
                    <a:lnTo>
                      <a:pt x="627" y="790"/>
                    </a:lnTo>
                    <a:lnTo>
                      <a:pt x="627" y="792"/>
                    </a:lnTo>
                    <a:lnTo>
                      <a:pt x="629" y="792"/>
                    </a:lnTo>
                    <a:lnTo>
                      <a:pt x="629" y="793"/>
                    </a:lnTo>
                    <a:lnTo>
                      <a:pt x="629" y="795"/>
                    </a:lnTo>
                    <a:lnTo>
                      <a:pt x="630" y="795"/>
                    </a:lnTo>
                    <a:lnTo>
                      <a:pt x="630" y="797"/>
                    </a:lnTo>
                    <a:lnTo>
                      <a:pt x="632" y="798"/>
                    </a:lnTo>
                    <a:lnTo>
                      <a:pt x="632" y="800"/>
                    </a:lnTo>
                    <a:lnTo>
                      <a:pt x="634" y="801"/>
                    </a:lnTo>
                    <a:lnTo>
                      <a:pt x="634" y="803"/>
                    </a:lnTo>
                    <a:lnTo>
                      <a:pt x="635" y="804"/>
                    </a:lnTo>
                    <a:lnTo>
                      <a:pt x="635" y="806"/>
                    </a:lnTo>
                    <a:lnTo>
                      <a:pt x="637" y="808"/>
                    </a:lnTo>
                    <a:lnTo>
                      <a:pt x="637" y="809"/>
                    </a:lnTo>
                    <a:lnTo>
                      <a:pt x="638" y="811"/>
                    </a:lnTo>
                    <a:lnTo>
                      <a:pt x="638" y="812"/>
                    </a:lnTo>
                    <a:lnTo>
                      <a:pt x="638" y="814"/>
                    </a:lnTo>
                    <a:lnTo>
                      <a:pt x="640" y="814"/>
                    </a:lnTo>
                    <a:lnTo>
                      <a:pt x="640" y="816"/>
                    </a:lnTo>
                    <a:lnTo>
                      <a:pt x="640" y="817"/>
                    </a:lnTo>
                    <a:lnTo>
                      <a:pt x="641" y="819"/>
                    </a:lnTo>
                    <a:lnTo>
                      <a:pt x="643" y="819"/>
                    </a:lnTo>
                    <a:lnTo>
                      <a:pt x="645" y="820"/>
                    </a:lnTo>
                    <a:lnTo>
                      <a:pt x="646" y="820"/>
                    </a:lnTo>
                    <a:lnTo>
                      <a:pt x="646" y="822"/>
                    </a:lnTo>
                    <a:lnTo>
                      <a:pt x="648" y="823"/>
                    </a:lnTo>
                    <a:lnTo>
                      <a:pt x="648" y="825"/>
                    </a:lnTo>
                    <a:lnTo>
                      <a:pt x="649" y="825"/>
                    </a:lnTo>
                    <a:lnTo>
                      <a:pt x="649" y="827"/>
                    </a:lnTo>
                    <a:lnTo>
                      <a:pt x="651" y="827"/>
                    </a:lnTo>
                    <a:lnTo>
                      <a:pt x="651" y="828"/>
                    </a:lnTo>
                    <a:lnTo>
                      <a:pt x="653" y="830"/>
                    </a:lnTo>
                    <a:lnTo>
                      <a:pt x="653" y="831"/>
                    </a:lnTo>
                    <a:lnTo>
                      <a:pt x="654" y="833"/>
                    </a:lnTo>
                    <a:lnTo>
                      <a:pt x="656" y="833"/>
                    </a:lnTo>
                    <a:lnTo>
                      <a:pt x="656" y="835"/>
                    </a:lnTo>
                    <a:lnTo>
                      <a:pt x="656" y="836"/>
                    </a:lnTo>
                    <a:lnTo>
                      <a:pt x="657" y="836"/>
                    </a:lnTo>
                    <a:lnTo>
                      <a:pt x="659" y="836"/>
                    </a:lnTo>
                    <a:lnTo>
                      <a:pt x="660" y="835"/>
                    </a:lnTo>
                    <a:lnTo>
                      <a:pt x="662" y="836"/>
                    </a:lnTo>
                    <a:lnTo>
                      <a:pt x="664" y="836"/>
                    </a:lnTo>
                    <a:lnTo>
                      <a:pt x="665" y="835"/>
                    </a:lnTo>
                    <a:lnTo>
                      <a:pt x="665" y="836"/>
                    </a:lnTo>
                    <a:lnTo>
                      <a:pt x="667" y="836"/>
                    </a:lnTo>
                    <a:lnTo>
                      <a:pt x="668" y="838"/>
                    </a:lnTo>
                    <a:lnTo>
                      <a:pt x="670" y="839"/>
                    </a:lnTo>
                    <a:lnTo>
                      <a:pt x="672" y="839"/>
                    </a:lnTo>
                    <a:lnTo>
                      <a:pt x="672" y="841"/>
                    </a:lnTo>
                    <a:lnTo>
                      <a:pt x="672" y="842"/>
                    </a:lnTo>
                    <a:lnTo>
                      <a:pt x="673" y="842"/>
                    </a:lnTo>
                    <a:lnTo>
                      <a:pt x="673" y="844"/>
                    </a:lnTo>
                    <a:lnTo>
                      <a:pt x="675" y="844"/>
                    </a:lnTo>
                    <a:lnTo>
                      <a:pt x="675" y="846"/>
                    </a:lnTo>
                    <a:lnTo>
                      <a:pt x="676" y="846"/>
                    </a:lnTo>
                    <a:lnTo>
                      <a:pt x="676" y="847"/>
                    </a:lnTo>
                    <a:lnTo>
                      <a:pt x="676" y="849"/>
                    </a:lnTo>
                    <a:lnTo>
                      <a:pt x="678" y="849"/>
                    </a:lnTo>
                    <a:lnTo>
                      <a:pt x="679" y="850"/>
                    </a:lnTo>
                    <a:lnTo>
                      <a:pt x="679" y="852"/>
                    </a:lnTo>
                    <a:lnTo>
                      <a:pt x="681" y="852"/>
                    </a:lnTo>
                    <a:lnTo>
                      <a:pt x="683" y="852"/>
                    </a:lnTo>
                    <a:lnTo>
                      <a:pt x="683" y="854"/>
                    </a:lnTo>
                    <a:lnTo>
                      <a:pt x="683" y="855"/>
                    </a:lnTo>
                    <a:lnTo>
                      <a:pt x="683" y="857"/>
                    </a:lnTo>
                    <a:lnTo>
                      <a:pt x="684" y="857"/>
                    </a:lnTo>
                    <a:lnTo>
                      <a:pt x="684" y="858"/>
                    </a:lnTo>
                    <a:lnTo>
                      <a:pt x="683" y="862"/>
                    </a:lnTo>
                    <a:lnTo>
                      <a:pt x="681" y="865"/>
                    </a:lnTo>
                    <a:lnTo>
                      <a:pt x="679" y="866"/>
                    </a:lnTo>
                    <a:lnTo>
                      <a:pt x="678" y="866"/>
                    </a:lnTo>
                    <a:lnTo>
                      <a:pt x="675" y="866"/>
                    </a:lnTo>
                    <a:lnTo>
                      <a:pt x="675" y="865"/>
                    </a:lnTo>
                    <a:lnTo>
                      <a:pt x="673" y="862"/>
                    </a:lnTo>
                    <a:lnTo>
                      <a:pt x="672" y="860"/>
                    </a:lnTo>
                    <a:lnTo>
                      <a:pt x="667" y="857"/>
                    </a:lnTo>
                    <a:lnTo>
                      <a:pt x="665" y="855"/>
                    </a:lnTo>
                    <a:lnTo>
                      <a:pt x="659" y="855"/>
                    </a:lnTo>
                    <a:lnTo>
                      <a:pt x="659" y="857"/>
                    </a:lnTo>
                    <a:lnTo>
                      <a:pt x="649" y="862"/>
                    </a:lnTo>
                    <a:lnTo>
                      <a:pt x="648" y="862"/>
                    </a:lnTo>
                    <a:lnTo>
                      <a:pt x="648" y="863"/>
                    </a:lnTo>
                    <a:lnTo>
                      <a:pt x="643" y="866"/>
                    </a:lnTo>
                    <a:lnTo>
                      <a:pt x="641" y="869"/>
                    </a:lnTo>
                    <a:lnTo>
                      <a:pt x="638" y="873"/>
                    </a:lnTo>
                    <a:lnTo>
                      <a:pt x="637" y="879"/>
                    </a:lnTo>
                    <a:lnTo>
                      <a:pt x="637" y="881"/>
                    </a:lnTo>
                    <a:lnTo>
                      <a:pt x="637" y="882"/>
                    </a:lnTo>
                    <a:lnTo>
                      <a:pt x="637" y="884"/>
                    </a:lnTo>
                    <a:lnTo>
                      <a:pt x="640" y="888"/>
                    </a:lnTo>
                    <a:lnTo>
                      <a:pt x="640" y="890"/>
                    </a:lnTo>
                    <a:lnTo>
                      <a:pt x="640" y="892"/>
                    </a:lnTo>
                    <a:lnTo>
                      <a:pt x="643" y="896"/>
                    </a:lnTo>
                    <a:lnTo>
                      <a:pt x="643" y="898"/>
                    </a:lnTo>
                    <a:lnTo>
                      <a:pt x="643" y="900"/>
                    </a:lnTo>
                    <a:lnTo>
                      <a:pt x="640" y="904"/>
                    </a:lnTo>
                    <a:lnTo>
                      <a:pt x="640" y="906"/>
                    </a:lnTo>
                    <a:lnTo>
                      <a:pt x="638" y="911"/>
                    </a:lnTo>
                    <a:lnTo>
                      <a:pt x="638" y="912"/>
                    </a:lnTo>
                    <a:lnTo>
                      <a:pt x="638" y="914"/>
                    </a:lnTo>
                    <a:lnTo>
                      <a:pt x="638" y="915"/>
                    </a:lnTo>
                    <a:lnTo>
                      <a:pt x="637" y="919"/>
                    </a:lnTo>
                    <a:lnTo>
                      <a:pt x="635" y="922"/>
                    </a:lnTo>
                    <a:lnTo>
                      <a:pt x="635" y="923"/>
                    </a:lnTo>
                    <a:lnTo>
                      <a:pt x="635" y="925"/>
                    </a:lnTo>
                    <a:lnTo>
                      <a:pt x="634" y="926"/>
                    </a:lnTo>
                    <a:lnTo>
                      <a:pt x="632" y="925"/>
                    </a:lnTo>
                    <a:lnTo>
                      <a:pt x="630" y="925"/>
                    </a:lnTo>
                    <a:lnTo>
                      <a:pt x="629" y="925"/>
                    </a:lnTo>
                    <a:lnTo>
                      <a:pt x="627" y="925"/>
                    </a:lnTo>
                    <a:lnTo>
                      <a:pt x="627" y="926"/>
                    </a:lnTo>
                    <a:lnTo>
                      <a:pt x="626" y="926"/>
                    </a:lnTo>
                    <a:lnTo>
                      <a:pt x="624" y="926"/>
                    </a:lnTo>
                    <a:lnTo>
                      <a:pt x="624" y="925"/>
                    </a:lnTo>
                    <a:lnTo>
                      <a:pt x="624" y="926"/>
                    </a:lnTo>
                    <a:lnTo>
                      <a:pt x="624" y="925"/>
                    </a:lnTo>
                    <a:lnTo>
                      <a:pt x="622" y="925"/>
                    </a:lnTo>
                    <a:lnTo>
                      <a:pt x="622" y="923"/>
                    </a:lnTo>
                    <a:lnTo>
                      <a:pt x="622" y="925"/>
                    </a:lnTo>
                    <a:lnTo>
                      <a:pt x="622" y="923"/>
                    </a:lnTo>
                    <a:lnTo>
                      <a:pt x="624" y="923"/>
                    </a:lnTo>
                    <a:lnTo>
                      <a:pt x="624" y="922"/>
                    </a:lnTo>
                    <a:lnTo>
                      <a:pt x="626" y="922"/>
                    </a:lnTo>
                    <a:lnTo>
                      <a:pt x="626" y="920"/>
                    </a:lnTo>
                    <a:lnTo>
                      <a:pt x="624" y="920"/>
                    </a:lnTo>
                    <a:lnTo>
                      <a:pt x="624" y="919"/>
                    </a:lnTo>
                    <a:lnTo>
                      <a:pt x="624" y="920"/>
                    </a:lnTo>
                    <a:lnTo>
                      <a:pt x="622" y="920"/>
                    </a:lnTo>
                    <a:lnTo>
                      <a:pt x="622" y="919"/>
                    </a:lnTo>
                    <a:lnTo>
                      <a:pt x="621" y="919"/>
                    </a:lnTo>
                    <a:lnTo>
                      <a:pt x="621" y="920"/>
                    </a:lnTo>
                    <a:lnTo>
                      <a:pt x="621" y="919"/>
                    </a:lnTo>
                    <a:lnTo>
                      <a:pt x="619" y="919"/>
                    </a:lnTo>
                    <a:lnTo>
                      <a:pt x="618" y="919"/>
                    </a:lnTo>
                    <a:lnTo>
                      <a:pt x="619" y="919"/>
                    </a:lnTo>
                    <a:lnTo>
                      <a:pt x="619" y="917"/>
                    </a:lnTo>
                    <a:lnTo>
                      <a:pt x="618" y="917"/>
                    </a:lnTo>
                    <a:lnTo>
                      <a:pt x="618" y="915"/>
                    </a:lnTo>
                    <a:lnTo>
                      <a:pt x="616" y="915"/>
                    </a:lnTo>
                    <a:lnTo>
                      <a:pt x="615" y="915"/>
                    </a:lnTo>
                    <a:lnTo>
                      <a:pt x="615" y="917"/>
                    </a:lnTo>
                    <a:lnTo>
                      <a:pt x="615" y="915"/>
                    </a:lnTo>
                    <a:lnTo>
                      <a:pt x="615" y="914"/>
                    </a:lnTo>
                    <a:lnTo>
                      <a:pt x="613" y="914"/>
                    </a:lnTo>
                    <a:lnTo>
                      <a:pt x="613" y="912"/>
                    </a:lnTo>
                    <a:lnTo>
                      <a:pt x="611" y="912"/>
                    </a:lnTo>
                    <a:lnTo>
                      <a:pt x="611" y="911"/>
                    </a:lnTo>
                    <a:lnTo>
                      <a:pt x="610" y="911"/>
                    </a:lnTo>
                    <a:lnTo>
                      <a:pt x="610" y="909"/>
                    </a:lnTo>
                    <a:lnTo>
                      <a:pt x="608" y="909"/>
                    </a:lnTo>
                    <a:lnTo>
                      <a:pt x="608" y="907"/>
                    </a:lnTo>
                    <a:lnTo>
                      <a:pt x="605" y="906"/>
                    </a:lnTo>
                    <a:lnTo>
                      <a:pt x="605" y="904"/>
                    </a:lnTo>
                    <a:lnTo>
                      <a:pt x="603" y="904"/>
                    </a:lnTo>
                    <a:lnTo>
                      <a:pt x="602" y="904"/>
                    </a:lnTo>
                    <a:lnTo>
                      <a:pt x="600" y="903"/>
                    </a:lnTo>
                    <a:lnTo>
                      <a:pt x="599" y="903"/>
                    </a:lnTo>
                    <a:lnTo>
                      <a:pt x="597" y="903"/>
                    </a:lnTo>
                    <a:lnTo>
                      <a:pt x="594" y="900"/>
                    </a:lnTo>
                    <a:lnTo>
                      <a:pt x="594" y="898"/>
                    </a:lnTo>
                    <a:lnTo>
                      <a:pt x="594" y="896"/>
                    </a:lnTo>
                    <a:lnTo>
                      <a:pt x="592" y="896"/>
                    </a:lnTo>
                    <a:lnTo>
                      <a:pt x="591" y="895"/>
                    </a:lnTo>
                    <a:lnTo>
                      <a:pt x="589" y="893"/>
                    </a:lnTo>
                    <a:lnTo>
                      <a:pt x="589" y="892"/>
                    </a:lnTo>
                    <a:lnTo>
                      <a:pt x="588" y="892"/>
                    </a:lnTo>
                    <a:lnTo>
                      <a:pt x="586" y="892"/>
                    </a:lnTo>
                    <a:lnTo>
                      <a:pt x="583" y="888"/>
                    </a:lnTo>
                    <a:lnTo>
                      <a:pt x="583" y="887"/>
                    </a:lnTo>
                    <a:lnTo>
                      <a:pt x="581" y="887"/>
                    </a:lnTo>
                    <a:lnTo>
                      <a:pt x="581" y="885"/>
                    </a:lnTo>
                    <a:lnTo>
                      <a:pt x="580" y="885"/>
                    </a:lnTo>
                    <a:lnTo>
                      <a:pt x="578" y="885"/>
                    </a:lnTo>
                    <a:lnTo>
                      <a:pt x="577" y="885"/>
                    </a:lnTo>
                    <a:lnTo>
                      <a:pt x="577" y="884"/>
                    </a:lnTo>
                    <a:lnTo>
                      <a:pt x="575" y="884"/>
                    </a:lnTo>
                    <a:lnTo>
                      <a:pt x="573" y="884"/>
                    </a:lnTo>
                    <a:lnTo>
                      <a:pt x="573" y="885"/>
                    </a:lnTo>
                    <a:lnTo>
                      <a:pt x="572" y="885"/>
                    </a:lnTo>
                    <a:lnTo>
                      <a:pt x="572" y="884"/>
                    </a:lnTo>
                    <a:lnTo>
                      <a:pt x="570" y="884"/>
                    </a:lnTo>
                    <a:lnTo>
                      <a:pt x="569" y="884"/>
                    </a:lnTo>
                    <a:lnTo>
                      <a:pt x="569" y="885"/>
                    </a:lnTo>
                    <a:lnTo>
                      <a:pt x="567" y="885"/>
                    </a:lnTo>
                    <a:lnTo>
                      <a:pt x="567" y="884"/>
                    </a:lnTo>
                    <a:lnTo>
                      <a:pt x="567" y="885"/>
                    </a:lnTo>
                    <a:lnTo>
                      <a:pt x="565" y="884"/>
                    </a:lnTo>
                    <a:lnTo>
                      <a:pt x="564" y="884"/>
                    </a:lnTo>
                    <a:lnTo>
                      <a:pt x="564" y="885"/>
                    </a:lnTo>
                    <a:lnTo>
                      <a:pt x="564" y="884"/>
                    </a:lnTo>
                    <a:lnTo>
                      <a:pt x="562" y="884"/>
                    </a:lnTo>
                    <a:lnTo>
                      <a:pt x="562" y="885"/>
                    </a:lnTo>
                    <a:lnTo>
                      <a:pt x="561" y="885"/>
                    </a:lnTo>
                    <a:lnTo>
                      <a:pt x="561" y="887"/>
                    </a:lnTo>
                    <a:lnTo>
                      <a:pt x="559" y="887"/>
                    </a:lnTo>
                    <a:lnTo>
                      <a:pt x="559" y="888"/>
                    </a:lnTo>
                    <a:lnTo>
                      <a:pt x="561" y="888"/>
                    </a:lnTo>
                    <a:lnTo>
                      <a:pt x="559" y="888"/>
                    </a:lnTo>
                    <a:lnTo>
                      <a:pt x="559" y="890"/>
                    </a:lnTo>
                    <a:lnTo>
                      <a:pt x="558" y="890"/>
                    </a:lnTo>
                    <a:lnTo>
                      <a:pt x="558" y="892"/>
                    </a:lnTo>
                    <a:lnTo>
                      <a:pt x="559" y="892"/>
                    </a:lnTo>
                    <a:lnTo>
                      <a:pt x="558" y="892"/>
                    </a:lnTo>
                    <a:lnTo>
                      <a:pt x="558" y="895"/>
                    </a:lnTo>
                    <a:lnTo>
                      <a:pt x="558" y="896"/>
                    </a:lnTo>
                    <a:lnTo>
                      <a:pt x="554" y="893"/>
                    </a:lnTo>
                    <a:lnTo>
                      <a:pt x="553" y="893"/>
                    </a:lnTo>
                    <a:lnTo>
                      <a:pt x="551" y="893"/>
                    </a:lnTo>
                    <a:lnTo>
                      <a:pt x="548" y="893"/>
                    </a:lnTo>
                    <a:lnTo>
                      <a:pt x="546" y="893"/>
                    </a:lnTo>
                    <a:lnTo>
                      <a:pt x="545" y="893"/>
                    </a:lnTo>
                    <a:lnTo>
                      <a:pt x="543" y="893"/>
                    </a:lnTo>
                    <a:lnTo>
                      <a:pt x="543" y="892"/>
                    </a:lnTo>
                    <a:lnTo>
                      <a:pt x="542" y="892"/>
                    </a:lnTo>
                    <a:lnTo>
                      <a:pt x="540" y="892"/>
                    </a:lnTo>
                    <a:lnTo>
                      <a:pt x="540" y="890"/>
                    </a:lnTo>
                    <a:lnTo>
                      <a:pt x="539" y="890"/>
                    </a:lnTo>
                    <a:lnTo>
                      <a:pt x="537" y="890"/>
                    </a:lnTo>
                    <a:lnTo>
                      <a:pt x="535" y="890"/>
                    </a:lnTo>
                    <a:lnTo>
                      <a:pt x="537" y="892"/>
                    </a:lnTo>
                    <a:lnTo>
                      <a:pt x="534" y="892"/>
                    </a:lnTo>
                    <a:lnTo>
                      <a:pt x="532" y="890"/>
                    </a:lnTo>
                    <a:lnTo>
                      <a:pt x="531" y="890"/>
                    </a:lnTo>
                    <a:lnTo>
                      <a:pt x="529" y="890"/>
                    </a:lnTo>
                    <a:lnTo>
                      <a:pt x="529" y="888"/>
                    </a:lnTo>
                    <a:lnTo>
                      <a:pt x="526" y="888"/>
                    </a:lnTo>
                    <a:lnTo>
                      <a:pt x="526" y="887"/>
                    </a:lnTo>
                    <a:lnTo>
                      <a:pt x="524" y="887"/>
                    </a:lnTo>
                    <a:lnTo>
                      <a:pt x="523" y="887"/>
                    </a:lnTo>
                    <a:lnTo>
                      <a:pt x="523" y="885"/>
                    </a:lnTo>
                    <a:lnTo>
                      <a:pt x="521" y="884"/>
                    </a:lnTo>
                    <a:lnTo>
                      <a:pt x="519" y="884"/>
                    </a:lnTo>
                    <a:lnTo>
                      <a:pt x="518" y="882"/>
                    </a:lnTo>
                    <a:lnTo>
                      <a:pt x="518" y="884"/>
                    </a:lnTo>
                    <a:lnTo>
                      <a:pt x="516" y="884"/>
                    </a:lnTo>
                    <a:lnTo>
                      <a:pt x="516" y="885"/>
                    </a:lnTo>
                    <a:lnTo>
                      <a:pt x="515" y="885"/>
                    </a:lnTo>
                    <a:lnTo>
                      <a:pt x="513" y="885"/>
                    </a:lnTo>
                    <a:lnTo>
                      <a:pt x="513" y="887"/>
                    </a:lnTo>
                    <a:lnTo>
                      <a:pt x="512" y="887"/>
                    </a:lnTo>
                    <a:lnTo>
                      <a:pt x="512" y="885"/>
                    </a:lnTo>
                    <a:lnTo>
                      <a:pt x="510" y="885"/>
                    </a:lnTo>
                    <a:lnTo>
                      <a:pt x="508" y="885"/>
                    </a:lnTo>
                    <a:lnTo>
                      <a:pt x="507" y="885"/>
                    </a:lnTo>
                    <a:lnTo>
                      <a:pt x="507" y="887"/>
                    </a:lnTo>
                    <a:lnTo>
                      <a:pt x="507" y="888"/>
                    </a:lnTo>
                    <a:lnTo>
                      <a:pt x="505" y="888"/>
                    </a:lnTo>
                    <a:lnTo>
                      <a:pt x="505" y="890"/>
                    </a:lnTo>
                    <a:lnTo>
                      <a:pt x="504" y="890"/>
                    </a:lnTo>
                    <a:lnTo>
                      <a:pt x="504" y="892"/>
                    </a:lnTo>
                    <a:lnTo>
                      <a:pt x="504" y="893"/>
                    </a:lnTo>
                    <a:lnTo>
                      <a:pt x="502" y="893"/>
                    </a:lnTo>
                    <a:lnTo>
                      <a:pt x="500" y="893"/>
                    </a:lnTo>
                    <a:lnTo>
                      <a:pt x="500" y="895"/>
                    </a:lnTo>
                    <a:lnTo>
                      <a:pt x="502" y="895"/>
                    </a:lnTo>
                    <a:lnTo>
                      <a:pt x="502" y="896"/>
                    </a:lnTo>
                    <a:lnTo>
                      <a:pt x="502" y="898"/>
                    </a:lnTo>
                    <a:lnTo>
                      <a:pt x="500" y="898"/>
                    </a:lnTo>
                    <a:lnTo>
                      <a:pt x="499" y="898"/>
                    </a:lnTo>
                    <a:lnTo>
                      <a:pt x="497" y="898"/>
                    </a:lnTo>
                    <a:lnTo>
                      <a:pt x="497" y="900"/>
                    </a:lnTo>
                    <a:lnTo>
                      <a:pt x="496" y="900"/>
                    </a:lnTo>
                    <a:lnTo>
                      <a:pt x="491" y="898"/>
                    </a:lnTo>
                    <a:lnTo>
                      <a:pt x="491" y="896"/>
                    </a:lnTo>
                    <a:lnTo>
                      <a:pt x="488" y="898"/>
                    </a:lnTo>
                    <a:lnTo>
                      <a:pt x="486" y="898"/>
                    </a:lnTo>
                    <a:lnTo>
                      <a:pt x="485" y="898"/>
                    </a:lnTo>
                    <a:lnTo>
                      <a:pt x="483" y="896"/>
                    </a:lnTo>
                    <a:lnTo>
                      <a:pt x="481" y="896"/>
                    </a:lnTo>
                    <a:lnTo>
                      <a:pt x="480" y="896"/>
                    </a:lnTo>
                    <a:lnTo>
                      <a:pt x="478" y="896"/>
                    </a:lnTo>
                    <a:lnTo>
                      <a:pt x="474" y="895"/>
                    </a:lnTo>
                    <a:lnTo>
                      <a:pt x="472" y="895"/>
                    </a:lnTo>
                    <a:lnTo>
                      <a:pt x="470" y="893"/>
                    </a:lnTo>
                    <a:lnTo>
                      <a:pt x="469" y="892"/>
                    </a:lnTo>
                    <a:lnTo>
                      <a:pt x="469" y="890"/>
                    </a:lnTo>
                    <a:lnTo>
                      <a:pt x="467" y="890"/>
                    </a:lnTo>
                    <a:lnTo>
                      <a:pt x="466" y="890"/>
                    </a:lnTo>
                    <a:lnTo>
                      <a:pt x="466" y="888"/>
                    </a:lnTo>
                    <a:lnTo>
                      <a:pt x="466" y="887"/>
                    </a:lnTo>
                    <a:lnTo>
                      <a:pt x="466" y="885"/>
                    </a:lnTo>
                    <a:lnTo>
                      <a:pt x="466" y="884"/>
                    </a:lnTo>
                    <a:lnTo>
                      <a:pt x="466" y="882"/>
                    </a:lnTo>
                    <a:lnTo>
                      <a:pt x="466" y="881"/>
                    </a:lnTo>
                    <a:lnTo>
                      <a:pt x="464" y="879"/>
                    </a:lnTo>
                    <a:lnTo>
                      <a:pt x="462" y="877"/>
                    </a:lnTo>
                    <a:lnTo>
                      <a:pt x="459" y="874"/>
                    </a:lnTo>
                    <a:lnTo>
                      <a:pt x="458" y="874"/>
                    </a:lnTo>
                    <a:lnTo>
                      <a:pt x="458" y="873"/>
                    </a:lnTo>
                    <a:lnTo>
                      <a:pt x="458" y="871"/>
                    </a:lnTo>
                    <a:lnTo>
                      <a:pt x="456" y="871"/>
                    </a:lnTo>
                    <a:lnTo>
                      <a:pt x="456" y="869"/>
                    </a:lnTo>
                    <a:lnTo>
                      <a:pt x="455" y="869"/>
                    </a:lnTo>
                    <a:lnTo>
                      <a:pt x="453" y="869"/>
                    </a:lnTo>
                    <a:lnTo>
                      <a:pt x="453" y="868"/>
                    </a:lnTo>
                    <a:lnTo>
                      <a:pt x="451" y="869"/>
                    </a:lnTo>
                    <a:lnTo>
                      <a:pt x="451" y="868"/>
                    </a:lnTo>
                    <a:lnTo>
                      <a:pt x="450" y="866"/>
                    </a:lnTo>
                    <a:lnTo>
                      <a:pt x="450" y="865"/>
                    </a:lnTo>
                    <a:lnTo>
                      <a:pt x="448" y="865"/>
                    </a:lnTo>
                    <a:lnTo>
                      <a:pt x="447" y="866"/>
                    </a:lnTo>
                    <a:lnTo>
                      <a:pt x="445" y="865"/>
                    </a:lnTo>
                    <a:lnTo>
                      <a:pt x="443" y="863"/>
                    </a:lnTo>
                    <a:lnTo>
                      <a:pt x="443" y="862"/>
                    </a:lnTo>
                    <a:lnTo>
                      <a:pt x="442" y="860"/>
                    </a:lnTo>
                    <a:lnTo>
                      <a:pt x="440" y="860"/>
                    </a:lnTo>
                    <a:lnTo>
                      <a:pt x="440" y="858"/>
                    </a:lnTo>
                    <a:lnTo>
                      <a:pt x="439" y="858"/>
                    </a:lnTo>
                    <a:lnTo>
                      <a:pt x="437" y="857"/>
                    </a:lnTo>
                    <a:lnTo>
                      <a:pt x="437" y="855"/>
                    </a:lnTo>
                    <a:lnTo>
                      <a:pt x="436" y="855"/>
                    </a:lnTo>
                    <a:lnTo>
                      <a:pt x="436" y="854"/>
                    </a:lnTo>
                    <a:lnTo>
                      <a:pt x="434" y="854"/>
                    </a:lnTo>
                    <a:lnTo>
                      <a:pt x="434" y="852"/>
                    </a:lnTo>
                    <a:lnTo>
                      <a:pt x="432" y="852"/>
                    </a:lnTo>
                    <a:lnTo>
                      <a:pt x="432" y="854"/>
                    </a:lnTo>
                    <a:lnTo>
                      <a:pt x="431" y="854"/>
                    </a:lnTo>
                    <a:lnTo>
                      <a:pt x="429" y="854"/>
                    </a:lnTo>
                    <a:lnTo>
                      <a:pt x="428" y="855"/>
                    </a:lnTo>
                    <a:lnTo>
                      <a:pt x="426" y="855"/>
                    </a:lnTo>
                    <a:lnTo>
                      <a:pt x="424" y="855"/>
                    </a:lnTo>
                    <a:lnTo>
                      <a:pt x="423" y="857"/>
                    </a:lnTo>
                    <a:lnTo>
                      <a:pt x="421" y="857"/>
                    </a:lnTo>
                    <a:lnTo>
                      <a:pt x="421" y="858"/>
                    </a:lnTo>
                    <a:lnTo>
                      <a:pt x="420" y="858"/>
                    </a:lnTo>
                    <a:lnTo>
                      <a:pt x="417" y="857"/>
                    </a:lnTo>
                    <a:lnTo>
                      <a:pt x="415" y="857"/>
                    </a:lnTo>
                    <a:lnTo>
                      <a:pt x="415" y="855"/>
                    </a:lnTo>
                    <a:lnTo>
                      <a:pt x="413" y="854"/>
                    </a:lnTo>
                    <a:lnTo>
                      <a:pt x="412" y="854"/>
                    </a:lnTo>
                    <a:lnTo>
                      <a:pt x="410" y="854"/>
                    </a:lnTo>
                    <a:lnTo>
                      <a:pt x="409" y="854"/>
                    </a:lnTo>
                    <a:lnTo>
                      <a:pt x="407" y="855"/>
                    </a:lnTo>
                    <a:lnTo>
                      <a:pt x="405" y="855"/>
                    </a:lnTo>
                    <a:lnTo>
                      <a:pt x="404" y="855"/>
                    </a:lnTo>
                    <a:lnTo>
                      <a:pt x="402" y="857"/>
                    </a:lnTo>
                    <a:lnTo>
                      <a:pt x="401" y="858"/>
                    </a:lnTo>
                    <a:lnTo>
                      <a:pt x="399" y="860"/>
                    </a:lnTo>
                    <a:lnTo>
                      <a:pt x="398" y="860"/>
                    </a:lnTo>
                    <a:lnTo>
                      <a:pt x="394" y="860"/>
                    </a:lnTo>
                    <a:lnTo>
                      <a:pt x="393" y="860"/>
                    </a:lnTo>
                    <a:lnTo>
                      <a:pt x="391" y="858"/>
                    </a:lnTo>
                    <a:lnTo>
                      <a:pt x="390" y="857"/>
                    </a:lnTo>
                    <a:lnTo>
                      <a:pt x="388" y="857"/>
                    </a:lnTo>
                    <a:lnTo>
                      <a:pt x="386" y="857"/>
                    </a:lnTo>
                    <a:lnTo>
                      <a:pt x="385" y="857"/>
                    </a:lnTo>
                    <a:lnTo>
                      <a:pt x="385" y="855"/>
                    </a:lnTo>
                    <a:lnTo>
                      <a:pt x="383" y="855"/>
                    </a:lnTo>
                    <a:lnTo>
                      <a:pt x="382" y="855"/>
                    </a:lnTo>
                    <a:lnTo>
                      <a:pt x="380" y="855"/>
                    </a:lnTo>
                    <a:lnTo>
                      <a:pt x="379" y="855"/>
                    </a:lnTo>
                    <a:lnTo>
                      <a:pt x="379" y="854"/>
                    </a:lnTo>
                    <a:lnTo>
                      <a:pt x="379" y="855"/>
                    </a:lnTo>
                    <a:lnTo>
                      <a:pt x="377" y="855"/>
                    </a:lnTo>
                    <a:lnTo>
                      <a:pt x="377" y="854"/>
                    </a:lnTo>
                    <a:lnTo>
                      <a:pt x="375" y="854"/>
                    </a:lnTo>
                    <a:lnTo>
                      <a:pt x="374" y="854"/>
                    </a:lnTo>
                    <a:lnTo>
                      <a:pt x="374" y="852"/>
                    </a:lnTo>
                    <a:lnTo>
                      <a:pt x="372" y="852"/>
                    </a:lnTo>
                    <a:lnTo>
                      <a:pt x="371" y="852"/>
                    </a:lnTo>
                    <a:lnTo>
                      <a:pt x="371" y="850"/>
                    </a:lnTo>
                    <a:lnTo>
                      <a:pt x="369" y="850"/>
                    </a:lnTo>
                    <a:lnTo>
                      <a:pt x="367" y="849"/>
                    </a:lnTo>
                    <a:lnTo>
                      <a:pt x="364" y="846"/>
                    </a:lnTo>
                    <a:lnTo>
                      <a:pt x="363" y="846"/>
                    </a:lnTo>
                    <a:lnTo>
                      <a:pt x="361" y="844"/>
                    </a:lnTo>
                    <a:lnTo>
                      <a:pt x="360" y="842"/>
                    </a:lnTo>
                    <a:lnTo>
                      <a:pt x="356" y="842"/>
                    </a:lnTo>
                    <a:lnTo>
                      <a:pt x="355" y="841"/>
                    </a:lnTo>
                    <a:lnTo>
                      <a:pt x="352" y="839"/>
                    </a:lnTo>
                    <a:lnTo>
                      <a:pt x="352" y="838"/>
                    </a:lnTo>
                    <a:lnTo>
                      <a:pt x="352" y="836"/>
                    </a:lnTo>
                    <a:lnTo>
                      <a:pt x="350" y="836"/>
                    </a:lnTo>
                    <a:lnTo>
                      <a:pt x="348" y="836"/>
                    </a:lnTo>
                    <a:lnTo>
                      <a:pt x="348" y="835"/>
                    </a:lnTo>
                    <a:lnTo>
                      <a:pt x="348" y="833"/>
                    </a:lnTo>
                    <a:lnTo>
                      <a:pt x="347" y="833"/>
                    </a:lnTo>
                    <a:lnTo>
                      <a:pt x="347" y="831"/>
                    </a:lnTo>
                    <a:lnTo>
                      <a:pt x="345" y="831"/>
                    </a:lnTo>
                    <a:lnTo>
                      <a:pt x="344" y="830"/>
                    </a:lnTo>
                    <a:lnTo>
                      <a:pt x="342" y="830"/>
                    </a:lnTo>
                    <a:lnTo>
                      <a:pt x="341" y="830"/>
                    </a:lnTo>
                    <a:lnTo>
                      <a:pt x="342" y="830"/>
                    </a:lnTo>
                    <a:lnTo>
                      <a:pt x="342" y="828"/>
                    </a:lnTo>
                    <a:lnTo>
                      <a:pt x="341" y="828"/>
                    </a:lnTo>
                    <a:lnTo>
                      <a:pt x="339" y="828"/>
                    </a:lnTo>
                    <a:lnTo>
                      <a:pt x="339" y="827"/>
                    </a:lnTo>
                    <a:lnTo>
                      <a:pt x="337" y="827"/>
                    </a:lnTo>
                    <a:lnTo>
                      <a:pt x="337" y="825"/>
                    </a:lnTo>
                    <a:lnTo>
                      <a:pt x="336" y="825"/>
                    </a:lnTo>
                    <a:lnTo>
                      <a:pt x="336" y="823"/>
                    </a:lnTo>
                    <a:lnTo>
                      <a:pt x="336" y="822"/>
                    </a:lnTo>
                    <a:lnTo>
                      <a:pt x="334" y="822"/>
                    </a:lnTo>
                    <a:lnTo>
                      <a:pt x="334" y="820"/>
                    </a:lnTo>
                    <a:lnTo>
                      <a:pt x="334" y="819"/>
                    </a:lnTo>
                    <a:lnTo>
                      <a:pt x="333" y="819"/>
                    </a:lnTo>
                    <a:lnTo>
                      <a:pt x="333" y="817"/>
                    </a:lnTo>
                    <a:lnTo>
                      <a:pt x="333" y="816"/>
                    </a:lnTo>
                    <a:lnTo>
                      <a:pt x="331" y="816"/>
                    </a:lnTo>
                    <a:lnTo>
                      <a:pt x="331" y="814"/>
                    </a:lnTo>
                    <a:lnTo>
                      <a:pt x="329" y="814"/>
                    </a:lnTo>
                    <a:lnTo>
                      <a:pt x="329" y="816"/>
                    </a:lnTo>
                    <a:lnTo>
                      <a:pt x="329" y="814"/>
                    </a:lnTo>
                    <a:lnTo>
                      <a:pt x="328" y="814"/>
                    </a:lnTo>
                    <a:lnTo>
                      <a:pt x="326" y="814"/>
                    </a:lnTo>
                    <a:lnTo>
                      <a:pt x="326" y="816"/>
                    </a:lnTo>
                    <a:lnTo>
                      <a:pt x="325" y="816"/>
                    </a:lnTo>
                    <a:lnTo>
                      <a:pt x="325" y="817"/>
                    </a:lnTo>
                    <a:lnTo>
                      <a:pt x="323" y="817"/>
                    </a:lnTo>
                    <a:lnTo>
                      <a:pt x="323" y="819"/>
                    </a:lnTo>
                    <a:lnTo>
                      <a:pt x="321" y="819"/>
                    </a:lnTo>
                    <a:lnTo>
                      <a:pt x="321" y="820"/>
                    </a:lnTo>
                    <a:lnTo>
                      <a:pt x="320" y="820"/>
                    </a:lnTo>
                    <a:lnTo>
                      <a:pt x="318" y="820"/>
                    </a:lnTo>
                    <a:lnTo>
                      <a:pt x="318" y="822"/>
                    </a:lnTo>
                    <a:lnTo>
                      <a:pt x="317" y="822"/>
                    </a:lnTo>
                    <a:lnTo>
                      <a:pt x="317" y="823"/>
                    </a:lnTo>
                    <a:lnTo>
                      <a:pt x="315" y="823"/>
                    </a:lnTo>
                    <a:lnTo>
                      <a:pt x="315" y="825"/>
                    </a:lnTo>
                    <a:lnTo>
                      <a:pt x="314" y="825"/>
                    </a:lnTo>
                    <a:lnTo>
                      <a:pt x="312" y="825"/>
                    </a:lnTo>
                    <a:lnTo>
                      <a:pt x="307" y="825"/>
                    </a:lnTo>
                    <a:lnTo>
                      <a:pt x="306" y="825"/>
                    </a:lnTo>
                    <a:lnTo>
                      <a:pt x="304" y="823"/>
                    </a:lnTo>
                    <a:lnTo>
                      <a:pt x="302" y="822"/>
                    </a:lnTo>
                    <a:lnTo>
                      <a:pt x="302" y="820"/>
                    </a:lnTo>
                    <a:lnTo>
                      <a:pt x="299" y="819"/>
                    </a:lnTo>
                    <a:lnTo>
                      <a:pt x="299" y="820"/>
                    </a:lnTo>
                    <a:lnTo>
                      <a:pt x="298" y="820"/>
                    </a:lnTo>
                    <a:lnTo>
                      <a:pt x="298" y="822"/>
                    </a:lnTo>
                    <a:lnTo>
                      <a:pt x="296" y="822"/>
                    </a:lnTo>
                    <a:lnTo>
                      <a:pt x="295" y="822"/>
                    </a:lnTo>
                    <a:lnTo>
                      <a:pt x="295" y="820"/>
                    </a:lnTo>
                    <a:lnTo>
                      <a:pt x="295" y="819"/>
                    </a:lnTo>
                    <a:lnTo>
                      <a:pt x="295" y="816"/>
                    </a:lnTo>
                    <a:lnTo>
                      <a:pt x="295" y="814"/>
                    </a:lnTo>
                    <a:lnTo>
                      <a:pt x="293" y="814"/>
                    </a:lnTo>
                    <a:lnTo>
                      <a:pt x="291" y="814"/>
                    </a:lnTo>
                    <a:lnTo>
                      <a:pt x="290" y="816"/>
                    </a:lnTo>
                    <a:lnTo>
                      <a:pt x="288" y="816"/>
                    </a:lnTo>
                    <a:lnTo>
                      <a:pt x="287" y="817"/>
                    </a:lnTo>
                    <a:lnTo>
                      <a:pt x="285" y="817"/>
                    </a:lnTo>
                    <a:lnTo>
                      <a:pt x="283" y="816"/>
                    </a:lnTo>
                    <a:lnTo>
                      <a:pt x="282" y="816"/>
                    </a:lnTo>
                    <a:lnTo>
                      <a:pt x="280" y="814"/>
                    </a:lnTo>
                    <a:lnTo>
                      <a:pt x="277" y="812"/>
                    </a:lnTo>
                    <a:lnTo>
                      <a:pt x="272" y="811"/>
                    </a:lnTo>
                    <a:lnTo>
                      <a:pt x="268" y="806"/>
                    </a:lnTo>
                    <a:lnTo>
                      <a:pt x="266" y="806"/>
                    </a:lnTo>
                    <a:lnTo>
                      <a:pt x="266" y="804"/>
                    </a:lnTo>
                    <a:lnTo>
                      <a:pt x="264" y="804"/>
                    </a:lnTo>
                    <a:lnTo>
                      <a:pt x="264" y="801"/>
                    </a:lnTo>
                    <a:lnTo>
                      <a:pt x="261" y="800"/>
                    </a:lnTo>
                    <a:lnTo>
                      <a:pt x="258" y="798"/>
                    </a:lnTo>
                    <a:lnTo>
                      <a:pt x="257" y="798"/>
                    </a:lnTo>
                    <a:lnTo>
                      <a:pt x="255" y="798"/>
                    </a:lnTo>
                    <a:lnTo>
                      <a:pt x="253" y="798"/>
                    </a:lnTo>
                    <a:lnTo>
                      <a:pt x="253" y="797"/>
                    </a:lnTo>
                    <a:lnTo>
                      <a:pt x="253" y="795"/>
                    </a:lnTo>
                    <a:lnTo>
                      <a:pt x="252" y="792"/>
                    </a:lnTo>
                    <a:lnTo>
                      <a:pt x="249" y="789"/>
                    </a:lnTo>
                    <a:lnTo>
                      <a:pt x="249" y="787"/>
                    </a:lnTo>
                    <a:lnTo>
                      <a:pt x="247" y="787"/>
                    </a:lnTo>
                    <a:lnTo>
                      <a:pt x="245" y="787"/>
                    </a:lnTo>
                    <a:lnTo>
                      <a:pt x="244" y="787"/>
                    </a:lnTo>
                    <a:lnTo>
                      <a:pt x="244" y="785"/>
                    </a:lnTo>
                    <a:lnTo>
                      <a:pt x="242" y="785"/>
                    </a:lnTo>
                    <a:lnTo>
                      <a:pt x="241" y="785"/>
                    </a:lnTo>
                    <a:lnTo>
                      <a:pt x="239" y="785"/>
                    </a:lnTo>
                    <a:lnTo>
                      <a:pt x="239" y="784"/>
                    </a:lnTo>
                    <a:lnTo>
                      <a:pt x="238" y="784"/>
                    </a:lnTo>
                    <a:lnTo>
                      <a:pt x="234" y="784"/>
                    </a:lnTo>
                    <a:lnTo>
                      <a:pt x="226" y="784"/>
                    </a:lnTo>
                    <a:lnTo>
                      <a:pt x="219" y="784"/>
                    </a:lnTo>
                    <a:lnTo>
                      <a:pt x="217" y="784"/>
                    </a:lnTo>
                    <a:lnTo>
                      <a:pt x="214" y="784"/>
                    </a:lnTo>
                    <a:lnTo>
                      <a:pt x="212" y="782"/>
                    </a:lnTo>
                    <a:lnTo>
                      <a:pt x="209" y="781"/>
                    </a:lnTo>
                    <a:lnTo>
                      <a:pt x="206" y="779"/>
                    </a:lnTo>
                    <a:lnTo>
                      <a:pt x="204" y="779"/>
                    </a:lnTo>
                    <a:lnTo>
                      <a:pt x="198" y="776"/>
                    </a:lnTo>
                    <a:lnTo>
                      <a:pt x="193" y="776"/>
                    </a:lnTo>
                    <a:lnTo>
                      <a:pt x="190" y="776"/>
                    </a:lnTo>
                    <a:lnTo>
                      <a:pt x="187" y="776"/>
                    </a:lnTo>
                    <a:lnTo>
                      <a:pt x="184" y="778"/>
                    </a:lnTo>
                    <a:lnTo>
                      <a:pt x="181" y="778"/>
                    </a:lnTo>
                    <a:lnTo>
                      <a:pt x="179" y="778"/>
                    </a:lnTo>
                    <a:lnTo>
                      <a:pt x="179" y="776"/>
                    </a:lnTo>
                    <a:lnTo>
                      <a:pt x="177" y="773"/>
                    </a:lnTo>
                    <a:lnTo>
                      <a:pt x="166" y="759"/>
                    </a:lnTo>
                    <a:lnTo>
                      <a:pt x="166" y="757"/>
                    </a:lnTo>
                    <a:lnTo>
                      <a:pt x="162" y="751"/>
                    </a:lnTo>
                    <a:lnTo>
                      <a:pt x="163" y="747"/>
                    </a:lnTo>
                    <a:lnTo>
                      <a:pt x="165" y="744"/>
                    </a:lnTo>
                    <a:lnTo>
                      <a:pt x="163" y="744"/>
                    </a:lnTo>
                    <a:lnTo>
                      <a:pt x="160" y="743"/>
                    </a:lnTo>
                    <a:lnTo>
                      <a:pt x="158" y="741"/>
                    </a:lnTo>
                    <a:lnTo>
                      <a:pt x="157" y="740"/>
                    </a:lnTo>
                    <a:lnTo>
                      <a:pt x="155" y="740"/>
                    </a:lnTo>
                    <a:lnTo>
                      <a:pt x="154" y="738"/>
                    </a:lnTo>
                    <a:lnTo>
                      <a:pt x="152" y="738"/>
                    </a:lnTo>
                    <a:lnTo>
                      <a:pt x="149" y="738"/>
                    </a:lnTo>
                    <a:lnTo>
                      <a:pt x="147" y="736"/>
                    </a:lnTo>
                    <a:lnTo>
                      <a:pt x="146" y="735"/>
                    </a:lnTo>
                    <a:lnTo>
                      <a:pt x="144" y="733"/>
                    </a:lnTo>
                    <a:lnTo>
                      <a:pt x="142" y="733"/>
                    </a:lnTo>
                    <a:lnTo>
                      <a:pt x="141" y="733"/>
                    </a:lnTo>
                    <a:lnTo>
                      <a:pt x="138" y="735"/>
                    </a:lnTo>
                    <a:lnTo>
                      <a:pt x="136" y="735"/>
                    </a:lnTo>
                    <a:lnTo>
                      <a:pt x="135" y="735"/>
                    </a:lnTo>
                    <a:lnTo>
                      <a:pt x="131" y="735"/>
                    </a:lnTo>
                    <a:lnTo>
                      <a:pt x="130" y="736"/>
                    </a:lnTo>
                    <a:lnTo>
                      <a:pt x="128" y="736"/>
                    </a:lnTo>
                    <a:lnTo>
                      <a:pt x="127" y="736"/>
                    </a:lnTo>
                    <a:lnTo>
                      <a:pt x="125" y="736"/>
                    </a:lnTo>
                    <a:lnTo>
                      <a:pt x="123" y="736"/>
                    </a:lnTo>
                    <a:lnTo>
                      <a:pt x="122" y="736"/>
                    </a:lnTo>
                    <a:lnTo>
                      <a:pt x="122" y="738"/>
                    </a:lnTo>
                    <a:lnTo>
                      <a:pt x="120" y="738"/>
                    </a:lnTo>
                    <a:lnTo>
                      <a:pt x="111" y="738"/>
                    </a:lnTo>
                    <a:lnTo>
                      <a:pt x="109" y="738"/>
                    </a:lnTo>
                    <a:lnTo>
                      <a:pt x="106" y="738"/>
                    </a:lnTo>
                    <a:lnTo>
                      <a:pt x="104" y="738"/>
                    </a:lnTo>
                    <a:lnTo>
                      <a:pt x="93" y="738"/>
                    </a:lnTo>
                    <a:lnTo>
                      <a:pt x="92" y="738"/>
                    </a:lnTo>
                    <a:lnTo>
                      <a:pt x="90" y="738"/>
                    </a:lnTo>
                    <a:lnTo>
                      <a:pt x="89" y="738"/>
                    </a:lnTo>
                    <a:lnTo>
                      <a:pt x="87" y="738"/>
                    </a:lnTo>
                    <a:lnTo>
                      <a:pt x="87" y="736"/>
                    </a:lnTo>
                    <a:lnTo>
                      <a:pt x="85" y="736"/>
                    </a:lnTo>
                    <a:lnTo>
                      <a:pt x="84" y="736"/>
                    </a:lnTo>
                    <a:lnTo>
                      <a:pt x="82" y="736"/>
                    </a:lnTo>
                    <a:lnTo>
                      <a:pt x="82" y="735"/>
                    </a:lnTo>
                    <a:lnTo>
                      <a:pt x="78" y="732"/>
                    </a:lnTo>
                    <a:lnTo>
                      <a:pt x="74" y="730"/>
                    </a:lnTo>
                    <a:lnTo>
                      <a:pt x="73" y="730"/>
                    </a:lnTo>
                    <a:lnTo>
                      <a:pt x="71" y="728"/>
                    </a:lnTo>
                    <a:lnTo>
                      <a:pt x="68" y="725"/>
                    </a:lnTo>
                    <a:lnTo>
                      <a:pt x="65" y="724"/>
                    </a:lnTo>
                    <a:lnTo>
                      <a:pt x="65" y="722"/>
                    </a:lnTo>
                    <a:lnTo>
                      <a:pt x="63" y="722"/>
                    </a:lnTo>
                    <a:lnTo>
                      <a:pt x="62" y="721"/>
                    </a:lnTo>
                    <a:lnTo>
                      <a:pt x="60" y="719"/>
                    </a:lnTo>
                    <a:lnTo>
                      <a:pt x="59" y="719"/>
                    </a:lnTo>
                    <a:lnTo>
                      <a:pt x="57" y="717"/>
                    </a:lnTo>
                    <a:lnTo>
                      <a:pt x="57" y="716"/>
                    </a:lnTo>
                    <a:lnTo>
                      <a:pt x="52" y="716"/>
                    </a:lnTo>
                    <a:lnTo>
                      <a:pt x="51" y="716"/>
                    </a:lnTo>
                    <a:lnTo>
                      <a:pt x="51" y="714"/>
                    </a:lnTo>
                    <a:lnTo>
                      <a:pt x="51" y="713"/>
                    </a:lnTo>
                    <a:lnTo>
                      <a:pt x="51" y="711"/>
                    </a:lnTo>
                    <a:lnTo>
                      <a:pt x="51" y="709"/>
                    </a:lnTo>
                    <a:lnTo>
                      <a:pt x="51" y="708"/>
                    </a:lnTo>
                    <a:lnTo>
                      <a:pt x="51" y="706"/>
                    </a:lnTo>
                    <a:lnTo>
                      <a:pt x="49" y="705"/>
                    </a:lnTo>
                    <a:lnTo>
                      <a:pt x="49" y="703"/>
                    </a:lnTo>
                    <a:lnTo>
                      <a:pt x="49" y="702"/>
                    </a:lnTo>
                    <a:lnTo>
                      <a:pt x="49" y="700"/>
                    </a:lnTo>
                    <a:lnTo>
                      <a:pt x="49" y="698"/>
                    </a:lnTo>
                    <a:lnTo>
                      <a:pt x="49" y="697"/>
                    </a:lnTo>
                    <a:lnTo>
                      <a:pt x="49" y="695"/>
                    </a:lnTo>
                    <a:lnTo>
                      <a:pt x="49" y="694"/>
                    </a:lnTo>
                    <a:lnTo>
                      <a:pt x="51" y="692"/>
                    </a:lnTo>
                    <a:lnTo>
                      <a:pt x="52" y="692"/>
                    </a:lnTo>
                    <a:lnTo>
                      <a:pt x="54" y="692"/>
                    </a:lnTo>
                    <a:lnTo>
                      <a:pt x="55" y="692"/>
                    </a:lnTo>
                    <a:lnTo>
                      <a:pt x="57" y="692"/>
                    </a:lnTo>
                    <a:lnTo>
                      <a:pt x="59" y="692"/>
                    </a:lnTo>
                    <a:lnTo>
                      <a:pt x="59" y="690"/>
                    </a:lnTo>
                    <a:lnTo>
                      <a:pt x="59" y="689"/>
                    </a:lnTo>
                    <a:lnTo>
                      <a:pt x="59" y="687"/>
                    </a:lnTo>
                    <a:lnTo>
                      <a:pt x="57" y="687"/>
                    </a:lnTo>
                    <a:lnTo>
                      <a:pt x="57" y="686"/>
                    </a:lnTo>
                    <a:lnTo>
                      <a:pt x="57" y="684"/>
                    </a:lnTo>
                    <a:lnTo>
                      <a:pt x="55" y="684"/>
                    </a:lnTo>
                    <a:lnTo>
                      <a:pt x="55" y="683"/>
                    </a:lnTo>
                    <a:lnTo>
                      <a:pt x="54" y="681"/>
                    </a:lnTo>
                    <a:lnTo>
                      <a:pt x="54" y="679"/>
                    </a:lnTo>
                    <a:lnTo>
                      <a:pt x="52" y="678"/>
                    </a:lnTo>
                    <a:lnTo>
                      <a:pt x="51" y="676"/>
                    </a:lnTo>
                    <a:lnTo>
                      <a:pt x="49" y="676"/>
                    </a:lnTo>
                    <a:lnTo>
                      <a:pt x="49" y="675"/>
                    </a:lnTo>
                    <a:lnTo>
                      <a:pt x="47" y="675"/>
                    </a:lnTo>
                    <a:lnTo>
                      <a:pt x="47" y="673"/>
                    </a:lnTo>
                    <a:lnTo>
                      <a:pt x="46" y="673"/>
                    </a:lnTo>
                    <a:lnTo>
                      <a:pt x="44" y="671"/>
                    </a:lnTo>
                    <a:lnTo>
                      <a:pt x="43" y="670"/>
                    </a:lnTo>
                    <a:lnTo>
                      <a:pt x="41" y="668"/>
                    </a:lnTo>
                    <a:lnTo>
                      <a:pt x="40" y="668"/>
                    </a:lnTo>
                    <a:lnTo>
                      <a:pt x="40" y="667"/>
                    </a:lnTo>
                    <a:lnTo>
                      <a:pt x="38" y="667"/>
                    </a:lnTo>
                    <a:lnTo>
                      <a:pt x="38" y="665"/>
                    </a:lnTo>
                    <a:lnTo>
                      <a:pt x="36" y="665"/>
                    </a:lnTo>
                    <a:lnTo>
                      <a:pt x="35" y="664"/>
                    </a:lnTo>
                    <a:lnTo>
                      <a:pt x="33" y="662"/>
                    </a:lnTo>
                    <a:lnTo>
                      <a:pt x="32" y="662"/>
                    </a:lnTo>
                    <a:lnTo>
                      <a:pt x="32" y="660"/>
                    </a:lnTo>
                    <a:lnTo>
                      <a:pt x="30" y="659"/>
                    </a:lnTo>
                    <a:lnTo>
                      <a:pt x="28" y="657"/>
                    </a:lnTo>
                    <a:lnTo>
                      <a:pt x="27" y="657"/>
                    </a:lnTo>
                    <a:lnTo>
                      <a:pt x="27" y="656"/>
                    </a:lnTo>
                    <a:lnTo>
                      <a:pt x="25" y="654"/>
                    </a:lnTo>
                    <a:lnTo>
                      <a:pt x="27" y="652"/>
                    </a:lnTo>
                    <a:lnTo>
                      <a:pt x="28" y="652"/>
                    </a:lnTo>
                    <a:lnTo>
                      <a:pt x="30" y="651"/>
                    </a:lnTo>
                    <a:lnTo>
                      <a:pt x="32" y="649"/>
                    </a:lnTo>
                    <a:lnTo>
                      <a:pt x="33" y="649"/>
                    </a:lnTo>
                    <a:lnTo>
                      <a:pt x="35" y="646"/>
                    </a:lnTo>
                    <a:lnTo>
                      <a:pt x="33" y="644"/>
                    </a:lnTo>
                    <a:lnTo>
                      <a:pt x="32" y="643"/>
                    </a:lnTo>
                    <a:lnTo>
                      <a:pt x="30" y="641"/>
                    </a:lnTo>
                    <a:lnTo>
                      <a:pt x="28" y="641"/>
                    </a:lnTo>
                    <a:lnTo>
                      <a:pt x="27" y="640"/>
                    </a:lnTo>
                    <a:lnTo>
                      <a:pt x="25" y="638"/>
                    </a:lnTo>
                    <a:lnTo>
                      <a:pt x="22" y="637"/>
                    </a:lnTo>
                    <a:lnTo>
                      <a:pt x="21" y="635"/>
                    </a:lnTo>
                    <a:lnTo>
                      <a:pt x="19" y="633"/>
                    </a:lnTo>
                    <a:lnTo>
                      <a:pt x="17" y="630"/>
                    </a:lnTo>
                    <a:lnTo>
                      <a:pt x="16" y="629"/>
                    </a:lnTo>
                    <a:lnTo>
                      <a:pt x="11" y="627"/>
                    </a:lnTo>
                    <a:lnTo>
                      <a:pt x="8" y="624"/>
                    </a:lnTo>
                    <a:lnTo>
                      <a:pt x="5" y="622"/>
                    </a:lnTo>
                    <a:lnTo>
                      <a:pt x="5" y="621"/>
                    </a:lnTo>
                    <a:lnTo>
                      <a:pt x="5" y="619"/>
                    </a:lnTo>
                    <a:lnTo>
                      <a:pt x="5" y="618"/>
                    </a:lnTo>
                    <a:lnTo>
                      <a:pt x="6" y="616"/>
                    </a:lnTo>
                    <a:lnTo>
                      <a:pt x="8" y="614"/>
                    </a:lnTo>
                    <a:lnTo>
                      <a:pt x="9" y="611"/>
                    </a:lnTo>
                    <a:lnTo>
                      <a:pt x="11" y="611"/>
                    </a:lnTo>
                    <a:lnTo>
                      <a:pt x="11" y="610"/>
                    </a:lnTo>
                    <a:lnTo>
                      <a:pt x="13" y="610"/>
                    </a:lnTo>
                    <a:lnTo>
                      <a:pt x="13" y="611"/>
                    </a:lnTo>
                    <a:lnTo>
                      <a:pt x="14" y="611"/>
                    </a:lnTo>
                    <a:lnTo>
                      <a:pt x="16" y="611"/>
                    </a:lnTo>
                    <a:lnTo>
                      <a:pt x="17" y="611"/>
                    </a:lnTo>
                    <a:lnTo>
                      <a:pt x="19" y="611"/>
                    </a:lnTo>
                    <a:lnTo>
                      <a:pt x="21" y="611"/>
                    </a:lnTo>
                    <a:lnTo>
                      <a:pt x="22" y="611"/>
                    </a:lnTo>
                    <a:lnTo>
                      <a:pt x="24" y="610"/>
                    </a:lnTo>
                    <a:lnTo>
                      <a:pt x="25" y="610"/>
                    </a:lnTo>
                    <a:lnTo>
                      <a:pt x="28" y="608"/>
                    </a:lnTo>
                    <a:lnTo>
                      <a:pt x="30" y="605"/>
                    </a:lnTo>
                    <a:lnTo>
                      <a:pt x="32" y="605"/>
                    </a:lnTo>
                    <a:lnTo>
                      <a:pt x="33" y="603"/>
                    </a:lnTo>
                    <a:lnTo>
                      <a:pt x="36" y="602"/>
                    </a:lnTo>
                    <a:lnTo>
                      <a:pt x="40" y="602"/>
                    </a:lnTo>
                    <a:lnTo>
                      <a:pt x="43" y="600"/>
                    </a:lnTo>
                    <a:lnTo>
                      <a:pt x="46" y="600"/>
                    </a:lnTo>
                    <a:lnTo>
                      <a:pt x="47" y="599"/>
                    </a:lnTo>
                    <a:lnTo>
                      <a:pt x="51" y="597"/>
                    </a:lnTo>
                    <a:lnTo>
                      <a:pt x="54" y="597"/>
                    </a:lnTo>
                    <a:lnTo>
                      <a:pt x="57" y="597"/>
                    </a:lnTo>
                    <a:lnTo>
                      <a:pt x="60" y="595"/>
                    </a:lnTo>
                    <a:lnTo>
                      <a:pt x="62" y="594"/>
                    </a:lnTo>
                    <a:lnTo>
                      <a:pt x="65" y="592"/>
                    </a:lnTo>
                    <a:lnTo>
                      <a:pt x="68" y="591"/>
                    </a:lnTo>
                    <a:lnTo>
                      <a:pt x="68" y="589"/>
                    </a:lnTo>
                    <a:lnTo>
                      <a:pt x="70" y="589"/>
                    </a:lnTo>
                    <a:lnTo>
                      <a:pt x="70" y="587"/>
                    </a:lnTo>
                    <a:lnTo>
                      <a:pt x="71" y="586"/>
                    </a:lnTo>
                    <a:lnTo>
                      <a:pt x="71" y="584"/>
                    </a:lnTo>
                    <a:lnTo>
                      <a:pt x="73" y="584"/>
                    </a:lnTo>
                    <a:lnTo>
                      <a:pt x="74" y="583"/>
                    </a:lnTo>
                    <a:lnTo>
                      <a:pt x="76" y="583"/>
                    </a:lnTo>
                    <a:lnTo>
                      <a:pt x="78" y="581"/>
                    </a:lnTo>
                    <a:lnTo>
                      <a:pt x="78" y="580"/>
                    </a:lnTo>
                    <a:lnTo>
                      <a:pt x="78" y="578"/>
                    </a:lnTo>
                    <a:lnTo>
                      <a:pt x="79" y="576"/>
                    </a:lnTo>
                    <a:lnTo>
                      <a:pt x="79" y="575"/>
                    </a:lnTo>
                    <a:lnTo>
                      <a:pt x="82" y="576"/>
                    </a:lnTo>
                    <a:lnTo>
                      <a:pt x="82" y="575"/>
                    </a:lnTo>
                    <a:lnTo>
                      <a:pt x="84" y="573"/>
                    </a:lnTo>
                    <a:lnTo>
                      <a:pt x="84" y="572"/>
                    </a:lnTo>
                    <a:lnTo>
                      <a:pt x="85" y="570"/>
                    </a:lnTo>
                    <a:lnTo>
                      <a:pt x="85" y="568"/>
                    </a:lnTo>
                    <a:lnTo>
                      <a:pt x="87" y="568"/>
                    </a:lnTo>
                    <a:lnTo>
                      <a:pt x="87" y="567"/>
                    </a:lnTo>
                    <a:lnTo>
                      <a:pt x="89" y="567"/>
                    </a:lnTo>
                    <a:lnTo>
                      <a:pt x="89" y="565"/>
                    </a:lnTo>
                    <a:lnTo>
                      <a:pt x="89" y="564"/>
                    </a:lnTo>
                    <a:lnTo>
                      <a:pt x="90" y="564"/>
                    </a:lnTo>
                    <a:lnTo>
                      <a:pt x="92" y="562"/>
                    </a:lnTo>
                    <a:lnTo>
                      <a:pt x="93" y="562"/>
                    </a:lnTo>
                    <a:lnTo>
                      <a:pt x="93" y="561"/>
                    </a:lnTo>
                    <a:lnTo>
                      <a:pt x="95" y="561"/>
                    </a:lnTo>
                    <a:lnTo>
                      <a:pt x="95" y="559"/>
                    </a:lnTo>
                    <a:lnTo>
                      <a:pt x="97" y="559"/>
                    </a:lnTo>
                    <a:lnTo>
                      <a:pt x="97" y="557"/>
                    </a:lnTo>
                    <a:lnTo>
                      <a:pt x="97" y="556"/>
                    </a:lnTo>
                    <a:lnTo>
                      <a:pt x="98" y="556"/>
                    </a:lnTo>
                    <a:lnTo>
                      <a:pt x="98" y="554"/>
                    </a:lnTo>
                    <a:lnTo>
                      <a:pt x="98" y="553"/>
                    </a:lnTo>
                    <a:lnTo>
                      <a:pt x="98" y="551"/>
                    </a:lnTo>
                    <a:lnTo>
                      <a:pt x="98" y="549"/>
                    </a:lnTo>
                    <a:lnTo>
                      <a:pt x="100" y="548"/>
                    </a:lnTo>
                    <a:lnTo>
                      <a:pt x="101" y="548"/>
                    </a:lnTo>
                    <a:lnTo>
                      <a:pt x="100" y="548"/>
                    </a:lnTo>
                    <a:lnTo>
                      <a:pt x="98" y="546"/>
                    </a:lnTo>
                    <a:lnTo>
                      <a:pt x="98" y="545"/>
                    </a:lnTo>
                    <a:lnTo>
                      <a:pt x="100" y="545"/>
                    </a:lnTo>
                    <a:lnTo>
                      <a:pt x="100" y="543"/>
                    </a:lnTo>
                    <a:lnTo>
                      <a:pt x="101" y="542"/>
                    </a:lnTo>
                    <a:lnTo>
                      <a:pt x="101" y="540"/>
                    </a:lnTo>
                    <a:lnTo>
                      <a:pt x="103" y="540"/>
                    </a:lnTo>
                    <a:lnTo>
                      <a:pt x="103" y="538"/>
                    </a:lnTo>
                    <a:lnTo>
                      <a:pt x="104" y="538"/>
                    </a:lnTo>
                    <a:lnTo>
                      <a:pt x="104" y="537"/>
                    </a:lnTo>
                    <a:lnTo>
                      <a:pt x="106" y="537"/>
                    </a:lnTo>
                    <a:lnTo>
                      <a:pt x="106" y="535"/>
                    </a:lnTo>
                    <a:lnTo>
                      <a:pt x="104" y="535"/>
                    </a:lnTo>
                    <a:lnTo>
                      <a:pt x="103" y="535"/>
                    </a:lnTo>
                    <a:lnTo>
                      <a:pt x="101" y="535"/>
                    </a:lnTo>
                    <a:lnTo>
                      <a:pt x="101" y="534"/>
                    </a:lnTo>
                    <a:lnTo>
                      <a:pt x="103" y="534"/>
                    </a:lnTo>
                    <a:lnTo>
                      <a:pt x="101" y="532"/>
                    </a:lnTo>
                    <a:lnTo>
                      <a:pt x="101" y="530"/>
                    </a:lnTo>
                    <a:lnTo>
                      <a:pt x="100" y="530"/>
                    </a:lnTo>
                    <a:lnTo>
                      <a:pt x="98" y="529"/>
                    </a:lnTo>
                    <a:lnTo>
                      <a:pt x="98" y="527"/>
                    </a:lnTo>
                    <a:lnTo>
                      <a:pt x="98" y="526"/>
                    </a:lnTo>
                    <a:lnTo>
                      <a:pt x="98" y="524"/>
                    </a:lnTo>
                    <a:lnTo>
                      <a:pt x="98" y="523"/>
                    </a:lnTo>
                    <a:lnTo>
                      <a:pt x="98" y="521"/>
                    </a:lnTo>
                    <a:lnTo>
                      <a:pt x="98" y="523"/>
                    </a:lnTo>
                    <a:lnTo>
                      <a:pt x="97" y="523"/>
                    </a:lnTo>
                    <a:lnTo>
                      <a:pt x="97" y="524"/>
                    </a:lnTo>
                    <a:lnTo>
                      <a:pt x="95" y="523"/>
                    </a:lnTo>
                    <a:lnTo>
                      <a:pt x="95" y="521"/>
                    </a:lnTo>
                    <a:lnTo>
                      <a:pt x="95" y="519"/>
                    </a:lnTo>
                    <a:lnTo>
                      <a:pt x="95" y="518"/>
                    </a:lnTo>
                    <a:lnTo>
                      <a:pt x="93" y="518"/>
                    </a:lnTo>
                    <a:lnTo>
                      <a:pt x="92" y="518"/>
                    </a:lnTo>
                    <a:lnTo>
                      <a:pt x="92" y="516"/>
                    </a:lnTo>
                    <a:lnTo>
                      <a:pt x="90" y="513"/>
                    </a:lnTo>
                    <a:lnTo>
                      <a:pt x="90" y="511"/>
                    </a:lnTo>
                    <a:lnTo>
                      <a:pt x="92" y="510"/>
                    </a:lnTo>
                    <a:lnTo>
                      <a:pt x="93" y="508"/>
                    </a:lnTo>
                    <a:lnTo>
                      <a:pt x="93" y="507"/>
                    </a:lnTo>
                    <a:lnTo>
                      <a:pt x="93" y="505"/>
                    </a:lnTo>
                    <a:lnTo>
                      <a:pt x="93" y="504"/>
                    </a:lnTo>
                    <a:lnTo>
                      <a:pt x="95" y="502"/>
                    </a:lnTo>
                    <a:lnTo>
                      <a:pt x="93" y="500"/>
                    </a:lnTo>
                    <a:lnTo>
                      <a:pt x="93" y="499"/>
                    </a:lnTo>
                    <a:lnTo>
                      <a:pt x="92" y="499"/>
                    </a:lnTo>
                    <a:lnTo>
                      <a:pt x="92" y="497"/>
                    </a:lnTo>
                    <a:lnTo>
                      <a:pt x="90" y="497"/>
                    </a:lnTo>
                    <a:lnTo>
                      <a:pt x="90" y="496"/>
                    </a:lnTo>
                    <a:lnTo>
                      <a:pt x="89" y="496"/>
                    </a:lnTo>
                    <a:lnTo>
                      <a:pt x="90" y="496"/>
                    </a:lnTo>
                    <a:lnTo>
                      <a:pt x="90" y="494"/>
                    </a:lnTo>
                    <a:lnTo>
                      <a:pt x="92" y="494"/>
                    </a:lnTo>
                    <a:lnTo>
                      <a:pt x="92" y="492"/>
                    </a:lnTo>
                    <a:lnTo>
                      <a:pt x="93" y="492"/>
                    </a:lnTo>
                    <a:lnTo>
                      <a:pt x="93" y="491"/>
                    </a:lnTo>
                    <a:lnTo>
                      <a:pt x="93" y="489"/>
                    </a:lnTo>
                    <a:lnTo>
                      <a:pt x="95" y="488"/>
                    </a:lnTo>
                    <a:lnTo>
                      <a:pt x="97" y="488"/>
                    </a:lnTo>
                    <a:lnTo>
                      <a:pt x="98" y="488"/>
                    </a:lnTo>
                    <a:lnTo>
                      <a:pt x="98" y="486"/>
                    </a:lnTo>
                    <a:lnTo>
                      <a:pt x="98" y="485"/>
                    </a:lnTo>
                    <a:lnTo>
                      <a:pt x="97" y="485"/>
                    </a:lnTo>
                    <a:lnTo>
                      <a:pt x="97" y="483"/>
                    </a:lnTo>
                    <a:lnTo>
                      <a:pt x="98" y="481"/>
                    </a:lnTo>
                    <a:lnTo>
                      <a:pt x="98" y="483"/>
                    </a:lnTo>
                    <a:lnTo>
                      <a:pt x="100" y="483"/>
                    </a:lnTo>
                    <a:lnTo>
                      <a:pt x="100" y="485"/>
                    </a:lnTo>
                    <a:lnTo>
                      <a:pt x="101" y="485"/>
                    </a:lnTo>
                    <a:lnTo>
                      <a:pt x="101" y="483"/>
                    </a:lnTo>
                    <a:lnTo>
                      <a:pt x="101" y="481"/>
                    </a:lnTo>
                    <a:lnTo>
                      <a:pt x="100" y="481"/>
                    </a:lnTo>
                    <a:lnTo>
                      <a:pt x="100" y="480"/>
                    </a:lnTo>
                    <a:lnTo>
                      <a:pt x="101" y="478"/>
                    </a:lnTo>
                    <a:lnTo>
                      <a:pt x="103" y="480"/>
                    </a:lnTo>
                    <a:lnTo>
                      <a:pt x="104" y="480"/>
                    </a:lnTo>
                    <a:lnTo>
                      <a:pt x="106" y="480"/>
                    </a:lnTo>
                    <a:lnTo>
                      <a:pt x="104" y="478"/>
                    </a:lnTo>
                    <a:lnTo>
                      <a:pt x="104" y="477"/>
                    </a:lnTo>
                    <a:lnTo>
                      <a:pt x="103" y="477"/>
                    </a:lnTo>
                    <a:lnTo>
                      <a:pt x="103" y="475"/>
                    </a:lnTo>
                    <a:lnTo>
                      <a:pt x="103" y="473"/>
                    </a:lnTo>
                    <a:lnTo>
                      <a:pt x="103" y="472"/>
                    </a:lnTo>
                    <a:lnTo>
                      <a:pt x="104" y="472"/>
                    </a:lnTo>
                    <a:lnTo>
                      <a:pt x="106" y="472"/>
                    </a:lnTo>
                    <a:lnTo>
                      <a:pt x="106" y="470"/>
                    </a:lnTo>
                    <a:lnTo>
                      <a:pt x="108" y="470"/>
                    </a:lnTo>
                    <a:lnTo>
                      <a:pt x="109" y="470"/>
                    </a:lnTo>
                    <a:lnTo>
                      <a:pt x="111" y="470"/>
                    </a:lnTo>
                    <a:lnTo>
                      <a:pt x="111" y="472"/>
                    </a:lnTo>
                    <a:lnTo>
                      <a:pt x="112" y="472"/>
                    </a:lnTo>
                    <a:lnTo>
                      <a:pt x="112" y="473"/>
                    </a:lnTo>
                    <a:lnTo>
                      <a:pt x="114" y="472"/>
                    </a:lnTo>
                    <a:lnTo>
                      <a:pt x="116" y="472"/>
                    </a:lnTo>
                    <a:lnTo>
                      <a:pt x="117" y="472"/>
                    </a:lnTo>
                    <a:lnTo>
                      <a:pt x="119" y="470"/>
                    </a:lnTo>
                    <a:lnTo>
                      <a:pt x="120" y="472"/>
                    </a:lnTo>
                    <a:lnTo>
                      <a:pt x="120" y="473"/>
                    </a:lnTo>
                    <a:lnTo>
                      <a:pt x="122" y="473"/>
                    </a:lnTo>
                    <a:lnTo>
                      <a:pt x="123" y="473"/>
                    </a:lnTo>
                    <a:lnTo>
                      <a:pt x="125" y="473"/>
                    </a:lnTo>
                    <a:lnTo>
                      <a:pt x="127" y="473"/>
                    </a:lnTo>
                    <a:lnTo>
                      <a:pt x="127" y="472"/>
                    </a:lnTo>
                    <a:lnTo>
                      <a:pt x="128" y="472"/>
                    </a:lnTo>
                    <a:lnTo>
                      <a:pt x="130" y="470"/>
                    </a:lnTo>
                    <a:lnTo>
                      <a:pt x="130" y="469"/>
                    </a:lnTo>
                    <a:lnTo>
                      <a:pt x="131" y="469"/>
                    </a:lnTo>
                    <a:lnTo>
                      <a:pt x="133" y="467"/>
                    </a:lnTo>
                    <a:lnTo>
                      <a:pt x="135" y="467"/>
                    </a:lnTo>
                    <a:lnTo>
                      <a:pt x="135" y="465"/>
                    </a:lnTo>
                    <a:lnTo>
                      <a:pt x="135" y="464"/>
                    </a:lnTo>
                    <a:lnTo>
                      <a:pt x="136" y="464"/>
                    </a:lnTo>
                    <a:lnTo>
                      <a:pt x="136" y="462"/>
                    </a:lnTo>
                    <a:lnTo>
                      <a:pt x="136" y="461"/>
                    </a:lnTo>
                    <a:lnTo>
                      <a:pt x="138" y="461"/>
                    </a:lnTo>
                    <a:lnTo>
                      <a:pt x="138" y="459"/>
                    </a:lnTo>
                    <a:lnTo>
                      <a:pt x="139" y="459"/>
                    </a:lnTo>
                    <a:lnTo>
                      <a:pt x="139" y="458"/>
                    </a:lnTo>
                    <a:lnTo>
                      <a:pt x="139" y="456"/>
                    </a:lnTo>
                    <a:lnTo>
                      <a:pt x="141" y="456"/>
                    </a:lnTo>
                    <a:lnTo>
                      <a:pt x="141" y="454"/>
                    </a:lnTo>
                    <a:lnTo>
                      <a:pt x="142" y="453"/>
                    </a:lnTo>
                    <a:lnTo>
                      <a:pt x="144" y="453"/>
                    </a:lnTo>
                    <a:lnTo>
                      <a:pt x="144" y="451"/>
                    </a:lnTo>
                    <a:lnTo>
                      <a:pt x="146" y="450"/>
                    </a:lnTo>
                    <a:lnTo>
                      <a:pt x="147" y="450"/>
                    </a:lnTo>
                    <a:lnTo>
                      <a:pt x="149" y="450"/>
                    </a:lnTo>
                    <a:lnTo>
                      <a:pt x="150" y="450"/>
                    </a:lnTo>
                    <a:lnTo>
                      <a:pt x="150" y="448"/>
                    </a:lnTo>
                    <a:lnTo>
                      <a:pt x="152" y="448"/>
                    </a:lnTo>
                    <a:lnTo>
                      <a:pt x="154" y="448"/>
                    </a:lnTo>
                    <a:lnTo>
                      <a:pt x="154" y="446"/>
                    </a:lnTo>
                    <a:lnTo>
                      <a:pt x="155" y="446"/>
                    </a:lnTo>
                    <a:lnTo>
                      <a:pt x="155" y="445"/>
                    </a:lnTo>
                    <a:lnTo>
                      <a:pt x="157" y="445"/>
                    </a:lnTo>
                    <a:lnTo>
                      <a:pt x="157" y="443"/>
                    </a:lnTo>
                    <a:lnTo>
                      <a:pt x="158" y="442"/>
                    </a:lnTo>
                    <a:lnTo>
                      <a:pt x="160" y="442"/>
                    </a:lnTo>
                    <a:lnTo>
                      <a:pt x="160" y="440"/>
                    </a:lnTo>
                    <a:lnTo>
                      <a:pt x="162" y="440"/>
                    </a:lnTo>
                    <a:lnTo>
                      <a:pt x="162" y="439"/>
                    </a:lnTo>
                    <a:lnTo>
                      <a:pt x="162" y="437"/>
                    </a:lnTo>
                    <a:lnTo>
                      <a:pt x="163" y="437"/>
                    </a:lnTo>
                    <a:lnTo>
                      <a:pt x="163" y="439"/>
                    </a:lnTo>
                    <a:lnTo>
                      <a:pt x="165" y="439"/>
                    </a:lnTo>
                    <a:lnTo>
                      <a:pt x="166" y="439"/>
                    </a:lnTo>
                    <a:lnTo>
                      <a:pt x="166" y="440"/>
                    </a:lnTo>
                    <a:lnTo>
                      <a:pt x="168" y="440"/>
                    </a:lnTo>
                    <a:lnTo>
                      <a:pt x="168" y="442"/>
                    </a:lnTo>
                    <a:lnTo>
                      <a:pt x="169" y="442"/>
                    </a:lnTo>
                    <a:lnTo>
                      <a:pt x="171" y="442"/>
                    </a:lnTo>
                    <a:lnTo>
                      <a:pt x="173" y="443"/>
                    </a:lnTo>
                    <a:lnTo>
                      <a:pt x="174" y="443"/>
                    </a:lnTo>
                    <a:lnTo>
                      <a:pt x="174" y="445"/>
                    </a:lnTo>
                    <a:lnTo>
                      <a:pt x="176" y="445"/>
                    </a:lnTo>
                    <a:lnTo>
                      <a:pt x="177" y="445"/>
                    </a:lnTo>
                    <a:lnTo>
                      <a:pt x="179" y="445"/>
                    </a:lnTo>
                    <a:lnTo>
                      <a:pt x="179" y="446"/>
                    </a:lnTo>
                    <a:lnTo>
                      <a:pt x="181" y="446"/>
                    </a:lnTo>
                    <a:lnTo>
                      <a:pt x="181" y="448"/>
                    </a:lnTo>
                    <a:lnTo>
                      <a:pt x="181" y="450"/>
                    </a:lnTo>
                    <a:lnTo>
                      <a:pt x="179" y="450"/>
                    </a:lnTo>
                    <a:lnTo>
                      <a:pt x="179" y="451"/>
                    </a:lnTo>
                    <a:lnTo>
                      <a:pt x="177" y="451"/>
                    </a:lnTo>
                    <a:lnTo>
                      <a:pt x="176" y="453"/>
                    </a:lnTo>
                    <a:lnTo>
                      <a:pt x="176" y="454"/>
                    </a:lnTo>
                    <a:lnTo>
                      <a:pt x="174" y="454"/>
                    </a:lnTo>
                    <a:lnTo>
                      <a:pt x="174" y="456"/>
                    </a:lnTo>
                    <a:lnTo>
                      <a:pt x="174" y="458"/>
                    </a:lnTo>
                    <a:lnTo>
                      <a:pt x="174" y="459"/>
                    </a:lnTo>
                    <a:lnTo>
                      <a:pt x="174" y="461"/>
                    </a:lnTo>
                    <a:lnTo>
                      <a:pt x="174" y="462"/>
                    </a:lnTo>
                    <a:lnTo>
                      <a:pt x="176" y="464"/>
                    </a:lnTo>
                    <a:lnTo>
                      <a:pt x="177" y="464"/>
                    </a:lnTo>
                    <a:lnTo>
                      <a:pt x="179" y="464"/>
                    </a:lnTo>
                    <a:lnTo>
                      <a:pt x="179" y="462"/>
                    </a:lnTo>
                    <a:lnTo>
                      <a:pt x="181" y="462"/>
                    </a:lnTo>
                    <a:lnTo>
                      <a:pt x="182" y="464"/>
                    </a:lnTo>
                    <a:lnTo>
                      <a:pt x="182" y="465"/>
                    </a:lnTo>
                    <a:lnTo>
                      <a:pt x="182" y="467"/>
                    </a:lnTo>
                    <a:lnTo>
                      <a:pt x="181" y="467"/>
                    </a:lnTo>
                    <a:lnTo>
                      <a:pt x="181" y="469"/>
                    </a:lnTo>
                    <a:lnTo>
                      <a:pt x="181" y="470"/>
                    </a:lnTo>
                    <a:lnTo>
                      <a:pt x="179" y="470"/>
                    </a:lnTo>
                    <a:lnTo>
                      <a:pt x="179" y="472"/>
                    </a:lnTo>
                    <a:lnTo>
                      <a:pt x="179" y="473"/>
                    </a:lnTo>
                    <a:lnTo>
                      <a:pt x="179" y="475"/>
                    </a:lnTo>
                    <a:lnTo>
                      <a:pt x="179" y="477"/>
                    </a:lnTo>
                    <a:lnTo>
                      <a:pt x="179" y="478"/>
                    </a:lnTo>
                    <a:lnTo>
                      <a:pt x="179" y="480"/>
                    </a:lnTo>
                    <a:lnTo>
                      <a:pt x="177" y="480"/>
                    </a:lnTo>
                    <a:lnTo>
                      <a:pt x="177" y="481"/>
                    </a:lnTo>
                    <a:lnTo>
                      <a:pt x="179" y="481"/>
                    </a:lnTo>
                    <a:lnTo>
                      <a:pt x="181" y="483"/>
                    </a:lnTo>
                    <a:lnTo>
                      <a:pt x="182" y="483"/>
                    </a:lnTo>
                    <a:lnTo>
                      <a:pt x="182" y="485"/>
                    </a:lnTo>
                    <a:lnTo>
                      <a:pt x="184" y="485"/>
                    </a:lnTo>
                    <a:lnTo>
                      <a:pt x="185" y="486"/>
                    </a:lnTo>
                    <a:lnTo>
                      <a:pt x="187" y="488"/>
                    </a:lnTo>
                    <a:lnTo>
                      <a:pt x="188" y="488"/>
                    </a:lnTo>
                    <a:lnTo>
                      <a:pt x="190" y="488"/>
                    </a:lnTo>
                    <a:lnTo>
                      <a:pt x="190" y="489"/>
                    </a:lnTo>
                    <a:lnTo>
                      <a:pt x="192" y="489"/>
                    </a:lnTo>
                    <a:lnTo>
                      <a:pt x="192" y="491"/>
                    </a:lnTo>
                    <a:lnTo>
                      <a:pt x="192" y="492"/>
                    </a:lnTo>
                    <a:lnTo>
                      <a:pt x="192" y="494"/>
                    </a:lnTo>
                    <a:lnTo>
                      <a:pt x="193" y="494"/>
                    </a:lnTo>
                    <a:lnTo>
                      <a:pt x="193" y="496"/>
                    </a:lnTo>
                    <a:lnTo>
                      <a:pt x="195" y="496"/>
                    </a:lnTo>
                    <a:lnTo>
                      <a:pt x="196" y="497"/>
                    </a:lnTo>
                    <a:lnTo>
                      <a:pt x="196" y="499"/>
                    </a:lnTo>
                    <a:lnTo>
                      <a:pt x="198" y="499"/>
                    </a:lnTo>
                    <a:lnTo>
                      <a:pt x="198" y="500"/>
                    </a:lnTo>
                    <a:lnTo>
                      <a:pt x="200" y="500"/>
                    </a:lnTo>
                    <a:lnTo>
                      <a:pt x="200" y="502"/>
                    </a:lnTo>
                    <a:lnTo>
                      <a:pt x="201" y="504"/>
                    </a:lnTo>
                    <a:lnTo>
                      <a:pt x="201" y="505"/>
                    </a:lnTo>
                    <a:lnTo>
                      <a:pt x="201" y="507"/>
                    </a:lnTo>
                    <a:lnTo>
                      <a:pt x="201" y="508"/>
                    </a:lnTo>
                    <a:lnTo>
                      <a:pt x="201" y="510"/>
                    </a:lnTo>
                    <a:lnTo>
                      <a:pt x="201" y="511"/>
                    </a:lnTo>
                    <a:lnTo>
                      <a:pt x="203" y="513"/>
                    </a:lnTo>
                    <a:lnTo>
                      <a:pt x="203" y="515"/>
                    </a:lnTo>
                    <a:lnTo>
                      <a:pt x="204" y="515"/>
                    </a:lnTo>
                    <a:lnTo>
                      <a:pt x="204" y="516"/>
                    </a:lnTo>
                    <a:lnTo>
                      <a:pt x="206" y="518"/>
                    </a:lnTo>
                    <a:lnTo>
                      <a:pt x="206" y="519"/>
                    </a:lnTo>
                    <a:lnTo>
                      <a:pt x="207" y="519"/>
                    </a:lnTo>
                    <a:lnTo>
                      <a:pt x="207" y="521"/>
                    </a:lnTo>
                    <a:lnTo>
                      <a:pt x="209" y="521"/>
                    </a:lnTo>
                    <a:lnTo>
                      <a:pt x="211" y="521"/>
                    </a:lnTo>
                    <a:lnTo>
                      <a:pt x="211" y="523"/>
                    </a:lnTo>
                    <a:lnTo>
                      <a:pt x="212" y="523"/>
                    </a:lnTo>
                    <a:lnTo>
                      <a:pt x="212" y="524"/>
                    </a:lnTo>
                    <a:lnTo>
                      <a:pt x="214" y="524"/>
                    </a:lnTo>
                    <a:lnTo>
                      <a:pt x="215" y="524"/>
                    </a:lnTo>
                    <a:lnTo>
                      <a:pt x="217" y="524"/>
                    </a:lnTo>
                    <a:lnTo>
                      <a:pt x="219" y="526"/>
                    </a:lnTo>
                    <a:lnTo>
                      <a:pt x="219" y="524"/>
                    </a:lnTo>
                    <a:lnTo>
                      <a:pt x="220" y="524"/>
                    </a:lnTo>
                    <a:lnTo>
                      <a:pt x="222" y="524"/>
                    </a:lnTo>
                    <a:lnTo>
                      <a:pt x="222" y="523"/>
                    </a:lnTo>
                    <a:lnTo>
                      <a:pt x="223" y="523"/>
                    </a:lnTo>
                    <a:lnTo>
                      <a:pt x="223" y="521"/>
                    </a:lnTo>
                    <a:lnTo>
                      <a:pt x="225" y="521"/>
                    </a:lnTo>
                    <a:lnTo>
                      <a:pt x="225" y="519"/>
                    </a:lnTo>
                    <a:lnTo>
                      <a:pt x="226" y="519"/>
                    </a:lnTo>
                    <a:lnTo>
                      <a:pt x="228" y="519"/>
                    </a:lnTo>
                    <a:lnTo>
                      <a:pt x="230" y="519"/>
                    </a:lnTo>
                    <a:lnTo>
                      <a:pt x="231" y="519"/>
                    </a:lnTo>
                    <a:lnTo>
                      <a:pt x="233" y="519"/>
                    </a:lnTo>
                    <a:lnTo>
                      <a:pt x="234" y="519"/>
                    </a:lnTo>
                    <a:lnTo>
                      <a:pt x="236" y="519"/>
                    </a:lnTo>
                    <a:lnTo>
                      <a:pt x="238" y="519"/>
                    </a:lnTo>
                    <a:lnTo>
                      <a:pt x="239" y="519"/>
                    </a:lnTo>
                    <a:lnTo>
                      <a:pt x="241" y="519"/>
                    </a:lnTo>
                    <a:lnTo>
                      <a:pt x="242" y="519"/>
                    </a:lnTo>
                    <a:lnTo>
                      <a:pt x="242" y="521"/>
                    </a:lnTo>
                    <a:lnTo>
                      <a:pt x="244" y="521"/>
                    </a:lnTo>
                    <a:lnTo>
                      <a:pt x="245" y="521"/>
                    </a:lnTo>
                    <a:lnTo>
                      <a:pt x="245" y="523"/>
                    </a:lnTo>
                    <a:lnTo>
                      <a:pt x="247" y="523"/>
                    </a:lnTo>
                    <a:lnTo>
                      <a:pt x="249" y="524"/>
                    </a:lnTo>
                    <a:lnTo>
                      <a:pt x="252" y="523"/>
                    </a:lnTo>
                    <a:lnTo>
                      <a:pt x="252" y="519"/>
                    </a:lnTo>
                    <a:lnTo>
                      <a:pt x="253" y="516"/>
                    </a:lnTo>
                    <a:lnTo>
                      <a:pt x="219" y="464"/>
                    </a:lnTo>
                    <a:lnTo>
                      <a:pt x="209" y="451"/>
                    </a:lnTo>
                    <a:lnTo>
                      <a:pt x="163" y="394"/>
                    </a:lnTo>
                    <a:lnTo>
                      <a:pt x="139" y="378"/>
                    </a:lnTo>
                    <a:lnTo>
                      <a:pt x="74" y="334"/>
                    </a:lnTo>
                    <a:lnTo>
                      <a:pt x="0" y="298"/>
                    </a:lnTo>
                    <a:lnTo>
                      <a:pt x="9" y="263"/>
                    </a:lnTo>
                    <a:lnTo>
                      <a:pt x="9" y="261"/>
                    </a:lnTo>
                    <a:lnTo>
                      <a:pt x="11" y="261"/>
                    </a:lnTo>
                    <a:lnTo>
                      <a:pt x="11" y="260"/>
                    </a:lnTo>
                    <a:lnTo>
                      <a:pt x="13" y="258"/>
                    </a:lnTo>
                    <a:lnTo>
                      <a:pt x="13" y="256"/>
                    </a:lnTo>
                    <a:lnTo>
                      <a:pt x="14" y="253"/>
                    </a:lnTo>
                    <a:lnTo>
                      <a:pt x="14" y="252"/>
                    </a:lnTo>
                    <a:lnTo>
                      <a:pt x="14" y="250"/>
                    </a:lnTo>
                    <a:lnTo>
                      <a:pt x="16" y="248"/>
                    </a:lnTo>
                    <a:lnTo>
                      <a:pt x="16" y="247"/>
                    </a:lnTo>
                    <a:lnTo>
                      <a:pt x="17" y="247"/>
                    </a:lnTo>
                    <a:lnTo>
                      <a:pt x="17" y="245"/>
                    </a:lnTo>
                    <a:lnTo>
                      <a:pt x="17" y="244"/>
                    </a:lnTo>
                    <a:lnTo>
                      <a:pt x="17" y="242"/>
                    </a:lnTo>
                    <a:lnTo>
                      <a:pt x="21" y="239"/>
                    </a:lnTo>
                    <a:lnTo>
                      <a:pt x="22" y="239"/>
                    </a:lnTo>
                    <a:lnTo>
                      <a:pt x="22" y="237"/>
                    </a:lnTo>
                    <a:lnTo>
                      <a:pt x="24" y="236"/>
                    </a:lnTo>
                    <a:lnTo>
                      <a:pt x="24" y="234"/>
                    </a:lnTo>
                    <a:lnTo>
                      <a:pt x="25" y="234"/>
                    </a:lnTo>
                    <a:lnTo>
                      <a:pt x="25" y="233"/>
                    </a:lnTo>
                    <a:lnTo>
                      <a:pt x="27" y="233"/>
                    </a:lnTo>
                    <a:lnTo>
                      <a:pt x="30" y="229"/>
                    </a:lnTo>
                    <a:lnTo>
                      <a:pt x="30" y="228"/>
                    </a:lnTo>
                    <a:lnTo>
                      <a:pt x="30" y="226"/>
                    </a:lnTo>
                    <a:lnTo>
                      <a:pt x="32" y="226"/>
                    </a:lnTo>
                    <a:lnTo>
                      <a:pt x="32" y="225"/>
                    </a:lnTo>
                    <a:lnTo>
                      <a:pt x="33" y="223"/>
                    </a:lnTo>
                    <a:lnTo>
                      <a:pt x="33" y="222"/>
                    </a:lnTo>
                    <a:lnTo>
                      <a:pt x="33" y="217"/>
                    </a:lnTo>
                    <a:lnTo>
                      <a:pt x="33" y="215"/>
                    </a:lnTo>
                    <a:lnTo>
                      <a:pt x="33" y="214"/>
                    </a:lnTo>
                    <a:lnTo>
                      <a:pt x="35" y="212"/>
                    </a:lnTo>
                    <a:lnTo>
                      <a:pt x="35" y="210"/>
                    </a:lnTo>
                    <a:lnTo>
                      <a:pt x="36" y="210"/>
                    </a:lnTo>
                    <a:lnTo>
                      <a:pt x="38" y="210"/>
                    </a:lnTo>
                    <a:lnTo>
                      <a:pt x="40" y="212"/>
                    </a:lnTo>
                    <a:lnTo>
                      <a:pt x="41" y="215"/>
                    </a:lnTo>
                    <a:lnTo>
                      <a:pt x="43" y="217"/>
                    </a:lnTo>
                    <a:lnTo>
                      <a:pt x="44" y="218"/>
                    </a:lnTo>
                    <a:lnTo>
                      <a:pt x="44" y="220"/>
                    </a:lnTo>
                    <a:lnTo>
                      <a:pt x="46" y="220"/>
                    </a:lnTo>
                    <a:lnTo>
                      <a:pt x="47" y="218"/>
                    </a:lnTo>
                    <a:lnTo>
                      <a:pt x="49" y="215"/>
                    </a:lnTo>
                    <a:lnTo>
                      <a:pt x="51" y="214"/>
                    </a:lnTo>
                    <a:lnTo>
                      <a:pt x="52" y="212"/>
                    </a:lnTo>
                    <a:lnTo>
                      <a:pt x="54" y="214"/>
                    </a:lnTo>
                    <a:lnTo>
                      <a:pt x="55" y="212"/>
                    </a:lnTo>
                    <a:lnTo>
                      <a:pt x="55" y="214"/>
                    </a:lnTo>
                    <a:lnTo>
                      <a:pt x="57" y="214"/>
                    </a:lnTo>
                    <a:lnTo>
                      <a:pt x="59" y="214"/>
                    </a:lnTo>
                    <a:lnTo>
                      <a:pt x="60" y="214"/>
                    </a:lnTo>
                    <a:lnTo>
                      <a:pt x="62" y="214"/>
                    </a:lnTo>
                    <a:lnTo>
                      <a:pt x="63" y="214"/>
                    </a:lnTo>
                    <a:lnTo>
                      <a:pt x="65" y="214"/>
                    </a:lnTo>
                    <a:lnTo>
                      <a:pt x="65" y="210"/>
                    </a:lnTo>
                    <a:lnTo>
                      <a:pt x="66" y="209"/>
                    </a:lnTo>
                    <a:lnTo>
                      <a:pt x="66" y="207"/>
                    </a:lnTo>
                    <a:lnTo>
                      <a:pt x="66" y="206"/>
                    </a:lnTo>
                    <a:lnTo>
                      <a:pt x="68" y="206"/>
                    </a:lnTo>
                    <a:lnTo>
                      <a:pt x="68" y="204"/>
                    </a:lnTo>
                    <a:lnTo>
                      <a:pt x="68" y="203"/>
                    </a:lnTo>
                    <a:lnTo>
                      <a:pt x="70" y="203"/>
                    </a:lnTo>
                    <a:lnTo>
                      <a:pt x="71" y="201"/>
                    </a:lnTo>
                    <a:lnTo>
                      <a:pt x="71" y="199"/>
                    </a:lnTo>
                    <a:lnTo>
                      <a:pt x="73" y="198"/>
                    </a:lnTo>
                    <a:lnTo>
                      <a:pt x="73" y="196"/>
                    </a:lnTo>
                    <a:lnTo>
                      <a:pt x="73" y="195"/>
                    </a:lnTo>
                    <a:lnTo>
                      <a:pt x="74" y="193"/>
                    </a:lnTo>
                    <a:lnTo>
                      <a:pt x="76" y="188"/>
                    </a:lnTo>
                    <a:lnTo>
                      <a:pt x="78" y="187"/>
                    </a:lnTo>
                    <a:lnTo>
                      <a:pt x="79" y="185"/>
                    </a:lnTo>
                    <a:lnTo>
                      <a:pt x="79" y="184"/>
                    </a:lnTo>
                    <a:lnTo>
                      <a:pt x="82" y="179"/>
                    </a:lnTo>
                    <a:lnTo>
                      <a:pt x="84" y="179"/>
                    </a:lnTo>
                    <a:lnTo>
                      <a:pt x="84" y="177"/>
                    </a:lnTo>
                    <a:lnTo>
                      <a:pt x="85" y="176"/>
                    </a:lnTo>
                    <a:lnTo>
                      <a:pt x="87" y="171"/>
                    </a:lnTo>
                    <a:lnTo>
                      <a:pt x="89" y="166"/>
                    </a:lnTo>
                    <a:lnTo>
                      <a:pt x="90" y="163"/>
                    </a:lnTo>
                    <a:lnTo>
                      <a:pt x="90" y="161"/>
                    </a:lnTo>
                    <a:lnTo>
                      <a:pt x="90" y="160"/>
                    </a:lnTo>
                    <a:lnTo>
                      <a:pt x="90" y="155"/>
                    </a:lnTo>
                    <a:lnTo>
                      <a:pt x="92" y="153"/>
                    </a:lnTo>
                    <a:lnTo>
                      <a:pt x="92" y="146"/>
                    </a:lnTo>
                    <a:lnTo>
                      <a:pt x="92" y="141"/>
                    </a:lnTo>
                    <a:lnTo>
                      <a:pt x="93" y="139"/>
                    </a:lnTo>
                    <a:lnTo>
                      <a:pt x="93" y="133"/>
                    </a:lnTo>
                    <a:lnTo>
                      <a:pt x="95" y="131"/>
                    </a:lnTo>
                    <a:lnTo>
                      <a:pt x="95" y="130"/>
                    </a:lnTo>
                    <a:lnTo>
                      <a:pt x="95" y="128"/>
                    </a:lnTo>
                    <a:lnTo>
                      <a:pt x="95" y="127"/>
                    </a:lnTo>
                    <a:lnTo>
                      <a:pt x="92" y="123"/>
                    </a:lnTo>
                    <a:lnTo>
                      <a:pt x="90" y="119"/>
                    </a:lnTo>
                    <a:lnTo>
                      <a:pt x="90" y="117"/>
                    </a:lnTo>
                    <a:lnTo>
                      <a:pt x="90" y="115"/>
                    </a:lnTo>
                    <a:lnTo>
                      <a:pt x="93" y="115"/>
                    </a:lnTo>
                    <a:lnTo>
                      <a:pt x="95" y="115"/>
                    </a:lnTo>
                    <a:lnTo>
                      <a:pt x="97" y="114"/>
                    </a:lnTo>
                    <a:lnTo>
                      <a:pt x="98" y="114"/>
                    </a:lnTo>
                    <a:lnTo>
                      <a:pt x="100" y="114"/>
                    </a:lnTo>
                    <a:lnTo>
                      <a:pt x="101" y="114"/>
                    </a:lnTo>
                    <a:lnTo>
                      <a:pt x="103" y="112"/>
                    </a:lnTo>
                    <a:lnTo>
                      <a:pt x="104" y="111"/>
                    </a:lnTo>
                    <a:lnTo>
                      <a:pt x="106" y="111"/>
                    </a:lnTo>
                    <a:lnTo>
                      <a:pt x="106" y="109"/>
                    </a:lnTo>
                    <a:lnTo>
                      <a:pt x="108" y="109"/>
                    </a:lnTo>
                    <a:lnTo>
                      <a:pt x="109" y="108"/>
                    </a:lnTo>
                    <a:lnTo>
                      <a:pt x="111" y="108"/>
                    </a:lnTo>
                    <a:lnTo>
                      <a:pt x="112" y="106"/>
                    </a:lnTo>
                    <a:lnTo>
                      <a:pt x="112" y="104"/>
                    </a:lnTo>
                    <a:lnTo>
                      <a:pt x="114" y="104"/>
                    </a:lnTo>
                    <a:lnTo>
                      <a:pt x="116" y="103"/>
                    </a:lnTo>
                    <a:lnTo>
                      <a:pt x="117" y="103"/>
                    </a:lnTo>
                    <a:lnTo>
                      <a:pt x="119" y="103"/>
                    </a:lnTo>
                    <a:lnTo>
                      <a:pt x="119" y="101"/>
                    </a:lnTo>
                    <a:lnTo>
                      <a:pt x="120" y="101"/>
                    </a:lnTo>
                    <a:lnTo>
                      <a:pt x="122" y="101"/>
                    </a:lnTo>
                    <a:lnTo>
                      <a:pt x="123" y="101"/>
                    </a:lnTo>
                    <a:lnTo>
                      <a:pt x="125" y="101"/>
                    </a:lnTo>
                    <a:lnTo>
                      <a:pt x="127" y="101"/>
                    </a:lnTo>
                    <a:lnTo>
                      <a:pt x="128" y="100"/>
                    </a:lnTo>
                    <a:lnTo>
                      <a:pt x="130" y="100"/>
                    </a:lnTo>
                    <a:lnTo>
                      <a:pt x="130" y="98"/>
                    </a:lnTo>
                    <a:lnTo>
                      <a:pt x="131" y="98"/>
                    </a:lnTo>
                    <a:lnTo>
                      <a:pt x="133" y="98"/>
                    </a:lnTo>
                    <a:lnTo>
                      <a:pt x="133" y="100"/>
                    </a:lnTo>
                    <a:lnTo>
                      <a:pt x="135" y="100"/>
                    </a:lnTo>
                    <a:lnTo>
                      <a:pt x="135" y="101"/>
                    </a:lnTo>
                    <a:lnTo>
                      <a:pt x="136" y="100"/>
                    </a:lnTo>
                    <a:lnTo>
                      <a:pt x="136" y="98"/>
                    </a:lnTo>
                    <a:lnTo>
                      <a:pt x="138" y="96"/>
                    </a:lnTo>
                    <a:lnTo>
                      <a:pt x="139" y="96"/>
                    </a:lnTo>
                    <a:lnTo>
                      <a:pt x="141" y="96"/>
                    </a:lnTo>
                    <a:lnTo>
                      <a:pt x="142" y="96"/>
                    </a:lnTo>
                    <a:lnTo>
                      <a:pt x="144" y="96"/>
                    </a:lnTo>
                    <a:lnTo>
                      <a:pt x="146" y="96"/>
                    </a:lnTo>
                    <a:lnTo>
                      <a:pt x="147" y="96"/>
                    </a:lnTo>
                    <a:lnTo>
                      <a:pt x="149" y="95"/>
                    </a:lnTo>
                    <a:lnTo>
                      <a:pt x="149" y="93"/>
                    </a:lnTo>
                    <a:lnTo>
                      <a:pt x="150" y="92"/>
                    </a:lnTo>
                    <a:lnTo>
                      <a:pt x="150" y="90"/>
                    </a:lnTo>
                    <a:lnTo>
                      <a:pt x="152" y="90"/>
                    </a:lnTo>
                    <a:lnTo>
                      <a:pt x="154" y="92"/>
                    </a:lnTo>
                    <a:lnTo>
                      <a:pt x="155" y="92"/>
                    </a:lnTo>
                    <a:lnTo>
                      <a:pt x="157" y="93"/>
                    </a:lnTo>
                    <a:lnTo>
                      <a:pt x="158" y="93"/>
                    </a:lnTo>
                    <a:lnTo>
                      <a:pt x="158" y="95"/>
                    </a:lnTo>
                    <a:lnTo>
                      <a:pt x="160" y="95"/>
                    </a:lnTo>
                    <a:lnTo>
                      <a:pt x="162" y="95"/>
                    </a:lnTo>
                    <a:lnTo>
                      <a:pt x="163" y="95"/>
                    </a:lnTo>
                    <a:lnTo>
                      <a:pt x="163" y="93"/>
                    </a:lnTo>
                    <a:lnTo>
                      <a:pt x="165" y="93"/>
                    </a:lnTo>
                    <a:lnTo>
                      <a:pt x="163" y="93"/>
                    </a:lnTo>
                    <a:lnTo>
                      <a:pt x="163" y="92"/>
                    </a:lnTo>
                    <a:lnTo>
                      <a:pt x="163" y="90"/>
                    </a:lnTo>
                    <a:lnTo>
                      <a:pt x="162" y="90"/>
                    </a:lnTo>
                    <a:lnTo>
                      <a:pt x="162" y="88"/>
                    </a:lnTo>
                    <a:lnTo>
                      <a:pt x="163" y="87"/>
                    </a:lnTo>
                    <a:lnTo>
                      <a:pt x="163" y="88"/>
                    </a:lnTo>
                    <a:lnTo>
                      <a:pt x="165" y="88"/>
                    </a:lnTo>
                    <a:lnTo>
                      <a:pt x="166" y="88"/>
                    </a:lnTo>
                    <a:lnTo>
                      <a:pt x="166" y="87"/>
                    </a:lnTo>
                    <a:lnTo>
                      <a:pt x="168" y="87"/>
                    </a:lnTo>
                    <a:lnTo>
                      <a:pt x="168" y="85"/>
                    </a:lnTo>
                    <a:lnTo>
                      <a:pt x="169" y="85"/>
                    </a:lnTo>
                    <a:lnTo>
                      <a:pt x="171" y="85"/>
                    </a:lnTo>
                    <a:lnTo>
                      <a:pt x="173" y="85"/>
                    </a:lnTo>
                    <a:lnTo>
                      <a:pt x="174" y="85"/>
                    </a:lnTo>
                    <a:lnTo>
                      <a:pt x="176" y="85"/>
                    </a:lnTo>
                    <a:lnTo>
                      <a:pt x="176" y="84"/>
                    </a:lnTo>
                    <a:lnTo>
                      <a:pt x="176" y="82"/>
                    </a:lnTo>
                    <a:lnTo>
                      <a:pt x="177" y="82"/>
                    </a:lnTo>
                    <a:lnTo>
                      <a:pt x="179" y="82"/>
                    </a:lnTo>
                    <a:lnTo>
                      <a:pt x="181" y="84"/>
                    </a:lnTo>
                    <a:lnTo>
                      <a:pt x="181" y="82"/>
                    </a:lnTo>
                    <a:lnTo>
                      <a:pt x="182" y="82"/>
                    </a:lnTo>
                    <a:lnTo>
                      <a:pt x="182" y="81"/>
                    </a:lnTo>
                    <a:lnTo>
                      <a:pt x="184" y="79"/>
                    </a:lnTo>
                    <a:lnTo>
                      <a:pt x="185" y="79"/>
                    </a:lnTo>
                    <a:lnTo>
                      <a:pt x="187" y="79"/>
                    </a:lnTo>
                    <a:lnTo>
                      <a:pt x="188" y="79"/>
                    </a:lnTo>
                    <a:lnTo>
                      <a:pt x="188" y="77"/>
                    </a:lnTo>
                    <a:lnTo>
                      <a:pt x="190" y="77"/>
                    </a:lnTo>
                    <a:lnTo>
                      <a:pt x="192" y="77"/>
                    </a:lnTo>
                    <a:lnTo>
                      <a:pt x="193" y="79"/>
                    </a:lnTo>
                    <a:lnTo>
                      <a:pt x="195" y="79"/>
                    </a:lnTo>
                    <a:lnTo>
                      <a:pt x="196" y="79"/>
                    </a:lnTo>
                    <a:lnTo>
                      <a:pt x="198" y="79"/>
                    </a:lnTo>
                    <a:lnTo>
                      <a:pt x="198" y="77"/>
                    </a:lnTo>
                    <a:lnTo>
                      <a:pt x="200" y="77"/>
                    </a:lnTo>
                    <a:lnTo>
                      <a:pt x="201" y="77"/>
                    </a:lnTo>
                    <a:lnTo>
                      <a:pt x="203" y="77"/>
                    </a:lnTo>
                    <a:lnTo>
                      <a:pt x="204" y="77"/>
                    </a:lnTo>
                    <a:lnTo>
                      <a:pt x="204" y="76"/>
                    </a:lnTo>
                    <a:lnTo>
                      <a:pt x="206" y="76"/>
                    </a:lnTo>
                    <a:lnTo>
                      <a:pt x="206" y="77"/>
                    </a:lnTo>
                    <a:lnTo>
                      <a:pt x="207" y="79"/>
                    </a:lnTo>
                    <a:lnTo>
                      <a:pt x="207" y="81"/>
                    </a:lnTo>
                    <a:lnTo>
                      <a:pt x="207" y="82"/>
                    </a:lnTo>
                    <a:lnTo>
                      <a:pt x="209" y="82"/>
                    </a:lnTo>
                    <a:lnTo>
                      <a:pt x="209" y="81"/>
                    </a:lnTo>
                    <a:lnTo>
                      <a:pt x="211" y="81"/>
                    </a:lnTo>
                    <a:lnTo>
                      <a:pt x="211" y="79"/>
                    </a:lnTo>
                    <a:lnTo>
                      <a:pt x="212" y="79"/>
                    </a:lnTo>
                    <a:lnTo>
                      <a:pt x="214" y="79"/>
                    </a:lnTo>
                    <a:lnTo>
                      <a:pt x="215" y="79"/>
                    </a:lnTo>
                    <a:lnTo>
                      <a:pt x="217" y="79"/>
                    </a:lnTo>
                    <a:lnTo>
                      <a:pt x="217" y="81"/>
                    </a:lnTo>
                    <a:lnTo>
                      <a:pt x="219" y="79"/>
                    </a:lnTo>
                    <a:lnTo>
                      <a:pt x="220" y="79"/>
                    </a:lnTo>
                    <a:lnTo>
                      <a:pt x="220" y="77"/>
                    </a:lnTo>
                    <a:lnTo>
                      <a:pt x="220" y="76"/>
                    </a:lnTo>
                    <a:lnTo>
                      <a:pt x="220" y="74"/>
                    </a:lnTo>
                    <a:lnTo>
                      <a:pt x="220" y="73"/>
                    </a:lnTo>
                    <a:lnTo>
                      <a:pt x="222" y="73"/>
                    </a:lnTo>
                    <a:lnTo>
                      <a:pt x="222" y="71"/>
                    </a:lnTo>
                    <a:lnTo>
                      <a:pt x="223" y="69"/>
                    </a:lnTo>
                    <a:lnTo>
                      <a:pt x="225" y="69"/>
                    </a:lnTo>
                    <a:lnTo>
                      <a:pt x="226" y="69"/>
                    </a:lnTo>
                    <a:lnTo>
                      <a:pt x="226" y="68"/>
                    </a:lnTo>
                    <a:lnTo>
                      <a:pt x="228" y="68"/>
                    </a:lnTo>
                    <a:lnTo>
                      <a:pt x="230" y="68"/>
                    </a:lnTo>
                    <a:lnTo>
                      <a:pt x="231" y="68"/>
                    </a:lnTo>
                    <a:lnTo>
                      <a:pt x="231" y="66"/>
                    </a:lnTo>
                    <a:lnTo>
                      <a:pt x="233" y="66"/>
                    </a:lnTo>
                    <a:lnTo>
                      <a:pt x="233" y="65"/>
                    </a:lnTo>
                    <a:lnTo>
                      <a:pt x="234" y="65"/>
                    </a:lnTo>
                    <a:lnTo>
                      <a:pt x="234" y="63"/>
                    </a:lnTo>
                    <a:lnTo>
                      <a:pt x="238" y="58"/>
                    </a:lnTo>
                    <a:lnTo>
                      <a:pt x="245" y="54"/>
                    </a:lnTo>
                    <a:lnTo>
                      <a:pt x="250" y="47"/>
                    </a:lnTo>
                    <a:lnTo>
                      <a:pt x="257" y="38"/>
                    </a:lnTo>
                    <a:lnTo>
                      <a:pt x="260" y="31"/>
                    </a:lnTo>
                    <a:lnTo>
                      <a:pt x="260" y="25"/>
                    </a:lnTo>
                    <a:lnTo>
                      <a:pt x="268" y="25"/>
                    </a:lnTo>
                    <a:lnTo>
                      <a:pt x="274" y="25"/>
                    </a:lnTo>
                    <a:lnTo>
                      <a:pt x="282" y="25"/>
                    </a:lnTo>
                    <a:lnTo>
                      <a:pt x="288" y="27"/>
                    </a:lnTo>
                    <a:lnTo>
                      <a:pt x="291" y="24"/>
                    </a:lnTo>
                    <a:lnTo>
                      <a:pt x="299" y="12"/>
                    </a:lnTo>
                    <a:lnTo>
                      <a:pt x="306" y="11"/>
                    </a:lnTo>
                    <a:lnTo>
                      <a:pt x="315" y="8"/>
                    </a:lnTo>
                    <a:lnTo>
                      <a:pt x="323" y="6"/>
                    </a:lnTo>
                    <a:lnTo>
                      <a:pt x="331" y="5"/>
                    </a:lnTo>
                    <a:lnTo>
                      <a:pt x="339" y="0"/>
                    </a:lnTo>
                    <a:lnTo>
                      <a:pt x="350" y="0"/>
                    </a:lnTo>
                    <a:lnTo>
                      <a:pt x="360" y="3"/>
                    </a:lnTo>
                    <a:lnTo>
                      <a:pt x="367" y="11"/>
                    </a:lnTo>
                    <a:lnTo>
                      <a:pt x="372" y="16"/>
                    </a:lnTo>
                    <a:lnTo>
                      <a:pt x="372" y="17"/>
                    </a:lnTo>
                    <a:lnTo>
                      <a:pt x="374" y="17"/>
                    </a:lnTo>
                    <a:close/>
                  </a:path>
                </a:pathLst>
              </a:custGeom>
              <a:solidFill>
                <a:srgbClr val="B4D7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79" name="Freeform 59"/>
              <p:cNvSpPr>
                <a:spLocks/>
              </p:cNvSpPr>
              <p:nvPr/>
            </p:nvSpPr>
            <p:spPr bwMode="auto">
              <a:xfrm>
                <a:off x="3108" y="2463"/>
                <a:ext cx="630" cy="740"/>
              </a:xfrm>
              <a:custGeom>
                <a:avLst/>
                <a:gdLst>
                  <a:gd name="T0" fmla="*/ 19 w 630"/>
                  <a:gd name="T1" fmla="*/ 11 h 740"/>
                  <a:gd name="T2" fmla="*/ 41 w 630"/>
                  <a:gd name="T3" fmla="*/ 11 h 740"/>
                  <a:gd name="T4" fmla="*/ 63 w 630"/>
                  <a:gd name="T5" fmla="*/ 13 h 740"/>
                  <a:gd name="T6" fmla="*/ 87 w 630"/>
                  <a:gd name="T7" fmla="*/ 11 h 740"/>
                  <a:gd name="T8" fmla="*/ 107 w 630"/>
                  <a:gd name="T9" fmla="*/ 10 h 740"/>
                  <a:gd name="T10" fmla="*/ 126 w 630"/>
                  <a:gd name="T11" fmla="*/ 21 h 740"/>
                  <a:gd name="T12" fmla="*/ 131 w 630"/>
                  <a:gd name="T13" fmla="*/ 45 h 740"/>
                  <a:gd name="T14" fmla="*/ 136 w 630"/>
                  <a:gd name="T15" fmla="*/ 67 h 740"/>
                  <a:gd name="T16" fmla="*/ 157 w 630"/>
                  <a:gd name="T17" fmla="*/ 83 h 740"/>
                  <a:gd name="T18" fmla="*/ 171 w 630"/>
                  <a:gd name="T19" fmla="*/ 95 h 740"/>
                  <a:gd name="T20" fmla="*/ 184 w 630"/>
                  <a:gd name="T21" fmla="*/ 113 h 740"/>
                  <a:gd name="T22" fmla="*/ 204 w 630"/>
                  <a:gd name="T23" fmla="*/ 125 h 740"/>
                  <a:gd name="T24" fmla="*/ 212 w 630"/>
                  <a:gd name="T25" fmla="*/ 143 h 740"/>
                  <a:gd name="T26" fmla="*/ 220 w 630"/>
                  <a:gd name="T27" fmla="*/ 163 h 740"/>
                  <a:gd name="T28" fmla="*/ 236 w 630"/>
                  <a:gd name="T29" fmla="*/ 174 h 740"/>
                  <a:gd name="T30" fmla="*/ 256 w 630"/>
                  <a:gd name="T31" fmla="*/ 190 h 740"/>
                  <a:gd name="T32" fmla="*/ 274 w 630"/>
                  <a:gd name="T33" fmla="*/ 203 h 740"/>
                  <a:gd name="T34" fmla="*/ 261 w 630"/>
                  <a:gd name="T35" fmla="*/ 220 h 740"/>
                  <a:gd name="T36" fmla="*/ 250 w 630"/>
                  <a:gd name="T37" fmla="*/ 244 h 740"/>
                  <a:gd name="T38" fmla="*/ 236 w 630"/>
                  <a:gd name="T39" fmla="*/ 265 h 740"/>
                  <a:gd name="T40" fmla="*/ 286 w 630"/>
                  <a:gd name="T41" fmla="*/ 298 h 740"/>
                  <a:gd name="T42" fmla="*/ 310 w 630"/>
                  <a:gd name="T43" fmla="*/ 296 h 740"/>
                  <a:gd name="T44" fmla="*/ 337 w 630"/>
                  <a:gd name="T45" fmla="*/ 293 h 740"/>
                  <a:gd name="T46" fmla="*/ 364 w 630"/>
                  <a:gd name="T47" fmla="*/ 295 h 740"/>
                  <a:gd name="T48" fmla="*/ 391 w 630"/>
                  <a:gd name="T49" fmla="*/ 293 h 740"/>
                  <a:gd name="T50" fmla="*/ 416 w 630"/>
                  <a:gd name="T51" fmla="*/ 295 h 740"/>
                  <a:gd name="T52" fmla="*/ 439 w 630"/>
                  <a:gd name="T53" fmla="*/ 301 h 740"/>
                  <a:gd name="T54" fmla="*/ 459 w 630"/>
                  <a:gd name="T55" fmla="*/ 304 h 740"/>
                  <a:gd name="T56" fmla="*/ 477 w 630"/>
                  <a:gd name="T57" fmla="*/ 315 h 740"/>
                  <a:gd name="T58" fmla="*/ 502 w 630"/>
                  <a:gd name="T59" fmla="*/ 320 h 740"/>
                  <a:gd name="T60" fmla="*/ 527 w 630"/>
                  <a:gd name="T61" fmla="*/ 325 h 740"/>
                  <a:gd name="T62" fmla="*/ 553 w 630"/>
                  <a:gd name="T63" fmla="*/ 328 h 740"/>
                  <a:gd name="T64" fmla="*/ 576 w 630"/>
                  <a:gd name="T65" fmla="*/ 333 h 740"/>
                  <a:gd name="T66" fmla="*/ 578 w 630"/>
                  <a:gd name="T67" fmla="*/ 350 h 740"/>
                  <a:gd name="T68" fmla="*/ 602 w 630"/>
                  <a:gd name="T69" fmla="*/ 350 h 740"/>
                  <a:gd name="T70" fmla="*/ 624 w 630"/>
                  <a:gd name="T71" fmla="*/ 361 h 740"/>
                  <a:gd name="T72" fmla="*/ 618 w 630"/>
                  <a:gd name="T73" fmla="*/ 372 h 740"/>
                  <a:gd name="T74" fmla="*/ 603 w 630"/>
                  <a:gd name="T75" fmla="*/ 388 h 740"/>
                  <a:gd name="T76" fmla="*/ 562 w 630"/>
                  <a:gd name="T77" fmla="*/ 433 h 740"/>
                  <a:gd name="T78" fmla="*/ 521 w 630"/>
                  <a:gd name="T79" fmla="*/ 466 h 740"/>
                  <a:gd name="T80" fmla="*/ 508 w 630"/>
                  <a:gd name="T81" fmla="*/ 506 h 740"/>
                  <a:gd name="T82" fmla="*/ 522 w 630"/>
                  <a:gd name="T83" fmla="*/ 536 h 740"/>
                  <a:gd name="T84" fmla="*/ 510 w 630"/>
                  <a:gd name="T85" fmla="*/ 569 h 740"/>
                  <a:gd name="T86" fmla="*/ 491 w 630"/>
                  <a:gd name="T87" fmla="*/ 575 h 740"/>
                  <a:gd name="T88" fmla="*/ 472 w 630"/>
                  <a:gd name="T89" fmla="*/ 585 h 740"/>
                  <a:gd name="T90" fmla="*/ 462 w 630"/>
                  <a:gd name="T91" fmla="*/ 602 h 740"/>
                  <a:gd name="T92" fmla="*/ 434 w 630"/>
                  <a:gd name="T93" fmla="*/ 621 h 740"/>
                  <a:gd name="T94" fmla="*/ 408 w 630"/>
                  <a:gd name="T95" fmla="*/ 623 h 740"/>
                  <a:gd name="T96" fmla="*/ 386 w 630"/>
                  <a:gd name="T97" fmla="*/ 616 h 740"/>
                  <a:gd name="T98" fmla="*/ 363 w 630"/>
                  <a:gd name="T99" fmla="*/ 623 h 740"/>
                  <a:gd name="T100" fmla="*/ 307 w 630"/>
                  <a:gd name="T101" fmla="*/ 627 h 740"/>
                  <a:gd name="T102" fmla="*/ 293 w 630"/>
                  <a:gd name="T103" fmla="*/ 642 h 740"/>
                  <a:gd name="T104" fmla="*/ 272 w 630"/>
                  <a:gd name="T105" fmla="*/ 637 h 740"/>
                  <a:gd name="T106" fmla="*/ 250 w 630"/>
                  <a:gd name="T107" fmla="*/ 635 h 740"/>
                  <a:gd name="T108" fmla="*/ 231 w 630"/>
                  <a:gd name="T109" fmla="*/ 648 h 740"/>
                  <a:gd name="T110" fmla="*/ 218 w 630"/>
                  <a:gd name="T111" fmla="*/ 670 h 740"/>
                  <a:gd name="T112" fmla="*/ 210 w 630"/>
                  <a:gd name="T113" fmla="*/ 689 h 740"/>
                  <a:gd name="T114" fmla="*/ 223 w 630"/>
                  <a:gd name="T115" fmla="*/ 704 h 740"/>
                  <a:gd name="T116" fmla="*/ 236 w 630"/>
                  <a:gd name="T117" fmla="*/ 723 h 740"/>
                  <a:gd name="T118" fmla="*/ 236 w 630"/>
                  <a:gd name="T119" fmla="*/ 74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0" h="740">
                    <a:moveTo>
                      <a:pt x="0" y="0"/>
                    </a:moveTo>
                    <a:lnTo>
                      <a:pt x="1" y="0"/>
                    </a:lnTo>
                    <a:lnTo>
                      <a:pt x="3" y="0"/>
                    </a:lnTo>
                    <a:lnTo>
                      <a:pt x="5" y="2"/>
                    </a:lnTo>
                    <a:lnTo>
                      <a:pt x="6" y="2"/>
                    </a:lnTo>
                    <a:lnTo>
                      <a:pt x="6" y="3"/>
                    </a:lnTo>
                    <a:lnTo>
                      <a:pt x="8" y="3"/>
                    </a:lnTo>
                    <a:lnTo>
                      <a:pt x="8" y="5"/>
                    </a:lnTo>
                    <a:lnTo>
                      <a:pt x="9" y="5"/>
                    </a:lnTo>
                    <a:lnTo>
                      <a:pt x="9" y="7"/>
                    </a:lnTo>
                    <a:lnTo>
                      <a:pt x="11" y="7"/>
                    </a:lnTo>
                    <a:lnTo>
                      <a:pt x="12" y="7"/>
                    </a:lnTo>
                    <a:lnTo>
                      <a:pt x="12" y="8"/>
                    </a:lnTo>
                    <a:lnTo>
                      <a:pt x="14" y="10"/>
                    </a:lnTo>
                    <a:lnTo>
                      <a:pt x="16" y="11"/>
                    </a:lnTo>
                    <a:lnTo>
                      <a:pt x="17" y="11"/>
                    </a:lnTo>
                    <a:lnTo>
                      <a:pt x="19" y="11"/>
                    </a:lnTo>
                    <a:lnTo>
                      <a:pt x="19" y="13"/>
                    </a:lnTo>
                    <a:lnTo>
                      <a:pt x="20" y="13"/>
                    </a:lnTo>
                    <a:lnTo>
                      <a:pt x="22" y="13"/>
                    </a:lnTo>
                    <a:lnTo>
                      <a:pt x="24" y="13"/>
                    </a:lnTo>
                    <a:lnTo>
                      <a:pt x="25" y="13"/>
                    </a:lnTo>
                    <a:lnTo>
                      <a:pt x="27" y="13"/>
                    </a:lnTo>
                    <a:lnTo>
                      <a:pt x="28" y="13"/>
                    </a:lnTo>
                    <a:lnTo>
                      <a:pt x="28" y="14"/>
                    </a:lnTo>
                    <a:lnTo>
                      <a:pt x="30" y="14"/>
                    </a:lnTo>
                    <a:lnTo>
                      <a:pt x="31" y="14"/>
                    </a:lnTo>
                    <a:lnTo>
                      <a:pt x="31" y="13"/>
                    </a:lnTo>
                    <a:lnTo>
                      <a:pt x="33" y="13"/>
                    </a:lnTo>
                    <a:lnTo>
                      <a:pt x="35" y="13"/>
                    </a:lnTo>
                    <a:lnTo>
                      <a:pt x="36" y="11"/>
                    </a:lnTo>
                    <a:lnTo>
                      <a:pt x="38" y="11"/>
                    </a:lnTo>
                    <a:lnTo>
                      <a:pt x="39" y="11"/>
                    </a:lnTo>
                    <a:lnTo>
                      <a:pt x="41" y="11"/>
                    </a:lnTo>
                    <a:lnTo>
                      <a:pt x="43" y="10"/>
                    </a:lnTo>
                    <a:lnTo>
                      <a:pt x="44" y="10"/>
                    </a:lnTo>
                    <a:lnTo>
                      <a:pt x="46" y="10"/>
                    </a:lnTo>
                    <a:lnTo>
                      <a:pt x="47" y="10"/>
                    </a:lnTo>
                    <a:lnTo>
                      <a:pt x="49" y="11"/>
                    </a:lnTo>
                    <a:lnTo>
                      <a:pt x="50" y="11"/>
                    </a:lnTo>
                    <a:lnTo>
                      <a:pt x="52" y="11"/>
                    </a:lnTo>
                    <a:lnTo>
                      <a:pt x="54" y="10"/>
                    </a:lnTo>
                    <a:lnTo>
                      <a:pt x="55" y="10"/>
                    </a:lnTo>
                    <a:lnTo>
                      <a:pt x="55" y="11"/>
                    </a:lnTo>
                    <a:lnTo>
                      <a:pt x="57" y="11"/>
                    </a:lnTo>
                    <a:lnTo>
                      <a:pt x="58" y="11"/>
                    </a:lnTo>
                    <a:lnTo>
                      <a:pt x="58" y="13"/>
                    </a:lnTo>
                    <a:lnTo>
                      <a:pt x="60" y="13"/>
                    </a:lnTo>
                    <a:lnTo>
                      <a:pt x="62" y="13"/>
                    </a:lnTo>
                    <a:lnTo>
                      <a:pt x="63" y="11"/>
                    </a:lnTo>
                    <a:lnTo>
                      <a:pt x="63" y="13"/>
                    </a:lnTo>
                    <a:lnTo>
                      <a:pt x="65" y="13"/>
                    </a:lnTo>
                    <a:lnTo>
                      <a:pt x="66" y="13"/>
                    </a:lnTo>
                    <a:lnTo>
                      <a:pt x="66" y="14"/>
                    </a:lnTo>
                    <a:lnTo>
                      <a:pt x="68" y="14"/>
                    </a:lnTo>
                    <a:lnTo>
                      <a:pt x="69" y="14"/>
                    </a:lnTo>
                    <a:lnTo>
                      <a:pt x="71" y="14"/>
                    </a:lnTo>
                    <a:lnTo>
                      <a:pt x="73" y="14"/>
                    </a:lnTo>
                    <a:lnTo>
                      <a:pt x="74" y="14"/>
                    </a:lnTo>
                    <a:lnTo>
                      <a:pt x="74" y="13"/>
                    </a:lnTo>
                    <a:lnTo>
                      <a:pt x="76" y="11"/>
                    </a:lnTo>
                    <a:lnTo>
                      <a:pt x="77" y="11"/>
                    </a:lnTo>
                    <a:lnTo>
                      <a:pt x="79" y="11"/>
                    </a:lnTo>
                    <a:lnTo>
                      <a:pt x="81" y="11"/>
                    </a:lnTo>
                    <a:lnTo>
                      <a:pt x="82" y="11"/>
                    </a:lnTo>
                    <a:lnTo>
                      <a:pt x="84" y="11"/>
                    </a:lnTo>
                    <a:lnTo>
                      <a:pt x="85" y="11"/>
                    </a:lnTo>
                    <a:lnTo>
                      <a:pt x="87" y="11"/>
                    </a:lnTo>
                    <a:lnTo>
                      <a:pt x="88" y="11"/>
                    </a:lnTo>
                    <a:lnTo>
                      <a:pt x="88" y="13"/>
                    </a:lnTo>
                    <a:lnTo>
                      <a:pt x="90" y="13"/>
                    </a:lnTo>
                    <a:lnTo>
                      <a:pt x="90" y="14"/>
                    </a:lnTo>
                    <a:lnTo>
                      <a:pt x="92" y="14"/>
                    </a:lnTo>
                    <a:lnTo>
                      <a:pt x="93" y="13"/>
                    </a:lnTo>
                    <a:lnTo>
                      <a:pt x="95" y="13"/>
                    </a:lnTo>
                    <a:lnTo>
                      <a:pt x="96" y="11"/>
                    </a:lnTo>
                    <a:lnTo>
                      <a:pt x="96" y="10"/>
                    </a:lnTo>
                    <a:lnTo>
                      <a:pt x="98" y="10"/>
                    </a:lnTo>
                    <a:lnTo>
                      <a:pt x="100" y="10"/>
                    </a:lnTo>
                    <a:lnTo>
                      <a:pt x="100" y="8"/>
                    </a:lnTo>
                    <a:lnTo>
                      <a:pt x="101" y="10"/>
                    </a:lnTo>
                    <a:lnTo>
                      <a:pt x="103" y="10"/>
                    </a:lnTo>
                    <a:lnTo>
                      <a:pt x="104" y="10"/>
                    </a:lnTo>
                    <a:lnTo>
                      <a:pt x="106" y="10"/>
                    </a:lnTo>
                    <a:lnTo>
                      <a:pt x="107" y="10"/>
                    </a:lnTo>
                    <a:lnTo>
                      <a:pt x="109" y="10"/>
                    </a:lnTo>
                    <a:lnTo>
                      <a:pt x="111" y="10"/>
                    </a:lnTo>
                    <a:lnTo>
                      <a:pt x="112" y="10"/>
                    </a:lnTo>
                    <a:lnTo>
                      <a:pt x="114" y="11"/>
                    </a:lnTo>
                    <a:lnTo>
                      <a:pt x="115" y="11"/>
                    </a:lnTo>
                    <a:lnTo>
                      <a:pt x="117" y="11"/>
                    </a:lnTo>
                    <a:lnTo>
                      <a:pt x="117" y="13"/>
                    </a:lnTo>
                    <a:lnTo>
                      <a:pt x="119" y="13"/>
                    </a:lnTo>
                    <a:lnTo>
                      <a:pt x="120" y="13"/>
                    </a:lnTo>
                    <a:lnTo>
                      <a:pt x="122" y="13"/>
                    </a:lnTo>
                    <a:lnTo>
                      <a:pt x="122" y="14"/>
                    </a:lnTo>
                    <a:lnTo>
                      <a:pt x="123" y="14"/>
                    </a:lnTo>
                    <a:lnTo>
                      <a:pt x="123" y="16"/>
                    </a:lnTo>
                    <a:lnTo>
                      <a:pt x="123" y="18"/>
                    </a:lnTo>
                    <a:lnTo>
                      <a:pt x="125" y="19"/>
                    </a:lnTo>
                    <a:lnTo>
                      <a:pt x="125" y="21"/>
                    </a:lnTo>
                    <a:lnTo>
                      <a:pt x="126" y="21"/>
                    </a:lnTo>
                    <a:lnTo>
                      <a:pt x="126" y="22"/>
                    </a:lnTo>
                    <a:lnTo>
                      <a:pt x="126" y="24"/>
                    </a:lnTo>
                    <a:lnTo>
                      <a:pt x="126" y="26"/>
                    </a:lnTo>
                    <a:lnTo>
                      <a:pt x="128" y="27"/>
                    </a:lnTo>
                    <a:lnTo>
                      <a:pt x="128" y="29"/>
                    </a:lnTo>
                    <a:lnTo>
                      <a:pt x="130" y="29"/>
                    </a:lnTo>
                    <a:lnTo>
                      <a:pt x="130" y="30"/>
                    </a:lnTo>
                    <a:lnTo>
                      <a:pt x="131" y="32"/>
                    </a:lnTo>
                    <a:lnTo>
                      <a:pt x="131" y="33"/>
                    </a:lnTo>
                    <a:lnTo>
                      <a:pt x="133" y="33"/>
                    </a:lnTo>
                    <a:lnTo>
                      <a:pt x="134" y="35"/>
                    </a:lnTo>
                    <a:lnTo>
                      <a:pt x="134" y="37"/>
                    </a:lnTo>
                    <a:lnTo>
                      <a:pt x="133" y="38"/>
                    </a:lnTo>
                    <a:lnTo>
                      <a:pt x="133" y="40"/>
                    </a:lnTo>
                    <a:lnTo>
                      <a:pt x="133" y="41"/>
                    </a:lnTo>
                    <a:lnTo>
                      <a:pt x="131" y="43"/>
                    </a:lnTo>
                    <a:lnTo>
                      <a:pt x="131" y="45"/>
                    </a:lnTo>
                    <a:lnTo>
                      <a:pt x="131" y="46"/>
                    </a:lnTo>
                    <a:lnTo>
                      <a:pt x="133" y="48"/>
                    </a:lnTo>
                    <a:lnTo>
                      <a:pt x="133" y="49"/>
                    </a:lnTo>
                    <a:lnTo>
                      <a:pt x="133" y="51"/>
                    </a:lnTo>
                    <a:lnTo>
                      <a:pt x="133" y="52"/>
                    </a:lnTo>
                    <a:lnTo>
                      <a:pt x="134" y="54"/>
                    </a:lnTo>
                    <a:lnTo>
                      <a:pt x="134" y="56"/>
                    </a:lnTo>
                    <a:lnTo>
                      <a:pt x="136" y="56"/>
                    </a:lnTo>
                    <a:lnTo>
                      <a:pt x="136" y="57"/>
                    </a:lnTo>
                    <a:lnTo>
                      <a:pt x="136" y="59"/>
                    </a:lnTo>
                    <a:lnTo>
                      <a:pt x="136" y="60"/>
                    </a:lnTo>
                    <a:lnTo>
                      <a:pt x="136" y="62"/>
                    </a:lnTo>
                    <a:lnTo>
                      <a:pt x="136" y="64"/>
                    </a:lnTo>
                    <a:lnTo>
                      <a:pt x="138" y="64"/>
                    </a:lnTo>
                    <a:lnTo>
                      <a:pt x="138" y="65"/>
                    </a:lnTo>
                    <a:lnTo>
                      <a:pt x="136" y="65"/>
                    </a:lnTo>
                    <a:lnTo>
                      <a:pt x="136" y="67"/>
                    </a:lnTo>
                    <a:lnTo>
                      <a:pt x="138" y="67"/>
                    </a:lnTo>
                    <a:lnTo>
                      <a:pt x="138" y="68"/>
                    </a:lnTo>
                    <a:lnTo>
                      <a:pt x="138" y="70"/>
                    </a:lnTo>
                    <a:lnTo>
                      <a:pt x="139" y="71"/>
                    </a:lnTo>
                    <a:lnTo>
                      <a:pt x="141" y="73"/>
                    </a:lnTo>
                    <a:lnTo>
                      <a:pt x="142" y="75"/>
                    </a:lnTo>
                    <a:lnTo>
                      <a:pt x="142" y="76"/>
                    </a:lnTo>
                    <a:lnTo>
                      <a:pt x="144" y="78"/>
                    </a:lnTo>
                    <a:lnTo>
                      <a:pt x="145" y="78"/>
                    </a:lnTo>
                    <a:lnTo>
                      <a:pt x="147" y="79"/>
                    </a:lnTo>
                    <a:lnTo>
                      <a:pt x="149" y="79"/>
                    </a:lnTo>
                    <a:lnTo>
                      <a:pt x="149" y="81"/>
                    </a:lnTo>
                    <a:lnTo>
                      <a:pt x="150" y="81"/>
                    </a:lnTo>
                    <a:lnTo>
                      <a:pt x="152" y="83"/>
                    </a:lnTo>
                    <a:lnTo>
                      <a:pt x="153" y="83"/>
                    </a:lnTo>
                    <a:lnTo>
                      <a:pt x="155" y="83"/>
                    </a:lnTo>
                    <a:lnTo>
                      <a:pt x="157" y="83"/>
                    </a:lnTo>
                    <a:lnTo>
                      <a:pt x="158" y="81"/>
                    </a:lnTo>
                    <a:lnTo>
                      <a:pt x="160" y="81"/>
                    </a:lnTo>
                    <a:lnTo>
                      <a:pt x="160" y="83"/>
                    </a:lnTo>
                    <a:lnTo>
                      <a:pt x="161" y="83"/>
                    </a:lnTo>
                    <a:lnTo>
                      <a:pt x="163" y="83"/>
                    </a:lnTo>
                    <a:lnTo>
                      <a:pt x="163" y="84"/>
                    </a:lnTo>
                    <a:lnTo>
                      <a:pt x="165" y="84"/>
                    </a:lnTo>
                    <a:lnTo>
                      <a:pt x="165" y="86"/>
                    </a:lnTo>
                    <a:lnTo>
                      <a:pt x="166" y="87"/>
                    </a:lnTo>
                    <a:lnTo>
                      <a:pt x="166" y="89"/>
                    </a:lnTo>
                    <a:lnTo>
                      <a:pt x="168" y="89"/>
                    </a:lnTo>
                    <a:lnTo>
                      <a:pt x="168" y="91"/>
                    </a:lnTo>
                    <a:lnTo>
                      <a:pt x="168" y="92"/>
                    </a:lnTo>
                    <a:lnTo>
                      <a:pt x="169" y="92"/>
                    </a:lnTo>
                    <a:lnTo>
                      <a:pt x="169" y="94"/>
                    </a:lnTo>
                    <a:lnTo>
                      <a:pt x="171" y="94"/>
                    </a:lnTo>
                    <a:lnTo>
                      <a:pt x="171" y="95"/>
                    </a:lnTo>
                    <a:lnTo>
                      <a:pt x="172" y="97"/>
                    </a:lnTo>
                    <a:lnTo>
                      <a:pt x="172" y="98"/>
                    </a:lnTo>
                    <a:lnTo>
                      <a:pt x="174" y="98"/>
                    </a:lnTo>
                    <a:lnTo>
                      <a:pt x="174" y="100"/>
                    </a:lnTo>
                    <a:lnTo>
                      <a:pt x="174" y="102"/>
                    </a:lnTo>
                    <a:lnTo>
                      <a:pt x="174" y="103"/>
                    </a:lnTo>
                    <a:lnTo>
                      <a:pt x="174" y="105"/>
                    </a:lnTo>
                    <a:lnTo>
                      <a:pt x="176" y="105"/>
                    </a:lnTo>
                    <a:lnTo>
                      <a:pt x="176" y="106"/>
                    </a:lnTo>
                    <a:lnTo>
                      <a:pt x="177" y="108"/>
                    </a:lnTo>
                    <a:lnTo>
                      <a:pt x="177" y="110"/>
                    </a:lnTo>
                    <a:lnTo>
                      <a:pt x="179" y="110"/>
                    </a:lnTo>
                    <a:lnTo>
                      <a:pt x="180" y="110"/>
                    </a:lnTo>
                    <a:lnTo>
                      <a:pt x="180" y="111"/>
                    </a:lnTo>
                    <a:lnTo>
                      <a:pt x="182" y="111"/>
                    </a:lnTo>
                    <a:lnTo>
                      <a:pt x="182" y="113"/>
                    </a:lnTo>
                    <a:lnTo>
                      <a:pt x="184" y="113"/>
                    </a:lnTo>
                    <a:lnTo>
                      <a:pt x="184" y="114"/>
                    </a:lnTo>
                    <a:lnTo>
                      <a:pt x="185" y="114"/>
                    </a:lnTo>
                    <a:lnTo>
                      <a:pt x="185" y="116"/>
                    </a:lnTo>
                    <a:lnTo>
                      <a:pt x="187" y="117"/>
                    </a:lnTo>
                    <a:lnTo>
                      <a:pt x="187" y="119"/>
                    </a:lnTo>
                    <a:lnTo>
                      <a:pt x="188" y="121"/>
                    </a:lnTo>
                    <a:lnTo>
                      <a:pt x="190" y="121"/>
                    </a:lnTo>
                    <a:lnTo>
                      <a:pt x="191" y="122"/>
                    </a:lnTo>
                    <a:lnTo>
                      <a:pt x="193" y="122"/>
                    </a:lnTo>
                    <a:lnTo>
                      <a:pt x="195" y="122"/>
                    </a:lnTo>
                    <a:lnTo>
                      <a:pt x="195" y="124"/>
                    </a:lnTo>
                    <a:lnTo>
                      <a:pt x="196" y="124"/>
                    </a:lnTo>
                    <a:lnTo>
                      <a:pt x="198" y="124"/>
                    </a:lnTo>
                    <a:lnTo>
                      <a:pt x="199" y="125"/>
                    </a:lnTo>
                    <a:lnTo>
                      <a:pt x="201" y="125"/>
                    </a:lnTo>
                    <a:lnTo>
                      <a:pt x="203" y="125"/>
                    </a:lnTo>
                    <a:lnTo>
                      <a:pt x="204" y="125"/>
                    </a:lnTo>
                    <a:lnTo>
                      <a:pt x="206" y="125"/>
                    </a:lnTo>
                    <a:lnTo>
                      <a:pt x="206" y="127"/>
                    </a:lnTo>
                    <a:lnTo>
                      <a:pt x="207" y="127"/>
                    </a:lnTo>
                    <a:lnTo>
                      <a:pt x="209" y="127"/>
                    </a:lnTo>
                    <a:lnTo>
                      <a:pt x="210" y="127"/>
                    </a:lnTo>
                    <a:lnTo>
                      <a:pt x="210" y="129"/>
                    </a:lnTo>
                    <a:lnTo>
                      <a:pt x="210" y="130"/>
                    </a:lnTo>
                    <a:lnTo>
                      <a:pt x="210" y="132"/>
                    </a:lnTo>
                    <a:lnTo>
                      <a:pt x="210" y="133"/>
                    </a:lnTo>
                    <a:lnTo>
                      <a:pt x="212" y="133"/>
                    </a:lnTo>
                    <a:lnTo>
                      <a:pt x="212" y="135"/>
                    </a:lnTo>
                    <a:lnTo>
                      <a:pt x="214" y="136"/>
                    </a:lnTo>
                    <a:lnTo>
                      <a:pt x="214" y="138"/>
                    </a:lnTo>
                    <a:lnTo>
                      <a:pt x="214" y="140"/>
                    </a:lnTo>
                    <a:lnTo>
                      <a:pt x="212" y="140"/>
                    </a:lnTo>
                    <a:lnTo>
                      <a:pt x="212" y="141"/>
                    </a:lnTo>
                    <a:lnTo>
                      <a:pt x="212" y="143"/>
                    </a:lnTo>
                    <a:lnTo>
                      <a:pt x="214" y="143"/>
                    </a:lnTo>
                    <a:lnTo>
                      <a:pt x="214" y="144"/>
                    </a:lnTo>
                    <a:lnTo>
                      <a:pt x="214" y="146"/>
                    </a:lnTo>
                    <a:lnTo>
                      <a:pt x="215" y="146"/>
                    </a:lnTo>
                    <a:lnTo>
                      <a:pt x="215" y="148"/>
                    </a:lnTo>
                    <a:lnTo>
                      <a:pt x="215" y="149"/>
                    </a:lnTo>
                    <a:lnTo>
                      <a:pt x="215" y="151"/>
                    </a:lnTo>
                    <a:lnTo>
                      <a:pt x="217" y="152"/>
                    </a:lnTo>
                    <a:lnTo>
                      <a:pt x="217" y="154"/>
                    </a:lnTo>
                    <a:lnTo>
                      <a:pt x="217" y="155"/>
                    </a:lnTo>
                    <a:lnTo>
                      <a:pt x="218" y="155"/>
                    </a:lnTo>
                    <a:lnTo>
                      <a:pt x="218" y="157"/>
                    </a:lnTo>
                    <a:lnTo>
                      <a:pt x="218" y="159"/>
                    </a:lnTo>
                    <a:lnTo>
                      <a:pt x="220" y="159"/>
                    </a:lnTo>
                    <a:lnTo>
                      <a:pt x="220" y="160"/>
                    </a:lnTo>
                    <a:lnTo>
                      <a:pt x="220" y="162"/>
                    </a:lnTo>
                    <a:lnTo>
                      <a:pt x="220" y="163"/>
                    </a:lnTo>
                    <a:lnTo>
                      <a:pt x="218" y="165"/>
                    </a:lnTo>
                    <a:lnTo>
                      <a:pt x="218" y="167"/>
                    </a:lnTo>
                    <a:lnTo>
                      <a:pt x="218" y="168"/>
                    </a:lnTo>
                    <a:lnTo>
                      <a:pt x="218" y="170"/>
                    </a:lnTo>
                    <a:lnTo>
                      <a:pt x="218" y="171"/>
                    </a:lnTo>
                    <a:lnTo>
                      <a:pt x="220" y="171"/>
                    </a:lnTo>
                    <a:lnTo>
                      <a:pt x="220" y="173"/>
                    </a:lnTo>
                    <a:lnTo>
                      <a:pt x="222" y="173"/>
                    </a:lnTo>
                    <a:lnTo>
                      <a:pt x="223" y="173"/>
                    </a:lnTo>
                    <a:lnTo>
                      <a:pt x="225" y="173"/>
                    </a:lnTo>
                    <a:lnTo>
                      <a:pt x="226" y="173"/>
                    </a:lnTo>
                    <a:lnTo>
                      <a:pt x="228" y="173"/>
                    </a:lnTo>
                    <a:lnTo>
                      <a:pt x="229" y="173"/>
                    </a:lnTo>
                    <a:lnTo>
                      <a:pt x="231" y="173"/>
                    </a:lnTo>
                    <a:lnTo>
                      <a:pt x="233" y="174"/>
                    </a:lnTo>
                    <a:lnTo>
                      <a:pt x="234" y="174"/>
                    </a:lnTo>
                    <a:lnTo>
                      <a:pt x="236" y="174"/>
                    </a:lnTo>
                    <a:lnTo>
                      <a:pt x="236" y="176"/>
                    </a:lnTo>
                    <a:lnTo>
                      <a:pt x="237" y="176"/>
                    </a:lnTo>
                    <a:lnTo>
                      <a:pt x="239" y="178"/>
                    </a:lnTo>
                    <a:lnTo>
                      <a:pt x="241" y="178"/>
                    </a:lnTo>
                    <a:lnTo>
                      <a:pt x="242" y="179"/>
                    </a:lnTo>
                    <a:lnTo>
                      <a:pt x="244" y="181"/>
                    </a:lnTo>
                    <a:lnTo>
                      <a:pt x="245" y="181"/>
                    </a:lnTo>
                    <a:lnTo>
                      <a:pt x="245" y="182"/>
                    </a:lnTo>
                    <a:lnTo>
                      <a:pt x="247" y="184"/>
                    </a:lnTo>
                    <a:lnTo>
                      <a:pt x="248" y="186"/>
                    </a:lnTo>
                    <a:lnTo>
                      <a:pt x="250" y="186"/>
                    </a:lnTo>
                    <a:lnTo>
                      <a:pt x="250" y="187"/>
                    </a:lnTo>
                    <a:lnTo>
                      <a:pt x="252" y="187"/>
                    </a:lnTo>
                    <a:lnTo>
                      <a:pt x="253" y="187"/>
                    </a:lnTo>
                    <a:lnTo>
                      <a:pt x="253" y="189"/>
                    </a:lnTo>
                    <a:lnTo>
                      <a:pt x="255" y="189"/>
                    </a:lnTo>
                    <a:lnTo>
                      <a:pt x="256" y="190"/>
                    </a:lnTo>
                    <a:lnTo>
                      <a:pt x="258" y="190"/>
                    </a:lnTo>
                    <a:lnTo>
                      <a:pt x="260" y="190"/>
                    </a:lnTo>
                    <a:lnTo>
                      <a:pt x="260" y="192"/>
                    </a:lnTo>
                    <a:lnTo>
                      <a:pt x="261" y="192"/>
                    </a:lnTo>
                    <a:lnTo>
                      <a:pt x="261" y="193"/>
                    </a:lnTo>
                    <a:lnTo>
                      <a:pt x="263" y="193"/>
                    </a:lnTo>
                    <a:lnTo>
                      <a:pt x="264" y="195"/>
                    </a:lnTo>
                    <a:lnTo>
                      <a:pt x="266" y="195"/>
                    </a:lnTo>
                    <a:lnTo>
                      <a:pt x="267" y="197"/>
                    </a:lnTo>
                    <a:lnTo>
                      <a:pt x="269" y="197"/>
                    </a:lnTo>
                    <a:lnTo>
                      <a:pt x="271" y="197"/>
                    </a:lnTo>
                    <a:lnTo>
                      <a:pt x="272" y="197"/>
                    </a:lnTo>
                    <a:lnTo>
                      <a:pt x="274" y="197"/>
                    </a:lnTo>
                    <a:lnTo>
                      <a:pt x="274" y="198"/>
                    </a:lnTo>
                    <a:lnTo>
                      <a:pt x="274" y="200"/>
                    </a:lnTo>
                    <a:lnTo>
                      <a:pt x="274" y="201"/>
                    </a:lnTo>
                    <a:lnTo>
                      <a:pt x="274" y="203"/>
                    </a:lnTo>
                    <a:lnTo>
                      <a:pt x="272" y="203"/>
                    </a:lnTo>
                    <a:lnTo>
                      <a:pt x="272" y="205"/>
                    </a:lnTo>
                    <a:lnTo>
                      <a:pt x="272" y="206"/>
                    </a:lnTo>
                    <a:lnTo>
                      <a:pt x="271" y="206"/>
                    </a:lnTo>
                    <a:lnTo>
                      <a:pt x="271" y="208"/>
                    </a:lnTo>
                    <a:lnTo>
                      <a:pt x="271" y="209"/>
                    </a:lnTo>
                    <a:lnTo>
                      <a:pt x="271" y="211"/>
                    </a:lnTo>
                    <a:lnTo>
                      <a:pt x="271" y="212"/>
                    </a:lnTo>
                    <a:lnTo>
                      <a:pt x="269" y="212"/>
                    </a:lnTo>
                    <a:lnTo>
                      <a:pt x="269" y="214"/>
                    </a:lnTo>
                    <a:lnTo>
                      <a:pt x="267" y="214"/>
                    </a:lnTo>
                    <a:lnTo>
                      <a:pt x="266" y="214"/>
                    </a:lnTo>
                    <a:lnTo>
                      <a:pt x="264" y="216"/>
                    </a:lnTo>
                    <a:lnTo>
                      <a:pt x="264" y="217"/>
                    </a:lnTo>
                    <a:lnTo>
                      <a:pt x="263" y="217"/>
                    </a:lnTo>
                    <a:lnTo>
                      <a:pt x="263" y="219"/>
                    </a:lnTo>
                    <a:lnTo>
                      <a:pt x="261" y="220"/>
                    </a:lnTo>
                    <a:lnTo>
                      <a:pt x="261" y="222"/>
                    </a:lnTo>
                    <a:lnTo>
                      <a:pt x="260" y="224"/>
                    </a:lnTo>
                    <a:lnTo>
                      <a:pt x="260" y="225"/>
                    </a:lnTo>
                    <a:lnTo>
                      <a:pt x="260" y="227"/>
                    </a:lnTo>
                    <a:lnTo>
                      <a:pt x="258" y="228"/>
                    </a:lnTo>
                    <a:lnTo>
                      <a:pt x="258" y="230"/>
                    </a:lnTo>
                    <a:lnTo>
                      <a:pt x="258" y="231"/>
                    </a:lnTo>
                    <a:lnTo>
                      <a:pt x="256" y="233"/>
                    </a:lnTo>
                    <a:lnTo>
                      <a:pt x="256" y="235"/>
                    </a:lnTo>
                    <a:lnTo>
                      <a:pt x="255" y="236"/>
                    </a:lnTo>
                    <a:lnTo>
                      <a:pt x="255" y="238"/>
                    </a:lnTo>
                    <a:lnTo>
                      <a:pt x="253" y="238"/>
                    </a:lnTo>
                    <a:lnTo>
                      <a:pt x="252" y="239"/>
                    </a:lnTo>
                    <a:lnTo>
                      <a:pt x="252" y="241"/>
                    </a:lnTo>
                    <a:lnTo>
                      <a:pt x="252" y="243"/>
                    </a:lnTo>
                    <a:lnTo>
                      <a:pt x="250" y="243"/>
                    </a:lnTo>
                    <a:lnTo>
                      <a:pt x="250" y="244"/>
                    </a:lnTo>
                    <a:lnTo>
                      <a:pt x="250" y="246"/>
                    </a:lnTo>
                    <a:lnTo>
                      <a:pt x="250" y="247"/>
                    </a:lnTo>
                    <a:lnTo>
                      <a:pt x="248" y="247"/>
                    </a:lnTo>
                    <a:lnTo>
                      <a:pt x="248" y="249"/>
                    </a:lnTo>
                    <a:lnTo>
                      <a:pt x="247" y="250"/>
                    </a:lnTo>
                    <a:lnTo>
                      <a:pt x="245" y="252"/>
                    </a:lnTo>
                    <a:lnTo>
                      <a:pt x="245" y="254"/>
                    </a:lnTo>
                    <a:lnTo>
                      <a:pt x="244" y="254"/>
                    </a:lnTo>
                    <a:lnTo>
                      <a:pt x="244" y="255"/>
                    </a:lnTo>
                    <a:lnTo>
                      <a:pt x="244" y="257"/>
                    </a:lnTo>
                    <a:lnTo>
                      <a:pt x="242" y="257"/>
                    </a:lnTo>
                    <a:lnTo>
                      <a:pt x="242" y="258"/>
                    </a:lnTo>
                    <a:lnTo>
                      <a:pt x="241" y="260"/>
                    </a:lnTo>
                    <a:lnTo>
                      <a:pt x="239" y="262"/>
                    </a:lnTo>
                    <a:lnTo>
                      <a:pt x="237" y="263"/>
                    </a:lnTo>
                    <a:lnTo>
                      <a:pt x="236" y="263"/>
                    </a:lnTo>
                    <a:lnTo>
                      <a:pt x="236" y="265"/>
                    </a:lnTo>
                    <a:lnTo>
                      <a:pt x="234" y="265"/>
                    </a:lnTo>
                    <a:lnTo>
                      <a:pt x="234" y="266"/>
                    </a:lnTo>
                    <a:lnTo>
                      <a:pt x="234" y="268"/>
                    </a:lnTo>
                    <a:lnTo>
                      <a:pt x="234" y="270"/>
                    </a:lnTo>
                    <a:lnTo>
                      <a:pt x="233" y="270"/>
                    </a:lnTo>
                    <a:lnTo>
                      <a:pt x="233" y="271"/>
                    </a:lnTo>
                    <a:lnTo>
                      <a:pt x="228" y="290"/>
                    </a:lnTo>
                    <a:lnTo>
                      <a:pt x="228" y="292"/>
                    </a:lnTo>
                    <a:lnTo>
                      <a:pt x="228" y="293"/>
                    </a:lnTo>
                    <a:lnTo>
                      <a:pt x="226" y="296"/>
                    </a:lnTo>
                    <a:lnTo>
                      <a:pt x="226" y="301"/>
                    </a:lnTo>
                    <a:lnTo>
                      <a:pt x="233" y="301"/>
                    </a:lnTo>
                    <a:lnTo>
                      <a:pt x="248" y="300"/>
                    </a:lnTo>
                    <a:lnTo>
                      <a:pt x="260" y="300"/>
                    </a:lnTo>
                    <a:lnTo>
                      <a:pt x="272" y="300"/>
                    </a:lnTo>
                    <a:lnTo>
                      <a:pt x="285" y="300"/>
                    </a:lnTo>
                    <a:lnTo>
                      <a:pt x="286" y="298"/>
                    </a:lnTo>
                    <a:lnTo>
                      <a:pt x="286" y="300"/>
                    </a:lnTo>
                    <a:lnTo>
                      <a:pt x="288" y="300"/>
                    </a:lnTo>
                    <a:lnTo>
                      <a:pt x="290" y="300"/>
                    </a:lnTo>
                    <a:lnTo>
                      <a:pt x="291" y="300"/>
                    </a:lnTo>
                    <a:lnTo>
                      <a:pt x="293" y="300"/>
                    </a:lnTo>
                    <a:lnTo>
                      <a:pt x="294" y="300"/>
                    </a:lnTo>
                    <a:lnTo>
                      <a:pt x="294" y="298"/>
                    </a:lnTo>
                    <a:lnTo>
                      <a:pt x="296" y="298"/>
                    </a:lnTo>
                    <a:lnTo>
                      <a:pt x="298" y="298"/>
                    </a:lnTo>
                    <a:lnTo>
                      <a:pt x="299" y="298"/>
                    </a:lnTo>
                    <a:lnTo>
                      <a:pt x="301" y="298"/>
                    </a:lnTo>
                    <a:lnTo>
                      <a:pt x="302" y="298"/>
                    </a:lnTo>
                    <a:lnTo>
                      <a:pt x="304" y="298"/>
                    </a:lnTo>
                    <a:lnTo>
                      <a:pt x="305" y="296"/>
                    </a:lnTo>
                    <a:lnTo>
                      <a:pt x="307" y="296"/>
                    </a:lnTo>
                    <a:lnTo>
                      <a:pt x="309" y="296"/>
                    </a:lnTo>
                    <a:lnTo>
                      <a:pt x="310" y="296"/>
                    </a:lnTo>
                    <a:lnTo>
                      <a:pt x="312" y="296"/>
                    </a:lnTo>
                    <a:lnTo>
                      <a:pt x="313" y="296"/>
                    </a:lnTo>
                    <a:lnTo>
                      <a:pt x="315" y="296"/>
                    </a:lnTo>
                    <a:lnTo>
                      <a:pt x="317" y="295"/>
                    </a:lnTo>
                    <a:lnTo>
                      <a:pt x="318" y="295"/>
                    </a:lnTo>
                    <a:lnTo>
                      <a:pt x="320" y="295"/>
                    </a:lnTo>
                    <a:lnTo>
                      <a:pt x="321" y="295"/>
                    </a:lnTo>
                    <a:lnTo>
                      <a:pt x="323" y="295"/>
                    </a:lnTo>
                    <a:lnTo>
                      <a:pt x="324" y="295"/>
                    </a:lnTo>
                    <a:lnTo>
                      <a:pt x="326" y="295"/>
                    </a:lnTo>
                    <a:lnTo>
                      <a:pt x="328" y="295"/>
                    </a:lnTo>
                    <a:lnTo>
                      <a:pt x="329" y="295"/>
                    </a:lnTo>
                    <a:lnTo>
                      <a:pt x="331" y="293"/>
                    </a:lnTo>
                    <a:lnTo>
                      <a:pt x="332" y="293"/>
                    </a:lnTo>
                    <a:lnTo>
                      <a:pt x="334" y="293"/>
                    </a:lnTo>
                    <a:lnTo>
                      <a:pt x="336" y="293"/>
                    </a:lnTo>
                    <a:lnTo>
                      <a:pt x="337" y="293"/>
                    </a:lnTo>
                    <a:lnTo>
                      <a:pt x="339" y="293"/>
                    </a:lnTo>
                    <a:lnTo>
                      <a:pt x="340" y="293"/>
                    </a:lnTo>
                    <a:lnTo>
                      <a:pt x="342" y="293"/>
                    </a:lnTo>
                    <a:lnTo>
                      <a:pt x="344" y="293"/>
                    </a:lnTo>
                    <a:lnTo>
                      <a:pt x="345" y="293"/>
                    </a:lnTo>
                    <a:lnTo>
                      <a:pt x="347" y="293"/>
                    </a:lnTo>
                    <a:lnTo>
                      <a:pt x="348" y="293"/>
                    </a:lnTo>
                    <a:lnTo>
                      <a:pt x="350" y="295"/>
                    </a:lnTo>
                    <a:lnTo>
                      <a:pt x="351" y="295"/>
                    </a:lnTo>
                    <a:lnTo>
                      <a:pt x="353" y="295"/>
                    </a:lnTo>
                    <a:lnTo>
                      <a:pt x="355" y="295"/>
                    </a:lnTo>
                    <a:lnTo>
                      <a:pt x="356" y="295"/>
                    </a:lnTo>
                    <a:lnTo>
                      <a:pt x="358" y="295"/>
                    </a:lnTo>
                    <a:lnTo>
                      <a:pt x="359" y="295"/>
                    </a:lnTo>
                    <a:lnTo>
                      <a:pt x="361" y="295"/>
                    </a:lnTo>
                    <a:lnTo>
                      <a:pt x="363" y="295"/>
                    </a:lnTo>
                    <a:lnTo>
                      <a:pt x="364" y="295"/>
                    </a:lnTo>
                    <a:lnTo>
                      <a:pt x="366" y="295"/>
                    </a:lnTo>
                    <a:lnTo>
                      <a:pt x="367" y="295"/>
                    </a:lnTo>
                    <a:lnTo>
                      <a:pt x="369" y="295"/>
                    </a:lnTo>
                    <a:lnTo>
                      <a:pt x="370" y="295"/>
                    </a:lnTo>
                    <a:lnTo>
                      <a:pt x="372" y="295"/>
                    </a:lnTo>
                    <a:lnTo>
                      <a:pt x="374" y="295"/>
                    </a:lnTo>
                    <a:lnTo>
                      <a:pt x="375" y="295"/>
                    </a:lnTo>
                    <a:lnTo>
                      <a:pt x="377" y="293"/>
                    </a:lnTo>
                    <a:lnTo>
                      <a:pt x="378" y="293"/>
                    </a:lnTo>
                    <a:lnTo>
                      <a:pt x="380" y="293"/>
                    </a:lnTo>
                    <a:lnTo>
                      <a:pt x="382" y="293"/>
                    </a:lnTo>
                    <a:lnTo>
                      <a:pt x="383" y="293"/>
                    </a:lnTo>
                    <a:lnTo>
                      <a:pt x="385" y="293"/>
                    </a:lnTo>
                    <a:lnTo>
                      <a:pt x="386" y="293"/>
                    </a:lnTo>
                    <a:lnTo>
                      <a:pt x="388" y="293"/>
                    </a:lnTo>
                    <a:lnTo>
                      <a:pt x="389" y="293"/>
                    </a:lnTo>
                    <a:lnTo>
                      <a:pt x="391" y="293"/>
                    </a:lnTo>
                    <a:lnTo>
                      <a:pt x="393" y="293"/>
                    </a:lnTo>
                    <a:lnTo>
                      <a:pt x="394" y="293"/>
                    </a:lnTo>
                    <a:lnTo>
                      <a:pt x="396" y="293"/>
                    </a:lnTo>
                    <a:lnTo>
                      <a:pt x="397" y="293"/>
                    </a:lnTo>
                    <a:lnTo>
                      <a:pt x="399" y="293"/>
                    </a:lnTo>
                    <a:lnTo>
                      <a:pt x="401" y="293"/>
                    </a:lnTo>
                    <a:lnTo>
                      <a:pt x="402" y="293"/>
                    </a:lnTo>
                    <a:lnTo>
                      <a:pt x="404" y="293"/>
                    </a:lnTo>
                    <a:lnTo>
                      <a:pt x="405" y="293"/>
                    </a:lnTo>
                    <a:lnTo>
                      <a:pt x="407" y="293"/>
                    </a:lnTo>
                    <a:lnTo>
                      <a:pt x="408" y="293"/>
                    </a:lnTo>
                    <a:lnTo>
                      <a:pt x="410" y="293"/>
                    </a:lnTo>
                    <a:lnTo>
                      <a:pt x="410" y="295"/>
                    </a:lnTo>
                    <a:lnTo>
                      <a:pt x="412" y="295"/>
                    </a:lnTo>
                    <a:lnTo>
                      <a:pt x="413" y="295"/>
                    </a:lnTo>
                    <a:lnTo>
                      <a:pt x="415" y="295"/>
                    </a:lnTo>
                    <a:lnTo>
                      <a:pt x="416" y="295"/>
                    </a:lnTo>
                    <a:lnTo>
                      <a:pt x="418" y="295"/>
                    </a:lnTo>
                    <a:lnTo>
                      <a:pt x="420" y="295"/>
                    </a:lnTo>
                    <a:lnTo>
                      <a:pt x="421" y="295"/>
                    </a:lnTo>
                    <a:lnTo>
                      <a:pt x="421" y="296"/>
                    </a:lnTo>
                    <a:lnTo>
                      <a:pt x="423" y="296"/>
                    </a:lnTo>
                    <a:lnTo>
                      <a:pt x="424" y="296"/>
                    </a:lnTo>
                    <a:lnTo>
                      <a:pt x="426" y="296"/>
                    </a:lnTo>
                    <a:lnTo>
                      <a:pt x="427" y="296"/>
                    </a:lnTo>
                    <a:lnTo>
                      <a:pt x="427" y="298"/>
                    </a:lnTo>
                    <a:lnTo>
                      <a:pt x="429" y="298"/>
                    </a:lnTo>
                    <a:lnTo>
                      <a:pt x="431" y="298"/>
                    </a:lnTo>
                    <a:lnTo>
                      <a:pt x="432" y="298"/>
                    </a:lnTo>
                    <a:lnTo>
                      <a:pt x="432" y="300"/>
                    </a:lnTo>
                    <a:lnTo>
                      <a:pt x="434" y="300"/>
                    </a:lnTo>
                    <a:lnTo>
                      <a:pt x="435" y="301"/>
                    </a:lnTo>
                    <a:lnTo>
                      <a:pt x="437" y="301"/>
                    </a:lnTo>
                    <a:lnTo>
                      <a:pt x="439" y="301"/>
                    </a:lnTo>
                    <a:lnTo>
                      <a:pt x="440" y="303"/>
                    </a:lnTo>
                    <a:lnTo>
                      <a:pt x="442" y="303"/>
                    </a:lnTo>
                    <a:lnTo>
                      <a:pt x="442" y="301"/>
                    </a:lnTo>
                    <a:lnTo>
                      <a:pt x="443" y="301"/>
                    </a:lnTo>
                    <a:lnTo>
                      <a:pt x="445" y="303"/>
                    </a:lnTo>
                    <a:lnTo>
                      <a:pt x="446" y="303"/>
                    </a:lnTo>
                    <a:lnTo>
                      <a:pt x="446" y="301"/>
                    </a:lnTo>
                    <a:lnTo>
                      <a:pt x="448" y="301"/>
                    </a:lnTo>
                    <a:lnTo>
                      <a:pt x="450" y="301"/>
                    </a:lnTo>
                    <a:lnTo>
                      <a:pt x="451" y="301"/>
                    </a:lnTo>
                    <a:lnTo>
                      <a:pt x="451" y="303"/>
                    </a:lnTo>
                    <a:lnTo>
                      <a:pt x="453" y="303"/>
                    </a:lnTo>
                    <a:lnTo>
                      <a:pt x="454" y="303"/>
                    </a:lnTo>
                    <a:lnTo>
                      <a:pt x="456" y="303"/>
                    </a:lnTo>
                    <a:lnTo>
                      <a:pt x="458" y="303"/>
                    </a:lnTo>
                    <a:lnTo>
                      <a:pt x="459" y="303"/>
                    </a:lnTo>
                    <a:lnTo>
                      <a:pt x="459" y="304"/>
                    </a:lnTo>
                    <a:lnTo>
                      <a:pt x="461" y="304"/>
                    </a:lnTo>
                    <a:lnTo>
                      <a:pt x="461" y="306"/>
                    </a:lnTo>
                    <a:lnTo>
                      <a:pt x="462" y="306"/>
                    </a:lnTo>
                    <a:lnTo>
                      <a:pt x="462" y="308"/>
                    </a:lnTo>
                    <a:lnTo>
                      <a:pt x="464" y="308"/>
                    </a:lnTo>
                    <a:lnTo>
                      <a:pt x="464" y="309"/>
                    </a:lnTo>
                    <a:lnTo>
                      <a:pt x="465" y="309"/>
                    </a:lnTo>
                    <a:lnTo>
                      <a:pt x="465" y="311"/>
                    </a:lnTo>
                    <a:lnTo>
                      <a:pt x="467" y="311"/>
                    </a:lnTo>
                    <a:lnTo>
                      <a:pt x="469" y="312"/>
                    </a:lnTo>
                    <a:lnTo>
                      <a:pt x="470" y="312"/>
                    </a:lnTo>
                    <a:lnTo>
                      <a:pt x="470" y="314"/>
                    </a:lnTo>
                    <a:lnTo>
                      <a:pt x="472" y="314"/>
                    </a:lnTo>
                    <a:lnTo>
                      <a:pt x="473" y="314"/>
                    </a:lnTo>
                    <a:lnTo>
                      <a:pt x="473" y="315"/>
                    </a:lnTo>
                    <a:lnTo>
                      <a:pt x="475" y="315"/>
                    </a:lnTo>
                    <a:lnTo>
                      <a:pt x="477" y="315"/>
                    </a:lnTo>
                    <a:lnTo>
                      <a:pt x="478" y="317"/>
                    </a:lnTo>
                    <a:lnTo>
                      <a:pt x="480" y="317"/>
                    </a:lnTo>
                    <a:lnTo>
                      <a:pt x="481" y="317"/>
                    </a:lnTo>
                    <a:lnTo>
                      <a:pt x="483" y="319"/>
                    </a:lnTo>
                    <a:lnTo>
                      <a:pt x="484" y="319"/>
                    </a:lnTo>
                    <a:lnTo>
                      <a:pt x="486" y="319"/>
                    </a:lnTo>
                    <a:lnTo>
                      <a:pt x="488" y="319"/>
                    </a:lnTo>
                    <a:lnTo>
                      <a:pt x="489" y="319"/>
                    </a:lnTo>
                    <a:lnTo>
                      <a:pt x="491" y="319"/>
                    </a:lnTo>
                    <a:lnTo>
                      <a:pt x="492" y="319"/>
                    </a:lnTo>
                    <a:lnTo>
                      <a:pt x="494" y="319"/>
                    </a:lnTo>
                    <a:lnTo>
                      <a:pt x="496" y="319"/>
                    </a:lnTo>
                    <a:lnTo>
                      <a:pt x="497" y="319"/>
                    </a:lnTo>
                    <a:lnTo>
                      <a:pt x="499" y="319"/>
                    </a:lnTo>
                    <a:lnTo>
                      <a:pt x="500" y="319"/>
                    </a:lnTo>
                    <a:lnTo>
                      <a:pt x="500" y="320"/>
                    </a:lnTo>
                    <a:lnTo>
                      <a:pt x="502" y="320"/>
                    </a:lnTo>
                    <a:lnTo>
                      <a:pt x="503" y="320"/>
                    </a:lnTo>
                    <a:lnTo>
                      <a:pt x="505" y="320"/>
                    </a:lnTo>
                    <a:lnTo>
                      <a:pt x="507" y="320"/>
                    </a:lnTo>
                    <a:lnTo>
                      <a:pt x="508" y="322"/>
                    </a:lnTo>
                    <a:lnTo>
                      <a:pt x="510" y="322"/>
                    </a:lnTo>
                    <a:lnTo>
                      <a:pt x="511" y="322"/>
                    </a:lnTo>
                    <a:lnTo>
                      <a:pt x="513" y="322"/>
                    </a:lnTo>
                    <a:lnTo>
                      <a:pt x="515" y="322"/>
                    </a:lnTo>
                    <a:lnTo>
                      <a:pt x="515" y="323"/>
                    </a:lnTo>
                    <a:lnTo>
                      <a:pt x="516" y="323"/>
                    </a:lnTo>
                    <a:lnTo>
                      <a:pt x="518" y="323"/>
                    </a:lnTo>
                    <a:lnTo>
                      <a:pt x="519" y="323"/>
                    </a:lnTo>
                    <a:lnTo>
                      <a:pt x="521" y="323"/>
                    </a:lnTo>
                    <a:lnTo>
                      <a:pt x="522" y="323"/>
                    </a:lnTo>
                    <a:lnTo>
                      <a:pt x="524" y="323"/>
                    </a:lnTo>
                    <a:lnTo>
                      <a:pt x="526" y="323"/>
                    </a:lnTo>
                    <a:lnTo>
                      <a:pt x="527" y="325"/>
                    </a:lnTo>
                    <a:lnTo>
                      <a:pt x="529" y="325"/>
                    </a:lnTo>
                    <a:lnTo>
                      <a:pt x="530" y="325"/>
                    </a:lnTo>
                    <a:lnTo>
                      <a:pt x="532" y="325"/>
                    </a:lnTo>
                    <a:lnTo>
                      <a:pt x="534" y="325"/>
                    </a:lnTo>
                    <a:lnTo>
                      <a:pt x="535" y="325"/>
                    </a:lnTo>
                    <a:lnTo>
                      <a:pt x="537" y="325"/>
                    </a:lnTo>
                    <a:lnTo>
                      <a:pt x="538" y="325"/>
                    </a:lnTo>
                    <a:lnTo>
                      <a:pt x="538" y="327"/>
                    </a:lnTo>
                    <a:lnTo>
                      <a:pt x="540" y="327"/>
                    </a:lnTo>
                    <a:lnTo>
                      <a:pt x="542" y="327"/>
                    </a:lnTo>
                    <a:lnTo>
                      <a:pt x="543" y="327"/>
                    </a:lnTo>
                    <a:lnTo>
                      <a:pt x="545" y="327"/>
                    </a:lnTo>
                    <a:lnTo>
                      <a:pt x="546" y="328"/>
                    </a:lnTo>
                    <a:lnTo>
                      <a:pt x="548" y="328"/>
                    </a:lnTo>
                    <a:lnTo>
                      <a:pt x="549" y="328"/>
                    </a:lnTo>
                    <a:lnTo>
                      <a:pt x="551" y="328"/>
                    </a:lnTo>
                    <a:lnTo>
                      <a:pt x="553" y="328"/>
                    </a:lnTo>
                    <a:lnTo>
                      <a:pt x="554" y="328"/>
                    </a:lnTo>
                    <a:lnTo>
                      <a:pt x="554" y="330"/>
                    </a:lnTo>
                    <a:lnTo>
                      <a:pt x="556" y="330"/>
                    </a:lnTo>
                    <a:lnTo>
                      <a:pt x="557" y="330"/>
                    </a:lnTo>
                    <a:lnTo>
                      <a:pt x="559" y="330"/>
                    </a:lnTo>
                    <a:lnTo>
                      <a:pt x="561" y="330"/>
                    </a:lnTo>
                    <a:lnTo>
                      <a:pt x="562" y="330"/>
                    </a:lnTo>
                    <a:lnTo>
                      <a:pt x="564" y="330"/>
                    </a:lnTo>
                    <a:lnTo>
                      <a:pt x="565" y="330"/>
                    </a:lnTo>
                    <a:lnTo>
                      <a:pt x="565" y="331"/>
                    </a:lnTo>
                    <a:lnTo>
                      <a:pt x="567" y="331"/>
                    </a:lnTo>
                    <a:lnTo>
                      <a:pt x="568" y="331"/>
                    </a:lnTo>
                    <a:lnTo>
                      <a:pt x="570" y="331"/>
                    </a:lnTo>
                    <a:lnTo>
                      <a:pt x="572" y="331"/>
                    </a:lnTo>
                    <a:lnTo>
                      <a:pt x="573" y="333"/>
                    </a:lnTo>
                    <a:lnTo>
                      <a:pt x="575" y="333"/>
                    </a:lnTo>
                    <a:lnTo>
                      <a:pt x="576" y="333"/>
                    </a:lnTo>
                    <a:lnTo>
                      <a:pt x="578" y="333"/>
                    </a:lnTo>
                    <a:lnTo>
                      <a:pt x="580" y="333"/>
                    </a:lnTo>
                    <a:lnTo>
                      <a:pt x="581" y="333"/>
                    </a:lnTo>
                    <a:lnTo>
                      <a:pt x="581" y="334"/>
                    </a:lnTo>
                    <a:lnTo>
                      <a:pt x="581" y="336"/>
                    </a:lnTo>
                    <a:lnTo>
                      <a:pt x="581" y="338"/>
                    </a:lnTo>
                    <a:lnTo>
                      <a:pt x="581" y="339"/>
                    </a:lnTo>
                    <a:lnTo>
                      <a:pt x="581" y="341"/>
                    </a:lnTo>
                    <a:lnTo>
                      <a:pt x="580" y="342"/>
                    </a:lnTo>
                    <a:lnTo>
                      <a:pt x="580" y="344"/>
                    </a:lnTo>
                    <a:lnTo>
                      <a:pt x="578" y="344"/>
                    </a:lnTo>
                    <a:lnTo>
                      <a:pt x="578" y="346"/>
                    </a:lnTo>
                    <a:lnTo>
                      <a:pt x="576" y="347"/>
                    </a:lnTo>
                    <a:lnTo>
                      <a:pt x="575" y="349"/>
                    </a:lnTo>
                    <a:lnTo>
                      <a:pt x="575" y="350"/>
                    </a:lnTo>
                    <a:lnTo>
                      <a:pt x="576" y="350"/>
                    </a:lnTo>
                    <a:lnTo>
                      <a:pt x="578" y="350"/>
                    </a:lnTo>
                    <a:lnTo>
                      <a:pt x="578" y="352"/>
                    </a:lnTo>
                    <a:lnTo>
                      <a:pt x="580" y="352"/>
                    </a:lnTo>
                    <a:lnTo>
                      <a:pt x="581" y="352"/>
                    </a:lnTo>
                    <a:lnTo>
                      <a:pt x="583" y="352"/>
                    </a:lnTo>
                    <a:lnTo>
                      <a:pt x="584" y="352"/>
                    </a:lnTo>
                    <a:lnTo>
                      <a:pt x="586" y="352"/>
                    </a:lnTo>
                    <a:lnTo>
                      <a:pt x="587" y="352"/>
                    </a:lnTo>
                    <a:lnTo>
                      <a:pt x="589" y="352"/>
                    </a:lnTo>
                    <a:lnTo>
                      <a:pt x="591" y="352"/>
                    </a:lnTo>
                    <a:lnTo>
                      <a:pt x="591" y="350"/>
                    </a:lnTo>
                    <a:lnTo>
                      <a:pt x="592" y="350"/>
                    </a:lnTo>
                    <a:lnTo>
                      <a:pt x="594" y="350"/>
                    </a:lnTo>
                    <a:lnTo>
                      <a:pt x="595" y="349"/>
                    </a:lnTo>
                    <a:lnTo>
                      <a:pt x="597" y="349"/>
                    </a:lnTo>
                    <a:lnTo>
                      <a:pt x="599" y="349"/>
                    </a:lnTo>
                    <a:lnTo>
                      <a:pt x="600" y="349"/>
                    </a:lnTo>
                    <a:lnTo>
                      <a:pt x="602" y="350"/>
                    </a:lnTo>
                    <a:lnTo>
                      <a:pt x="603" y="350"/>
                    </a:lnTo>
                    <a:lnTo>
                      <a:pt x="605" y="350"/>
                    </a:lnTo>
                    <a:lnTo>
                      <a:pt x="606" y="352"/>
                    </a:lnTo>
                    <a:lnTo>
                      <a:pt x="608" y="352"/>
                    </a:lnTo>
                    <a:lnTo>
                      <a:pt x="610" y="352"/>
                    </a:lnTo>
                    <a:lnTo>
                      <a:pt x="611" y="353"/>
                    </a:lnTo>
                    <a:lnTo>
                      <a:pt x="613" y="353"/>
                    </a:lnTo>
                    <a:lnTo>
                      <a:pt x="614" y="353"/>
                    </a:lnTo>
                    <a:lnTo>
                      <a:pt x="614" y="355"/>
                    </a:lnTo>
                    <a:lnTo>
                      <a:pt x="616" y="355"/>
                    </a:lnTo>
                    <a:lnTo>
                      <a:pt x="616" y="357"/>
                    </a:lnTo>
                    <a:lnTo>
                      <a:pt x="618" y="357"/>
                    </a:lnTo>
                    <a:lnTo>
                      <a:pt x="619" y="358"/>
                    </a:lnTo>
                    <a:lnTo>
                      <a:pt x="621" y="358"/>
                    </a:lnTo>
                    <a:lnTo>
                      <a:pt x="621" y="360"/>
                    </a:lnTo>
                    <a:lnTo>
                      <a:pt x="622" y="360"/>
                    </a:lnTo>
                    <a:lnTo>
                      <a:pt x="624" y="361"/>
                    </a:lnTo>
                    <a:lnTo>
                      <a:pt x="625" y="361"/>
                    </a:lnTo>
                    <a:lnTo>
                      <a:pt x="627" y="363"/>
                    </a:lnTo>
                    <a:lnTo>
                      <a:pt x="629" y="363"/>
                    </a:lnTo>
                    <a:lnTo>
                      <a:pt x="630" y="363"/>
                    </a:lnTo>
                    <a:lnTo>
                      <a:pt x="630" y="365"/>
                    </a:lnTo>
                    <a:lnTo>
                      <a:pt x="629" y="365"/>
                    </a:lnTo>
                    <a:lnTo>
                      <a:pt x="629" y="366"/>
                    </a:lnTo>
                    <a:lnTo>
                      <a:pt x="627" y="366"/>
                    </a:lnTo>
                    <a:lnTo>
                      <a:pt x="625" y="366"/>
                    </a:lnTo>
                    <a:lnTo>
                      <a:pt x="625" y="368"/>
                    </a:lnTo>
                    <a:lnTo>
                      <a:pt x="624" y="368"/>
                    </a:lnTo>
                    <a:lnTo>
                      <a:pt x="624" y="369"/>
                    </a:lnTo>
                    <a:lnTo>
                      <a:pt x="622" y="369"/>
                    </a:lnTo>
                    <a:lnTo>
                      <a:pt x="622" y="371"/>
                    </a:lnTo>
                    <a:lnTo>
                      <a:pt x="621" y="371"/>
                    </a:lnTo>
                    <a:lnTo>
                      <a:pt x="619" y="372"/>
                    </a:lnTo>
                    <a:lnTo>
                      <a:pt x="618" y="372"/>
                    </a:lnTo>
                    <a:lnTo>
                      <a:pt x="618" y="374"/>
                    </a:lnTo>
                    <a:lnTo>
                      <a:pt x="616" y="374"/>
                    </a:lnTo>
                    <a:lnTo>
                      <a:pt x="616" y="376"/>
                    </a:lnTo>
                    <a:lnTo>
                      <a:pt x="614" y="377"/>
                    </a:lnTo>
                    <a:lnTo>
                      <a:pt x="613" y="377"/>
                    </a:lnTo>
                    <a:lnTo>
                      <a:pt x="613" y="379"/>
                    </a:lnTo>
                    <a:lnTo>
                      <a:pt x="611" y="379"/>
                    </a:lnTo>
                    <a:lnTo>
                      <a:pt x="611" y="380"/>
                    </a:lnTo>
                    <a:lnTo>
                      <a:pt x="610" y="380"/>
                    </a:lnTo>
                    <a:lnTo>
                      <a:pt x="608" y="380"/>
                    </a:lnTo>
                    <a:lnTo>
                      <a:pt x="608" y="382"/>
                    </a:lnTo>
                    <a:lnTo>
                      <a:pt x="606" y="382"/>
                    </a:lnTo>
                    <a:lnTo>
                      <a:pt x="605" y="384"/>
                    </a:lnTo>
                    <a:lnTo>
                      <a:pt x="605" y="385"/>
                    </a:lnTo>
                    <a:lnTo>
                      <a:pt x="603" y="385"/>
                    </a:lnTo>
                    <a:lnTo>
                      <a:pt x="603" y="387"/>
                    </a:lnTo>
                    <a:lnTo>
                      <a:pt x="603" y="388"/>
                    </a:lnTo>
                    <a:lnTo>
                      <a:pt x="599" y="390"/>
                    </a:lnTo>
                    <a:lnTo>
                      <a:pt x="594" y="390"/>
                    </a:lnTo>
                    <a:lnTo>
                      <a:pt x="591" y="390"/>
                    </a:lnTo>
                    <a:lnTo>
                      <a:pt x="587" y="390"/>
                    </a:lnTo>
                    <a:lnTo>
                      <a:pt x="586" y="390"/>
                    </a:lnTo>
                    <a:lnTo>
                      <a:pt x="583" y="391"/>
                    </a:lnTo>
                    <a:lnTo>
                      <a:pt x="581" y="396"/>
                    </a:lnTo>
                    <a:lnTo>
                      <a:pt x="580" y="399"/>
                    </a:lnTo>
                    <a:lnTo>
                      <a:pt x="576" y="406"/>
                    </a:lnTo>
                    <a:lnTo>
                      <a:pt x="575" y="409"/>
                    </a:lnTo>
                    <a:lnTo>
                      <a:pt x="573" y="414"/>
                    </a:lnTo>
                    <a:lnTo>
                      <a:pt x="572" y="417"/>
                    </a:lnTo>
                    <a:lnTo>
                      <a:pt x="570" y="418"/>
                    </a:lnTo>
                    <a:lnTo>
                      <a:pt x="568" y="423"/>
                    </a:lnTo>
                    <a:lnTo>
                      <a:pt x="567" y="425"/>
                    </a:lnTo>
                    <a:lnTo>
                      <a:pt x="565" y="428"/>
                    </a:lnTo>
                    <a:lnTo>
                      <a:pt x="562" y="433"/>
                    </a:lnTo>
                    <a:lnTo>
                      <a:pt x="561" y="436"/>
                    </a:lnTo>
                    <a:lnTo>
                      <a:pt x="559" y="439"/>
                    </a:lnTo>
                    <a:lnTo>
                      <a:pt x="557" y="442"/>
                    </a:lnTo>
                    <a:lnTo>
                      <a:pt x="556" y="445"/>
                    </a:lnTo>
                    <a:lnTo>
                      <a:pt x="553" y="447"/>
                    </a:lnTo>
                    <a:lnTo>
                      <a:pt x="549" y="450"/>
                    </a:lnTo>
                    <a:lnTo>
                      <a:pt x="546" y="452"/>
                    </a:lnTo>
                    <a:lnTo>
                      <a:pt x="543" y="453"/>
                    </a:lnTo>
                    <a:lnTo>
                      <a:pt x="540" y="453"/>
                    </a:lnTo>
                    <a:lnTo>
                      <a:pt x="535" y="455"/>
                    </a:lnTo>
                    <a:lnTo>
                      <a:pt x="532" y="455"/>
                    </a:lnTo>
                    <a:lnTo>
                      <a:pt x="530" y="456"/>
                    </a:lnTo>
                    <a:lnTo>
                      <a:pt x="529" y="458"/>
                    </a:lnTo>
                    <a:lnTo>
                      <a:pt x="526" y="461"/>
                    </a:lnTo>
                    <a:lnTo>
                      <a:pt x="524" y="463"/>
                    </a:lnTo>
                    <a:lnTo>
                      <a:pt x="524" y="464"/>
                    </a:lnTo>
                    <a:lnTo>
                      <a:pt x="521" y="466"/>
                    </a:lnTo>
                    <a:lnTo>
                      <a:pt x="518" y="471"/>
                    </a:lnTo>
                    <a:lnTo>
                      <a:pt x="518" y="472"/>
                    </a:lnTo>
                    <a:lnTo>
                      <a:pt x="516" y="474"/>
                    </a:lnTo>
                    <a:lnTo>
                      <a:pt x="508" y="487"/>
                    </a:lnTo>
                    <a:lnTo>
                      <a:pt x="507" y="487"/>
                    </a:lnTo>
                    <a:lnTo>
                      <a:pt x="507" y="488"/>
                    </a:lnTo>
                    <a:lnTo>
                      <a:pt x="505" y="491"/>
                    </a:lnTo>
                    <a:lnTo>
                      <a:pt x="503" y="493"/>
                    </a:lnTo>
                    <a:lnTo>
                      <a:pt x="503" y="494"/>
                    </a:lnTo>
                    <a:lnTo>
                      <a:pt x="502" y="496"/>
                    </a:lnTo>
                    <a:lnTo>
                      <a:pt x="503" y="498"/>
                    </a:lnTo>
                    <a:lnTo>
                      <a:pt x="503" y="499"/>
                    </a:lnTo>
                    <a:lnTo>
                      <a:pt x="503" y="501"/>
                    </a:lnTo>
                    <a:lnTo>
                      <a:pt x="505" y="502"/>
                    </a:lnTo>
                    <a:lnTo>
                      <a:pt x="507" y="504"/>
                    </a:lnTo>
                    <a:lnTo>
                      <a:pt x="507" y="506"/>
                    </a:lnTo>
                    <a:lnTo>
                      <a:pt x="508" y="506"/>
                    </a:lnTo>
                    <a:lnTo>
                      <a:pt x="508" y="507"/>
                    </a:lnTo>
                    <a:lnTo>
                      <a:pt x="510" y="509"/>
                    </a:lnTo>
                    <a:lnTo>
                      <a:pt x="513" y="518"/>
                    </a:lnTo>
                    <a:lnTo>
                      <a:pt x="515" y="518"/>
                    </a:lnTo>
                    <a:lnTo>
                      <a:pt x="515" y="520"/>
                    </a:lnTo>
                    <a:lnTo>
                      <a:pt x="516" y="520"/>
                    </a:lnTo>
                    <a:lnTo>
                      <a:pt x="516" y="521"/>
                    </a:lnTo>
                    <a:lnTo>
                      <a:pt x="518" y="521"/>
                    </a:lnTo>
                    <a:lnTo>
                      <a:pt x="519" y="523"/>
                    </a:lnTo>
                    <a:lnTo>
                      <a:pt x="521" y="525"/>
                    </a:lnTo>
                    <a:lnTo>
                      <a:pt x="521" y="526"/>
                    </a:lnTo>
                    <a:lnTo>
                      <a:pt x="522" y="528"/>
                    </a:lnTo>
                    <a:lnTo>
                      <a:pt x="522" y="529"/>
                    </a:lnTo>
                    <a:lnTo>
                      <a:pt x="522" y="531"/>
                    </a:lnTo>
                    <a:lnTo>
                      <a:pt x="522" y="532"/>
                    </a:lnTo>
                    <a:lnTo>
                      <a:pt x="522" y="534"/>
                    </a:lnTo>
                    <a:lnTo>
                      <a:pt x="522" y="536"/>
                    </a:lnTo>
                    <a:lnTo>
                      <a:pt x="522" y="537"/>
                    </a:lnTo>
                    <a:lnTo>
                      <a:pt x="522" y="539"/>
                    </a:lnTo>
                    <a:lnTo>
                      <a:pt x="521" y="540"/>
                    </a:lnTo>
                    <a:lnTo>
                      <a:pt x="521" y="542"/>
                    </a:lnTo>
                    <a:lnTo>
                      <a:pt x="521" y="544"/>
                    </a:lnTo>
                    <a:lnTo>
                      <a:pt x="513" y="555"/>
                    </a:lnTo>
                    <a:lnTo>
                      <a:pt x="513" y="556"/>
                    </a:lnTo>
                    <a:lnTo>
                      <a:pt x="513" y="558"/>
                    </a:lnTo>
                    <a:lnTo>
                      <a:pt x="513" y="559"/>
                    </a:lnTo>
                    <a:lnTo>
                      <a:pt x="513" y="561"/>
                    </a:lnTo>
                    <a:lnTo>
                      <a:pt x="513" y="563"/>
                    </a:lnTo>
                    <a:lnTo>
                      <a:pt x="511" y="564"/>
                    </a:lnTo>
                    <a:lnTo>
                      <a:pt x="510" y="564"/>
                    </a:lnTo>
                    <a:lnTo>
                      <a:pt x="510" y="566"/>
                    </a:lnTo>
                    <a:lnTo>
                      <a:pt x="510" y="567"/>
                    </a:lnTo>
                    <a:lnTo>
                      <a:pt x="508" y="567"/>
                    </a:lnTo>
                    <a:lnTo>
                      <a:pt x="510" y="569"/>
                    </a:lnTo>
                    <a:lnTo>
                      <a:pt x="510" y="570"/>
                    </a:lnTo>
                    <a:lnTo>
                      <a:pt x="510" y="572"/>
                    </a:lnTo>
                    <a:lnTo>
                      <a:pt x="510" y="574"/>
                    </a:lnTo>
                    <a:lnTo>
                      <a:pt x="508" y="575"/>
                    </a:lnTo>
                    <a:lnTo>
                      <a:pt x="507" y="575"/>
                    </a:lnTo>
                    <a:lnTo>
                      <a:pt x="505" y="575"/>
                    </a:lnTo>
                    <a:lnTo>
                      <a:pt x="503" y="575"/>
                    </a:lnTo>
                    <a:lnTo>
                      <a:pt x="502" y="577"/>
                    </a:lnTo>
                    <a:lnTo>
                      <a:pt x="500" y="577"/>
                    </a:lnTo>
                    <a:lnTo>
                      <a:pt x="500" y="575"/>
                    </a:lnTo>
                    <a:lnTo>
                      <a:pt x="499" y="575"/>
                    </a:lnTo>
                    <a:lnTo>
                      <a:pt x="497" y="575"/>
                    </a:lnTo>
                    <a:lnTo>
                      <a:pt x="497" y="574"/>
                    </a:lnTo>
                    <a:lnTo>
                      <a:pt x="496" y="574"/>
                    </a:lnTo>
                    <a:lnTo>
                      <a:pt x="494" y="574"/>
                    </a:lnTo>
                    <a:lnTo>
                      <a:pt x="492" y="574"/>
                    </a:lnTo>
                    <a:lnTo>
                      <a:pt x="491" y="575"/>
                    </a:lnTo>
                    <a:lnTo>
                      <a:pt x="489" y="575"/>
                    </a:lnTo>
                    <a:lnTo>
                      <a:pt x="488" y="577"/>
                    </a:lnTo>
                    <a:lnTo>
                      <a:pt x="486" y="577"/>
                    </a:lnTo>
                    <a:lnTo>
                      <a:pt x="484" y="577"/>
                    </a:lnTo>
                    <a:lnTo>
                      <a:pt x="484" y="578"/>
                    </a:lnTo>
                    <a:lnTo>
                      <a:pt x="483" y="578"/>
                    </a:lnTo>
                    <a:lnTo>
                      <a:pt x="481" y="578"/>
                    </a:lnTo>
                    <a:lnTo>
                      <a:pt x="481" y="580"/>
                    </a:lnTo>
                    <a:lnTo>
                      <a:pt x="480" y="580"/>
                    </a:lnTo>
                    <a:lnTo>
                      <a:pt x="478" y="580"/>
                    </a:lnTo>
                    <a:lnTo>
                      <a:pt x="478" y="582"/>
                    </a:lnTo>
                    <a:lnTo>
                      <a:pt x="477" y="582"/>
                    </a:lnTo>
                    <a:lnTo>
                      <a:pt x="475" y="582"/>
                    </a:lnTo>
                    <a:lnTo>
                      <a:pt x="475" y="583"/>
                    </a:lnTo>
                    <a:lnTo>
                      <a:pt x="473" y="583"/>
                    </a:lnTo>
                    <a:lnTo>
                      <a:pt x="472" y="583"/>
                    </a:lnTo>
                    <a:lnTo>
                      <a:pt x="472" y="585"/>
                    </a:lnTo>
                    <a:lnTo>
                      <a:pt x="470" y="585"/>
                    </a:lnTo>
                    <a:lnTo>
                      <a:pt x="469" y="585"/>
                    </a:lnTo>
                    <a:lnTo>
                      <a:pt x="469" y="586"/>
                    </a:lnTo>
                    <a:lnTo>
                      <a:pt x="467" y="586"/>
                    </a:lnTo>
                    <a:lnTo>
                      <a:pt x="467" y="588"/>
                    </a:lnTo>
                    <a:lnTo>
                      <a:pt x="467" y="589"/>
                    </a:lnTo>
                    <a:lnTo>
                      <a:pt x="467" y="591"/>
                    </a:lnTo>
                    <a:lnTo>
                      <a:pt x="467" y="593"/>
                    </a:lnTo>
                    <a:lnTo>
                      <a:pt x="467" y="594"/>
                    </a:lnTo>
                    <a:lnTo>
                      <a:pt x="467" y="596"/>
                    </a:lnTo>
                    <a:lnTo>
                      <a:pt x="467" y="597"/>
                    </a:lnTo>
                    <a:lnTo>
                      <a:pt x="465" y="597"/>
                    </a:lnTo>
                    <a:lnTo>
                      <a:pt x="465" y="599"/>
                    </a:lnTo>
                    <a:lnTo>
                      <a:pt x="464" y="599"/>
                    </a:lnTo>
                    <a:lnTo>
                      <a:pt x="464" y="601"/>
                    </a:lnTo>
                    <a:lnTo>
                      <a:pt x="462" y="601"/>
                    </a:lnTo>
                    <a:lnTo>
                      <a:pt x="462" y="602"/>
                    </a:lnTo>
                    <a:lnTo>
                      <a:pt x="461" y="602"/>
                    </a:lnTo>
                    <a:lnTo>
                      <a:pt x="461" y="604"/>
                    </a:lnTo>
                    <a:lnTo>
                      <a:pt x="459" y="604"/>
                    </a:lnTo>
                    <a:lnTo>
                      <a:pt x="459" y="605"/>
                    </a:lnTo>
                    <a:lnTo>
                      <a:pt x="458" y="605"/>
                    </a:lnTo>
                    <a:lnTo>
                      <a:pt x="458" y="607"/>
                    </a:lnTo>
                    <a:lnTo>
                      <a:pt x="456" y="607"/>
                    </a:lnTo>
                    <a:lnTo>
                      <a:pt x="456" y="608"/>
                    </a:lnTo>
                    <a:lnTo>
                      <a:pt x="454" y="608"/>
                    </a:lnTo>
                    <a:lnTo>
                      <a:pt x="454" y="610"/>
                    </a:lnTo>
                    <a:lnTo>
                      <a:pt x="453" y="610"/>
                    </a:lnTo>
                    <a:lnTo>
                      <a:pt x="442" y="621"/>
                    </a:lnTo>
                    <a:lnTo>
                      <a:pt x="440" y="621"/>
                    </a:lnTo>
                    <a:lnTo>
                      <a:pt x="439" y="621"/>
                    </a:lnTo>
                    <a:lnTo>
                      <a:pt x="437" y="621"/>
                    </a:lnTo>
                    <a:lnTo>
                      <a:pt x="435" y="621"/>
                    </a:lnTo>
                    <a:lnTo>
                      <a:pt x="434" y="621"/>
                    </a:lnTo>
                    <a:lnTo>
                      <a:pt x="432" y="621"/>
                    </a:lnTo>
                    <a:lnTo>
                      <a:pt x="431" y="621"/>
                    </a:lnTo>
                    <a:lnTo>
                      <a:pt x="429" y="621"/>
                    </a:lnTo>
                    <a:lnTo>
                      <a:pt x="427" y="621"/>
                    </a:lnTo>
                    <a:lnTo>
                      <a:pt x="426" y="621"/>
                    </a:lnTo>
                    <a:lnTo>
                      <a:pt x="424" y="621"/>
                    </a:lnTo>
                    <a:lnTo>
                      <a:pt x="423" y="621"/>
                    </a:lnTo>
                    <a:lnTo>
                      <a:pt x="421" y="621"/>
                    </a:lnTo>
                    <a:lnTo>
                      <a:pt x="420" y="621"/>
                    </a:lnTo>
                    <a:lnTo>
                      <a:pt x="420" y="623"/>
                    </a:lnTo>
                    <a:lnTo>
                      <a:pt x="418" y="623"/>
                    </a:lnTo>
                    <a:lnTo>
                      <a:pt x="416" y="623"/>
                    </a:lnTo>
                    <a:lnTo>
                      <a:pt x="415" y="623"/>
                    </a:lnTo>
                    <a:lnTo>
                      <a:pt x="413" y="623"/>
                    </a:lnTo>
                    <a:lnTo>
                      <a:pt x="412" y="623"/>
                    </a:lnTo>
                    <a:lnTo>
                      <a:pt x="410" y="623"/>
                    </a:lnTo>
                    <a:lnTo>
                      <a:pt x="408" y="623"/>
                    </a:lnTo>
                    <a:lnTo>
                      <a:pt x="407" y="621"/>
                    </a:lnTo>
                    <a:lnTo>
                      <a:pt x="405" y="621"/>
                    </a:lnTo>
                    <a:lnTo>
                      <a:pt x="404" y="621"/>
                    </a:lnTo>
                    <a:lnTo>
                      <a:pt x="404" y="620"/>
                    </a:lnTo>
                    <a:lnTo>
                      <a:pt x="402" y="620"/>
                    </a:lnTo>
                    <a:lnTo>
                      <a:pt x="401" y="620"/>
                    </a:lnTo>
                    <a:lnTo>
                      <a:pt x="399" y="620"/>
                    </a:lnTo>
                    <a:lnTo>
                      <a:pt x="397" y="620"/>
                    </a:lnTo>
                    <a:lnTo>
                      <a:pt x="397" y="618"/>
                    </a:lnTo>
                    <a:lnTo>
                      <a:pt x="396" y="618"/>
                    </a:lnTo>
                    <a:lnTo>
                      <a:pt x="394" y="618"/>
                    </a:lnTo>
                    <a:lnTo>
                      <a:pt x="393" y="618"/>
                    </a:lnTo>
                    <a:lnTo>
                      <a:pt x="391" y="618"/>
                    </a:lnTo>
                    <a:lnTo>
                      <a:pt x="391" y="616"/>
                    </a:lnTo>
                    <a:lnTo>
                      <a:pt x="389" y="616"/>
                    </a:lnTo>
                    <a:lnTo>
                      <a:pt x="388" y="616"/>
                    </a:lnTo>
                    <a:lnTo>
                      <a:pt x="386" y="616"/>
                    </a:lnTo>
                    <a:lnTo>
                      <a:pt x="385" y="616"/>
                    </a:lnTo>
                    <a:lnTo>
                      <a:pt x="383" y="616"/>
                    </a:lnTo>
                    <a:lnTo>
                      <a:pt x="382" y="618"/>
                    </a:lnTo>
                    <a:lnTo>
                      <a:pt x="380" y="618"/>
                    </a:lnTo>
                    <a:lnTo>
                      <a:pt x="378" y="618"/>
                    </a:lnTo>
                    <a:lnTo>
                      <a:pt x="377" y="618"/>
                    </a:lnTo>
                    <a:lnTo>
                      <a:pt x="375" y="618"/>
                    </a:lnTo>
                    <a:lnTo>
                      <a:pt x="374" y="616"/>
                    </a:lnTo>
                    <a:lnTo>
                      <a:pt x="374" y="618"/>
                    </a:lnTo>
                    <a:lnTo>
                      <a:pt x="372" y="620"/>
                    </a:lnTo>
                    <a:lnTo>
                      <a:pt x="370" y="620"/>
                    </a:lnTo>
                    <a:lnTo>
                      <a:pt x="370" y="621"/>
                    </a:lnTo>
                    <a:lnTo>
                      <a:pt x="369" y="621"/>
                    </a:lnTo>
                    <a:lnTo>
                      <a:pt x="367" y="623"/>
                    </a:lnTo>
                    <a:lnTo>
                      <a:pt x="366" y="623"/>
                    </a:lnTo>
                    <a:lnTo>
                      <a:pt x="364" y="623"/>
                    </a:lnTo>
                    <a:lnTo>
                      <a:pt x="363" y="623"/>
                    </a:lnTo>
                    <a:lnTo>
                      <a:pt x="361" y="623"/>
                    </a:lnTo>
                    <a:lnTo>
                      <a:pt x="359" y="623"/>
                    </a:lnTo>
                    <a:lnTo>
                      <a:pt x="359" y="624"/>
                    </a:lnTo>
                    <a:lnTo>
                      <a:pt x="358" y="624"/>
                    </a:lnTo>
                    <a:lnTo>
                      <a:pt x="356" y="624"/>
                    </a:lnTo>
                    <a:lnTo>
                      <a:pt x="355" y="624"/>
                    </a:lnTo>
                    <a:lnTo>
                      <a:pt x="353" y="624"/>
                    </a:lnTo>
                    <a:lnTo>
                      <a:pt x="351" y="624"/>
                    </a:lnTo>
                    <a:lnTo>
                      <a:pt x="315" y="624"/>
                    </a:lnTo>
                    <a:lnTo>
                      <a:pt x="313" y="624"/>
                    </a:lnTo>
                    <a:lnTo>
                      <a:pt x="312" y="623"/>
                    </a:lnTo>
                    <a:lnTo>
                      <a:pt x="310" y="623"/>
                    </a:lnTo>
                    <a:lnTo>
                      <a:pt x="310" y="624"/>
                    </a:lnTo>
                    <a:lnTo>
                      <a:pt x="309" y="624"/>
                    </a:lnTo>
                    <a:lnTo>
                      <a:pt x="309" y="626"/>
                    </a:lnTo>
                    <a:lnTo>
                      <a:pt x="307" y="626"/>
                    </a:lnTo>
                    <a:lnTo>
                      <a:pt x="307" y="627"/>
                    </a:lnTo>
                    <a:lnTo>
                      <a:pt x="305" y="627"/>
                    </a:lnTo>
                    <a:lnTo>
                      <a:pt x="305" y="629"/>
                    </a:lnTo>
                    <a:lnTo>
                      <a:pt x="304" y="629"/>
                    </a:lnTo>
                    <a:lnTo>
                      <a:pt x="302" y="629"/>
                    </a:lnTo>
                    <a:lnTo>
                      <a:pt x="301" y="629"/>
                    </a:lnTo>
                    <a:lnTo>
                      <a:pt x="301" y="631"/>
                    </a:lnTo>
                    <a:lnTo>
                      <a:pt x="299" y="632"/>
                    </a:lnTo>
                    <a:lnTo>
                      <a:pt x="298" y="632"/>
                    </a:lnTo>
                    <a:lnTo>
                      <a:pt x="298" y="634"/>
                    </a:lnTo>
                    <a:lnTo>
                      <a:pt x="299" y="635"/>
                    </a:lnTo>
                    <a:lnTo>
                      <a:pt x="299" y="637"/>
                    </a:lnTo>
                    <a:lnTo>
                      <a:pt x="301" y="639"/>
                    </a:lnTo>
                    <a:lnTo>
                      <a:pt x="299" y="639"/>
                    </a:lnTo>
                    <a:lnTo>
                      <a:pt x="298" y="640"/>
                    </a:lnTo>
                    <a:lnTo>
                      <a:pt x="296" y="640"/>
                    </a:lnTo>
                    <a:lnTo>
                      <a:pt x="294" y="640"/>
                    </a:lnTo>
                    <a:lnTo>
                      <a:pt x="293" y="642"/>
                    </a:lnTo>
                    <a:lnTo>
                      <a:pt x="291" y="642"/>
                    </a:lnTo>
                    <a:lnTo>
                      <a:pt x="291" y="643"/>
                    </a:lnTo>
                    <a:lnTo>
                      <a:pt x="290" y="643"/>
                    </a:lnTo>
                    <a:lnTo>
                      <a:pt x="288" y="643"/>
                    </a:lnTo>
                    <a:lnTo>
                      <a:pt x="286" y="643"/>
                    </a:lnTo>
                    <a:lnTo>
                      <a:pt x="285" y="643"/>
                    </a:lnTo>
                    <a:lnTo>
                      <a:pt x="283" y="642"/>
                    </a:lnTo>
                    <a:lnTo>
                      <a:pt x="282" y="642"/>
                    </a:lnTo>
                    <a:lnTo>
                      <a:pt x="280" y="642"/>
                    </a:lnTo>
                    <a:lnTo>
                      <a:pt x="280" y="640"/>
                    </a:lnTo>
                    <a:lnTo>
                      <a:pt x="279" y="640"/>
                    </a:lnTo>
                    <a:lnTo>
                      <a:pt x="279" y="639"/>
                    </a:lnTo>
                    <a:lnTo>
                      <a:pt x="277" y="639"/>
                    </a:lnTo>
                    <a:lnTo>
                      <a:pt x="275" y="639"/>
                    </a:lnTo>
                    <a:lnTo>
                      <a:pt x="275" y="637"/>
                    </a:lnTo>
                    <a:lnTo>
                      <a:pt x="274" y="637"/>
                    </a:lnTo>
                    <a:lnTo>
                      <a:pt x="272" y="637"/>
                    </a:lnTo>
                    <a:lnTo>
                      <a:pt x="272" y="635"/>
                    </a:lnTo>
                    <a:lnTo>
                      <a:pt x="271" y="635"/>
                    </a:lnTo>
                    <a:lnTo>
                      <a:pt x="269" y="635"/>
                    </a:lnTo>
                    <a:lnTo>
                      <a:pt x="267" y="635"/>
                    </a:lnTo>
                    <a:lnTo>
                      <a:pt x="266" y="635"/>
                    </a:lnTo>
                    <a:lnTo>
                      <a:pt x="264" y="635"/>
                    </a:lnTo>
                    <a:lnTo>
                      <a:pt x="263" y="635"/>
                    </a:lnTo>
                    <a:lnTo>
                      <a:pt x="263" y="634"/>
                    </a:lnTo>
                    <a:lnTo>
                      <a:pt x="261" y="634"/>
                    </a:lnTo>
                    <a:lnTo>
                      <a:pt x="260" y="634"/>
                    </a:lnTo>
                    <a:lnTo>
                      <a:pt x="258" y="634"/>
                    </a:lnTo>
                    <a:lnTo>
                      <a:pt x="256" y="634"/>
                    </a:lnTo>
                    <a:lnTo>
                      <a:pt x="256" y="635"/>
                    </a:lnTo>
                    <a:lnTo>
                      <a:pt x="255" y="635"/>
                    </a:lnTo>
                    <a:lnTo>
                      <a:pt x="253" y="635"/>
                    </a:lnTo>
                    <a:lnTo>
                      <a:pt x="252" y="635"/>
                    </a:lnTo>
                    <a:lnTo>
                      <a:pt x="250" y="635"/>
                    </a:lnTo>
                    <a:lnTo>
                      <a:pt x="248" y="637"/>
                    </a:lnTo>
                    <a:lnTo>
                      <a:pt x="247" y="637"/>
                    </a:lnTo>
                    <a:lnTo>
                      <a:pt x="245" y="637"/>
                    </a:lnTo>
                    <a:lnTo>
                      <a:pt x="245" y="639"/>
                    </a:lnTo>
                    <a:lnTo>
                      <a:pt x="244" y="639"/>
                    </a:lnTo>
                    <a:lnTo>
                      <a:pt x="242" y="640"/>
                    </a:lnTo>
                    <a:lnTo>
                      <a:pt x="241" y="640"/>
                    </a:lnTo>
                    <a:lnTo>
                      <a:pt x="241" y="642"/>
                    </a:lnTo>
                    <a:lnTo>
                      <a:pt x="239" y="642"/>
                    </a:lnTo>
                    <a:lnTo>
                      <a:pt x="237" y="643"/>
                    </a:lnTo>
                    <a:lnTo>
                      <a:pt x="236" y="643"/>
                    </a:lnTo>
                    <a:lnTo>
                      <a:pt x="236" y="645"/>
                    </a:lnTo>
                    <a:lnTo>
                      <a:pt x="234" y="645"/>
                    </a:lnTo>
                    <a:lnTo>
                      <a:pt x="234" y="647"/>
                    </a:lnTo>
                    <a:lnTo>
                      <a:pt x="233" y="647"/>
                    </a:lnTo>
                    <a:lnTo>
                      <a:pt x="233" y="648"/>
                    </a:lnTo>
                    <a:lnTo>
                      <a:pt x="231" y="648"/>
                    </a:lnTo>
                    <a:lnTo>
                      <a:pt x="231" y="650"/>
                    </a:lnTo>
                    <a:lnTo>
                      <a:pt x="231" y="651"/>
                    </a:lnTo>
                    <a:lnTo>
                      <a:pt x="231" y="653"/>
                    </a:lnTo>
                    <a:lnTo>
                      <a:pt x="231" y="654"/>
                    </a:lnTo>
                    <a:lnTo>
                      <a:pt x="229" y="656"/>
                    </a:lnTo>
                    <a:lnTo>
                      <a:pt x="229" y="658"/>
                    </a:lnTo>
                    <a:lnTo>
                      <a:pt x="228" y="658"/>
                    </a:lnTo>
                    <a:lnTo>
                      <a:pt x="226" y="659"/>
                    </a:lnTo>
                    <a:lnTo>
                      <a:pt x="226" y="661"/>
                    </a:lnTo>
                    <a:lnTo>
                      <a:pt x="225" y="662"/>
                    </a:lnTo>
                    <a:lnTo>
                      <a:pt x="223" y="662"/>
                    </a:lnTo>
                    <a:lnTo>
                      <a:pt x="223" y="664"/>
                    </a:lnTo>
                    <a:lnTo>
                      <a:pt x="222" y="666"/>
                    </a:lnTo>
                    <a:lnTo>
                      <a:pt x="220" y="666"/>
                    </a:lnTo>
                    <a:lnTo>
                      <a:pt x="218" y="667"/>
                    </a:lnTo>
                    <a:lnTo>
                      <a:pt x="218" y="669"/>
                    </a:lnTo>
                    <a:lnTo>
                      <a:pt x="218" y="670"/>
                    </a:lnTo>
                    <a:lnTo>
                      <a:pt x="218" y="672"/>
                    </a:lnTo>
                    <a:lnTo>
                      <a:pt x="217" y="672"/>
                    </a:lnTo>
                    <a:lnTo>
                      <a:pt x="217" y="673"/>
                    </a:lnTo>
                    <a:lnTo>
                      <a:pt x="217" y="675"/>
                    </a:lnTo>
                    <a:lnTo>
                      <a:pt x="215" y="675"/>
                    </a:lnTo>
                    <a:lnTo>
                      <a:pt x="215" y="677"/>
                    </a:lnTo>
                    <a:lnTo>
                      <a:pt x="215" y="678"/>
                    </a:lnTo>
                    <a:lnTo>
                      <a:pt x="214" y="680"/>
                    </a:lnTo>
                    <a:lnTo>
                      <a:pt x="214" y="681"/>
                    </a:lnTo>
                    <a:lnTo>
                      <a:pt x="212" y="681"/>
                    </a:lnTo>
                    <a:lnTo>
                      <a:pt x="212" y="683"/>
                    </a:lnTo>
                    <a:lnTo>
                      <a:pt x="212" y="685"/>
                    </a:lnTo>
                    <a:lnTo>
                      <a:pt x="212" y="686"/>
                    </a:lnTo>
                    <a:lnTo>
                      <a:pt x="210" y="686"/>
                    </a:lnTo>
                    <a:lnTo>
                      <a:pt x="212" y="688"/>
                    </a:lnTo>
                    <a:lnTo>
                      <a:pt x="210" y="688"/>
                    </a:lnTo>
                    <a:lnTo>
                      <a:pt x="210" y="689"/>
                    </a:lnTo>
                    <a:lnTo>
                      <a:pt x="212" y="689"/>
                    </a:lnTo>
                    <a:lnTo>
                      <a:pt x="212" y="691"/>
                    </a:lnTo>
                    <a:lnTo>
                      <a:pt x="212" y="692"/>
                    </a:lnTo>
                    <a:lnTo>
                      <a:pt x="212" y="694"/>
                    </a:lnTo>
                    <a:lnTo>
                      <a:pt x="214" y="694"/>
                    </a:lnTo>
                    <a:lnTo>
                      <a:pt x="214" y="696"/>
                    </a:lnTo>
                    <a:lnTo>
                      <a:pt x="215" y="696"/>
                    </a:lnTo>
                    <a:lnTo>
                      <a:pt x="215" y="697"/>
                    </a:lnTo>
                    <a:lnTo>
                      <a:pt x="217" y="697"/>
                    </a:lnTo>
                    <a:lnTo>
                      <a:pt x="217" y="699"/>
                    </a:lnTo>
                    <a:lnTo>
                      <a:pt x="218" y="699"/>
                    </a:lnTo>
                    <a:lnTo>
                      <a:pt x="218" y="700"/>
                    </a:lnTo>
                    <a:lnTo>
                      <a:pt x="220" y="700"/>
                    </a:lnTo>
                    <a:lnTo>
                      <a:pt x="220" y="702"/>
                    </a:lnTo>
                    <a:lnTo>
                      <a:pt x="222" y="702"/>
                    </a:lnTo>
                    <a:lnTo>
                      <a:pt x="222" y="704"/>
                    </a:lnTo>
                    <a:lnTo>
                      <a:pt x="223" y="704"/>
                    </a:lnTo>
                    <a:lnTo>
                      <a:pt x="223" y="705"/>
                    </a:lnTo>
                    <a:lnTo>
                      <a:pt x="225" y="705"/>
                    </a:lnTo>
                    <a:lnTo>
                      <a:pt x="225" y="707"/>
                    </a:lnTo>
                    <a:lnTo>
                      <a:pt x="226" y="708"/>
                    </a:lnTo>
                    <a:lnTo>
                      <a:pt x="228" y="708"/>
                    </a:lnTo>
                    <a:lnTo>
                      <a:pt x="228" y="710"/>
                    </a:lnTo>
                    <a:lnTo>
                      <a:pt x="228" y="711"/>
                    </a:lnTo>
                    <a:lnTo>
                      <a:pt x="229" y="711"/>
                    </a:lnTo>
                    <a:lnTo>
                      <a:pt x="229" y="713"/>
                    </a:lnTo>
                    <a:lnTo>
                      <a:pt x="231" y="715"/>
                    </a:lnTo>
                    <a:lnTo>
                      <a:pt x="231" y="716"/>
                    </a:lnTo>
                    <a:lnTo>
                      <a:pt x="231" y="718"/>
                    </a:lnTo>
                    <a:lnTo>
                      <a:pt x="233" y="718"/>
                    </a:lnTo>
                    <a:lnTo>
                      <a:pt x="233" y="719"/>
                    </a:lnTo>
                    <a:lnTo>
                      <a:pt x="234" y="721"/>
                    </a:lnTo>
                    <a:lnTo>
                      <a:pt x="234" y="723"/>
                    </a:lnTo>
                    <a:lnTo>
                      <a:pt x="236" y="723"/>
                    </a:lnTo>
                    <a:lnTo>
                      <a:pt x="236" y="724"/>
                    </a:lnTo>
                    <a:lnTo>
                      <a:pt x="237" y="726"/>
                    </a:lnTo>
                    <a:lnTo>
                      <a:pt x="237" y="727"/>
                    </a:lnTo>
                    <a:lnTo>
                      <a:pt x="236" y="729"/>
                    </a:lnTo>
                    <a:lnTo>
                      <a:pt x="236" y="730"/>
                    </a:lnTo>
                    <a:lnTo>
                      <a:pt x="236" y="732"/>
                    </a:lnTo>
                    <a:lnTo>
                      <a:pt x="237" y="732"/>
                    </a:lnTo>
                    <a:lnTo>
                      <a:pt x="237" y="734"/>
                    </a:lnTo>
                    <a:lnTo>
                      <a:pt x="237" y="735"/>
                    </a:lnTo>
                    <a:lnTo>
                      <a:pt x="239" y="735"/>
                    </a:lnTo>
                    <a:lnTo>
                      <a:pt x="239" y="737"/>
                    </a:lnTo>
                    <a:lnTo>
                      <a:pt x="239" y="738"/>
                    </a:lnTo>
                    <a:lnTo>
                      <a:pt x="241" y="738"/>
                    </a:lnTo>
                    <a:lnTo>
                      <a:pt x="239" y="738"/>
                    </a:lnTo>
                    <a:lnTo>
                      <a:pt x="239" y="740"/>
                    </a:lnTo>
                    <a:lnTo>
                      <a:pt x="237" y="740"/>
                    </a:lnTo>
                    <a:lnTo>
                      <a:pt x="236" y="740"/>
                    </a:lnTo>
                    <a:lnTo>
                      <a:pt x="234" y="740"/>
                    </a:lnTo>
                    <a:lnTo>
                      <a:pt x="233" y="740"/>
                    </a:lnTo>
                    <a:lnTo>
                      <a:pt x="231" y="740"/>
                    </a:lnTo>
                    <a:lnTo>
                      <a:pt x="229" y="740"/>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80" name="Freeform 60"/>
              <p:cNvSpPr>
                <a:spLocks/>
              </p:cNvSpPr>
              <p:nvPr/>
            </p:nvSpPr>
            <p:spPr bwMode="auto">
              <a:xfrm>
                <a:off x="2734" y="2682"/>
                <a:ext cx="684" cy="690"/>
              </a:xfrm>
              <a:custGeom>
                <a:avLst/>
                <a:gdLst>
                  <a:gd name="T0" fmla="*/ 621 w 684"/>
                  <a:gd name="T1" fmla="*/ 530 h 690"/>
                  <a:gd name="T2" fmla="*/ 626 w 684"/>
                  <a:gd name="T3" fmla="*/ 553 h 690"/>
                  <a:gd name="T4" fmla="*/ 638 w 684"/>
                  <a:gd name="T5" fmla="*/ 576 h 690"/>
                  <a:gd name="T6" fmla="*/ 653 w 684"/>
                  <a:gd name="T7" fmla="*/ 595 h 690"/>
                  <a:gd name="T8" fmla="*/ 672 w 684"/>
                  <a:gd name="T9" fmla="*/ 606 h 690"/>
                  <a:gd name="T10" fmla="*/ 684 w 684"/>
                  <a:gd name="T11" fmla="*/ 622 h 690"/>
                  <a:gd name="T12" fmla="*/ 641 w 684"/>
                  <a:gd name="T13" fmla="*/ 633 h 690"/>
                  <a:gd name="T14" fmla="*/ 638 w 684"/>
                  <a:gd name="T15" fmla="*/ 679 h 690"/>
                  <a:gd name="T16" fmla="*/ 622 w 684"/>
                  <a:gd name="T17" fmla="*/ 687 h 690"/>
                  <a:gd name="T18" fmla="*/ 619 w 684"/>
                  <a:gd name="T19" fmla="*/ 683 h 690"/>
                  <a:gd name="T20" fmla="*/ 605 w 684"/>
                  <a:gd name="T21" fmla="*/ 670 h 690"/>
                  <a:gd name="T22" fmla="*/ 583 w 684"/>
                  <a:gd name="T23" fmla="*/ 651 h 690"/>
                  <a:gd name="T24" fmla="*/ 567 w 684"/>
                  <a:gd name="T25" fmla="*/ 649 h 690"/>
                  <a:gd name="T26" fmla="*/ 558 w 684"/>
                  <a:gd name="T27" fmla="*/ 656 h 690"/>
                  <a:gd name="T28" fmla="*/ 537 w 684"/>
                  <a:gd name="T29" fmla="*/ 656 h 690"/>
                  <a:gd name="T30" fmla="*/ 515 w 684"/>
                  <a:gd name="T31" fmla="*/ 649 h 690"/>
                  <a:gd name="T32" fmla="*/ 500 w 684"/>
                  <a:gd name="T33" fmla="*/ 659 h 690"/>
                  <a:gd name="T34" fmla="*/ 478 w 684"/>
                  <a:gd name="T35" fmla="*/ 660 h 690"/>
                  <a:gd name="T36" fmla="*/ 458 w 684"/>
                  <a:gd name="T37" fmla="*/ 638 h 690"/>
                  <a:gd name="T38" fmla="*/ 442 w 684"/>
                  <a:gd name="T39" fmla="*/ 624 h 690"/>
                  <a:gd name="T40" fmla="*/ 423 w 684"/>
                  <a:gd name="T41" fmla="*/ 621 h 690"/>
                  <a:gd name="T42" fmla="*/ 398 w 684"/>
                  <a:gd name="T43" fmla="*/ 624 h 690"/>
                  <a:gd name="T44" fmla="*/ 375 w 684"/>
                  <a:gd name="T45" fmla="*/ 618 h 690"/>
                  <a:gd name="T46" fmla="*/ 350 w 684"/>
                  <a:gd name="T47" fmla="*/ 600 h 690"/>
                  <a:gd name="T48" fmla="*/ 336 w 684"/>
                  <a:gd name="T49" fmla="*/ 589 h 690"/>
                  <a:gd name="T50" fmla="*/ 325 w 684"/>
                  <a:gd name="T51" fmla="*/ 580 h 690"/>
                  <a:gd name="T52" fmla="*/ 304 w 684"/>
                  <a:gd name="T53" fmla="*/ 587 h 690"/>
                  <a:gd name="T54" fmla="*/ 287 w 684"/>
                  <a:gd name="T55" fmla="*/ 581 h 690"/>
                  <a:gd name="T56" fmla="*/ 253 w 684"/>
                  <a:gd name="T57" fmla="*/ 561 h 690"/>
                  <a:gd name="T58" fmla="*/ 217 w 684"/>
                  <a:gd name="T59" fmla="*/ 548 h 690"/>
                  <a:gd name="T60" fmla="*/ 162 w 684"/>
                  <a:gd name="T61" fmla="*/ 515 h 690"/>
                  <a:gd name="T62" fmla="*/ 136 w 684"/>
                  <a:gd name="T63" fmla="*/ 499 h 690"/>
                  <a:gd name="T64" fmla="*/ 90 w 684"/>
                  <a:gd name="T65" fmla="*/ 502 h 690"/>
                  <a:gd name="T66" fmla="*/ 60 w 684"/>
                  <a:gd name="T67" fmla="*/ 483 h 690"/>
                  <a:gd name="T68" fmla="*/ 49 w 684"/>
                  <a:gd name="T69" fmla="*/ 461 h 690"/>
                  <a:gd name="T70" fmla="*/ 54 w 684"/>
                  <a:gd name="T71" fmla="*/ 445 h 690"/>
                  <a:gd name="T72" fmla="*/ 35 w 684"/>
                  <a:gd name="T73" fmla="*/ 428 h 690"/>
                  <a:gd name="T74" fmla="*/ 30 w 684"/>
                  <a:gd name="T75" fmla="*/ 405 h 690"/>
                  <a:gd name="T76" fmla="*/ 9 w 684"/>
                  <a:gd name="T77" fmla="*/ 375 h 690"/>
                  <a:gd name="T78" fmla="*/ 36 w 684"/>
                  <a:gd name="T79" fmla="*/ 366 h 690"/>
                  <a:gd name="T80" fmla="*/ 73 w 684"/>
                  <a:gd name="T81" fmla="*/ 348 h 690"/>
                  <a:gd name="T82" fmla="*/ 89 w 684"/>
                  <a:gd name="T83" fmla="*/ 329 h 690"/>
                  <a:gd name="T84" fmla="*/ 101 w 684"/>
                  <a:gd name="T85" fmla="*/ 312 h 690"/>
                  <a:gd name="T86" fmla="*/ 101 w 684"/>
                  <a:gd name="T87" fmla="*/ 298 h 690"/>
                  <a:gd name="T88" fmla="*/ 95 w 684"/>
                  <a:gd name="T89" fmla="*/ 282 h 690"/>
                  <a:gd name="T90" fmla="*/ 90 w 684"/>
                  <a:gd name="T91" fmla="*/ 260 h 690"/>
                  <a:gd name="T92" fmla="*/ 98 w 684"/>
                  <a:gd name="T93" fmla="*/ 247 h 690"/>
                  <a:gd name="T94" fmla="*/ 103 w 684"/>
                  <a:gd name="T95" fmla="*/ 236 h 690"/>
                  <a:gd name="T96" fmla="*/ 123 w 684"/>
                  <a:gd name="T97" fmla="*/ 237 h 690"/>
                  <a:gd name="T98" fmla="*/ 139 w 684"/>
                  <a:gd name="T99" fmla="*/ 223 h 690"/>
                  <a:gd name="T100" fmla="*/ 155 w 684"/>
                  <a:gd name="T101" fmla="*/ 209 h 690"/>
                  <a:gd name="T102" fmla="*/ 171 w 684"/>
                  <a:gd name="T103" fmla="*/ 206 h 690"/>
                  <a:gd name="T104" fmla="*/ 174 w 684"/>
                  <a:gd name="T105" fmla="*/ 220 h 690"/>
                  <a:gd name="T106" fmla="*/ 179 w 684"/>
                  <a:gd name="T107" fmla="*/ 236 h 690"/>
                  <a:gd name="T108" fmla="*/ 190 w 684"/>
                  <a:gd name="T109" fmla="*/ 253 h 690"/>
                  <a:gd name="T110" fmla="*/ 201 w 684"/>
                  <a:gd name="T111" fmla="*/ 272 h 690"/>
                  <a:gd name="T112" fmla="*/ 215 w 684"/>
                  <a:gd name="T113" fmla="*/ 288 h 690"/>
                  <a:gd name="T114" fmla="*/ 236 w 684"/>
                  <a:gd name="T115" fmla="*/ 283 h 690"/>
                  <a:gd name="T116" fmla="*/ 139 w 684"/>
                  <a:gd name="T117" fmla="*/ 142 h 690"/>
                  <a:gd name="T118" fmla="*/ 17 w 684"/>
                  <a:gd name="T119" fmla="*/ 6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4" h="690">
                    <a:moveTo>
                      <a:pt x="603" y="521"/>
                    </a:moveTo>
                    <a:lnTo>
                      <a:pt x="602" y="523"/>
                    </a:lnTo>
                    <a:lnTo>
                      <a:pt x="602" y="524"/>
                    </a:lnTo>
                    <a:lnTo>
                      <a:pt x="603" y="526"/>
                    </a:lnTo>
                    <a:lnTo>
                      <a:pt x="605" y="527"/>
                    </a:lnTo>
                    <a:lnTo>
                      <a:pt x="607" y="529"/>
                    </a:lnTo>
                    <a:lnTo>
                      <a:pt x="607" y="530"/>
                    </a:lnTo>
                    <a:lnTo>
                      <a:pt x="608" y="532"/>
                    </a:lnTo>
                    <a:lnTo>
                      <a:pt x="610" y="532"/>
                    </a:lnTo>
                    <a:lnTo>
                      <a:pt x="611" y="532"/>
                    </a:lnTo>
                    <a:lnTo>
                      <a:pt x="613" y="532"/>
                    </a:lnTo>
                    <a:lnTo>
                      <a:pt x="615" y="530"/>
                    </a:lnTo>
                    <a:lnTo>
                      <a:pt x="616" y="530"/>
                    </a:lnTo>
                    <a:lnTo>
                      <a:pt x="618" y="530"/>
                    </a:lnTo>
                    <a:lnTo>
                      <a:pt x="618" y="529"/>
                    </a:lnTo>
                    <a:lnTo>
                      <a:pt x="619" y="529"/>
                    </a:lnTo>
                    <a:lnTo>
                      <a:pt x="621" y="530"/>
                    </a:lnTo>
                    <a:lnTo>
                      <a:pt x="621" y="532"/>
                    </a:lnTo>
                    <a:lnTo>
                      <a:pt x="619" y="534"/>
                    </a:lnTo>
                    <a:lnTo>
                      <a:pt x="618" y="535"/>
                    </a:lnTo>
                    <a:lnTo>
                      <a:pt x="616" y="537"/>
                    </a:lnTo>
                    <a:lnTo>
                      <a:pt x="616" y="538"/>
                    </a:lnTo>
                    <a:lnTo>
                      <a:pt x="618" y="540"/>
                    </a:lnTo>
                    <a:lnTo>
                      <a:pt x="618" y="542"/>
                    </a:lnTo>
                    <a:lnTo>
                      <a:pt x="619" y="542"/>
                    </a:lnTo>
                    <a:lnTo>
                      <a:pt x="619" y="543"/>
                    </a:lnTo>
                    <a:lnTo>
                      <a:pt x="621" y="543"/>
                    </a:lnTo>
                    <a:lnTo>
                      <a:pt x="621" y="545"/>
                    </a:lnTo>
                    <a:lnTo>
                      <a:pt x="622" y="545"/>
                    </a:lnTo>
                    <a:lnTo>
                      <a:pt x="622" y="546"/>
                    </a:lnTo>
                    <a:lnTo>
                      <a:pt x="624" y="548"/>
                    </a:lnTo>
                    <a:lnTo>
                      <a:pt x="624" y="549"/>
                    </a:lnTo>
                    <a:lnTo>
                      <a:pt x="626" y="551"/>
                    </a:lnTo>
                    <a:lnTo>
                      <a:pt x="626" y="553"/>
                    </a:lnTo>
                    <a:lnTo>
                      <a:pt x="627" y="554"/>
                    </a:lnTo>
                    <a:lnTo>
                      <a:pt x="627" y="556"/>
                    </a:lnTo>
                    <a:lnTo>
                      <a:pt x="629" y="556"/>
                    </a:lnTo>
                    <a:lnTo>
                      <a:pt x="629" y="557"/>
                    </a:lnTo>
                    <a:lnTo>
                      <a:pt x="629" y="559"/>
                    </a:lnTo>
                    <a:lnTo>
                      <a:pt x="630" y="559"/>
                    </a:lnTo>
                    <a:lnTo>
                      <a:pt x="630" y="561"/>
                    </a:lnTo>
                    <a:lnTo>
                      <a:pt x="632" y="562"/>
                    </a:lnTo>
                    <a:lnTo>
                      <a:pt x="632" y="564"/>
                    </a:lnTo>
                    <a:lnTo>
                      <a:pt x="634" y="565"/>
                    </a:lnTo>
                    <a:lnTo>
                      <a:pt x="634" y="567"/>
                    </a:lnTo>
                    <a:lnTo>
                      <a:pt x="635" y="568"/>
                    </a:lnTo>
                    <a:lnTo>
                      <a:pt x="635" y="570"/>
                    </a:lnTo>
                    <a:lnTo>
                      <a:pt x="637" y="572"/>
                    </a:lnTo>
                    <a:lnTo>
                      <a:pt x="637" y="573"/>
                    </a:lnTo>
                    <a:lnTo>
                      <a:pt x="638" y="575"/>
                    </a:lnTo>
                    <a:lnTo>
                      <a:pt x="638" y="576"/>
                    </a:lnTo>
                    <a:lnTo>
                      <a:pt x="638" y="578"/>
                    </a:lnTo>
                    <a:lnTo>
                      <a:pt x="640" y="578"/>
                    </a:lnTo>
                    <a:lnTo>
                      <a:pt x="640" y="580"/>
                    </a:lnTo>
                    <a:lnTo>
                      <a:pt x="640" y="581"/>
                    </a:lnTo>
                    <a:lnTo>
                      <a:pt x="641" y="583"/>
                    </a:lnTo>
                    <a:lnTo>
                      <a:pt x="643" y="583"/>
                    </a:lnTo>
                    <a:lnTo>
                      <a:pt x="645" y="584"/>
                    </a:lnTo>
                    <a:lnTo>
                      <a:pt x="646" y="584"/>
                    </a:lnTo>
                    <a:lnTo>
                      <a:pt x="646" y="586"/>
                    </a:lnTo>
                    <a:lnTo>
                      <a:pt x="648" y="587"/>
                    </a:lnTo>
                    <a:lnTo>
                      <a:pt x="648" y="589"/>
                    </a:lnTo>
                    <a:lnTo>
                      <a:pt x="649" y="589"/>
                    </a:lnTo>
                    <a:lnTo>
                      <a:pt x="649" y="591"/>
                    </a:lnTo>
                    <a:lnTo>
                      <a:pt x="651" y="591"/>
                    </a:lnTo>
                    <a:lnTo>
                      <a:pt x="651" y="592"/>
                    </a:lnTo>
                    <a:lnTo>
                      <a:pt x="653" y="594"/>
                    </a:lnTo>
                    <a:lnTo>
                      <a:pt x="653" y="595"/>
                    </a:lnTo>
                    <a:lnTo>
                      <a:pt x="654" y="597"/>
                    </a:lnTo>
                    <a:lnTo>
                      <a:pt x="656" y="597"/>
                    </a:lnTo>
                    <a:lnTo>
                      <a:pt x="656" y="599"/>
                    </a:lnTo>
                    <a:lnTo>
                      <a:pt x="656" y="600"/>
                    </a:lnTo>
                    <a:lnTo>
                      <a:pt x="657" y="600"/>
                    </a:lnTo>
                    <a:lnTo>
                      <a:pt x="659" y="600"/>
                    </a:lnTo>
                    <a:lnTo>
                      <a:pt x="660" y="599"/>
                    </a:lnTo>
                    <a:lnTo>
                      <a:pt x="662" y="600"/>
                    </a:lnTo>
                    <a:lnTo>
                      <a:pt x="664" y="600"/>
                    </a:lnTo>
                    <a:lnTo>
                      <a:pt x="665" y="599"/>
                    </a:lnTo>
                    <a:lnTo>
                      <a:pt x="665" y="600"/>
                    </a:lnTo>
                    <a:lnTo>
                      <a:pt x="667" y="600"/>
                    </a:lnTo>
                    <a:lnTo>
                      <a:pt x="668" y="602"/>
                    </a:lnTo>
                    <a:lnTo>
                      <a:pt x="670" y="603"/>
                    </a:lnTo>
                    <a:lnTo>
                      <a:pt x="672" y="603"/>
                    </a:lnTo>
                    <a:lnTo>
                      <a:pt x="672" y="605"/>
                    </a:lnTo>
                    <a:lnTo>
                      <a:pt x="672" y="606"/>
                    </a:lnTo>
                    <a:lnTo>
                      <a:pt x="673" y="606"/>
                    </a:lnTo>
                    <a:lnTo>
                      <a:pt x="673" y="608"/>
                    </a:lnTo>
                    <a:lnTo>
                      <a:pt x="675" y="608"/>
                    </a:lnTo>
                    <a:lnTo>
                      <a:pt x="675" y="610"/>
                    </a:lnTo>
                    <a:lnTo>
                      <a:pt x="676" y="610"/>
                    </a:lnTo>
                    <a:lnTo>
                      <a:pt x="676" y="611"/>
                    </a:lnTo>
                    <a:lnTo>
                      <a:pt x="676" y="613"/>
                    </a:lnTo>
                    <a:lnTo>
                      <a:pt x="678" y="613"/>
                    </a:lnTo>
                    <a:lnTo>
                      <a:pt x="679" y="614"/>
                    </a:lnTo>
                    <a:lnTo>
                      <a:pt x="679" y="616"/>
                    </a:lnTo>
                    <a:lnTo>
                      <a:pt x="681" y="616"/>
                    </a:lnTo>
                    <a:lnTo>
                      <a:pt x="683" y="616"/>
                    </a:lnTo>
                    <a:lnTo>
                      <a:pt x="683" y="618"/>
                    </a:lnTo>
                    <a:lnTo>
                      <a:pt x="683" y="619"/>
                    </a:lnTo>
                    <a:lnTo>
                      <a:pt x="683" y="621"/>
                    </a:lnTo>
                    <a:lnTo>
                      <a:pt x="684" y="621"/>
                    </a:lnTo>
                    <a:lnTo>
                      <a:pt x="684" y="622"/>
                    </a:lnTo>
                    <a:lnTo>
                      <a:pt x="683" y="626"/>
                    </a:lnTo>
                    <a:lnTo>
                      <a:pt x="681" y="629"/>
                    </a:lnTo>
                    <a:lnTo>
                      <a:pt x="679" y="630"/>
                    </a:lnTo>
                    <a:lnTo>
                      <a:pt x="678" y="630"/>
                    </a:lnTo>
                    <a:lnTo>
                      <a:pt x="675" y="630"/>
                    </a:lnTo>
                    <a:lnTo>
                      <a:pt x="675" y="629"/>
                    </a:lnTo>
                    <a:lnTo>
                      <a:pt x="673" y="626"/>
                    </a:lnTo>
                    <a:lnTo>
                      <a:pt x="672" y="624"/>
                    </a:lnTo>
                    <a:lnTo>
                      <a:pt x="667" y="621"/>
                    </a:lnTo>
                    <a:lnTo>
                      <a:pt x="665" y="619"/>
                    </a:lnTo>
                    <a:lnTo>
                      <a:pt x="659" y="619"/>
                    </a:lnTo>
                    <a:lnTo>
                      <a:pt x="659" y="621"/>
                    </a:lnTo>
                    <a:lnTo>
                      <a:pt x="649" y="626"/>
                    </a:lnTo>
                    <a:lnTo>
                      <a:pt x="648" y="626"/>
                    </a:lnTo>
                    <a:lnTo>
                      <a:pt x="648" y="627"/>
                    </a:lnTo>
                    <a:lnTo>
                      <a:pt x="643" y="630"/>
                    </a:lnTo>
                    <a:lnTo>
                      <a:pt x="641" y="633"/>
                    </a:lnTo>
                    <a:lnTo>
                      <a:pt x="638" y="637"/>
                    </a:lnTo>
                    <a:lnTo>
                      <a:pt x="637" y="643"/>
                    </a:lnTo>
                    <a:lnTo>
                      <a:pt x="637" y="645"/>
                    </a:lnTo>
                    <a:lnTo>
                      <a:pt x="637" y="646"/>
                    </a:lnTo>
                    <a:lnTo>
                      <a:pt x="637" y="648"/>
                    </a:lnTo>
                    <a:lnTo>
                      <a:pt x="640" y="652"/>
                    </a:lnTo>
                    <a:lnTo>
                      <a:pt x="640" y="654"/>
                    </a:lnTo>
                    <a:lnTo>
                      <a:pt x="640" y="656"/>
                    </a:lnTo>
                    <a:lnTo>
                      <a:pt x="643" y="660"/>
                    </a:lnTo>
                    <a:lnTo>
                      <a:pt x="643" y="662"/>
                    </a:lnTo>
                    <a:lnTo>
                      <a:pt x="643" y="664"/>
                    </a:lnTo>
                    <a:lnTo>
                      <a:pt x="640" y="668"/>
                    </a:lnTo>
                    <a:lnTo>
                      <a:pt x="640" y="670"/>
                    </a:lnTo>
                    <a:lnTo>
                      <a:pt x="638" y="675"/>
                    </a:lnTo>
                    <a:lnTo>
                      <a:pt x="638" y="676"/>
                    </a:lnTo>
                    <a:lnTo>
                      <a:pt x="638" y="678"/>
                    </a:lnTo>
                    <a:lnTo>
                      <a:pt x="638" y="679"/>
                    </a:lnTo>
                    <a:lnTo>
                      <a:pt x="637" y="683"/>
                    </a:lnTo>
                    <a:lnTo>
                      <a:pt x="635" y="686"/>
                    </a:lnTo>
                    <a:lnTo>
                      <a:pt x="635" y="687"/>
                    </a:lnTo>
                    <a:lnTo>
                      <a:pt x="635" y="689"/>
                    </a:lnTo>
                    <a:lnTo>
                      <a:pt x="634" y="690"/>
                    </a:lnTo>
                    <a:lnTo>
                      <a:pt x="632" y="689"/>
                    </a:lnTo>
                    <a:lnTo>
                      <a:pt x="630" y="689"/>
                    </a:lnTo>
                    <a:lnTo>
                      <a:pt x="629" y="689"/>
                    </a:lnTo>
                    <a:lnTo>
                      <a:pt x="627" y="689"/>
                    </a:lnTo>
                    <a:lnTo>
                      <a:pt x="627" y="690"/>
                    </a:lnTo>
                    <a:lnTo>
                      <a:pt x="626" y="690"/>
                    </a:lnTo>
                    <a:lnTo>
                      <a:pt x="624" y="690"/>
                    </a:lnTo>
                    <a:lnTo>
                      <a:pt x="624" y="689"/>
                    </a:lnTo>
                    <a:lnTo>
                      <a:pt x="624" y="690"/>
                    </a:lnTo>
                    <a:lnTo>
                      <a:pt x="624" y="689"/>
                    </a:lnTo>
                    <a:lnTo>
                      <a:pt x="622" y="689"/>
                    </a:lnTo>
                    <a:lnTo>
                      <a:pt x="622" y="687"/>
                    </a:lnTo>
                    <a:lnTo>
                      <a:pt x="622" y="689"/>
                    </a:lnTo>
                    <a:lnTo>
                      <a:pt x="622" y="687"/>
                    </a:lnTo>
                    <a:lnTo>
                      <a:pt x="624" y="687"/>
                    </a:lnTo>
                    <a:lnTo>
                      <a:pt x="624" y="686"/>
                    </a:lnTo>
                    <a:lnTo>
                      <a:pt x="626" y="686"/>
                    </a:lnTo>
                    <a:lnTo>
                      <a:pt x="626" y="684"/>
                    </a:lnTo>
                    <a:lnTo>
                      <a:pt x="624" y="684"/>
                    </a:lnTo>
                    <a:lnTo>
                      <a:pt x="624" y="683"/>
                    </a:lnTo>
                    <a:lnTo>
                      <a:pt x="624" y="684"/>
                    </a:lnTo>
                    <a:lnTo>
                      <a:pt x="622" y="684"/>
                    </a:lnTo>
                    <a:lnTo>
                      <a:pt x="622" y="683"/>
                    </a:lnTo>
                    <a:lnTo>
                      <a:pt x="621" y="683"/>
                    </a:lnTo>
                    <a:lnTo>
                      <a:pt x="621" y="684"/>
                    </a:lnTo>
                    <a:lnTo>
                      <a:pt x="621" y="683"/>
                    </a:lnTo>
                    <a:lnTo>
                      <a:pt x="619" y="683"/>
                    </a:lnTo>
                    <a:lnTo>
                      <a:pt x="618" y="683"/>
                    </a:lnTo>
                    <a:lnTo>
                      <a:pt x="619" y="683"/>
                    </a:lnTo>
                    <a:lnTo>
                      <a:pt x="619" y="681"/>
                    </a:lnTo>
                    <a:lnTo>
                      <a:pt x="618" y="681"/>
                    </a:lnTo>
                    <a:lnTo>
                      <a:pt x="618" y="679"/>
                    </a:lnTo>
                    <a:lnTo>
                      <a:pt x="616" y="679"/>
                    </a:lnTo>
                    <a:lnTo>
                      <a:pt x="615" y="679"/>
                    </a:lnTo>
                    <a:lnTo>
                      <a:pt x="615" y="681"/>
                    </a:lnTo>
                    <a:lnTo>
                      <a:pt x="615" y="679"/>
                    </a:lnTo>
                    <a:lnTo>
                      <a:pt x="615" y="678"/>
                    </a:lnTo>
                    <a:lnTo>
                      <a:pt x="613" y="678"/>
                    </a:lnTo>
                    <a:lnTo>
                      <a:pt x="613" y="676"/>
                    </a:lnTo>
                    <a:lnTo>
                      <a:pt x="611" y="676"/>
                    </a:lnTo>
                    <a:lnTo>
                      <a:pt x="611" y="675"/>
                    </a:lnTo>
                    <a:lnTo>
                      <a:pt x="610" y="675"/>
                    </a:lnTo>
                    <a:lnTo>
                      <a:pt x="610" y="673"/>
                    </a:lnTo>
                    <a:lnTo>
                      <a:pt x="608" y="673"/>
                    </a:lnTo>
                    <a:lnTo>
                      <a:pt x="608" y="671"/>
                    </a:lnTo>
                    <a:lnTo>
                      <a:pt x="605" y="670"/>
                    </a:lnTo>
                    <a:lnTo>
                      <a:pt x="605" y="668"/>
                    </a:lnTo>
                    <a:lnTo>
                      <a:pt x="603" y="668"/>
                    </a:lnTo>
                    <a:lnTo>
                      <a:pt x="602" y="668"/>
                    </a:lnTo>
                    <a:lnTo>
                      <a:pt x="600" y="667"/>
                    </a:lnTo>
                    <a:lnTo>
                      <a:pt x="599" y="667"/>
                    </a:lnTo>
                    <a:lnTo>
                      <a:pt x="597" y="667"/>
                    </a:lnTo>
                    <a:lnTo>
                      <a:pt x="594" y="664"/>
                    </a:lnTo>
                    <a:lnTo>
                      <a:pt x="594" y="662"/>
                    </a:lnTo>
                    <a:lnTo>
                      <a:pt x="594" y="660"/>
                    </a:lnTo>
                    <a:lnTo>
                      <a:pt x="592" y="660"/>
                    </a:lnTo>
                    <a:lnTo>
                      <a:pt x="591" y="659"/>
                    </a:lnTo>
                    <a:lnTo>
                      <a:pt x="589" y="657"/>
                    </a:lnTo>
                    <a:lnTo>
                      <a:pt x="589" y="656"/>
                    </a:lnTo>
                    <a:lnTo>
                      <a:pt x="588" y="656"/>
                    </a:lnTo>
                    <a:lnTo>
                      <a:pt x="586" y="656"/>
                    </a:lnTo>
                    <a:lnTo>
                      <a:pt x="583" y="652"/>
                    </a:lnTo>
                    <a:lnTo>
                      <a:pt x="583" y="651"/>
                    </a:lnTo>
                    <a:lnTo>
                      <a:pt x="581" y="651"/>
                    </a:lnTo>
                    <a:lnTo>
                      <a:pt x="581" y="649"/>
                    </a:lnTo>
                    <a:lnTo>
                      <a:pt x="580" y="649"/>
                    </a:lnTo>
                    <a:lnTo>
                      <a:pt x="578" y="649"/>
                    </a:lnTo>
                    <a:lnTo>
                      <a:pt x="577" y="649"/>
                    </a:lnTo>
                    <a:lnTo>
                      <a:pt x="577" y="648"/>
                    </a:lnTo>
                    <a:lnTo>
                      <a:pt x="575" y="648"/>
                    </a:lnTo>
                    <a:lnTo>
                      <a:pt x="573" y="648"/>
                    </a:lnTo>
                    <a:lnTo>
                      <a:pt x="573" y="649"/>
                    </a:lnTo>
                    <a:lnTo>
                      <a:pt x="572" y="649"/>
                    </a:lnTo>
                    <a:lnTo>
                      <a:pt x="572" y="648"/>
                    </a:lnTo>
                    <a:lnTo>
                      <a:pt x="570" y="648"/>
                    </a:lnTo>
                    <a:lnTo>
                      <a:pt x="569" y="648"/>
                    </a:lnTo>
                    <a:lnTo>
                      <a:pt x="569" y="649"/>
                    </a:lnTo>
                    <a:lnTo>
                      <a:pt x="567" y="649"/>
                    </a:lnTo>
                    <a:lnTo>
                      <a:pt x="567" y="648"/>
                    </a:lnTo>
                    <a:lnTo>
                      <a:pt x="567" y="649"/>
                    </a:lnTo>
                    <a:lnTo>
                      <a:pt x="565" y="648"/>
                    </a:lnTo>
                    <a:lnTo>
                      <a:pt x="564" y="648"/>
                    </a:lnTo>
                    <a:lnTo>
                      <a:pt x="564" y="649"/>
                    </a:lnTo>
                    <a:lnTo>
                      <a:pt x="564" y="648"/>
                    </a:lnTo>
                    <a:lnTo>
                      <a:pt x="562" y="648"/>
                    </a:lnTo>
                    <a:lnTo>
                      <a:pt x="562" y="649"/>
                    </a:lnTo>
                    <a:lnTo>
                      <a:pt x="561" y="649"/>
                    </a:lnTo>
                    <a:lnTo>
                      <a:pt x="561" y="651"/>
                    </a:lnTo>
                    <a:lnTo>
                      <a:pt x="559" y="651"/>
                    </a:lnTo>
                    <a:lnTo>
                      <a:pt x="559" y="652"/>
                    </a:lnTo>
                    <a:lnTo>
                      <a:pt x="561" y="652"/>
                    </a:lnTo>
                    <a:lnTo>
                      <a:pt x="559" y="652"/>
                    </a:lnTo>
                    <a:lnTo>
                      <a:pt x="559" y="654"/>
                    </a:lnTo>
                    <a:lnTo>
                      <a:pt x="558" y="654"/>
                    </a:lnTo>
                    <a:lnTo>
                      <a:pt x="558" y="656"/>
                    </a:lnTo>
                    <a:lnTo>
                      <a:pt x="559" y="656"/>
                    </a:lnTo>
                    <a:lnTo>
                      <a:pt x="558" y="656"/>
                    </a:lnTo>
                    <a:lnTo>
                      <a:pt x="558" y="659"/>
                    </a:lnTo>
                    <a:lnTo>
                      <a:pt x="558" y="660"/>
                    </a:lnTo>
                    <a:lnTo>
                      <a:pt x="554" y="657"/>
                    </a:lnTo>
                    <a:lnTo>
                      <a:pt x="553" y="657"/>
                    </a:lnTo>
                    <a:lnTo>
                      <a:pt x="551" y="657"/>
                    </a:lnTo>
                    <a:lnTo>
                      <a:pt x="548" y="657"/>
                    </a:lnTo>
                    <a:lnTo>
                      <a:pt x="546" y="657"/>
                    </a:lnTo>
                    <a:lnTo>
                      <a:pt x="545" y="657"/>
                    </a:lnTo>
                    <a:lnTo>
                      <a:pt x="543" y="657"/>
                    </a:lnTo>
                    <a:lnTo>
                      <a:pt x="543" y="656"/>
                    </a:lnTo>
                    <a:lnTo>
                      <a:pt x="542" y="656"/>
                    </a:lnTo>
                    <a:lnTo>
                      <a:pt x="540" y="656"/>
                    </a:lnTo>
                    <a:lnTo>
                      <a:pt x="540" y="654"/>
                    </a:lnTo>
                    <a:lnTo>
                      <a:pt x="539" y="654"/>
                    </a:lnTo>
                    <a:lnTo>
                      <a:pt x="537" y="654"/>
                    </a:lnTo>
                    <a:lnTo>
                      <a:pt x="535" y="654"/>
                    </a:lnTo>
                    <a:lnTo>
                      <a:pt x="537" y="656"/>
                    </a:lnTo>
                    <a:lnTo>
                      <a:pt x="534" y="656"/>
                    </a:lnTo>
                    <a:lnTo>
                      <a:pt x="532" y="654"/>
                    </a:lnTo>
                    <a:lnTo>
                      <a:pt x="531" y="654"/>
                    </a:lnTo>
                    <a:lnTo>
                      <a:pt x="529" y="654"/>
                    </a:lnTo>
                    <a:lnTo>
                      <a:pt x="529" y="652"/>
                    </a:lnTo>
                    <a:lnTo>
                      <a:pt x="526" y="652"/>
                    </a:lnTo>
                    <a:lnTo>
                      <a:pt x="526" y="651"/>
                    </a:lnTo>
                    <a:lnTo>
                      <a:pt x="524" y="651"/>
                    </a:lnTo>
                    <a:lnTo>
                      <a:pt x="523" y="651"/>
                    </a:lnTo>
                    <a:lnTo>
                      <a:pt x="523" y="649"/>
                    </a:lnTo>
                    <a:lnTo>
                      <a:pt x="521" y="648"/>
                    </a:lnTo>
                    <a:lnTo>
                      <a:pt x="519" y="648"/>
                    </a:lnTo>
                    <a:lnTo>
                      <a:pt x="518" y="646"/>
                    </a:lnTo>
                    <a:lnTo>
                      <a:pt x="518" y="648"/>
                    </a:lnTo>
                    <a:lnTo>
                      <a:pt x="516" y="648"/>
                    </a:lnTo>
                    <a:lnTo>
                      <a:pt x="516" y="649"/>
                    </a:lnTo>
                    <a:lnTo>
                      <a:pt x="515" y="649"/>
                    </a:lnTo>
                    <a:lnTo>
                      <a:pt x="513" y="649"/>
                    </a:lnTo>
                    <a:lnTo>
                      <a:pt x="513" y="651"/>
                    </a:lnTo>
                    <a:lnTo>
                      <a:pt x="512" y="651"/>
                    </a:lnTo>
                    <a:lnTo>
                      <a:pt x="512" y="649"/>
                    </a:lnTo>
                    <a:lnTo>
                      <a:pt x="510" y="649"/>
                    </a:lnTo>
                    <a:lnTo>
                      <a:pt x="508" y="649"/>
                    </a:lnTo>
                    <a:lnTo>
                      <a:pt x="507" y="649"/>
                    </a:lnTo>
                    <a:lnTo>
                      <a:pt x="507" y="651"/>
                    </a:lnTo>
                    <a:lnTo>
                      <a:pt x="507" y="652"/>
                    </a:lnTo>
                    <a:lnTo>
                      <a:pt x="505" y="652"/>
                    </a:lnTo>
                    <a:lnTo>
                      <a:pt x="505" y="654"/>
                    </a:lnTo>
                    <a:lnTo>
                      <a:pt x="504" y="654"/>
                    </a:lnTo>
                    <a:lnTo>
                      <a:pt x="504" y="656"/>
                    </a:lnTo>
                    <a:lnTo>
                      <a:pt x="504" y="657"/>
                    </a:lnTo>
                    <a:lnTo>
                      <a:pt x="502" y="657"/>
                    </a:lnTo>
                    <a:lnTo>
                      <a:pt x="500" y="657"/>
                    </a:lnTo>
                    <a:lnTo>
                      <a:pt x="500" y="659"/>
                    </a:lnTo>
                    <a:lnTo>
                      <a:pt x="502" y="659"/>
                    </a:lnTo>
                    <a:lnTo>
                      <a:pt x="502" y="660"/>
                    </a:lnTo>
                    <a:lnTo>
                      <a:pt x="502" y="662"/>
                    </a:lnTo>
                    <a:lnTo>
                      <a:pt x="500" y="662"/>
                    </a:lnTo>
                    <a:lnTo>
                      <a:pt x="499" y="662"/>
                    </a:lnTo>
                    <a:lnTo>
                      <a:pt x="497" y="662"/>
                    </a:lnTo>
                    <a:lnTo>
                      <a:pt x="497" y="664"/>
                    </a:lnTo>
                    <a:lnTo>
                      <a:pt x="496" y="664"/>
                    </a:lnTo>
                    <a:lnTo>
                      <a:pt x="491" y="662"/>
                    </a:lnTo>
                    <a:lnTo>
                      <a:pt x="491" y="660"/>
                    </a:lnTo>
                    <a:lnTo>
                      <a:pt x="488" y="662"/>
                    </a:lnTo>
                    <a:lnTo>
                      <a:pt x="486" y="662"/>
                    </a:lnTo>
                    <a:lnTo>
                      <a:pt x="485" y="662"/>
                    </a:lnTo>
                    <a:lnTo>
                      <a:pt x="483" y="660"/>
                    </a:lnTo>
                    <a:lnTo>
                      <a:pt x="481" y="660"/>
                    </a:lnTo>
                    <a:lnTo>
                      <a:pt x="480" y="660"/>
                    </a:lnTo>
                    <a:lnTo>
                      <a:pt x="478" y="660"/>
                    </a:lnTo>
                    <a:lnTo>
                      <a:pt x="474" y="659"/>
                    </a:lnTo>
                    <a:lnTo>
                      <a:pt x="472" y="659"/>
                    </a:lnTo>
                    <a:lnTo>
                      <a:pt x="470" y="657"/>
                    </a:lnTo>
                    <a:lnTo>
                      <a:pt x="469" y="656"/>
                    </a:lnTo>
                    <a:lnTo>
                      <a:pt x="469" y="654"/>
                    </a:lnTo>
                    <a:lnTo>
                      <a:pt x="467" y="654"/>
                    </a:lnTo>
                    <a:lnTo>
                      <a:pt x="466" y="654"/>
                    </a:lnTo>
                    <a:lnTo>
                      <a:pt x="466" y="652"/>
                    </a:lnTo>
                    <a:lnTo>
                      <a:pt x="466" y="651"/>
                    </a:lnTo>
                    <a:lnTo>
                      <a:pt x="466" y="649"/>
                    </a:lnTo>
                    <a:lnTo>
                      <a:pt x="466" y="648"/>
                    </a:lnTo>
                    <a:lnTo>
                      <a:pt x="466" y="646"/>
                    </a:lnTo>
                    <a:lnTo>
                      <a:pt x="466" y="645"/>
                    </a:lnTo>
                    <a:lnTo>
                      <a:pt x="464" y="643"/>
                    </a:lnTo>
                    <a:lnTo>
                      <a:pt x="462" y="641"/>
                    </a:lnTo>
                    <a:lnTo>
                      <a:pt x="459" y="638"/>
                    </a:lnTo>
                    <a:lnTo>
                      <a:pt x="458" y="638"/>
                    </a:lnTo>
                    <a:lnTo>
                      <a:pt x="458" y="637"/>
                    </a:lnTo>
                    <a:lnTo>
                      <a:pt x="458" y="635"/>
                    </a:lnTo>
                    <a:lnTo>
                      <a:pt x="456" y="635"/>
                    </a:lnTo>
                    <a:lnTo>
                      <a:pt x="456" y="633"/>
                    </a:lnTo>
                    <a:lnTo>
                      <a:pt x="455" y="633"/>
                    </a:lnTo>
                    <a:lnTo>
                      <a:pt x="453" y="633"/>
                    </a:lnTo>
                    <a:lnTo>
                      <a:pt x="453" y="632"/>
                    </a:lnTo>
                    <a:lnTo>
                      <a:pt x="451" y="633"/>
                    </a:lnTo>
                    <a:lnTo>
                      <a:pt x="451" y="632"/>
                    </a:lnTo>
                    <a:lnTo>
                      <a:pt x="450" y="630"/>
                    </a:lnTo>
                    <a:lnTo>
                      <a:pt x="450" y="629"/>
                    </a:lnTo>
                    <a:lnTo>
                      <a:pt x="448" y="629"/>
                    </a:lnTo>
                    <a:lnTo>
                      <a:pt x="447" y="630"/>
                    </a:lnTo>
                    <a:lnTo>
                      <a:pt x="445" y="629"/>
                    </a:lnTo>
                    <a:lnTo>
                      <a:pt x="443" y="627"/>
                    </a:lnTo>
                    <a:lnTo>
                      <a:pt x="443" y="626"/>
                    </a:lnTo>
                    <a:lnTo>
                      <a:pt x="442" y="624"/>
                    </a:lnTo>
                    <a:lnTo>
                      <a:pt x="440" y="624"/>
                    </a:lnTo>
                    <a:lnTo>
                      <a:pt x="440" y="622"/>
                    </a:lnTo>
                    <a:lnTo>
                      <a:pt x="439" y="622"/>
                    </a:lnTo>
                    <a:lnTo>
                      <a:pt x="437" y="621"/>
                    </a:lnTo>
                    <a:lnTo>
                      <a:pt x="437" y="619"/>
                    </a:lnTo>
                    <a:lnTo>
                      <a:pt x="436" y="619"/>
                    </a:lnTo>
                    <a:lnTo>
                      <a:pt x="436" y="618"/>
                    </a:lnTo>
                    <a:lnTo>
                      <a:pt x="434" y="618"/>
                    </a:lnTo>
                    <a:lnTo>
                      <a:pt x="434" y="616"/>
                    </a:lnTo>
                    <a:lnTo>
                      <a:pt x="432" y="616"/>
                    </a:lnTo>
                    <a:lnTo>
                      <a:pt x="432" y="618"/>
                    </a:lnTo>
                    <a:lnTo>
                      <a:pt x="431" y="618"/>
                    </a:lnTo>
                    <a:lnTo>
                      <a:pt x="429" y="618"/>
                    </a:lnTo>
                    <a:lnTo>
                      <a:pt x="428" y="619"/>
                    </a:lnTo>
                    <a:lnTo>
                      <a:pt x="426" y="619"/>
                    </a:lnTo>
                    <a:lnTo>
                      <a:pt x="424" y="619"/>
                    </a:lnTo>
                    <a:lnTo>
                      <a:pt x="423" y="621"/>
                    </a:lnTo>
                    <a:lnTo>
                      <a:pt x="421" y="621"/>
                    </a:lnTo>
                    <a:lnTo>
                      <a:pt x="421" y="622"/>
                    </a:lnTo>
                    <a:lnTo>
                      <a:pt x="420" y="622"/>
                    </a:lnTo>
                    <a:lnTo>
                      <a:pt x="417" y="621"/>
                    </a:lnTo>
                    <a:lnTo>
                      <a:pt x="415" y="621"/>
                    </a:lnTo>
                    <a:lnTo>
                      <a:pt x="415" y="619"/>
                    </a:lnTo>
                    <a:lnTo>
                      <a:pt x="413" y="618"/>
                    </a:lnTo>
                    <a:lnTo>
                      <a:pt x="412" y="618"/>
                    </a:lnTo>
                    <a:lnTo>
                      <a:pt x="410" y="618"/>
                    </a:lnTo>
                    <a:lnTo>
                      <a:pt x="409" y="618"/>
                    </a:lnTo>
                    <a:lnTo>
                      <a:pt x="407" y="619"/>
                    </a:lnTo>
                    <a:lnTo>
                      <a:pt x="405" y="619"/>
                    </a:lnTo>
                    <a:lnTo>
                      <a:pt x="404" y="619"/>
                    </a:lnTo>
                    <a:lnTo>
                      <a:pt x="402" y="621"/>
                    </a:lnTo>
                    <a:lnTo>
                      <a:pt x="401" y="622"/>
                    </a:lnTo>
                    <a:lnTo>
                      <a:pt x="399" y="624"/>
                    </a:lnTo>
                    <a:lnTo>
                      <a:pt x="398" y="624"/>
                    </a:lnTo>
                    <a:lnTo>
                      <a:pt x="394" y="624"/>
                    </a:lnTo>
                    <a:lnTo>
                      <a:pt x="393" y="624"/>
                    </a:lnTo>
                    <a:lnTo>
                      <a:pt x="391" y="622"/>
                    </a:lnTo>
                    <a:lnTo>
                      <a:pt x="390" y="621"/>
                    </a:lnTo>
                    <a:lnTo>
                      <a:pt x="388" y="621"/>
                    </a:lnTo>
                    <a:lnTo>
                      <a:pt x="386" y="621"/>
                    </a:lnTo>
                    <a:lnTo>
                      <a:pt x="385" y="621"/>
                    </a:lnTo>
                    <a:lnTo>
                      <a:pt x="385" y="619"/>
                    </a:lnTo>
                    <a:lnTo>
                      <a:pt x="383" y="619"/>
                    </a:lnTo>
                    <a:lnTo>
                      <a:pt x="382" y="619"/>
                    </a:lnTo>
                    <a:lnTo>
                      <a:pt x="380" y="619"/>
                    </a:lnTo>
                    <a:lnTo>
                      <a:pt x="379" y="619"/>
                    </a:lnTo>
                    <a:lnTo>
                      <a:pt x="379" y="618"/>
                    </a:lnTo>
                    <a:lnTo>
                      <a:pt x="379" y="619"/>
                    </a:lnTo>
                    <a:lnTo>
                      <a:pt x="377" y="619"/>
                    </a:lnTo>
                    <a:lnTo>
                      <a:pt x="377" y="618"/>
                    </a:lnTo>
                    <a:lnTo>
                      <a:pt x="375" y="618"/>
                    </a:lnTo>
                    <a:lnTo>
                      <a:pt x="374" y="618"/>
                    </a:lnTo>
                    <a:lnTo>
                      <a:pt x="374" y="616"/>
                    </a:lnTo>
                    <a:lnTo>
                      <a:pt x="372" y="616"/>
                    </a:lnTo>
                    <a:lnTo>
                      <a:pt x="371" y="616"/>
                    </a:lnTo>
                    <a:lnTo>
                      <a:pt x="371" y="614"/>
                    </a:lnTo>
                    <a:lnTo>
                      <a:pt x="369" y="614"/>
                    </a:lnTo>
                    <a:lnTo>
                      <a:pt x="367" y="613"/>
                    </a:lnTo>
                    <a:lnTo>
                      <a:pt x="364" y="610"/>
                    </a:lnTo>
                    <a:lnTo>
                      <a:pt x="363" y="610"/>
                    </a:lnTo>
                    <a:lnTo>
                      <a:pt x="361" y="608"/>
                    </a:lnTo>
                    <a:lnTo>
                      <a:pt x="360" y="606"/>
                    </a:lnTo>
                    <a:lnTo>
                      <a:pt x="356" y="606"/>
                    </a:lnTo>
                    <a:lnTo>
                      <a:pt x="355" y="605"/>
                    </a:lnTo>
                    <a:lnTo>
                      <a:pt x="352" y="603"/>
                    </a:lnTo>
                    <a:lnTo>
                      <a:pt x="352" y="602"/>
                    </a:lnTo>
                    <a:lnTo>
                      <a:pt x="352" y="600"/>
                    </a:lnTo>
                    <a:lnTo>
                      <a:pt x="350" y="600"/>
                    </a:lnTo>
                    <a:lnTo>
                      <a:pt x="348" y="600"/>
                    </a:lnTo>
                    <a:lnTo>
                      <a:pt x="348" y="599"/>
                    </a:lnTo>
                    <a:lnTo>
                      <a:pt x="348" y="597"/>
                    </a:lnTo>
                    <a:lnTo>
                      <a:pt x="347" y="597"/>
                    </a:lnTo>
                    <a:lnTo>
                      <a:pt x="347" y="595"/>
                    </a:lnTo>
                    <a:lnTo>
                      <a:pt x="345" y="595"/>
                    </a:lnTo>
                    <a:lnTo>
                      <a:pt x="344" y="594"/>
                    </a:lnTo>
                    <a:lnTo>
                      <a:pt x="342" y="594"/>
                    </a:lnTo>
                    <a:lnTo>
                      <a:pt x="341" y="594"/>
                    </a:lnTo>
                    <a:lnTo>
                      <a:pt x="342" y="594"/>
                    </a:lnTo>
                    <a:lnTo>
                      <a:pt x="342" y="592"/>
                    </a:lnTo>
                    <a:lnTo>
                      <a:pt x="341" y="592"/>
                    </a:lnTo>
                    <a:lnTo>
                      <a:pt x="339" y="592"/>
                    </a:lnTo>
                    <a:lnTo>
                      <a:pt x="339" y="591"/>
                    </a:lnTo>
                    <a:lnTo>
                      <a:pt x="337" y="591"/>
                    </a:lnTo>
                    <a:lnTo>
                      <a:pt x="337" y="589"/>
                    </a:lnTo>
                    <a:lnTo>
                      <a:pt x="336" y="589"/>
                    </a:lnTo>
                    <a:lnTo>
                      <a:pt x="336" y="587"/>
                    </a:lnTo>
                    <a:lnTo>
                      <a:pt x="336" y="586"/>
                    </a:lnTo>
                    <a:lnTo>
                      <a:pt x="334" y="586"/>
                    </a:lnTo>
                    <a:lnTo>
                      <a:pt x="334" y="584"/>
                    </a:lnTo>
                    <a:lnTo>
                      <a:pt x="334" y="583"/>
                    </a:lnTo>
                    <a:lnTo>
                      <a:pt x="333" y="583"/>
                    </a:lnTo>
                    <a:lnTo>
                      <a:pt x="333" y="581"/>
                    </a:lnTo>
                    <a:lnTo>
                      <a:pt x="333" y="580"/>
                    </a:lnTo>
                    <a:lnTo>
                      <a:pt x="331" y="580"/>
                    </a:lnTo>
                    <a:lnTo>
                      <a:pt x="331" y="578"/>
                    </a:lnTo>
                    <a:lnTo>
                      <a:pt x="329" y="578"/>
                    </a:lnTo>
                    <a:lnTo>
                      <a:pt x="329" y="580"/>
                    </a:lnTo>
                    <a:lnTo>
                      <a:pt x="329" y="578"/>
                    </a:lnTo>
                    <a:lnTo>
                      <a:pt x="328" y="578"/>
                    </a:lnTo>
                    <a:lnTo>
                      <a:pt x="326" y="578"/>
                    </a:lnTo>
                    <a:lnTo>
                      <a:pt x="326" y="580"/>
                    </a:lnTo>
                    <a:lnTo>
                      <a:pt x="325" y="580"/>
                    </a:lnTo>
                    <a:lnTo>
                      <a:pt x="325" y="581"/>
                    </a:lnTo>
                    <a:lnTo>
                      <a:pt x="323" y="581"/>
                    </a:lnTo>
                    <a:lnTo>
                      <a:pt x="323" y="583"/>
                    </a:lnTo>
                    <a:lnTo>
                      <a:pt x="321" y="583"/>
                    </a:lnTo>
                    <a:lnTo>
                      <a:pt x="321" y="584"/>
                    </a:lnTo>
                    <a:lnTo>
                      <a:pt x="320" y="584"/>
                    </a:lnTo>
                    <a:lnTo>
                      <a:pt x="318" y="584"/>
                    </a:lnTo>
                    <a:lnTo>
                      <a:pt x="318" y="586"/>
                    </a:lnTo>
                    <a:lnTo>
                      <a:pt x="317" y="586"/>
                    </a:lnTo>
                    <a:lnTo>
                      <a:pt x="317" y="587"/>
                    </a:lnTo>
                    <a:lnTo>
                      <a:pt x="315" y="587"/>
                    </a:lnTo>
                    <a:lnTo>
                      <a:pt x="315" y="589"/>
                    </a:lnTo>
                    <a:lnTo>
                      <a:pt x="314" y="589"/>
                    </a:lnTo>
                    <a:lnTo>
                      <a:pt x="312" y="589"/>
                    </a:lnTo>
                    <a:lnTo>
                      <a:pt x="307" y="589"/>
                    </a:lnTo>
                    <a:lnTo>
                      <a:pt x="306" y="589"/>
                    </a:lnTo>
                    <a:lnTo>
                      <a:pt x="304" y="587"/>
                    </a:lnTo>
                    <a:lnTo>
                      <a:pt x="302" y="586"/>
                    </a:lnTo>
                    <a:lnTo>
                      <a:pt x="302" y="584"/>
                    </a:lnTo>
                    <a:lnTo>
                      <a:pt x="299" y="583"/>
                    </a:lnTo>
                    <a:lnTo>
                      <a:pt x="299" y="584"/>
                    </a:lnTo>
                    <a:lnTo>
                      <a:pt x="298" y="584"/>
                    </a:lnTo>
                    <a:lnTo>
                      <a:pt x="298" y="586"/>
                    </a:lnTo>
                    <a:lnTo>
                      <a:pt x="296" y="586"/>
                    </a:lnTo>
                    <a:lnTo>
                      <a:pt x="295" y="586"/>
                    </a:lnTo>
                    <a:lnTo>
                      <a:pt x="295" y="584"/>
                    </a:lnTo>
                    <a:lnTo>
                      <a:pt x="295" y="583"/>
                    </a:lnTo>
                    <a:lnTo>
                      <a:pt x="295" y="580"/>
                    </a:lnTo>
                    <a:lnTo>
                      <a:pt x="295" y="578"/>
                    </a:lnTo>
                    <a:lnTo>
                      <a:pt x="293" y="578"/>
                    </a:lnTo>
                    <a:lnTo>
                      <a:pt x="291" y="578"/>
                    </a:lnTo>
                    <a:lnTo>
                      <a:pt x="290" y="580"/>
                    </a:lnTo>
                    <a:lnTo>
                      <a:pt x="288" y="580"/>
                    </a:lnTo>
                    <a:lnTo>
                      <a:pt x="287" y="581"/>
                    </a:lnTo>
                    <a:lnTo>
                      <a:pt x="285" y="581"/>
                    </a:lnTo>
                    <a:lnTo>
                      <a:pt x="283" y="580"/>
                    </a:lnTo>
                    <a:lnTo>
                      <a:pt x="282" y="580"/>
                    </a:lnTo>
                    <a:lnTo>
                      <a:pt x="280" y="578"/>
                    </a:lnTo>
                    <a:lnTo>
                      <a:pt x="277" y="576"/>
                    </a:lnTo>
                    <a:lnTo>
                      <a:pt x="272" y="575"/>
                    </a:lnTo>
                    <a:lnTo>
                      <a:pt x="268" y="570"/>
                    </a:lnTo>
                    <a:lnTo>
                      <a:pt x="266" y="570"/>
                    </a:lnTo>
                    <a:lnTo>
                      <a:pt x="266" y="568"/>
                    </a:lnTo>
                    <a:lnTo>
                      <a:pt x="264" y="568"/>
                    </a:lnTo>
                    <a:lnTo>
                      <a:pt x="264" y="565"/>
                    </a:lnTo>
                    <a:lnTo>
                      <a:pt x="261" y="564"/>
                    </a:lnTo>
                    <a:lnTo>
                      <a:pt x="258" y="562"/>
                    </a:lnTo>
                    <a:lnTo>
                      <a:pt x="257" y="562"/>
                    </a:lnTo>
                    <a:lnTo>
                      <a:pt x="255" y="562"/>
                    </a:lnTo>
                    <a:lnTo>
                      <a:pt x="253" y="562"/>
                    </a:lnTo>
                    <a:lnTo>
                      <a:pt x="253" y="561"/>
                    </a:lnTo>
                    <a:lnTo>
                      <a:pt x="253" y="559"/>
                    </a:lnTo>
                    <a:lnTo>
                      <a:pt x="252" y="556"/>
                    </a:lnTo>
                    <a:lnTo>
                      <a:pt x="249" y="553"/>
                    </a:lnTo>
                    <a:lnTo>
                      <a:pt x="249" y="551"/>
                    </a:lnTo>
                    <a:lnTo>
                      <a:pt x="247" y="551"/>
                    </a:lnTo>
                    <a:lnTo>
                      <a:pt x="245" y="551"/>
                    </a:lnTo>
                    <a:lnTo>
                      <a:pt x="244" y="551"/>
                    </a:lnTo>
                    <a:lnTo>
                      <a:pt x="244" y="549"/>
                    </a:lnTo>
                    <a:lnTo>
                      <a:pt x="242" y="549"/>
                    </a:lnTo>
                    <a:lnTo>
                      <a:pt x="241" y="549"/>
                    </a:lnTo>
                    <a:lnTo>
                      <a:pt x="239" y="549"/>
                    </a:lnTo>
                    <a:lnTo>
                      <a:pt x="239" y="548"/>
                    </a:lnTo>
                    <a:lnTo>
                      <a:pt x="238" y="548"/>
                    </a:lnTo>
                    <a:lnTo>
                      <a:pt x="234" y="548"/>
                    </a:lnTo>
                    <a:lnTo>
                      <a:pt x="226" y="548"/>
                    </a:lnTo>
                    <a:lnTo>
                      <a:pt x="219" y="548"/>
                    </a:lnTo>
                    <a:lnTo>
                      <a:pt x="217" y="548"/>
                    </a:lnTo>
                    <a:lnTo>
                      <a:pt x="214" y="548"/>
                    </a:lnTo>
                    <a:lnTo>
                      <a:pt x="212" y="546"/>
                    </a:lnTo>
                    <a:lnTo>
                      <a:pt x="209" y="545"/>
                    </a:lnTo>
                    <a:lnTo>
                      <a:pt x="206" y="543"/>
                    </a:lnTo>
                    <a:lnTo>
                      <a:pt x="204" y="543"/>
                    </a:lnTo>
                    <a:lnTo>
                      <a:pt x="198" y="540"/>
                    </a:lnTo>
                    <a:lnTo>
                      <a:pt x="193" y="540"/>
                    </a:lnTo>
                    <a:lnTo>
                      <a:pt x="190" y="540"/>
                    </a:lnTo>
                    <a:lnTo>
                      <a:pt x="187" y="540"/>
                    </a:lnTo>
                    <a:lnTo>
                      <a:pt x="184" y="542"/>
                    </a:lnTo>
                    <a:lnTo>
                      <a:pt x="181" y="542"/>
                    </a:lnTo>
                    <a:lnTo>
                      <a:pt x="179" y="542"/>
                    </a:lnTo>
                    <a:lnTo>
                      <a:pt x="179" y="540"/>
                    </a:lnTo>
                    <a:lnTo>
                      <a:pt x="177" y="537"/>
                    </a:lnTo>
                    <a:lnTo>
                      <a:pt x="166" y="523"/>
                    </a:lnTo>
                    <a:lnTo>
                      <a:pt x="166" y="521"/>
                    </a:lnTo>
                    <a:lnTo>
                      <a:pt x="162" y="515"/>
                    </a:lnTo>
                    <a:lnTo>
                      <a:pt x="163" y="511"/>
                    </a:lnTo>
                    <a:lnTo>
                      <a:pt x="165" y="508"/>
                    </a:lnTo>
                    <a:lnTo>
                      <a:pt x="163" y="508"/>
                    </a:lnTo>
                    <a:lnTo>
                      <a:pt x="160" y="507"/>
                    </a:lnTo>
                    <a:lnTo>
                      <a:pt x="158" y="505"/>
                    </a:lnTo>
                    <a:lnTo>
                      <a:pt x="157" y="504"/>
                    </a:lnTo>
                    <a:lnTo>
                      <a:pt x="155" y="504"/>
                    </a:lnTo>
                    <a:lnTo>
                      <a:pt x="154" y="502"/>
                    </a:lnTo>
                    <a:lnTo>
                      <a:pt x="152" y="502"/>
                    </a:lnTo>
                    <a:lnTo>
                      <a:pt x="149" y="502"/>
                    </a:lnTo>
                    <a:lnTo>
                      <a:pt x="147" y="500"/>
                    </a:lnTo>
                    <a:lnTo>
                      <a:pt x="146" y="499"/>
                    </a:lnTo>
                    <a:lnTo>
                      <a:pt x="144" y="497"/>
                    </a:lnTo>
                    <a:lnTo>
                      <a:pt x="142" y="497"/>
                    </a:lnTo>
                    <a:lnTo>
                      <a:pt x="141" y="497"/>
                    </a:lnTo>
                    <a:lnTo>
                      <a:pt x="138" y="499"/>
                    </a:lnTo>
                    <a:lnTo>
                      <a:pt x="136" y="499"/>
                    </a:lnTo>
                    <a:lnTo>
                      <a:pt x="135" y="499"/>
                    </a:lnTo>
                    <a:lnTo>
                      <a:pt x="131" y="499"/>
                    </a:lnTo>
                    <a:lnTo>
                      <a:pt x="130" y="500"/>
                    </a:lnTo>
                    <a:lnTo>
                      <a:pt x="128" y="500"/>
                    </a:lnTo>
                    <a:lnTo>
                      <a:pt x="127" y="500"/>
                    </a:lnTo>
                    <a:lnTo>
                      <a:pt x="125" y="500"/>
                    </a:lnTo>
                    <a:lnTo>
                      <a:pt x="123" y="500"/>
                    </a:lnTo>
                    <a:lnTo>
                      <a:pt x="122" y="500"/>
                    </a:lnTo>
                    <a:lnTo>
                      <a:pt x="122" y="502"/>
                    </a:lnTo>
                    <a:lnTo>
                      <a:pt x="120" y="502"/>
                    </a:lnTo>
                    <a:lnTo>
                      <a:pt x="111" y="502"/>
                    </a:lnTo>
                    <a:lnTo>
                      <a:pt x="109" y="502"/>
                    </a:lnTo>
                    <a:lnTo>
                      <a:pt x="106" y="502"/>
                    </a:lnTo>
                    <a:lnTo>
                      <a:pt x="104" y="502"/>
                    </a:lnTo>
                    <a:lnTo>
                      <a:pt x="93" y="502"/>
                    </a:lnTo>
                    <a:lnTo>
                      <a:pt x="92" y="502"/>
                    </a:lnTo>
                    <a:lnTo>
                      <a:pt x="90" y="502"/>
                    </a:lnTo>
                    <a:lnTo>
                      <a:pt x="89" y="502"/>
                    </a:lnTo>
                    <a:lnTo>
                      <a:pt x="87" y="502"/>
                    </a:lnTo>
                    <a:lnTo>
                      <a:pt x="87" y="500"/>
                    </a:lnTo>
                    <a:lnTo>
                      <a:pt x="85" y="500"/>
                    </a:lnTo>
                    <a:lnTo>
                      <a:pt x="84" y="500"/>
                    </a:lnTo>
                    <a:lnTo>
                      <a:pt x="82" y="500"/>
                    </a:lnTo>
                    <a:lnTo>
                      <a:pt x="82" y="499"/>
                    </a:lnTo>
                    <a:lnTo>
                      <a:pt x="78" y="496"/>
                    </a:lnTo>
                    <a:lnTo>
                      <a:pt x="74" y="494"/>
                    </a:lnTo>
                    <a:lnTo>
                      <a:pt x="73" y="494"/>
                    </a:lnTo>
                    <a:lnTo>
                      <a:pt x="71" y="492"/>
                    </a:lnTo>
                    <a:lnTo>
                      <a:pt x="68" y="489"/>
                    </a:lnTo>
                    <a:lnTo>
                      <a:pt x="65" y="488"/>
                    </a:lnTo>
                    <a:lnTo>
                      <a:pt x="65" y="486"/>
                    </a:lnTo>
                    <a:lnTo>
                      <a:pt x="63" y="486"/>
                    </a:lnTo>
                    <a:lnTo>
                      <a:pt x="62" y="485"/>
                    </a:lnTo>
                    <a:lnTo>
                      <a:pt x="60" y="483"/>
                    </a:lnTo>
                    <a:lnTo>
                      <a:pt x="59" y="483"/>
                    </a:lnTo>
                    <a:lnTo>
                      <a:pt x="57" y="481"/>
                    </a:lnTo>
                    <a:lnTo>
                      <a:pt x="57" y="480"/>
                    </a:lnTo>
                    <a:lnTo>
                      <a:pt x="52" y="480"/>
                    </a:lnTo>
                    <a:lnTo>
                      <a:pt x="51" y="480"/>
                    </a:lnTo>
                    <a:lnTo>
                      <a:pt x="51" y="478"/>
                    </a:lnTo>
                    <a:lnTo>
                      <a:pt x="51" y="477"/>
                    </a:lnTo>
                    <a:lnTo>
                      <a:pt x="51" y="475"/>
                    </a:lnTo>
                    <a:lnTo>
                      <a:pt x="51" y="473"/>
                    </a:lnTo>
                    <a:lnTo>
                      <a:pt x="51" y="472"/>
                    </a:lnTo>
                    <a:lnTo>
                      <a:pt x="51" y="470"/>
                    </a:lnTo>
                    <a:lnTo>
                      <a:pt x="49" y="469"/>
                    </a:lnTo>
                    <a:lnTo>
                      <a:pt x="49" y="467"/>
                    </a:lnTo>
                    <a:lnTo>
                      <a:pt x="49" y="466"/>
                    </a:lnTo>
                    <a:lnTo>
                      <a:pt x="49" y="464"/>
                    </a:lnTo>
                    <a:lnTo>
                      <a:pt x="49" y="462"/>
                    </a:lnTo>
                    <a:lnTo>
                      <a:pt x="49" y="461"/>
                    </a:lnTo>
                    <a:lnTo>
                      <a:pt x="49" y="459"/>
                    </a:lnTo>
                    <a:lnTo>
                      <a:pt x="49" y="458"/>
                    </a:lnTo>
                    <a:lnTo>
                      <a:pt x="51" y="456"/>
                    </a:lnTo>
                    <a:lnTo>
                      <a:pt x="52" y="456"/>
                    </a:lnTo>
                    <a:lnTo>
                      <a:pt x="54" y="456"/>
                    </a:lnTo>
                    <a:lnTo>
                      <a:pt x="55" y="456"/>
                    </a:lnTo>
                    <a:lnTo>
                      <a:pt x="57" y="456"/>
                    </a:lnTo>
                    <a:lnTo>
                      <a:pt x="59" y="456"/>
                    </a:lnTo>
                    <a:lnTo>
                      <a:pt x="59" y="454"/>
                    </a:lnTo>
                    <a:lnTo>
                      <a:pt x="59" y="453"/>
                    </a:lnTo>
                    <a:lnTo>
                      <a:pt x="59" y="451"/>
                    </a:lnTo>
                    <a:lnTo>
                      <a:pt x="57" y="451"/>
                    </a:lnTo>
                    <a:lnTo>
                      <a:pt x="57" y="450"/>
                    </a:lnTo>
                    <a:lnTo>
                      <a:pt x="57" y="448"/>
                    </a:lnTo>
                    <a:lnTo>
                      <a:pt x="55" y="448"/>
                    </a:lnTo>
                    <a:lnTo>
                      <a:pt x="55" y="447"/>
                    </a:lnTo>
                    <a:lnTo>
                      <a:pt x="54" y="445"/>
                    </a:lnTo>
                    <a:lnTo>
                      <a:pt x="54" y="443"/>
                    </a:lnTo>
                    <a:lnTo>
                      <a:pt x="52" y="442"/>
                    </a:lnTo>
                    <a:lnTo>
                      <a:pt x="51" y="440"/>
                    </a:lnTo>
                    <a:lnTo>
                      <a:pt x="49" y="440"/>
                    </a:lnTo>
                    <a:lnTo>
                      <a:pt x="49" y="439"/>
                    </a:lnTo>
                    <a:lnTo>
                      <a:pt x="47" y="439"/>
                    </a:lnTo>
                    <a:lnTo>
                      <a:pt x="47" y="437"/>
                    </a:lnTo>
                    <a:lnTo>
                      <a:pt x="46" y="437"/>
                    </a:lnTo>
                    <a:lnTo>
                      <a:pt x="44" y="435"/>
                    </a:lnTo>
                    <a:lnTo>
                      <a:pt x="43" y="434"/>
                    </a:lnTo>
                    <a:lnTo>
                      <a:pt x="41" y="432"/>
                    </a:lnTo>
                    <a:lnTo>
                      <a:pt x="40" y="432"/>
                    </a:lnTo>
                    <a:lnTo>
                      <a:pt x="40" y="431"/>
                    </a:lnTo>
                    <a:lnTo>
                      <a:pt x="38" y="431"/>
                    </a:lnTo>
                    <a:lnTo>
                      <a:pt x="38" y="429"/>
                    </a:lnTo>
                    <a:lnTo>
                      <a:pt x="36" y="429"/>
                    </a:lnTo>
                    <a:lnTo>
                      <a:pt x="35" y="428"/>
                    </a:lnTo>
                    <a:lnTo>
                      <a:pt x="33" y="426"/>
                    </a:lnTo>
                    <a:lnTo>
                      <a:pt x="32" y="426"/>
                    </a:lnTo>
                    <a:lnTo>
                      <a:pt x="32" y="424"/>
                    </a:lnTo>
                    <a:lnTo>
                      <a:pt x="30" y="423"/>
                    </a:lnTo>
                    <a:lnTo>
                      <a:pt x="28" y="421"/>
                    </a:lnTo>
                    <a:lnTo>
                      <a:pt x="27" y="421"/>
                    </a:lnTo>
                    <a:lnTo>
                      <a:pt x="27" y="420"/>
                    </a:lnTo>
                    <a:lnTo>
                      <a:pt x="25" y="418"/>
                    </a:lnTo>
                    <a:lnTo>
                      <a:pt x="27" y="416"/>
                    </a:lnTo>
                    <a:lnTo>
                      <a:pt x="28" y="416"/>
                    </a:lnTo>
                    <a:lnTo>
                      <a:pt x="30" y="415"/>
                    </a:lnTo>
                    <a:lnTo>
                      <a:pt x="32" y="413"/>
                    </a:lnTo>
                    <a:lnTo>
                      <a:pt x="33" y="413"/>
                    </a:lnTo>
                    <a:lnTo>
                      <a:pt x="35" y="410"/>
                    </a:lnTo>
                    <a:lnTo>
                      <a:pt x="33" y="408"/>
                    </a:lnTo>
                    <a:lnTo>
                      <a:pt x="32" y="407"/>
                    </a:lnTo>
                    <a:lnTo>
                      <a:pt x="30" y="405"/>
                    </a:lnTo>
                    <a:lnTo>
                      <a:pt x="28" y="405"/>
                    </a:lnTo>
                    <a:lnTo>
                      <a:pt x="27" y="404"/>
                    </a:lnTo>
                    <a:lnTo>
                      <a:pt x="25" y="402"/>
                    </a:lnTo>
                    <a:lnTo>
                      <a:pt x="22" y="401"/>
                    </a:lnTo>
                    <a:lnTo>
                      <a:pt x="21" y="399"/>
                    </a:lnTo>
                    <a:lnTo>
                      <a:pt x="19" y="397"/>
                    </a:lnTo>
                    <a:lnTo>
                      <a:pt x="17" y="394"/>
                    </a:lnTo>
                    <a:lnTo>
                      <a:pt x="16" y="393"/>
                    </a:lnTo>
                    <a:lnTo>
                      <a:pt x="11" y="391"/>
                    </a:lnTo>
                    <a:lnTo>
                      <a:pt x="8" y="388"/>
                    </a:lnTo>
                    <a:lnTo>
                      <a:pt x="5" y="386"/>
                    </a:lnTo>
                    <a:lnTo>
                      <a:pt x="5" y="385"/>
                    </a:lnTo>
                    <a:lnTo>
                      <a:pt x="5" y="383"/>
                    </a:lnTo>
                    <a:lnTo>
                      <a:pt x="5" y="382"/>
                    </a:lnTo>
                    <a:lnTo>
                      <a:pt x="6" y="380"/>
                    </a:lnTo>
                    <a:lnTo>
                      <a:pt x="8" y="378"/>
                    </a:lnTo>
                    <a:lnTo>
                      <a:pt x="9" y="375"/>
                    </a:lnTo>
                    <a:lnTo>
                      <a:pt x="11" y="375"/>
                    </a:lnTo>
                    <a:lnTo>
                      <a:pt x="11" y="374"/>
                    </a:lnTo>
                    <a:lnTo>
                      <a:pt x="13" y="374"/>
                    </a:lnTo>
                    <a:lnTo>
                      <a:pt x="13" y="375"/>
                    </a:lnTo>
                    <a:lnTo>
                      <a:pt x="14" y="375"/>
                    </a:lnTo>
                    <a:lnTo>
                      <a:pt x="16" y="375"/>
                    </a:lnTo>
                    <a:lnTo>
                      <a:pt x="17" y="375"/>
                    </a:lnTo>
                    <a:lnTo>
                      <a:pt x="19" y="375"/>
                    </a:lnTo>
                    <a:lnTo>
                      <a:pt x="21" y="375"/>
                    </a:lnTo>
                    <a:lnTo>
                      <a:pt x="22" y="375"/>
                    </a:lnTo>
                    <a:lnTo>
                      <a:pt x="24" y="374"/>
                    </a:lnTo>
                    <a:lnTo>
                      <a:pt x="25" y="374"/>
                    </a:lnTo>
                    <a:lnTo>
                      <a:pt x="28" y="372"/>
                    </a:lnTo>
                    <a:lnTo>
                      <a:pt x="30" y="369"/>
                    </a:lnTo>
                    <a:lnTo>
                      <a:pt x="32" y="369"/>
                    </a:lnTo>
                    <a:lnTo>
                      <a:pt x="33" y="367"/>
                    </a:lnTo>
                    <a:lnTo>
                      <a:pt x="36" y="366"/>
                    </a:lnTo>
                    <a:lnTo>
                      <a:pt x="40" y="366"/>
                    </a:lnTo>
                    <a:lnTo>
                      <a:pt x="43" y="364"/>
                    </a:lnTo>
                    <a:lnTo>
                      <a:pt x="46" y="364"/>
                    </a:lnTo>
                    <a:lnTo>
                      <a:pt x="47" y="363"/>
                    </a:lnTo>
                    <a:lnTo>
                      <a:pt x="51" y="361"/>
                    </a:lnTo>
                    <a:lnTo>
                      <a:pt x="54" y="361"/>
                    </a:lnTo>
                    <a:lnTo>
                      <a:pt x="57" y="361"/>
                    </a:lnTo>
                    <a:lnTo>
                      <a:pt x="60" y="359"/>
                    </a:lnTo>
                    <a:lnTo>
                      <a:pt x="62" y="358"/>
                    </a:lnTo>
                    <a:lnTo>
                      <a:pt x="65" y="356"/>
                    </a:lnTo>
                    <a:lnTo>
                      <a:pt x="68" y="355"/>
                    </a:lnTo>
                    <a:lnTo>
                      <a:pt x="68" y="353"/>
                    </a:lnTo>
                    <a:lnTo>
                      <a:pt x="70" y="353"/>
                    </a:lnTo>
                    <a:lnTo>
                      <a:pt x="70" y="351"/>
                    </a:lnTo>
                    <a:lnTo>
                      <a:pt x="71" y="350"/>
                    </a:lnTo>
                    <a:lnTo>
                      <a:pt x="71" y="348"/>
                    </a:lnTo>
                    <a:lnTo>
                      <a:pt x="73" y="348"/>
                    </a:lnTo>
                    <a:lnTo>
                      <a:pt x="74" y="347"/>
                    </a:lnTo>
                    <a:lnTo>
                      <a:pt x="76" y="347"/>
                    </a:lnTo>
                    <a:lnTo>
                      <a:pt x="78" y="345"/>
                    </a:lnTo>
                    <a:lnTo>
                      <a:pt x="78" y="344"/>
                    </a:lnTo>
                    <a:lnTo>
                      <a:pt x="78" y="342"/>
                    </a:lnTo>
                    <a:lnTo>
                      <a:pt x="79" y="340"/>
                    </a:lnTo>
                    <a:lnTo>
                      <a:pt x="79" y="339"/>
                    </a:lnTo>
                    <a:lnTo>
                      <a:pt x="82" y="340"/>
                    </a:lnTo>
                    <a:lnTo>
                      <a:pt x="82" y="339"/>
                    </a:lnTo>
                    <a:lnTo>
                      <a:pt x="84" y="337"/>
                    </a:lnTo>
                    <a:lnTo>
                      <a:pt x="84" y="336"/>
                    </a:lnTo>
                    <a:lnTo>
                      <a:pt x="85" y="334"/>
                    </a:lnTo>
                    <a:lnTo>
                      <a:pt x="85" y="332"/>
                    </a:lnTo>
                    <a:lnTo>
                      <a:pt x="87" y="332"/>
                    </a:lnTo>
                    <a:lnTo>
                      <a:pt x="87" y="331"/>
                    </a:lnTo>
                    <a:lnTo>
                      <a:pt x="89" y="331"/>
                    </a:lnTo>
                    <a:lnTo>
                      <a:pt x="89" y="329"/>
                    </a:lnTo>
                    <a:lnTo>
                      <a:pt x="89" y="328"/>
                    </a:lnTo>
                    <a:lnTo>
                      <a:pt x="90" y="328"/>
                    </a:lnTo>
                    <a:lnTo>
                      <a:pt x="92" y="326"/>
                    </a:lnTo>
                    <a:lnTo>
                      <a:pt x="93" y="326"/>
                    </a:lnTo>
                    <a:lnTo>
                      <a:pt x="93" y="325"/>
                    </a:lnTo>
                    <a:lnTo>
                      <a:pt x="95" y="325"/>
                    </a:lnTo>
                    <a:lnTo>
                      <a:pt x="95" y="323"/>
                    </a:lnTo>
                    <a:lnTo>
                      <a:pt x="97" y="323"/>
                    </a:lnTo>
                    <a:lnTo>
                      <a:pt x="97" y="321"/>
                    </a:lnTo>
                    <a:lnTo>
                      <a:pt x="97" y="320"/>
                    </a:lnTo>
                    <a:lnTo>
                      <a:pt x="98" y="320"/>
                    </a:lnTo>
                    <a:lnTo>
                      <a:pt x="98" y="318"/>
                    </a:lnTo>
                    <a:lnTo>
                      <a:pt x="98" y="317"/>
                    </a:lnTo>
                    <a:lnTo>
                      <a:pt x="98" y="315"/>
                    </a:lnTo>
                    <a:lnTo>
                      <a:pt x="98" y="313"/>
                    </a:lnTo>
                    <a:lnTo>
                      <a:pt x="100" y="312"/>
                    </a:lnTo>
                    <a:lnTo>
                      <a:pt x="101" y="312"/>
                    </a:lnTo>
                    <a:lnTo>
                      <a:pt x="100" y="312"/>
                    </a:lnTo>
                    <a:lnTo>
                      <a:pt x="98" y="310"/>
                    </a:lnTo>
                    <a:lnTo>
                      <a:pt x="98" y="309"/>
                    </a:lnTo>
                    <a:lnTo>
                      <a:pt x="100" y="309"/>
                    </a:lnTo>
                    <a:lnTo>
                      <a:pt x="100" y="307"/>
                    </a:lnTo>
                    <a:lnTo>
                      <a:pt x="101" y="306"/>
                    </a:lnTo>
                    <a:lnTo>
                      <a:pt x="101" y="304"/>
                    </a:lnTo>
                    <a:lnTo>
                      <a:pt x="103" y="304"/>
                    </a:lnTo>
                    <a:lnTo>
                      <a:pt x="103" y="302"/>
                    </a:lnTo>
                    <a:lnTo>
                      <a:pt x="104" y="302"/>
                    </a:lnTo>
                    <a:lnTo>
                      <a:pt x="104" y="301"/>
                    </a:lnTo>
                    <a:lnTo>
                      <a:pt x="106" y="301"/>
                    </a:lnTo>
                    <a:lnTo>
                      <a:pt x="106" y="299"/>
                    </a:lnTo>
                    <a:lnTo>
                      <a:pt x="104" y="299"/>
                    </a:lnTo>
                    <a:lnTo>
                      <a:pt x="103" y="299"/>
                    </a:lnTo>
                    <a:lnTo>
                      <a:pt x="101" y="299"/>
                    </a:lnTo>
                    <a:lnTo>
                      <a:pt x="101" y="298"/>
                    </a:lnTo>
                    <a:lnTo>
                      <a:pt x="103" y="298"/>
                    </a:lnTo>
                    <a:lnTo>
                      <a:pt x="101" y="296"/>
                    </a:lnTo>
                    <a:lnTo>
                      <a:pt x="101" y="294"/>
                    </a:lnTo>
                    <a:lnTo>
                      <a:pt x="100" y="294"/>
                    </a:lnTo>
                    <a:lnTo>
                      <a:pt x="98" y="293"/>
                    </a:lnTo>
                    <a:lnTo>
                      <a:pt x="98" y="291"/>
                    </a:lnTo>
                    <a:lnTo>
                      <a:pt x="98" y="290"/>
                    </a:lnTo>
                    <a:lnTo>
                      <a:pt x="98" y="288"/>
                    </a:lnTo>
                    <a:lnTo>
                      <a:pt x="98" y="287"/>
                    </a:lnTo>
                    <a:lnTo>
                      <a:pt x="98" y="285"/>
                    </a:lnTo>
                    <a:lnTo>
                      <a:pt x="98" y="287"/>
                    </a:lnTo>
                    <a:lnTo>
                      <a:pt x="97" y="287"/>
                    </a:lnTo>
                    <a:lnTo>
                      <a:pt x="97" y="288"/>
                    </a:lnTo>
                    <a:lnTo>
                      <a:pt x="95" y="287"/>
                    </a:lnTo>
                    <a:lnTo>
                      <a:pt x="95" y="285"/>
                    </a:lnTo>
                    <a:lnTo>
                      <a:pt x="95" y="283"/>
                    </a:lnTo>
                    <a:lnTo>
                      <a:pt x="95" y="282"/>
                    </a:lnTo>
                    <a:lnTo>
                      <a:pt x="93" y="282"/>
                    </a:lnTo>
                    <a:lnTo>
                      <a:pt x="92" y="282"/>
                    </a:lnTo>
                    <a:lnTo>
                      <a:pt x="92" y="280"/>
                    </a:lnTo>
                    <a:lnTo>
                      <a:pt x="90" y="277"/>
                    </a:lnTo>
                    <a:lnTo>
                      <a:pt x="90" y="275"/>
                    </a:lnTo>
                    <a:lnTo>
                      <a:pt x="92" y="274"/>
                    </a:lnTo>
                    <a:lnTo>
                      <a:pt x="93" y="272"/>
                    </a:lnTo>
                    <a:lnTo>
                      <a:pt x="93" y="271"/>
                    </a:lnTo>
                    <a:lnTo>
                      <a:pt x="93" y="269"/>
                    </a:lnTo>
                    <a:lnTo>
                      <a:pt x="93" y="268"/>
                    </a:lnTo>
                    <a:lnTo>
                      <a:pt x="95" y="266"/>
                    </a:lnTo>
                    <a:lnTo>
                      <a:pt x="93" y="264"/>
                    </a:lnTo>
                    <a:lnTo>
                      <a:pt x="93" y="263"/>
                    </a:lnTo>
                    <a:lnTo>
                      <a:pt x="92" y="263"/>
                    </a:lnTo>
                    <a:lnTo>
                      <a:pt x="92" y="261"/>
                    </a:lnTo>
                    <a:lnTo>
                      <a:pt x="90" y="261"/>
                    </a:lnTo>
                    <a:lnTo>
                      <a:pt x="90" y="260"/>
                    </a:lnTo>
                    <a:lnTo>
                      <a:pt x="89" y="260"/>
                    </a:lnTo>
                    <a:lnTo>
                      <a:pt x="90" y="260"/>
                    </a:lnTo>
                    <a:lnTo>
                      <a:pt x="90" y="258"/>
                    </a:lnTo>
                    <a:lnTo>
                      <a:pt x="92" y="258"/>
                    </a:lnTo>
                    <a:lnTo>
                      <a:pt x="92" y="256"/>
                    </a:lnTo>
                    <a:lnTo>
                      <a:pt x="93" y="256"/>
                    </a:lnTo>
                    <a:lnTo>
                      <a:pt x="93" y="255"/>
                    </a:lnTo>
                    <a:lnTo>
                      <a:pt x="93" y="253"/>
                    </a:lnTo>
                    <a:lnTo>
                      <a:pt x="95" y="252"/>
                    </a:lnTo>
                    <a:lnTo>
                      <a:pt x="97" y="252"/>
                    </a:lnTo>
                    <a:lnTo>
                      <a:pt x="98" y="252"/>
                    </a:lnTo>
                    <a:lnTo>
                      <a:pt x="98" y="250"/>
                    </a:lnTo>
                    <a:lnTo>
                      <a:pt x="98" y="249"/>
                    </a:lnTo>
                    <a:lnTo>
                      <a:pt x="97" y="249"/>
                    </a:lnTo>
                    <a:lnTo>
                      <a:pt x="97" y="247"/>
                    </a:lnTo>
                    <a:lnTo>
                      <a:pt x="98" y="245"/>
                    </a:lnTo>
                    <a:lnTo>
                      <a:pt x="98" y="247"/>
                    </a:lnTo>
                    <a:lnTo>
                      <a:pt x="100" y="247"/>
                    </a:lnTo>
                    <a:lnTo>
                      <a:pt x="100" y="249"/>
                    </a:lnTo>
                    <a:lnTo>
                      <a:pt x="101" y="249"/>
                    </a:lnTo>
                    <a:lnTo>
                      <a:pt x="101" y="247"/>
                    </a:lnTo>
                    <a:lnTo>
                      <a:pt x="101" y="245"/>
                    </a:lnTo>
                    <a:lnTo>
                      <a:pt x="100" y="245"/>
                    </a:lnTo>
                    <a:lnTo>
                      <a:pt x="100" y="244"/>
                    </a:lnTo>
                    <a:lnTo>
                      <a:pt x="101" y="242"/>
                    </a:lnTo>
                    <a:lnTo>
                      <a:pt x="103" y="244"/>
                    </a:lnTo>
                    <a:lnTo>
                      <a:pt x="104" y="244"/>
                    </a:lnTo>
                    <a:lnTo>
                      <a:pt x="106" y="244"/>
                    </a:lnTo>
                    <a:lnTo>
                      <a:pt x="104" y="242"/>
                    </a:lnTo>
                    <a:lnTo>
                      <a:pt x="104" y="241"/>
                    </a:lnTo>
                    <a:lnTo>
                      <a:pt x="103" y="241"/>
                    </a:lnTo>
                    <a:lnTo>
                      <a:pt x="103" y="239"/>
                    </a:lnTo>
                    <a:lnTo>
                      <a:pt x="103" y="237"/>
                    </a:lnTo>
                    <a:lnTo>
                      <a:pt x="103" y="236"/>
                    </a:lnTo>
                    <a:lnTo>
                      <a:pt x="104" y="236"/>
                    </a:lnTo>
                    <a:lnTo>
                      <a:pt x="106" y="236"/>
                    </a:lnTo>
                    <a:lnTo>
                      <a:pt x="106" y="234"/>
                    </a:lnTo>
                    <a:lnTo>
                      <a:pt x="108" y="234"/>
                    </a:lnTo>
                    <a:lnTo>
                      <a:pt x="109" y="234"/>
                    </a:lnTo>
                    <a:lnTo>
                      <a:pt x="111" y="234"/>
                    </a:lnTo>
                    <a:lnTo>
                      <a:pt x="111" y="236"/>
                    </a:lnTo>
                    <a:lnTo>
                      <a:pt x="112" y="236"/>
                    </a:lnTo>
                    <a:lnTo>
                      <a:pt x="112" y="237"/>
                    </a:lnTo>
                    <a:lnTo>
                      <a:pt x="114" y="236"/>
                    </a:lnTo>
                    <a:lnTo>
                      <a:pt x="116" y="236"/>
                    </a:lnTo>
                    <a:lnTo>
                      <a:pt x="117" y="236"/>
                    </a:lnTo>
                    <a:lnTo>
                      <a:pt x="119" y="234"/>
                    </a:lnTo>
                    <a:lnTo>
                      <a:pt x="120" y="236"/>
                    </a:lnTo>
                    <a:lnTo>
                      <a:pt x="120" y="237"/>
                    </a:lnTo>
                    <a:lnTo>
                      <a:pt x="122" y="237"/>
                    </a:lnTo>
                    <a:lnTo>
                      <a:pt x="123" y="237"/>
                    </a:lnTo>
                    <a:lnTo>
                      <a:pt x="125" y="237"/>
                    </a:lnTo>
                    <a:lnTo>
                      <a:pt x="127" y="237"/>
                    </a:lnTo>
                    <a:lnTo>
                      <a:pt x="127" y="236"/>
                    </a:lnTo>
                    <a:lnTo>
                      <a:pt x="128" y="236"/>
                    </a:lnTo>
                    <a:lnTo>
                      <a:pt x="130" y="234"/>
                    </a:lnTo>
                    <a:lnTo>
                      <a:pt x="130" y="233"/>
                    </a:lnTo>
                    <a:lnTo>
                      <a:pt x="131" y="233"/>
                    </a:lnTo>
                    <a:lnTo>
                      <a:pt x="133" y="231"/>
                    </a:lnTo>
                    <a:lnTo>
                      <a:pt x="135" y="231"/>
                    </a:lnTo>
                    <a:lnTo>
                      <a:pt x="135" y="229"/>
                    </a:lnTo>
                    <a:lnTo>
                      <a:pt x="135" y="228"/>
                    </a:lnTo>
                    <a:lnTo>
                      <a:pt x="136" y="228"/>
                    </a:lnTo>
                    <a:lnTo>
                      <a:pt x="136" y="226"/>
                    </a:lnTo>
                    <a:lnTo>
                      <a:pt x="136" y="225"/>
                    </a:lnTo>
                    <a:lnTo>
                      <a:pt x="138" y="225"/>
                    </a:lnTo>
                    <a:lnTo>
                      <a:pt x="138" y="223"/>
                    </a:lnTo>
                    <a:lnTo>
                      <a:pt x="139" y="223"/>
                    </a:lnTo>
                    <a:lnTo>
                      <a:pt x="139" y="222"/>
                    </a:lnTo>
                    <a:lnTo>
                      <a:pt x="139" y="220"/>
                    </a:lnTo>
                    <a:lnTo>
                      <a:pt x="141" y="220"/>
                    </a:lnTo>
                    <a:lnTo>
                      <a:pt x="141" y="218"/>
                    </a:lnTo>
                    <a:lnTo>
                      <a:pt x="142" y="217"/>
                    </a:lnTo>
                    <a:lnTo>
                      <a:pt x="144" y="217"/>
                    </a:lnTo>
                    <a:lnTo>
                      <a:pt x="144" y="215"/>
                    </a:lnTo>
                    <a:lnTo>
                      <a:pt x="146" y="214"/>
                    </a:lnTo>
                    <a:lnTo>
                      <a:pt x="147" y="214"/>
                    </a:lnTo>
                    <a:lnTo>
                      <a:pt x="149" y="214"/>
                    </a:lnTo>
                    <a:lnTo>
                      <a:pt x="150" y="214"/>
                    </a:lnTo>
                    <a:lnTo>
                      <a:pt x="150" y="212"/>
                    </a:lnTo>
                    <a:lnTo>
                      <a:pt x="152" y="212"/>
                    </a:lnTo>
                    <a:lnTo>
                      <a:pt x="154" y="212"/>
                    </a:lnTo>
                    <a:lnTo>
                      <a:pt x="154" y="210"/>
                    </a:lnTo>
                    <a:lnTo>
                      <a:pt x="155" y="210"/>
                    </a:lnTo>
                    <a:lnTo>
                      <a:pt x="155" y="209"/>
                    </a:lnTo>
                    <a:lnTo>
                      <a:pt x="157" y="209"/>
                    </a:lnTo>
                    <a:lnTo>
                      <a:pt x="157" y="207"/>
                    </a:lnTo>
                    <a:lnTo>
                      <a:pt x="158" y="206"/>
                    </a:lnTo>
                    <a:lnTo>
                      <a:pt x="160" y="206"/>
                    </a:lnTo>
                    <a:lnTo>
                      <a:pt x="160" y="204"/>
                    </a:lnTo>
                    <a:lnTo>
                      <a:pt x="162" y="204"/>
                    </a:lnTo>
                    <a:lnTo>
                      <a:pt x="162" y="203"/>
                    </a:lnTo>
                    <a:lnTo>
                      <a:pt x="162" y="201"/>
                    </a:lnTo>
                    <a:lnTo>
                      <a:pt x="163" y="201"/>
                    </a:lnTo>
                    <a:lnTo>
                      <a:pt x="163" y="203"/>
                    </a:lnTo>
                    <a:lnTo>
                      <a:pt x="165" y="203"/>
                    </a:lnTo>
                    <a:lnTo>
                      <a:pt x="166" y="203"/>
                    </a:lnTo>
                    <a:lnTo>
                      <a:pt x="166" y="204"/>
                    </a:lnTo>
                    <a:lnTo>
                      <a:pt x="168" y="204"/>
                    </a:lnTo>
                    <a:lnTo>
                      <a:pt x="168" y="206"/>
                    </a:lnTo>
                    <a:lnTo>
                      <a:pt x="169" y="206"/>
                    </a:lnTo>
                    <a:lnTo>
                      <a:pt x="171" y="206"/>
                    </a:lnTo>
                    <a:lnTo>
                      <a:pt x="173" y="207"/>
                    </a:lnTo>
                    <a:lnTo>
                      <a:pt x="174" y="207"/>
                    </a:lnTo>
                    <a:lnTo>
                      <a:pt x="174" y="209"/>
                    </a:lnTo>
                    <a:lnTo>
                      <a:pt x="176" y="209"/>
                    </a:lnTo>
                    <a:lnTo>
                      <a:pt x="177" y="209"/>
                    </a:lnTo>
                    <a:lnTo>
                      <a:pt x="179" y="209"/>
                    </a:lnTo>
                    <a:lnTo>
                      <a:pt x="179" y="210"/>
                    </a:lnTo>
                    <a:lnTo>
                      <a:pt x="181" y="210"/>
                    </a:lnTo>
                    <a:lnTo>
                      <a:pt x="181" y="212"/>
                    </a:lnTo>
                    <a:lnTo>
                      <a:pt x="181" y="214"/>
                    </a:lnTo>
                    <a:lnTo>
                      <a:pt x="179" y="214"/>
                    </a:lnTo>
                    <a:lnTo>
                      <a:pt x="179" y="215"/>
                    </a:lnTo>
                    <a:lnTo>
                      <a:pt x="177" y="215"/>
                    </a:lnTo>
                    <a:lnTo>
                      <a:pt x="176" y="217"/>
                    </a:lnTo>
                    <a:lnTo>
                      <a:pt x="176" y="218"/>
                    </a:lnTo>
                    <a:lnTo>
                      <a:pt x="174" y="218"/>
                    </a:lnTo>
                    <a:lnTo>
                      <a:pt x="174" y="220"/>
                    </a:lnTo>
                    <a:lnTo>
                      <a:pt x="174" y="222"/>
                    </a:lnTo>
                    <a:lnTo>
                      <a:pt x="174" y="223"/>
                    </a:lnTo>
                    <a:lnTo>
                      <a:pt x="174" y="225"/>
                    </a:lnTo>
                    <a:lnTo>
                      <a:pt x="174" y="226"/>
                    </a:lnTo>
                    <a:lnTo>
                      <a:pt x="176" y="228"/>
                    </a:lnTo>
                    <a:lnTo>
                      <a:pt x="177" y="228"/>
                    </a:lnTo>
                    <a:lnTo>
                      <a:pt x="179" y="228"/>
                    </a:lnTo>
                    <a:lnTo>
                      <a:pt x="179" y="226"/>
                    </a:lnTo>
                    <a:lnTo>
                      <a:pt x="181" y="226"/>
                    </a:lnTo>
                    <a:lnTo>
                      <a:pt x="182" y="228"/>
                    </a:lnTo>
                    <a:lnTo>
                      <a:pt x="182" y="229"/>
                    </a:lnTo>
                    <a:lnTo>
                      <a:pt x="182" y="231"/>
                    </a:lnTo>
                    <a:lnTo>
                      <a:pt x="181" y="231"/>
                    </a:lnTo>
                    <a:lnTo>
                      <a:pt x="181" y="233"/>
                    </a:lnTo>
                    <a:lnTo>
                      <a:pt x="181" y="234"/>
                    </a:lnTo>
                    <a:lnTo>
                      <a:pt x="179" y="234"/>
                    </a:lnTo>
                    <a:lnTo>
                      <a:pt x="179" y="236"/>
                    </a:lnTo>
                    <a:lnTo>
                      <a:pt x="179" y="237"/>
                    </a:lnTo>
                    <a:lnTo>
                      <a:pt x="179" y="239"/>
                    </a:lnTo>
                    <a:lnTo>
                      <a:pt x="179" y="241"/>
                    </a:lnTo>
                    <a:lnTo>
                      <a:pt x="179" y="242"/>
                    </a:lnTo>
                    <a:lnTo>
                      <a:pt x="179" y="244"/>
                    </a:lnTo>
                    <a:lnTo>
                      <a:pt x="177" y="244"/>
                    </a:lnTo>
                    <a:lnTo>
                      <a:pt x="177" y="245"/>
                    </a:lnTo>
                    <a:lnTo>
                      <a:pt x="179" y="245"/>
                    </a:lnTo>
                    <a:lnTo>
                      <a:pt x="181" y="247"/>
                    </a:lnTo>
                    <a:lnTo>
                      <a:pt x="182" y="247"/>
                    </a:lnTo>
                    <a:lnTo>
                      <a:pt x="182" y="249"/>
                    </a:lnTo>
                    <a:lnTo>
                      <a:pt x="184" y="249"/>
                    </a:lnTo>
                    <a:lnTo>
                      <a:pt x="185" y="250"/>
                    </a:lnTo>
                    <a:lnTo>
                      <a:pt x="187" y="252"/>
                    </a:lnTo>
                    <a:lnTo>
                      <a:pt x="188" y="252"/>
                    </a:lnTo>
                    <a:lnTo>
                      <a:pt x="190" y="252"/>
                    </a:lnTo>
                    <a:lnTo>
                      <a:pt x="190" y="253"/>
                    </a:lnTo>
                    <a:lnTo>
                      <a:pt x="192" y="253"/>
                    </a:lnTo>
                    <a:lnTo>
                      <a:pt x="192" y="255"/>
                    </a:lnTo>
                    <a:lnTo>
                      <a:pt x="192" y="256"/>
                    </a:lnTo>
                    <a:lnTo>
                      <a:pt x="192" y="258"/>
                    </a:lnTo>
                    <a:lnTo>
                      <a:pt x="193" y="258"/>
                    </a:lnTo>
                    <a:lnTo>
                      <a:pt x="193" y="260"/>
                    </a:lnTo>
                    <a:lnTo>
                      <a:pt x="195" y="260"/>
                    </a:lnTo>
                    <a:lnTo>
                      <a:pt x="196" y="261"/>
                    </a:lnTo>
                    <a:lnTo>
                      <a:pt x="196" y="263"/>
                    </a:lnTo>
                    <a:lnTo>
                      <a:pt x="198" y="263"/>
                    </a:lnTo>
                    <a:lnTo>
                      <a:pt x="198" y="264"/>
                    </a:lnTo>
                    <a:lnTo>
                      <a:pt x="200" y="264"/>
                    </a:lnTo>
                    <a:lnTo>
                      <a:pt x="200" y="266"/>
                    </a:lnTo>
                    <a:lnTo>
                      <a:pt x="201" y="268"/>
                    </a:lnTo>
                    <a:lnTo>
                      <a:pt x="201" y="269"/>
                    </a:lnTo>
                    <a:lnTo>
                      <a:pt x="201" y="271"/>
                    </a:lnTo>
                    <a:lnTo>
                      <a:pt x="201" y="272"/>
                    </a:lnTo>
                    <a:lnTo>
                      <a:pt x="201" y="274"/>
                    </a:lnTo>
                    <a:lnTo>
                      <a:pt x="201" y="275"/>
                    </a:lnTo>
                    <a:lnTo>
                      <a:pt x="203" y="277"/>
                    </a:lnTo>
                    <a:lnTo>
                      <a:pt x="203" y="279"/>
                    </a:lnTo>
                    <a:lnTo>
                      <a:pt x="204" y="279"/>
                    </a:lnTo>
                    <a:lnTo>
                      <a:pt x="204" y="280"/>
                    </a:lnTo>
                    <a:lnTo>
                      <a:pt x="206" y="282"/>
                    </a:lnTo>
                    <a:lnTo>
                      <a:pt x="206" y="283"/>
                    </a:lnTo>
                    <a:lnTo>
                      <a:pt x="207" y="283"/>
                    </a:lnTo>
                    <a:lnTo>
                      <a:pt x="207" y="285"/>
                    </a:lnTo>
                    <a:lnTo>
                      <a:pt x="209" y="285"/>
                    </a:lnTo>
                    <a:lnTo>
                      <a:pt x="211" y="285"/>
                    </a:lnTo>
                    <a:lnTo>
                      <a:pt x="211" y="287"/>
                    </a:lnTo>
                    <a:lnTo>
                      <a:pt x="212" y="287"/>
                    </a:lnTo>
                    <a:lnTo>
                      <a:pt x="212" y="288"/>
                    </a:lnTo>
                    <a:lnTo>
                      <a:pt x="214" y="288"/>
                    </a:lnTo>
                    <a:lnTo>
                      <a:pt x="215" y="288"/>
                    </a:lnTo>
                    <a:lnTo>
                      <a:pt x="217" y="288"/>
                    </a:lnTo>
                    <a:lnTo>
                      <a:pt x="219" y="290"/>
                    </a:lnTo>
                    <a:lnTo>
                      <a:pt x="219" y="288"/>
                    </a:lnTo>
                    <a:lnTo>
                      <a:pt x="220" y="288"/>
                    </a:lnTo>
                    <a:lnTo>
                      <a:pt x="222" y="288"/>
                    </a:lnTo>
                    <a:lnTo>
                      <a:pt x="222" y="287"/>
                    </a:lnTo>
                    <a:lnTo>
                      <a:pt x="223" y="287"/>
                    </a:lnTo>
                    <a:lnTo>
                      <a:pt x="223" y="285"/>
                    </a:lnTo>
                    <a:lnTo>
                      <a:pt x="225" y="285"/>
                    </a:lnTo>
                    <a:lnTo>
                      <a:pt x="225" y="283"/>
                    </a:lnTo>
                    <a:lnTo>
                      <a:pt x="226" y="283"/>
                    </a:lnTo>
                    <a:lnTo>
                      <a:pt x="228" y="283"/>
                    </a:lnTo>
                    <a:lnTo>
                      <a:pt x="230" y="283"/>
                    </a:lnTo>
                    <a:lnTo>
                      <a:pt x="231" y="283"/>
                    </a:lnTo>
                    <a:lnTo>
                      <a:pt x="233" y="283"/>
                    </a:lnTo>
                    <a:lnTo>
                      <a:pt x="234" y="283"/>
                    </a:lnTo>
                    <a:lnTo>
                      <a:pt x="236" y="283"/>
                    </a:lnTo>
                    <a:lnTo>
                      <a:pt x="238" y="283"/>
                    </a:lnTo>
                    <a:lnTo>
                      <a:pt x="239" y="283"/>
                    </a:lnTo>
                    <a:lnTo>
                      <a:pt x="241" y="283"/>
                    </a:lnTo>
                    <a:lnTo>
                      <a:pt x="242" y="283"/>
                    </a:lnTo>
                    <a:lnTo>
                      <a:pt x="242" y="285"/>
                    </a:lnTo>
                    <a:lnTo>
                      <a:pt x="244" y="285"/>
                    </a:lnTo>
                    <a:lnTo>
                      <a:pt x="245" y="285"/>
                    </a:lnTo>
                    <a:lnTo>
                      <a:pt x="245" y="287"/>
                    </a:lnTo>
                    <a:lnTo>
                      <a:pt x="247" y="287"/>
                    </a:lnTo>
                    <a:lnTo>
                      <a:pt x="249" y="288"/>
                    </a:lnTo>
                    <a:lnTo>
                      <a:pt x="252" y="287"/>
                    </a:lnTo>
                    <a:lnTo>
                      <a:pt x="252" y="283"/>
                    </a:lnTo>
                    <a:lnTo>
                      <a:pt x="253" y="280"/>
                    </a:lnTo>
                    <a:lnTo>
                      <a:pt x="219" y="228"/>
                    </a:lnTo>
                    <a:lnTo>
                      <a:pt x="209" y="215"/>
                    </a:lnTo>
                    <a:lnTo>
                      <a:pt x="163" y="158"/>
                    </a:lnTo>
                    <a:lnTo>
                      <a:pt x="139" y="142"/>
                    </a:lnTo>
                    <a:lnTo>
                      <a:pt x="74" y="98"/>
                    </a:lnTo>
                    <a:lnTo>
                      <a:pt x="0" y="62"/>
                    </a:lnTo>
                    <a:lnTo>
                      <a:pt x="9" y="27"/>
                    </a:lnTo>
                    <a:lnTo>
                      <a:pt x="9" y="25"/>
                    </a:lnTo>
                    <a:lnTo>
                      <a:pt x="11" y="25"/>
                    </a:lnTo>
                    <a:lnTo>
                      <a:pt x="11" y="24"/>
                    </a:lnTo>
                    <a:lnTo>
                      <a:pt x="13" y="22"/>
                    </a:lnTo>
                    <a:lnTo>
                      <a:pt x="13" y="20"/>
                    </a:lnTo>
                    <a:lnTo>
                      <a:pt x="14" y="17"/>
                    </a:lnTo>
                    <a:lnTo>
                      <a:pt x="14" y="16"/>
                    </a:lnTo>
                    <a:lnTo>
                      <a:pt x="14" y="14"/>
                    </a:lnTo>
                    <a:lnTo>
                      <a:pt x="16" y="12"/>
                    </a:lnTo>
                    <a:lnTo>
                      <a:pt x="16" y="11"/>
                    </a:lnTo>
                    <a:lnTo>
                      <a:pt x="17" y="11"/>
                    </a:lnTo>
                    <a:lnTo>
                      <a:pt x="17" y="9"/>
                    </a:lnTo>
                    <a:lnTo>
                      <a:pt x="17" y="8"/>
                    </a:lnTo>
                    <a:lnTo>
                      <a:pt x="17" y="6"/>
                    </a:lnTo>
                    <a:lnTo>
                      <a:pt x="21" y="3"/>
                    </a:lnTo>
                    <a:lnTo>
                      <a:pt x="22" y="3"/>
                    </a:lnTo>
                    <a:lnTo>
                      <a:pt x="22" y="1"/>
                    </a:lnTo>
                    <a:lnTo>
                      <a:pt x="24" y="0"/>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81" name="Freeform 61"/>
              <p:cNvSpPr>
                <a:spLocks/>
              </p:cNvSpPr>
              <p:nvPr/>
            </p:nvSpPr>
            <p:spPr bwMode="auto">
              <a:xfrm>
                <a:off x="2758" y="2446"/>
                <a:ext cx="350" cy="236"/>
              </a:xfrm>
              <a:custGeom>
                <a:avLst/>
                <a:gdLst>
                  <a:gd name="T0" fmla="*/ 1 w 350"/>
                  <a:gd name="T1" fmla="*/ 233 h 236"/>
                  <a:gd name="T2" fmla="*/ 6 w 350"/>
                  <a:gd name="T3" fmla="*/ 226 h 236"/>
                  <a:gd name="T4" fmla="*/ 9 w 350"/>
                  <a:gd name="T5" fmla="*/ 222 h 236"/>
                  <a:gd name="T6" fmla="*/ 11 w 350"/>
                  <a:gd name="T7" fmla="*/ 212 h 236"/>
                  <a:gd name="T8" fmla="*/ 16 w 350"/>
                  <a:gd name="T9" fmla="*/ 212 h 236"/>
                  <a:gd name="T10" fmla="*/ 20 w 350"/>
                  <a:gd name="T11" fmla="*/ 220 h 236"/>
                  <a:gd name="T12" fmla="*/ 27 w 350"/>
                  <a:gd name="T13" fmla="*/ 214 h 236"/>
                  <a:gd name="T14" fmla="*/ 31 w 350"/>
                  <a:gd name="T15" fmla="*/ 214 h 236"/>
                  <a:gd name="T16" fmla="*/ 38 w 350"/>
                  <a:gd name="T17" fmla="*/ 214 h 236"/>
                  <a:gd name="T18" fmla="*/ 42 w 350"/>
                  <a:gd name="T19" fmla="*/ 209 h 236"/>
                  <a:gd name="T20" fmla="*/ 44 w 350"/>
                  <a:gd name="T21" fmla="*/ 204 h 236"/>
                  <a:gd name="T22" fmla="*/ 47 w 350"/>
                  <a:gd name="T23" fmla="*/ 199 h 236"/>
                  <a:gd name="T24" fmla="*/ 50 w 350"/>
                  <a:gd name="T25" fmla="*/ 193 h 236"/>
                  <a:gd name="T26" fmla="*/ 55 w 350"/>
                  <a:gd name="T27" fmla="*/ 184 h 236"/>
                  <a:gd name="T28" fmla="*/ 61 w 350"/>
                  <a:gd name="T29" fmla="*/ 176 h 236"/>
                  <a:gd name="T30" fmla="*/ 66 w 350"/>
                  <a:gd name="T31" fmla="*/ 161 h 236"/>
                  <a:gd name="T32" fmla="*/ 68 w 350"/>
                  <a:gd name="T33" fmla="*/ 146 h 236"/>
                  <a:gd name="T34" fmla="*/ 71 w 350"/>
                  <a:gd name="T35" fmla="*/ 131 h 236"/>
                  <a:gd name="T36" fmla="*/ 68 w 350"/>
                  <a:gd name="T37" fmla="*/ 123 h 236"/>
                  <a:gd name="T38" fmla="*/ 69 w 350"/>
                  <a:gd name="T39" fmla="*/ 115 h 236"/>
                  <a:gd name="T40" fmla="*/ 76 w 350"/>
                  <a:gd name="T41" fmla="*/ 114 h 236"/>
                  <a:gd name="T42" fmla="*/ 82 w 350"/>
                  <a:gd name="T43" fmla="*/ 111 h 236"/>
                  <a:gd name="T44" fmla="*/ 87 w 350"/>
                  <a:gd name="T45" fmla="*/ 108 h 236"/>
                  <a:gd name="T46" fmla="*/ 92 w 350"/>
                  <a:gd name="T47" fmla="*/ 103 h 236"/>
                  <a:gd name="T48" fmla="*/ 96 w 350"/>
                  <a:gd name="T49" fmla="*/ 101 h 236"/>
                  <a:gd name="T50" fmla="*/ 103 w 350"/>
                  <a:gd name="T51" fmla="*/ 101 h 236"/>
                  <a:gd name="T52" fmla="*/ 107 w 350"/>
                  <a:gd name="T53" fmla="*/ 98 h 236"/>
                  <a:gd name="T54" fmla="*/ 111 w 350"/>
                  <a:gd name="T55" fmla="*/ 101 h 236"/>
                  <a:gd name="T56" fmla="*/ 115 w 350"/>
                  <a:gd name="T57" fmla="*/ 96 h 236"/>
                  <a:gd name="T58" fmla="*/ 122 w 350"/>
                  <a:gd name="T59" fmla="*/ 96 h 236"/>
                  <a:gd name="T60" fmla="*/ 126 w 350"/>
                  <a:gd name="T61" fmla="*/ 92 h 236"/>
                  <a:gd name="T62" fmla="*/ 131 w 350"/>
                  <a:gd name="T63" fmla="*/ 92 h 236"/>
                  <a:gd name="T64" fmla="*/ 136 w 350"/>
                  <a:gd name="T65" fmla="*/ 95 h 236"/>
                  <a:gd name="T66" fmla="*/ 141 w 350"/>
                  <a:gd name="T67" fmla="*/ 93 h 236"/>
                  <a:gd name="T68" fmla="*/ 138 w 350"/>
                  <a:gd name="T69" fmla="*/ 90 h 236"/>
                  <a:gd name="T70" fmla="*/ 141 w 350"/>
                  <a:gd name="T71" fmla="*/ 88 h 236"/>
                  <a:gd name="T72" fmla="*/ 144 w 350"/>
                  <a:gd name="T73" fmla="*/ 85 h 236"/>
                  <a:gd name="T74" fmla="*/ 150 w 350"/>
                  <a:gd name="T75" fmla="*/ 85 h 236"/>
                  <a:gd name="T76" fmla="*/ 153 w 350"/>
                  <a:gd name="T77" fmla="*/ 82 h 236"/>
                  <a:gd name="T78" fmla="*/ 158 w 350"/>
                  <a:gd name="T79" fmla="*/ 82 h 236"/>
                  <a:gd name="T80" fmla="*/ 163 w 350"/>
                  <a:gd name="T81" fmla="*/ 79 h 236"/>
                  <a:gd name="T82" fmla="*/ 168 w 350"/>
                  <a:gd name="T83" fmla="*/ 77 h 236"/>
                  <a:gd name="T84" fmla="*/ 174 w 350"/>
                  <a:gd name="T85" fmla="*/ 79 h 236"/>
                  <a:gd name="T86" fmla="*/ 179 w 350"/>
                  <a:gd name="T87" fmla="*/ 77 h 236"/>
                  <a:gd name="T88" fmla="*/ 182 w 350"/>
                  <a:gd name="T89" fmla="*/ 77 h 236"/>
                  <a:gd name="T90" fmla="*/ 185 w 350"/>
                  <a:gd name="T91" fmla="*/ 82 h 236"/>
                  <a:gd name="T92" fmla="*/ 188 w 350"/>
                  <a:gd name="T93" fmla="*/ 79 h 236"/>
                  <a:gd name="T94" fmla="*/ 193 w 350"/>
                  <a:gd name="T95" fmla="*/ 81 h 236"/>
                  <a:gd name="T96" fmla="*/ 196 w 350"/>
                  <a:gd name="T97" fmla="*/ 76 h 236"/>
                  <a:gd name="T98" fmla="*/ 198 w 350"/>
                  <a:gd name="T99" fmla="*/ 71 h 236"/>
                  <a:gd name="T100" fmla="*/ 202 w 350"/>
                  <a:gd name="T101" fmla="*/ 68 h 236"/>
                  <a:gd name="T102" fmla="*/ 207 w 350"/>
                  <a:gd name="T103" fmla="*/ 66 h 236"/>
                  <a:gd name="T104" fmla="*/ 210 w 350"/>
                  <a:gd name="T105" fmla="*/ 63 h 236"/>
                  <a:gd name="T106" fmla="*/ 233 w 350"/>
                  <a:gd name="T107" fmla="*/ 38 h 236"/>
                  <a:gd name="T108" fmla="*/ 250 w 350"/>
                  <a:gd name="T109" fmla="*/ 25 h 236"/>
                  <a:gd name="T110" fmla="*/ 275 w 350"/>
                  <a:gd name="T111" fmla="*/ 12 h 236"/>
                  <a:gd name="T112" fmla="*/ 307 w 350"/>
                  <a:gd name="T113" fmla="*/ 5 h 236"/>
                  <a:gd name="T114" fmla="*/ 343 w 350"/>
                  <a:gd name="T115" fmla="*/ 1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0" h="236">
                    <a:moveTo>
                      <a:pt x="0" y="236"/>
                    </a:moveTo>
                    <a:lnTo>
                      <a:pt x="0" y="234"/>
                    </a:lnTo>
                    <a:lnTo>
                      <a:pt x="1" y="234"/>
                    </a:lnTo>
                    <a:lnTo>
                      <a:pt x="1" y="233"/>
                    </a:lnTo>
                    <a:lnTo>
                      <a:pt x="3" y="233"/>
                    </a:lnTo>
                    <a:lnTo>
                      <a:pt x="6" y="229"/>
                    </a:lnTo>
                    <a:lnTo>
                      <a:pt x="6" y="228"/>
                    </a:lnTo>
                    <a:lnTo>
                      <a:pt x="6" y="226"/>
                    </a:lnTo>
                    <a:lnTo>
                      <a:pt x="8" y="226"/>
                    </a:lnTo>
                    <a:lnTo>
                      <a:pt x="8" y="225"/>
                    </a:lnTo>
                    <a:lnTo>
                      <a:pt x="9" y="223"/>
                    </a:lnTo>
                    <a:lnTo>
                      <a:pt x="9" y="222"/>
                    </a:lnTo>
                    <a:lnTo>
                      <a:pt x="9" y="217"/>
                    </a:lnTo>
                    <a:lnTo>
                      <a:pt x="9" y="215"/>
                    </a:lnTo>
                    <a:lnTo>
                      <a:pt x="9" y="214"/>
                    </a:lnTo>
                    <a:lnTo>
                      <a:pt x="11" y="212"/>
                    </a:lnTo>
                    <a:lnTo>
                      <a:pt x="11" y="210"/>
                    </a:lnTo>
                    <a:lnTo>
                      <a:pt x="12" y="210"/>
                    </a:lnTo>
                    <a:lnTo>
                      <a:pt x="14" y="210"/>
                    </a:lnTo>
                    <a:lnTo>
                      <a:pt x="16" y="212"/>
                    </a:lnTo>
                    <a:lnTo>
                      <a:pt x="17" y="215"/>
                    </a:lnTo>
                    <a:lnTo>
                      <a:pt x="19" y="217"/>
                    </a:lnTo>
                    <a:lnTo>
                      <a:pt x="20" y="218"/>
                    </a:lnTo>
                    <a:lnTo>
                      <a:pt x="20" y="220"/>
                    </a:lnTo>
                    <a:lnTo>
                      <a:pt x="22" y="220"/>
                    </a:lnTo>
                    <a:lnTo>
                      <a:pt x="23" y="218"/>
                    </a:lnTo>
                    <a:lnTo>
                      <a:pt x="25" y="215"/>
                    </a:lnTo>
                    <a:lnTo>
                      <a:pt x="27" y="214"/>
                    </a:lnTo>
                    <a:lnTo>
                      <a:pt x="28" y="212"/>
                    </a:lnTo>
                    <a:lnTo>
                      <a:pt x="30" y="214"/>
                    </a:lnTo>
                    <a:lnTo>
                      <a:pt x="31" y="212"/>
                    </a:lnTo>
                    <a:lnTo>
                      <a:pt x="31" y="214"/>
                    </a:lnTo>
                    <a:lnTo>
                      <a:pt x="33" y="214"/>
                    </a:lnTo>
                    <a:lnTo>
                      <a:pt x="35" y="214"/>
                    </a:lnTo>
                    <a:lnTo>
                      <a:pt x="36" y="214"/>
                    </a:lnTo>
                    <a:lnTo>
                      <a:pt x="38" y="214"/>
                    </a:lnTo>
                    <a:lnTo>
                      <a:pt x="39" y="214"/>
                    </a:lnTo>
                    <a:lnTo>
                      <a:pt x="41" y="214"/>
                    </a:lnTo>
                    <a:lnTo>
                      <a:pt x="41" y="210"/>
                    </a:lnTo>
                    <a:lnTo>
                      <a:pt x="42" y="209"/>
                    </a:lnTo>
                    <a:lnTo>
                      <a:pt x="42" y="207"/>
                    </a:lnTo>
                    <a:lnTo>
                      <a:pt x="42" y="206"/>
                    </a:lnTo>
                    <a:lnTo>
                      <a:pt x="44" y="206"/>
                    </a:lnTo>
                    <a:lnTo>
                      <a:pt x="44" y="204"/>
                    </a:lnTo>
                    <a:lnTo>
                      <a:pt x="44" y="203"/>
                    </a:lnTo>
                    <a:lnTo>
                      <a:pt x="46" y="203"/>
                    </a:lnTo>
                    <a:lnTo>
                      <a:pt x="47" y="201"/>
                    </a:lnTo>
                    <a:lnTo>
                      <a:pt x="47" y="199"/>
                    </a:lnTo>
                    <a:lnTo>
                      <a:pt x="49" y="198"/>
                    </a:lnTo>
                    <a:lnTo>
                      <a:pt x="49" y="196"/>
                    </a:lnTo>
                    <a:lnTo>
                      <a:pt x="49" y="195"/>
                    </a:lnTo>
                    <a:lnTo>
                      <a:pt x="50" y="193"/>
                    </a:lnTo>
                    <a:lnTo>
                      <a:pt x="52" y="188"/>
                    </a:lnTo>
                    <a:lnTo>
                      <a:pt x="54" y="187"/>
                    </a:lnTo>
                    <a:lnTo>
                      <a:pt x="55" y="185"/>
                    </a:lnTo>
                    <a:lnTo>
                      <a:pt x="55" y="184"/>
                    </a:lnTo>
                    <a:lnTo>
                      <a:pt x="58" y="179"/>
                    </a:lnTo>
                    <a:lnTo>
                      <a:pt x="60" y="179"/>
                    </a:lnTo>
                    <a:lnTo>
                      <a:pt x="60" y="177"/>
                    </a:lnTo>
                    <a:lnTo>
                      <a:pt x="61" y="176"/>
                    </a:lnTo>
                    <a:lnTo>
                      <a:pt x="63" y="171"/>
                    </a:lnTo>
                    <a:lnTo>
                      <a:pt x="65" y="166"/>
                    </a:lnTo>
                    <a:lnTo>
                      <a:pt x="66" y="163"/>
                    </a:lnTo>
                    <a:lnTo>
                      <a:pt x="66" y="161"/>
                    </a:lnTo>
                    <a:lnTo>
                      <a:pt x="66" y="160"/>
                    </a:lnTo>
                    <a:lnTo>
                      <a:pt x="66" y="155"/>
                    </a:lnTo>
                    <a:lnTo>
                      <a:pt x="68" y="153"/>
                    </a:lnTo>
                    <a:lnTo>
                      <a:pt x="68" y="146"/>
                    </a:lnTo>
                    <a:lnTo>
                      <a:pt x="68" y="141"/>
                    </a:lnTo>
                    <a:lnTo>
                      <a:pt x="69" y="139"/>
                    </a:lnTo>
                    <a:lnTo>
                      <a:pt x="69" y="133"/>
                    </a:lnTo>
                    <a:lnTo>
                      <a:pt x="71" y="131"/>
                    </a:lnTo>
                    <a:lnTo>
                      <a:pt x="71" y="130"/>
                    </a:lnTo>
                    <a:lnTo>
                      <a:pt x="71" y="128"/>
                    </a:lnTo>
                    <a:lnTo>
                      <a:pt x="71" y="127"/>
                    </a:lnTo>
                    <a:lnTo>
                      <a:pt x="68" y="123"/>
                    </a:lnTo>
                    <a:lnTo>
                      <a:pt x="66" y="119"/>
                    </a:lnTo>
                    <a:lnTo>
                      <a:pt x="66" y="117"/>
                    </a:lnTo>
                    <a:lnTo>
                      <a:pt x="66" y="115"/>
                    </a:lnTo>
                    <a:lnTo>
                      <a:pt x="69" y="115"/>
                    </a:lnTo>
                    <a:lnTo>
                      <a:pt x="71" y="115"/>
                    </a:lnTo>
                    <a:lnTo>
                      <a:pt x="73" y="114"/>
                    </a:lnTo>
                    <a:lnTo>
                      <a:pt x="74" y="114"/>
                    </a:lnTo>
                    <a:lnTo>
                      <a:pt x="76" y="114"/>
                    </a:lnTo>
                    <a:lnTo>
                      <a:pt x="77" y="114"/>
                    </a:lnTo>
                    <a:lnTo>
                      <a:pt x="79" y="112"/>
                    </a:lnTo>
                    <a:lnTo>
                      <a:pt x="80" y="111"/>
                    </a:lnTo>
                    <a:lnTo>
                      <a:pt x="82" y="111"/>
                    </a:lnTo>
                    <a:lnTo>
                      <a:pt x="82" y="109"/>
                    </a:lnTo>
                    <a:lnTo>
                      <a:pt x="84" y="109"/>
                    </a:lnTo>
                    <a:lnTo>
                      <a:pt x="85" y="108"/>
                    </a:lnTo>
                    <a:lnTo>
                      <a:pt x="87" y="108"/>
                    </a:lnTo>
                    <a:lnTo>
                      <a:pt x="88" y="106"/>
                    </a:lnTo>
                    <a:lnTo>
                      <a:pt x="88" y="104"/>
                    </a:lnTo>
                    <a:lnTo>
                      <a:pt x="90" y="104"/>
                    </a:lnTo>
                    <a:lnTo>
                      <a:pt x="92" y="103"/>
                    </a:lnTo>
                    <a:lnTo>
                      <a:pt x="93" y="103"/>
                    </a:lnTo>
                    <a:lnTo>
                      <a:pt x="95" y="103"/>
                    </a:lnTo>
                    <a:lnTo>
                      <a:pt x="95" y="101"/>
                    </a:lnTo>
                    <a:lnTo>
                      <a:pt x="96" y="101"/>
                    </a:lnTo>
                    <a:lnTo>
                      <a:pt x="98" y="101"/>
                    </a:lnTo>
                    <a:lnTo>
                      <a:pt x="99" y="101"/>
                    </a:lnTo>
                    <a:lnTo>
                      <a:pt x="101" y="101"/>
                    </a:lnTo>
                    <a:lnTo>
                      <a:pt x="103" y="101"/>
                    </a:lnTo>
                    <a:lnTo>
                      <a:pt x="104" y="100"/>
                    </a:lnTo>
                    <a:lnTo>
                      <a:pt x="106" y="100"/>
                    </a:lnTo>
                    <a:lnTo>
                      <a:pt x="106" y="98"/>
                    </a:lnTo>
                    <a:lnTo>
                      <a:pt x="107" y="98"/>
                    </a:lnTo>
                    <a:lnTo>
                      <a:pt x="109" y="98"/>
                    </a:lnTo>
                    <a:lnTo>
                      <a:pt x="109" y="100"/>
                    </a:lnTo>
                    <a:lnTo>
                      <a:pt x="111" y="100"/>
                    </a:lnTo>
                    <a:lnTo>
                      <a:pt x="111" y="101"/>
                    </a:lnTo>
                    <a:lnTo>
                      <a:pt x="112" y="100"/>
                    </a:lnTo>
                    <a:lnTo>
                      <a:pt x="112" y="98"/>
                    </a:lnTo>
                    <a:lnTo>
                      <a:pt x="114" y="96"/>
                    </a:lnTo>
                    <a:lnTo>
                      <a:pt x="115" y="96"/>
                    </a:lnTo>
                    <a:lnTo>
                      <a:pt x="117" y="96"/>
                    </a:lnTo>
                    <a:lnTo>
                      <a:pt x="118" y="96"/>
                    </a:lnTo>
                    <a:lnTo>
                      <a:pt x="120" y="96"/>
                    </a:lnTo>
                    <a:lnTo>
                      <a:pt x="122" y="96"/>
                    </a:lnTo>
                    <a:lnTo>
                      <a:pt x="123" y="96"/>
                    </a:lnTo>
                    <a:lnTo>
                      <a:pt x="125" y="95"/>
                    </a:lnTo>
                    <a:lnTo>
                      <a:pt x="125" y="93"/>
                    </a:lnTo>
                    <a:lnTo>
                      <a:pt x="126" y="92"/>
                    </a:lnTo>
                    <a:lnTo>
                      <a:pt x="126" y="90"/>
                    </a:lnTo>
                    <a:lnTo>
                      <a:pt x="128" y="90"/>
                    </a:lnTo>
                    <a:lnTo>
                      <a:pt x="130" y="92"/>
                    </a:lnTo>
                    <a:lnTo>
                      <a:pt x="131" y="92"/>
                    </a:lnTo>
                    <a:lnTo>
                      <a:pt x="133" y="93"/>
                    </a:lnTo>
                    <a:lnTo>
                      <a:pt x="134" y="93"/>
                    </a:lnTo>
                    <a:lnTo>
                      <a:pt x="134" y="95"/>
                    </a:lnTo>
                    <a:lnTo>
                      <a:pt x="136" y="95"/>
                    </a:lnTo>
                    <a:lnTo>
                      <a:pt x="138" y="95"/>
                    </a:lnTo>
                    <a:lnTo>
                      <a:pt x="139" y="95"/>
                    </a:lnTo>
                    <a:lnTo>
                      <a:pt x="139" y="93"/>
                    </a:lnTo>
                    <a:lnTo>
                      <a:pt x="141" y="93"/>
                    </a:lnTo>
                    <a:lnTo>
                      <a:pt x="139" y="93"/>
                    </a:lnTo>
                    <a:lnTo>
                      <a:pt x="139" y="92"/>
                    </a:lnTo>
                    <a:lnTo>
                      <a:pt x="139" y="90"/>
                    </a:lnTo>
                    <a:lnTo>
                      <a:pt x="138" y="90"/>
                    </a:lnTo>
                    <a:lnTo>
                      <a:pt x="138" y="88"/>
                    </a:lnTo>
                    <a:lnTo>
                      <a:pt x="139" y="87"/>
                    </a:lnTo>
                    <a:lnTo>
                      <a:pt x="139" y="88"/>
                    </a:lnTo>
                    <a:lnTo>
                      <a:pt x="141" y="88"/>
                    </a:lnTo>
                    <a:lnTo>
                      <a:pt x="142" y="88"/>
                    </a:lnTo>
                    <a:lnTo>
                      <a:pt x="142" y="87"/>
                    </a:lnTo>
                    <a:lnTo>
                      <a:pt x="144" y="87"/>
                    </a:lnTo>
                    <a:lnTo>
                      <a:pt x="144" y="85"/>
                    </a:lnTo>
                    <a:lnTo>
                      <a:pt x="145" y="85"/>
                    </a:lnTo>
                    <a:lnTo>
                      <a:pt x="147" y="85"/>
                    </a:lnTo>
                    <a:lnTo>
                      <a:pt x="149" y="85"/>
                    </a:lnTo>
                    <a:lnTo>
                      <a:pt x="150" y="85"/>
                    </a:lnTo>
                    <a:lnTo>
                      <a:pt x="152" y="85"/>
                    </a:lnTo>
                    <a:lnTo>
                      <a:pt x="152" y="84"/>
                    </a:lnTo>
                    <a:lnTo>
                      <a:pt x="152" y="82"/>
                    </a:lnTo>
                    <a:lnTo>
                      <a:pt x="153" y="82"/>
                    </a:lnTo>
                    <a:lnTo>
                      <a:pt x="155" y="82"/>
                    </a:lnTo>
                    <a:lnTo>
                      <a:pt x="157" y="84"/>
                    </a:lnTo>
                    <a:lnTo>
                      <a:pt x="157" y="82"/>
                    </a:lnTo>
                    <a:lnTo>
                      <a:pt x="158" y="82"/>
                    </a:lnTo>
                    <a:lnTo>
                      <a:pt x="158" y="81"/>
                    </a:lnTo>
                    <a:lnTo>
                      <a:pt x="160" y="79"/>
                    </a:lnTo>
                    <a:lnTo>
                      <a:pt x="161" y="79"/>
                    </a:lnTo>
                    <a:lnTo>
                      <a:pt x="163" y="79"/>
                    </a:lnTo>
                    <a:lnTo>
                      <a:pt x="164" y="79"/>
                    </a:lnTo>
                    <a:lnTo>
                      <a:pt x="164" y="77"/>
                    </a:lnTo>
                    <a:lnTo>
                      <a:pt x="166" y="77"/>
                    </a:lnTo>
                    <a:lnTo>
                      <a:pt x="168" y="77"/>
                    </a:lnTo>
                    <a:lnTo>
                      <a:pt x="169" y="79"/>
                    </a:lnTo>
                    <a:lnTo>
                      <a:pt x="171" y="79"/>
                    </a:lnTo>
                    <a:lnTo>
                      <a:pt x="172" y="79"/>
                    </a:lnTo>
                    <a:lnTo>
                      <a:pt x="174" y="79"/>
                    </a:lnTo>
                    <a:lnTo>
                      <a:pt x="174" y="77"/>
                    </a:lnTo>
                    <a:lnTo>
                      <a:pt x="176" y="77"/>
                    </a:lnTo>
                    <a:lnTo>
                      <a:pt x="177" y="77"/>
                    </a:lnTo>
                    <a:lnTo>
                      <a:pt x="179" y="77"/>
                    </a:lnTo>
                    <a:lnTo>
                      <a:pt x="180" y="77"/>
                    </a:lnTo>
                    <a:lnTo>
                      <a:pt x="180" y="76"/>
                    </a:lnTo>
                    <a:lnTo>
                      <a:pt x="182" y="76"/>
                    </a:lnTo>
                    <a:lnTo>
                      <a:pt x="182" y="77"/>
                    </a:lnTo>
                    <a:lnTo>
                      <a:pt x="183" y="79"/>
                    </a:lnTo>
                    <a:lnTo>
                      <a:pt x="183" y="81"/>
                    </a:lnTo>
                    <a:lnTo>
                      <a:pt x="183" y="82"/>
                    </a:lnTo>
                    <a:lnTo>
                      <a:pt x="185" y="82"/>
                    </a:lnTo>
                    <a:lnTo>
                      <a:pt x="185" y="81"/>
                    </a:lnTo>
                    <a:lnTo>
                      <a:pt x="187" y="81"/>
                    </a:lnTo>
                    <a:lnTo>
                      <a:pt x="187" y="79"/>
                    </a:lnTo>
                    <a:lnTo>
                      <a:pt x="188" y="79"/>
                    </a:lnTo>
                    <a:lnTo>
                      <a:pt x="190" y="79"/>
                    </a:lnTo>
                    <a:lnTo>
                      <a:pt x="191" y="79"/>
                    </a:lnTo>
                    <a:lnTo>
                      <a:pt x="193" y="79"/>
                    </a:lnTo>
                    <a:lnTo>
                      <a:pt x="193" y="81"/>
                    </a:lnTo>
                    <a:lnTo>
                      <a:pt x="195" y="79"/>
                    </a:lnTo>
                    <a:lnTo>
                      <a:pt x="196" y="79"/>
                    </a:lnTo>
                    <a:lnTo>
                      <a:pt x="196" y="77"/>
                    </a:lnTo>
                    <a:lnTo>
                      <a:pt x="196" y="76"/>
                    </a:lnTo>
                    <a:lnTo>
                      <a:pt x="196" y="74"/>
                    </a:lnTo>
                    <a:lnTo>
                      <a:pt x="196" y="73"/>
                    </a:lnTo>
                    <a:lnTo>
                      <a:pt x="198" y="73"/>
                    </a:lnTo>
                    <a:lnTo>
                      <a:pt x="198" y="71"/>
                    </a:lnTo>
                    <a:lnTo>
                      <a:pt x="199" y="69"/>
                    </a:lnTo>
                    <a:lnTo>
                      <a:pt x="201" y="69"/>
                    </a:lnTo>
                    <a:lnTo>
                      <a:pt x="202" y="69"/>
                    </a:lnTo>
                    <a:lnTo>
                      <a:pt x="202" y="68"/>
                    </a:lnTo>
                    <a:lnTo>
                      <a:pt x="204" y="68"/>
                    </a:lnTo>
                    <a:lnTo>
                      <a:pt x="206" y="68"/>
                    </a:lnTo>
                    <a:lnTo>
                      <a:pt x="207" y="68"/>
                    </a:lnTo>
                    <a:lnTo>
                      <a:pt x="207" y="66"/>
                    </a:lnTo>
                    <a:lnTo>
                      <a:pt x="209" y="66"/>
                    </a:lnTo>
                    <a:lnTo>
                      <a:pt x="209" y="65"/>
                    </a:lnTo>
                    <a:lnTo>
                      <a:pt x="210" y="65"/>
                    </a:lnTo>
                    <a:lnTo>
                      <a:pt x="210" y="63"/>
                    </a:lnTo>
                    <a:lnTo>
                      <a:pt x="214" y="58"/>
                    </a:lnTo>
                    <a:lnTo>
                      <a:pt x="221" y="54"/>
                    </a:lnTo>
                    <a:lnTo>
                      <a:pt x="226" y="47"/>
                    </a:lnTo>
                    <a:lnTo>
                      <a:pt x="233" y="38"/>
                    </a:lnTo>
                    <a:lnTo>
                      <a:pt x="236" y="31"/>
                    </a:lnTo>
                    <a:lnTo>
                      <a:pt x="236" y="25"/>
                    </a:lnTo>
                    <a:lnTo>
                      <a:pt x="244" y="25"/>
                    </a:lnTo>
                    <a:lnTo>
                      <a:pt x="250" y="25"/>
                    </a:lnTo>
                    <a:lnTo>
                      <a:pt x="258" y="25"/>
                    </a:lnTo>
                    <a:lnTo>
                      <a:pt x="264" y="27"/>
                    </a:lnTo>
                    <a:lnTo>
                      <a:pt x="267" y="24"/>
                    </a:lnTo>
                    <a:lnTo>
                      <a:pt x="275" y="12"/>
                    </a:lnTo>
                    <a:lnTo>
                      <a:pt x="282" y="11"/>
                    </a:lnTo>
                    <a:lnTo>
                      <a:pt x="291" y="8"/>
                    </a:lnTo>
                    <a:lnTo>
                      <a:pt x="299" y="6"/>
                    </a:lnTo>
                    <a:lnTo>
                      <a:pt x="307" y="5"/>
                    </a:lnTo>
                    <a:lnTo>
                      <a:pt x="315" y="0"/>
                    </a:lnTo>
                    <a:lnTo>
                      <a:pt x="326" y="0"/>
                    </a:lnTo>
                    <a:lnTo>
                      <a:pt x="336" y="3"/>
                    </a:lnTo>
                    <a:lnTo>
                      <a:pt x="343" y="11"/>
                    </a:lnTo>
                    <a:lnTo>
                      <a:pt x="348" y="16"/>
                    </a:lnTo>
                    <a:lnTo>
                      <a:pt x="348" y="17"/>
                    </a:lnTo>
                    <a:lnTo>
                      <a:pt x="350" y="17"/>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82" name="Freeform 62"/>
              <p:cNvSpPr>
                <a:spLocks noEditPoints="1"/>
              </p:cNvSpPr>
              <p:nvPr/>
            </p:nvSpPr>
            <p:spPr bwMode="auto">
              <a:xfrm>
                <a:off x="3817" y="2097"/>
                <a:ext cx="1038" cy="1359"/>
              </a:xfrm>
              <a:custGeom>
                <a:avLst/>
                <a:gdLst>
                  <a:gd name="T0" fmla="*/ 792 w 1038"/>
                  <a:gd name="T1" fmla="*/ 37 h 1359"/>
                  <a:gd name="T2" fmla="*/ 832 w 1038"/>
                  <a:gd name="T3" fmla="*/ 75 h 1359"/>
                  <a:gd name="T4" fmla="*/ 862 w 1038"/>
                  <a:gd name="T5" fmla="*/ 129 h 1359"/>
                  <a:gd name="T6" fmla="*/ 875 w 1038"/>
                  <a:gd name="T7" fmla="*/ 247 h 1359"/>
                  <a:gd name="T8" fmla="*/ 887 w 1038"/>
                  <a:gd name="T9" fmla="*/ 279 h 1359"/>
                  <a:gd name="T10" fmla="*/ 946 w 1038"/>
                  <a:gd name="T11" fmla="*/ 298 h 1359"/>
                  <a:gd name="T12" fmla="*/ 976 w 1038"/>
                  <a:gd name="T13" fmla="*/ 331 h 1359"/>
                  <a:gd name="T14" fmla="*/ 997 w 1038"/>
                  <a:gd name="T15" fmla="*/ 385 h 1359"/>
                  <a:gd name="T16" fmla="*/ 1038 w 1038"/>
                  <a:gd name="T17" fmla="*/ 412 h 1359"/>
                  <a:gd name="T18" fmla="*/ 1005 w 1038"/>
                  <a:gd name="T19" fmla="*/ 457 h 1359"/>
                  <a:gd name="T20" fmla="*/ 971 w 1038"/>
                  <a:gd name="T21" fmla="*/ 482 h 1359"/>
                  <a:gd name="T22" fmla="*/ 983 w 1038"/>
                  <a:gd name="T23" fmla="*/ 540 h 1359"/>
                  <a:gd name="T24" fmla="*/ 940 w 1038"/>
                  <a:gd name="T25" fmla="*/ 572 h 1359"/>
                  <a:gd name="T26" fmla="*/ 827 w 1038"/>
                  <a:gd name="T27" fmla="*/ 609 h 1359"/>
                  <a:gd name="T28" fmla="*/ 769 w 1038"/>
                  <a:gd name="T29" fmla="*/ 742 h 1359"/>
                  <a:gd name="T30" fmla="*/ 724 w 1038"/>
                  <a:gd name="T31" fmla="*/ 802 h 1359"/>
                  <a:gd name="T32" fmla="*/ 683 w 1038"/>
                  <a:gd name="T33" fmla="*/ 864 h 1359"/>
                  <a:gd name="T34" fmla="*/ 664 w 1038"/>
                  <a:gd name="T35" fmla="*/ 914 h 1359"/>
                  <a:gd name="T36" fmla="*/ 648 w 1038"/>
                  <a:gd name="T37" fmla="*/ 970 h 1359"/>
                  <a:gd name="T38" fmla="*/ 647 w 1038"/>
                  <a:gd name="T39" fmla="*/ 1025 h 1359"/>
                  <a:gd name="T40" fmla="*/ 659 w 1038"/>
                  <a:gd name="T41" fmla="*/ 1076 h 1359"/>
                  <a:gd name="T42" fmla="*/ 640 w 1038"/>
                  <a:gd name="T43" fmla="*/ 1106 h 1359"/>
                  <a:gd name="T44" fmla="*/ 607 w 1038"/>
                  <a:gd name="T45" fmla="*/ 1161 h 1359"/>
                  <a:gd name="T46" fmla="*/ 469 w 1038"/>
                  <a:gd name="T47" fmla="*/ 1310 h 1359"/>
                  <a:gd name="T48" fmla="*/ 374 w 1038"/>
                  <a:gd name="T49" fmla="*/ 1348 h 1359"/>
                  <a:gd name="T50" fmla="*/ 390 w 1038"/>
                  <a:gd name="T51" fmla="*/ 1269 h 1359"/>
                  <a:gd name="T52" fmla="*/ 369 w 1038"/>
                  <a:gd name="T53" fmla="*/ 1228 h 1359"/>
                  <a:gd name="T54" fmla="*/ 336 w 1038"/>
                  <a:gd name="T55" fmla="*/ 1280 h 1359"/>
                  <a:gd name="T56" fmla="*/ 282 w 1038"/>
                  <a:gd name="T57" fmla="*/ 1282 h 1359"/>
                  <a:gd name="T58" fmla="*/ 249 w 1038"/>
                  <a:gd name="T59" fmla="*/ 1274 h 1359"/>
                  <a:gd name="T60" fmla="*/ 187 w 1038"/>
                  <a:gd name="T61" fmla="*/ 1307 h 1359"/>
                  <a:gd name="T62" fmla="*/ 129 w 1038"/>
                  <a:gd name="T63" fmla="*/ 1282 h 1359"/>
                  <a:gd name="T64" fmla="*/ 187 w 1038"/>
                  <a:gd name="T65" fmla="*/ 1191 h 1359"/>
                  <a:gd name="T66" fmla="*/ 187 w 1038"/>
                  <a:gd name="T67" fmla="*/ 1106 h 1359"/>
                  <a:gd name="T68" fmla="*/ 151 w 1038"/>
                  <a:gd name="T69" fmla="*/ 1142 h 1359"/>
                  <a:gd name="T70" fmla="*/ 119 w 1038"/>
                  <a:gd name="T71" fmla="*/ 1127 h 1359"/>
                  <a:gd name="T72" fmla="*/ 67 w 1038"/>
                  <a:gd name="T73" fmla="*/ 1087 h 1359"/>
                  <a:gd name="T74" fmla="*/ 29 w 1038"/>
                  <a:gd name="T75" fmla="*/ 1036 h 1359"/>
                  <a:gd name="T76" fmla="*/ 5 w 1038"/>
                  <a:gd name="T77" fmla="*/ 1003 h 1359"/>
                  <a:gd name="T78" fmla="*/ 95 w 1038"/>
                  <a:gd name="T79" fmla="*/ 955 h 1359"/>
                  <a:gd name="T80" fmla="*/ 130 w 1038"/>
                  <a:gd name="T81" fmla="*/ 924 h 1359"/>
                  <a:gd name="T82" fmla="*/ 208 w 1038"/>
                  <a:gd name="T83" fmla="*/ 845 h 1359"/>
                  <a:gd name="T84" fmla="*/ 254 w 1038"/>
                  <a:gd name="T85" fmla="*/ 799 h 1359"/>
                  <a:gd name="T86" fmla="*/ 327 w 1038"/>
                  <a:gd name="T87" fmla="*/ 773 h 1359"/>
                  <a:gd name="T88" fmla="*/ 343 w 1038"/>
                  <a:gd name="T89" fmla="*/ 723 h 1359"/>
                  <a:gd name="T90" fmla="*/ 471 w 1038"/>
                  <a:gd name="T91" fmla="*/ 704 h 1359"/>
                  <a:gd name="T92" fmla="*/ 539 w 1038"/>
                  <a:gd name="T93" fmla="*/ 610 h 1359"/>
                  <a:gd name="T94" fmla="*/ 477 w 1038"/>
                  <a:gd name="T95" fmla="*/ 588 h 1359"/>
                  <a:gd name="T96" fmla="*/ 422 w 1038"/>
                  <a:gd name="T97" fmla="*/ 563 h 1359"/>
                  <a:gd name="T98" fmla="*/ 382 w 1038"/>
                  <a:gd name="T99" fmla="*/ 533 h 1359"/>
                  <a:gd name="T100" fmla="*/ 385 w 1038"/>
                  <a:gd name="T101" fmla="*/ 468 h 1359"/>
                  <a:gd name="T102" fmla="*/ 403 w 1038"/>
                  <a:gd name="T103" fmla="*/ 411 h 1359"/>
                  <a:gd name="T104" fmla="*/ 428 w 1038"/>
                  <a:gd name="T105" fmla="*/ 365 h 1359"/>
                  <a:gd name="T106" fmla="*/ 433 w 1038"/>
                  <a:gd name="T107" fmla="*/ 303 h 1359"/>
                  <a:gd name="T108" fmla="*/ 465 w 1038"/>
                  <a:gd name="T109" fmla="*/ 232 h 1359"/>
                  <a:gd name="T110" fmla="*/ 493 w 1038"/>
                  <a:gd name="T111" fmla="*/ 130 h 1359"/>
                  <a:gd name="T112" fmla="*/ 569 w 1038"/>
                  <a:gd name="T113" fmla="*/ 49 h 1359"/>
                  <a:gd name="T114" fmla="*/ 582 w 1038"/>
                  <a:gd name="T115" fmla="*/ 91 h 1359"/>
                  <a:gd name="T116" fmla="*/ 648 w 1038"/>
                  <a:gd name="T117" fmla="*/ 57 h 1359"/>
                  <a:gd name="T118" fmla="*/ 669 w 1038"/>
                  <a:gd name="T119" fmla="*/ 5 h 1359"/>
                  <a:gd name="T120" fmla="*/ 487 w 1038"/>
                  <a:gd name="T121" fmla="*/ 517 h 1359"/>
                  <a:gd name="T122" fmla="*/ 634 w 1038"/>
                  <a:gd name="T123" fmla="*/ 531 h 1359"/>
                  <a:gd name="T124" fmla="*/ 574 w 1038"/>
                  <a:gd name="T125" fmla="*/ 471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38" h="1359">
                    <a:moveTo>
                      <a:pt x="685" y="3"/>
                    </a:moveTo>
                    <a:lnTo>
                      <a:pt x="686" y="10"/>
                    </a:lnTo>
                    <a:lnTo>
                      <a:pt x="691" y="10"/>
                    </a:lnTo>
                    <a:lnTo>
                      <a:pt x="693" y="8"/>
                    </a:lnTo>
                    <a:lnTo>
                      <a:pt x="694" y="8"/>
                    </a:lnTo>
                    <a:lnTo>
                      <a:pt x="697" y="11"/>
                    </a:lnTo>
                    <a:lnTo>
                      <a:pt x="699" y="11"/>
                    </a:lnTo>
                    <a:lnTo>
                      <a:pt x="702" y="13"/>
                    </a:lnTo>
                    <a:lnTo>
                      <a:pt x="705" y="15"/>
                    </a:lnTo>
                    <a:lnTo>
                      <a:pt x="707" y="11"/>
                    </a:lnTo>
                    <a:lnTo>
                      <a:pt x="708" y="11"/>
                    </a:lnTo>
                    <a:lnTo>
                      <a:pt x="715" y="13"/>
                    </a:lnTo>
                    <a:lnTo>
                      <a:pt x="718" y="15"/>
                    </a:lnTo>
                    <a:lnTo>
                      <a:pt x="718" y="18"/>
                    </a:lnTo>
                    <a:lnTo>
                      <a:pt x="718" y="26"/>
                    </a:lnTo>
                    <a:lnTo>
                      <a:pt x="720" y="32"/>
                    </a:lnTo>
                    <a:lnTo>
                      <a:pt x="723" y="37"/>
                    </a:lnTo>
                    <a:lnTo>
                      <a:pt x="727" y="40"/>
                    </a:lnTo>
                    <a:lnTo>
                      <a:pt x="734" y="45"/>
                    </a:lnTo>
                    <a:lnTo>
                      <a:pt x="739" y="48"/>
                    </a:lnTo>
                    <a:lnTo>
                      <a:pt x="742" y="56"/>
                    </a:lnTo>
                    <a:lnTo>
                      <a:pt x="745" y="64"/>
                    </a:lnTo>
                    <a:lnTo>
                      <a:pt x="746" y="65"/>
                    </a:lnTo>
                    <a:lnTo>
                      <a:pt x="748" y="65"/>
                    </a:lnTo>
                    <a:lnTo>
                      <a:pt x="750" y="65"/>
                    </a:lnTo>
                    <a:lnTo>
                      <a:pt x="751" y="64"/>
                    </a:lnTo>
                    <a:lnTo>
                      <a:pt x="753" y="62"/>
                    </a:lnTo>
                    <a:lnTo>
                      <a:pt x="753" y="59"/>
                    </a:lnTo>
                    <a:lnTo>
                      <a:pt x="753" y="57"/>
                    </a:lnTo>
                    <a:lnTo>
                      <a:pt x="756" y="54"/>
                    </a:lnTo>
                    <a:lnTo>
                      <a:pt x="759" y="54"/>
                    </a:lnTo>
                    <a:lnTo>
                      <a:pt x="764" y="54"/>
                    </a:lnTo>
                    <a:lnTo>
                      <a:pt x="767" y="53"/>
                    </a:lnTo>
                    <a:lnTo>
                      <a:pt x="773" y="53"/>
                    </a:lnTo>
                    <a:lnTo>
                      <a:pt x="778" y="54"/>
                    </a:lnTo>
                    <a:lnTo>
                      <a:pt x="780" y="56"/>
                    </a:lnTo>
                    <a:lnTo>
                      <a:pt x="783" y="56"/>
                    </a:lnTo>
                    <a:lnTo>
                      <a:pt x="785" y="56"/>
                    </a:lnTo>
                    <a:lnTo>
                      <a:pt x="788" y="54"/>
                    </a:lnTo>
                    <a:lnTo>
                      <a:pt x="789" y="49"/>
                    </a:lnTo>
                    <a:lnTo>
                      <a:pt x="788" y="45"/>
                    </a:lnTo>
                    <a:lnTo>
                      <a:pt x="788" y="41"/>
                    </a:lnTo>
                    <a:lnTo>
                      <a:pt x="788" y="37"/>
                    </a:lnTo>
                    <a:lnTo>
                      <a:pt x="788" y="35"/>
                    </a:lnTo>
                    <a:lnTo>
                      <a:pt x="792" y="37"/>
                    </a:lnTo>
                    <a:lnTo>
                      <a:pt x="796" y="40"/>
                    </a:lnTo>
                    <a:lnTo>
                      <a:pt x="799" y="40"/>
                    </a:lnTo>
                    <a:lnTo>
                      <a:pt x="805" y="40"/>
                    </a:lnTo>
                    <a:lnTo>
                      <a:pt x="807" y="35"/>
                    </a:lnTo>
                    <a:lnTo>
                      <a:pt x="807" y="37"/>
                    </a:lnTo>
                    <a:lnTo>
                      <a:pt x="808" y="37"/>
                    </a:lnTo>
                    <a:lnTo>
                      <a:pt x="810" y="37"/>
                    </a:lnTo>
                    <a:lnTo>
                      <a:pt x="811" y="37"/>
                    </a:lnTo>
                    <a:lnTo>
                      <a:pt x="811" y="38"/>
                    </a:lnTo>
                    <a:lnTo>
                      <a:pt x="811" y="40"/>
                    </a:lnTo>
                    <a:lnTo>
                      <a:pt x="813" y="41"/>
                    </a:lnTo>
                    <a:lnTo>
                      <a:pt x="815" y="41"/>
                    </a:lnTo>
                    <a:lnTo>
                      <a:pt x="815" y="43"/>
                    </a:lnTo>
                    <a:lnTo>
                      <a:pt x="816" y="43"/>
                    </a:lnTo>
                    <a:lnTo>
                      <a:pt x="816" y="45"/>
                    </a:lnTo>
                    <a:lnTo>
                      <a:pt x="818" y="45"/>
                    </a:lnTo>
                    <a:lnTo>
                      <a:pt x="819" y="45"/>
                    </a:lnTo>
                    <a:lnTo>
                      <a:pt x="819" y="46"/>
                    </a:lnTo>
                    <a:lnTo>
                      <a:pt x="819" y="48"/>
                    </a:lnTo>
                    <a:lnTo>
                      <a:pt x="821" y="48"/>
                    </a:lnTo>
                    <a:lnTo>
                      <a:pt x="823" y="48"/>
                    </a:lnTo>
                    <a:lnTo>
                      <a:pt x="821" y="49"/>
                    </a:lnTo>
                    <a:lnTo>
                      <a:pt x="823" y="49"/>
                    </a:lnTo>
                    <a:lnTo>
                      <a:pt x="823" y="51"/>
                    </a:lnTo>
                    <a:lnTo>
                      <a:pt x="824" y="51"/>
                    </a:lnTo>
                    <a:lnTo>
                      <a:pt x="824" y="53"/>
                    </a:lnTo>
                    <a:lnTo>
                      <a:pt x="826" y="53"/>
                    </a:lnTo>
                    <a:lnTo>
                      <a:pt x="826" y="54"/>
                    </a:lnTo>
                    <a:lnTo>
                      <a:pt x="827" y="54"/>
                    </a:lnTo>
                    <a:lnTo>
                      <a:pt x="827" y="56"/>
                    </a:lnTo>
                    <a:lnTo>
                      <a:pt x="827" y="57"/>
                    </a:lnTo>
                    <a:lnTo>
                      <a:pt x="827" y="59"/>
                    </a:lnTo>
                    <a:lnTo>
                      <a:pt x="829" y="59"/>
                    </a:lnTo>
                    <a:lnTo>
                      <a:pt x="830" y="59"/>
                    </a:lnTo>
                    <a:lnTo>
                      <a:pt x="830" y="60"/>
                    </a:lnTo>
                    <a:lnTo>
                      <a:pt x="832" y="60"/>
                    </a:lnTo>
                    <a:lnTo>
                      <a:pt x="832" y="62"/>
                    </a:lnTo>
                    <a:lnTo>
                      <a:pt x="832" y="64"/>
                    </a:lnTo>
                    <a:lnTo>
                      <a:pt x="832" y="65"/>
                    </a:lnTo>
                    <a:lnTo>
                      <a:pt x="832" y="67"/>
                    </a:lnTo>
                    <a:lnTo>
                      <a:pt x="832" y="68"/>
                    </a:lnTo>
                    <a:lnTo>
                      <a:pt x="832" y="70"/>
                    </a:lnTo>
                    <a:lnTo>
                      <a:pt x="832" y="72"/>
                    </a:lnTo>
                    <a:lnTo>
                      <a:pt x="832" y="73"/>
                    </a:lnTo>
                    <a:lnTo>
                      <a:pt x="832" y="75"/>
                    </a:lnTo>
                    <a:lnTo>
                      <a:pt x="832" y="76"/>
                    </a:lnTo>
                    <a:lnTo>
                      <a:pt x="832" y="78"/>
                    </a:lnTo>
                    <a:lnTo>
                      <a:pt x="832" y="80"/>
                    </a:lnTo>
                    <a:lnTo>
                      <a:pt x="834" y="81"/>
                    </a:lnTo>
                    <a:lnTo>
                      <a:pt x="832" y="81"/>
                    </a:lnTo>
                    <a:lnTo>
                      <a:pt x="834" y="83"/>
                    </a:lnTo>
                    <a:lnTo>
                      <a:pt x="835" y="84"/>
                    </a:lnTo>
                    <a:lnTo>
                      <a:pt x="835" y="86"/>
                    </a:lnTo>
                    <a:lnTo>
                      <a:pt x="837" y="86"/>
                    </a:lnTo>
                    <a:lnTo>
                      <a:pt x="837" y="87"/>
                    </a:lnTo>
                    <a:lnTo>
                      <a:pt x="838" y="87"/>
                    </a:lnTo>
                    <a:lnTo>
                      <a:pt x="840" y="89"/>
                    </a:lnTo>
                    <a:lnTo>
                      <a:pt x="842" y="91"/>
                    </a:lnTo>
                    <a:lnTo>
                      <a:pt x="843" y="92"/>
                    </a:lnTo>
                    <a:lnTo>
                      <a:pt x="842" y="94"/>
                    </a:lnTo>
                    <a:lnTo>
                      <a:pt x="842" y="95"/>
                    </a:lnTo>
                    <a:lnTo>
                      <a:pt x="842" y="97"/>
                    </a:lnTo>
                    <a:lnTo>
                      <a:pt x="842" y="99"/>
                    </a:lnTo>
                    <a:lnTo>
                      <a:pt x="843" y="100"/>
                    </a:lnTo>
                    <a:lnTo>
                      <a:pt x="845" y="100"/>
                    </a:lnTo>
                    <a:lnTo>
                      <a:pt x="846" y="100"/>
                    </a:lnTo>
                    <a:lnTo>
                      <a:pt x="846" y="102"/>
                    </a:lnTo>
                    <a:lnTo>
                      <a:pt x="846" y="103"/>
                    </a:lnTo>
                    <a:lnTo>
                      <a:pt x="846" y="105"/>
                    </a:lnTo>
                    <a:lnTo>
                      <a:pt x="848" y="105"/>
                    </a:lnTo>
                    <a:lnTo>
                      <a:pt x="848" y="106"/>
                    </a:lnTo>
                    <a:lnTo>
                      <a:pt x="849" y="108"/>
                    </a:lnTo>
                    <a:lnTo>
                      <a:pt x="851" y="110"/>
                    </a:lnTo>
                    <a:lnTo>
                      <a:pt x="853" y="111"/>
                    </a:lnTo>
                    <a:lnTo>
                      <a:pt x="853" y="113"/>
                    </a:lnTo>
                    <a:lnTo>
                      <a:pt x="854" y="113"/>
                    </a:lnTo>
                    <a:lnTo>
                      <a:pt x="854" y="114"/>
                    </a:lnTo>
                    <a:lnTo>
                      <a:pt x="856" y="114"/>
                    </a:lnTo>
                    <a:lnTo>
                      <a:pt x="856" y="116"/>
                    </a:lnTo>
                    <a:lnTo>
                      <a:pt x="856" y="118"/>
                    </a:lnTo>
                    <a:lnTo>
                      <a:pt x="857" y="118"/>
                    </a:lnTo>
                    <a:lnTo>
                      <a:pt x="857" y="119"/>
                    </a:lnTo>
                    <a:lnTo>
                      <a:pt x="857" y="121"/>
                    </a:lnTo>
                    <a:lnTo>
                      <a:pt x="859" y="121"/>
                    </a:lnTo>
                    <a:lnTo>
                      <a:pt x="859" y="122"/>
                    </a:lnTo>
                    <a:lnTo>
                      <a:pt x="861" y="124"/>
                    </a:lnTo>
                    <a:lnTo>
                      <a:pt x="861" y="125"/>
                    </a:lnTo>
                    <a:lnTo>
                      <a:pt x="861" y="127"/>
                    </a:lnTo>
                    <a:lnTo>
                      <a:pt x="862" y="127"/>
                    </a:lnTo>
                    <a:lnTo>
                      <a:pt x="862" y="129"/>
                    </a:lnTo>
                    <a:lnTo>
                      <a:pt x="862" y="130"/>
                    </a:lnTo>
                    <a:lnTo>
                      <a:pt x="864" y="132"/>
                    </a:lnTo>
                    <a:lnTo>
                      <a:pt x="864" y="133"/>
                    </a:lnTo>
                    <a:lnTo>
                      <a:pt x="865" y="133"/>
                    </a:lnTo>
                    <a:lnTo>
                      <a:pt x="867" y="135"/>
                    </a:lnTo>
                    <a:lnTo>
                      <a:pt x="868" y="135"/>
                    </a:lnTo>
                    <a:lnTo>
                      <a:pt x="870" y="135"/>
                    </a:lnTo>
                    <a:lnTo>
                      <a:pt x="872" y="135"/>
                    </a:lnTo>
                    <a:lnTo>
                      <a:pt x="873" y="135"/>
                    </a:lnTo>
                    <a:lnTo>
                      <a:pt x="875" y="135"/>
                    </a:lnTo>
                    <a:lnTo>
                      <a:pt x="876" y="135"/>
                    </a:lnTo>
                    <a:lnTo>
                      <a:pt x="878" y="135"/>
                    </a:lnTo>
                    <a:lnTo>
                      <a:pt x="880" y="135"/>
                    </a:lnTo>
                    <a:lnTo>
                      <a:pt x="881" y="135"/>
                    </a:lnTo>
                    <a:lnTo>
                      <a:pt x="881" y="137"/>
                    </a:lnTo>
                    <a:lnTo>
                      <a:pt x="880" y="138"/>
                    </a:lnTo>
                    <a:lnTo>
                      <a:pt x="878" y="138"/>
                    </a:lnTo>
                    <a:lnTo>
                      <a:pt x="878" y="137"/>
                    </a:lnTo>
                    <a:lnTo>
                      <a:pt x="876" y="137"/>
                    </a:lnTo>
                    <a:lnTo>
                      <a:pt x="875" y="137"/>
                    </a:lnTo>
                    <a:lnTo>
                      <a:pt x="873" y="137"/>
                    </a:lnTo>
                    <a:lnTo>
                      <a:pt x="873" y="138"/>
                    </a:lnTo>
                    <a:lnTo>
                      <a:pt x="875" y="140"/>
                    </a:lnTo>
                    <a:lnTo>
                      <a:pt x="875" y="141"/>
                    </a:lnTo>
                    <a:lnTo>
                      <a:pt x="876" y="141"/>
                    </a:lnTo>
                    <a:lnTo>
                      <a:pt x="878" y="141"/>
                    </a:lnTo>
                    <a:lnTo>
                      <a:pt x="878" y="143"/>
                    </a:lnTo>
                    <a:lnTo>
                      <a:pt x="880" y="143"/>
                    </a:lnTo>
                    <a:lnTo>
                      <a:pt x="881" y="143"/>
                    </a:lnTo>
                    <a:lnTo>
                      <a:pt x="883" y="143"/>
                    </a:lnTo>
                    <a:lnTo>
                      <a:pt x="883" y="144"/>
                    </a:lnTo>
                    <a:lnTo>
                      <a:pt x="884" y="144"/>
                    </a:lnTo>
                    <a:lnTo>
                      <a:pt x="886" y="144"/>
                    </a:lnTo>
                    <a:lnTo>
                      <a:pt x="887" y="144"/>
                    </a:lnTo>
                    <a:lnTo>
                      <a:pt x="887" y="148"/>
                    </a:lnTo>
                    <a:lnTo>
                      <a:pt x="887" y="154"/>
                    </a:lnTo>
                    <a:lnTo>
                      <a:pt x="889" y="165"/>
                    </a:lnTo>
                    <a:lnTo>
                      <a:pt x="889" y="175"/>
                    </a:lnTo>
                    <a:lnTo>
                      <a:pt x="889" y="184"/>
                    </a:lnTo>
                    <a:lnTo>
                      <a:pt x="887" y="197"/>
                    </a:lnTo>
                    <a:lnTo>
                      <a:pt x="887" y="203"/>
                    </a:lnTo>
                    <a:lnTo>
                      <a:pt x="883" y="220"/>
                    </a:lnTo>
                    <a:lnTo>
                      <a:pt x="880" y="238"/>
                    </a:lnTo>
                    <a:lnTo>
                      <a:pt x="876" y="247"/>
                    </a:lnTo>
                    <a:lnTo>
                      <a:pt x="875" y="247"/>
                    </a:lnTo>
                    <a:lnTo>
                      <a:pt x="873" y="247"/>
                    </a:lnTo>
                    <a:lnTo>
                      <a:pt x="872" y="247"/>
                    </a:lnTo>
                    <a:lnTo>
                      <a:pt x="870" y="247"/>
                    </a:lnTo>
                    <a:lnTo>
                      <a:pt x="870" y="249"/>
                    </a:lnTo>
                    <a:lnTo>
                      <a:pt x="870" y="251"/>
                    </a:lnTo>
                    <a:lnTo>
                      <a:pt x="870" y="252"/>
                    </a:lnTo>
                    <a:lnTo>
                      <a:pt x="870" y="254"/>
                    </a:lnTo>
                    <a:lnTo>
                      <a:pt x="867" y="259"/>
                    </a:lnTo>
                    <a:lnTo>
                      <a:pt x="868" y="259"/>
                    </a:lnTo>
                    <a:lnTo>
                      <a:pt x="868" y="260"/>
                    </a:lnTo>
                    <a:lnTo>
                      <a:pt x="870" y="260"/>
                    </a:lnTo>
                    <a:lnTo>
                      <a:pt x="868" y="260"/>
                    </a:lnTo>
                    <a:lnTo>
                      <a:pt x="867" y="260"/>
                    </a:lnTo>
                    <a:lnTo>
                      <a:pt x="868" y="260"/>
                    </a:lnTo>
                    <a:lnTo>
                      <a:pt x="868" y="262"/>
                    </a:lnTo>
                    <a:lnTo>
                      <a:pt x="868" y="263"/>
                    </a:lnTo>
                    <a:lnTo>
                      <a:pt x="870" y="263"/>
                    </a:lnTo>
                    <a:lnTo>
                      <a:pt x="870" y="265"/>
                    </a:lnTo>
                    <a:lnTo>
                      <a:pt x="868" y="265"/>
                    </a:lnTo>
                    <a:lnTo>
                      <a:pt x="870" y="266"/>
                    </a:lnTo>
                    <a:lnTo>
                      <a:pt x="872" y="266"/>
                    </a:lnTo>
                    <a:lnTo>
                      <a:pt x="873" y="266"/>
                    </a:lnTo>
                    <a:lnTo>
                      <a:pt x="873" y="268"/>
                    </a:lnTo>
                    <a:lnTo>
                      <a:pt x="873" y="270"/>
                    </a:lnTo>
                    <a:lnTo>
                      <a:pt x="875" y="270"/>
                    </a:lnTo>
                    <a:lnTo>
                      <a:pt x="876" y="270"/>
                    </a:lnTo>
                    <a:lnTo>
                      <a:pt x="875" y="270"/>
                    </a:lnTo>
                    <a:lnTo>
                      <a:pt x="875" y="271"/>
                    </a:lnTo>
                    <a:lnTo>
                      <a:pt x="875" y="273"/>
                    </a:lnTo>
                    <a:lnTo>
                      <a:pt x="876" y="273"/>
                    </a:lnTo>
                    <a:lnTo>
                      <a:pt x="876" y="274"/>
                    </a:lnTo>
                    <a:lnTo>
                      <a:pt x="875" y="274"/>
                    </a:lnTo>
                    <a:lnTo>
                      <a:pt x="875" y="276"/>
                    </a:lnTo>
                    <a:lnTo>
                      <a:pt x="876" y="276"/>
                    </a:lnTo>
                    <a:lnTo>
                      <a:pt x="878" y="276"/>
                    </a:lnTo>
                    <a:lnTo>
                      <a:pt x="878" y="278"/>
                    </a:lnTo>
                    <a:lnTo>
                      <a:pt x="880" y="278"/>
                    </a:lnTo>
                    <a:lnTo>
                      <a:pt x="880" y="282"/>
                    </a:lnTo>
                    <a:lnTo>
                      <a:pt x="881" y="282"/>
                    </a:lnTo>
                    <a:lnTo>
                      <a:pt x="883" y="282"/>
                    </a:lnTo>
                    <a:lnTo>
                      <a:pt x="883" y="281"/>
                    </a:lnTo>
                    <a:lnTo>
                      <a:pt x="884" y="281"/>
                    </a:lnTo>
                    <a:lnTo>
                      <a:pt x="886" y="281"/>
                    </a:lnTo>
                    <a:lnTo>
                      <a:pt x="886" y="279"/>
                    </a:lnTo>
                    <a:lnTo>
                      <a:pt x="887" y="279"/>
                    </a:lnTo>
                    <a:lnTo>
                      <a:pt x="889" y="279"/>
                    </a:lnTo>
                    <a:lnTo>
                      <a:pt x="891" y="279"/>
                    </a:lnTo>
                    <a:lnTo>
                      <a:pt x="892" y="281"/>
                    </a:lnTo>
                    <a:lnTo>
                      <a:pt x="892" y="282"/>
                    </a:lnTo>
                    <a:lnTo>
                      <a:pt x="894" y="282"/>
                    </a:lnTo>
                    <a:lnTo>
                      <a:pt x="894" y="284"/>
                    </a:lnTo>
                    <a:lnTo>
                      <a:pt x="895" y="284"/>
                    </a:lnTo>
                    <a:lnTo>
                      <a:pt x="895" y="285"/>
                    </a:lnTo>
                    <a:lnTo>
                      <a:pt x="897" y="285"/>
                    </a:lnTo>
                    <a:lnTo>
                      <a:pt x="902" y="285"/>
                    </a:lnTo>
                    <a:lnTo>
                      <a:pt x="903" y="285"/>
                    </a:lnTo>
                    <a:lnTo>
                      <a:pt x="905" y="285"/>
                    </a:lnTo>
                    <a:lnTo>
                      <a:pt x="906" y="287"/>
                    </a:lnTo>
                    <a:lnTo>
                      <a:pt x="908" y="287"/>
                    </a:lnTo>
                    <a:lnTo>
                      <a:pt x="910" y="287"/>
                    </a:lnTo>
                    <a:lnTo>
                      <a:pt x="910" y="289"/>
                    </a:lnTo>
                    <a:lnTo>
                      <a:pt x="911" y="287"/>
                    </a:lnTo>
                    <a:lnTo>
                      <a:pt x="911" y="289"/>
                    </a:lnTo>
                    <a:lnTo>
                      <a:pt x="913" y="289"/>
                    </a:lnTo>
                    <a:lnTo>
                      <a:pt x="913" y="290"/>
                    </a:lnTo>
                    <a:lnTo>
                      <a:pt x="914" y="290"/>
                    </a:lnTo>
                    <a:lnTo>
                      <a:pt x="916" y="290"/>
                    </a:lnTo>
                    <a:lnTo>
                      <a:pt x="916" y="292"/>
                    </a:lnTo>
                    <a:lnTo>
                      <a:pt x="918" y="292"/>
                    </a:lnTo>
                    <a:lnTo>
                      <a:pt x="919" y="292"/>
                    </a:lnTo>
                    <a:lnTo>
                      <a:pt x="922" y="293"/>
                    </a:lnTo>
                    <a:lnTo>
                      <a:pt x="922" y="295"/>
                    </a:lnTo>
                    <a:lnTo>
                      <a:pt x="924" y="295"/>
                    </a:lnTo>
                    <a:lnTo>
                      <a:pt x="925" y="295"/>
                    </a:lnTo>
                    <a:lnTo>
                      <a:pt x="925" y="297"/>
                    </a:lnTo>
                    <a:lnTo>
                      <a:pt x="927" y="297"/>
                    </a:lnTo>
                    <a:lnTo>
                      <a:pt x="929" y="297"/>
                    </a:lnTo>
                    <a:lnTo>
                      <a:pt x="930" y="297"/>
                    </a:lnTo>
                    <a:lnTo>
                      <a:pt x="930" y="298"/>
                    </a:lnTo>
                    <a:lnTo>
                      <a:pt x="932" y="298"/>
                    </a:lnTo>
                    <a:lnTo>
                      <a:pt x="933" y="298"/>
                    </a:lnTo>
                    <a:lnTo>
                      <a:pt x="935" y="298"/>
                    </a:lnTo>
                    <a:lnTo>
                      <a:pt x="937" y="298"/>
                    </a:lnTo>
                    <a:lnTo>
                      <a:pt x="938" y="300"/>
                    </a:lnTo>
                    <a:lnTo>
                      <a:pt x="940" y="300"/>
                    </a:lnTo>
                    <a:lnTo>
                      <a:pt x="941" y="300"/>
                    </a:lnTo>
                    <a:lnTo>
                      <a:pt x="943" y="300"/>
                    </a:lnTo>
                    <a:lnTo>
                      <a:pt x="943" y="298"/>
                    </a:lnTo>
                    <a:lnTo>
                      <a:pt x="944" y="298"/>
                    </a:lnTo>
                    <a:lnTo>
                      <a:pt x="946" y="298"/>
                    </a:lnTo>
                    <a:lnTo>
                      <a:pt x="946" y="297"/>
                    </a:lnTo>
                    <a:lnTo>
                      <a:pt x="946" y="298"/>
                    </a:lnTo>
                    <a:lnTo>
                      <a:pt x="948" y="298"/>
                    </a:lnTo>
                    <a:lnTo>
                      <a:pt x="948" y="297"/>
                    </a:lnTo>
                    <a:lnTo>
                      <a:pt x="948" y="298"/>
                    </a:lnTo>
                    <a:lnTo>
                      <a:pt x="949" y="298"/>
                    </a:lnTo>
                    <a:lnTo>
                      <a:pt x="951" y="298"/>
                    </a:lnTo>
                    <a:lnTo>
                      <a:pt x="952" y="298"/>
                    </a:lnTo>
                    <a:lnTo>
                      <a:pt x="952" y="297"/>
                    </a:lnTo>
                    <a:lnTo>
                      <a:pt x="954" y="297"/>
                    </a:lnTo>
                    <a:lnTo>
                      <a:pt x="954" y="295"/>
                    </a:lnTo>
                    <a:lnTo>
                      <a:pt x="956" y="295"/>
                    </a:lnTo>
                    <a:lnTo>
                      <a:pt x="956" y="293"/>
                    </a:lnTo>
                    <a:lnTo>
                      <a:pt x="957" y="292"/>
                    </a:lnTo>
                    <a:lnTo>
                      <a:pt x="957" y="293"/>
                    </a:lnTo>
                    <a:lnTo>
                      <a:pt x="959" y="293"/>
                    </a:lnTo>
                    <a:lnTo>
                      <a:pt x="959" y="295"/>
                    </a:lnTo>
                    <a:lnTo>
                      <a:pt x="960" y="295"/>
                    </a:lnTo>
                    <a:lnTo>
                      <a:pt x="960" y="293"/>
                    </a:lnTo>
                    <a:lnTo>
                      <a:pt x="962" y="293"/>
                    </a:lnTo>
                    <a:lnTo>
                      <a:pt x="964" y="293"/>
                    </a:lnTo>
                    <a:lnTo>
                      <a:pt x="965" y="293"/>
                    </a:lnTo>
                    <a:lnTo>
                      <a:pt x="967" y="293"/>
                    </a:lnTo>
                    <a:lnTo>
                      <a:pt x="968" y="293"/>
                    </a:lnTo>
                    <a:lnTo>
                      <a:pt x="968" y="292"/>
                    </a:lnTo>
                    <a:lnTo>
                      <a:pt x="968" y="293"/>
                    </a:lnTo>
                    <a:lnTo>
                      <a:pt x="970" y="293"/>
                    </a:lnTo>
                    <a:lnTo>
                      <a:pt x="970" y="295"/>
                    </a:lnTo>
                    <a:lnTo>
                      <a:pt x="970" y="298"/>
                    </a:lnTo>
                    <a:lnTo>
                      <a:pt x="970" y="300"/>
                    </a:lnTo>
                    <a:lnTo>
                      <a:pt x="971" y="300"/>
                    </a:lnTo>
                    <a:lnTo>
                      <a:pt x="971" y="301"/>
                    </a:lnTo>
                    <a:lnTo>
                      <a:pt x="971" y="303"/>
                    </a:lnTo>
                    <a:lnTo>
                      <a:pt x="971" y="304"/>
                    </a:lnTo>
                    <a:lnTo>
                      <a:pt x="971" y="306"/>
                    </a:lnTo>
                    <a:lnTo>
                      <a:pt x="971" y="309"/>
                    </a:lnTo>
                    <a:lnTo>
                      <a:pt x="971" y="311"/>
                    </a:lnTo>
                    <a:lnTo>
                      <a:pt x="971" y="312"/>
                    </a:lnTo>
                    <a:lnTo>
                      <a:pt x="973" y="314"/>
                    </a:lnTo>
                    <a:lnTo>
                      <a:pt x="973" y="317"/>
                    </a:lnTo>
                    <a:lnTo>
                      <a:pt x="975" y="320"/>
                    </a:lnTo>
                    <a:lnTo>
                      <a:pt x="976" y="325"/>
                    </a:lnTo>
                    <a:lnTo>
                      <a:pt x="976" y="327"/>
                    </a:lnTo>
                    <a:lnTo>
                      <a:pt x="976" y="328"/>
                    </a:lnTo>
                    <a:lnTo>
                      <a:pt x="976" y="331"/>
                    </a:lnTo>
                    <a:lnTo>
                      <a:pt x="976" y="333"/>
                    </a:lnTo>
                    <a:lnTo>
                      <a:pt x="975" y="333"/>
                    </a:lnTo>
                    <a:lnTo>
                      <a:pt x="973" y="335"/>
                    </a:lnTo>
                    <a:lnTo>
                      <a:pt x="971" y="335"/>
                    </a:lnTo>
                    <a:lnTo>
                      <a:pt x="970" y="335"/>
                    </a:lnTo>
                    <a:lnTo>
                      <a:pt x="968" y="336"/>
                    </a:lnTo>
                    <a:lnTo>
                      <a:pt x="967" y="336"/>
                    </a:lnTo>
                    <a:lnTo>
                      <a:pt x="964" y="335"/>
                    </a:lnTo>
                    <a:lnTo>
                      <a:pt x="964" y="336"/>
                    </a:lnTo>
                    <a:lnTo>
                      <a:pt x="964" y="338"/>
                    </a:lnTo>
                    <a:lnTo>
                      <a:pt x="964" y="339"/>
                    </a:lnTo>
                    <a:lnTo>
                      <a:pt x="964" y="341"/>
                    </a:lnTo>
                    <a:lnTo>
                      <a:pt x="964" y="342"/>
                    </a:lnTo>
                    <a:lnTo>
                      <a:pt x="964" y="347"/>
                    </a:lnTo>
                    <a:lnTo>
                      <a:pt x="964" y="349"/>
                    </a:lnTo>
                    <a:lnTo>
                      <a:pt x="964" y="354"/>
                    </a:lnTo>
                    <a:lnTo>
                      <a:pt x="964" y="355"/>
                    </a:lnTo>
                    <a:lnTo>
                      <a:pt x="964" y="357"/>
                    </a:lnTo>
                    <a:lnTo>
                      <a:pt x="964" y="358"/>
                    </a:lnTo>
                    <a:lnTo>
                      <a:pt x="964" y="360"/>
                    </a:lnTo>
                    <a:lnTo>
                      <a:pt x="964" y="361"/>
                    </a:lnTo>
                    <a:lnTo>
                      <a:pt x="965" y="361"/>
                    </a:lnTo>
                    <a:lnTo>
                      <a:pt x="967" y="361"/>
                    </a:lnTo>
                    <a:lnTo>
                      <a:pt x="967" y="363"/>
                    </a:lnTo>
                    <a:lnTo>
                      <a:pt x="968" y="365"/>
                    </a:lnTo>
                    <a:lnTo>
                      <a:pt x="968" y="366"/>
                    </a:lnTo>
                    <a:lnTo>
                      <a:pt x="968" y="369"/>
                    </a:lnTo>
                    <a:lnTo>
                      <a:pt x="968" y="373"/>
                    </a:lnTo>
                    <a:lnTo>
                      <a:pt x="968" y="374"/>
                    </a:lnTo>
                    <a:lnTo>
                      <a:pt x="973" y="374"/>
                    </a:lnTo>
                    <a:lnTo>
                      <a:pt x="976" y="376"/>
                    </a:lnTo>
                    <a:lnTo>
                      <a:pt x="979" y="376"/>
                    </a:lnTo>
                    <a:lnTo>
                      <a:pt x="981" y="376"/>
                    </a:lnTo>
                    <a:lnTo>
                      <a:pt x="983" y="374"/>
                    </a:lnTo>
                    <a:lnTo>
                      <a:pt x="984" y="374"/>
                    </a:lnTo>
                    <a:lnTo>
                      <a:pt x="986" y="374"/>
                    </a:lnTo>
                    <a:lnTo>
                      <a:pt x="986" y="376"/>
                    </a:lnTo>
                    <a:lnTo>
                      <a:pt x="989" y="377"/>
                    </a:lnTo>
                    <a:lnTo>
                      <a:pt x="990" y="379"/>
                    </a:lnTo>
                    <a:lnTo>
                      <a:pt x="990" y="380"/>
                    </a:lnTo>
                    <a:lnTo>
                      <a:pt x="992" y="380"/>
                    </a:lnTo>
                    <a:lnTo>
                      <a:pt x="994" y="382"/>
                    </a:lnTo>
                    <a:lnTo>
                      <a:pt x="994" y="384"/>
                    </a:lnTo>
                    <a:lnTo>
                      <a:pt x="995" y="385"/>
                    </a:lnTo>
                    <a:lnTo>
                      <a:pt x="997" y="385"/>
                    </a:lnTo>
                    <a:lnTo>
                      <a:pt x="998" y="384"/>
                    </a:lnTo>
                    <a:lnTo>
                      <a:pt x="1002" y="382"/>
                    </a:lnTo>
                    <a:lnTo>
                      <a:pt x="1003" y="380"/>
                    </a:lnTo>
                    <a:lnTo>
                      <a:pt x="1005" y="380"/>
                    </a:lnTo>
                    <a:lnTo>
                      <a:pt x="1006" y="380"/>
                    </a:lnTo>
                    <a:lnTo>
                      <a:pt x="1011" y="379"/>
                    </a:lnTo>
                    <a:lnTo>
                      <a:pt x="1013" y="379"/>
                    </a:lnTo>
                    <a:lnTo>
                      <a:pt x="1014" y="380"/>
                    </a:lnTo>
                    <a:lnTo>
                      <a:pt x="1014" y="382"/>
                    </a:lnTo>
                    <a:lnTo>
                      <a:pt x="1016" y="382"/>
                    </a:lnTo>
                    <a:lnTo>
                      <a:pt x="1016" y="384"/>
                    </a:lnTo>
                    <a:lnTo>
                      <a:pt x="1017" y="384"/>
                    </a:lnTo>
                    <a:lnTo>
                      <a:pt x="1017" y="385"/>
                    </a:lnTo>
                    <a:lnTo>
                      <a:pt x="1019" y="385"/>
                    </a:lnTo>
                    <a:lnTo>
                      <a:pt x="1021" y="385"/>
                    </a:lnTo>
                    <a:lnTo>
                      <a:pt x="1021" y="384"/>
                    </a:lnTo>
                    <a:lnTo>
                      <a:pt x="1022" y="384"/>
                    </a:lnTo>
                    <a:lnTo>
                      <a:pt x="1024" y="384"/>
                    </a:lnTo>
                    <a:lnTo>
                      <a:pt x="1025" y="384"/>
                    </a:lnTo>
                    <a:lnTo>
                      <a:pt x="1027" y="384"/>
                    </a:lnTo>
                    <a:lnTo>
                      <a:pt x="1028" y="384"/>
                    </a:lnTo>
                    <a:lnTo>
                      <a:pt x="1030" y="384"/>
                    </a:lnTo>
                    <a:lnTo>
                      <a:pt x="1030" y="385"/>
                    </a:lnTo>
                    <a:lnTo>
                      <a:pt x="1032" y="385"/>
                    </a:lnTo>
                    <a:lnTo>
                      <a:pt x="1032" y="387"/>
                    </a:lnTo>
                    <a:lnTo>
                      <a:pt x="1032" y="388"/>
                    </a:lnTo>
                    <a:lnTo>
                      <a:pt x="1032" y="390"/>
                    </a:lnTo>
                    <a:lnTo>
                      <a:pt x="1032" y="392"/>
                    </a:lnTo>
                    <a:lnTo>
                      <a:pt x="1032" y="393"/>
                    </a:lnTo>
                    <a:lnTo>
                      <a:pt x="1033" y="395"/>
                    </a:lnTo>
                    <a:lnTo>
                      <a:pt x="1033" y="396"/>
                    </a:lnTo>
                    <a:lnTo>
                      <a:pt x="1033" y="398"/>
                    </a:lnTo>
                    <a:lnTo>
                      <a:pt x="1033" y="399"/>
                    </a:lnTo>
                    <a:lnTo>
                      <a:pt x="1033" y="401"/>
                    </a:lnTo>
                    <a:lnTo>
                      <a:pt x="1033" y="403"/>
                    </a:lnTo>
                    <a:lnTo>
                      <a:pt x="1033" y="404"/>
                    </a:lnTo>
                    <a:lnTo>
                      <a:pt x="1035" y="404"/>
                    </a:lnTo>
                    <a:lnTo>
                      <a:pt x="1036" y="404"/>
                    </a:lnTo>
                    <a:lnTo>
                      <a:pt x="1036" y="406"/>
                    </a:lnTo>
                    <a:lnTo>
                      <a:pt x="1038" y="406"/>
                    </a:lnTo>
                    <a:lnTo>
                      <a:pt x="1038" y="407"/>
                    </a:lnTo>
                    <a:lnTo>
                      <a:pt x="1036" y="409"/>
                    </a:lnTo>
                    <a:lnTo>
                      <a:pt x="1038" y="411"/>
                    </a:lnTo>
                    <a:lnTo>
                      <a:pt x="1036" y="411"/>
                    </a:lnTo>
                    <a:lnTo>
                      <a:pt x="1038" y="412"/>
                    </a:lnTo>
                    <a:lnTo>
                      <a:pt x="1036" y="412"/>
                    </a:lnTo>
                    <a:lnTo>
                      <a:pt x="1035" y="412"/>
                    </a:lnTo>
                    <a:lnTo>
                      <a:pt x="1033" y="412"/>
                    </a:lnTo>
                    <a:lnTo>
                      <a:pt x="1033" y="414"/>
                    </a:lnTo>
                    <a:lnTo>
                      <a:pt x="1033" y="415"/>
                    </a:lnTo>
                    <a:lnTo>
                      <a:pt x="1032" y="415"/>
                    </a:lnTo>
                    <a:lnTo>
                      <a:pt x="1032" y="417"/>
                    </a:lnTo>
                    <a:lnTo>
                      <a:pt x="1033" y="418"/>
                    </a:lnTo>
                    <a:lnTo>
                      <a:pt x="1032" y="420"/>
                    </a:lnTo>
                    <a:lnTo>
                      <a:pt x="1030" y="420"/>
                    </a:lnTo>
                    <a:lnTo>
                      <a:pt x="1030" y="422"/>
                    </a:lnTo>
                    <a:lnTo>
                      <a:pt x="1030" y="423"/>
                    </a:lnTo>
                    <a:lnTo>
                      <a:pt x="1028" y="423"/>
                    </a:lnTo>
                    <a:lnTo>
                      <a:pt x="1027" y="425"/>
                    </a:lnTo>
                    <a:lnTo>
                      <a:pt x="1027" y="426"/>
                    </a:lnTo>
                    <a:lnTo>
                      <a:pt x="1027" y="428"/>
                    </a:lnTo>
                    <a:lnTo>
                      <a:pt x="1027" y="430"/>
                    </a:lnTo>
                    <a:lnTo>
                      <a:pt x="1027" y="431"/>
                    </a:lnTo>
                    <a:lnTo>
                      <a:pt x="1025" y="431"/>
                    </a:lnTo>
                    <a:lnTo>
                      <a:pt x="1025" y="433"/>
                    </a:lnTo>
                    <a:lnTo>
                      <a:pt x="1024" y="433"/>
                    </a:lnTo>
                    <a:lnTo>
                      <a:pt x="1024" y="434"/>
                    </a:lnTo>
                    <a:lnTo>
                      <a:pt x="1022" y="434"/>
                    </a:lnTo>
                    <a:lnTo>
                      <a:pt x="1021" y="434"/>
                    </a:lnTo>
                    <a:lnTo>
                      <a:pt x="1019" y="436"/>
                    </a:lnTo>
                    <a:lnTo>
                      <a:pt x="1019" y="437"/>
                    </a:lnTo>
                    <a:lnTo>
                      <a:pt x="1019" y="439"/>
                    </a:lnTo>
                    <a:lnTo>
                      <a:pt x="1017" y="439"/>
                    </a:lnTo>
                    <a:lnTo>
                      <a:pt x="1017" y="441"/>
                    </a:lnTo>
                    <a:lnTo>
                      <a:pt x="1017" y="442"/>
                    </a:lnTo>
                    <a:lnTo>
                      <a:pt x="1017" y="444"/>
                    </a:lnTo>
                    <a:lnTo>
                      <a:pt x="1016" y="444"/>
                    </a:lnTo>
                    <a:lnTo>
                      <a:pt x="1014" y="444"/>
                    </a:lnTo>
                    <a:lnTo>
                      <a:pt x="1013" y="445"/>
                    </a:lnTo>
                    <a:lnTo>
                      <a:pt x="1014" y="447"/>
                    </a:lnTo>
                    <a:lnTo>
                      <a:pt x="1014" y="449"/>
                    </a:lnTo>
                    <a:lnTo>
                      <a:pt x="1014" y="450"/>
                    </a:lnTo>
                    <a:lnTo>
                      <a:pt x="1013" y="450"/>
                    </a:lnTo>
                    <a:lnTo>
                      <a:pt x="1013" y="452"/>
                    </a:lnTo>
                    <a:lnTo>
                      <a:pt x="1013" y="453"/>
                    </a:lnTo>
                    <a:lnTo>
                      <a:pt x="1011" y="455"/>
                    </a:lnTo>
                    <a:lnTo>
                      <a:pt x="1009" y="457"/>
                    </a:lnTo>
                    <a:lnTo>
                      <a:pt x="1008" y="457"/>
                    </a:lnTo>
                    <a:lnTo>
                      <a:pt x="1006" y="457"/>
                    </a:lnTo>
                    <a:lnTo>
                      <a:pt x="1005" y="457"/>
                    </a:lnTo>
                    <a:lnTo>
                      <a:pt x="1003" y="457"/>
                    </a:lnTo>
                    <a:lnTo>
                      <a:pt x="1002" y="457"/>
                    </a:lnTo>
                    <a:lnTo>
                      <a:pt x="1002" y="458"/>
                    </a:lnTo>
                    <a:lnTo>
                      <a:pt x="1000" y="458"/>
                    </a:lnTo>
                    <a:lnTo>
                      <a:pt x="998" y="457"/>
                    </a:lnTo>
                    <a:lnTo>
                      <a:pt x="998" y="455"/>
                    </a:lnTo>
                    <a:lnTo>
                      <a:pt x="1000" y="455"/>
                    </a:lnTo>
                    <a:lnTo>
                      <a:pt x="998" y="453"/>
                    </a:lnTo>
                    <a:lnTo>
                      <a:pt x="997" y="455"/>
                    </a:lnTo>
                    <a:lnTo>
                      <a:pt x="997" y="453"/>
                    </a:lnTo>
                    <a:lnTo>
                      <a:pt x="995" y="453"/>
                    </a:lnTo>
                    <a:lnTo>
                      <a:pt x="995" y="455"/>
                    </a:lnTo>
                    <a:lnTo>
                      <a:pt x="994" y="457"/>
                    </a:lnTo>
                    <a:lnTo>
                      <a:pt x="992" y="457"/>
                    </a:lnTo>
                    <a:lnTo>
                      <a:pt x="994" y="457"/>
                    </a:lnTo>
                    <a:lnTo>
                      <a:pt x="992" y="458"/>
                    </a:lnTo>
                    <a:lnTo>
                      <a:pt x="992" y="460"/>
                    </a:lnTo>
                    <a:lnTo>
                      <a:pt x="990" y="460"/>
                    </a:lnTo>
                    <a:lnTo>
                      <a:pt x="989" y="461"/>
                    </a:lnTo>
                    <a:lnTo>
                      <a:pt x="987" y="460"/>
                    </a:lnTo>
                    <a:lnTo>
                      <a:pt x="987" y="461"/>
                    </a:lnTo>
                    <a:lnTo>
                      <a:pt x="986" y="461"/>
                    </a:lnTo>
                    <a:lnTo>
                      <a:pt x="986" y="463"/>
                    </a:lnTo>
                    <a:lnTo>
                      <a:pt x="986" y="464"/>
                    </a:lnTo>
                    <a:lnTo>
                      <a:pt x="984" y="464"/>
                    </a:lnTo>
                    <a:lnTo>
                      <a:pt x="983" y="464"/>
                    </a:lnTo>
                    <a:lnTo>
                      <a:pt x="983" y="463"/>
                    </a:lnTo>
                    <a:lnTo>
                      <a:pt x="981" y="464"/>
                    </a:lnTo>
                    <a:lnTo>
                      <a:pt x="983" y="464"/>
                    </a:lnTo>
                    <a:lnTo>
                      <a:pt x="983" y="466"/>
                    </a:lnTo>
                    <a:lnTo>
                      <a:pt x="981" y="466"/>
                    </a:lnTo>
                    <a:lnTo>
                      <a:pt x="981" y="468"/>
                    </a:lnTo>
                    <a:lnTo>
                      <a:pt x="979" y="468"/>
                    </a:lnTo>
                    <a:lnTo>
                      <a:pt x="979" y="469"/>
                    </a:lnTo>
                    <a:lnTo>
                      <a:pt x="979" y="471"/>
                    </a:lnTo>
                    <a:lnTo>
                      <a:pt x="978" y="471"/>
                    </a:lnTo>
                    <a:lnTo>
                      <a:pt x="978" y="472"/>
                    </a:lnTo>
                    <a:lnTo>
                      <a:pt x="976" y="474"/>
                    </a:lnTo>
                    <a:lnTo>
                      <a:pt x="976" y="476"/>
                    </a:lnTo>
                    <a:lnTo>
                      <a:pt x="975" y="476"/>
                    </a:lnTo>
                    <a:lnTo>
                      <a:pt x="973" y="476"/>
                    </a:lnTo>
                    <a:lnTo>
                      <a:pt x="973" y="477"/>
                    </a:lnTo>
                    <a:lnTo>
                      <a:pt x="971" y="479"/>
                    </a:lnTo>
                    <a:lnTo>
                      <a:pt x="971" y="480"/>
                    </a:lnTo>
                    <a:lnTo>
                      <a:pt x="971" y="482"/>
                    </a:lnTo>
                    <a:lnTo>
                      <a:pt x="970" y="482"/>
                    </a:lnTo>
                    <a:lnTo>
                      <a:pt x="968" y="482"/>
                    </a:lnTo>
                    <a:lnTo>
                      <a:pt x="968" y="483"/>
                    </a:lnTo>
                    <a:lnTo>
                      <a:pt x="967" y="485"/>
                    </a:lnTo>
                    <a:lnTo>
                      <a:pt x="967" y="487"/>
                    </a:lnTo>
                    <a:lnTo>
                      <a:pt x="967" y="488"/>
                    </a:lnTo>
                    <a:lnTo>
                      <a:pt x="967" y="490"/>
                    </a:lnTo>
                    <a:lnTo>
                      <a:pt x="967" y="491"/>
                    </a:lnTo>
                    <a:lnTo>
                      <a:pt x="967" y="493"/>
                    </a:lnTo>
                    <a:lnTo>
                      <a:pt x="967" y="495"/>
                    </a:lnTo>
                    <a:lnTo>
                      <a:pt x="967" y="496"/>
                    </a:lnTo>
                    <a:lnTo>
                      <a:pt x="968" y="498"/>
                    </a:lnTo>
                    <a:lnTo>
                      <a:pt x="968" y="499"/>
                    </a:lnTo>
                    <a:lnTo>
                      <a:pt x="968" y="501"/>
                    </a:lnTo>
                    <a:lnTo>
                      <a:pt x="970" y="501"/>
                    </a:lnTo>
                    <a:lnTo>
                      <a:pt x="970" y="502"/>
                    </a:lnTo>
                    <a:lnTo>
                      <a:pt x="970" y="504"/>
                    </a:lnTo>
                    <a:lnTo>
                      <a:pt x="970" y="506"/>
                    </a:lnTo>
                    <a:lnTo>
                      <a:pt x="971" y="506"/>
                    </a:lnTo>
                    <a:lnTo>
                      <a:pt x="971" y="507"/>
                    </a:lnTo>
                    <a:lnTo>
                      <a:pt x="971" y="509"/>
                    </a:lnTo>
                    <a:lnTo>
                      <a:pt x="973" y="510"/>
                    </a:lnTo>
                    <a:lnTo>
                      <a:pt x="973" y="512"/>
                    </a:lnTo>
                    <a:lnTo>
                      <a:pt x="975" y="512"/>
                    </a:lnTo>
                    <a:lnTo>
                      <a:pt x="975" y="514"/>
                    </a:lnTo>
                    <a:lnTo>
                      <a:pt x="975" y="515"/>
                    </a:lnTo>
                    <a:lnTo>
                      <a:pt x="975" y="517"/>
                    </a:lnTo>
                    <a:lnTo>
                      <a:pt x="976" y="517"/>
                    </a:lnTo>
                    <a:lnTo>
                      <a:pt x="976" y="518"/>
                    </a:lnTo>
                    <a:lnTo>
                      <a:pt x="976" y="520"/>
                    </a:lnTo>
                    <a:lnTo>
                      <a:pt x="976" y="521"/>
                    </a:lnTo>
                    <a:lnTo>
                      <a:pt x="976" y="523"/>
                    </a:lnTo>
                    <a:lnTo>
                      <a:pt x="978" y="523"/>
                    </a:lnTo>
                    <a:lnTo>
                      <a:pt x="978" y="525"/>
                    </a:lnTo>
                    <a:lnTo>
                      <a:pt x="978" y="526"/>
                    </a:lnTo>
                    <a:lnTo>
                      <a:pt x="978" y="528"/>
                    </a:lnTo>
                    <a:lnTo>
                      <a:pt x="979" y="528"/>
                    </a:lnTo>
                    <a:lnTo>
                      <a:pt x="979" y="529"/>
                    </a:lnTo>
                    <a:lnTo>
                      <a:pt x="979" y="531"/>
                    </a:lnTo>
                    <a:lnTo>
                      <a:pt x="979" y="533"/>
                    </a:lnTo>
                    <a:lnTo>
                      <a:pt x="981" y="534"/>
                    </a:lnTo>
                    <a:lnTo>
                      <a:pt x="981" y="536"/>
                    </a:lnTo>
                    <a:lnTo>
                      <a:pt x="983" y="537"/>
                    </a:lnTo>
                    <a:lnTo>
                      <a:pt x="983" y="539"/>
                    </a:lnTo>
                    <a:lnTo>
                      <a:pt x="983" y="540"/>
                    </a:lnTo>
                    <a:lnTo>
                      <a:pt x="984" y="540"/>
                    </a:lnTo>
                    <a:lnTo>
                      <a:pt x="984" y="542"/>
                    </a:lnTo>
                    <a:lnTo>
                      <a:pt x="986" y="544"/>
                    </a:lnTo>
                    <a:lnTo>
                      <a:pt x="986" y="545"/>
                    </a:lnTo>
                    <a:lnTo>
                      <a:pt x="986" y="547"/>
                    </a:lnTo>
                    <a:lnTo>
                      <a:pt x="987" y="547"/>
                    </a:lnTo>
                    <a:lnTo>
                      <a:pt x="987" y="548"/>
                    </a:lnTo>
                    <a:lnTo>
                      <a:pt x="987" y="550"/>
                    </a:lnTo>
                    <a:lnTo>
                      <a:pt x="989" y="550"/>
                    </a:lnTo>
                    <a:lnTo>
                      <a:pt x="989" y="552"/>
                    </a:lnTo>
                    <a:lnTo>
                      <a:pt x="989" y="553"/>
                    </a:lnTo>
                    <a:lnTo>
                      <a:pt x="990" y="553"/>
                    </a:lnTo>
                    <a:lnTo>
                      <a:pt x="990" y="555"/>
                    </a:lnTo>
                    <a:lnTo>
                      <a:pt x="992" y="556"/>
                    </a:lnTo>
                    <a:lnTo>
                      <a:pt x="992" y="558"/>
                    </a:lnTo>
                    <a:lnTo>
                      <a:pt x="992" y="559"/>
                    </a:lnTo>
                    <a:lnTo>
                      <a:pt x="992" y="561"/>
                    </a:lnTo>
                    <a:lnTo>
                      <a:pt x="992" y="563"/>
                    </a:lnTo>
                    <a:lnTo>
                      <a:pt x="992" y="564"/>
                    </a:lnTo>
                    <a:lnTo>
                      <a:pt x="992" y="566"/>
                    </a:lnTo>
                    <a:lnTo>
                      <a:pt x="992" y="567"/>
                    </a:lnTo>
                    <a:lnTo>
                      <a:pt x="990" y="566"/>
                    </a:lnTo>
                    <a:lnTo>
                      <a:pt x="989" y="566"/>
                    </a:lnTo>
                    <a:lnTo>
                      <a:pt x="987" y="566"/>
                    </a:lnTo>
                    <a:lnTo>
                      <a:pt x="986" y="566"/>
                    </a:lnTo>
                    <a:lnTo>
                      <a:pt x="983" y="566"/>
                    </a:lnTo>
                    <a:lnTo>
                      <a:pt x="979" y="567"/>
                    </a:lnTo>
                    <a:lnTo>
                      <a:pt x="978" y="567"/>
                    </a:lnTo>
                    <a:lnTo>
                      <a:pt x="973" y="567"/>
                    </a:lnTo>
                    <a:lnTo>
                      <a:pt x="971" y="567"/>
                    </a:lnTo>
                    <a:lnTo>
                      <a:pt x="970" y="567"/>
                    </a:lnTo>
                    <a:lnTo>
                      <a:pt x="968" y="567"/>
                    </a:lnTo>
                    <a:lnTo>
                      <a:pt x="964" y="569"/>
                    </a:lnTo>
                    <a:lnTo>
                      <a:pt x="959" y="571"/>
                    </a:lnTo>
                    <a:lnTo>
                      <a:pt x="957" y="571"/>
                    </a:lnTo>
                    <a:lnTo>
                      <a:pt x="956" y="572"/>
                    </a:lnTo>
                    <a:lnTo>
                      <a:pt x="952" y="571"/>
                    </a:lnTo>
                    <a:lnTo>
                      <a:pt x="951" y="571"/>
                    </a:lnTo>
                    <a:lnTo>
                      <a:pt x="949" y="571"/>
                    </a:lnTo>
                    <a:lnTo>
                      <a:pt x="948" y="571"/>
                    </a:lnTo>
                    <a:lnTo>
                      <a:pt x="946" y="571"/>
                    </a:lnTo>
                    <a:lnTo>
                      <a:pt x="944" y="572"/>
                    </a:lnTo>
                    <a:lnTo>
                      <a:pt x="943" y="572"/>
                    </a:lnTo>
                    <a:lnTo>
                      <a:pt x="941" y="572"/>
                    </a:lnTo>
                    <a:lnTo>
                      <a:pt x="940" y="572"/>
                    </a:lnTo>
                    <a:lnTo>
                      <a:pt x="938" y="572"/>
                    </a:lnTo>
                    <a:lnTo>
                      <a:pt x="935" y="572"/>
                    </a:lnTo>
                    <a:lnTo>
                      <a:pt x="932" y="574"/>
                    </a:lnTo>
                    <a:lnTo>
                      <a:pt x="930" y="575"/>
                    </a:lnTo>
                    <a:lnTo>
                      <a:pt x="929" y="575"/>
                    </a:lnTo>
                    <a:lnTo>
                      <a:pt x="927" y="577"/>
                    </a:lnTo>
                    <a:lnTo>
                      <a:pt x="925" y="577"/>
                    </a:lnTo>
                    <a:lnTo>
                      <a:pt x="924" y="577"/>
                    </a:lnTo>
                    <a:lnTo>
                      <a:pt x="922" y="577"/>
                    </a:lnTo>
                    <a:lnTo>
                      <a:pt x="921" y="578"/>
                    </a:lnTo>
                    <a:lnTo>
                      <a:pt x="919" y="578"/>
                    </a:lnTo>
                    <a:lnTo>
                      <a:pt x="916" y="578"/>
                    </a:lnTo>
                    <a:lnTo>
                      <a:pt x="914" y="578"/>
                    </a:lnTo>
                    <a:lnTo>
                      <a:pt x="914" y="580"/>
                    </a:lnTo>
                    <a:lnTo>
                      <a:pt x="913" y="580"/>
                    </a:lnTo>
                    <a:lnTo>
                      <a:pt x="911" y="582"/>
                    </a:lnTo>
                    <a:lnTo>
                      <a:pt x="910" y="582"/>
                    </a:lnTo>
                    <a:lnTo>
                      <a:pt x="908" y="582"/>
                    </a:lnTo>
                    <a:lnTo>
                      <a:pt x="906" y="580"/>
                    </a:lnTo>
                    <a:lnTo>
                      <a:pt x="903" y="582"/>
                    </a:lnTo>
                    <a:lnTo>
                      <a:pt x="902" y="582"/>
                    </a:lnTo>
                    <a:lnTo>
                      <a:pt x="897" y="582"/>
                    </a:lnTo>
                    <a:lnTo>
                      <a:pt x="895" y="580"/>
                    </a:lnTo>
                    <a:lnTo>
                      <a:pt x="894" y="578"/>
                    </a:lnTo>
                    <a:lnTo>
                      <a:pt x="894" y="577"/>
                    </a:lnTo>
                    <a:lnTo>
                      <a:pt x="892" y="577"/>
                    </a:lnTo>
                    <a:lnTo>
                      <a:pt x="891" y="577"/>
                    </a:lnTo>
                    <a:lnTo>
                      <a:pt x="889" y="577"/>
                    </a:lnTo>
                    <a:lnTo>
                      <a:pt x="887" y="578"/>
                    </a:lnTo>
                    <a:lnTo>
                      <a:pt x="881" y="577"/>
                    </a:lnTo>
                    <a:lnTo>
                      <a:pt x="878" y="577"/>
                    </a:lnTo>
                    <a:lnTo>
                      <a:pt x="876" y="577"/>
                    </a:lnTo>
                    <a:lnTo>
                      <a:pt x="875" y="578"/>
                    </a:lnTo>
                    <a:lnTo>
                      <a:pt x="873" y="578"/>
                    </a:lnTo>
                    <a:lnTo>
                      <a:pt x="873" y="577"/>
                    </a:lnTo>
                    <a:lnTo>
                      <a:pt x="870" y="577"/>
                    </a:lnTo>
                    <a:lnTo>
                      <a:pt x="851" y="583"/>
                    </a:lnTo>
                    <a:lnTo>
                      <a:pt x="846" y="585"/>
                    </a:lnTo>
                    <a:lnTo>
                      <a:pt x="840" y="586"/>
                    </a:lnTo>
                    <a:lnTo>
                      <a:pt x="835" y="588"/>
                    </a:lnTo>
                    <a:lnTo>
                      <a:pt x="832" y="591"/>
                    </a:lnTo>
                    <a:lnTo>
                      <a:pt x="830" y="594"/>
                    </a:lnTo>
                    <a:lnTo>
                      <a:pt x="827" y="597"/>
                    </a:lnTo>
                    <a:lnTo>
                      <a:pt x="827" y="602"/>
                    </a:lnTo>
                    <a:lnTo>
                      <a:pt x="827" y="609"/>
                    </a:lnTo>
                    <a:lnTo>
                      <a:pt x="827" y="613"/>
                    </a:lnTo>
                    <a:lnTo>
                      <a:pt x="826" y="618"/>
                    </a:lnTo>
                    <a:lnTo>
                      <a:pt x="826" y="620"/>
                    </a:lnTo>
                    <a:lnTo>
                      <a:pt x="826" y="623"/>
                    </a:lnTo>
                    <a:lnTo>
                      <a:pt x="826" y="626"/>
                    </a:lnTo>
                    <a:lnTo>
                      <a:pt x="826" y="629"/>
                    </a:lnTo>
                    <a:lnTo>
                      <a:pt x="826" y="631"/>
                    </a:lnTo>
                    <a:lnTo>
                      <a:pt x="826" y="634"/>
                    </a:lnTo>
                    <a:lnTo>
                      <a:pt x="811" y="675"/>
                    </a:lnTo>
                    <a:lnTo>
                      <a:pt x="810" y="677"/>
                    </a:lnTo>
                    <a:lnTo>
                      <a:pt x="810" y="680"/>
                    </a:lnTo>
                    <a:lnTo>
                      <a:pt x="807" y="681"/>
                    </a:lnTo>
                    <a:lnTo>
                      <a:pt x="807" y="686"/>
                    </a:lnTo>
                    <a:lnTo>
                      <a:pt x="805" y="694"/>
                    </a:lnTo>
                    <a:lnTo>
                      <a:pt x="804" y="697"/>
                    </a:lnTo>
                    <a:lnTo>
                      <a:pt x="805" y="699"/>
                    </a:lnTo>
                    <a:lnTo>
                      <a:pt x="807" y="702"/>
                    </a:lnTo>
                    <a:lnTo>
                      <a:pt x="807" y="704"/>
                    </a:lnTo>
                    <a:lnTo>
                      <a:pt x="805" y="707"/>
                    </a:lnTo>
                    <a:lnTo>
                      <a:pt x="802" y="708"/>
                    </a:lnTo>
                    <a:lnTo>
                      <a:pt x="800" y="715"/>
                    </a:lnTo>
                    <a:lnTo>
                      <a:pt x="799" y="719"/>
                    </a:lnTo>
                    <a:lnTo>
                      <a:pt x="794" y="723"/>
                    </a:lnTo>
                    <a:lnTo>
                      <a:pt x="792" y="723"/>
                    </a:lnTo>
                    <a:lnTo>
                      <a:pt x="792" y="724"/>
                    </a:lnTo>
                    <a:lnTo>
                      <a:pt x="791" y="724"/>
                    </a:lnTo>
                    <a:lnTo>
                      <a:pt x="789" y="724"/>
                    </a:lnTo>
                    <a:lnTo>
                      <a:pt x="788" y="724"/>
                    </a:lnTo>
                    <a:lnTo>
                      <a:pt x="786" y="726"/>
                    </a:lnTo>
                    <a:lnTo>
                      <a:pt x="785" y="726"/>
                    </a:lnTo>
                    <a:lnTo>
                      <a:pt x="785" y="727"/>
                    </a:lnTo>
                    <a:lnTo>
                      <a:pt x="783" y="727"/>
                    </a:lnTo>
                    <a:lnTo>
                      <a:pt x="783" y="729"/>
                    </a:lnTo>
                    <a:lnTo>
                      <a:pt x="781" y="729"/>
                    </a:lnTo>
                    <a:lnTo>
                      <a:pt x="780" y="731"/>
                    </a:lnTo>
                    <a:lnTo>
                      <a:pt x="778" y="731"/>
                    </a:lnTo>
                    <a:lnTo>
                      <a:pt x="777" y="732"/>
                    </a:lnTo>
                    <a:lnTo>
                      <a:pt x="777" y="734"/>
                    </a:lnTo>
                    <a:lnTo>
                      <a:pt x="777" y="735"/>
                    </a:lnTo>
                    <a:lnTo>
                      <a:pt x="775" y="737"/>
                    </a:lnTo>
                    <a:lnTo>
                      <a:pt x="773" y="738"/>
                    </a:lnTo>
                    <a:lnTo>
                      <a:pt x="772" y="738"/>
                    </a:lnTo>
                    <a:lnTo>
                      <a:pt x="770" y="740"/>
                    </a:lnTo>
                    <a:lnTo>
                      <a:pt x="769" y="740"/>
                    </a:lnTo>
                    <a:lnTo>
                      <a:pt x="769" y="742"/>
                    </a:lnTo>
                    <a:lnTo>
                      <a:pt x="769" y="743"/>
                    </a:lnTo>
                    <a:lnTo>
                      <a:pt x="770" y="745"/>
                    </a:lnTo>
                    <a:lnTo>
                      <a:pt x="769" y="745"/>
                    </a:lnTo>
                    <a:lnTo>
                      <a:pt x="769" y="746"/>
                    </a:lnTo>
                    <a:lnTo>
                      <a:pt x="767" y="748"/>
                    </a:lnTo>
                    <a:lnTo>
                      <a:pt x="767" y="750"/>
                    </a:lnTo>
                    <a:lnTo>
                      <a:pt x="767" y="751"/>
                    </a:lnTo>
                    <a:lnTo>
                      <a:pt x="766" y="753"/>
                    </a:lnTo>
                    <a:lnTo>
                      <a:pt x="764" y="754"/>
                    </a:lnTo>
                    <a:lnTo>
                      <a:pt x="764" y="756"/>
                    </a:lnTo>
                    <a:lnTo>
                      <a:pt x="762" y="757"/>
                    </a:lnTo>
                    <a:lnTo>
                      <a:pt x="762" y="759"/>
                    </a:lnTo>
                    <a:lnTo>
                      <a:pt x="761" y="762"/>
                    </a:lnTo>
                    <a:lnTo>
                      <a:pt x="761" y="764"/>
                    </a:lnTo>
                    <a:lnTo>
                      <a:pt x="759" y="764"/>
                    </a:lnTo>
                    <a:lnTo>
                      <a:pt x="759" y="765"/>
                    </a:lnTo>
                    <a:lnTo>
                      <a:pt x="758" y="765"/>
                    </a:lnTo>
                    <a:lnTo>
                      <a:pt x="756" y="767"/>
                    </a:lnTo>
                    <a:lnTo>
                      <a:pt x="754" y="769"/>
                    </a:lnTo>
                    <a:lnTo>
                      <a:pt x="753" y="770"/>
                    </a:lnTo>
                    <a:lnTo>
                      <a:pt x="753" y="772"/>
                    </a:lnTo>
                    <a:lnTo>
                      <a:pt x="753" y="773"/>
                    </a:lnTo>
                    <a:lnTo>
                      <a:pt x="751" y="773"/>
                    </a:lnTo>
                    <a:lnTo>
                      <a:pt x="751" y="775"/>
                    </a:lnTo>
                    <a:lnTo>
                      <a:pt x="751" y="776"/>
                    </a:lnTo>
                    <a:lnTo>
                      <a:pt x="750" y="778"/>
                    </a:lnTo>
                    <a:lnTo>
                      <a:pt x="750" y="780"/>
                    </a:lnTo>
                    <a:lnTo>
                      <a:pt x="748" y="781"/>
                    </a:lnTo>
                    <a:lnTo>
                      <a:pt x="748" y="783"/>
                    </a:lnTo>
                    <a:lnTo>
                      <a:pt x="746" y="783"/>
                    </a:lnTo>
                    <a:lnTo>
                      <a:pt x="745" y="784"/>
                    </a:lnTo>
                    <a:lnTo>
                      <a:pt x="743" y="786"/>
                    </a:lnTo>
                    <a:lnTo>
                      <a:pt x="740" y="788"/>
                    </a:lnTo>
                    <a:lnTo>
                      <a:pt x="739" y="789"/>
                    </a:lnTo>
                    <a:lnTo>
                      <a:pt x="735" y="791"/>
                    </a:lnTo>
                    <a:lnTo>
                      <a:pt x="734" y="792"/>
                    </a:lnTo>
                    <a:lnTo>
                      <a:pt x="732" y="792"/>
                    </a:lnTo>
                    <a:lnTo>
                      <a:pt x="731" y="794"/>
                    </a:lnTo>
                    <a:lnTo>
                      <a:pt x="731" y="795"/>
                    </a:lnTo>
                    <a:lnTo>
                      <a:pt x="729" y="795"/>
                    </a:lnTo>
                    <a:lnTo>
                      <a:pt x="727" y="797"/>
                    </a:lnTo>
                    <a:lnTo>
                      <a:pt x="727" y="799"/>
                    </a:lnTo>
                    <a:lnTo>
                      <a:pt x="726" y="799"/>
                    </a:lnTo>
                    <a:lnTo>
                      <a:pt x="726" y="800"/>
                    </a:lnTo>
                    <a:lnTo>
                      <a:pt x="724" y="802"/>
                    </a:lnTo>
                    <a:lnTo>
                      <a:pt x="723" y="802"/>
                    </a:lnTo>
                    <a:lnTo>
                      <a:pt x="723" y="803"/>
                    </a:lnTo>
                    <a:lnTo>
                      <a:pt x="721" y="803"/>
                    </a:lnTo>
                    <a:lnTo>
                      <a:pt x="721" y="805"/>
                    </a:lnTo>
                    <a:lnTo>
                      <a:pt x="721" y="807"/>
                    </a:lnTo>
                    <a:lnTo>
                      <a:pt x="720" y="810"/>
                    </a:lnTo>
                    <a:lnTo>
                      <a:pt x="718" y="811"/>
                    </a:lnTo>
                    <a:lnTo>
                      <a:pt x="716" y="813"/>
                    </a:lnTo>
                    <a:lnTo>
                      <a:pt x="716" y="814"/>
                    </a:lnTo>
                    <a:lnTo>
                      <a:pt x="716" y="816"/>
                    </a:lnTo>
                    <a:lnTo>
                      <a:pt x="715" y="818"/>
                    </a:lnTo>
                    <a:lnTo>
                      <a:pt x="716" y="819"/>
                    </a:lnTo>
                    <a:lnTo>
                      <a:pt x="716" y="821"/>
                    </a:lnTo>
                    <a:lnTo>
                      <a:pt x="715" y="822"/>
                    </a:lnTo>
                    <a:lnTo>
                      <a:pt x="713" y="824"/>
                    </a:lnTo>
                    <a:lnTo>
                      <a:pt x="712" y="826"/>
                    </a:lnTo>
                    <a:lnTo>
                      <a:pt x="710" y="827"/>
                    </a:lnTo>
                    <a:lnTo>
                      <a:pt x="710" y="829"/>
                    </a:lnTo>
                    <a:lnTo>
                      <a:pt x="710" y="830"/>
                    </a:lnTo>
                    <a:lnTo>
                      <a:pt x="708" y="832"/>
                    </a:lnTo>
                    <a:lnTo>
                      <a:pt x="707" y="832"/>
                    </a:lnTo>
                    <a:lnTo>
                      <a:pt x="707" y="834"/>
                    </a:lnTo>
                    <a:lnTo>
                      <a:pt x="705" y="835"/>
                    </a:lnTo>
                    <a:lnTo>
                      <a:pt x="704" y="835"/>
                    </a:lnTo>
                    <a:lnTo>
                      <a:pt x="701" y="835"/>
                    </a:lnTo>
                    <a:lnTo>
                      <a:pt x="701" y="837"/>
                    </a:lnTo>
                    <a:lnTo>
                      <a:pt x="699" y="837"/>
                    </a:lnTo>
                    <a:lnTo>
                      <a:pt x="697" y="838"/>
                    </a:lnTo>
                    <a:lnTo>
                      <a:pt x="696" y="840"/>
                    </a:lnTo>
                    <a:lnTo>
                      <a:pt x="694" y="843"/>
                    </a:lnTo>
                    <a:lnTo>
                      <a:pt x="691" y="846"/>
                    </a:lnTo>
                    <a:lnTo>
                      <a:pt x="689" y="848"/>
                    </a:lnTo>
                    <a:lnTo>
                      <a:pt x="689" y="849"/>
                    </a:lnTo>
                    <a:lnTo>
                      <a:pt x="688" y="851"/>
                    </a:lnTo>
                    <a:lnTo>
                      <a:pt x="686" y="851"/>
                    </a:lnTo>
                    <a:lnTo>
                      <a:pt x="686" y="853"/>
                    </a:lnTo>
                    <a:lnTo>
                      <a:pt x="685" y="853"/>
                    </a:lnTo>
                    <a:lnTo>
                      <a:pt x="685" y="854"/>
                    </a:lnTo>
                    <a:lnTo>
                      <a:pt x="683" y="854"/>
                    </a:lnTo>
                    <a:lnTo>
                      <a:pt x="683" y="856"/>
                    </a:lnTo>
                    <a:lnTo>
                      <a:pt x="683" y="857"/>
                    </a:lnTo>
                    <a:lnTo>
                      <a:pt x="683" y="859"/>
                    </a:lnTo>
                    <a:lnTo>
                      <a:pt x="683" y="860"/>
                    </a:lnTo>
                    <a:lnTo>
                      <a:pt x="685" y="862"/>
                    </a:lnTo>
                    <a:lnTo>
                      <a:pt x="683" y="864"/>
                    </a:lnTo>
                    <a:lnTo>
                      <a:pt x="683" y="865"/>
                    </a:lnTo>
                    <a:lnTo>
                      <a:pt x="680" y="865"/>
                    </a:lnTo>
                    <a:lnTo>
                      <a:pt x="678" y="865"/>
                    </a:lnTo>
                    <a:lnTo>
                      <a:pt x="677" y="867"/>
                    </a:lnTo>
                    <a:lnTo>
                      <a:pt x="675" y="867"/>
                    </a:lnTo>
                    <a:lnTo>
                      <a:pt x="675" y="868"/>
                    </a:lnTo>
                    <a:lnTo>
                      <a:pt x="674" y="870"/>
                    </a:lnTo>
                    <a:lnTo>
                      <a:pt x="672" y="872"/>
                    </a:lnTo>
                    <a:lnTo>
                      <a:pt x="672" y="873"/>
                    </a:lnTo>
                    <a:lnTo>
                      <a:pt x="672" y="875"/>
                    </a:lnTo>
                    <a:lnTo>
                      <a:pt x="672" y="876"/>
                    </a:lnTo>
                    <a:lnTo>
                      <a:pt x="670" y="876"/>
                    </a:lnTo>
                    <a:lnTo>
                      <a:pt x="669" y="876"/>
                    </a:lnTo>
                    <a:lnTo>
                      <a:pt x="667" y="876"/>
                    </a:lnTo>
                    <a:lnTo>
                      <a:pt x="666" y="878"/>
                    </a:lnTo>
                    <a:lnTo>
                      <a:pt x="666" y="879"/>
                    </a:lnTo>
                    <a:lnTo>
                      <a:pt x="664" y="881"/>
                    </a:lnTo>
                    <a:lnTo>
                      <a:pt x="663" y="883"/>
                    </a:lnTo>
                    <a:lnTo>
                      <a:pt x="661" y="883"/>
                    </a:lnTo>
                    <a:lnTo>
                      <a:pt x="659" y="883"/>
                    </a:lnTo>
                    <a:lnTo>
                      <a:pt x="659" y="884"/>
                    </a:lnTo>
                    <a:lnTo>
                      <a:pt x="659" y="886"/>
                    </a:lnTo>
                    <a:lnTo>
                      <a:pt x="658" y="886"/>
                    </a:lnTo>
                    <a:lnTo>
                      <a:pt x="656" y="887"/>
                    </a:lnTo>
                    <a:lnTo>
                      <a:pt x="656" y="889"/>
                    </a:lnTo>
                    <a:lnTo>
                      <a:pt x="656" y="891"/>
                    </a:lnTo>
                    <a:lnTo>
                      <a:pt x="658" y="891"/>
                    </a:lnTo>
                    <a:lnTo>
                      <a:pt x="658" y="892"/>
                    </a:lnTo>
                    <a:lnTo>
                      <a:pt x="659" y="894"/>
                    </a:lnTo>
                    <a:lnTo>
                      <a:pt x="659" y="895"/>
                    </a:lnTo>
                    <a:lnTo>
                      <a:pt x="659" y="897"/>
                    </a:lnTo>
                    <a:lnTo>
                      <a:pt x="659" y="898"/>
                    </a:lnTo>
                    <a:lnTo>
                      <a:pt x="659" y="900"/>
                    </a:lnTo>
                    <a:lnTo>
                      <a:pt x="661" y="900"/>
                    </a:lnTo>
                    <a:lnTo>
                      <a:pt x="661" y="902"/>
                    </a:lnTo>
                    <a:lnTo>
                      <a:pt x="661" y="903"/>
                    </a:lnTo>
                    <a:lnTo>
                      <a:pt x="661" y="905"/>
                    </a:lnTo>
                    <a:lnTo>
                      <a:pt x="663" y="906"/>
                    </a:lnTo>
                    <a:lnTo>
                      <a:pt x="663" y="908"/>
                    </a:lnTo>
                    <a:lnTo>
                      <a:pt x="664" y="908"/>
                    </a:lnTo>
                    <a:lnTo>
                      <a:pt x="664" y="910"/>
                    </a:lnTo>
                    <a:lnTo>
                      <a:pt x="664" y="911"/>
                    </a:lnTo>
                    <a:lnTo>
                      <a:pt x="663" y="913"/>
                    </a:lnTo>
                    <a:lnTo>
                      <a:pt x="663" y="914"/>
                    </a:lnTo>
                    <a:lnTo>
                      <a:pt x="664" y="914"/>
                    </a:lnTo>
                    <a:lnTo>
                      <a:pt x="666" y="914"/>
                    </a:lnTo>
                    <a:lnTo>
                      <a:pt x="667" y="914"/>
                    </a:lnTo>
                    <a:lnTo>
                      <a:pt x="667" y="916"/>
                    </a:lnTo>
                    <a:lnTo>
                      <a:pt x="667" y="917"/>
                    </a:lnTo>
                    <a:lnTo>
                      <a:pt x="666" y="919"/>
                    </a:lnTo>
                    <a:lnTo>
                      <a:pt x="666" y="921"/>
                    </a:lnTo>
                    <a:lnTo>
                      <a:pt x="666" y="922"/>
                    </a:lnTo>
                    <a:lnTo>
                      <a:pt x="666" y="924"/>
                    </a:lnTo>
                    <a:lnTo>
                      <a:pt x="666" y="925"/>
                    </a:lnTo>
                    <a:lnTo>
                      <a:pt x="667" y="925"/>
                    </a:lnTo>
                    <a:lnTo>
                      <a:pt x="666" y="927"/>
                    </a:lnTo>
                    <a:lnTo>
                      <a:pt x="666" y="929"/>
                    </a:lnTo>
                    <a:lnTo>
                      <a:pt x="664" y="929"/>
                    </a:lnTo>
                    <a:lnTo>
                      <a:pt x="664" y="930"/>
                    </a:lnTo>
                    <a:lnTo>
                      <a:pt x="663" y="930"/>
                    </a:lnTo>
                    <a:lnTo>
                      <a:pt x="663" y="932"/>
                    </a:lnTo>
                    <a:lnTo>
                      <a:pt x="663" y="933"/>
                    </a:lnTo>
                    <a:lnTo>
                      <a:pt x="661" y="933"/>
                    </a:lnTo>
                    <a:lnTo>
                      <a:pt x="659" y="935"/>
                    </a:lnTo>
                    <a:lnTo>
                      <a:pt x="659" y="936"/>
                    </a:lnTo>
                    <a:lnTo>
                      <a:pt x="658" y="936"/>
                    </a:lnTo>
                    <a:lnTo>
                      <a:pt x="658" y="938"/>
                    </a:lnTo>
                    <a:lnTo>
                      <a:pt x="658" y="940"/>
                    </a:lnTo>
                    <a:lnTo>
                      <a:pt x="658" y="941"/>
                    </a:lnTo>
                    <a:lnTo>
                      <a:pt x="658" y="943"/>
                    </a:lnTo>
                    <a:lnTo>
                      <a:pt x="658" y="944"/>
                    </a:lnTo>
                    <a:lnTo>
                      <a:pt x="658" y="946"/>
                    </a:lnTo>
                    <a:lnTo>
                      <a:pt x="658" y="948"/>
                    </a:lnTo>
                    <a:lnTo>
                      <a:pt x="658" y="949"/>
                    </a:lnTo>
                    <a:lnTo>
                      <a:pt x="656" y="949"/>
                    </a:lnTo>
                    <a:lnTo>
                      <a:pt x="656" y="951"/>
                    </a:lnTo>
                    <a:lnTo>
                      <a:pt x="656" y="954"/>
                    </a:lnTo>
                    <a:lnTo>
                      <a:pt x="655" y="954"/>
                    </a:lnTo>
                    <a:lnTo>
                      <a:pt x="655" y="955"/>
                    </a:lnTo>
                    <a:lnTo>
                      <a:pt x="653" y="955"/>
                    </a:lnTo>
                    <a:lnTo>
                      <a:pt x="653" y="957"/>
                    </a:lnTo>
                    <a:lnTo>
                      <a:pt x="653" y="959"/>
                    </a:lnTo>
                    <a:lnTo>
                      <a:pt x="653" y="960"/>
                    </a:lnTo>
                    <a:lnTo>
                      <a:pt x="653" y="962"/>
                    </a:lnTo>
                    <a:lnTo>
                      <a:pt x="651" y="962"/>
                    </a:lnTo>
                    <a:lnTo>
                      <a:pt x="650" y="963"/>
                    </a:lnTo>
                    <a:lnTo>
                      <a:pt x="648" y="965"/>
                    </a:lnTo>
                    <a:lnTo>
                      <a:pt x="648" y="967"/>
                    </a:lnTo>
                    <a:lnTo>
                      <a:pt x="650" y="968"/>
                    </a:lnTo>
                    <a:lnTo>
                      <a:pt x="648" y="970"/>
                    </a:lnTo>
                    <a:lnTo>
                      <a:pt x="648" y="971"/>
                    </a:lnTo>
                    <a:lnTo>
                      <a:pt x="647" y="971"/>
                    </a:lnTo>
                    <a:lnTo>
                      <a:pt x="647" y="974"/>
                    </a:lnTo>
                    <a:lnTo>
                      <a:pt x="647" y="976"/>
                    </a:lnTo>
                    <a:lnTo>
                      <a:pt x="647" y="978"/>
                    </a:lnTo>
                    <a:lnTo>
                      <a:pt x="644" y="979"/>
                    </a:lnTo>
                    <a:lnTo>
                      <a:pt x="642" y="981"/>
                    </a:lnTo>
                    <a:lnTo>
                      <a:pt x="640" y="981"/>
                    </a:lnTo>
                    <a:lnTo>
                      <a:pt x="640" y="982"/>
                    </a:lnTo>
                    <a:lnTo>
                      <a:pt x="640" y="984"/>
                    </a:lnTo>
                    <a:lnTo>
                      <a:pt x="640" y="986"/>
                    </a:lnTo>
                    <a:lnTo>
                      <a:pt x="642" y="986"/>
                    </a:lnTo>
                    <a:lnTo>
                      <a:pt x="642" y="987"/>
                    </a:lnTo>
                    <a:lnTo>
                      <a:pt x="640" y="987"/>
                    </a:lnTo>
                    <a:lnTo>
                      <a:pt x="640" y="989"/>
                    </a:lnTo>
                    <a:lnTo>
                      <a:pt x="639" y="989"/>
                    </a:lnTo>
                    <a:lnTo>
                      <a:pt x="637" y="990"/>
                    </a:lnTo>
                    <a:lnTo>
                      <a:pt x="637" y="992"/>
                    </a:lnTo>
                    <a:lnTo>
                      <a:pt x="637" y="993"/>
                    </a:lnTo>
                    <a:lnTo>
                      <a:pt x="637" y="995"/>
                    </a:lnTo>
                    <a:lnTo>
                      <a:pt x="639" y="997"/>
                    </a:lnTo>
                    <a:lnTo>
                      <a:pt x="640" y="998"/>
                    </a:lnTo>
                    <a:lnTo>
                      <a:pt x="642" y="1000"/>
                    </a:lnTo>
                    <a:lnTo>
                      <a:pt x="642" y="1001"/>
                    </a:lnTo>
                    <a:lnTo>
                      <a:pt x="640" y="1001"/>
                    </a:lnTo>
                    <a:lnTo>
                      <a:pt x="640" y="1003"/>
                    </a:lnTo>
                    <a:lnTo>
                      <a:pt x="639" y="1003"/>
                    </a:lnTo>
                    <a:lnTo>
                      <a:pt x="640" y="1005"/>
                    </a:lnTo>
                    <a:lnTo>
                      <a:pt x="640" y="1006"/>
                    </a:lnTo>
                    <a:lnTo>
                      <a:pt x="642" y="1006"/>
                    </a:lnTo>
                    <a:lnTo>
                      <a:pt x="642" y="1008"/>
                    </a:lnTo>
                    <a:lnTo>
                      <a:pt x="644" y="1008"/>
                    </a:lnTo>
                    <a:lnTo>
                      <a:pt x="645" y="1009"/>
                    </a:lnTo>
                    <a:lnTo>
                      <a:pt x="647" y="1009"/>
                    </a:lnTo>
                    <a:lnTo>
                      <a:pt x="647" y="1011"/>
                    </a:lnTo>
                    <a:lnTo>
                      <a:pt x="647" y="1013"/>
                    </a:lnTo>
                    <a:lnTo>
                      <a:pt x="647" y="1014"/>
                    </a:lnTo>
                    <a:lnTo>
                      <a:pt x="645" y="1014"/>
                    </a:lnTo>
                    <a:lnTo>
                      <a:pt x="647" y="1016"/>
                    </a:lnTo>
                    <a:lnTo>
                      <a:pt x="648" y="1017"/>
                    </a:lnTo>
                    <a:lnTo>
                      <a:pt x="648" y="1019"/>
                    </a:lnTo>
                    <a:lnTo>
                      <a:pt x="648" y="1020"/>
                    </a:lnTo>
                    <a:lnTo>
                      <a:pt x="648" y="1022"/>
                    </a:lnTo>
                    <a:lnTo>
                      <a:pt x="647" y="1024"/>
                    </a:lnTo>
                    <a:lnTo>
                      <a:pt x="647" y="1025"/>
                    </a:lnTo>
                    <a:lnTo>
                      <a:pt x="645" y="1025"/>
                    </a:lnTo>
                    <a:lnTo>
                      <a:pt x="645" y="1027"/>
                    </a:lnTo>
                    <a:lnTo>
                      <a:pt x="645" y="1028"/>
                    </a:lnTo>
                    <a:lnTo>
                      <a:pt x="647" y="1030"/>
                    </a:lnTo>
                    <a:lnTo>
                      <a:pt x="648" y="1030"/>
                    </a:lnTo>
                    <a:lnTo>
                      <a:pt x="650" y="1030"/>
                    </a:lnTo>
                    <a:lnTo>
                      <a:pt x="651" y="1030"/>
                    </a:lnTo>
                    <a:lnTo>
                      <a:pt x="653" y="1030"/>
                    </a:lnTo>
                    <a:lnTo>
                      <a:pt x="653" y="1032"/>
                    </a:lnTo>
                    <a:lnTo>
                      <a:pt x="655" y="1032"/>
                    </a:lnTo>
                    <a:lnTo>
                      <a:pt x="656" y="1033"/>
                    </a:lnTo>
                    <a:lnTo>
                      <a:pt x="656" y="1035"/>
                    </a:lnTo>
                    <a:lnTo>
                      <a:pt x="658" y="1035"/>
                    </a:lnTo>
                    <a:lnTo>
                      <a:pt x="658" y="1036"/>
                    </a:lnTo>
                    <a:lnTo>
                      <a:pt x="659" y="1038"/>
                    </a:lnTo>
                    <a:lnTo>
                      <a:pt x="659" y="1039"/>
                    </a:lnTo>
                    <a:lnTo>
                      <a:pt x="659" y="1041"/>
                    </a:lnTo>
                    <a:lnTo>
                      <a:pt x="659" y="1043"/>
                    </a:lnTo>
                    <a:lnTo>
                      <a:pt x="661" y="1043"/>
                    </a:lnTo>
                    <a:lnTo>
                      <a:pt x="661" y="1044"/>
                    </a:lnTo>
                    <a:lnTo>
                      <a:pt x="659" y="1046"/>
                    </a:lnTo>
                    <a:lnTo>
                      <a:pt x="659" y="1047"/>
                    </a:lnTo>
                    <a:lnTo>
                      <a:pt x="658" y="1047"/>
                    </a:lnTo>
                    <a:lnTo>
                      <a:pt x="656" y="1047"/>
                    </a:lnTo>
                    <a:lnTo>
                      <a:pt x="655" y="1047"/>
                    </a:lnTo>
                    <a:lnTo>
                      <a:pt x="655" y="1049"/>
                    </a:lnTo>
                    <a:lnTo>
                      <a:pt x="653" y="1051"/>
                    </a:lnTo>
                    <a:lnTo>
                      <a:pt x="655" y="1052"/>
                    </a:lnTo>
                    <a:lnTo>
                      <a:pt x="656" y="1054"/>
                    </a:lnTo>
                    <a:lnTo>
                      <a:pt x="658" y="1055"/>
                    </a:lnTo>
                    <a:lnTo>
                      <a:pt x="659" y="1055"/>
                    </a:lnTo>
                    <a:lnTo>
                      <a:pt x="659" y="1057"/>
                    </a:lnTo>
                    <a:lnTo>
                      <a:pt x="659" y="1058"/>
                    </a:lnTo>
                    <a:lnTo>
                      <a:pt x="658" y="1060"/>
                    </a:lnTo>
                    <a:lnTo>
                      <a:pt x="656" y="1060"/>
                    </a:lnTo>
                    <a:lnTo>
                      <a:pt x="655" y="1060"/>
                    </a:lnTo>
                    <a:lnTo>
                      <a:pt x="653" y="1060"/>
                    </a:lnTo>
                    <a:lnTo>
                      <a:pt x="653" y="1063"/>
                    </a:lnTo>
                    <a:lnTo>
                      <a:pt x="655" y="1065"/>
                    </a:lnTo>
                    <a:lnTo>
                      <a:pt x="655" y="1066"/>
                    </a:lnTo>
                    <a:lnTo>
                      <a:pt x="655" y="1068"/>
                    </a:lnTo>
                    <a:lnTo>
                      <a:pt x="655" y="1070"/>
                    </a:lnTo>
                    <a:lnTo>
                      <a:pt x="655" y="1073"/>
                    </a:lnTo>
                    <a:lnTo>
                      <a:pt x="656" y="1074"/>
                    </a:lnTo>
                    <a:lnTo>
                      <a:pt x="659" y="1076"/>
                    </a:lnTo>
                    <a:lnTo>
                      <a:pt x="661" y="1077"/>
                    </a:lnTo>
                    <a:lnTo>
                      <a:pt x="663" y="1077"/>
                    </a:lnTo>
                    <a:lnTo>
                      <a:pt x="664" y="1079"/>
                    </a:lnTo>
                    <a:lnTo>
                      <a:pt x="666" y="1079"/>
                    </a:lnTo>
                    <a:lnTo>
                      <a:pt x="667" y="1081"/>
                    </a:lnTo>
                    <a:lnTo>
                      <a:pt x="667" y="1082"/>
                    </a:lnTo>
                    <a:lnTo>
                      <a:pt x="667" y="1084"/>
                    </a:lnTo>
                    <a:lnTo>
                      <a:pt x="669" y="1084"/>
                    </a:lnTo>
                    <a:lnTo>
                      <a:pt x="669" y="1085"/>
                    </a:lnTo>
                    <a:lnTo>
                      <a:pt x="670" y="1087"/>
                    </a:lnTo>
                    <a:lnTo>
                      <a:pt x="669" y="1087"/>
                    </a:lnTo>
                    <a:lnTo>
                      <a:pt x="667" y="1087"/>
                    </a:lnTo>
                    <a:lnTo>
                      <a:pt x="666" y="1087"/>
                    </a:lnTo>
                    <a:lnTo>
                      <a:pt x="664" y="1087"/>
                    </a:lnTo>
                    <a:lnTo>
                      <a:pt x="663" y="1087"/>
                    </a:lnTo>
                    <a:lnTo>
                      <a:pt x="661" y="1089"/>
                    </a:lnTo>
                    <a:lnTo>
                      <a:pt x="661" y="1090"/>
                    </a:lnTo>
                    <a:lnTo>
                      <a:pt x="663" y="1092"/>
                    </a:lnTo>
                    <a:lnTo>
                      <a:pt x="661" y="1092"/>
                    </a:lnTo>
                    <a:lnTo>
                      <a:pt x="661" y="1093"/>
                    </a:lnTo>
                    <a:lnTo>
                      <a:pt x="661" y="1092"/>
                    </a:lnTo>
                    <a:lnTo>
                      <a:pt x="659" y="1092"/>
                    </a:lnTo>
                    <a:lnTo>
                      <a:pt x="659" y="1090"/>
                    </a:lnTo>
                    <a:lnTo>
                      <a:pt x="658" y="1090"/>
                    </a:lnTo>
                    <a:lnTo>
                      <a:pt x="656" y="1090"/>
                    </a:lnTo>
                    <a:lnTo>
                      <a:pt x="655" y="1090"/>
                    </a:lnTo>
                    <a:lnTo>
                      <a:pt x="653" y="1090"/>
                    </a:lnTo>
                    <a:lnTo>
                      <a:pt x="653" y="1092"/>
                    </a:lnTo>
                    <a:lnTo>
                      <a:pt x="653" y="1093"/>
                    </a:lnTo>
                    <a:lnTo>
                      <a:pt x="651" y="1093"/>
                    </a:lnTo>
                    <a:lnTo>
                      <a:pt x="650" y="1093"/>
                    </a:lnTo>
                    <a:lnTo>
                      <a:pt x="648" y="1095"/>
                    </a:lnTo>
                    <a:lnTo>
                      <a:pt x="647" y="1095"/>
                    </a:lnTo>
                    <a:lnTo>
                      <a:pt x="647" y="1093"/>
                    </a:lnTo>
                    <a:lnTo>
                      <a:pt x="645" y="1092"/>
                    </a:lnTo>
                    <a:lnTo>
                      <a:pt x="644" y="1092"/>
                    </a:lnTo>
                    <a:lnTo>
                      <a:pt x="644" y="1093"/>
                    </a:lnTo>
                    <a:lnTo>
                      <a:pt x="644" y="1095"/>
                    </a:lnTo>
                    <a:lnTo>
                      <a:pt x="644" y="1096"/>
                    </a:lnTo>
                    <a:lnTo>
                      <a:pt x="642" y="1098"/>
                    </a:lnTo>
                    <a:lnTo>
                      <a:pt x="642" y="1100"/>
                    </a:lnTo>
                    <a:lnTo>
                      <a:pt x="640" y="1101"/>
                    </a:lnTo>
                    <a:lnTo>
                      <a:pt x="640" y="1103"/>
                    </a:lnTo>
                    <a:lnTo>
                      <a:pt x="642" y="1104"/>
                    </a:lnTo>
                    <a:lnTo>
                      <a:pt x="640" y="1106"/>
                    </a:lnTo>
                    <a:lnTo>
                      <a:pt x="639" y="1106"/>
                    </a:lnTo>
                    <a:lnTo>
                      <a:pt x="637" y="1104"/>
                    </a:lnTo>
                    <a:lnTo>
                      <a:pt x="637" y="1106"/>
                    </a:lnTo>
                    <a:lnTo>
                      <a:pt x="637" y="1109"/>
                    </a:lnTo>
                    <a:lnTo>
                      <a:pt x="636" y="1111"/>
                    </a:lnTo>
                    <a:lnTo>
                      <a:pt x="636" y="1109"/>
                    </a:lnTo>
                    <a:lnTo>
                      <a:pt x="634" y="1109"/>
                    </a:lnTo>
                    <a:lnTo>
                      <a:pt x="634" y="1108"/>
                    </a:lnTo>
                    <a:lnTo>
                      <a:pt x="632" y="1108"/>
                    </a:lnTo>
                    <a:lnTo>
                      <a:pt x="632" y="1106"/>
                    </a:lnTo>
                    <a:lnTo>
                      <a:pt x="631" y="1106"/>
                    </a:lnTo>
                    <a:lnTo>
                      <a:pt x="631" y="1108"/>
                    </a:lnTo>
                    <a:lnTo>
                      <a:pt x="629" y="1108"/>
                    </a:lnTo>
                    <a:lnTo>
                      <a:pt x="628" y="1108"/>
                    </a:lnTo>
                    <a:lnTo>
                      <a:pt x="628" y="1109"/>
                    </a:lnTo>
                    <a:lnTo>
                      <a:pt x="629" y="1109"/>
                    </a:lnTo>
                    <a:lnTo>
                      <a:pt x="631" y="1109"/>
                    </a:lnTo>
                    <a:lnTo>
                      <a:pt x="632" y="1111"/>
                    </a:lnTo>
                    <a:lnTo>
                      <a:pt x="632" y="1112"/>
                    </a:lnTo>
                    <a:lnTo>
                      <a:pt x="634" y="1114"/>
                    </a:lnTo>
                    <a:lnTo>
                      <a:pt x="634" y="1115"/>
                    </a:lnTo>
                    <a:lnTo>
                      <a:pt x="634" y="1119"/>
                    </a:lnTo>
                    <a:lnTo>
                      <a:pt x="634" y="1120"/>
                    </a:lnTo>
                    <a:lnTo>
                      <a:pt x="636" y="1122"/>
                    </a:lnTo>
                    <a:lnTo>
                      <a:pt x="634" y="1123"/>
                    </a:lnTo>
                    <a:lnTo>
                      <a:pt x="632" y="1123"/>
                    </a:lnTo>
                    <a:lnTo>
                      <a:pt x="632" y="1122"/>
                    </a:lnTo>
                    <a:lnTo>
                      <a:pt x="631" y="1122"/>
                    </a:lnTo>
                    <a:lnTo>
                      <a:pt x="631" y="1123"/>
                    </a:lnTo>
                    <a:lnTo>
                      <a:pt x="629" y="1123"/>
                    </a:lnTo>
                    <a:lnTo>
                      <a:pt x="629" y="1125"/>
                    </a:lnTo>
                    <a:lnTo>
                      <a:pt x="628" y="1125"/>
                    </a:lnTo>
                    <a:lnTo>
                      <a:pt x="628" y="1127"/>
                    </a:lnTo>
                    <a:lnTo>
                      <a:pt x="628" y="1128"/>
                    </a:lnTo>
                    <a:lnTo>
                      <a:pt x="628" y="1131"/>
                    </a:lnTo>
                    <a:lnTo>
                      <a:pt x="626" y="1131"/>
                    </a:lnTo>
                    <a:lnTo>
                      <a:pt x="623" y="1138"/>
                    </a:lnTo>
                    <a:lnTo>
                      <a:pt x="621" y="1138"/>
                    </a:lnTo>
                    <a:lnTo>
                      <a:pt x="620" y="1141"/>
                    </a:lnTo>
                    <a:lnTo>
                      <a:pt x="621" y="1144"/>
                    </a:lnTo>
                    <a:lnTo>
                      <a:pt x="615" y="1146"/>
                    </a:lnTo>
                    <a:lnTo>
                      <a:pt x="615" y="1152"/>
                    </a:lnTo>
                    <a:lnTo>
                      <a:pt x="610" y="1155"/>
                    </a:lnTo>
                    <a:lnTo>
                      <a:pt x="610" y="1158"/>
                    </a:lnTo>
                    <a:lnTo>
                      <a:pt x="607" y="1161"/>
                    </a:lnTo>
                    <a:lnTo>
                      <a:pt x="609" y="1169"/>
                    </a:lnTo>
                    <a:lnTo>
                      <a:pt x="609" y="1172"/>
                    </a:lnTo>
                    <a:lnTo>
                      <a:pt x="602" y="1184"/>
                    </a:lnTo>
                    <a:lnTo>
                      <a:pt x="604" y="1196"/>
                    </a:lnTo>
                    <a:lnTo>
                      <a:pt x="599" y="1199"/>
                    </a:lnTo>
                    <a:lnTo>
                      <a:pt x="591" y="1226"/>
                    </a:lnTo>
                    <a:lnTo>
                      <a:pt x="585" y="1228"/>
                    </a:lnTo>
                    <a:lnTo>
                      <a:pt x="579" y="1231"/>
                    </a:lnTo>
                    <a:lnTo>
                      <a:pt x="564" y="1236"/>
                    </a:lnTo>
                    <a:lnTo>
                      <a:pt x="553" y="1241"/>
                    </a:lnTo>
                    <a:lnTo>
                      <a:pt x="547" y="1249"/>
                    </a:lnTo>
                    <a:lnTo>
                      <a:pt x="547" y="1250"/>
                    </a:lnTo>
                    <a:lnTo>
                      <a:pt x="545" y="1250"/>
                    </a:lnTo>
                    <a:lnTo>
                      <a:pt x="544" y="1252"/>
                    </a:lnTo>
                    <a:lnTo>
                      <a:pt x="542" y="1252"/>
                    </a:lnTo>
                    <a:lnTo>
                      <a:pt x="539" y="1255"/>
                    </a:lnTo>
                    <a:lnTo>
                      <a:pt x="536" y="1256"/>
                    </a:lnTo>
                    <a:lnTo>
                      <a:pt x="533" y="1258"/>
                    </a:lnTo>
                    <a:lnTo>
                      <a:pt x="528" y="1260"/>
                    </a:lnTo>
                    <a:lnTo>
                      <a:pt x="525" y="1261"/>
                    </a:lnTo>
                    <a:lnTo>
                      <a:pt x="522" y="1263"/>
                    </a:lnTo>
                    <a:lnTo>
                      <a:pt x="517" y="1266"/>
                    </a:lnTo>
                    <a:lnTo>
                      <a:pt x="515" y="1268"/>
                    </a:lnTo>
                    <a:lnTo>
                      <a:pt x="514" y="1269"/>
                    </a:lnTo>
                    <a:lnTo>
                      <a:pt x="512" y="1271"/>
                    </a:lnTo>
                    <a:lnTo>
                      <a:pt x="509" y="1271"/>
                    </a:lnTo>
                    <a:lnTo>
                      <a:pt x="506" y="1274"/>
                    </a:lnTo>
                    <a:lnTo>
                      <a:pt x="504" y="1275"/>
                    </a:lnTo>
                    <a:lnTo>
                      <a:pt x="503" y="1277"/>
                    </a:lnTo>
                    <a:lnTo>
                      <a:pt x="499" y="1279"/>
                    </a:lnTo>
                    <a:lnTo>
                      <a:pt x="496" y="1280"/>
                    </a:lnTo>
                    <a:lnTo>
                      <a:pt x="493" y="1283"/>
                    </a:lnTo>
                    <a:lnTo>
                      <a:pt x="491" y="1283"/>
                    </a:lnTo>
                    <a:lnTo>
                      <a:pt x="488" y="1285"/>
                    </a:lnTo>
                    <a:lnTo>
                      <a:pt x="487" y="1287"/>
                    </a:lnTo>
                    <a:lnTo>
                      <a:pt x="485" y="1287"/>
                    </a:lnTo>
                    <a:lnTo>
                      <a:pt x="484" y="1290"/>
                    </a:lnTo>
                    <a:lnTo>
                      <a:pt x="482" y="1293"/>
                    </a:lnTo>
                    <a:lnTo>
                      <a:pt x="480" y="1296"/>
                    </a:lnTo>
                    <a:lnTo>
                      <a:pt x="479" y="1299"/>
                    </a:lnTo>
                    <a:lnTo>
                      <a:pt x="477" y="1301"/>
                    </a:lnTo>
                    <a:lnTo>
                      <a:pt x="476" y="1304"/>
                    </a:lnTo>
                    <a:lnTo>
                      <a:pt x="474" y="1306"/>
                    </a:lnTo>
                    <a:lnTo>
                      <a:pt x="471" y="1307"/>
                    </a:lnTo>
                    <a:lnTo>
                      <a:pt x="469" y="1310"/>
                    </a:lnTo>
                    <a:lnTo>
                      <a:pt x="468" y="1312"/>
                    </a:lnTo>
                    <a:lnTo>
                      <a:pt x="466" y="1313"/>
                    </a:lnTo>
                    <a:lnTo>
                      <a:pt x="463" y="1317"/>
                    </a:lnTo>
                    <a:lnTo>
                      <a:pt x="461" y="1318"/>
                    </a:lnTo>
                    <a:lnTo>
                      <a:pt x="458" y="1320"/>
                    </a:lnTo>
                    <a:lnTo>
                      <a:pt x="457" y="1323"/>
                    </a:lnTo>
                    <a:lnTo>
                      <a:pt x="453" y="1325"/>
                    </a:lnTo>
                    <a:lnTo>
                      <a:pt x="452" y="1326"/>
                    </a:lnTo>
                    <a:lnTo>
                      <a:pt x="449" y="1328"/>
                    </a:lnTo>
                    <a:lnTo>
                      <a:pt x="447" y="1331"/>
                    </a:lnTo>
                    <a:lnTo>
                      <a:pt x="444" y="1332"/>
                    </a:lnTo>
                    <a:lnTo>
                      <a:pt x="442" y="1334"/>
                    </a:lnTo>
                    <a:lnTo>
                      <a:pt x="439" y="1336"/>
                    </a:lnTo>
                    <a:lnTo>
                      <a:pt x="438" y="1337"/>
                    </a:lnTo>
                    <a:lnTo>
                      <a:pt x="434" y="1339"/>
                    </a:lnTo>
                    <a:lnTo>
                      <a:pt x="431" y="1340"/>
                    </a:lnTo>
                    <a:lnTo>
                      <a:pt x="430" y="1342"/>
                    </a:lnTo>
                    <a:lnTo>
                      <a:pt x="427" y="1344"/>
                    </a:lnTo>
                    <a:lnTo>
                      <a:pt x="423" y="1347"/>
                    </a:lnTo>
                    <a:lnTo>
                      <a:pt x="422" y="1347"/>
                    </a:lnTo>
                    <a:lnTo>
                      <a:pt x="419" y="1350"/>
                    </a:lnTo>
                    <a:lnTo>
                      <a:pt x="417" y="1350"/>
                    </a:lnTo>
                    <a:lnTo>
                      <a:pt x="414" y="1351"/>
                    </a:lnTo>
                    <a:lnTo>
                      <a:pt x="412" y="1353"/>
                    </a:lnTo>
                    <a:lnTo>
                      <a:pt x="409" y="1355"/>
                    </a:lnTo>
                    <a:lnTo>
                      <a:pt x="408" y="1355"/>
                    </a:lnTo>
                    <a:lnTo>
                      <a:pt x="406" y="1356"/>
                    </a:lnTo>
                    <a:lnTo>
                      <a:pt x="403" y="1356"/>
                    </a:lnTo>
                    <a:lnTo>
                      <a:pt x="401" y="1358"/>
                    </a:lnTo>
                    <a:lnTo>
                      <a:pt x="398" y="1358"/>
                    </a:lnTo>
                    <a:lnTo>
                      <a:pt x="396" y="1358"/>
                    </a:lnTo>
                    <a:lnTo>
                      <a:pt x="393" y="1359"/>
                    </a:lnTo>
                    <a:lnTo>
                      <a:pt x="392" y="1359"/>
                    </a:lnTo>
                    <a:lnTo>
                      <a:pt x="390" y="1358"/>
                    </a:lnTo>
                    <a:lnTo>
                      <a:pt x="387" y="1358"/>
                    </a:lnTo>
                    <a:lnTo>
                      <a:pt x="385" y="1358"/>
                    </a:lnTo>
                    <a:lnTo>
                      <a:pt x="382" y="1358"/>
                    </a:lnTo>
                    <a:lnTo>
                      <a:pt x="381" y="1358"/>
                    </a:lnTo>
                    <a:lnTo>
                      <a:pt x="379" y="1356"/>
                    </a:lnTo>
                    <a:lnTo>
                      <a:pt x="377" y="1355"/>
                    </a:lnTo>
                    <a:lnTo>
                      <a:pt x="377" y="1353"/>
                    </a:lnTo>
                    <a:lnTo>
                      <a:pt x="376" y="1353"/>
                    </a:lnTo>
                    <a:lnTo>
                      <a:pt x="376" y="1351"/>
                    </a:lnTo>
                    <a:lnTo>
                      <a:pt x="376" y="1350"/>
                    </a:lnTo>
                    <a:lnTo>
                      <a:pt x="374" y="1348"/>
                    </a:lnTo>
                    <a:lnTo>
                      <a:pt x="374" y="1347"/>
                    </a:lnTo>
                    <a:lnTo>
                      <a:pt x="374" y="1345"/>
                    </a:lnTo>
                    <a:lnTo>
                      <a:pt x="374" y="1344"/>
                    </a:lnTo>
                    <a:lnTo>
                      <a:pt x="374" y="1342"/>
                    </a:lnTo>
                    <a:lnTo>
                      <a:pt x="376" y="1340"/>
                    </a:lnTo>
                    <a:lnTo>
                      <a:pt x="377" y="1339"/>
                    </a:lnTo>
                    <a:lnTo>
                      <a:pt x="379" y="1336"/>
                    </a:lnTo>
                    <a:lnTo>
                      <a:pt x="381" y="1334"/>
                    </a:lnTo>
                    <a:lnTo>
                      <a:pt x="381" y="1332"/>
                    </a:lnTo>
                    <a:lnTo>
                      <a:pt x="382" y="1332"/>
                    </a:lnTo>
                    <a:lnTo>
                      <a:pt x="384" y="1329"/>
                    </a:lnTo>
                    <a:lnTo>
                      <a:pt x="385" y="1328"/>
                    </a:lnTo>
                    <a:lnTo>
                      <a:pt x="387" y="1326"/>
                    </a:lnTo>
                    <a:lnTo>
                      <a:pt x="389" y="1326"/>
                    </a:lnTo>
                    <a:lnTo>
                      <a:pt x="390" y="1321"/>
                    </a:lnTo>
                    <a:lnTo>
                      <a:pt x="392" y="1320"/>
                    </a:lnTo>
                    <a:lnTo>
                      <a:pt x="393" y="1318"/>
                    </a:lnTo>
                    <a:lnTo>
                      <a:pt x="395" y="1317"/>
                    </a:lnTo>
                    <a:lnTo>
                      <a:pt x="396" y="1315"/>
                    </a:lnTo>
                    <a:lnTo>
                      <a:pt x="396" y="1313"/>
                    </a:lnTo>
                    <a:lnTo>
                      <a:pt x="398" y="1312"/>
                    </a:lnTo>
                    <a:lnTo>
                      <a:pt x="400" y="1310"/>
                    </a:lnTo>
                    <a:lnTo>
                      <a:pt x="400" y="1309"/>
                    </a:lnTo>
                    <a:lnTo>
                      <a:pt x="401" y="1306"/>
                    </a:lnTo>
                    <a:lnTo>
                      <a:pt x="403" y="1302"/>
                    </a:lnTo>
                    <a:lnTo>
                      <a:pt x="403" y="1299"/>
                    </a:lnTo>
                    <a:lnTo>
                      <a:pt x="404" y="1298"/>
                    </a:lnTo>
                    <a:lnTo>
                      <a:pt x="404" y="1296"/>
                    </a:lnTo>
                    <a:lnTo>
                      <a:pt x="404" y="1293"/>
                    </a:lnTo>
                    <a:lnTo>
                      <a:pt x="404" y="1290"/>
                    </a:lnTo>
                    <a:lnTo>
                      <a:pt x="404" y="1288"/>
                    </a:lnTo>
                    <a:lnTo>
                      <a:pt x="403" y="1285"/>
                    </a:lnTo>
                    <a:lnTo>
                      <a:pt x="403" y="1283"/>
                    </a:lnTo>
                    <a:lnTo>
                      <a:pt x="401" y="1282"/>
                    </a:lnTo>
                    <a:lnTo>
                      <a:pt x="401" y="1280"/>
                    </a:lnTo>
                    <a:lnTo>
                      <a:pt x="400" y="1279"/>
                    </a:lnTo>
                    <a:lnTo>
                      <a:pt x="398" y="1275"/>
                    </a:lnTo>
                    <a:lnTo>
                      <a:pt x="398" y="1274"/>
                    </a:lnTo>
                    <a:lnTo>
                      <a:pt x="396" y="1274"/>
                    </a:lnTo>
                    <a:lnTo>
                      <a:pt x="395" y="1274"/>
                    </a:lnTo>
                    <a:lnTo>
                      <a:pt x="395" y="1272"/>
                    </a:lnTo>
                    <a:lnTo>
                      <a:pt x="393" y="1272"/>
                    </a:lnTo>
                    <a:lnTo>
                      <a:pt x="393" y="1271"/>
                    </a:lnTo>
                    <a:lnTo>
                      <a:pt x="392" y="1269"/>
                    </a:lnTo>
                    <a:lnTo>
                      <a:pt x="390" y="1269"/>
                    </a:lnTo>
                    <a:lnTo>
                      <a:pt x="390" y="1268"/>
                    </a:lnTo>
                    <a:lnTo>
                      <a:pt x="389" y="1268"/>
                    </a:lnTo>
                    <a:lnTo>
                      <a:pt x="389" y="1266"/>
                    </a:lnTo>
                    <a:lnTo>
                      <a:pt x="387" y="1266"/>
                    </a:lnTo>
                    <a:lnTo>
                      <a:pt x="385" y="1264"/>
                    </a:lnTo>
                    <a:lnTo>
                      <a:pt x="384" y="1264"/>
                    </a:lnTo>
                    <a:lnTo>
                      <a:pt x="384" y="1263"/>
                    </a:lnTo>
                    <a:lnTo>
                      <a:pt x="384" y="1261"/>
                    </a:lnTo>
                    <a:lnTo>
                      <a:pt x="384" y="1260"/>
                    </a:lnTo>
                    <a:lnTo>
                      <a:pt x="384" y="1258"/>
                    </a:lnTo>
                    <a:lnTo>
                      <a:pt x="382" y="1258"/>
                    </a:lnTo>
                    <a:lnTo>
                      <a:pt x="382" y="1256"/>
                    </a:lnTo>
                    <a:lnTo>
                      <a:pt x="381" y="1256"/>
                    </a:lnTo>
                    <a:lnTo>
                      <a:pt x="381" y="1255"/>
                    </a:lnTo>
                    <a:lnTo>
                      <a:pt x="381" y="1253"/>
                    </a:lnTo>
                    <a:lnTo>
                      <a:pt x="381" y="1250"/>
                    </a:lnTo>
                    <a:lnTo>
                      <a:pt x="381" y="1249"/>
                    </a:lnTo>
                    <a:lnTo>
                      <a:pt x="381" y="1247"/>
                    </a:lnTo>
                    <a:lnTo>
                      <a:pt x="381" y="1244"/>
                    </a:lnTo>
                    <a:lnTo>
                      <a:pt x="381" y="1242"/>
                    </a:lnTo>
                    <a:lnTo>
                      <a:pt x="381" y="1241"/>
                    </a:lnTo>
                    <a:lnTo>
                      <a:pt x="381" y="1239"/>
                    </a:lnTo>
                    <a:lnTo>
                      <a:pt x="381" y="1237"/>
                    </a:lnTo>
                    <a:lnTo>
                      <a:pt x="381" y="1236"/>
                    </a:lnTo>
                    <a:lnTo>
                      <a:pt x="381" y="1234"/>
                    </a:lnTo>
                    <a:lnTo>
                      <a:pt x="381" y="1231"/>
                    </a:lnTo>
                    <a:lnTo>
                      <a:pt x="381" y="1230"/>
                    </a:lnTo>
                    <a:lnTo>
                      <a:pt x="379" y="1228"/>
                    </a:lnTo>
                    <a:lnTo>
                      <a:pt x="377" y="1226"/>
                    </a:lnTo>
                    <a:lnTo>
                      <a:pt x="377" y="1225"/>
                    </a:lnTo>
                    <a:lnTo>
                      <a:pt x="377" y="1223"/>
                    </a:lnTo>
                    <a:lnTo>
                      <a:pt x="376" y="1223"/>
                    </a:lnTo>
                    <a:lnTo>
                      <a:pt x="374" y="1223"/>
                    </a:lnTo>
                    <a:lnTo>
                      <a:pt x="373" y="1223"/>
                    </a:lnTo>
                    <a:lnTo>
                      <a:pt x="371" y="1225"/>
                    </a:lnTo>
                    <a:lnTo>
                      <a:pt x="371" y="1226"/>
                    </a:lnTo>
                    <a:lnTo>
                      <a:pt x="373" y="1228"/>
                    </a:lnTo>
                    <a:lnTo>
                      <a:pt x="374" y="1228"/>
                    </a:lnTo>
                    <a:lnTo>
                      <a:pt x="374" y="1230"/>
                    </a:lnTo>
                    <a:lnTo>
                      <a:pt x="374" y="1231"/>
                    </a:lnTo>
                    <a:lnTo>
                      <a:pt x="373" y="1233"/>
                    </a:lnTo>
                    <a:lnTo>
                      <a:pt x="373" y="1231"/>
                    </a:lnTo>
                    <a:lnTo>
                      <a:pt x="371" y="1230"/>
                    </a:lnTo>
                    <a:lnTo>
                      <a:pt x="371" y="1228"/>
                    </a:lnTo>
                    <a:lnTo>
                      <a:pt x="369" y="1228"/>
                    </a:lnTo>
                    <a:lnTo>
                      <a:pt x="368" y="1228"/>
                    </a:lnTo>
                    <a:lnTo>
                      <a:pt x="368" y="1230"/>
                    </a:lnTo>
                    <a:lnTo>
                      <a:pt x="371" y="1231"/>
                    </a:lnTo>
                    <a:lnTo>
                      <a:pt x="371" y="1233"/>
                    </a:lnTo>
                    <a:lnTo>
                      <a:pt x="371" y="1234"/>
                    </a:lnTo>
                    <a:lnTo>
                      <a:pt x="369" y="1236"/>
                    </a:lnTo>
                    <a:lnTo>
                      <a:pt x="368" y="1237"/>
                    </a:lnTo>
                    <a:lnTo>
                      <a:pt x="368" y="1239"/>
                    </a:lnTo>
                    <a:lnTo>
                      <a:pt x="368" y="1241"/>
                    </a:lnTo>
                    <a:lnTo>
                      <a:pt x="369" y="1241"/>
                    </a:lnTo>
                    <a:lnTo>
                      <a:pt x="371" y="1241"/>
                    </a:lnTo>
                    <a:lnTo>
                      <a:pt x="371" y="1242"/>
                    </a:lnTo>
                    <a:lnTo>
                      <a:pt x="369" y="1242"/>
                    </a:lnTo>
                    <a:lnTo>
                      <a:pt x="368" y="1242"/>
                    </a:lnTo>
                    <a:lnTo>
                      <a:pt x="368" y="1244"/>
                    </a:lnTo>
                    <a:lnTo>
                      <a:pt x="366" y="1245"/>
                    </a:lnTo>
                    <a:lnTo>
                      <a:pt x="368" y="1247"/>
                    </a:lnTo>
                    <a:lnTo>
                      <a:pt x="366" y="1247"/>
                    </a:lnTo>
                    <a:lnTo>
                      <a:pt x="366" y="1249"/>
                    </a:lnTo>
                    <a:lnTo>
                      <a:pt x="366" y="1250"/>
                    </a:lnTo>
                    <a:lnTo>
                      <a:pt x="366" y="1252"/>
                    </a:lnTo>
                    <a:lnTo>
                      <a:pt x="365" y="1252"/>
                    </a:lnTo>
                    <a:lnTo>
                      <a:pt x="363" y="1253"/>
                    </a:lnTo>
                    <a:lnTo>
                      <a:pt x="362" y="1255"/>
                    </a:lnTo>
                    <a:lnTo>
                      <a:pt x="362" y="1256"/>
                    </a:lnTo>
                    <a:lnTo>
                      <a:pt x="360" y="1256"/>
                    </a:lnTo>
                    <a:lnTo>
                      <a:pt x="349" y="1269"/>
                    </a:lnTo>
                    <a:lnTo>
                      <a:pt x="349" y="1271"/>
                    </a:lnTo>
                    <a:lnTo>
                      <a:pt x="350" y="1271"/>
                    </a:lnTo>
                    <a:lnTo>
                      <a:pt x="349" y="1272"/>
                    </a:lnTo>
                    <a:lnTo>
                      <a:pt x="347" y="1272"/>
                    </a:lnTo>
                    <a:lnTo>
                      <a:pt x="347" y="1274"/>
                    </a:lnTo>
                    <a:lnTo>
                      <a:pt x="346" y="1275"/>
                    </a:lnTo>
                    <a:lnTo>
                      <a:pt x="344" y="1275"/>
                    </a:lnTo>
                    <a:lnTo>
                      <a:pt x="344" y="1277"/>
                    </a:lnTo>
                    <a:lnTo>
                      <a:pt x="344" y="1279"/>
                    </a:lnTo>
                    <a:lnTo>
                      <a:pt x="344" y="1280"/>
                    </a:lnTo>
                    <a:lnTo>
                      <a:pt x="344" y="1282"/>
                    </a:lnTo>
                    <a:lnTo>
                      <a:pt x="343" y="1282"/>
                    </a:lnTo>
                    <a:lnTo>
                      <a:pt x="341" y="1282"/>
                    </a:lnTo>
                    <a:lnTo>
                      <a:pt x="341" y="1280"/>
                    </a:lnTo>
                    <a:lnTo>
                      <a:pt x="339" y="1280"/>
                    </a:lnTo>
                    <a:lnTo>
                      <a:pt x="339" y="1279"/>
                    </a:lnTo>
                    <a:lnTo>
                      <a:pt x="338" y="1279"/>
                    </a:lnTo>
                    <a:lnTo>
                      <a:pt x="336" y="1280"/>
                    </a:lnTo>
                    <a:lnTo>
                      <a:pt x="335" y="1280"/>
                    </a:lnTo>
                    <a:lnTo>
                      <a:pt x="333" y="1280"/>
                    </a:lnTo>
                    <a:lnTo>
                      <a:pt x="331" y="1280"/>
                    </a:lnTo>
                    <a:lnTo>
                      <a:pt x="330" y="1280"/>
                    </a:lnTo>
                    <a:lnTo>
                      <a:pt x="328" y="1282"/>
                    </a:lnTo>
                    <a:lnTo>
                      <a:pt x="327" y="1282"/>
                    </a:lnTo>
                    <a:lnTo>
                      <a:pt x="327" y="1283"/>
                    </a:lnTo>
                    <a:lnTo>
                      <a:pt x="325" y="1283"/>
                    </a:lnTo>
                    <a:lnTo>
                      <a:pt x="324" y="1282"/>
                    </a:lnTo>
                    <a:lnTo>
                      <a:pt x="324" y="1283"/>
                    </a:lnTo>
                    <a:lnTo>
                      <a:pt x="322" y="1283"/>
                    </a:lnTo>
                    <a:lnTo>
                      <a:pt x="320" y="1285"/>
                    </a:lnTo>
                    <a:lnTo>
                      <a:pt x="320" y="1287"/>
                    </a:lnTo>
                    <a:lnTo>
                      <a:pt x="319" y="1287"/>
                    </a:lnTo>
                    <a:lnTo>
                      <a:pt x="319" y="1285"/>
                    </a:lnTo>
                    <a:lnTo>
                      <a:pt x="317" y="1285"/>
                    </a:lnTo>
                    <a:lnTo>
                      <a:pt x="316" y="1285"/>
                    </a:lnTo>
                    <a:lnTo>
                      <a:pt x="316" y="1283"/>
                    </a:lnTo>
                    <a:lnTo>
                      <a:pt x="314" y="1283"/>
                    </a:lnTo>
                    <a:lnTo>
                      <a:pt x="312" y="1283"/>
                    </a:lnTo>
                    <a:lnTo>
                      <a:pt x="311" y="1283"/>
                    </a:lnTo>
                    <a:lnTo>
                      <a:pt x="309" y="1282"/>
                    </a:lnTo>
                    <a:lnTo>
                      <a:pt x="309" y="1283"/>
                    </a:lnTo>
                    <a:lnTo>
                      <a:pt x="308" y="1283"/>
                    </a:lnTo>
                    <a:lnTo>
                      <a:pt x="306" y="1283"/>
                    </a:lnTo>
                    <a:lnTo>
                      <a:pt x="305" y="1282"/>
                    </a:lnTo>
                    <a:lnTo>
                      <a:pt x="305" y="1283"/>
                    </a:lnTo>
                    <a:lnTo>
                      <a:pt x="303" y="1282"/>
                    </a:lnTo>
                    <a:lnTo>
                      <a:pt x="301" y="1282"/>
                    </a:lnTo>
                    <a:lnTo>
                      <a:pt x="300" y="1282"/>
                    </a:lnTo>
                    <a:lnTo>
                      <a:pt x="298" y="1282"/>
                    </a:lnTo>
                    <a:lnTo>
                      <a:pt x="297" y="1282"/>
                    </a:lnTo>
                    <a:lnTo>
                      <a:pt x="295" y="1283"/>
                    </a:lnTo>
                    <a:lnTo>
                      <a:pt x="293" y="1283"/>
                    </a:lnTo>
                    <a:lnTo>
                      <a:pt x="293" y="1282"/>
                    </a:lnTo>
                    <a:lnTo>
                      <a:pt x="292" y="1282"/>
                    </a:lnTo>
                    <a:lnTo>
                      <a:pt x="290" y="1282"/>
                    </a:lnTo>
                    <a:lnTo>
                      <a:pt x="290" y="1283"/>
                    </a:lnTo>
                    <a:lnTo>
                      <a:pt x="290" y="1282"/>
                    </a:lnTo>
                    <a:lnTo>
                      <a:pt x="289" y="1283"/>
                    </a:lnTo>
                    <a:lnTo>
                      <a:pt x="287" y="1283"/>
                    </a:lnTo>
                    <a:lnTo>
                      <a:pt x="286" y="1283"/>
                    </a:lnTo>
                    <a:lnTo>
                      <a:pt x="284" y="1283"/>
                    </a:lnTo>
                    <a:lnTo>
                      <a:pt x="284" y="1282"/>
                    </a:lnTo>
                    <a:lnTo>
                      <a:pt x="282" y="1282"/>
                    </a:lnTo>
                    <a:lnTo>
                      <a:pt x="282" y="1283"/>
                    </a:lnTo>
                    <a:lnTo>
                      <a:pt x="281" y="1282"/>
                    </a:lnTo>
                    <a:lnTo>
                      <a:pt x="279" y="1283"/>
                    </a:lnTo>
                    <a:lnTo>
                      <a:pt x="278" y="1285"/>
                    </a:lnTo>
                    <a:lnTo>
                      <a:pt x="278" y="1283"/>
                    </a:lnTo>
                    <a:lnTo>
                      <a:pt x="276" y="1283"/>
                    </a:lnTo>
                    <a:lnTo>
                      <a:pt x="276" y="1285"/>
                    </a:lnTo>
                    <a:lnTo>
                      <a:pt x="274" y="1285"/>
                    </a:lnTo>
                    <a:lnTo>
                      <a:pt x="273" y="1287"/>
                    </a:lnTo>
                    <a:lnTo>
                      <a:pt x="273" y="1288"/>
                    </a:lnTo>
                    <a:lnTo>
                      <a:pt x="271" y="1288"/>
                    </a:lnTo>
                    <a:lnTo>
                      <a:pt x="270" y="1288"/>
                    </a:lnTo>
                    <a:lnTo>
                      <a:pt x="268" y="1288"/>
                    </a:lnTo>
                    <a:lnTo>
                      <a:pt x="268" y="1287"/>
                    </a:lnTo>
                    <a:lnTo>
                      <a:pt x="267" y="1288"/>
                    </a:lnTo>
                    <a:lnTo>
                      <a:pt x="267" y="1287"/>
                    </a:lnTo>
                    <a:lnTo>
                      <a:pt x="265" y="1287"/>
                    </a:lnTo>
                    <a:lnTo>
                      <a:pt x="265" y="1288"/>
                    </a:lnTo>
                    <a:lnTo>
                      <a:pt x="263" y="1288"/>
                    </a:lnTo>
                    <a:lnTo>
                      <a:pt x="262" y="1287"/>
                    </a:lnTo>
                    <a:lnTo>
                      <a:pt x="262" y="1288"/>
                    </a:lnTo>
                    <a:lnTo>
                      <a:pt x="260" y="1288"/>
                    </a:lnTo>
                    <a:lnTo>
                      <a:pt x="259" y="1288"/>
                    </a:lnTo>
                    <a:lnTo>
                      <a:pt x="259" y="1287"/>
                    </a:lnTo>
                    <a:lnTo>
                      <a:pt x="257" y="1287"/>
                    </a:lnTo>
                    <a:lnTo>
                      <a:pt x="257" y="1285"/>
                    </a:lnTo>
                    <a:lnTo>
                      <a:pt x="255" y="1285"/>
                    </a:lnTo>
                    <a:lnTo>
                      <a:pt x="254" y="1285"/>
                    </a:lnTo>
                    <a:lnTo>
                      <a:pt x="254" y="1283"/>
                    </a:lnTo>
                    <a:lnTo>
                      <a:pt x="255" y="1283"/>
                    </a:lnTo>
                    <a:lnTo>
                      <a:pt x="255" y="1282"/>
                    </a:lnTo>
                    <a:lnTo>
                      <a:pt x="255" y="1280"/>
                    </a:lnTo>
                    <a:lnTo>
                      <a:pt x="254" y="1280"/>
                    </a:lnTo>
                    <a:lnTo>
                      <a:pt x="252" y="1280"/>
                    </a:lnTo>
                    <a:lnTo>
                      <a:pt x="251" y="1280"/>
                    </a:lnTo>
                    <a:lnTo>
                      <a:pt x="251" y="1282"/>
                    </a:lnTo>
                    <a:lnTo>
                      <a:pt x="249" y="1282"/>
                    </a:lnTo>
                    <a:lnTo>
                      <a:pt x="249" y="1280"/>
                    </a:lnTo>
                    <a:lnTo>
                      <a:pt x="248" y="1280"/>
                    </a:lnTo>
                    <a:lnTo>
                      <a:pt x="248" y="1279"/>
                    </a:lnTo>
                    <a:lnTo>
                      <a:pt x="248" y="1277"/>
                    </a:lnTo>
                    <a:lnTo>
                      <a:pt x="249" y="1277"/>
                    </a:lnTo>
                    <a:lnTo>
                      <a:pt x="249" y="1275"/>
                    </a:lnTo>
                    <a:lnTo>
                      <a:pt x="248" y="1275"/>
                    </a:lnTo>
                    <a:lnTo>
                      <a:pt x="249" y="1274"/>
                    </a:lnTo>
                    <a:lnTo>
                      <a:pt x="248" y="1274"/>
                    </a:lnTo>
                    <a:lnTo>
                      <a:pt x="249" y="1272"/>
                    </a:lnTo>
                    <a:lnTo>
                      <a:pt x="248" y="1272"/>
                    </a:lnTo>
                    <a:lnTo>
                      <a:pt x="246" y="1272"/>
                    </a:lnTo>
                    <a:lnTo>
                      <a:pt x="244" y="1274"/>
                    </a:lnTo>
                    <a:lnTo>
                      <a:pt x="243" y="1272"/>
                    </a:lnTo>
                    <a:lnTo>
                      <a:pt x="243" y="1274"/>
                    </a:lnTo>
                    <a:lnTo>
                      <a:pt x="241" y="1274"/>
                    </a:lnTo>
                    <a:lnTo>
                      <a:pt x="241" y="1275"/>
                    </a:lnTo>
                    <a:lnTo>
                      <a:pt x="240" y="1275"/>
                    </a:lnTo>
                    <a:lnTo>
                      <a:pt x="240" y="1277"/>
                    </a:lnTo>
                    <a:lnTo>
                      <a:pt x="238" y="1279"/>
                    </a:lnTo>
                    <a:lnTo>
                      <a:pt x="236" y="1279"/>
                    </a:lnTo>
                    <a:lnTo>
                      <a:pt x="235" y="1279"/>
                    </a:lnTo>
                    <a:lnTo>
                      <a:pt x="233" y="1279"/>
                    </a:lnTo>
                    <a:lnTo>
                      <a:pt x="233" y="1280"/>
                    </a:lnTo>
                    <a:lnTo>
                      <a:pt x="232" y="1280"/>
                    </a:lnTo>
                    <a:lnTo>
                      <a:pt x="230" y="1280"/>
                    </a:lnTo>
                    <a:lnTo>
                      <a:pt x="230" y="1282"/>
                    </a:lnTo>
                    <a:lnTo>
                      <a:pt x="229" y="1283"/>
                    </a:lnTo>
                    <a:lnTo>
                      <a:pt x="225" y="1285"/>
                    </a:lnTo>
                    <a:lnTo>
                      <a:pt x="221" y="1288"/>
                    </a:lnTo>
                    <a:lnTo>
                      <a:pt x="219" y="1293"/>
                    </a:lnTo>
                    <a:lnTo>
                      <a:pt x="219" y="1294"/>
                    </a:lnTo>
                    <a:lnTo>
                      <a:pt x="217" y="1296"/>
                    </a:lnTo>
                    <a:lnTo>
                      <a:pt x="217" y="1298"/>
                    </a:lnTo>
                    <a:lnTo>
                      <a:pt x="216" y="1299"/>
                    </a:lnTo>
                    <a:lnTo>
                      <a:pt x="216" y="1301"/>
                    </a:lnTo>
                    <a:lnTo>
                      <a:pt x="216" y="1302"/>
                    </a:lnTo>
                    <a:lnTo>
                      <a:pt x="216" y="1304"/>
                    </a:lnTo>
                    <a:lnTo>
                      <a:pt x="216" y="1306"/>
                    </a:lnTo>
                    <a:lnTo>
                      <a:pt x="216" y="1307"/>
                    </a:lnTo>
                    <a:lnTo>
                      <a:pt x="216" y="1310"/>
                    </a:lnTo>
                    <a:lnTo>
                      <a:pt x="214" y="1310"/>
                    </a:lnTo>
                    <a:lnTo>
                      <a:pt x="213" y="1310"/>
                    </a:lnTo>
                    <a:lnTo>
                      <a:pt x="211" y="1309"/>
                    </a:lnTo>
                    <a:lnTo>
                      <a:pt x="210" y="1309"/>
                    </a:lnTo>
                    <a:lnTo>
                      <a:pt x="210" y="1307"/>
                    </a:lnTo>
                    <a:lnTo>
                      <a:pt x="208" y="1307"/>
                    </a:lnTo>
                    <a:lnTo>
                      <a:pt x="205" y="1307"/>
                    </a:lnTo>
                    <a:lnTo>
                      <a:pt x="200" y="1307"/>
                    </a:lnTo>
                    <a:lnTo>
                      <a:pt x="197" y="1307"/>
                    </a:lnTo>
                    <a:lnTo>
                      <a:pt x="194" y="1307"/>
                    </a:lnTo>
                    <a:lnTo>
                      <a:pt x="190" y="1307"/>
                    </a:lnTo>
                    <a:lnTo>
                      <a:pt x="187" y="1307"/>
                    </a:lnTo>
                    <a:lnTo>
                      <a:pt x="186" y="1307"/>
                    </a:lnTo>
                    <a:lnTo>
                      <a:pt x="184" y="1307"/>
                    </a:lnTo>
                    <a:lnTo>
                      <a:pt x="179" y="1307"/>
                    </a:lnTo>
                    <a:lnTo>
                      <a:pt x="175" y="1306"/>
                    </a:lnTo>
                    <a:lnTo>
                      <a:pt x="173" y="1306"/>
                    </a:lnTo>
                    <a:lnTo>
                      <a:pt x="171" y="1307"/>
                    </a:lnTo>
                    <a:lnTo>
                      <a:pt x="170" y="1307"/>
                    </a:lnTo>
                    <a:lnTo>
                      <a:pt x="168" y="1307"/>
                    </a:lnTo>
                    <a:lnTo>
                      <a:pt x="167" y="1306"/>
                    </a:lnTo>
                    <a:lnTo>
                      <a:pt x="165" y="1306"/>
                    </a:lnTo>
                    <a:lnTo>
                      <a:pt x="164" y="1306"/>
                    </a:lnTo>
                    <a:lnTo>
                      <a:pt x="162" y="1306"/>
                    </a:lnTo>
                    <a:lnTo>
                      <a:pt x="160" y="1307"/>
                    </a:lnTo>
                    <a:lnTo>
                      <a:pt x="159" y="1307"/>
                    </a:lnTo>
                    <a:lnTo>
                      <a:pt x="157" y="1307"/>
                    </a:lnTo>
                    <a:lnTo>
                      <a:pt x="156" y="1307"/>
                    </a:lnTo>
                    <a:lnTo>
                      <a:pt x="154" y="1307"/>
                    </a:lnTo>
                    <a:lnTo>
                      <a:pt x="152" y="1307"/>
                    </a:lnTo>
                    <a:lnTo>
                      <a:pt x="151" y="1307"/>
                    </a:lnTo>
                    <a:lnTo>
                      <a:pt x="149" y="1307"/>
                    </a:lnTo>
                    <a:lnTo>
                      <a:pt x="146" y="1306"/>
                    </a:lnTo>
                    <a:lnTo>
                      <a:pt x="145" y="1306"/>
                    </a:lnTo>
                    <a:lnTo>
                      <a:pt x="143" y="1306"/>
                    </a:lnTo>
                    <a:lnTo>
                      <a:pt x="141" y="1307"/>
                    </a:lnTo>
                    <a:lnTo>
                      <a:pt x="140" y="1307"/>
                    </a:lnTo>
                    <a:lnTo>
                      <a:pt x="138" y="1309"/>
                    </a:lnTo>
                    <a:lnTo>
                      <a:pt x="137" y="1307"/>
                    </a:lnTo>
                    <a:lnTo>
                      <a:pt x="135" y="1306"/>
                    </a:lnTo>
                    <a:lnTo>
                      <a:pt x="135" y="1304"/>
                    </a:lnTo>
                    <a:lnTo>
                      <a:pt x="133" y="1302"/>
                    </a:lnTo>
                    <a:lnTo>
                      <a:pt x="132" y="1301"/>
                    </a:lnTo>
                    <a:lnTo>
                      <a:pt x="132" y="1299"/>
                    </a:lnTo>
                    <a:lnTo>
                      <a:pt x="130" y="1299"/>
                    </a:lnTo>
                    <a:lnTo>
                      <a:pt x="130" y="1298"/>
                    </a:lnTo>
                    <a:lnTo>
                      <a:pt x="129" y="1296"/>
                    </a:lnTo>
                    <a:lnTo>
                      <a:pt x="127" y="1294"/>
                    </a:lnTo>
                    <a:lnTo>
                      <a:pt x="126" y="1293"/>
                    </a:lnTo>
                    <a:lnTo>
                      <a:pt x="124" y="1293"/>
                    </a:lnTo>
                    <a:lnTo>
                      <a:pt x="126" y="1291"/>
                    </a:lnTo>
                    <a:lnTo>
                      <a:pt x="126" y="1290"/>
                    </a:lnTo>
                    <a:lnTo>
                      <a:pt x="127" y="1290"/>
                    </a:lnTo>
                    <a:lnTo>
                      <a:pt x="127" y="1288"/>
                    </a:lnTo>
                    <a:lnTo>
                      <a:pt x="129" y="1288"/>
                    </a:lnTo>
                    <a:lnTo>
                      <a:pt x="129" y="1287"/>
                    </a:lnTo>
                    <a:lnTo>
                      <a:pt x="129" y="1282"/>
                    </a:lnTo>
                    <a:lnTo>
                      <a:pt x="130" y="1280"/>
                    </a:lnTo>
                    <a:lnTo>
                      <a:pt x="132" y="1277"/>
                    </a:lnTo>
                    <a:lnTo>
                      <a:pt x="133" y="1275"/>
                    </a:lnTo>
                    <a:lnTo>
                      <a:pt x="133" y="1274"/>
                    </a:lnTo>
                    <a:lnTo>
                      <a:pt x="135" y="1272"/>
                    </a:lnTo>
                    <a:lnTo>
                      <a:pt x="143" y="1272"/>
                    </a:lnTo>
                    <a:lnTo>
                      <a:pt x="146" y="1272"/>
                    </a:lnTo>
                    <a:lnTo>
                      <a:pt x="148" y="1271"/>
                    </a:lnTo>
                    <a:lnTo>
                      <a:pt x="149" y="1269"/>
                    </a:lnTo>
                    <a:lnTo>
                      <a:pt x="151" y="1264"/>
                    </a:lnTo>
                    <a:lnTo>
                      <a:pt x="154" y="1258"/>
                    </a:lnTo>
                    <a:lnTo>
                      <a:pt x="156" y="1258"/>
                    </a:lnTo>
                    <a:lnTo>
                      <a:pt x="159" y="1253"/>
                    </a:lnTo>
                    <a:lnTo>
                      <a:pt x="160" y="1252"/>
                    </a:lnTo>
                    <a:lnTo>
                      <a:pt x="162" y="1250"/>
                    </a:lnTo>
                    <a:lnTo>
                      <a:pt x="164" y="1250"/>
                    </a:lnTo>
                    <a:lnTo>
                      <a:pt x="164" y="1249"/>
                    </a:lnTo>
                    <a:lnTo>
                      <a:pt x="165" y="1247"/>
                    </a:lnTo>
                    <a:lnTo>
                      <a:pt x="165" y="1244"/>
                    </a:lnTo>
                    <a:lnTo>
                      <a:pt x="167" y="1242"/>
                    </a:lnTo>
                    <a:lnTo>
                      <a:pt x="168" y="1236"/>
                    </a:lnTo>
                    <a:lnTo>
                      <a:pt x="173" y="1234"/>
                    </a:lnTo>
                    <a:lnTo>
                      <a:pt x="173" y="1233"/>
                    </a:lnTo>
                    <a:lnTo>
                      <a:pt x="175" y="1231"/>
                    </a:lnTo>
                    <a:lnTo>
                      <a:pt x="176" y="1231"/>
                    </a:lnTo>
                    <a:lnTo>
                      <a:pt x="176" y="1230"/>
                    </a:lnTo>
                    <a:lnTo>
                      <a:pt x="178" y="1228"/>
                    </a:lnTo>
                    <a:lnTo>
                      <a:pt x="178" y="1223"/>
                    </a:lnTo>
                    <a:lnTo>
                      <a:pt x="178" y="1222"/>
                    </a:lnTo>
                    <a:lnTo>
                      <a:pt x="176" y="1218"/>
                    </a:lnTo>
                    <a:lnTo>
                      <a:pt x="173" y="1217"/>
                    </a:lnTo>
                    <a:lnTo>
                      <a:pt x="173" y="1215"/>
                    </a:lnTo>
                    <a:lnTo>
                      <a:pt x="175" y="1212"/>
                    </a:lnTo>
                    <a:lnTo>
                      <a:pt x="175" y="1209"/>
                    </a:lnTo>
                    <a:lnTo>
                      <a:pt x="176" y="1209"/>
                    </a:lnTo>
                    <a:lnTo>
                      <a:pt x="178" y="1207"/>
                    </a:lnTo>
                    <a:lnTo>
                      <a:pt x="179" y="1206"/>
                    </a:lnTo>
                    <a:lnTo>
                      <a:pt x="179" y="1204"/>
                    </a:lnTo>
                    <a:lnTo>
                      <a:pt x="179" y="1203"/>
                    </a:lnTo>
                    <a:lnTo>
                      <a:pt x="181" y="1201"/>
                    </a:lnTo>
                    <a:lnTo>
                      <a:pt x="181" y="1198"/>
                    </a:lnTo>
                    <a:lnTo>
                      <a:pt x="181" y="1196"/>
                    </a:lnTo>
                    <a:lnTo>
                      <a:pt x="181" y="1195"/>
                    </a:lnTo>
                    <a:lnTo>
                      <a:pt x="186" y="1193"/>
                    </a:lnTo>
                    <a:lnTo>
                      <a:pt x="187" y="1191"/>
                    </a:lnTo>
                    <a:lnTo>
                      <a:pt x="190" y="1190"/>
                    </a:lnTo>
                    <a:lnTo>
                      <a:pt x="194" y="1188"/>
                    </a:lnTo>
                    <a:lnTo>
                      <a:pt x="197" y="1185"/>
                    </a:lnTo>
                    <a:lnTo>
                      <a:pt x="198" y="1182"/>
                    </a:lnTo>
                    <a:lnTo>
                      <a:pt x="200" y="1179"/>
                    </a:lnTo>
                    <a:lnTo>
                      <a:pt x="200" y="1177"/>
                    </a:lnTo>
                    <a:lnTo>
                      <a:pt x="198" y="1174"/>
                    </a:lnTo>
                    <a:lnTo>
                      <a:pt x="198" y="1169"/>
                    </a:lnTo>
                    <a:lnTo>
                      <a:pt x="197" y="1165"/>
                    </a:lnTo>
                    <a:lnTo>
                      <a:pt x="195" y="1161"/>
                    </a:lnTo>
                    <a:lnTo>
                      <a:pt x="194" y="1158"/>
                    </a:lnTo>
                    <a:lnTo>
                      <a:pt x="192" y="1155"/>
                    </a:lnTo>
                    <a:lnTo>
                      <a:pt x="190" y="1152"/>
                    </a:lnTo>
                    <a:lnTo>
                      <a:pt x="189" y="1152"/>
                    </a:lnTo>
                    <a:lnTo>
                      <a:pt x="190" y="1149"/>
                    </a:lnTo>
                    <a:lnTo>
                      <a:pt x="189" y="1147"/>
                    </a:lnTo>
                    <a:lnTo>
                      <a:pt x="189" y="1146"/>
                    </a:lnTo>
                    <a:lnTo>
                      <a:pt x="189" y="1144"/>
                    </a:lnTo>
                    <a:lnTo>
                      <a:pt x="189" y="1142"/>
                    </a:lnTo>
                    <a:lnTo>
                      <a:pt x="189" y="1141"/>
                    </a:lnTo>
                    <a:lnTo>
                      <a:pt x="189" y="1139"/>
                    </a:lnTo>
                    <a:lnTo>
                      <a:pt x="189" y="1138"/>
                    </a:lnTo>
                    <a:lnTo>
                      <a:pt x="189" y="1136"/>
                    </a:lnTo>
                    <a:lnTo>
                      <a:pt x="189" y="1134"/>
                    </a:lnTo>
                    <a:lnTo>
                      <a:pt x="189" y="1133"/>
                    </a:lnTo>
                    <a:lnTo>
                      <a:pt x="189" y="1131"/>
                    </a:lnTo>
                    <a:lnTo>
                      <a:pt x="187" y="1130"/>
                    </a:lnTo>
                    <a:lnTo>
                      <a:pt x="187" y="1128"/>
                    </a:lnTo>
                    <a:lnTo>
                      <a:pt x="187" y="1127"/>
                    </a:lnTo>
                    <a:lnTo>
                      <a:pt x="187" y="1123"/>
                    </a:lnTo>
                    <a:lnTo>
                      <a:pt x="187" y="1122"/>
                    </a:lnTo>
                    <a:lnTo>
                      <a:pt x="186" y="1120"/>
                    </a:lnTo>
                    <a:lnTo>
                      <a:pt x="187" y="1120"/>
                    </a:lnTo>
                    <a:lnTo>
                      <a:pt x="187" y="1119"/>
                    </a:lnTo>
                    <a:lnTo>
                      <a:pt x="186" y="1117"/>
                    </a:lnTo>
                    <a:lnTo>
                      <a:pt x="186" y="1115"/>
                    </a:lnTo>
                    <a:lnTo>
                      <a:pt x="187" y="1115"/>
                    </a:lnTo>
                    <a:lnTo>
                      <a:pt x="187" y="1114"/>
                    </a:lnTo>
                    <a:lnTo>
                      <a:pt x="186" y="1112"/>
                    </a:lnTo>
                    <a:lnTo>
                      <a:pt x="187" y="1111"/>
                    </a:lnTo>
                    <a:lnTo>
                      <a:pt x="189" y="1112"/>
                    </a:lnTo>
                    <a:lnTo>
                      <a:pt x="189" y="1111"/>
                    </a:lnTo>
                    <a:lnTo>
                      <a:pt x="189" y="1109"/>
                    </a:lnTo>
                    <a:lnTo>
                      <a:pt x="189" y="1104"/>
                    </a:lnTo>
                    <a:lnTo>
                      <a:pt x="187" y="1106"/>
                    </a:lnTo>
                    <a:lnTo>
                      <a:pt x="186" y="1106"/>
                    </a:lnTo>
                    <a:lnTo>
                      <a:pt x="187" y="1108"/>
                    </a:lnTo>
                    <a:lnTo>
                      <a:pt x="186" y="1108"/>
                    </a:lnTo>
                    <a:lnTo>
                      <a:pt x="184" y="1108"/>
                    </a:lnTo>
                    <a:lnTo>
                      <a:pt x="183" y="1108"/>
                    </a:lnTo>
                    <a:lnTo>
                      <a:pt x="183" y="1109"/>
                    </a:lnTo>
                    <a:lnTo>
                      <a:pt x="181" y="1109"/>
                    </a:lnTo>
                    <a:lnTo>
                      <a:pt x="181" y="1111"/>
                    </a:lnTo>
                    <a:lnTo>
                      <a:pt x="179" y="1111"/>
                    </a:lnTo>
                    <a:lnTo>
                      <a:pt x="178" y="1112"/>
                    </a:lnTo>
                    <a:lnTo>
                      <a:pt x="179" y="1112"/>
                    </a:lnTo>
                    <a:lnTo>
                      <a:pt x="178" y="1114"/>
                    </a:lnTo>
                    <a:lnTo>
                      <a:pt x="178" y="1115"/>
                    </a:lnTo>
                    <a:lnTo>
                      <a:pt x="176" y="1115"/>
                    </a:lnTo>
                    <a:lnTo>
                      <a:pt x="176" y="1117"/>
                    </a:lnTo>
                    <a:lnTo>
                      <a:pt x="176" y="1119"/>
                    </a:lnTo>
                    <a:lnTo>
                      <a:pt x="175" y="1119"/>
                    </a:lnTo>
                    <a:lnTo>
                      <a:pt x="175" y="1120"/>
                    </a:lnTo>
                    <a:lnTo>
                      <a:pt x="175" y="1122"/>
                    </a:lnTo>
                    <a:lnTo>
                      <a:pt x="173" y="1122"/>
                    </a:lnTo>
                    <a:lnTo>
                      <a:pt x="171" y="1122"/>
                    </a:lnTo>
                    <a:lnTo>
                      <a:pt x="171" y="1123"/>
                    </a:lnTo>
                    <a:lnTo>
                      <a:pt x="170" y="1123"/>
                    </a:lnTo>
                    <a:lnTo>
                      <a:pt x="171" y="1125"/>
                    </a:lnTo>
                    <a:lnTo>
                      <a:pt x="170" y="1127"/>
                    </a:lnTo>
                    <a:lnTo>
                      <a:pt x="170" y="1128"/>
                    </a:lnTo>
                    <a:lnTo>
                      <a:pt x="168" y="1128"/>
                    </a:lnTo>
                    <a:lnTo>
                      <a:pt x="167" y="1130"/>
                    </a:lnTo>
                    <a:lnTo>
                      <a:pt x="165" y="1130"/>
                    </a:lnTo>
                    <a:lnTo>
                      <a:pt x="165" y="1131"/>
                    </a:lnTo>
                    <a:lnTo>
                      <a:pt x="164" y="1131"/>
                    </a:lnTo>
                    <a:lnTo>
                      <a:pt x="164" y="1133"/>
                    </a:lnTo>
                    <a:lnTo>
                      <a:pt x="162" y="1133"/>
                    </a:lnTo>
                    <a:lnTo>
                      <a:pt x="162" y="1134"/>
                    </a:lnTo>
                    <a:lnTo>
                      <a:pt x="160" y="1134"/>
                    </a:lnTo>
                    <a:lnTo>
                      <a:pt x="160" y="1136"/>
                    </a:lnTo>
                    <a:lnTo>
                      <a:pt x="159" y="1136"/>
                    </a:lnTo>
                    <a:lnTo>
                      <a:pt x="159" y="1138"/>
                    </a:lnTo>
                    <a:lnTo>
                      <a:pt x="157" y="1138"/>
                    </a:lnTo>
                    <a:lnTo>
                      <a:pt x="157" y="1139"/>
                    </a:lnTo>
                    <a:lnTo>
                      <a:pt x="156" y="1139"/>
                    </a:lnTo>
                    <a:lnTo>
                      <a:pt x="156" y="1141"/>
                    </a:lnTo>
                    <a:lnTo>
                      <a:pt x="154" y="1141"/>
                    </a:lnTo>
                    <a:lnTo>
                      <a:pt x="152" y="1142"/>
                    </a:lnTo>
                    <a:lnTo>
                      <a:pt x="151" y="1142"/>
                    </a:lnTo>
                    <a:lnTo>
                      <a:pt x="151" y="1144"/>
                    </a:lnTo>
                    <a:lnTo>
                      <a:pt x="149" y="1144"/>
                    </a:lnTo>
                    <a:lnTo>
                      <a:pt x="149" y="1146"/>
                    </a:lnTo>
                    <a:lnTo>
                      <a:pt x="148" y="1146"/>
                    </a:lnTo>
                    <a:lnTo>
                      <a:pt x="148" y="1147"/>
                    </a:lnTo>
                    <a:lnTo>
                      <a:pt x="146" y="1147"/>
                    </a:lnTo>
                    <a:lnTo>
                      <a:pt x="145" y="1149"/>
                    </a:lnTo>
                    <a:lnTo>
                      <a:pt x="143" y="1150"/>
                    </a:lnTo>
                    <a:lnTo>
                      <a:pt x="141" y="1150"/>
                    </a:lnTo>
                    <a:lnTo>
                      <a:pt x="141" y="1152"/>
                    </a:lnTo>
                    <a:lnTo>
                      <a:pt x="140" y="1152"/>
                    </a:lnTo>
                    <a:lnTo>
                      <a:pt x="140" y="1153"/>
                    </a:lnTo>
                    <a:lnTo>
                      <a:pt x="138" y="1153"/>
                    </a:lnTo>
                    <a:lnTo>
                      <a:pt x="137" y="1153"/>
                    </a:lnTo>
                    <a:lnTo>
                      <a:pt x="137" y="1152"/>
                    </a:lnTo>
                    <a:lnTo>
                      <a:pt x="135" y="1152"/>
                    </a:lnTo>
                    <a:lnTo>
                      <a:pt x="133" y="1152"/>
                    </a:lnTo>
                    <a:lnTo>
                      <a:pt x="132" y="1152"/>
                    </a:lnTo>
                    <a:lnTo>
                      <a:pt x="130" y="1152"/>
                    </a:lnTo>
                    <a:lnTo>
                      <a:pt x="129" y="1153"/>
                    </a:lnTo>
                    <a:lnTo>
                      <a:pt x="127" y="1153"/>
                    </a:lnTo>
                    <a:lnTo>
                      <a:pt x="126" y="1153"/>
                    </a:lnTo>
                    <a:lnTo>
                      <a:pt x="124" y="1153"/>
                    </a:lnTo>
                    <a:lnTo>
                      <a:pt x="122" y="1153"/>
                    </a:lnTo>
                    <a:lnTo>
                      <a:pt x="122" y="1155"/>
                    </a:lnTo>
                    <a:lnTo>
                      <a:pt x="122" y="1153"/>
                    </a:lnTo>
                    <a:lnTo>
                      <a:pt x="121" y="1152"/>
                    </a:lnTo>
                    <a:lnTo>
                      <a:pt x="121" y="1150"/>
                    </a:lnTo>
                    <a:lnTo>
                      <a:pt x="121" y="1149"/>
                    </a:lnTo>
                    <a:lnTo>
                      <a:pt x="122" y="1147"/>
                    </a:lnTo>
                    <a:lnTo>
                      <a:pt x="122" y="1146"/>
                    </a:lnTo>
                    <a:lnTo>
                      <a:pt x="122" y="1144"/>
                    </a:lnTo>
                    <a:lnTo>
                      <a:pt x="122" y="1142"/>
                    </a:lnTo>
                    <a:lnTo>
                      <a:pt x="122" y="1141"/>
                    </a:lnTo>
                    <a:lnTo>
                      <a:pt x="122" y="1139"/>
                    </a:lnTo>
                    <a:lnTo>
                      <a:pt x="122" y="1138"/>
                    </a:lnTo>
                    <a:lnTo>
                      <a:pt x="122" y="1136"/>
                    </a:lnTo>
                    <a:lnTo>
                      <a:pt x="122" y="1134"/>
                    </a:lnTo>
                    <a:lnTo>
                      <a:pt x="122" y="1133"/>
                    </a:lnTo>
                    <a:lnTo>
                      <a:pt x="122" y="1131"/>
                    </a:lnTo>
                    <a:lnTo>
                      <a:pt x="121" y="1131"/>
                    </a:lnTo>
                    <a:lnTo>
                      <a:pt x="121" y="1130"/>
                    </a:lnTo>
                    <a:lnTo>
                      <a:pt x="121" y="1128"/>
                    </a:lnTo>
                    <a:lnTo>
                      <a:pt x="119" y="1128"/>
                    </a:lnTo>
                    <a:lnTo>
                      <a:pt x="119" y="1127"/>
                    </a:lnTo>
                    <a:lnTo>
                      <a:pt x="118" y="1125"/>
                    </a:lnTo>
                    <a:lnTo>
                      <a:pt x="116" y="1123"/>
                    </a:lnTo>
                    <a:lnTo>
                      <a:pt x="114" y="1123"/>
                    </a:lnTo>
                    <a:lnTo>
                      <a:pt x="114" y="1122"/>
                    </a:lnTo>
                    <a:lnTo>
                      <a:pt x="113" y="1120"/>
                    </a:lnTo>
                    <a:lnTo>
                      <a:pt x="111" y="1120"/>
                    </a:lnTo>
                    <a:lnTo>
                      <a:pt x="111" y="1119"/>
                    </a:lnTo>
                    <a:lnTo>
                      <a:pt x="110" y="1119"/>
                    </a:lnTo>
                    <a:lnTo>
                      <a:pt x="110" y="1117"/>
                    </a:lnTo>
                    <a:lnTo>
                      <a:pt x="108" y="1117"/>
                    </a:lnTo>
                    <a:lnTo>
                      <a:pt x="107" y="1117"/>
                    </a:lnTo>
                    <a:lnTo>
                      <a:pt x="107" y="1115"/>
                    </a:lnTo>
                    <a:lnTo>
                      <a:pt x="105" y="1115"/>
                    </a:lnTo>
                    <a:lnTo>
                      <a:pt x="105" y="1114"/>
                    </a:lnTo>
                    <a:lnTo>
                      <a:pt x="103" y="1114"/>
                    </a:lnTo>
                    <a:lnTo>
                      <a:pt x="102" y="1112"/>
                    </a:lnTo>
                    <a:lnTo>
                      <a:pt x="100" y="1112"/>
                    </a:lnTo>
                    <a:lnTo>
                      <a:pt x="99" y="1111"/>
                    </a:lnTo>
                    <a:lnTo>
                      <a:pt x="97" y="1109"/>
                    </a:lnTo>
                    <a:lnTo>
                      <a:pt x="95" y="1109"/>
                    </a:lnTo>
                    <a:lnTo>
                      <a:pt x="95" y="1108"/>
                    </a:lnTo>
                    <a:lnTo>
                      <a:pt x="94" y="1108"/>
                    </a:lnTo>
                    <a:lnTo>
                      <a:pt x="92" y="1106"/>
                    </a:lnTo>
                    <a:lnTo>
                      <a:pt x="91" y="1104"/>
                    </a:lnTo>
                    <a:lnTo>
                      <a:pt x="89" y="1104"/>
                    </a:lnTo>
                    <a:lnTo>
                      <a:pt x="89" y="1103"/>
                    </a:lnTo>
                    <a:lnTo>
                      <a:pt x="88" y="1101"/>
                    </a:lnTo>
                    <a:lnTo>
                      <a:pt x="86" y="1101"/>
                    </a:lnTo>
                    <a:lnTo>
                      <a:pt x="86" y="1100"/>
                    </a:lnTo>
                    <a:lnTo>
                      <a:pt x="84" y="1100"/>
                    </a:lnTo>
                    <a:lnTo>
                      <a:pt x="84" y="1098"/>
                    </a:lnTo>
                    <a:lnTo>
                      <a:pt x="83" y="1098"/>
                    </a:lnTo>
                    <a:lnTo>
                      <a:pt x="81" y="1096"/>
                    </a:lnTo>
                    <a:lnTo>
                      <a:pt x="80" y="1096"/>
                    </a:lnTo>
                    <a:lnTo>
                      <a:pt x="80" y="1095"/>
                    </a:lnTo>
                    <a:lnTo>
                      <a:pt x="78" y="1093"/>
                    </a:lnTo>
                    <a:lnTo>
                      <a:pt x="76" y="1093"/>
                    </a:lnTo>
                    <a:lnTo>
                      <a:pt x="76" y="1092"/>
                    </a:lnTo>
                    <a:lnTo>
                      <a:pt x="75" y="1092"/>
                    </a:lnTo>
                    <a:lnTo>
                      <a:pt x="73" y="1090"/>
                    </a:lnTo>
                    <a:lnTo>
                      <a:pt x="72" y="1090"/>
                    </a:lnTo>
                    <a:lnTo>
                      <a:pt x="72" y="1089"/>
                    </a:lnTo>
                    <a:lnTo>
                      <a:pt x="70" y="1089"/>
                    </a:lnTo>
                    <a:lnTo>
                      <a:pt x="69" y="1087"/>
                    </a:lnTo>
                    <a:lnTo>
                      <a:pt x="67" y="1087"/>
                    </a:lnTo>
                    <a:lnTo>
                      <a:pt x="67" y="1085"/>
                    </a:lnTo>
                    <a:lnTo>
                      <a:pt x="65" y="1085"/>
                    </a:lnTo>
                    <a:lnTo>
                      <a:pt x="64" y="1085"/>
                    </a:lnTo>
                    <a:lnTo>
                      <a:pt x="64" y="1084"/>
                    </a:lnTo>
                    <a:lnTo>
                      <a:pt x="62" y="1084"/>
                    </a:lnTo>
                    <a:lnTo>
                      <a:pt x="61" y="1084"/>
                    </a:lnTo>
                    <a:lnTo>
                      <a:pt x="61" y="1082"/>
                    </a:lnTo>
                    <a:lnTo>
                      <a:pt x="59" y="1082"/>
                    </a:lnTo>
                    <a:lnTo>
                      <a:pt x="57" y="1082"/>
                    </a:lnTo>
                    <a:lnTo>
                      <a:pt x="57" y="1081"/>
                    </a:lnTo>
                    <a:lnTo>
                      <a:pt x="56" y="1079"/>
                    </a:lnTo>
                    <a:lnTo>
                      <a:pt x="56" y="1077"/>
                    </a:lnTo>
                    <a:lnTo>
                      <a:pt x="54" y="1076"/>
                    </a:lnTo>
                    <a:lnTo>
                      <a:pt x="54" y="1074"/>
                    </a:lnTo>
                    <a:lnTo>
                      <a:pt x="53" y="1074"/>
                    </a:lnTo>
                    <a:lnTo>
                      <a:pt x="53" y="1073"/>
                    </a:lnTo>
                    <a:lnTo>
                      <a:pt x="51" y="1071"/>
                    </a:lnTo>
                    <a:lnTo>
                      <a:pt x="51" y="1070"/>
                    </a:lnTo>
                    <a:lnTo>
                      <a:pt x="50" y="1070"/>
                    </a:lnTo>
                    <a:lnTo>
                      <a:pt x="50" y="1068"/>
                    </a:lnTo>
                    <a:lnTo>
                      <a:pt x="48" y="1066"/>
                    </a:lnTo>
                    <a:lnTo>
                      <a:pt x="48" y="1065"/>
                    </a:lnTo>
                    <a:lnTo>
                      <a:pt x="46" y="1063"/>
                    </a:lnTo>
                    <a:lnTo>
                      <a:pt x="45" y="1062"/>
                    </a:lnTo>
                    <a:lnTo>
                      <a:pt x="45" y="1060"/>
                    </a:lnTo>
                    <a:lnTo>
                      <a:pt x="43" y="1058"/>
                    </a:lnTo>
                    <a:lnTo>
                      <a:pt x="43" y="1057"/>
                    </a:lnTo>
                    <a:lnTo>
                      <a:pt x="42" y="1057"/>
                    </a:lnTo>
                    <a:lnTo>
                      <a:pt x="42" y="1055"/>
                    </a:lnTo>
                    <a:lnTo>
                      <a:pt x="40" y="1054"/>
                    </a:lnTo>
                    <a:lnTo>
                      <a:pt x="40" y="1052"/>
                    </a:lnTo>
                    <a:lnTo>
                      <a:pt x="38" y="1052"/>
                    </a:lnTo>
                    <a:lnTo>
                      <a:pt x="38" y="1051"/>
                    </a:lnTo>
                    <a:lnTo>
                      <a:pt x="37" y="1049"/>
                    </a:lnTo>
                    <a:lnTo>
                      <a:pt x="37" y="1047"/>
                    </a:lnTo>
                    <a:lnTo>
                      <a:pt x="35" y="1046"/>
                    </a:lnTo>
                    <a:lnTo>
                      <a:pt x="35" y="1044"/>
                    </a:lnTo>
                    <a:lnTo>
                      <a:pt x="34" y="1044"/>
                    </a:lnTo>
                    <a:lnTo>
                      <a:pt x="34" y="1043"/>
                    </a:lnTo>
                    <a:lnTo>
                      <a:pt x="32" y="1041"/>
                    </a:lnTo>
                    <a:lnTo>
                      <a:pt x="32" y="1039"/>
                    </a:lnTo>
                    <a:lnTo>
                      <a:pt x="31" y="1039"/>
                    </a:lnTo>
                    <a:lnTo>
                      <a:pt x="31" y="1038"/>
                    </a:lnTo>
                    <a:lnTo>
                      <a:pt x="31" y="1036"/>
                    </a:lnTo>
                    <a:lnTo>
                      <a:pt x="29" y="1036"/>
                    </a:lnTo>
                    <a:lnTo>
                      <a:pt x="29" y="1038"/>
                    </a:lnTo>
                    <a:lnTo>
                      <a:pt x="27" y="1038"/>
                    </a:lnTo>
                    <a:lnTo>
                      <a:pt x="27" y="1039"/>
                    </a:lnTo>
                    <a:lnTo>
                      <a:pt x="26" y="1039"/>
                    </a:lnTo>
                    <a:lnTo>
                      <a:pt x="24" y="1041"/>
                    </a:lnTo>
                    <a:lnTo>
                      <a:pt x="23" y="1041"/>
                    </a:lnTo>
                    <a:lnTo>
                      <a:pt x="23" y="1043"/>
                    </a:lnTo>
                    <a:lnTo>
                      <a:pt x="21" y="1043"/>
                    </a:lnTo>
                    <a:lnTo>
                      <a:pt x="21" y="1044"/>
                    </a:lnTo>
                    <a:lnTo>
                      <a:pt x="19" y="1044"/>
                    </a:lnTo>
                    <a:lnTo>
                      <a:pt x="18" y="1046"/>
                    </a:lnTo>
                    <a:lnTo>
                      <a:pt x="16" y="1047"/>
                    </a:lnTo>
                    <a:lnTo>
                      <a:pt x="15" y="1047"/>
                    </a:lnTo>
                    <a:lnTo>
                      <a:pt x="15" y="1049"/>
                    </a:lnTo>
                    <a:lnTo>
                      <a:pt x="13" y="1049"/>
                    </a:lnTo>
                    <a:lnTo>
                      <a:pt x="13" y="1047"/>
                    </a:lnTo>
                    <a:lnTo>
                      <a:pt x="13" y="1046"/>
                    </a:lnTo>
                    <a:lnTo>
                      <a:pt x="12" y="1043"/>
                    </a:lnTo>
                    <a:lnTo>
                      <a:pt x="12" y="1039"/>
                    </a:lnTo>
                    <a:lnTo>
                      <a:pt x="12" y="1038"/>
                    </a:lnTo>
                    <a:lnTo>
                      <a:pt x="10" y="1036"/>
                    </a:lnTo>
                    <a:lnTo>
                      <a:pt x="10" y="1035"/>
                    </a:lnTo>
                    <a:lnTo>
                      <a:pt x="10" y="1032"/>
                    </a:lnTo>
                    <a:lnTo>
                      <a:pt x="10" y="1028"/>
                    </a:lnTo>
                    <a:lnTo>
                      <a:pt x="12" y="1025"/>
                    </a:lnTo>
                    <a:lnTo>
                      <a:pt x="12" y="1024"/>
                    </a:lnTo>
                    <a:lnTo>
                      <a:pt x="10" y="1022"/>
                    </a:lnTo>
                    <a:lnTo>
                      <a:pt x="10" y="1020"/>
                    </a:lnTo>
                    <a:lnTo>
                      <a:pt x="12" y="1019"/>
                    </a:lnTo>
                    <a:lnTo>
                      <a:pt x="12" y="1017"/>
                    </a:lnTo>
                    <a:lnTo>
                      <a:pt x="12" y="1016"/>
                    </a:lnTo>
                    <a:lnTo>
                      <a:pt x="12" y="1014"/>
                    </a:lnTo>
                    <a:lnTo>
                      <a:pt x="10" y="1013"/>
                    </a:lnTo>
                    <a:lnTo>
                      <a:pt x="10" y="1011"/>
                    </a:lnTo>
                    <a:lnTo>
                      <a:pt x="8" y="1011"/>
                    </a:lnTo>
                    <a:lnTo>
                      <a:pt x="8" y="1009"/>
                    </a:lnTo>
                    <a:lnTo>
                      <a:pt x="10" y="1008"/>
                    </a:lnTo>
                    <a:lnTo>
                      <a:pt x="12" y="1008"/>
                    </a:lnTo>
                    <a:lnTo>
                      <a:pt x="13" y="1008"/>
                    </a:lnTo>
                    <a:lnTo>
                      <a:pt x="13" y="1006"/>
                    </a:lnTo>
                    <a:lnTo>
                      <a:pt x="12" y="1005"/>
                    </a:lnTo>
                    <a:lnTo>
                      <a:pt x="10" y="1005"/>
                    </a:lnTo>
                    <a:lnTo>
                      <a:pt x="8" y="1003"/>
                    </a:lnTo>
                    <a:lnTo>
                      <a:pt x="7" y="1003"/>
                    </a:lnTo>
                    <a:lnTo>
                      <a:pt x="5" y="1003"/>
                    </a:lnTo>
                    <a:lnTo>
                      <a:pt x="4" y="1003"/>
                    </a:lnTo>
                    <a:lnTo>
                      <a:pt x="2" y="1001"/>
                    </a:lnTo>
                    <a:lnTo>
                      <a:pt x="0" y="1000"/>
                    </a:lnTo>
                    <a:lnTo>
                      <a:pt x="2" y="998"/>
                    </a:lnTo>
                    <a:lnTo>
                      <a:pt x="4" y="995"/>
                    </a:lnTo>
                    <a:lnTo>
                      <a:pt x="8" y="992"/>
                    </a:lnTo>
                    <a:lnTo>
                      <a:pt x="10" y="987"/>
                    </a:lnTo>
                    <a:lnTo>
                      <a:pt x="13" y="982"/>
                    </a:lnTo>
                    <a:lnTo>
                      <a:pt x="12" y="981"/>
                    </a:lnTo>
                    <a:lnTo>
                      <a:pt x="12" y="978"/>
                    </a:lnTo>
                    <a:lnTo>
                      <a:pt x="12" y="973"/>
                    </a:lnTo>
                    <a:lnTo>
                      <a:pt x="10" y="970"/>
                    </a:lnTo>
                    <a:lnTo>
                      <a:pt x="8" y="967"/>
                    </a:lnTo>
                    <a:lnTo>
                      <a:pt x="4" y="962"/>
                    </a:lnTo>
                    <a:lnTo>
                      <a:pt x="2" y="960"/>
                    </a:lnTo>
                    <a:lnTo>
                      <a:pt x="2" y="959"/>
                    </a:lnTo>
                    <a:lnTo>
                      <a:pt x="4" y="955"/>
                    </a:lnTo>
                    <a:lnTo>
                      <a:pt x="5" y="952"/>
                    </a:lnTo>
                    <a:lnTo>
                      <a:pt x="5" y="949"/>
                    </a:lnTo>
                    <a:lnTo>
                      <a:pt x="7" y="944"/>
                    </a:lnTo>
                    <a:lnTo>
                      <a:pt x="7" y="943"/>
                    </a:lnTo>
                    <a:lnTo>
                      <a:pt x="7" y="941"/>
                    </a:lnTo>
                    <a:lnTo>
                      <a:pt x="8" y="940"/>
                    </a:lnTo>
                    <a:lnTo>
                      <a:pt x="10" y="940"/>
                    </a:lnTo>
                    <a:lnTo>
                      <a:pt x="13" y="940"/>
                    </a:lnTo>
                    <a:lnTo>
                      <a:pt x="18" y="941"/>
                    </a:lnTo>
                    <a:lnTo>
                      <a:pt x="24" y="941"/>
                    </a:lnTo>
                    <a:lnTo>
                      <a:pt x="31" y="943"/>
                    </a:lnTo>
                    <a:lnTo>
                      <a:pt x="34" y="944"/>
                    </a:lnTo>
                    <a:lnTo>
                      <a:pt x="38" y="944"/>
                    </a:lnTo>
                    <a:lnTo>
                      <a:pt x="40" y="946"/>
                    </a:lnTo>
                    <a:lnTo>
                      <a:pt x="43" y="946"/>
                    </a:lnTo>
                    <a:lnTo>
                      <a:pt x="46" y="946"/>
                    </a:lnTo>
                    <a:lnTo>
                      <a:pt x="53" y="948"/>
                    </a:lnTo>
                    <a:lnTo>
                      <a:pt x="61" y="949"/>
                    </a:lnTo>
                    <a:lnTo>
                      <a:pt x="64" y="951"/>
                    </a:lnTo>
                    <a:lnTo>
                      <a:pt x="69" y="951"/>
                    </a:lnTo>
                    <a:lnTo>
                      <a:pt x="73" y="952"/>
                    </a:lnTo>
                    <a:lnTo>
                      <a:pt x="76" y="952"/>
                    </a:lnTo>
                    <a:lnTo>
                      <a:pt x="80" y="954"/>
                    </a:lnTo>
                    <a:lnTo>
                      <a:pt x="83" y="954"/>
                    </a:lnTo>
                    <a:lnTo>
                      <a:pt x="86" y="954"/>
                    </a:lnTo>
                    <a:lnTo>
                      <a:pt x="89" y="955"/>
                    </a:lnTo>
                    <a:lnTo>
                      <a:pt x="92" y="955"/>
                    </a:lnTo>
                    <a:lnTo>
                      <a:pt x="95" y="955"/>
                    </a:lnTo>
                    <a:lnTo>
                      <a:pt x="99" y="957"/>
                    </a:lnTo>
                    <a:lnTo>
                      <a:pt x="102" y="955"/>
                    </a:lnTo>
                    <a:lnTo>
                      <a:pt x="103" y="955"/>
                    </a:lnTo>
                    <a:lnTo>
                      <a:pt x="105" y="955"/>
                    </a:lnTo>
                    <a:lnTo>
                      <a:pt x="107" y="955"/>
                    </a:lnTo>
                    <a:lnTo>
                      <a:pt x="107" y="959"/>
                    </a:lnTo>
                    <a:lnTo>
                      <a:pt x="105" y="962"/>
                    </a:lnTo>
                    <a:lnTo>
                      <a:pt x="103" y="965"/>
                    </a:lnTo>
                    <a:lnTo>
                      <a:pt x="103" y="967"/>
                    </a:lnTo>
                    <a:lnTo>
                      <a:pt x="103" y="968"/>
                    </a:lnTo>
                    <a:lnTo>
                      <a:pt x="103" y="970"/>
                    </a:lnTo>
                    <a:lnTo>
                      <a:pt x="103" y="973"/>
                    </a:lnTo>
                    <a:lnTo>
                      <a:pt x="105" y="974"/>
                    </a:lnTo>
                    <a:lnTo>
                      <a:pt x="107" y="979"/>
                    </a:lnTo>
                    <a:lnTo>
                      <a:pt x="107" y="986"/>
                    </a:lnTo>
                    <a:lnTo>
                      <a:pt x="107" y="990"/>
                    </a:lnTo>
                    <a:lnTo>
                      <a:pt x="105" y="993"/>
                    </a:lnTo>
                    <a:lnTo>
                      <a:pt x="105" y="995"/>
                    </a:lnTo>
                    <a:lnTo>
                      <a:pt x="107" y="998"/>
                    </a:lnTo>
                    <a:lnTo>
                      <a:pt x="108" y="1000"/>
                    </a:lnTo>
                    <a:lnTo>
                      <a:pt x="110" y="1000"/>
                    </a:lnTo>
                    <a:lnTo>
                      <a:pt x="113" y="998"/>
                    </a:lnTo>
                    <a:lnTo>
                      <a:pt x="114" y="997"/>
                    </a:lnTo>
                    <a:lnTo>
                      <a:pt x="114" y="995"/>
                    </a:lnTo>
                    <a:lnTo>
                      <a:pt x="114" y="992"/>
                    </a:lnTo>
                    <a:lnTo>
                      <a:pt x="116" y="987"/>
                    </a:lnTo>
                    <a:lnTo>
                      <a:pt x="116" y="984"/>
                    </a:lnTo>
                    <a:lnTo>
                      <a:pt x="118" y="979"/>
                    </a:lnTo>
                    <a:lnTo>
                      <a:pt x="118" y="974"/>
                    </a:lnTo>
                    <a:lnTo>
                      <a:pt x="116" y="971"/>
                    </a:lnTo>
                    <a:lnTo>
                      <a:pt x="116" y="968"/>
                    </a:lnTo>
                    <a:lnTo>
                      <a:pt x="116" y="963"/>
                    </a:lnTo>
                    <a:lnTo>
                      <a:pt x="116" y="959"/>
                    </a:lnTo>
                    <a:lnTo>
                      <a:pt x="116" y="957"/>
                    </a:lnTo>
                    <a:lnTo>
                      <a:pt x="119" y="954"/>
                    </a:lnTo>
                    <a:lnTo>
                      <a:pt x="121" y="951"/>
                    </a:lnTo>
                    <a:lnTo>
                      <a:pt x="124" y="948"/>
                    </a:lnTo>
                    <a:lnTo>
                      <a:pt x="126" y="944"/>
                    </a:lnTo>
                    <a:lnTo>
                      <a:pt x="126" y="941"/>
                    </a:lnTo>
                    <a:lnTo>
                      <a:pt x="126" y="936"/>
                    </a:lnTo>
                    <a:lnTo>
                      <a:pt x="126" y="933"/>
                    </a:lnTo>
                    <a:lnTo>
                      <a:pt x="127" y="930"/>
                    </a:lnTo>
                    <a:lnTo>
                      <a:pt x="127" y="927"/>
                    </a:lnTo>
                    <a:lnTo>
                      <a:pt x="129" y="925"/>
                    </a:lnTo>
                    <a:lnTo>
                      <a:pt x="130" y="924"/>
                    </a:lnTo>
                    <a:lnTo>
                      <a:pt x="133" y="922"/>
                    </a:lnTo>
                    <a:lnTo>
                      <a:pt x="137" y="919"/>
                    </a:lnTo>
                    <a:lnTo>
                      <a:pt x="141" y="916"/>
                    </a:lnTo>
                    <a:lnTo>
                      <a:pt x="148" y="913"/>
                    </a:lnTo>
                    <a:lnTo>
                      <a:pt x="156" y="910"/>
                    </a:lnTo>
                    <a:lnTo>
                      <a:pt x="160" y="906"/>
                    </a:lnTo>
                    <a:lnTo>
                      <a:pt x="164" y="903"/>
                    </a:lnTo>
                    <a:lnTo>
                      <a:pt x="170" y="900"/>
                    </a:lnTo>
                    <a:lnTo>
                      <a:pt x="175" y="898"/>
                    </a:lnTo>
                    <a:lnTo>
                      <a:pt x="179" y="894"/>
                    </a:lnTo>
                    <a:lnTo>
                      <a:pt x="186" y="891"/>
                    </a:lnTo>
                    <a:lnTo>
                      <a:pt x="190" y="887"/>
                    </a:lnTo>
                    <a:lnTo>
                      <a:pt x="192" y="886"/>
                    </a:lnTo>
                    <a:lnTo>
                      <a:pt x="192" y="884"/>
                    </a:lnTo>
                    <a:lnTo>
                      <a:pt x="192" y="883"/>
                    </a:lnTo>
                    <a:lnTo>
                      <a:pt x="192" y="881"/>
                    </a:lnTo>
                    <a:lnTo>
                      <a:pt x="192" y="879"/>
                    </a:lnTo>
                    <a:lnTo>
                      <a:pt x="192" y="878"/>
                    </a:lnTo>
                    <a:lnTo>
                      <a:pt x="192" y="876"/>
                    </a:lnTo>
                    <a:lnTo>
                      <a:pt x="192" y="875"/>
                    </a:lnTo>
                    <a:lnTo>
                      <a:pt x="194" y="875"/>
                    </a:lnTo>
                    <a:lnTo>
                      <a:pt x="194" y="873"/>
                    </a:lnTo>
                    <a:lnTo>
                      <a:pt x="194" y="872"/>
                    </a:lnTo>
                    <a:lnTo>
                      <a:pt x="195" y="870"/>
                    </a:lnTo>
                    <a:lnTo>
                      <a:pt x="195" y="868"/>
                    </a:lnTo>
                    <a:lnTo>
                      <a:pt x="197" y="867"/>
                    </a:lnTo>
                    <a:lnTo>
                      <a:pt x="197" y="865"/>
                    </a:lnTo>
                    <a:lnTo>
                      <a:pt x="197" y="864"/>
                    </a:lnTo>
                    <a:lnTo>
                      <a:pt x="198" y="864"/>
                    </a:lnTo>
                    <a:lnTo>
                      <a:pt x="198" y="862"/>
                    </a:lnTo>
                    <a:lnTo>
                      <a:pt x="198" y="860"/>
                    </a:lnTo>
                    <a:lnTo>
                      <a:pt x="200" y="860"/>
                    </a:lnTo>
                    <a:lnTo>
                      <a:pt x="200" y="859"/>
                    </a:lnTo>
                    <a:lnTo>
                      <a:pt x="200" y="857"/>
                    </a:lnTo>
                    <a:lnTo>
                      <a:pt x="202" y="856"/>
                    </a:lnTo>
                    <a:lnTo>
                      <a:pt x="202" y="854"/>
                    </a:lnTo>
                    <a:lnTo>
                      <a:pt x="203" y="853"/>
                    </a:lnTo>
                    <a:lnTo>
                      <a:pt x="203" y="851"/>
                    </a:lnTo>
                    <a:lnTo>
                      <a:pt x="205" y="851"/>
                    </a:lnTo>
                    <a:lnTo>
                      <a:pt x="205" y="849"/>
                    </a:lnTo>
                    <a:lnTo>
                      <a:pt x="206" y="849"/>
                    </a:lnTo>
                    <a:lnTo>
                      <a:pt x="206" y="848"/>
                    </a:lnTo>
                    <a:lnTo>
                      <a:pt x="206" y="846"/>
                    </a:lnTo>
                    <a:lnTo>
                      <a:pt x="208" y="846"/>
                    </a:lnTo>
                    <a:lnTo>
                      <a:pt x="208" y="845"/>
                    </a:lnTo>
                    <a:lnTo>
                      <a:pt x="208" y="843"/>
                    </a:lnTo>
                    <a:lnTo>
                      <a:pt x="210" y="843"/>
                    </a:lnTo>
                    <a:lnTo>
                      <a:pt x="210" y="841"/>
                    </a:lnTo>
                    <a:lnTo>
                      <a:pt x="211" y="840"/>
                    </a:lnTo>
                    <a:lnTo>
                      <a:pt x="211" y="838"/>
                    </a:lnTo>
                    <a:lnTo>
                      <a:pt x="213" y="837"/>
                    </a:lnTo>
                    <a:lnTo>
                      <a:pt x="213" y="835"/>
                    </a:lnTo>
                    <a:lnTo>
                      <a:pt x="214" y="834"/>
                    </a:lnTo>
                    <a:lnTo>
                      <a:pt x="214" y="832"/>
                    </a:lnTo>
                    <a:lnTo>
                      <a:pt x="216" y="830"/>
                    </a:lnTo>
                    <a:lnTo>
                      <a:pt x="216" y="829"/>
                    </a:lnTo>
                    <a:lnTo>
                      <a:pt x="217" y="829"/>
                    </a:lnTo>
                    <a:lnTo>
                      <a:pt x="217" y="827"/>
                    </a:lnTo>
                    <a:lnTo>
                      <a:pt x="219" y="826"/>
                    </a:lnTo>
                    <a:lnTo>
                      <a:pt x="221" y="826"/>
                    </a:lnTo>
                    <a:lnTo>
                      <a:pt x="221" y="824"/>
                    </a:lnTo>
                    <a:lnTo>
                      <a:pt x="222" y="824"/>
                    </a:lnTo>
                    <a:lnTo>
                      <a:pt x="224" y="824"/>
                    </a:lnTo>
                    <a:lnTo>
                      <a:pt x="224" y="822"/>
                    </a:lnTo>
                    <a:lnTo>
                      <a:pt x="225" y="822"/>
                    </a:lnTo>
                    <a:lnTo>
                      <a:pt x="227" y="822"/>
                    </a:lnTo>
                    <a:lnTo>
                      <a:pt x="227" y="821"/>
                    </a:lnTo>
                    <a:lnTo>
                      <a:pt x="229" y="821"/>
                    </a:lnTo>
                    <a:lnTo>
                      <a:pt x="229" y="819"/>
                    </a:lnTo>
                    <a:lnTo>
                      <a:pt x="230" y="819"/>
                    </a:lnTo>
                    <a:lnTo>
                      <a:pt x="232" y="818"/>
                    </a:lnTo>
                    <a:lnTo>
                      <a:pt x="232" y="816"/>
                    </a:lnTo>
                    <a:lnTo>
                      <a:pt x="233" y="816"/>
                    </a:lnTo>
                    <a:lnTo>
                      <a:pt x="235" y="814"/>
                    </a:lnTo>
                    <a:lnTo>
                      <a:pt x="236" y="814"/>
                    </a:lnTo>
                    <a:lnTo>
                      <a:pt x="236" y="813"/>
                    </a:lnTo>
                    <a:lnTo>
                      <a:pt x="238" y="813"/>
                    </a:lnTo>
                    <a:lnTo>
                      <a:pt x="238" y="811"/>
                    </a:lnTo>
                    <a:lnTo>
                      <a:pt x="240" y="811"/>
                    </a:lnTo>
                    <a:lnTo>
                      <a:pt x="240" y="810"/>
                    </a:lnTo>
                    <a:lnTo>
                      <a:pt x="241" y="810"/>
                    </a:lnTo>
                    <a:lnTo>
                      <a:pt x="243" y="808"/>
                    </a:lnTo>
                    <a:lnTo>
                      <a:pt x="244" y="807"/>
                    </a:lnTo>
                    <a:lnTo>
                      <a:pt x="246" y="805"/>
                    </a:lnTo>
                    <a:lnTo>
                      <a:pt x="248" y="803"/>
                    </a:lnTo>
                    <a:lnTo>
                      <a:pt x="249" y="802"/>
                    </a:lnTo>
                    <a:lnTo>
                      <a:pt x="251" y="802"/>
                    </a:lnTo>
                    <a:lnTo>
                      <a:pt x="251" y="800"/>
                    </a:lnTo>
                    <a:lnTo>
                      <a:pt x="252" y="799"/>
                    </a:lnTo>
                    <a:lnTo>
                      <a:pt x="254" y="799"/>
                    </a:lnTo>
                    <a:lnTo>
                      <a:pt x="255" y="797"/>
                    </a:lnTo>
                    <a:lnTo>
                      <a:pt x="257" y="795"/>
                    </a:lnTo>
                    <a:lnTo>
                      <a:pt x="257" y="794"/>
                    </a:lnTo>
                    <a:lnTo>
                      <a:pt x="259" y="794"/>
                    </a:lnTo>
                    <a:lnTo>
                      <a:pt x="259" y="792"/>
                    </a:lnTo>
                    <a:lnTo>
                      <a:pt x="260" y="792"/>
                    </a:lnTo>
                    <a:lnTo>
                      <a:pt x="260" y="791"/>
                    </a:lnTo>
                    <a:lnTo>
                      <a:pt x="262" y="791"/>
                    </a:lnTo>
                    <a:lnTo>
                      <a:pt x="262" y="789"/>
                    </a:lnTo>
                    <a:lnTo>
                      <a:pt x="263" y="789"/>
                    </a:lnTo>
                    <a:lnTo>
                      <a:pt x="263" y="788"/>
                    </a:lnTo>
                    <a:lnTo>
                      <a:pt x="265" y="788"/>
                    </a:lnTo>
                    <a:lnTo>
                      <a:pt x="265" y="786"/>
                    </a:lnTo>
                    <a:lnTo>
                      <a:pt x="267" y="786"/>
                    </a:lnTo>
                    <a:lnTo>
                      <a:pt x="268" y="784"/>
                    </a:lnTo>
                    <a:lnTo>
                      <a:pt x="270" y="784"/>
                    </a:lnTo>
                    <a:lnTo>
                      <a:pt x="271" y="783"/>
                    </a:lnTo>
                    <a:lnTo>
                      <a:pt x="273" y="783"/>
                    </a:lnTo>
                    <a:lnTo>
                      <a:pt x="278" y="781"/>
                    </a:lnTo>
                    <a:lnTo>
                      <a:pt x="281" y="783"/>
                    </a:lnTo>
                    <a:lnTo>
                      <a:pt x="284" y="783"/>
                    </a:lnTo>
                    <a:lnTo>
                      <a:pt x="286" y="780"/>
                    </a:lnTo>
                    <a:lnTo>
                      <a:pt x="287" y="778"/>
                    </a:lnTo>
                    <a:lnTo>
                      <a:pt x="290" y="781"/>
                    </a:lnTo>
                    <a:lnTo>
                      <a:pt x="292" y="783"/>
                    </a:lnTo>
                    <a:lnTo>
                      <a:pt x="295" y="784"/>
                    </a:lnTo>
                    <a:lnTo>
                      <a:pt x="298" y="784"/>
                    </a:lnTo>
                    <a:lnTo>
                      <a:pt x="300" y="783"/>
                    </a:lnTo>
                    <a:lnTo>
                      <a:pt x="301" y="781"/>
                    </a:lnTo>
                    <a:lnTo>
                      <a:pt x="305" y="780"/>
                    </a:lnTo>
                    <a:lnTo>
                      <a:pt x="305" y="778"/>
                    </a:lnTo>
                    <a:lnTo>
                      <a:pt x="308" y="776"/>
                    </a:lnTo>
                    <a:lnTo>
                      <a:pt x="311" y="776"/>
                    </a:lnTo>
                    <a:lnTo>
                      <a:pt x="314" y="778"/>
                    </a:lnTo>
                    <a:lnTo>
                      <a:pt x="316" y="780"/>
                    </a:lnTo>
                    <a:lnTo>
                      <a:pt x="317" y="781"/>
                    </a:lnTo>
                    <a:lnTo>
                      <a:pt x="319" y="781"/>
                    </a:lnTo>
                    <a:lnTo>
                      <a:pt x="320" y="780"/>
                    </a:lnTo>
                    <a:lnTo>
                      <a:pt x="320" y="778"/>
                    </a:lnTo>
                    <a:lnTo>
                      <a:pt x="320" y="776"/>
                    </a:lnTo>
                    <a:lnTo>
                      <a:pt x="322" y="775"/>
                    </a:lnTo>
                    <a:lnTo>
                      <a:pt x="324" y="775"/>
                    </a:lnTo>
                    <a:lnTo>
                      <a:pt x="324" y="773"/>
                    </a:lnTo>
                    <a:lnTo>
                      <a:pt x="325" y="773"/>
                    </a:lnTo>
                    <a:lnTo>
                      <a:pt x="327" y="773"/>
                    </a:lnTo>
                    <a:lnTo>
                      <a:pt x="325" y="772"/>
                    </a:lnTo>
                    <a:lnTo>
                      <a:pt x="327" y="772"/>
                    </a:lnTo>
                    <a:lnTo>
                      <a:pt x="327" y="770"/>
                    </a:lnTo>
                    <a:lnTo>
                      <a:pt x="328" y="770"/>
                    </a:lnTo>
                    <a:lnTo>
                      <a:pt x="328" y="769"/>
                    </a:lnTo>
                    <a:lnTo>
                      <a:pt x="327" y="769"/>
                    </a:lnTo>
                    <a:lnTo>
                      <a:pt x="327" y="767"/>
                    </a:lnTo>
                    <a:lnTo>
                      <a:pt x="327" y="765"/>
                    </a:lnTo>
                    <a:lnTo>
                      <a:pt x="327" y="764"/>
                    </a:lnTo>
                    <a:lnTo>
                      <a:pt x="325" y="762"/>
                    </a:lnTo>
                    <a:lnTo>
                      <a:pt x="325" y="761"/>
                    </a:lnTo>
                    <a:lnTo>
                      <a:pt x="325" y="759"/>
                    </a:lnTo>
                    <a:lnTo>
                      <a:pt x="324" y="757"/>
                    </a:lnTo>
                    <a:lnTo>
                      <a:pt x="322" y="757"/>
                    </a:lnTo>
                    <a:lnTo>
                      <a:pt x="322" y="756"/>
                    </a:lnTo>
                    <a:lnTo>
                      <a:pt x="322" y="754"/>
                    </a:lnTo>
                    <a:lnTo>
                      <a:pt x="324" y="754"/>
                    </a:lnTo>
                    <a:lnTo>
                      <a:pt x="325" y="753"/>
                    </a:lnTo>
                    <a:lnTo>
                      <a:pt x="325" y="751"/>
                    </a:lnTo>
                    <a:lnTo>
                      <a:pt x="324" y="751"/>
                    </a:lnTo>
                    <a:lnTo>
                      <a:pt x="322" y="750"/>
                    </a:lnTo>
                    <a:lnTo>
                      <a:pt x="322" y="748"/>
                    </a:lnTo>
                    <a:lnTo>
                      <a:pt x="322" y="746"/>
                    </a:lnTo>
                    <a:lnTo>
                      <a:pt x="324" y="745"/>
                    </a:lnTo>
                    <a:lnTo>
                      <a:pt x="324" y="743"/>
                    </a:lnTo>
                    <a:lnTo>
                      <a:pt x="322" y="740"/>
                    </a:lnTo>
                    <a:lnTo>
                      <a:pt x="324" y="738"/>
                    </a:lnTo>
                    <a:lnTo>
                      <a:pt x="325" y="737"/>
                    </a:lnTo>
                    <a:lnTo>
                      <a:pt x="327" y="737"/>
                    </a:lnTo>
                    <a:lnTo>
                      <a:pt x="327" y="735"/>
                    </a:lnTo>
                    <a:lnTo>
                      <a:pt x="328" y="735"/>
                    </a:lnTo>
                    <a:lnTo>
                      <a:pt x="328" y="734"/>
                    </a:lnTo>
                    <a:lnTo>
                      <a:pt x="330" y="734"/>
                    </a:lnTo>
                    <a:lnTo>
                      <a:pt x="330" y="732"/>
                    </a:lnTo>
                    <a:lnTo>
                      <a:pt x="331" y="732"/>
                    </a:lnTo>
                    <a:lnTo>
                      <a:pt x="331" y="731"/>
                    </a:lnTo>
                    <a:lnTo>
                      <a:pt x="333" y="731"/>
                    </a:lnTo>
                    <a:lnTo>
                      <a:pt x="333" y="729"/>
                    </a:lnTo>
                    <a:lnTo>
                      <a:pt x="335" y="729"/>
                    </a:lnTo>
                    <a:lnTo>
                      <a:pt x="336" y="727"/>
                    </a:lnTo>
                    <a:lnTo>
                      <a:pt x="338" y="726"/>
                    </a:lnTo>
                    <a:lnTo>
                      <a:pt x="339" y="726"/>
                    </a:lnTo>
                    <a:lnTo>
                      <a:pt x="339" y="724"/>
                    </a:lnTo>
                    <a:lnTo>
                      <a:pt x="341" y="723"/>
                    </a:lnTo>
                    <a:lnTo>
                      <a:pt x="343" y="723"/>
                    </a:lnTo>
                    <a:lnTo>
                      <a:pt x="343" y="721"/>
                    </a:lnTo>
                    <a:lnTo>
                      <a:pt x="344" y="721"/>
                    </a:lnTo>
                    <a:lnTo>
                      <a:pt x="344" y="719"/>
                    </a:lnTo>
                    <a:lnTo>
                      <a:pt x="346" y="719"/>
                    </a:lnTo>
                    <a:lnTo>
                      <a:pt x="346" y="718"/>
                    </a:lnTo>
                    <a:lnTo>
                      <a:pt x="347" y="718"/>
                    </a:lnTo>
                    <a:lnTo>
                      <a:pt x="349" y="716"/>
                    </a:lnTo>
                    <a:lnTo>
                      <a:pt x="350" y="715"/>
                    </a:lnTo>
                    <a:lnTo>
                      <a:pt x="352" y="715"/>
                    </a:lnTo>
                    <a:lnTo>
                      <a:pt x="352" y="713"/>
                    </a:lnTo>
                    <a:lnTo>
                      <a:pt x="354" y="713"/>
                    </a:lnTo>
                    <a:lnTo>
                      <a:pt x="355" y="713"/>
                    </a:lnTo>
                    <a:lnTo>
                      <a:pt x="355" y="712"/>
                    </a:lnTo>
                    <a:lnTo>
                      <a:pt x="357" y="712"/>
                    </a:lnTo>
                    <a:lnTo>
                      <a:pt x="358" y="712"/>
                    </a:lnTo>
                    <a:lnTo>
                      <a:pt x="360" y="710"/>
                    </a:lnTo>
                    <a:lnTo>
                      <a:pt x="362" y="710"/>
                    </a:lnTo>
                    <a:lnTo>
                      <a:pt x="363" y="708"/>
                    </a:lnTo>
                    <a:lnTo>
                      <a:pt x="365" y="708"/>
                    </a:lnTo>
                    <a:lnTo>
                      <a:pt x="366" y="707"/>
                    </a:lnTo>
                    <a:lnTo>
                      <a:pt x="368" y="707"/>
                    </a:lnTo>
                    <a:lnTo>
                      <a:pt x="369" y="707"/>
                    </a:lnTo>
                    <a:lnTo>
                      <a:pt x="369" y="705"/>
                    </a:lnTo>
                    <a:lnTo>
                      <a:pt x="371" y="705"/>
                    </a:lnTo>
                    <a:lnTo>
                      <a:pt x="373" y="705"/>
                    </a:lnTo>
                    <a:lnTo>
                      <a:pt x="382" y="700"/>
                    </a:lnTo>
                    <a:lnTo>
                      <a:pt x="396" y="699"/>
                    </a:lnTo>
                    <a:lnTo>
                      <a:pt x="406" y="700"/>
                    </a:lnTo>
                    <a:lnTo>
                      <a:pt x="415" y="704"/>
                    </a:lnTo>
                    <a:lnTo>
                      <a:pt x="417" y="704"/>
                    </a:lnTo>
                    <a:lnTo>
                      <a:pt x="425" y="705"/>
                    </a:lnTo>
                    <a:lnTo>
                      <a:pt x="433" y="708"/>
                    </a:lnTo>
                    <a:lnTo>
                      <a:pt x="438" y="708"/>
                    </a:lnTo>
                    <a:lnTo>
                      <a:pt x="441" y="710"/>
                    </a:lnTo>
                    <a:lnTo>
                      <a:pt x="447" y="712"/>
                    </a:lnTo>
                    <a:lnTo>
                      <a:pt x="455" y="712"/>
                    </a:lnTo>
                    <a:lnTo>
                      <a:pt x="461" y="713"/>
                    </a:lnTo>
                    <a:lnTo>
                      <a:pt x="466" y="712"/>
                    </a:lnTo>
                    <a:lnTo>
                      <a:pt x="468" y="712"/>
                    </a:lnTo>
                    <a:lnTo>
                      <a:pt x="468" y="710"/>
                    </a:lnTo>
                    <a:lnTo>
                      <a:pt x="468" y="708"/>
                    </a:lnTo>
                    <a:lnTo>
                      <a:pt x="469" y="707"/>
                    </a:lnTo>
                    <a:lnTo>
                      <a:pt x="469" y="705"/>
                    </a:lnTo>
                    <a:lnTo>
                      <a:pt x="469" y="704"/>
                    </a:lnTo>
                    <a:lnTo>
                      <a:pt x="471" y="704"/>
                    </a:lnTo>
                    <a:lnTo>
                      <a:pt x="471" y="702"/>
                    </a:lnTo>
                    <a:lnTo>
                      <a:pt x="471" y="700"/>
                    </a:lnTo>
                    <a:lnTo>
                      <a:pt x="472" y="699"/>
                    </a:lnTo>
                    <a:lnTo>
                      <a:pt x="472" y="697"/>
                    </a:lnTo>
                    <a:lnTo>
                      <a:pt x="474" y="696"/>
                    </a:lnTo>
                    <a:lnTo>
                      <a:pt x="474" y="694"/>
                    </a:lnTo>
                    <a:lnTo>
                      <a:pt x="474" y="693"/>
                    </a:lnTo>
                    <a:lnTo>
                      <a:pt x="476" y="693"/>
                    </a:lnTo>
                    <a:lnTo>
                      <a:pt x="476" y="691"/>
                    </a:lnTo>
                    <a:lnTo>
                      <a:pt x="476" y="689"/>
                    </a:lnTo>
                    <a:lnTo>
                      <a:pt x="477" y="689"/>
                    </a:lnTo>
                    <a:lnTo>
                      <a:pt x="477" y="688"/>
                    </a:lnTo>
                    <a:lnTo>
                      <a:pt x="477" y="686"/>
                    </a:lnTo>
                    <a:lnTo>
                      <a:pt x="479" y="681"/>
                    </a:lnTo>
                    <a:lnTo>
                      <a:pt x="480" y="678"/>
                    </a:lnTo>
                    <a:lnTo>
                      <a:pt x="484" y="672"/>
                    </a:lnTo>
                    <a:lnTo>
                      <a:pt x="485" y="672"/>
                    </a:lnTo>
                    <a:lnTo>
                      <a:pt x="485" y="670"/>
                    </a:lnTo>
                    <a:lnTo>
                      <a:pt x="485" y="669"/>
                    </a:lnTo>
                    <a:lnTo>
                      <a:pt x="485" y="667"/>
                    </a:lnTo>
                    <a:lnTo>
                      <a:pt x="488" y="662"/>
                    </a:lnTo>
                    <a:lnTo>
                      <a:pt x="491" y="658"/>
                    </a:lnTo>
                    <a:lnTo>
                      <a:pt x="491" y="656"/>
                    </a:lnTo>
                    <a:lnTo>
                      <a:pt x="491" y="655"/>
                    </a:lnTo>
                    <a:lnTo>
                      <a:pt x="493" y="653"/>
                    </a:lnTo>
                    <a:lnTo>
                      <a:pt x="495" y="651"/>
                    </a:lnTo>
                    <a:lnTo>
                      <a:pt x="495" y="650"/>
                    </a:lnTo>
                    <a:lnTo>
                      <a:pt x="496" y="648"/>
                    </a:lnTo>
                    <a:lnTo>
                      <a:pt x="496" y="647"/>
                    </a:lnTo>
                    <a:lnTo>
                      <a:pt x="498" y="647"/>
                    </a:lnTo>
                    <a:lnTo>
                      <a:pt x="498" y="645"/>
                    </a:lnTo>
                    <a:lnTo>
                      <a:pt x="499" y="643"/>
                    </a:lnTo>
                    <a:lnTo>
                      <a:pt x="501" y="642"/>
                    </a:lnTo>
                    <a:lnTo>
                      <a:pt x="503" y="642"/>
                    </a:lnTo>
                    <a:lnTo>
                      <a:pt x="507" y="640"/>
                    </a:lnTo>
                    <a:lnTo>
                      <a:pt x="515" y="632"/>
                    </a:lnTo>
                    <a:lnTo>
                      <a:pt x="520" y="628"/>
                    </a:lnTo>
                    <a:lnTo>
                      <a:pt x="522" y="626"/>
                    </a:lnTo>
                    <a:lnTo>
                      <a:pt x="523" y="624"/>
                    </a:lnTo>
                    <a:lnTo>
                      <a:pt x="528" y="623"/>
                    </a:lnTo>
                    <a:lnTo>
                      <a:pt x="529" y="620"/>
                    </a:lnTo>
                    <a:lnTo>
                      <a:pt x="533" y="616"/>
                    </a:lnTo>
                    <a:lnTo>
                      <a:pt x="534" y="613"/>
                    </a:lnTo>
                    <a:lnTo>
                      <a:pt x="536" y="612"/>
                    </a:lnTo>
                    <a:lnTo>
                      <a:pt x="539" y="610"/>
                    </a:lnTo>
                    <a:lnTo>
                      <a:pt x="537" y="609"/>
                    </a:lnTo>
                    <a:lnTo>
                      <a:pt x="536" y="607"/>
                    </a:lnTo>
                    <a:lnTo>
                      <a:pt x="533" y="607"/>
                    </a:lnTo>
                    <a:lnTo>
                      <a:pt x="531" y="607"/>
                    </a:lnTo>
                    <a:lnTo>
                      <a:pt x="528" y="607"/>
                    </a:lnTo>
                    <a:lnTo>
                      <a:pt x="526" y="605"/>
                    </a:lnTo>
                    <a:lnTo>
                      <a:pt x="525" y="602"/>
                    </a:lnTo>
                    <a:lnTo>
                      <a:pt x="522" y="601"/>
                    </a:lnTo>
                    <a:lnTo>
                      <a:pt x="520" y="601"/>
                    </a:lnTo>
                    <a:lnTo>
                      <a:pt x="518" y="601"/>
                    </a:lnTo>
                    <a:lnTo>
                      <a:pt x="515" y="601"/>
                    </a:lnTo>
                    <a:lnTo>
                      <a:pt x="515" y="602"/>
                    </a:lnTo>
                    <a:lnTo>
                      <a:pt x="514" y="602"/>
                    </a:lnTo>
                    <a:lnTo>
                      <a:pt x="512" y="601"/>
                    </a:lnTo>
                    <a:lnTo>
                      <a:pt x="510" y="599"/>
                    </a:lnTo>
                    <a:lnTo>
                      <a:pt x="506" y="601"/>
                    </a:lnTo>
                    <a:lnTo>
                      <a:pt x="506" y="602"/>
                    </a:lnTo>
                    <a:lnTo>
                      <a:pt x="504" y="602"/>
                    </a:lnTo>
                    <a:lnTo>
                      <a:pt x="503" y="601"/>
                    </a:lnTo>
                    <a:lnTo>
                      <a:pt x="501" y="601"/>
                    </a:lnTo>
                    <a:lnTo>
                      <a:pt x="499" y="601"/>
                    </a:lnTo>
                    <a:lnTo>
                      <a:pt x="498" y="601"/>
                    </a:lnTo>
                    <a:lnTo>
                      <a:pt x="495" y="601"/>
                    </a:lnTo>
                    <a:lnTo>
                      <a:pt x="493" y="601"/>
                    </a:lnTo>
                    <a:lnTo>
                      <a:pt x="493" y="602"/>
                    </a:lnTo>
                    <a:lnTo>
                      <a:pt x="491" y="604"/>
                    </a:lnTo>
                    <a:lnTo>
                      <a:pt x="490" y="605"/>
                    </a:lnTo>
                    <a:lnTo>
                      <a:pt x="487" y="605"/>
                    </a:lnTo>
                    <a:lnTo>
                      <a:pt x="485" y="604"/>
                    </a:lnTo>
                    <a:lnTo>
                      <a:pt x="484" y="604"/>
                    </a:lnTo>
                    <a:lnTo>
                      <a:pt x="482" y="604"/>
                    </a:lnTo>
                    <a:lnTo>
                      <a:pt x="479" y="604"/>
                    </a:lnTo>
                    <a:lnTo>
                      <a:pt x="477" y="604"/>
                    </a:lnTo>
                    <a:lnTo>
                      <a:pt x="474" y="604"/>
                    </a:lnTo>
                    <a:lnTo>
                      <a:pt x="474" y="602"/>
                    </a:lnTo>
                    <a:lnTo>
                      <a:pt x="472" y="602"/>
                    </a:lnTo>
                    <a:lnTo>
                      <a:pt x="472" y="601"/>
                    </a:lnTo>
                    <a:lnTo>
                      <a:pt x="474" y="599"/>
                    </a:lnTo>
                    <a:lnTo>
                      <a:pt x="474" y="597"/>
                    </a:lnTo>
                    <a:lnTo>
                      <a:pt x="476" y="596"/>
                    </a:lnTo>
                    <a:lnTo>
                      <a:pt x="476" y="594"/>
                    </a:lnTo>
                    <a:lnTo>
                      <a:pt x="476" y="593"/>
                    </a:lnTo>
                    <a:lnTo>
                      <a:pt x="477" y="591"/>
                    </a:lnTo>
                    <a:lnTo>
                      <a:pt x="477" y="590"/>
                    </a:lnTo>
                    <a:lnTo>
                      <a:pt x="477" y="588"/>
                    </a:lnTo>
                    <a:lnTo>
                      <a:pt x="477" y="586"/>
                    </a:lnTo>
                    <a:lnTo>
                      <a:pt x="477" y="585"/>
                    </a:lnTo>
                    <a:lnTo>
                      <a:pt x="477" y="583"/>
                    </a:lnTo>
                    <a:lnTo>
                      <a:pt x="476" y="583"/>
                    </a:lnTo>
                    <a:lnTo>
                      <a:pt x="474" y="583"/>
                    </a:lnTo>
                    <a:lnTo>
                      <a:pt x="471" y="583"/>
                    </a:lnTo>
                    <a:lnTo>
                      <a:pt x="469" y="583"/>
                    </a:lnTo>
                    <a:lnTo>
                      <a:pt x="468" y="583"/>
                    </a:lnTo>
                    <a:lnTo>
                      <a:pt x="466" y="582"/>
                    </a:lnTo>
                    <a:lnTo>
                      <a:pt x="465" y="580"/>
                    </a:lnTo>
                    <a:lnTo>
                      <a:pt x="463" y="582"/>
                    </a:lnTo>
                    <a:lnTo>
                      <a:pt x="461" y="580"/>
                    </a:lnTo>
                    <a:lnTo>
                      <a:pt x="458" y="580"/>
                    </a:lnTo>
                    <a:lnTo>
                      <a:pt x="458" y="578"/>
                    </a:lnTo>
                    <a:lnTo>
                      <a:pt x="455" y="578"/>
                    </a:lnTo>
                    <a:lnTo>
                      <a:pt x="452" y="578"/>
                    </a:lnTo>
                    <a:lnTo>
                      <a:pt x="449" y="578"/>
                    </a:lnTo>
                    <a:lnTo>
                      <a:pt x="447" y="578"/>
                    </a:lnTo>
                    <a:lnTo>
                      <a:pt x="446" y="578"/>
                    </a:lnTo>
                    <a:lnTo>
                      <a:pt x="444" y="577"/>
                    </a:lnTo>
                    <a:lnTo>
                      <a:pt x="442" y="577"/>
                    </a:lnTo>
                    <a:lnTo>
                      <a:pt x="442" y="575"/>
                    </a:lnTo>
                    <a:lnTo>
                      <a:pt x="441" y="575"/>
                    </a:lnTo>
                    <a:lnTo>
                      <a:pt x="441" y="574"/>
                    </a:lnTo>
                    <a:lnTo>
                      <a:pt x="441" y="572"/>
                    </a:lnTo>
                    <a:lnTo>
                      <a:pt x="439" y="572"/>
                    </a:lnTo>
                    <a:lnTo>
                      <a:pt x="439" y="571"/>
                    </a:lnTo>
                    <a:lnTo>
                      <a:pt x="439" y="569"/>
                    </a:lnTo>
                    <a:lnTo>
                      <a:pt x="438" y="569"/>
                    </a:lnTo>
                    <a:lnTo>
                      <a:pt x="438" y="567"/>
                    </a:lnTo>
                    <a:lnTo>
                      <a:pt x="436" y="567"/>
                    </a:lnTo>
                    <a:lnTo>
                      <a:pt x="436" y="566"/>
                    </a:lnTo>
                    <a:lnTo>
                      <a:pt x="434" y="566"/>
                    </a:lnTo>
                    <a:lnTo>
                      <a:pt x="434" y="564"/>
                    </a:lnTo>
                    <a:lnTo>
                      <a:pt x="433" y="564"/>
                    </a:lnTo>
                    <a:lnTo>
                      <a:pt x="433" y="563"/>
                    </a:lnTo>
                    <a:lnTo>
                      <a:pt x="431" y="563"/>
                    </a:lnTo>
                    <a:lnTo>
                      <a:pt x="430" y="563"/>
                    </a:lnTo>
                    <a:lnTo>
                      <a:pt x="430" y="561"/>
                    </a:lnTo>
                    <a:lnTo>
                      <a:pt x="428" y="561"/>
                    </a:lnTo>
                    <a:lnTo>
                      <a:pt x="427" y="561"/>
                    </a:lnTo>
                    <a:lnTo>
                      <a:pt x="425" y="561"/>
                    </a:lnTo>
                    <a:lnTo>
                      <a:pt x="423" y="561"/>
                    </a:lnTo>
                    <a:lnTo>
                      <a:pt x="423" y="563"/>
                    </a:lnTo>
                    <a:lnTo>
                      <a:pt x="422" y="563"/>
                    </a:lnTo>
                    <a:lnTo>
                      <a:pt x="420" y="563"/>
                    </a:lnTo>
                    <a:lnTo>
                      <a:pt x="419" y="563"/>
                    </a:lnTo>
                    <a:lnTo>
                      <a:pt x="417" y="563"/>
                    </a:lnTo>
                    <a:lnTo>
                      <a:pt x="415" y="563"/>
                    </a:lnTo>
                    <a:lnTo>
                      <a:pt x="414" y="563"/>
                    </a:lnTo>
                    <a:lnTo>
                      <a:pt x="414" y="561"/>
                    </a:lnTo>
                    <a:lnTo>
                      <a:pt x="412" y="561"/>
                    </a:lnTo>
                    <a:lnTo>
                      <a:pt x="412" y="559"/>
                    </a:lnTo>
                    <a:lnTo>
                      <a:pt x="411" y="559"/>
                    </a:lnTo>
                    <a:lnTo>
                      <a:pt x="411" y="558"/>
                    </a:lnTo>
                    <a:lnTo>
                      <a:pt x="409" y="556"/>
                    </a:lnTo>
                    <a:lnTo>
                      <a:pt x="409" y="558"/>
                    </a:lnTo>
                    <a:lnTo>
                      <a:pt x="408" y="558"/>
                    </a:lnTo>
                    <a:lnTo>
                      <a:pt x="406" y="558"/>
                    </a:lnTo>
                    <a:lnTo>
                      <a:pt x="404" y="558"/>
                    </a:lnTo>
                    <a:lnTo>
                      <a:pt x="403" y="558"/>
                    </a:lnTo>
                    <a:lnTo>
                      <a:pt x="401" y="558"/>
                    </a:lnTo>
                    <a:lnTo>
                      <a:pt x="400" y="558"/>
                    </a:lnTo>
                    <a:lnTo>
                      <a:pt x="398" y="558"/>
                    </a:lnTo>
                    <a:lnTo>
                      <a:pt x="396" y="558"/>
                    </a:lnTo>
                    <a:lnTo>
                      <a:pt x="396" y="559"/>
                    </a:lnTo>
                    <a:lnTo>
                      <a:pt x="395" y="559"/>
                    </a:lnTo>
                    <a:lnTo>
                      <a:pt x="393" y="559"/>
                    </a:lnTo>
                    <a:lnTo>
                      <a:pt x="392" y="559"/>
                    </a:lnTo>
                    <a:lnTo>
                      <a:pt x="390" y="558"/>
                    </a:lnTo>
                    <a:lnTo>
                      <a:pt x="390" y="556"/>
                    </a:lnTo>
                    <a:lnTo>
                      <a:pt x="390" y="555"/>
                    </a:lnTo>
                    <a:lnTo>
                      <a:pt x="392" y="555"/>
                    </a:lnTo>
                    <a:lnTo>
                      <a:pt x="392" y="553"/>
                    </a:lnTo>
                    <a:lnTo>
                      <a:pt x="390" y="553"/>
                    </a:lnTo>
                    <a:lnTo>
                      <a:pt x="389" y="552"/>
                    </a:lnTo>
                    <a:lnTo>
                      <a:pt x="389" y="550"/>
                    </a:lnTo>
                    <a:lnTo>
                      <a:pt x="389" y="548"/>
                    </a:lnTo>
                    <a:lnTo>
                      <a:pt x="389" y="547"/>
                    </a:lnTo>
                    <a:lnTo>
                      <a:pt x="389" y="545"/>
                    </a:lnTo>
                    <a:lnTo>
                      <a:pt x="387" y="545"/>
                    </a:lnTo>
                    <a:lnTo>
                      <a:pt x="387" y="544"/>
                    </a:lnTo>
                    <a:lnTo>
                      <a:pt x="385" y="544"/>
                    </a:lnTo>
                    <a:lnTo>
                      <a:pt x="384" y="542"/>
                    </a:lnTo>
                    <a:lnTo>
                      <a:pt x="384" y="540"/>
                    </a:lnTo>
                    <a:lnTo>
                      <a:pt x="384" y="539"/>
                    </a:lnTo>
                    <a:lnTo>
                      <a:pt x="384" y="537"/>
                    </a:lnTo>
                    <a:lnTo>
                      <a:pt x="384" y="536"/>
                    </a:lnTo>
                    <a:lnTo>
                      <a:pt x="384" y="534"/>
                    </a:lnTo>
                    <a:lnTo>
                      <a:pt x="382" y="533"/>
                    </a:lnTo>
                    <a:lnTo>
                      <a:pt x="379" y="528"/>
                    </a:lnTo>
                    <a:lnTo>
                      <a:pt x="377" y="528"/>
                    </a:lnTo>
                    <a:lnTo>
                      <a:pt x="376" y="528"/>
                    </a:lnTo>
                    <a:lnTo>
                      <a:pt x="374" y="526"/>
                    </a:lnTo>
                    <a:lnTo>
                      <a:pt x="374" y="525"/>
                    </a:lnTo>
                    <a:lnTo>
                      <a:pt x="376" y="525"/>
                    </a:lnTo>
                    <a:lnTo>
                      <a:pt x="376" y="523"/>
                    </a:lnTo>
                    <a:lnTo>
                      <a:pt x="376" y="521"/>
                    </a:lnTo>
                    <a:lnTo>
                      <a:pt x="376" y="520"/>
                    </a:lnTo>
                    <a:lnTo>
                      <a:pt x="376" y="518"/>
                    </a:lnTo>
                    <a:lnTo>
                      <a:pt x="377" y="518"/>
                    </a:lnTo>
                    <a:lnTo>
                      <a:pt x="377" y="517"/>
                    </a:lnTo>
                    <a:lnTo>
                      <a:pt x="377" y="514"/>
                    </a:lnTo>
                    <a:lnTo>
                      <a:pt x="381" y="510"/>
                    </a:lnTo>
                    <a:lnTo>
                      <a:pt x="385" y="507"/>
                    </a:lnTo>
                    <a:lnTo>
                      <a:pt x="387" y="506"/>
                    </a:lnTo>
                    <a:lnTo>
                      <a:pt x="389" y="504"/>
                    </a:lnTo>
                    <a:lnTo>
                      <a:pt x="389" y="502"/>
                    </a:lnTo>
                    <a:lnTo>
                      <a:pt x="390" y="502"/>
                    </a:lnTo>
                    <a:lnTo>
                      <a:pt x="390" y="501"/>
                    </a:lnTo>
                    <a:lnTo>
                      <a:pt x="392" y="501"/>
                    </a:lnTo>
                    <a:lnTo>
                      <a:pt x="392" y="499"/>
                    </a:lnTo>
                    <a:lnTo>
                      <a:pt x="392" y="498"/>
                    </a:lnTo>
                    <a:lnTo>
                      <a:pt x="392" y="496"/>
                    </a:lnTo>
                    <a:lnTo>
                      <a:pt x="390" y="495"/>
                    </a:lnTo>
                    <a:lnTo>
                      <a:pt x="390" y="493"/>
                    </a:lnTo>
                    <a:lnTo>
                      <a:pt x="390" y="491"/>
                    </a:lnTo>
                    <a:lnTo>
                      <a:pt x="390" y="490"/>
                    </a:lnTo>
                    <a:lnTo>
                      <a:pt x="390" y="488"/>
                    </a:lnTo>
                    <a:lnTo>
                      <a:pt x="390" y="487"/>
                    </a:lnTo>
                    <a:lnTo>
                      <a:pt x="390" y="485"/>
                    </a:lnTo>
                    <a:lnTo>
                      <a:pt x="390" y="483"/>
                    </a:lnTo>
                    <a:lnTo>
                      <a:pt x="390" y="482"/>
                    </a:lnTo>
                    <a:lnTo>
                      <a:pt x="389" y="482"/>
                    </a:lnTo>
                    <a:lnTo>
                      <a:pt x="389" y="480"/>
                    </a:lnTo>
                    <a:lnTo>
                      <a:pt x="389" y="479"/>
                    </a:lnTo>
                    <a:lnTo>
                      <a:pt x="387" y="479"/>
                    </a:lnTo>
                    <a:lnTo>
                      <a:pt x="387" y="477"/>
                    </a:lnTo>
                    <a:lnTo>
                      <a:pt x="387" y="476"/>
                    </a:lnTo>
                    <a:lnTo>
                      <a:pt x="387" y="474"/>
                    </a:lnTo>
                    <a:lnTo>
                      <a:pt x="387" y="472"/>
                    </a:lnTo>
                    <a:lnTo>
                      <a:pt x="387" y="471"/>
                    </a:lnTo>
                    <a:lnTo>
                      <a:pt x="385" y="471"/>
                    </a:lnTo>
                    <a:lnTo>
                      <a:pt x="385" y="469"/>
                    </a:lnTo>
                    <a:lnTo>
                      <a:pt x="385" y="468"/>
                    </a:lnTo>
                    <a:lnTo>
                      <a:pt x="384" y="466"/>
                    </a:lnTo>
                    <a:lnTo>
                      <a:pt x="384" y="464"/>
                    </a:lnTo>
                    <a:lnTo>
                      <a:pt x="385" y="464"/>
                    </a:lnTo>
                    <a:lnTo>
                      <a:pt x="384" y="463"/>
                    </a:lnTo>
                    <a:lnTo>
                      <a:pt x="384" y="461"/>
                    </a:lnTo>
                    <a:lnTo>
                      <a:pt x="384" y="460"/>
                    </a:lnTo>
                    <a:lnTo>
                      <a:pt x="384" y="458"/>
                    </a:lnTo>
                    <a:lnTo>
                      <a:pt x="384" y="457"/>
                    </a:lnTo>
                    <a:lnTo>
                      <a:pt x="384" y="455"/>
                    </a:lnTo>
                    <a:lnTo>
                      <a:pt x="384" y="453"/>
                    </a:lnTo>
                    <a:lnTo>
                      <a:pt x="384" y="452"/>
                    </a:lnTo>
                    <a:lnTo>
                      <a:pt x="384" y="450"/>
                    </a:lnTo>
                    <a:lnTo>
                      <a:pt x="385" y="450"/>
                    </a:lnTo>
                    <a:lnTo>
                      <a:pt x="385" y="449"/>
                    </a:lnTo>
                    <a:lnTo>
                      <a:pt x="385" y="447"/>
                    </a:lnTo>
                    <a:lnTo>
                      <a:pt x="385" y="445"/>
                    </a:lnTo>
                    <a:lnTo>
                      <a:pt x="385" y="444"/>
                    </a:lnTo>
                    <a:lnTo>
                      <a:pt x="387" y="442"/>
                    </a:lnTo>
                    <a:lnTo>
                      <a:pt x="389" y="441"/>
                    </a:lnTo>
                    <a:lnTo>
                      <a:pt x="389" y="439"/>
                    </a:lnTo>
                    <a:lnTo>
                      <a:pt x="390" y="439"/>
                    </a:lnTo>
                    <a:lnTo>
                      <a:pt x="390" y="437"/>
                    </a:lnTo>
                    <a:lnTo>
                      <a:pt x="390" y="436"/>
                    </a:lnTo>
                    <a:lnTo>
                      <a:pt x="392" y="436"/>
                    </a:lnTo>
                    <a:lnTo>
                      <a:pt x="392" y="434"/>
                    </a:lnTo>
                    <a:lnTo>
                      <a:pt x="393" y="434"/>
                    </a:lnTo>
                    <a:lnTo>
                      <a:pt x="393" y="433"/>
                    </a:lnTo>
                    <a:lnTo>
                      <a:pt x="393" y="431"/>
                    </a:lnTo>
                    <a:lnTo>
                      <a:pt x="393" y="430"/>
                    </a:lnTo>
                    <a:lnTo>
                      <a:pt x="393" y="428"/>
                    </a:lnTo>
                    <a:lnTo>
                      <a:pt x="395" y="428"/>
                    </a:lnTo>
                    <a:lnTo>
                      <a:pt x="395" y="426"/>
                    </a:lnTo>
                    <a:lnTo>
                      <a:pt x="395" y="425"/>
                    </a:lnTo>
                    <a:lnTo>
                      <a:pt x="396" y="423"/>
                    </a:lnTo>
                    <a:lnTo>
                      <a:pt x="396" y="422"/>
                    </a:lnTo>
                    <a:lnTo>
                      <a:pt x="398" y="422"/>
                    </a:lnTo>
                    <a:lnTo>
                      <a:pt x="398" y="420"/>
                    </a:lnTo>
                    <a:lnTo>
                      <a:pt x="398" y="418"/>
                    </a:lnTo>
                    <a:lnTo>
                      <a:pt x="398" y="417"/>
                    </a:lnTo>
                    <a:lnTo>
                      <a:pt x="400" y="417"/>
                    </a:lnTo>
                    <a:lnTo>
                      <a:pt x="400" y="415"/>
                    </a:lnTo>
                    <a:lnTo>
                      <a:pt x="401" y="414"/>
                    </a:lnTo>
                    <a:lnTo>
                      <a:pt x="401" y="412"/>
                    </a:lnTo>
                    <a:lnTo>
                      <a:pt x="403" y="412"/>
                    </a:lnTo>
                    <a:lnTo>
                      <a:pt x="403" y="411"/>
                    </a:lnTo>
                    <a:lnTo>
                      <a:pt x="404" y="409"/>
                    </a:lnTo>
                    <a:lnTo>
                      <a:pt x="404" y="407"/>
                    </a:lnTo>
                    <a:lnTo>
                      <a:pt x="406" y="407"/>
                    </a:lnTo>
                    <a:lnTo>
                      <a:pt x="408" y="407"/>
                    </a:lnTo>
                    <a:lnTo>
                      <a:pt x="408" y="406"/>
                    </a:lnTo>
                    <a:lnTo>
                      <a:pt x="409" y="406"/>
                    </a:lnTo>
                    <a:lnTo>
                      <a:pt x="411" y="406"/>
                    </a:lnTo>
                    <a:lnTo>
                      <a:pt x="412" y="404"/>
                    </a:lnTo>
                    <a:lnTo>
                      <a:pt x="414" y="404"/>
                    </a:lnTo>
                    <a:lnTo>
                      <a:pt x="414" y="403"/>
                    </a:lnTo>
                    <a:lnTo>
                      <a:pt x="415" y="403"/>
                    </a:lnTo>
                    <a:lnTo>
                      <a:pt x="417" y="403"/>
                    </a:lnTo>
                    <a:lnTo>
                      <a:pt x="417" y="401"/>
                    </a:lnTo>
                    <a:lnTo>
                      <a:pt x="419" y="401"/>
                    </a:lnTo>
                    <a:lnTo>
                      <a:pt x="420" y="401"/>
                    </a:lnTo>
                    <a:lnTo>
                      <a:pt x="422" y="399"/>
                    </a:lnTo>
                    <a:lnTo>
                      <a:pt x="423" y="399"/>
                    </a:lnTo>
                    <a:lnTo>
                      <a:pt x="425" y="399"/>
                    </a:lnTo>
                    <a:lnTo>
                      <a:pt x="427" y="399"/>
                    </a:lnTo>
                    <a:lnTo>
                      <a:pt x="428" y="399"/>
                    </a:lnTo>
                    <a:lnTo>
                      <a:pt x="430" y="399"/>
                    </a:lnTo>
                    <a:lnTo>
                      <a:pt x="430" y="398"/>
                    </a:lnTo>
                    <a:lnTo>
                      <a:pt x="430" y="396"/>
                    </a:lnTo>
                    <a:lnTo>
                      <a:pt x="430" y="395"/>
                    </a:lnTo>
                    <a:lnTo>
                      <a:pt x="430" y="393"/>
                    </a:lnTo>
                    <a:lnTo>
                      <a:pt x="431" y="392"/>
                    </a:lnTo>
                    <a:lnTo>
                      <a:pt x="431" y="390"/>
                    </a:lnTo>
                    <a:lnTo>
                      <a:pt x="431" y="388"/>
                    </a:lnTo>
                    <a:lnTo>
                      <a:pt x="431" y="387"/>
                    </a:lnTo>
                    <a:lnTo>
                      <a:pt x="430" y="385"/>
                    </a:lnTo>
                    <a:lnTo>
                      <a:pt x="430" y="384"/>
                    </a:lnTo>
                    <a:lnTo>
                      <a:pt x="430" y="382"/>
                    </a:lnTo>
                    <a:lnTo>
                      <a:pt x="430" y="380"/>
                    </a:lnTo>
                    <a:lnTo>
                      <a:pt x="430" y="379"/>
                    </a:lnTo>
                    <a:lnTo>
                      <a:pt x="430" y="377"/>
                    </a:lnTo>
                    <a:lnTo>
                      <a:pt x="431" y="376"/>
                    </a:lnTo>
                    <a:lnTo>
                      <a:pt x="431" y="374"/>
                    </a:lnTo>
                    <a:lnTo>
                      <a:pt x="430" y="374"/>
                    </a:lnTo>
                    <a:lnTo>
                      <a:pt x="430" y="373"/>
                    </a:lnTo>
                    <a:lnTo>
                      <a:pt x="428" y="373"/>
                    </a:lnTo>
                    <a:lnTo>
                      <a:pt x="428" y="371"/>
                    </a:lnTo>
                    <a:lnTo>
                      <a:pt x="428" y="369"/>
                    </a:lnTo>
                    <a:lnTo>
                      <a:pt x="428" y="368"/>
                    </a:lnTo>
                    <a:lnTo>
                      <a:pt x="428" y="366"/>
                    </a:lnTo>
                    <a:lnTo>
                      <a:pt x="428" y="365"/>
                    </a:lnTo>
                    <a:lnTo>
                      <a:pt x="428" y="363"/>
                    </a:lnTo>
                    <a:lnTo>
                      <a:pt x="428" y="361"/>
                    </a:lnTo>
                    <a:lnTo>
                      <a:pt x="430" y="360"/>
                    </a:lnTo>
                    <a:lnTo>
                      <a:pt x="430" y="358"/>
                    </a:lnTo>
                    <a:lnTo>
                      <a:pt x="430" y="357"/>
                    </a:lnTo>
                    <a:lnTo>
                      <a:pt x="430" y="355"/>
                    </a:lnTo>
                    <a:lnTo>
                      <a:pt x="430" y="354"/>
                    </a:lnTo>
                    <a:lnTo>
                      <a:pt x="430" y="352"/>
                    </a:lnTo>
                    <a:lnTo>
                      <a:pt x="430" y="350"/>
                    </a:lnTo>
                    <a:lnTo>
                      <a:pt x="430" y="349"/>
                    </a:lnTo>
                    <a:lnTo>
                      <a:pt x="430" y="347"/>
                    </a:lnTo>
                    <a:lnTo>
                      <a:pt x="428" y="346"/>
                    </a:lnTo>
                    <a:lnTo>
                      <a:pt x="428" y="344"/>
                    </a:lnTo>
                    <a:lnTo>
                      <a:pt x="428" y="342"/>
                    </a:lnTo>
                    <a:lnTo>
                      <a:pt x="428" y="341"/>
                    </a:lnTo>
                    <a:lnTo>
                      <a:pt x="428" y="339"/>
                    </a:lnTo>
                    <a:lnTo>
                      <a:pt x="430" y="339"/>
                    </a:lnTo>
                    <a:lnTo>
                      <a:pt x="430" y="338"/>
                    </a:lnTo>
                    <a:lnTo>
                      <a:pt x="430" y="336"/>
                    </a:lnTo>
                    <a:lnTo>
                      <a:pt x="430" y="335"/>
                    </a:lnTo>
                    <a:lnTo>
                      <a:pt x="430" y="333"/>
                    </a:lnTo>
                    <a:lnTo>
                      <a:pt x="428" y="333"/>
                    </a:lnTo>
                    <a:lnTo>
                      <a:pt x="428" y="331"/>
                    </a:lnTo>
                    <a:lnTo>
                      <a:pt x="428" y="330"/>
                    </a:lnTo>
                    <a:lnTo>
                      <a:pt x="428" y="328"/>
                    </a:lnTo>
                    <a:lnTo>
                      <a:pt x="428" y="327"/>
                    </a:lnTo>
                    <a:lnTo>
                      <a:pt x="428" y="325"/>
                    </a:lnTo>
                    <a:lnTo>
                      <a:pt x="430" y="323"/>
                    </a:lnTo>
                    <a:lnTo>
                      <a:pt x="430" y="322"/>
                    </a:lnTo>
                    <a:lnTo>
                      <a:pt x="430" y="320"/>
                    </a:lnTo>
                    <a:lnTo>
                      <a:pt x="430" y="319"/>
                    </a:lnTo>
                    <a:lnTo>
                      <a:pt x="430" y="317"/>
                    </a:lnTo>
                    <a:lnTo>
                      <a:pt x="428" y="317"/>
                    </a:lnTo>
                    <a:lnTo>
                      <a:pt x="428" y="316"/>
                    </a:lnTo>
                    <a:lnTo>
                      <a:pt x="428" y="314"/>
                    </a:lnTo>
                    <a:lnTo>
                      <a:pt x="427" y="314"/>
                    </a:lnTo>
                    <a:lnTo>
                      <a:pt x="427" y="312"/>
                    </a:lnTo>
                    <a:lnTo>
                      <a:pt x="428" y="312"/>
                    </a:lnTo>
                    <a:lnTo>
                      <a:pt x="428" y="311"/>
                    </a:lnTo>
                    <a:lnTo>
                      <a:pt x="430" y="309"/>
                    </a:lnTo>
                    <a:lnTo>
                      <a:pt x="430" y="308"/>
                    </a:lnTo>
                    <a:lnTo>
                      <a:pt x="431" y="308"/>
                    </a:lnTo>
                    <a:lnTo>
                      <a:pt x="431" y="306"/>
                    </a:lnTo>
                    <a:lnTo>
                      <a:pt x="433" y="304"/>
                    </a:lnTo>
                    <a:lnTo>
                      <a:pt x="433" y="303"/>
                    </a:lnTo>
                    <a:lnTo>
                      <a:pt x="434" y="301"/>
                    </a:lnTo>
                    <a:lnTo>
                      <a:pt x="434" y="300"/>
                    </a:lnTo>
                    <a:lnTo>
                      <a:pt x="436" y="300"/>
                    </a:lnTo>
                    <a:lnTo>
                      <a:pt x="436" y="298"/>
                    </a:lnTo>
                    <a:lnTo>
                      <a:pt x="438" y="297"/>
                    </a:lnTo>
                    <a:lnTo>
                      <a:pt x="438" y="295"/>
                    </a:lnTo>
                    <a:lnTo>
                      <a:pt x="439" y="295"/>
                    </a:lnTo>
                    <a:lnTo>
                      <a:pt x="439" y="293"/>
                    </a:lnTo>
                    <a:lnTo>
                      <a:pt x="439" y="292"/>
                    </a:lnTo>
                    <a:lnTo>
                      <a:pt x="441" y="292"/>
                    </a:lnTo>
                    <a:lnTo>
                      <a:pt x="441" y="290"/>
                    </a:lnTo>
                    <a:lnTo>
                      <a:pt x="442" y="289"/>
                    </a:lnTo>
                    <a:lnTo>
                      <a:pt x="442" y="287"/>
                    </a:lnTo>
                    <a:lnTo>
                      <a:pt x="441" y="287"/>
                    </a:lnTo>
                    <a:lnTo>
                      <a:pt x="442" y="285"/>
                    </a:lnTo>
                    <a:lnTo>
                      <a:pt x="441" y="284"/>
                    </a:lnTo>
                    <a:lnTo>
                      <a:pt x="441" y="282"/>
                    </a:lnTo>
                    <a:lnTo>
                      <a:pt x="439" y="282"/>
                    </a:lnTo>
                    <a:lnTo>
                      <a:pt x="439" y="281"/>
                    </a:lnTo>
                    <a:lnTo>
                      <a:pt x="439" y="279"/>
                    </a:lnTo>
                    <a:lnTo>
                      <a:pt x="438" y="278"/>
                    </a:lnTo>
                    <a:lnTo>
                      <a:pt x="438" y="276"/>
                    </a:lnTo>
                    <a:lnTo>
                      <a:pt x="436" y="274"/>
                    </a:lnTo>
                    <a:lnTo>
                      <a:pt x="436" y="273"/>
                    </a:lnTo>
                    <a:lnTo>
                      <a:pt x="438" y="273"/>
                    </a:lnTo>
                    <a:lnTo>
                      <a:pt x="439" y="273"/>
                    </a:lnTo>
                    <a:lnTo>
                      <a:pt x="441" y="273"/>
                    </a:lnTo>
                    <a:lnTo>
                      <a:pt x="442" y="274"/>
                    </a:lnTo>
                    <a:lnTo>
                      <a:pt x="444" y="274"/>
                    </a:lnTo>
                    <a:lnTo>
                      <a:pt x="446" y="274"/>
                    </a:lnTo>
                    <a:lnTo>
                      <a:pt x="446" y="276"/>
                    </a:lnTo>
                    <a:lnTo>
                      <a:pt x="447" y="276"/>
                    </a:lnTo>
                    <a:lnTo>
                      <a:pt x="447" y="274"/>
                    </a:lnTo>
                    <a:lnTo>
                      <a:pt x="449" y="273"/>
                    </a:lnTo>
                    <a:lnTo>
                      <a:pt x="453" y="260"/>
                    </a:lnTo>
                    <a:lnTo>
                      <a:pt x="455" y="259"/>
                    </a:lnTo>
                    <a:lnTo>
                      <a:pt x="455" y="257"/>
                    </a:lnTo>
                    <a:lnTo>
                      <a:pt x="457" y="255"/>
                    </a:lnTo>
                    <a:lnTo>
                      <a:pt x="460" y="252"/>
                    </a:lnTo>
                    <a:lnTo>
                      <a:pt x="461" y="249"/>
                    </a:lnTo>
                    <a:lnTo>
                      <a:pt x="461" y="247"/>
                    </a:lnTo>
                    <a:lnTo>
                      <a:pt x="463" y="244"/>
                    </a:lnTo>
                    <a:lnTo>
                      <a:pt x="463" y="238"/>
                    </a:lnTo>
                    <a:lnTo>
                      <a:pt x="463" y="235"/>
                    </a:lnTo>
                    <a:lnTo>
                      <a:pt x="465" y="232"/>
                    </a:lnTo>
                    <a:lnTo>
                      <a:pt x="465" y="222"/>
                    </a:lnTo>
                    <a:lnTo>
                      <a:pt x="465" y="217"/>
                    </a:lnTo>
                    <a:lnTo>
                      <a:pt x="466" y="217"/>
                    </a:lnTo>
                    <a:lnTo>
                      <a:pt x="466" y="216"/>
                    </a:lnTo>
                    <a:lnTo>
                      <a:pt x="466" y="214"/>
                    </a:lnTo>
                    <a:lnTo>
                      <a:pt x="468" y="213"/>
                    </a:lnTo>
                    <a:lnTo>
                      <a:pt x="469" y="213"/>
                    </a:lnTo>
                    <a:lnTo>
                      <a:pt x="471" y="211"/>
                    </a:lnTo>
                    <a:lnTo>
                      <a:pt x="474" y="209"/>
                    </a:lnTo>
                    <a:lnTo>
                      <a:pt x="474" y="208"/>
                    </a:lnTo>
                    <a:lnTo>
                      <a:pt x="476" y="208"/>
                    </a:lnTo>
                    <a:lnTo>
                      <a:pt x="477" y="206"/>
                    </a:lnTo>
                    <a:lnTo>
                      <a:pt x="480" y="206"/>
                    </a:lnTo>
                    <a:lnTo>
                      <a:pt x="484" y="206"/>
                    </a:lnTo>
                    <a:lnTo>
                      <a:pt x="485" y="206"/>
                    </a:lnTo>
                    <a:lnTo>
                      <a:pt x="488" y="205"/>
                    </a:lnTo>
                    <a:lnTo>
                      <a:pt x="490" y="203"/>
                    </a:lnTo>
                    <a:lnTo>
                      <a:pt x="491" y="201"/>
                    </a:lnTo>
                    <a:lnTo>
                      <a:pt x="493" y="200"/>
                    </a:lnTo>
                    <a:lnTo>
                      <a:pt x="495" y="197"/>
                    </a:lnTo>
                    <a:lnTo>
                      <a:pt x="496" y="197"/>
                    </a:lnTo>
                    <a:lnTo>
                      <a:pt x="496" y="194"/>
                    </a:lnTo>
                    <a:lnTo>
                      <a:pt x="498" y="190"/>
                    </a:lnTo>
                    <a:lnTo>
                      <a:pt x="498" y="189"/>
                    </a:lnTo>
                    <a:lnTo>
                      <a:pt x="498" y="186"/>
                    </a:lnTo>
                    <a:lnTo>
                      <a:pt x="499" y="184"/>
                    </a:lnTo>
                    <a:lnTo>
                      <a:pt x="498" y="179"/>
                    </a:lnTo>
                    <a:lnTo>
                      <a:pt x="498" y="178"/>
                    </a:lnTo>
                    <a:lnTo>
                      <a:pt x="498" y="173"/>
                    </a:lnTo>
                    <a:lnTo>
                      <a:pt x="498" y="168"/>
                    </a:lnTo>
                    <a:lnTo>
                      <a:pt x="498" y="165"/>
                    </a:lnTo>
                    <a:lnTo>
                      <a:pt x="498" y="163"/>
                    </a:lnTo>
                    <a:lnTo>
                      <a:pt x="498" y="162"/>
                    </a:lnTo>
                    <a:lnTo>
                      <a:pt x="498" y="160"/>
                    </a:lnTo>
                    <a:lnTo>
                      <a:pt x="496" y="157"/>
                    </a:lnTo>
                    <a:lnTo>
                      <a:pt x="496" y="154"/>
                    </a:lnTo>
                    <a:lnTo>
                      <a:pt x="496" y="152"/>
                    </a:lnTo>
                    <a:lnTo>
                      <a:pt x="496" y="151"/>
                    </a:lnTo>
                    <a:lnTo>
                      <a:pt x="495" y="148"/>
                    </a:lnTo>
                    <a:lnTo>
                      <a:pt x="495" y="144"/>
                    </a:lnTo>
                    <a:lnTo>
                      <a:pt x="495" y="143"/>
                    </a:lnTo>
                    <a:lnTo>
                      <a:pt x="493" y="140"/>
                    </a:lnTo>
                    <a:lnTo>
                      <a:pt x="493" y="137"/>
                    </a:lnTo>
                    <a:lnTo>
                      <a:pt x="493" y="135"/>
                    </a:lnTo>
                    <a:lnTo>
                      <a:pt x="493" y="130"/>
                    </a:lnTo>
                    <a:lnTo>
                      <a:pt x="493" y="129"/>
                    </a:lnTo>
                    <a:lnTo>
                      <a:pt x="491" y="122"/>
                    </a:lnTo>
                    <a:lnTo>
                      <a:pt x="491" y="116"/>
                    </a:lnTo>
                    <a:lnTo>
                      <a:pt x="491" y="113"/>
                    </a:lnTo>
                    <a:lnTo>
                      <a:pt x="491" y="111"/>
                    </a:lnTo>
                    <a:lnTo>
                      <a:pt x="491" y="106"/>
                    </a:lnTo>
                    <a:lnTo>
                      <a:pt x="490" y="102"/>
                    </a:lnTo>
                    <a:lnTo>
                      <a:pt x="490" y="97"/>
                    </a:lnTo>
                    <a:lnTo>
                      <a:pt x="490" y="94"/>
                    </a:lnTo>
                    <a:lnTo>
                      <a:pt x="490" y="91"/>
                    </a:lnTo>
                    <a:lnTo>
                      <a:pt x="490" y="87"/>
                    </a:lnTo>
                    <a:lnTo>
                      <a:pt x="490" y="84"/>
                    </a:lnTo>
                    <a:lnTo>
                      <a:pt x="490" y="83"/>
                    </a:lnTo>
                    <a:lnTo>
                      <a:pt x="501" y="70"/>
                    </a:lnTo>
                    <a:lnTo>
                      <a:pt x="504" y="70"/>
                    </a:lnTo>
                    <a:lnTo>
                      <a:pt x="514" y="65"/>
                    </a:lnTo>
                    <a:lnTo>
                      <a:pt x="518" y="64"/>
                    </a:lnTo>
                    <a:lnTo>
                      <a:pt x="523" y="59"/>
                    </a:lnTo>
                    <a:lnTo>
                      <a:pt x="525" y="57"/>
                    </a:lnTo>
                    <a:lnTo>
                      <a:pt x="539" y="48"/>
                    </a:lnTo>
                    <a:lnTo>
                      <a:pt x="541" y="46"/>
                    </a:lnTo>
                    <a:lnTo>
                      <a:pt x="542" y="45"/>
                    </a:lnTo>
                    <a:lnTo>
                      <a:pt x="545" y="43"/>
                    </a:lnTo>
                    <a:lnTo>
                      <a:pt x="552" y="38"/>
                    </a:lnTo>
                    <a:lnTo>
                      <a:pt x="552" y="37"/>
                    </a:lnTo>
                    <a:lnTo>
                      <a:pt x="553" y="35"/>
                    </a:lnTo>
                    <a:lnTo>
                      <a:pt x="563" y="27"/>
                    </a:lnTo>
                    <a:lnTo>
                      <a:pt x="564" y="27"/>
                    </a:lnTo>
                    <a:lnTo>
                      <a:pt x="566" y="27"/>
                    </a:lnTo>
                    <a:lnTo>
                      <a:pt x="566" y="30"/>
                    </a:lnTo>
                    <a:lnTo>
                      <a:pt x="566" y="32"/>
                    </a:lnTo>
                    <a:lnTo>
                      <a:pt x="566" y="34"/>
                    </a:lnTo>
                    <a:lnTo>
                      <a:pt x="566" y="35"/>
                    </a:lnTo>
                    <a:lnTo>
                      <a:pt x="566" y="37"/>
                    </a:lnTo>
                    <a:lnTo>
                      <a:pt x="566" y="38"/>
                    </a:lnTo>
                    <a:lnTo>
                      <a:pt x="566" y="40"/>
                    </a:lnTo>
                    <a:lnTo>
                      <a:pt x="567" y="40"/>
                    </a:lnTo>
                    <a:lnTo>
                      <a:pt x="567" y="41"/>
                    </a:lnTo>
                    <a:lnTo>
                      <a:pt x="567" y="43"/>
                    </a:lnTo>
                    <a:lnTo>
                      <a:pt x="567" y="45"/>
                    </a:lnTo>
                    <a:lnTo>
                      <a:pt x="569" y="45"/>
                    </a:lnTo>
                    <a:lnTo>
                      <a:pt x="569" y="46"/>
                    </a:lnTo>
                    <a:lnTo>
                      <a:pt x="569" y="48"/>
                    </a:lnTo>
                    <a:lnTo>
                      <a:pt x="571" y="48"/>
                    </a:lnTo>
                    <a:lnTo>
                      <a:pt x="569" y="49"/>
                    </a:lnTo>
                    <a:lnTo>
                      <a:pt x="569" y="51"/>
                    </a:lnTo>
                    <a:lnTo>
                      <a:pt x="569" y="53"/>
                    </a:lnTo>
                    <a:lnTo>
                      <a:pt x="569" y="54"/>
                    </a:lnTo>
                    <a:lnTo>
                      <a:pt x="569" y="56"/>
                    </a:lnTo>
                    <a:lnTo>
                      <a:pt x="571" y="56"/>
                    </a:lnTo>
                    <a:lnTo>
                      <a:pt x="571" y="57"/>
                    </a:lnTo>
                    <a:lnTo>
                      <a:pt x="571" y="59"/>
                    </a:lnTo>
                    <a:lnTo>
                      <a:pt x="571" y="60"/>
                    </a:lnTo>
                    <a:lnTo>
                      <a:pt x="569" y="60"/>
                    </a:lnTo>
                    <a:lnTo>
                      <a:pt x="569" y="62"/>
                    </a:lnTo>
                    <a:lnTo>
                      <a:pt x="569" y="64"/>
                    </a:lnTo>
                    <a:lnTo>
                      <a:pt x="571" y="64"/>
                    </a:lnTo>
                    <a:lnTo>
                      <a:pt x="571" y="65"/>
                    </a:lnTo>
                    <a:lnTo>
                      <a:pt x="572" y="65"/>
                    </a:lnTo>
                    <a:lnTo>
                      <a:pt x="574" y="65"/>
                    </a:lnTo>
                    <a:lnTo>
                      <a:pt x="575" y="65"/>
                    </a:lnTo>
                    <a:lnTo>
                      <a:pt x="577" y="65"/>
                    </a:lnTo>
                    <a:lnTo>
                      <a:pt x="579" y="65"/>
                    </a:lnTo>
                    <a:lnTo>
                      <a:pt x="580" y="65"/>
                    </a:lnTo>
                    <a:lnTo>
                      <a:pt x="582" y="65"/>
                    </a:lnTo>
                    <a:lnTo>
                      <a:pt x="583" y="65"/>
                    </a:lnTo>
                    <a:lnTo>
                      <a:pt x="585" y="67"/>
                    </a:lnTo>
                    <a:lnTo>
                      <a:pt x="587" y="67"/>
                    </a:lnTo>
                    <a:lnTo>
                      <a:pt x="588" y="67"/>
                    </a:lnTo>
                    <a:lnTo>
                      <a:pt x="590" y="67"/>
                    </a:lnTo>
                    <a:lnTo>
                      <a:pt x="591" y="68"/>
                    </a:lnTo>
                    <a:lnTo>
                      <a:pt x="585" y="72"/>
                    </a:lnTo>
                    <a:lnTo>
                      <a:pt x="585" y="73"/>
                    </a:lnTo>
                    <a:lnTo>
                      <a:pt x="583" y="75"/>
                    </a:lnTo>
                    <a:lnTo>
                      <a:pt x="582" y="76"/>
                    </a:lnTo>
                    <a:lnTo>
                      <a:pt x="582" y="78"/>
                    </a:lnTo>
                    <a:lnTo>
                      <a:pt x="580" y="78"/>
                    </a:lnTo>
                    <a:lnTo>
                      <a:pt x="580" y="80"/>
                    </a:lnTo>
                    <a:lnTo>
                      <a:pt x="579" y="81"/>
                    </a:lnTo>
                    <a:lnTo>
                      <a:pt x="579" y="83"/>
                    </a:lnTo>
                    <a:lnTo>
                      <a:pt x="580" y="84"/>
                    </a:lnTo>
                    <a:lnTo>
                      <a:pt x="582" y="86"/>
                    </a:lnTo>
                    <a:lnTo>
                      <a:pt x="583" y="87"/>
                    </a:lnTo>
                    <a:lnTo>
                      <a:pt x="583" y="86"/>
                    </a:lnTo>
                    <a:lnTo>
                      <a:pt x="583" y="87"/>
                    </a:lnTo>
                    <a:lnTo>
                      <a:pt x="585" y="87"/>
                    </a:lnTo>
                    <a:lnTo>
                      <a:pt x="585" y="89"/>
                    </a:lnTo>
                    <a:lnTo>
                      <a:pt x="585" y="91"/>
                    </a:lnTo>
                    <a:lnTo>
                      <a:pt x="583" y="91"/>
                    </a:lnTo>
                    <a:lnTo>
                      <a:pt x="582" y="91"/>
                    </a:lnTo>
                    <a:lnTo>
                      <a:pt x="583" y="92"/>
                    </a:lnTo>
                    <a:lnTo>
                      <a:pt x="587" y="94"/>
                    </a:lnTo>
                    <a:lnTo>
                      <a:pt x="588" y="97"/>
                    </a:lnTo>
                    <a:lnTo>
                      <a:pt x="591" y="99"/>
                    </a:lnTo>
                    <a:lnTo>
                      <a:pt x="593" y="100"/>
                    </a:lnTo>
                    <a:lnTo>
                      <a:pt x="594" y="102"/>
                    </a:lnTo>
                    <a:lnTo>
                      <a:pt x="598" y="103"/>
                    </a:lnTo>
                    <a:lnTo>
                      <a:pt x="601" y="106"/>
                    </a:lnTo>
                    <a:lnTo>
                      <a:pt x="602" y="108"/>
                    </a:lnTo>
                    <a:lnTo>
                      <a:pt x="604" y="106"/>
                    </a:lnTo>
                    <a:lnTo>
                      <a:pt x="606" y="105"/>
                    </a:lnTo>
                    <a:lnTo>
                      <a:pt x="607" y="103"/>
                    </a:lnTo>
                    <a:lnTo>
                      <a:pt x="610" y="89"/>
                    </a:lnTo>
                    <a:lnTo>
                      <a:pt x="612" y="87"/>
                    </a:lnTo>
                    <a:lnTo>
                      <a:pt x="613" y="86"/>
                    </a:lnTo>
                    <a:lnTo>
                      <a:pt x="613" y="84"/>
                    </a:lnTo>
                    <a:lnTo>
                      <a:pt x="615" y="84"/>
                    </a:lnTo>
                    <a:lnTo>
                      <a:pt x="617" y="83"/>
                    </a:lnTo>
                    <a:lnTo>
                      <a:pt x="618" y="81"/>
                    </a:lnTo>
                    <a:lnTo>
                      <a:pt x="620" y="81"/>
                    </a:lnTo>
                    <a:lnTo>
                      <a:pt x="620" y="80"/>
                    </a:lnTo>
                    <a:lnTo>
                      <a:pt x="621" y="80"/>
                    </a:lnTo>
                    <a:lnTo>
                      <a:pt x="621" y="78"/>
                    </a:lnTo>
                    <a:lnTo>
                      <a:pt x="623" y="78"/>
                    </a:lnTo>
                    <a:lnTo>
                      <a:pt x="625" y="76"/>
                    </a:lnTo>
                    <a:lnTo>
                      <a:pt x="626" y="75"/>
                    </a:lnTo>
                    <a:lnTo>
                      <a:pt x="628" y="73"/>
                    </a:lnTo>
                    <a:lnTo>
                      <a:pt x="629" y="73"/>
                    </a:lnTo>
                    <a:lnTo>
                      <a:pt x="629" y="72"/>
                    </a:lnTo>
                    <a:lnTo>
                      <a:pt x="631" y="70"/>
                    </a:lnTo>
                    <a:lnTo>
                      <a:pt x="632" y="68"/>
                    </a:lnTo>
                    <a:lnTo>
                      <a:pt x="634" y="67"/>
                    </a:lnTo>
                    <a:lnTo>
                      <a:pt x="636" y="67"/>
                    </a:lnTo>
                    <a:lnTo>
                      <a:pt x="637" y="65"/>
                    </a:lnTo>
                    <a:lnTo>
                      <a:pt x="639" y="65"/>
                    </a:lnTo>
                    <a:lnTo>
                      <a:pt x="640" y="64"/>
                    </a:lnTo>
                    <a:lnTo>
                      <a:pt x="640" y="62"/>
                    </a:lnTo>
                    <a:lnTo>
                      <a:pt x="640" y="60"/>
                    </a:lnTo>
                    <a:lnTo>
                      <a:pt x="640" y="59"/>
                    </a:lnTo>
                    <a:lnTo>
                      <a:pt x="640" y="57"/>
                    </a:lnTo>
                    <a:lnTo>
                      <a:pt x="642" y="57"/>
                    </a:lnTo>
                    <a:lnTo>
                      <a:pt x="644" y="57"/>
                    </a:lnTo>
                    <a:lnTo>
                      <a:pt x="645" y="57"/>
                    </a:lnTo>
                    <a:lnTo>
                      <a:pt x="647" y="57"/>
                    </a:lnTo>
                    <a:lnTo>
                      <a:pt x="648" y="57"/>
                    </a:lnTo>
                    <a:lnTo>
                      <a:pt x="650" y="57"/>
                    </a:lnTo>
                    <a:lnTo>
                      <a:pt x="651" y="57"/>
                    </a:lnTo>
                    <a:lnTo>
                      <a:pt x="653" y="57"/>
                    </a:lnTo>
                    <a:lnTo>
                      <a:pt x="655" y="57"/>
                    </a:lnTo>
                    <a:lnTo>
                      <a:pt x="656" y="57"/>
                    </a:lnTo>
                    <a:lnTo>
                      <a:pt x="658" y="57"/>
                    </a:lnTo>
                    <a:lnTo>
                      <a:pt x="658" y="56"/>
                    </a:lnTo>
                    <a:lnTo>
                      <a:pt x="659" y="56"/>
                    </a:lnTo>
                    <a:lnTo>
                      <a:pt x="659" y="54"/>
                    </a:lnTo>
                    <a:lnTo>
                      <a:pt x="661" y="54"/>
                    </a:lnTo>
                    <a:lnTo>
                      <a:pt x="661" y="53"/>
                    </a:lnTo>
                    <a:lnTo>
                      <a:pt x="661" y="51"/>
                    </a:lnTo>
                    <a:lnTo>
                      <a:pt x="661" y="49"/>
                    </a:lnTo>
                    <a:lnTo>
                      <a:pt x="661" y="48"/>
                    </a:lnTo>
                    <a:lnTo>
                      <a:pt x="661" y="46"/>
                    </a:lnTo>
                    <a:lnTo>
                      <a:pt x="661" y="45"/>
                    </a:lnTo>
                    <a:lnTo>
                      <a:pt x="661" y="43"/>
                    </a:lnTo>
                    <a:lnTo>
                      <a:pt x="663" y="43"/>
                    </a:lnTo>
                    <a:lnTo>
                      <a:pt x="663" y="41"/>
                    </a:lnTo>
                    <a:lnTo>
                      <a:pt x="663" y="40"/>
                    </a:lnTo>
                    <a:lnTo>
                      <a:pt x="663" y="38"/>
                    </a:lnTo>
                    <a:lnTo>
                      <a:pt x="663" y="37"/>
                    </a:lnTo>
                    <a:lnTo>
                      <a:pt x="663" y="35"/>
                    </a:lnTo>
                    <a:lnTo>
                      <a:pt x="663" y="34"/>
                    </a:lnTo>
                    <a:lnTo>
                      <a:pt x="664" y="34"/>
                    </a:lnTo>
                    <a:lnTo>
                      <a:pt x="664" y="32"/>
                    </a:lnTo>
                    <a:lnTo>
                      <a:pt x="664" y="30"/>
                    </a:lnTo>
                    <a:lnTo>
                      <a:pt x="664" y="29"/>
                    </a:lnTo>
                    <a:lnTo>
                      <a:pt x="666" y="27"/>
                    </a:lnTo>
                    <a:lnTo>
                      <a:pt x="666" y="26"/>
                    </a:lnTo>
                    <a:lnTo>
                      <a:pt x="666" y="24"/>
                    </a:lnTo>
                    <a:lnTo>
                      <a:pt x="666" y="22"/>
                    </a:lnTo>
                    <a:lnTo>
                      <a:pt x="666" y="21"/>
                    </a:lnTo>
                    <a:lnTo>
                      <a:pt x="666" y="19"/>
                    </a:lnTo>
                    <a:lnTo>
                      <a:pt x="666" y="18"/>
                    </a:lnTo>
                    <a:lnTo>
                      <a:pt x="667" y="18"/>
                    </a:lnTo>
                    <a:lnTo>
                      <a:pt x="667" y="16"/>
                    </a:lnTo>
                    <a:lnTo>
                      <a:pt x="667" y="15"/>
                    </a:lnTo>
                    <a:lnTo>
                      <a:pt x="667" y="13"/>
                    </a:lnTo>
                    <a:lnTo>
                      <a:pt x="667" y="11"/>
                    </a:lnTo>
                    <a:lnTo>
                      <a:pt x="667" y="10"/>
                    </a:lnTo>
                    <a:lnTo>
                      <a:pt x="669" y="10"/>
                    </a:lnTo>
                    <a:lnTo>
                      <a:pt x="669" y="8"/>
                    </a:lnTo>
                    <a:lnTo>
                      <a:pt x="669" y="7"/>
                    </a:lnTo>
                    <a:lnTo>
                      <a:pt x="669" y="5"/>
                    </a:lnTo>
                    <a:lnTo>
                      <a:pt x="669" y="3"/>
                    </a:lnTo>
                    <a:lnTo>
                      <a:pt x="669" y="2"/>
                    </a:lnTo>
                    <a:lnTo>
                      <a:pt x="670" y="0"/>
                    </a:lnTo>
                    <a:lnTo>
                      <a:pt x="675" y="0"/>
                    </a:lnTo>
                    <a:lnTo>
                      <a:pt x="677" y="2"/>
                    </a:lnTo>
                    <a:lnTo>
                      <a:pt x="678" y="2"/>
                    </a:lnTo>
                    <a:lnTo>
                      <a:pt x="680" y="3"/>
                    </a:lnTo>
                    <a:lnTo>
                      <a:pt x="682" y="3"/>
                    </a:lnTo>
                    <a:lnTo>
                      <a:pt x="683" y="3"/>
                    </a:lnTo>
                    <a:lnTo>
                      <a:pt x="685" y="3"/>
                    </a:lnTo>
                    <a:close/>
                    <a:moveTo>
                      <a:pt x="537" y="480"/>
                    </a:moveTo>
                    <a:lnTo>
                      <a:pt x="534" y="482"/>
                    </a:lnTo>
                    <a:lnTo>
                      <a:pt x="533" y="483"/>
                    </a:lnTo>
                    <a:lnTo>
                      <a:pt x="531" y="483"/>
                    </a:lnTo>
                    <a:lnTo>
                      <a:pt x="529" y="485"/>
                    </a:lnTo>
                    <a:lnTo>
                      <a:pt x="528" y="485"/>
                    </a:lnTo>
                    <a:lnTo>
                      <a:pt x="526" y="487"/>
                    </a:lnTo>
                    <a:lnTo>
                      <a:pt x="525" y="487"/>
                    </a:lnTo>
                    <a:lnTo>
                      <a:pt x="523" y="485"/>
                    </a:lnTo>
                    <a:lnTo>
                      <a:pt x="520" y="485"/>
                    </a:lnTo>
                    <a:lnTo>
                      <a:pt x="517" y="485"/>
                    </a:lnTo>
                    <a:lnTo>
                      <a:pt x="515" y="485"/>
                    </a:lnTo>
                    <a:lnTo>
                      <a:pt x="514" y="485"/>
                    </a:lnTo>
                    <a:lnTo>
                      <a:pt x="512" y="483"/>
                    </a:lnTo>
                    <a:lnTo>
                      <a:pt x="509" y="482"/>
                    </a:lnTo>
                    <a:lnTo>
                      <a:pt x="504" y="482"/>
                    </a:lnTo>
                    <a:lnTo>
                      <a:pt x="501" y="482"/>
                    </a:lnTo>
                    <a:lnTo>
                      <a:pt x="499" y="482"/>
                    </a:lnTo>
                    <a:lnTo>
                      <a:pt x="498" y="482"/>
                    </a:lnTo>
                    <a:lnTo>
                      <a:pt x="496" y="482"/>
                    </a:lnTo>
                    <a:lnTo>
                      <a:pt x="493" y="482"/>
                    </a:lnTo>
                    <a:lnTo>
                      <a:pt x="490" y="482"/>
                    </a:lnTo>
                    <a:lnTo>
                      <a:pt x="487" y="480"/>
                    </a:lnTo>
                    <a:lnTo>
                      <a:pt x="484" y="480"/>
                    </a:lnTo>
                    <a:lnTo>
                      <a:pt x="484" y="483"/>
                    </a:lnTo>
                    <a:lnTo>
                      <a:pt x="484" y="487"/>
                    </a:lnTo>
                    <a:lnTo>
                      <a:pt x="485" y="491"/>
                    </a:lnTo>
                    <a:lnTo>
                      <a:pt x="487" y="498"/>
                    </a:lnTo>
                    <a:lnTo>
                      <a:pt x="487" y="501"/>
                    </a:lnTo>
                    <a:lnTo>
                      <a:pt x="487" y="502"/>
                    </a:lnTo>
                    <a:lnTo>
                      <a:pt x="487" y="506"/>
                    </a:lnTo>
                    <a:lnTo>
                      <a:pt x="487" y="512"/>
                    </a:lnTo>
                    <a:lnTo>
                      <a:pt x="487" y="514"/>
                    </a:lnTo>
                    <a:lnTo>
                      <a:pt x="487" y="515"/>
                    </a:lnTo>
                    <a:lnTo>
                      <a:pt x="487" y="517"/>
                    </a:lnTo>
                    <a:lnTo>
                      <a:pt x="485" y="518"/>
                    </a:lnTo>
                    <a:lnTo>
                      <a:pt x="485" y="520"/>
                    </a:lnTo>
                    <a:lnTo>
                      <a:pt x="484" y="521"/>
                    </a:lnTo>
                    <a:lnTo>
                      <a:pt x="482" y="523"/>
                    </a:lnTo>
                    <a:lnTo>
                      <a:pt x="480" y="526"/>
                    </a:lnTo>
                    <a:lnTo>
                      <a:pt x="479" y="526"/>
                    </a:lnTo>
                    <a:lnTo>
                      <a:pt x="477" y="526"/>
                    </a:lnTo>
                    <a:lnTo>
                      <a:pt x="476" y="526"/>
                    </a:lnTo>
                    <a:lnTo>
                      <a:pt x="474" y="528"/>
                    </a:lnTo>
                    <a:lnTo>
                      <a:pt x="469" y="529"/>
                    </a:lnTo>
                    <a:lnTo>
                      <a:pt x="466" y="531"/>
                    </a:lnTo>
                    <a:lnTo>
                      <a:pt x="463" y="534"/>
                    </a:lnTo>
                    <a:lnTo>
                      <a:pt x="463" y="536"/>
                    </a:lnTo>
                    <a:lnTo>
                      <a:pt x="460" y="536"/>
                    </a:lnTo>
                    <a:lnTo>
                      <a:pt x="458" y="536"/>
                    </a:lnTo>
                    <a:lnTo>
                      <a:pt x="457" y="537"/>
                    </a:lnTo>
                    <a:lnTo>
                      <a:pt x="455" y="537"/>
                    </a:lnTo>
                    <a:lnTo>
                      <a:pt x="453" y="537"/>
                    </a:lnTo>
                    <a:lnTo>
                      <a:pt x="457" y="544"/>
                    </a:lnTo>
                    <a:lnTo>
                      <a:pt x="463" y="553"/>
                    </a:lnTo>
                    <a:lnTo>
                      <a:pt x="468" y="567"/>
                    </a:lnTo>
                    <a:lnTo>
                      <a:pt x="472" y="575"/>
                    </a:lnTo>
                    <a:lnTo>
                      <a:pt x="476" y="582"/>
                    </a:lnTo>
                    <a:lnTo>
                      <a:pt x="479" y="575"/>
                    </a:lnTo>
                    <a:lnTo>
                      <a:pt x="480" y="571"/>
                    </a:lnTo>
                    <a:lnTo>
                      <a:pt x="480" y="566"/>
                    </a:lnTo>
                    <a:lnTo>
                      <a:pt x="485" y="559"/>
                    </a:lnTo>
                    <a:lnTo>
                      <a:pt x="488" y="555"/>
                    </a:lnTo>
                    <a:lnTo>
                      <a:pt x="488" y="552"/>
                    </a:lnTo>
                    <a:lnTo>
                      <a:pt x="493" y="547"/>
                    </a:lnTo>
                    <a:lnTo>
                      <a:pt x="499" y="547"/>
                    </a:lnTo>
                    <a:lnTo>
                      <a:pt x="507" y="547"/>
                    </a:lnTo>
                    <a:lnTo>
                      <a:pt x="517" y="545"/>
                    </a:lnTo>
                    <a:lnTo>
                      <a:pt x="526" y="547"/>
                    </a:lnTo>
                    <a:lnTo>
                      <a:pt x="534" y="548"/>
                    </a:lnTo>
                    <a:lnTo>
                      <a:pt x="537" y="547"/>
                    </a:lnTo>
                    <a:lnTo>
                      <a:pt x="544" y="544"/>
                    </a:lnTo>
                    <a:lnTo>
                      <a:pt x="548" y="545"/>
                    </a:lnTo>
                    <a:lnTo>
                      <a:pt x="560" y="537"/>
                    </a:lnTo>
                    <a:lnTo>
                      <a:pt x="569" y="536"/>
                    </a:lnTo>
                    <a:lnTo>
                      <a:pt x="580" y="534"/>
                    </a:lnTo>
                    <a:lnTo>
                      <a:pt x="582" y="536"/>
                    </a:lnTo>
                    <a:lnTo>
                      <a:pt x="629" y="531"/>
                    </a:lnTo>
                    <a:lnTo>
                      <a:pt x="632" y="531"/>
                    </a:lnTo>
                    <a:lnTo>
                      <a:pt x="634" y="531"/>
                    </a:lnTo>
                    <a:lnTo>
                      <a:pt x="637" y="531"/>
                    </a:lnTo>
                    <a:lnTo>
                      <a:pt x="640" y="531"/>
                    </a:lnTo>
                    <a:lnTo>
                      <a:pt x="642" y="531"/>
                    </a:lnTo>
                    <a:lnTo>
                      <a:pt x="644" y="531"/>
                    </a:lnTo>
                    <a:lnTo>
                      <a:pt x="645" y="531"/>
                    </a:lnTo>
                    <a:lnTo>
                      <a:pt x="645" y="529"/>
                    </a:lnTo>
                    <a:lnTo>
                      <a:pt x="645" y="528"/>
                    </a:lnTo>
                    <a:lnTo>
                      <a:pt x="645" y="525"/>
                    </a:lnTo>
                    <a:lnTo>
                      <a:pt x="645" y="520"/>
                    </a:lnTo>
                    <a:lnTo>
                      <a:pt x="644" y="518"/>
                    </a:lnTo>
                    <a:lnTo>
                      <a:pt x="644" y="515"/>
                    </a:lnTo>
                    <a:lnTo>
                      <a:pt x="644" y="510"/>
                    </a:lnTo>
                    <a:lnTo>
                      <a:pt x="644" y="507"/>
                    </a:lnTo>
                    <a:lnTo>
                      <a:pt x="644" y="502"/>
                    </a:lnTo>
                    <a:lnTo>
                      <a:pt x="642" y="496"/>
                    </a:lnTo>
                    <a:lnTo>
                      <a:pt x="642" y="495"/>
                    </a:lnTo>
                    <a:lnTo>
                      <a:pt x="642" y="491"/>
                    </a:lnTo>
                    <a:lnTo>
                      <a:pt x="642" y="488"/>
                    </a:lnTo>
                    <a:lnTo>
                      <a:pt x="640" y="487"/>
                    </a:lnTo>
                    <a:lnTo>
                      <a:pt x="640" y="483"/>
                    </a:lnTo>
                    <a:lnTo>
                      <a:pt x="640" y="480"/>
                    </a:lnTo>
                    <a:lnTo>
                      <a:pt x="640" y="477"/>
                    </a:lnTo>
                    <a:lnTo>
                      <a:pt x="626" y="461"/>
                    </a:lnTo>
                    <a:lnTo>
                      <a:pt x="625" y="461"/>
                    </a:lnTo>
                    <a:lnTo>
                      <a:pt x="623" y="461"/>
                    </a:lnTo>
                    <a:lnTo>
                      <a:pt x="621" y="460"/>
                    </a:lnTo>
                    <a:lnTo>
                      <a:pt x="620" y="460"/>
                    </a:lnTo>
                    <a:lnTo>
                      <a:pt x="618" y="460"/>
                    </a:lnTo>
                    <a:lnTo>
                      <a:pt x="615" y="461"/>
                    </a:lnTo>
                    <a:lnTo>
                      <a:pt x="612" y="463"/>
                    </a:lnTo>
                    <a:lnTo>
                      <a:pt x="609" y="464"/>
                    </a:lnTo>
                    <a:lnTo>
                      <a:pt x="607" y="464"/>
                    </a:lnTo>
                    <a:lnTo>
                      <a:pt x="606" y="466"/>
                    </a:lnTo>
                    <a:lnTo>
                      <a:pt x="601" y="466"/>
                    </a:lnTo>
                    <a:lnTo>
                      <a:pt x="599" y="468"/>
                    </a:lnTo>
                    <a:lnTo>
                      <a:pt x="598" y="468"/>
                    </a:lnTo>
                    <a:lnTo>
                      <a:pt x="593" y="469"/>
                    </a:lnTo>
                    <a:lnTo>
                      <a:pt x="591" y="469"/>
                    </a:lnTo>
                    <a:lnTo>
                      <a:pt x="590" y="469"/>
                    </a:lnTo>
                    <a:lnTo>
                      <a:pt x="588" y="469"/>
                    </a:lnTo>
                    <a:lnTo>
                      <a:pt x="585" y="469"/>
                    </a:lnTo>
                    <a:lnTo>
                      <a:pt x="583" y="471"/>
                    </a:lnTo>
                    <a:lnTo>
                      <a:pt x="580" y="471"/>
                    </a:lnTo>
                    <a:lnTo>
                      <a:pt x="579" y="471"/>
                    </a:lnTo>
                    <a:lnTo>
                      <a:pt x="574" y="471"/>
                    </a:lnTo>
                    <a:lnTo>
                      <a:pt x="572" y="471"/>
                    </a:lnTo>
                    <a:lnTo>
                      <a:pt x="569" y="472"/>
                    </a:lnTo>
                    <a:lnTo>
                      <a:pt x="566" y="472"/>
                    </a:lnTo>
                    <a:lnTo>
                      <a:pt x="563" y="472"/>
                    </a:lnTo>
                    <a:lnTo>
                      <a:pt x="561" y="472"/>
                    </a:lnTo>
                    <a:lnTo>
                      <a:pt x="556" y="474"/>
                    </a:lnTo>
                    <a:lnTo>
                      <a:pt x="555" y="474"/>
                    </a:lnTo>
                    <a:lnTo>
                      <a:pt x="552" y="474"/>
                    </a:lnTo>
                    <a:lnTo>
                      <a:pt x="550" y="474"/>
                    </a:lnTo>
                    <a:lnTo>
                      <a:pt x="547" y="474"/>
                    </a:lnTo>
                    <a:lnTo>
                      <a:pt x="545" y="476"/>
                    </a:lnTo>
                    <a:lnTo>
                      <a:pt x="544" y="477"/>
                    </a:lnTo>
                    <a:lnTo>
                      <a:pt x="542" y="477"/>
                    </a:lnTo>
                    <a:lnTo>
                      <a:pt x="541" y="477"/>
                    </a:lnTo>
                    <a:lnTo>
                      <a:pt x="539" y="479"/>
                    </a:lnTo>
                    <a:lnTo>
                      <a:pt x="537" y="480"/>
                    </a:lnTo>
                    <a:close/>
                  </a:path>
                </a:pathLst>
              </a:custGeom>
              <a:solidFill>
                <a:srgbClr val="B4D7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83" name="Freeform 63"/>
              <p:cNvSpPr>
                <a:spLocks/>
              </p:cNvSpPr>
              <p:nvPr/>
            </p:nvSpPr>
            <p:spPr bwMode="auto">
              <a:xfrm>
                <a:off x="4445" y="2100"/>
                <a:ext cx="410" cy="1125"/>
              </a:xfrm>
              <a:custGeom>
                <a:avLst/>
                <a:gdLst>
                  <a:gd name="T0" fmla="*/ 95 w 410"/>
                  <a:gd name="T1" fmla="*/ 34 h 1125"/>
                  <a:gd name="T2" fmla="*/ 145 w 410"/>
                  <a:gd name="T3" fmla="*/ 50 h 1125"/>
                  <a:gd name="T4" fmla="*/ 180 w 410"/>
                  <a:gd name="T5" fmla="*/ 34 h 1125"/>
                  <a:gd name="T6" fmla="*/ 195 w 410"/>
                  <a:gd name="T7" fmla="*/ 46 h 1125"/>
                  <a:gd name="T8" fmla="*/ 204 w 410"/>
                  <a:gd name="T9" fmla="*/ 64 h 1125"/>
                  <a:gd name="T10" fmla="*/ 212 w 410"/>
                  <a:gd name="T11" fmla="*/ 86 h 1125"/>
                  <a:gd name="T12" fmla="*/ 225 w 410"/>
                  <a:gd name="T13" fmla="*/ 108 h 1125"/>
                  <a:gd name="T14" fmla="*/ 234 w 410"/>
                  <a:gd name="T15" fmla="*/ 127 h 1125"/>
                  <a:gd name="T16" fmla="*/ 250 w 410"/>
                  <a:gd name="T17" fmla="*/ 134 h 1125"/>
                  <a:gd name="T18" fmla="*/ 259 w 410"/>
                  <a:gd name="T19" fmla="*/ 145 h 1125"/>
                  <a:gd name="T20" fmla="*/ 242 w 410"/>
                  <a:gd name="T21" fmla="*/ 251 h 1125"/>
                  <a:gd name="T22" fmla="*/ 245 w 410"/>
                  <a:gd name="T23" fmla="*/ 267 h 1125"/>
                  <a:gd name="T24" fmla="*/ 255 w 410"/>
                  <a:gd name="T25" fmla="*/ 278 h 1125"/>
                  <a:gd name="T26" fmla="*/ 278 w 410"/>
                  <a:gd name="T27" fmla="*/ 284 h 1125"/>
                  <a:gd name="T28" fmla="*/ 297 w 410"/>
                  <a:gd name="T29" fmla="*/ 294 h 1125"/>
                  <a:gd name="T30" fmla="*/ 318 w 410"/>
                  <a:gd name="T31" fmla="*/ 295 h 1125"/>
                  <a:gd name="T32" fmla="*/ 332 w 410"/>
                  <a:gd name="T33" fmla="*/ 290 h 1125"/>
                  <a:gd name="T34" fmla="*/ 343 w 410"/>
                  <a:gd name="T35" fmla="*/ 306 h 1125"/>
                  <a:gd name="T36" fmla="*/ 336 w 410"/>
                  <a:gd name="T37" fmla="*/ 332 h 1125"/>
                  <a:gd name="T38" fmla="*/ 340 w 410"/>
                  <a:gd name="T39" fmla="*/ 362 h 1125"/>
                  <a:gd name="T40" fmla="*/ 366 w 410"/>
                  <a:gd name="T41" fmla="*/ 379 h 1125"/>
                  <a:gd name="T42" fmla="*/ 391 w 410"/>
                  <a:gd name="T43" fmla="*/ 382 h 1125"/>
                  <a:gd name="T44" fmla="*/ 405 w 410"/>
                  <a:gd name="T45" fmla="*/ 393 h 1125"/>
                  <a:gd name="T46" fmla="*/ 405 w 410"/>
                  <a:gd name="T47" fmla="*/ 409 h 1125"/>
                  <a:gd name="T48" fmla="*/ 397 w 410"/>
                  <a:gd name="T49" fmla="*/ 430 h 1125"/>
                  <a:gd name="T50" fmla="*/ 386 w 410"/>
                  <a:gd name="T51" fmla="*/ 447 h 1125"/>
                  <a:gd name="T52" fmla="*/ 369 w 410"/>
                  <a:gd name="T53" fmla="*/ 452 h 1125"/>
                  <a:gd name="T54" fmla="*/ 355 w 410"/>
                  <a:gd name="T55" fmla="*/ 461 h 1125"/>
                  <a:gd name="T56" fmla="*/ 343 w 410"/>
                  <a:gd name="T57" fmla="*/ 476 h 1125"/>
                  <a:gd name="T58" fmla="*/ 342 w 410"/>
                  <a:gd name="T59" fmla="*/ 498 h 1125"/>
                  <a:gd name="T60" fmla="*/ 348 w 410"/>
                  <a:gd name="T61" fmla="*/ 520 h 1125"/>
                  <a:gd name="T62" fmla="*/ 358 w 410"/>
                  <a:gd name="T63" fmla="*/ 542 h 1125"/>
                  <a:gd name="T64" fmla="*/ 364 w 410"/>
                  <a:gd name="T65" fmla="*/ 564 h 1125"/>
                  <a:gd name="T66" fmla="*/ 323 w 410"/>
                  <a:gd name="T67" fmla="*/ 568 h 1125"/>
                  <a:gd name="T68" fmla="*/ 293 w 410"/>
                  <a:gd name="T69" fmla="*/ 575 h 1125"/>
                  <a:gd name="T70" fmla="*/ 263 w 410"/>
                  <a:gd name="T71" fmla="*/ 574 h 1125"/>
                  <a:gd name="T72" fmla="*/ 199 w 410"/>
                  <a:gd name="T73" fmla="*/ 599 h 1125"/>
                  <a:gd name="T74" fmla="*/ 177 w 410"/>
                  <a:gd name="T75" fmla="*/ 696 h 1125"/>
                  <a:gd name="T76" fmla="*/ 155 w 410"/>
                  <a:gd name="T77" fmla="*/ 726 h 1125"/>
                  <a:gd name="T78" fmla="*/ 139 w 410"/>
                  <a:gd name="T79" fmla="*/ 745 h 1125"/>
                  <a:gd name="T80" fmla="*/ 125 w 410"/>
                  <a:gd name="T81" fmla="*/ 770 h 1125"/>
                  <a:gd name="T82" fmla="*/ 103 w 410"/>
                  <a:gd name="T83" fmla="*/ 792 h 1125"/>
                  <a:gd name="T84" fmla="*/ 87 w 410"/>
                  <a:gd name="T85" fmla="*/ 815 h 1125"/>
                  <a:gd name="T86" fmla="*/ 69 w 410"/>
                  <a:gd name="T87" fmla="*/ 835 h 1125"/>
                  <a:gd name="T88" fmla="*/ 55 w 410"/>
                  <a:gd name="T89" fmla="*/ 861 h 1125"/>
                  <a:gd name="T90" fmla="*/ 36 w 410"/>
                  <a:gd name="T91" fmla="*/ 878 h 1125"/>
                  <a:gd name="T92" fmla="*/ 33 w 410"/>
                  <a:gd name="T93" fmla="*/ 897 h 1125"/>
                  <a:gd name="T94" fmla="*/ 38 w 410"/>
                  <a:gd name="T95" fmla="*/ 918 h 1125"/>
                  <a:gd name="T96" fmla="*/ 30 w 410"/>
                  <a:gd name="T97" fmla="*/ 937 h 1125"/>
                  <a:gd name="T98" fmla="*/ 23 w 410"/>
                  <a:gd name="T99" fmla="*/ 959 h 1125"/>
                  <a:gd name="T100" fmla="*/ 14 w 410"/>
                  <a:gd name="T101" fmla="*/ 983 h 1125"/>
                  <a:gd name="T102" fmla="*/ 12 w 410"/>
                  <a:gd name="T103" fmla="*/ 1003 h 1125"/>
                  <a:gd name="T104" fmla="*/ 17 w 410"/>
                  <a:gd name="T105" fmla="*/ 1022 h 1125"/>
                  <a:gd name="T106" fmla="*/ 31 w 410"/>
                  <a:gd name="T107" fmla="*/ 1040 h 1125"/>
                  <a:gd name="T108" fmla="*/ 28 w 410"/>
                  <a:gd name="T109" fmla="*/ 1057 h 1125"/>
                  <a:gd name="T110" fmla="*/ 39 w 410"/>
                  <a:gd name="T111" fmla="*/ 1081 h 1125"/>
                  <a:gd name="T112" fmla="*/ 30 w 410"/>
                  <a:gd name="T113" fmla="*/ 1087 h 1125"/>
                  <a:gd name="T114" fmla="*/ 14 w 410"/>
                  <a:gd name="T115" fmla="*/ 1097 h 1125"/>
                  <a:gd name="T116" fmla="*/ 1 w 410"/>
                  <a:gd name="T117" fmla="*/ 1105 h 1125"/>
                  <a:gd name="T118" fmla="*/ 1 w 410"/>
                  <a:gd name="T119" fmla="*/ 112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0" h="1125">
                    <a:moveTo>
                      <a:pt x="57" y="0"/>
                    </a:moveTo>
                    <a:lnTo>
                      <a:pt x="58" y="7"/>
                    </a:lnTo>
                    <a:lnTo>
                      <a:pt x="63" y="7"/>
                    </a:lnTo>
                    <a:lnTo>
                      <a:pt x="65" y="5"/>
                    </a:lnTo>
                    <a:lnTo>
                      <a:pt x="66" y="5"/>
                    </a:lnTo>
                    <a:lnTo>
                      <a:pt x="69" y="8"/>
                    </a:lnTo>
                    <a:lnTo>
                      <a:pt x="71" y="8"/>
                    </a:lnTo>
                    <a:lnTo>
                      <a:pt x="74" y="10"/>
                    </a:lnTo>
                    <a:lnTo>
                      <a:pt x="77" y="12"/>
                    </a:lnTo>
                    <a:lnTo>
                      <a:pt x="79" y="8"/>
                    </a:lnTo>
                    <a:lnTo>
                      <a:pt x="80" y="8"/>
                    </a:lnTo>
                    <a:lnTo>
                      <a:pt x="87" y="10"/>
                    </a:lnTo>
                    <a:lnTo>
                      <a:pt x="90" y="12"/>
                    </a:lnTo>
                    <a:lnTo>
                      <a:pt x="90" y="15"/>
                    </a:lnTo>
                    <a:lnTo>
                      <a:pt x="90" y="23"/>
                    </a:lnTo>
                    <a:lnTo>
                      <a:pt x="92" y="29"/>
                    </a:lnTo>
                    <a:lnTo>
                      <a:pt x="95" y="34"/>
                    </a:lnTo>
                    <a:lnTo>
                      <a:pt x="99" y="37"/>
                    </a:lnTo>
                    <a:lnTo>
                      <a:pt x="106" y="42"/>
                    </a:lnTo>
                    <a:lnTo>
                      <a:pt x="111" y="45"/>
                    </a:lnTo>
                    <a:lnTo>
                      <a:pt x="114" y="53"/>
                    </a:lnTo>
                    <a:lnTo>
                      <a:pt x="117" y="61"/>
                    </a:lnTo>
                    <a:lnTo>
                      <a:pt x="118" y="62"/>
                    </a:lnTo>
                    <a:lnTo>
                      <a:pt x="120" y="62"/>
                    </a:lnTo>
                    <a:lnTo>
                      <a:pt x="122" y="62"/>
                    </a:lnTo>
                    <a:lnTo>
                      <a:pt x="123" y="61"/>
                    </a:lnTo>
                    <a:lnTo>
                      <a:pt x="125" y="59"/>
                    </a:lnTo>
                    <a:lnTo>
                      <a:pt x="125" y="56"/>
                    </a:lnTo>
                    <a:lnTo>
                      <a:pt x="125" y="54"/>
                    </a:lnTo>
                    <a:lnTo>
                      <a:pt x="128" y="51"/>
                    </a:lnTo>
                    <a:lnTo>
                      <a:pt x="131" y="51"/>
                    </a:lnTo>
                    <a:lnTo>
                      <a:pt x="136" y="51"/>
                    </a:lnTo>
                    <a:lnTo>
                      <a:pt x="139" y="50"/>
                    </a:lnTo>
                    <a:lnTo>
                      <a:pt x="145" y="50"/>
                    </a:lnTo>
                    <a:lnTo>
                      <a:pt x="150" y="51"/>
                    </a:lnTo>
                    <a:lnTo>
                      <a:pt x="152" y="53"/>
                    </a:lnTo>
                    <a:lnTo>
                      <a:pt x="155" y="53"/>
                    </a:lnTo>
                    <a:lnTo>
                      <a:pt x="157" y="53"/>
                    </a:lnTo>
                    <a:lnTo>
                      <a:pt x="160" y="51"/>
                    </a:lnTo>
                    <a:lnTo>
                      <a:pt x="161" y="46"/>
                    </a:lnTo>
                    <a:lnTo>
                      <a:pt x="160" y="42"/>
                    </a:lnTo>
                    <a:lnTo>
                      <a:pt x="160" y="38"/>
                    </a:lnTo>
                    <a:lnTo>
                      <a:pt x="160" y="34"/>
                    </a:lnTo>
                    <a:lnTo>
                      <a:pt x="160" y="32"/>
                    </a:lnTo>
                    <a:lnTo>
                      <a:pt x="164" y="34"/>
                    </a:lnTo>
                    <a:lnTo>
                      <a:pt x="168" y="37"/>
                    </a:lnTo>
                    <a:lnTo>
                      <a:pt x="171" y="37"/>
                    </a:lnTo>
                    <a:lnTo>
                      <a:pt x="177" y="37"/>
                    </a:lnTo>
                    <a:lnTo>
                      <a:pt x="179" y="32"/>
                    </a:lnTo>
                    <a:lnTo>
                      <a:pt x="179" y="34"/>
                    </a:lnTo>
                    <a:lnTo>
                      <a:pt x="180" y="34"/>
                    </a:lnTo>
                    <a:lnTo>
                      <a:pt x="182" y="34"/>
                    </a:lnTo>
                    <a:lnTo>
                      <a:pt x="183" y="34"/>
                    </a:lnTo>
                    <a:lnTo>
                      <a:pt x="183" y="35"/>
                    </a:lnTo>
                    <a:lnTo>
                      <a:pt x="183" y="37"/>
                    </a:lnTo>
                    <a:lnTo>
                      <a:pt x="185" y="38"/>
                    </a:lnTo>
                    <a:lnTo>
                      <a:pt x="187" y="38"/>
                    </a:lnTo>
                    <a:lnTo>
                      <a:pt x="187" y="40"/>
                    </a:lnTo>
                    <a:lnTo>
                      <a:pt x="188" y="40"/>
                    </a:lnTo>
                    <a:lnTo>
                      <a:pt x="188" y="42"/>
                    </a:lnTo>
                    <a:lnTo>
                      <a:pt x="190" y="42"/>
                    </a:lnTo>
                    <a:lnTo>
                      <a:pt x="191" y="42"/>
                    </a:lnTo>
                    <a:lnTo>
                      <a:pt x="191" y="43"/>
                    </a:lnTo>
                    <a:lnTo>
                      <a:pt x="191" y="45"/>
                    </a:lnTo>
                    <a:lnTo>
                      <a:pt x="193" y="45"/>
                    </a:lnTo>
                    <a:lnTo>
                      <a:pt x="195" y="45"/>
                    </a:lnTo>
                    <a:lnTo>
                      <a:pt x="193" y="46"/>
                    </a:lnTo>
                    <a:lnTo>
                      <a:pt x="195" y="46"/>
                    </a:lnTo>
                    <a:lnTo>
                      <a:pt x="195" y="48"/>
                    </a:lnTo>
                    <a:lnTo>
                      <a:pt x="196" y="48"/>
                    </a:lnTo>
                    <a:lnTo>
                      <a:pt x="196" y="50"/>
                    </a:lnTo>
                    <a:lnTo>
                      <a:pt x="198" y="50"/>
                    </a:lnTo>
                    <a:lnTo>
                      <a:pt x="198" y="51"/>
                    </a:lnTo>
                    <a:lnTo>
                      <a:pt x="199" y="51"/>
                    </a:lnTo>
                    <a:lnTo>
                      <a:pt x="199" y="53"/>
                    </a:lnTo>
                    <a:lnTo>
                      <a:pt x="199" y="54"/>
                    </a:lnTo>
                    <a:lnTo>
                      <a:pt x="199" y="56"/>
                    </a:lnTo>
                    <a:lnTo>
                      <a:pt x="201" y="56"/>
                    </a:lnTo>
                    <a:lnTo>
                      <a:pt x="202" y="56"/>
                    </a:lnTo>
                    <a:lnTo>
                      <a:pt x="202" y="57"/>
                    </a:lnTo>
                    <a:lnTo>
                      <a:pt x="204" y="57"/>
                    </a:lnTo>
                    <a:lnTo>
                      <a:pt x="204" y="59"/>
                    </a:lnTo>
                    <a:lnTo>
                      <a:pt x="204" y="61"/>
                    </a:lnTo>
                    <a:lnTo>
                      <a:pt x="204" y="62"/>
                    </a:lnTo>
                    <a:lnTo>
                      <a:pt x="204" y="64"/>
                    </a:lnTo>
                    <a:lnTo>
                      <a:pt x="204" y="65"/>
                    </a:lnTo>
                    <a:lnTo>
                      <a:pt x="204" y="67"/>
                    </a:lnTo>
                    <a:lnTo>
                      <a:pt x="204" y="69"/>
                    </a:lnTo>
                    <a:lnTo>
                      <a:pt x="204" y="70"/>
                    </a:lnTo>
                    <a:lnTo>
                      <a:pt x="204" y="72"/>
                    </a:lnTo>
                    <a:lnTo>
                      <a:pt x="204" y="73"/>
                    </a:lnTo>
                    <a:lnTo>
                      <a:pt x="204" y="75"/>
                    </a:lnTo>
                    <a:lnTo>
                      <a:pt x="204" y="77"/>
                    </a:lnTo>
                    <a:lnTo>
                      <a:pt x="206" y="78"/>
                    </a:lnTo>
                    <a:lnTo>
                      <a:pt x="204" y="78"/>
                    </a:lnTo>
                    <a:lnTo>
                      <a:pt x="206" y="80"/>
                    </a:lnTo>
                    <a:lnTo>
                      <a:pt x="207" y="81"/>
                    </a:lnTo>
                    <a:lnTo>
                      <a:pt x="207" y="83"/>
                    </a:lnTo>
                    <a:lnTo>
                      <a:pt x="209" y="83"/>
                    </a:lnTo>
                    <a:lnTo>
                      <a:pt x="209" y="84"/>
                    </a:lnTo>
                    <a:lnTo>
                      <a:pt x="210" y="84"/>
                    </a:lnTo>
                    <a:lnTo>
                      <a:pt x="212" y="86"/>
                    </a:lnTo>
                    <a:lnTo>
                      <a:pt x="214" y="88"/>
                    </a:lnTo>
                    <a:lnTo>
                      <a:pt x="215" y="89"/>
                    </a:lnTo>
                    <a:lnTo>
                      <a:pt x="214" y="91"/>
                    </a:lnTo>
                    <a:lnTo>
                      <a:pt x="214" y="92"/>
                    </a:lnTo>
                    <a:lnTo>
                      <a:pt x="214" y="94"/>
                    </a:lnTo>
                    <a:lnTo>
                      <a:pt x="214" y="96"/>
                    </a:lnTo>
                    <a:lnTo>
                      <a:pt x="215" y="97"/>
                    </a:lnTo>
                    <a:lnTo>
                      <a:pt x="217" y="97"/>
                    </a:lnTo>
                    <a:lnTo>
                      <a:pt x="218" y="97"/>
                    </a:lnTo>
                    <a:lnTo>
                      <a:pt x="218" y="99"/>
                    </a:lnTo>
                    <a:lnTo>
                      <a:pt x="218" y="100"/>
                    </a:lnTo>
                    <a:lnTo>
                      <a:pt x="218" y="102"/>
                    </a:lnTo>
                    <a:lnTo>
                      <a:pt x="220" y="102"/>
                    </a:lnTo>
                    <a:lnTo>
                      <a:pt x="220" y="103"/>
                    </a:lnTo>
                    <a:lnTo>
                      <a:pt x="221" y="105"/>
                    </a:lnTo>
                    <a:lnTo>
                      <a:pt x="223" y="107"/>
                    </a:lnTo>
                    <a:lnTo>
                      <a:pt x="225" y="108"/>
                    </a:lnTo>
                    <a:lnTo>
                      <a:pt x="225" y="110"/>
                    </a:lnTo>
                    <a:lnTo>
                      <a:pt x="226" y="110"/>
                    </a:lnTo>
                    <a:lnTo>
                      <a:pt x="226" y="111"/>
                    </a:lnTo>
                    <a:lnTo>
                      <a:pt x="228" y="111"/>
                    </a:lnTo>
                    <a:lnTo>
                      <a:pt x="228" y="113"/>
                    </a:lnTo>
                    <a:lnTo>
                      <a:pt x="228" y="115"/>
                    </a:lnTo>
                    <a:lnTo>
                      <a:pt x="229" y="115"/>
                    </a:lnTo>
                    <a:lnTo>
                      <a:pt x="229" y="116"/>
                    </a:lnTo>
                    <a:lnTo>
                      <a:pt x="229" y="118"/>
                    </a:lnTo>
                    <a:lnTo>
                      <a:pt x="231" y="118"/>
                    </a:lnTo>
                    <a:lnTo>
                      <a:pt x="231" y="119"/>
                    </a:lnTo>
                    <a:lnTo>
                      <a:pt x="233" y="121"/>
                    </a:lnTo>
                    <a:lnTo>
                      <a:pt x="233" y="122"/>
                    </a:lnTo>
                    <a:lnTo>
                      <a:pt x="233" y="124"/>
                    </a:lnTo>
                    <a:lnTo>
                      <a:pt x="234" y="124"/>
                    </a:lnTo>
                    <a:lnTo>
                      <a:pt x="234" y="126"/>
                    </a:lnTo>
                    <a:lnTo>
                      <a:pt x="234" y="127"/>
                    </a:lnTo>
                    <a:lnTo>
                      <a:pt x="236" y="129"/>
                    </a:lnTo>
                    <a:lnTo>
                      <a:pt x="236" y="130"/>
                    </a:lnTo>
                    <a:lnTo>
                      <a:pt x="237" y="130"/>
                    </a:lnTo>
                    <a:lnTo>
                      <a:pt x="239" y="132"/>
                    </a:lnTo>
                    <a:lnTo>
                      <a:pt x="240" y="132"/>
                    </a:lnTo>
                    <a:lnTo>
                      <a:pt x="242" y="132"/>
                    </a:lnTo>
                    <a:lnTo>
                      <a:pt x="244" y="132"/>
                    </a:lnTo>
                    <a:lnTo>
                      <a:pt x="245" y="132"/>
                    </a:lnTo>
                    <a:lnTo>
                      <a:pt x="247" y="132"/>
                    </a:lnTo>
                    <a:lnTo>
                      <a:pt x="248" y="132"/>
                    </a:lnTo>
                    <a:lnTo>
                      <a:pt x="250" y="132"/>
                    </a:lnTo>
                    <a:lnTo>
                      <a:pt x="252" y="132"/>
                    </a:lnTo>
                    <a:lnTo>
                      <a:pt x="253" y="132"/>
                    </a:lnTo>
                    <a:lnTo>
                      <a:pt x="253" y="134"/>
                    </a:lnTo>
                    <a:lnTo>
                      <a:pt x="252" y="135"/>
                    </a:lnTo>
                    <a:lnTo>
                      <a:pt x="250" y="135"/>
                    </a:lnTo>
                    <a:lnTo>
                      <a:pt x="250" y="134"/>
                    </a:lnTo>
                    <a:lnTo>
                      <a:pt x="248" y="134"/>
                    </a:lnTo>
                    <a:lnTo>
                      <a:pt x="247" y="134"/>
                    </a:lnTo>
                    <a:lnTo>
                      <a:pt x="245" y="134"/>
                    </a:lnTo>
                    <a:lnTo>
                      <a:pt x="245" y="135"/>
                    </a:lnTo>
                    <a:lnTo>
                      <a:pt x="247" y="137"/>
                    </a:lnTo>
                    <a:lnTo>
                      <a:pt x="247" y="138"/>
                    </a:lnTo>
                    <a:lnTo>
                      <a:pt x="248" y="138"/>
                    </a:lnTo>
                    <a:lnTo>
                      <a:pt x="250" y="138"/>
                    </a:lnTo>
                    <a:lnTo>
                      <a:pt x="250" y="140"/>
                    </a:lnTo>
                    <a:lnTo>
                      <a:pt x="252" y="140"/>
                    </a:lnTo>
                    <a:lnTo>
                      <a:pt x="253" y="140"/>
                    </a:lnTo>
                    <a:lnTo>
                      <a:pt x="255" y="140"/>
                    </a:lnTo>
                    <a:lnTo>
                      <a:pt x="255" y="141"/>
                    </a:lnTo>
                    <a:lnTo>
                      <a:pt x="256" y="141"/>
                    </a:lnTo>
                    <a:lnTo>
                      <a:pt x="258" y="141"/>
                    </a:lnTo>
                    <a:lnTo>
                      <a:pt x="259" y="141"/>
                    </a:lnTo>
                    <a:lnTo>
                      <a:pt x="259" y="145"/>
                    </a:lnTo>
                    <a:lnTo>
                      <a:pt x="259" y="151"/>
                    </a:lnTo>
                    <a:lnTo>
                      <a:pt x="261" y="162"/>
                    </a:lnTo>
                    <a:lnTo>
                      <a:pt x="261" y="172"/>
                    </a:lnTo>
                    <a:lnTo>
                      <a:pt x="261" y="181"/>
                    </a:lnTo>
                    <a:lnTo>
                      <a:pt x="259" y="194"/>
                    </a:lnTo>
                    <a:lnTo>
                      <a:pt x="259" y="200"/>
                    </a:lnTo>
                    <a:lnTo>
                      <a:pt x="255" y="217"/>
                    </a:lnTo>
                    <a:lnTo>
                      <a:pt x="252" y="235"/>
                    </a:lnTo>
                    <a:lnTo>
                      <a:pt x="248" y="244"/>
                    </a:lnTo>
                    <a:lnTo>
                      <a:pt x="247" y="244"/>
                    </a:lnTo>
                    <a:lnTo>
                      <a:pt x="245" y="244"/>
                    </a:lnTo>
                    <a:lnTo>
                      <a:pt x="244" y="244"/>
                    </a:lnTo>
                    <a:lnTo>
                      <a:pt x="242" y="244"/>
                    </a:lnTo>
                    <a:lnTo>
                      <a:pt x="242" y="246"/>
                    </a:lnTo>
                    <a:lnTo>
                      <a:pt x="242" y="248"/>
                    </a:lnTo>
                    <a:lnTo>
                      <a:pt x="242" y="249"/>
                    </a:lnTo>
                    <a:lnTo>
                      <a:pt x="242" y="251"/>
                    </a:lnTo>
                    <a:lnTo>
                      <a:pt x="239" y="256"/>
                    </a:lnTo>
                    <a:lnTo>
                      <a:pt x="240" y="256"/>
                    </a:lnTo>
                    <a:lnTo>
                      <a:pt x="240" y="257"/>
                    </a:lnTo>
                    <a:lnTo>
                      <a:pt x="242" y="257"/>
                    </a:lnTo>
                    <a:lnTo>
                      <a:pt x="240" y="257"/>
                    </a:lnTo>
                    <a:lnTo>
                      <a:pt x="239" y="257"/>
                    </a:lnTo>
                    <a:lnTo>
                      <a:pt x="240" y="257"/>
                    </a:lnTo>
                    <a:lnTo>
                      <a:pt x="240" y="259"/>
                    </a:lnTo>
                    <a:lnTo>
                      <a:pt x="240" y="260"/>
                    </a:lnTo>
                    <a:lnTo>
                      <a:pt x="242" y="260"/>
                    </a:lnTo>
                    <a:lnTo>
                      <a:pt x="242" y="262"/>
                    </a:lnTo>
                    <a:lnTo>
                      <a:pt x="240" y="262"/>
                    </a:lnTo>
                    <a:lnTo>
                      <a:pt x="242" y="263"/>
                    </a:lnTo>
                    <a:lnTo>
                      <a:pt x="244" y="263"/>
                    </a:lnTo>
                    <a:lnTo>
                      <a:pt x="245" y="263"/>
                    </a:lnTo>
                    <a:lnTo>
                      <a:pt x="245" y="265"/>
                    </a:lnTo>
                    <a:lnTo>
                      <a:pt x="245" y="267"/>
                    </a:lnTo>
                    <a:lnTo>
                      <a:pt x="247" y="267"/>
                    </a:lnTo>
                    <a:lnTo>
                      <a:pt x="248" y="267"/>
                    </a:lnTo>
                    <a:lnTo>
                      <a:pt x="247" y="267"/>
                    </a:lnTo>
                    <a:lnTo>
                      <a:pt x="247" y="268"/>
                    </a:lnTo>
                    <a:lnTo>
                      <a:pt x="247" y="270"/>
                    </a:lnTo>
                    <a:lnTo>
                      <a:pt x="248" y="270"/>
                    </a:lnTo>
                    <a:lnTo>
                      <a:pt x="248" y="271"/>
                    </a:lnTo>
                    <a:lnTo>
                      <a:pt x="247" y="271"/>
                    </a:lnTo>
                    <a:lnTo>
                      <a:pt x="247" y="273"/>
                    </a:lnTo>
                    <a:lnTo>
                      <a:pt x="248" y="273"/>
                    </a:lnTo>
                    <a:lnTo>
                      <a:pt x="250" y="273"/>
                    </a:lnTo>
                    <a:lnTo>
                      <a:pt x="250" y="275"/>
                    </a:lnTo>
                    <a:lnTo>
                      <a:pt x="252" y="275"/>
                    </a:lnTo>
                    <a:lnTo>
                      <a:pt x="252" y="279"/>
                    </a:lnTo>
                    <a:lnTo>
                      <a:pt x="253" y="279"/>
                    </a:lnTo>
                    <a:lnTo>
                      <a:pt x="255" y="279"/>
                    </a:lnTo>
                    <a:lnTo>
                      <a:pt x="255" y="278"/>
                    </a:lnTo>
                    <a:lnTo>
                      <a:pt x="256" y="278"/>
                    </a:lnTo>
                    <a:lnTo>
                      <a:pt x="258" y="278"/>
                    </a:lnTo>
                    <a:lnTo>
                      <a:pt x="258" y="276"/>
                    </a:lnTo>
                    <a:lnTo>
                      <a:pt x="259" y="276"/>
                    </a:lnTo>
                    <a:lnTo>
                      <a:pt x="261" y="276"/>
                    </a:lnTo>
                    <a:lnTo>
                      <a:pt x="263" y="276"/>
                    </a:lnTo>
                    <a:lnTo>
                      <a:pt x="264" y="278"/>
                    </a:lnTo>
                    <a:lnTo>
                      <a:pt x="264" y="279"/>
                    </a:lnTo>
                    <a:lnTo>
                      <a:pt x="266" y="279"/>
                    </a:lnTo>
                    <a:lnTo>
                      <a:pt x="266" y="281"/>
                    </a:lnTo>
                    <a:lnTo>
                      <a:pt x="267" y="281"/>
                    </a:lnTo>
                    <a:lnTo>
                      <a:pt x="267" y="282"/>
                    </a:lnTo>
                    <a:lnTo>
                      <a:pt x="269" y="282"/>
                    </a:lnTo>
                    <a:lnTo>
                      <a:pt x="274" y="282"/>
                    </a:lnTo>
                    <a:lnTo>
                      <a:pt x="275" y="282"/>
                    </a:lnTo>
                    <a:lnTo>
                      <a:pt x="277" y="282"/>
                    </a:lnTo>
                    <a:lnTo>
                      <a:pt x="278" y="284"/>
                    </a:lnTo>
                    <a:lnTo>
                      <a:pt x="280" y="284"/>
                    </a:lnTo>
                    <a:lnTo>
                      <a:pt x="282" y="284"/>
                    </a:lnTo>
                    <a:lnTo>
                      <a:pt x="282" y="286"/>
                    </a:lnTo>
                    <a:lnTo>
                      <a:pt x="283" y="284"/>
                    </a:lnTo>
                    <a:lnTo>
                      <a:pt x="283" y="286"/>
                    </a:lnTo>
                    <a:lnTo>
                      <a:pt x="285" y="286"/>
                    </a:lnTo>
                    <a:lnTo>
                      <a:pt x="285" y="287"/>
                    </a:lnTo>
                    <a:lnTo>
                      <a:pt x="286" y="287"/>
                    </a:lnTo>
                    <a:lnTo>
                      <a:pt x="288" y="287"/>
                    </a:lnTo>
                    <a:lnTo>
                      <a:pt x="288" y="289"/>
                    </a:lnTo>
                    <a:lnTo>
                      <a:pt x="290" y="289"/>
                    </a:lnTo>
                    <a:lnTo>
                      <a:pt x="291" y="289"/>
                    </a:lnTo>
                    <a:lnTo>
                      <a:pt x="294" y="290"/>
                    </a:lnTo>
                    <a:lnTo>
                      <a:pt x="294" y="292"/>
                    </a:lnTo>
                    <a:lnTo>
                      <a:pt x="296" y="292"/>
                    </a:lnTo>
                    <a:lnTo>
                      <a:pt x="297" y="292"/>
                    </a:lnTo>
                    <a:lnTo>
                      <a:pt x="297" y="294"/>
                    </a:lnTo>
                    <a:lnTo>
                      <a:pt x="299" y="294"/>
                    </a:lnTo>
                    <a:lnTo>
                      <a:pt x="301" y="294"/>
                    </a:lnTo>
                    <a:lnTo>
                      <a:pt x="302" y="294"/>
                    </a:lnTo>
                    <a:lnTo>
                      <a:pt x="302" y="295"/>
                    </a:lnTo>
                    <a:lnTo>
                      <a:pt x="304" y="295"/>
                    </a:lnTo>
                    <a:lnTo>
                      <a:pt x="305" y="295"/>
                    </a:lnTo>
                    <a:lnTo>
                      <a:pt x="307" y="295"/>
                    </a:lnTo>
                    <a:lnTo>
                      <a:pt x="309" y="295"/>
                    </a:lnTo>
                    <a:lnTo>
                      <a:pt x="310" y="297"/>
                    </a:lnTo>
                    <a:lnTo>
                      <a:pt x="312" y="297"/>
                    </a:lnTo>
                    <a:lnTo>
                      <a:pt x="313" y="297"/>
                    </a:lnTo>
                    <a:lnTo>
                      <a:pt x="315" y="297"/>
                    </a:lnTo>
                    <a:lnTo>
                      <a:pt x="315" y="295"/>
                    </a:lnTo>
                    <a:lnTo>
                      <a:pt x="316" y="295"/>
                    </a:lnTo>
                    <a:lnTo>
                      <a:pt x="318" y="295"/>
                    </a:lnTo>
                    <a:lnTo>
                      <a:pt x="318" y="294"/>
                    </a:lnTo>
                    <a:lnTo>
                      <a:pt x="318" y="295"/>
                    </a:lnTo>
                    <a:lnTo>
                      <a:pt x="320" y="295"/>
                    </a:lnTo>
                    <a:lnTo>
                      <a:pt x="320" y="294"/>
                    </a:lnTo>
                    <a:lnTo>
                      <a:pt x="320" y="295"/>
                    </a:lnTo>
                    <a:lnTo>
                      <a:pt x="321" y="295"/>
                    </a:lnTo>
                    <a:lnTo>
                      <a:pt x="323" y="295"/>
                    </a:lnTo>
                    <a:lnTo>
                      <a:pt x="324" y="295"/>
                    </a:lnTo>
                    <a:lnTo>
                      <a:pt x="324" y="294"/>
                    </a:lnTo>
                    <a:lnTo>
                      <a:pt x="326" y="294"/>
                    </a:lnTo>
                    <a:lnTo>
                      <a:pt x="326" y="292"/>
                    </a:lnTo>
                    <a:lnTo>
                      <a:pt x="328" y="292"/>
                    </a:lnTo>
                    <a:lnTo>
                      <a:pt x="328" y="290"/>
                    </a:lnTo>
                    <a:lnTo>
                      <a:pt x="329" y="289"/>
                    </a:lnTo>
                    <a:lnTo>
                      <a:pt x="329" y="290"/>
                    </a:lnTo>
                    <a:lnTo>
                      <a:pt x="331" y="290"/>
                    </a:lnTo>
                    <a:lnTo>
                      <a:pt x="331" y="292"/>
                    </a:lnTo>
                    <a:lnTo>
                      <a:pt x="332" y="292"/>
                    </a:lnTo>
                    <a:lnTo>
                      <a:pt x="332" y="290"/>
                    </a:lnTo>
                    <a:lnTo>
                      <a:pt x="334" y="290"/>
                    </a:lnTo>
                    <a:lnTo>
                      <a:pt x="336" y="290"/>
                    </a:lnTo>
                    <a:lnTo>
                      <a:pt x="337" y="290"/>
                    </a:lnTo>
                    <a:lnTo>
                      <a:pt x="339" y="290"/>
                    </a:lnTo>
                    <a:lnTo>
                      <a:pt x="340" y="290"/>
                    </a:lnTo>
                    <a:lnTo>
                      <a:pt x="340" y="289"/>
                    </a:lnTo>
                    <a:lnTo>
                      <a:pt x="340" y="290"/>
                    </a:lnTo>
                    <a:lnTo>
                      <a:pt x="342" y="290"/>
                    </a:lnTo>
                    <a:lnTo>
                      <a:pt x="342" y="292"/>
                    </a:lnTo>
                    <a:lnTo>
                      <a:pt x="342" y="295"/>
                    </a:lnTo>
                    <a:lnTo>
                      <a:pt x="342" y="297"/>
                    </a:lnTo>
                    <a:lnTo>
                      <a:pt x="343" y="297"/>
                    </a:lnTo>
                    <a:lnTo>
                      <a:pt x="343" y="298"/>
                    </a:lnTo>
                    <a:lnTo>
                      <a:pt x="343" y="300"/>
                    </a:lnTo>
                    <a:lnTo>
                      <a:pt x="343" y="301"/>
                    </a:lnTo>
                    <a:lnTo>
                      <a:pt x="343" y="303"/>
                    </a:lnTo>
                    <a:lnTo>
                      <a:pt x="343" y="306"/>
                    </a:lnTo>
                    <a:lnTo>
                      <a:pt x="343" y="308"/>
                    </a:lnTo>
                    <a:lnTo>
                      <a:pt x="343" y="309"/>
                    </a:lnTo>
                    <a:lnTo>
                      <a:pt x="345" y="311"/>
                    </a:lnTo>
                    <a:lnTo>
                      <a:pt x="345" y="314"/>
                    </a:lnTo>
                    <a:lnTo>
                      <a:pt x="347" y="317"/>
                    </a:lnTo>
                    <a:lnTo>
                      <a:pt x="348" y="322"/>
                    </a:lnTo>
                    <a:lnTo>
                      <a:pt x="348" y="324"/>
                    </a:lnTo>
                    <a:lnTo>
                      <a:pt x="348" y="325"/>
                    </a:lnTo>
                    <a:lnTo>
                      <a:pt x="348" y="328"/>
                    </a:lnTo>
                    <a:lnTo>
                      <a:pt x="348" y="330"/>
                    </a:lnTo>
                    <a:lnTo>
                      <a:pt x="347" y="330"/>
                    </a:lnTo>
                    <a:lnTo>
                      <a:pt x="345" y="332"/>
                    </a:lnTo>
                    <a:lnTo>
                      <a:pt x="343" y="332"/>
                    </a:lnTo>
                    <a:lnTo>
                      <a:pt x="342" y="332"/>
                    </a:lnTo>
                    <a:lnTo>
                      <a:pt x="340" y="333"/>
                    </a:lnTo>
                    <a:lnTo>
                      <a:pt x="339" y="333"/>
                    </a:lnTo>
                    <a:lnTo>
                      <a:pt x="336" y="332"/>
                    </a:lnTo>
                    <a:lnTo>
                      <a:pt x="336" y="333"/>
                    </a:lnTo>
                    <a:lnTo>
                      <a:pt x="336" y="335"/>
                    </a:lnTo>
                    <a:lnTo>
                      <a:pt x="336" y="336"/>
                    </a:lnTo>
                    <a:lnTo>
                      <a:pt x="336" y="338"/>
                    </a:lnTo>
                    <a:lnTo>
                      <a:pt x="336" y="339"/>
                    </a:lnTo>
                    <a:lnTo>
                      <a:pt x="336" y="344"/>
                    </a:lnTo>
                    <a:lnTo>
                      <a:pt x="336" y="346"/>
                    </a:lnTo>
                    <a:lnTo>
                      <a:pt x="336" y="351"/>
                    </a:lnTo>
                    <a:lnTo>
                      <a:pt x="336" y="352"/>
                    </a:lnTo>
                    <a:lnTo>
                      <a:pt x="336" y="354"/>
                    </a:lnTo>
                    <a:lnTo>
                      <a:pt x="336" y="355"/>
                    </a:lnTo>
                    <a:lnTo>
                      <a:pt x="336" y="357"/>
                    </a:lnTo>
                    <a:lnTo>
                      <a:pt x="336" y="358"/>
                    </a:lnTo>
                    <a:lnTo>
                      <a:pt x="337" y="358"/>
                    </a:lnTo>
                    <a:lnTo>
                      <a:pt x="339" y="358"/>
                    </a:lnTo>
                    <a:lnTo>
                      <a:pt x="339" y="360"/>
                    </a:lnTo>
                    <a:lnTo>
                      <a:pt x="340" y="362"/>
                    </a:lnTo>
                    <a:lnTo>
                      <a:pt x="340" y="363"/>
                    </a:lnTo>
                    <a:lnTo>
                      <a:pt x="340" y="366"/>
                    </a:lnTo>
                    <a:lnTo>
                      <a:pt x="340" y="370"/>
                    </a:lnTo>
                    <a:lnTo>
                      <a:pt x="340" y="371"/>
                    </a:lnTo>
                    <a:lnTo>
                      <a:pt x="345" y="371"/>
                    </a:lnTo>
                    <a:lnTo>
                      <a:pt x="348" y="373"/>
                    </a:lnTo>
                    <a:lnTo>
                      <a:pt x="351" y="373"/>
                    </a:lnTo>
                    <a:lnTo>
                      <a:pt x="353" y="373"/>
                    </a:lnTo>
                    <a:lnTo>
                      <a:pt x="355" y="371"/>
                    </a:lnTo>
                    <a:lnTo>
                      <a:pt x="356" y="371"/>
                    </a:lnTo>
                    <a:lnTo>
                      <a:pt x="358" y="371"/>
                    </a:lnTo>
                    <a:lnTo>
                      <a:pt x="358" y="373"/>
                    </a:lnTo>
                    <a:lnTo>
                      <a:pt x="361" y="374"/>
                    </a:lnTo>
                    <a:lnTo>
                      <a:pt x="362" y="376"/>
                    </a:lnTo>
                    <a:lnTo>
                      <a:pt x="362" y="377"/>
                    </a:lnTo>
                    <a:lnTo>
                      <a:pt x="364" y="377"/>
                    </a:lnTo>
                    <a:lnTo>
                      <a:pt x="366" y="379"/>
                    </a:lnTo>
                    <a:lnTo>
                      <a:pt x="366" y="381"/>
                    </a:lnTo>
                    <a:lnTo>
                      <a:pt x="367" y="382"/>
                    </a:lnTo>
                    <a:lnTo>
                      <a:pt x="369" y="382"/>
                    </a:lnTo>
                    <a:lnTo>
                      <a:pt x="370" y="381"/>
                    </a:lnTo>
                    <a:lnTo>
                      <a:pt x="374" y="379"/>
                    </a:lnTo>
                    <a:lnTo>
                      <a:pt x="375" y="377"/>
                    </a:lnTo>
                    <a:lnTo>
                      <a:pt x="377" y="377"/>
                    </a:lnTo>
                    <a:lnTo>
                      <a:pt x="378" y="377"/>
                    </a:lnTo>
                    <a:lnTo>
                      <a:pt x="383" y="376"/>
                    </a:lnTo>
                    <a:lnTo>
                      <a:pt x="385" y="376"/>
                    </a:lnTo>
                    <a:lnTo>
                      <a:pt x="386" y="377"/>
                    </a:lnTo>
                    <a:lnTo>
                      <a:pt x="386" y="379"/>
                    </a:lnTo>
                    <a:lnTo>
                      <a:pt x="388" y="379"/>
                    </a:lnTo>
                    <a:lnTo>
                      <a:pt x="388" y="381"/>
                    </a:lnTo>
                    <a:lnTo>
                      <a:pt x="389" y="381"/>
                    </a:lnTo>
                    <a:lnTo>
                      <a:pt x="389" y="382"/>
                    </a:lnTo>
                    <a:lnTo>
                      <a:pt x="391" y="382"/>
                    </a:lnTo>
                    <a:lnTo>
                      <a:pt x="393" y="382"/>
                    </a:lnTo>
                    <a:lnTo>
                      <a:pt x="393" y="381"/>
                    </a:lnTo>
                    <a:lnTo>
                      <a:pt x="394" y="381"/>
                    </a:lnTo>
                    <a:lnTo>
                      <a:pt x="396" y="381"/>
                    </a:lnTo>
                    <a:lnTo>
                      <a:pt x="397" y="381"/>
                    </a:lnTo>
                    <a:lnTo>
                      <a:pt x="399" y="381"/>
                    </a:lnTo>
                    <a:lnTo>
                      <a:pt x="400" y="381"/>
                    </a:lnTo>
                    <a:lnTo>
                      <a:pt x="402" y="381"/>
                    </a:lnTo>
                    <a:lnTo>
                      <a:pt x="402" y="382"/>
                    </a:lnTo>
                    <a:lnTo>
                      <a:pt x="404" y="382"/>
                    </a:lnTo>
                    <a:lnTo>
                      <a:pt x="404" y="384"/>
                    </a:lnTo>
                    <a:lnTo>
                      <a:pt x="404" y="385"/>
                    </a:lnTo>
                    <a:lnTo>
                      <a:pt x="404" y="387"/>
                    </a:lnTo>
                    <a:lnTo>
                      <a:pt x="404" y="389"/>
                    </a:lnTo>
                    <a:lnTo>
                      <a:pt x="404" y="390"/>
                    </a:lnTo>
                    <a:lnTo>
                      <a:pt x="405" y="392"/>
                    </a:lnTo>
                    <a:lnTo>
                      <a:pt x="405" y="393"/>
                    </a:lnTo>
                    <a:lnTo>
                      <a:pt x="405" y="395"/>
                    </a:lnTo>
                    <a:lnTo>
                      <a:pt x="405" y="396"/>
                    </a:lnTo>
                    <a:lnTo>
                      <a:pt x="405" y="398"/>
                    </a:lnTo>
                    <a:lnTo>
                      <a:pt x="405" y="400"/>
                    </a:lnTo>
                    <a:lnTo>
                      <a:pt x="405" y="401"/>
                    </a:lnTo>
                    <a:lnTo>
                      <a:pt x="407" y="401"/>
                    </a:lnTo>
                    <a:lnTo>
                      <a:pt x="408" y="401"/>
                    </a:lnTo>
                    <a:lnTo>
                      <a:pt x="408" y="403"/>
                    </a:lnTo>
                    <a:lnTo>
                      <a:pt x="410" y="403"/>
                    </a:lnTo>
                    <a:lnTo>
                      <a:pt x="410" y="404"/>
                    </a:lnTo>
                    <a:lnTo>
                      <a:pt x="408" y="406"/>
                    </a:lnTo>
                    <a:lnTo>
                      <a:pt x="410" y="408"/>
                    </a:lnTo>
                    <a:lnTo>
                      <a:pt x="408" y="408"/>
                    </a:lnTo>
                    <a:lnTo>
                      <a:pt x="410" y="409"/>
                    </a:lnTo>
                    <a:lnTo>
                      <a:pt x="408" y="409"/>
                    </a:lnTo>
                    <a:lnTo>
                      <a:pt x="407" y="409"/>
                    </a:lnTo>
                    <a:lnTo>
                      <a:pt x="405" y="409"/>
                    </a:lnTo>
                    <a:lnTo>
                      <a:pt x="405" y="411"/>
                    </a:lnTo>
                    <a:lnTo>
                      <a:pt x="405" y="412"/>
                    </a:lnTo>
                    <a:lnTo>
                      <a:pt x="404" y="412"/>
                    </a:lnTo>
                    <a:lnTo>
                      <a:pt x="404" y="414"/>
                    </a:lnTo>
                    <a:lnTo>
                      <a:pt x="405" y="415"/>
                    </a:lnTo>
                    <a:lnTo>
                      <a:pt x="404" y="417"/>
                    </a:lnTo>
                    <a:lnTo>
                      <a:pt x="402" y="417"/>
                    </a:lnTo>
                    <a:lnTo>
                      <a:pt x="402" y="419"/>
                    </a:lnTo>
                    <a:lnTo>
                      <a:pt x="402" y="420"/>
                    </a:lnTo>
                    <a:lnTo>
                      <a:pt x="400" y="420"/>
                    </a:lnTo>
                    <a:lnTo>
                      <a:pt x="399" y="422"/>
                    </a:lnTo>
                    <a:lnTo>
                      <a:pt x="399" y="423"/>
                    </a:lnTo>
                    <a:lnTo>
                      <a:pt x="399" y="425"/>
                    </a:lnTo>
                    <a:lnTo>
                      <a:pt x="399" y="427"/>
                    </a:lnTo>
                    <a:lnTo>
                      <a:pt x="399" y="428"/>
                    </a:lnTo>
                    <a:lnTo>
                      <a:pt x="397" y="428"/>
                    </a:lnTo>
                    <a:lnTo>
                      <a:pt x="397" y="430"/>
                    </a:lnTo>
                    <a:lnTo>
                      <a:pt x="396" y="430"/>
                    </a:lnTo>
                    <a:lnTo>
                      <a:pt x="396" y="431"/>
                    </a:lnTo>
                    <a:lnTo>
                      <a:pt x="394" y="431"/>
                    </a:lnTo>
                    <a:lnTo>
                      <a:pt x="393" y="431"/>
                    </a:lnTo>
                    <a:lnTo>
                      <a:pt x="391" y="433"/>
                    </a:lnTo>
                    <a:lnTo>
                      <a:pt x="391" y="434"/>
                    </a:lnTo>
                    <a:lnTo>
                      <a:pt x="391" y="436"/>
                    </a:lnTo>
                    <a:lnTo>
                      <a:pt x="389" y="436"/>
                    </a:lnTo>
                    <a:lnTo>
                      <a:pt x="389" y="438"/>
                    </a:lnTo>
                    <a:lnTo>
                      <a:pt x="389" y="439"/>
                    </a:lnTo>
                    <a:lnTo>
                      <a:pt x="389" y="441"/>
                    </a:lnTo>
                    <a:lnTo>
                      <a:pt x="388" y="441"/>
                    </a:lnTo>
                    <a:lnTo>
                      <a:pt x="386" y="441"/>
                    </a:lnTo>
                    <a:lnTo>
                      <a:pt x="385" y="442"/>
                    </a:lnTo>
                    <a:lnTo>
                      <a:pt x="386" y="444"/>
                    </a:lnTo>
                    <a:lnTo>
                      <a:pt x="386" y="446"/>
                    </a:lnTo>
                    <a:lnTo>
                      <a:pt x="386" y="447"/>
                    </a:lnTo>
                    <a:lnTo>
                      <a:pt x="385" y="447"/>
                    </a:lnTo>
                    <a:lnTo>
                      <a:pt x="385" y="449"/>
                    </a:lnTo>
                    <a:lnTo>
                      <a:pt x="385" y="450"/>
                    </a:lnTo>
                    <a:lnTo>
                      <a:pt x="383" y="452"/>
                    </a:lnTo>
                    <a:lnTo>
                      <a:pt x="381" y="454"/>
                    </a:lnTo>
                    <a:lnTo>
                      <a:pt x="380" y="454"/>
                    </a:lnTo>
                    <a:lnTo>
                      <a:pt x="378" y="454"/>
                    </a:lnTo>
                    <a:lnTo>
                      <a:pt x="377" y="454"/>
                    </a:lnTo>
                    <a:lnTo>
                      <a:pt x="375" y="454"/>
                    </a:lnTo>
                    <a:lnTo>
                      <a:pt x="374" y="454"/>
                    </a:lnTo>
                    <a:lnTo>
                      <a:pt x="374" y="455"/>
                    </a:lnTo>
                    <a:lnTo>
                      <a:pt x="372" y="455"/>
                    </a:lnTo>
                    <a:lnTo>
                      <a:pt x="370" y="454"/>
                    </a:lnTo>
                    <a:lnTo>
                      <a:pt x="370" y="452"/>
                    </a:lnTo>
                    <a:lnTo>
                      <a:pt x="372" y="452"/>
                    </a:lnTo>
                    <a:lnTo>
                      <a:pt x="370" y="450"/>
                    </a:lnTo>
                    <a:lnTo>
                      <a:pt x="369" y="452"/>
                    </a:lnTo>
                    <a:lnTo>
                      <a:pt x="369" y="450"/>
                    </a:lnTo>
                    <a:lnTo>
                      <a:pt x="367" y="450"/>
                    </a:lnTo>
                    <a:lnTo>
                      <a:pt x="367" y="452"/>
                    </a:lnTo>
                    <a:lnTo>
                      <a:pt x="366" y="454"/>
                    </a:lnTo>
                    <a:lnTo>
                      <a:pt x="364" y="454"/>
                    </a:lnTo>
                    <a:lnTo>
                      <a:pt x="366" y="454"/>
                    </a:lnTo>
                    <a:lnTo>
                      <a:pt x="364" y="455"/>
                    </a:lnTo>
                    <a:lnTo>
                      <a:pt x="364" y="457"/>
                    </a:lnTo>
                    <a:lnTo>
                      <a:pt x="362" y="457"/>
                    </a:lnTo>
                    <a:lnTo>
                      <a:pt x="361" y="458"/>
                    </a:lnTo>
                    <a:lnTo>
                      <a:pt x="359" y="457"/>
                    </a:lnTo>
                    <a:lnTo>
                      <a:pt x="359" y="458"/>
                    </a:lnTo>
                    <a:lnTo>
                      <a:pt x="358" y="458"/>
                    </a:lnTo>
                    <a:lnTo>
                      <a:pt x="358" y="460"/>
                    </a:lnTo>
                    <a:lnTo>
                      <a:pt x="358" y="461"/>
                    </a:lnTo>
                    <a:lnTo>
                      <a:pt x="356" y="461"/>
                    </a:lnTo>
                    <a:lnTo>
                      <a:pt x="355" y="461"/>
                    </a:lnTo>
                    <a:lnTo>
                      <a:pt x="355" y="460"/>
                    </a:lnTo>
                    <a:lnTo>
                      <a:pt x="353" y="461"/>
                    </a:lnTo>
                    <a:lnTo>
                      <a:pt x="355" y="461"/>
                    </a:lnTo>
                    <a:lnTo>
                      <a:pt x="355" y="463"/>
                    </a:lnTo>
                    <a:lnTo>
                      <a:pt x="353" y="463"/>
                    </a:lnTo>
                    <a:lnTo>
                      <a:pt x="353" y="465"/>
                    </a:lnTo>
                    <a:lnTo>
                      <a:pt x="351" y="465"/>
                    </a:lnTo>
                    <a:lnTo>
                      <a:pt x="351" y="466"/>
                    </a:lnTo>
                    <a:lnTo>
                      <a:pt x="351" y="468"/>
                    </a:lnTo>
                    <a:lnTo>
                      <a:pt x="350" y="468"/>
                    </a:lnTo>
                    <a:lnTo>
                      <a:pt x="350" y="469"/>
                    </a:lnTo>
                    <a:lnTo>
                      <a:pt x="348" y="471"/>
                    </a:lnTo>
                    <a:lnTo>
                      <a:pt x="348" y="473"/>
                    </a:lnTo>
                    <a:lnTo>
                      <a:pt x="347" y="473"/>
                    </a:lnTo>
                    <a:lnTo>
                      <a:pt x="345" y="473"/>
                    </a:lnTo>
                    <a:lnTo>
                      <a:pt x="345" y="474"/>
                    </a:lnTo>
                    <a:lnTo>
                      <a:pt x="343" y="476"/>
                    </a:lnTo>
                    <a:lnTo>
                      <a:pt x="343" y="477"/>
                    </a:lnTo>
                    <a:lnTo>
                      <a:pt x="343" y="479"/>
                    </a:lnTo>
                    <a:lnTo>
                      <a:pt x="342" y="479"/>
                    </a:lnTo>
                    <a:lnTo>
                      <a:pt x="340" y="479"/>
                    </a:lnTo>
                    <a:lnTo>
                      <a:pt x="340" y="480"/>
                    </a:lnTo>
                    <a:lnTo>
                      <a:pt x="339" y="482"/>
                    </a:lnTo>
                    <a:lnTo>
                      <a:pt x="339" y="484"/>
                    </a:lnTo>
                    <a:lnTo>
                      <a:pt x="339" y="485"/>
                    </a:lnTo>
                    <a:lnTo>
                      <a:pt x="339" y="487"/>
                    </a:lnTo>
                    <a:lnTo>
                      <a:pt x="339" y="488"/>
                    </a:lnTo>
                    <a:lnTo>
                      <a:pt x="339" y="490"/>
                    </a:lnTo>
                    <a:lnTo>
                      <a:pt x="339" y="492"/>
                    </a:lnTo>
                    <a:lnTo>
                      <a:pt x="339" y="493"/>
                    </a:lnTo>
                    <a:lnTo>
                      <a:pt x="340" y="495"/>
                    </a:lnTo>
                    <a:lnTo>
                      <a:pt x="340" y="496"/>
                    </a:lnTo>
                    <a:lnTo>
                      <a:pt x="340" y="498"/>
                    </a:lnTo>
                    <a:lnTo>
                      <a:pt x="342" y="498"/>
                    </a:lnTo>
                    <a:lnTo>
                      <a:pt x="342" y="499"/>
                    </a:lnTo>
                    <a:lnTo>
                      <a:pt x="342" y="501"/>
                    </a:lnTo>
                    <a:lnTo>
                      <a:pt x="342" y="503"/>
                    </a:lnTo>
                    <a:lnTo>
                      <a:pt x="343" y="503"/>
                    </a:lnTo>
                    <a:lnTo>
                      <a:pt x="343" y="504"/>
                    </a:lnTo>
                    <a:lnTo>
                      <a:pt x="343" y="506"/>
                    </a:lnTo>
                    <a:lnTo>
                      <a:pt x="345" y="507"/>
                    </a:lnTo>
                    <a:lnTo>
                      <a:pt x="345" y="509"/>
                    </a:lnTo>
                    <a:lnTo>
                      <a:pt x="347" y="509"/>
                    </a:lnTo>
                    <a:lnTo>
                      <a:pt x="347" y="511"/>
                    </a:lnTo>
                    <a:lnTo>
                      <a:pt x="347" y="512"/>
                    </a:lnTo>
                    <a:lnTo>
                      <a:pt x="347" y="514"/>
                    </a:lnTo>
                    <a:lnTo>
                      <a:pt x="348" y="514"/>
                    </a:lnTo>
                    <a:lnTo>
                      <a:pt x="348" y="515"/>
                    </a:lnTo>
                    <a:lnTo>
                      <a:pt x="348" y="517"/>
                    </a:lnTo>
                    <a:lnTo>
                      <a:pt x="348" y="518"/>
                    </a:lnTo>
                    <a:lnTo>
                      <a:pt x="348" y="520"/>
                    </a:lnTo>
                    <a:lnTo>
                      <a:pt x="350" y="520"/>
                    </a:lnTo>
                    <a:lnTo>
                      <a:pt x="350" y="522"/>
                    </a:lnTo>
                    <a:lnTo>
                      <a:pt x="350" y="523"/>
                    </a:lnTo>
                    <a:lnTo>
                      <a:pt x="350" y="525"/>
                    </a:lnTo>
                    <a:lnTo>
                      <a:pt x="351" y="525"/>
                    </a:lnTo>
                    <a:lnTo>
                      <a:pt x="351" y="526"/>
                    </a:lnTo>
                    <a:lnTo>
                      <a:pt x="351" y="528"/>
                    </a:lnTo>
                    <a:lnTo>
                      <a:pt x="351" y="530"/>
                    </a:lnTo>
                    <a:lnTo>
                      <a:pt x="353" y="531"/>
                    </a:lnTo>
                    <a:lnTo>
                      <a:pt x="353" y="533"/>
                    </a:lnTo>
                    <a:lnTo>
                      <a:pt x="355" y="534"/>
                    </a:lnTo>
                    <a:lnTo>
                      <a:pt x="355" y="536"/>
                    </a:lnTo>
                    <a:lnTo>
                      <a:pt x="355" y="537"/>
                    </a:lnTo>
                    <a:lnTo>
                      <a:pt x="356" y="537"/>
                    </a:lnTo>
                    <a:lnTo>
                      <a:pt x="356" y="539"/>
                    </a:lnTo>
                    <a:lnTo>
                      <a:pt x="358" y="541"/>
                    </a:lnTo>
                    <a:lnTo>
                      <a:pt x="358" y="542"/>
                    </a:lnTo>
                    <a:lnTo>
                      <a:pt x="358" y="544"/>
                    </a:lnTo>
                    <a:lnTo>
                      <a:pt x="359" y="544"/>
                    </a:lnTo>
                    <a:lnTo>
                      <a:pt x="359" y="545"/>
                    </a:lnTo>
                    <a:lnTo>
                      <a:pt x="359" y="547"/>
                    </a:lnTo>
                    <a:lnTo>
                      <a:pt x="361" y="547"/>
                    </a:lnTo>
                    <a:lnTo>
                      <a:pt x="361" y="549"/>
                    </a:lnTo>
                    <a:lnTo>
                      <a:pt x="361" y="550"/>
                    </a:lnTo>
                    <a:lnTo>
                      <a:pt x="362" y="550"/>
                    </a:lnTo>
                    <a:lnTo>
                      <a:pt x="362" y="552"/>
                    </a:lnTo>
                    <a:lnTo>
                      <a:pt x="364" y="553"/>
                    </a:lnTo>
                    <a:lnTo>
                      <a:pt x="364" y="555"/>
                    </a:lnTo>
                    <a:lnTo>
                      <a:pt x="364" y="556"/>
                    </a:lnTo>
                    <a:lnTo>
                      <a:pt x="364" y="558"/>
                    </a:lnTo>
                    <a:lnTo>
                      <a:pt x="364" y="560"/>
                    </a:lnTo>
                    <a:lnTo>
                      <a:pt x="364" y="561"/>
                    </a:lnTo>
                    <a:lnTo>
                      <a:pt x="364" y="563"/>
                    </a:lnTo>
                    <a:lnTo>
                      <a:pt x="364" y="564"/>
                    </a:lnTo>
                    <a:lnTo>
                      <a:pt x="362" y="563"/>
                    </a:lnTo>
                    <a:lnTo>
                      <a:pt x="361" y="563"/>
                    </a:lnTo>
                    <a:lnTo>
                      <a:pt x="359" y="563"/>
                    </a:lnTo>
                    <a:lnTo>
                      <a:pt x="358" y="563"/>
                    </a:lnTo>
                    <a:lnTo>
                      <a:pt x="355" y="563"/>
                    </a:lnTo>
                    <a:lnTo>
                      <a:pt x="351" y="564"/>
                    </a:lnTo>
                    <a:lnTo>
                      <a:pt x="350" y="564"/>
                    </a:lnTo>
                    <a:lnTo>
                      <a:pt x="345" y="564"/>
                    </a:lnTo>
                    <a:lnTo>
                      <a:pt x="343" y="564"/>
                    </a:lnTo>
                    <a:lnTo>
                      <a:pt x="342" y="564"/>
                    </a:lnTo>
                    <a:lnTo>
                      <a:pt x="340" y="564"/>
                    </a:lnTo>
                    <a:lnTo>
                      <a:pt x="336" y="566"/>
                    </a:lnTo>
                    <a:lnTo>
                      <a:pt x="331" y="568"/>
                    </a:lnTo>
                    <a:lnTo>
                      <a:pt x="329" y="568"/>
                    </a:lnTo>
                    <a:lnTo>
                      <a:pt x="328" y="569"/>
                    </a:lnTo>
                    <a:lnTo>
                      <a:pt x="324" y="568"/>
                    </a:lnTo>
                    <a:lnTo>
                      <a:pt x="323" y="568"/>
                    </a:lnTo>
                    <a:lnTo>
                      <a:pt x="321" y="568"/>
                    </a:lnTo>
                    <a:lnTo>
                      <a:pt x="320" y="568"/>
                    </a:lnTo>
                    <a:lnTo>
                      <a:pt x="318" y="568"/>
                    </a:lnTo>
                    <a:lnTo>
                      <a:pt x="316" y="569"/>
                    </a:lnTo>
                    <a:lnTo>
                      <a:pt x="315" y="569"/>
                    </a:lnTo>
                    <a:lnTo>
                      <a:pt x="313" y="569"/>
                    </a:lnTo>
                    <a:lnTo>
                      <a:pt x="312" y="569"/>
                    </a:lnTo>
                    <a:lnTo>
                      <a:pt x="310" y="569"/>
                    </a:lnTo>
                    <a:lnTo>
                      <a:pt x="307" y="569"/>
                    </a:lnTo>
                    <a:lnTo>
                      <a:pt x="304" y="571"/>
                    </a:lnTo>
                    <a:lnTo>
                      <a:pt x="302" y="572"/>
                    </a:lnTo>
                    <a:lnTo>
                      <a:pt x="301" y="572"/>
                    </a:lnTo>
                    <a:lnTo>
                      <a:pt x="299" y="574"/>
                    </a:lnTo>
                    <a:lnTo>
                      <a:pt x="297" y="574"/>
                    </a:lnTo>
                    <a:lnTo>
                      <a:pt x="296" y="574"/>
                    </a:lnTo>
                    <a:lnTo>
                      <a:pt x="294" y="574"/>
                    </a:lnTo>
                    <a:lnTo>
                      <a:pt x="293" y="575"/>
                    </a:lnTo>
                    <a:lnTo>
                      <a:pt x="291" y="575"/>
                    </a:lnTo>
                    <a:lnTo>
                      <a:pt x="288" y="575"/>
                    </a:lnTo>
                    <a:lnTo>
                      <a:pt x="286" y="575"/>
                    </a:lnTo>
                    <a:lnTo>
                      <a:pt x="286" y="577"/>
                    </a:lnTo>
                    <a:lnTo>
                      <a:pt x="285" y="577"/>
                    </a:lnTo>
                    <a:lnTo>
                      <a:pt x="283" y="579"/>
                    </a:lnTo>
                    <a:lnTo>
                      <a:pt x="282" y="579"/>
                    </a:lnTo>
                    <a:lnTo>
                      <a:pt x="280" y="579"/>
                    </a:lnTo>
                    <a:lnTo>
                      <a:pt x="278" y="577"/>
                    </a:lnTo>
                    <a:lnTo>
                      <a:pt x="275" y="579"/>
                    </a:lnTo>
                    <a:lnTo>
                      <a:pt x="274" y="579"/>
                    </a:lnTo>
                    <a:lnTo>
                      <a:pt x="269" y="579"/>
                    </a:lnTo>
                    <a:lnTo>
                      <a:pt x="267" y="577"/>
                    </a:lnTo>
                    <a:lnTo>
                      <a:pt x="266" y="575"/>
                    </a:lnTo>
                    <a:lnTo>
                      <a:pt x="266" y="574"/>
                    </a:lnTo>
                    <a:lnTo>
                      <a:pt x="264" y="574"/>
                    </a:lnTo>
                    <a:lnTo>
                      <a:pt x="263" y="574"/>
                    </a:lnTo>
                    <a:lnTo>
                      <a:pt x="261" y="574"/>
                    </a:lnTo>
                    <a:lnTo>
                      <a:pt x="259" y="575"/>
                    </a:lnTo>
                    <a:lnTo>
                      <a:pt x="253" y="574"/>
                    </a:lnTo>
                    <a:lnTo>
                      <a:pt x="250" y="574"/>
                    </a:lnTo>
                    <a:lnTo>
                      <a:pt x="248" y="574"/>
                    </a:lnTo>
                    <a:lnTo>
                      <a:pt x="247" y="575"/>
                    </a:lnTo>
                    <a:lnTo>
                      <a:pt x="245" y="575"/>
                    </a:lnTo>
                    <a:lnTo>
                      <a:pt x="245" y="574"/>
                    </a:lnTo>
                    <a:lnTo>
                      <a:pt x="242" y="574"/>
                    </a:lnTo>
                    <a:lnTo>
                      <a:pt x="223" y="580"/>
                    </a:lnTo>
                    <a:lnTo>
                      <a:pt x="218" y="582"/>
                    </a:lnTo>
                    <a:lnTo>
                      <a:pt x="212" y="583"/>
                    </a:lnTo>
                    <a:lnTo>
                      <a:pt x="207" y="585"/>
                    </a:lnTo>
                    <a:lnTo>
                      <a:pt x="204" y="588"/>
                    </a:lnTo>
                    <a:lnTo>
                      <a:pt x="202" y="591"/>
                    </a:lnTo>
                    <a:lnTo>
                      <a:pt x="199" y="594"/>
                    </a:lnTo>
                    <a:lnTo>
                      <a:pt x="199" y="599"/>
                    </a:lnTo>
                    <a:lnTo>
                      <a:pt x="199" y="606"/>
                    </a:lnTo>
                    <a:lnTo>
                      <a:pt x="199" y="610"/>
                    </a:lnTo>
                    <a:lnTo>
                      <a:pt x="198" y="615"/>
                    </a:lnTo>
                    <a:lnTo>
                      <a:pt x="198" y="617"/>
                    </a:lnTo>
                    <a:lnTo>
                      <a:pt x="198" y="620"/>
                    </a:lnTo>
                    <a:lnTo>
                      <a:pt x="198" y="623"/>
                    </a:lnTo>
                    <a:lnTo>
                      <a:pt x="198" y="626"/>
                    </a:lnTo>
                    <a:lnTo>
                      <a:pt x="198" y="628"/>
                    </a:lnTo>
                    <a:lnTo>
                      <a:pt x="198" y="631"/>
                    </a:lnTo>
                    <a:lnTo>
                      <a:pt x="183" y="672"/>
                    </a:lnTo>
                    <a:lnTo>
                      <a:pt x="182" y="674"/>
                    </a:lnTo>
                    <a:lnTo>
                      <a:pt x="182" y="677"/>
                    </a:lnTo>
                    <a:lnTo>
                      <a:pt x="179" y="678"/>
                    </a:lnTo>
                    <a:lnTo>
                      <a:pt x="179" y="683"/>
                    </a:lnTo>
                    <a:lnTo>
                      <a:pt x="177" y="691"/>
                    </a:lnTo>
                    <a:lnTo>
                      <a:pt x="176" y="694"/>
                    </a:lnTo>
                    <a:lnTo>
                      <a:pt x="177" y="696"/>
                    </a:lnTo>
                    <a:lnTo>
                      <a:pt x="179" y="699"/>
                    </a:lnTo>
                    <a:lnTo>
                      <a:pt x="179" y="701"/>
                    </a:lnTo>
                    <a:lnTo>
                      <a:pt x="177" y="704"/>
                    </a:lnTo>
                    <a:lnTo>
                      <a:pt x="174" y="705"/>
                    </a:lnTo>
                    <a:lnTo>
                      <a:pt x="172" y="712"/>
                    </a:lnTo>
                    <a:lnTo>
                      <a:pt x="171" y="716"/>
                    </a:lnTo>
                    <a:lnTo>
                      <a:pt x="166" y="720"/>
                    </a:lnTo>
                    <a:lnTo>
                      <a:pt x="164" y="720"/>
                    </a:lnTo>
                    <a:lnTo>
                      <a:pt x="164" y="721"/>
                    </a:lnTo>
                    <a:lnTo>
                      <a:pt x="163" y="721"/>
                    </a:lnTo>
                    <a:lnTo>
                      <a:pt x="161" y="721"/>
                    </a:lnTo>
                    <a:lnTo>
                      <a:pt x="160" y="721"/>
                    </a:lnTo>
                    <a:lnTo>
                      <a:pt x="158" y="723"/>
                    </a:lnTo>
                    <a:lnTo>
                      <a:pt x="157" y="723"/>
                    </a:lnTo>
                    <a:lnTo>
                      <a:pt x="157" y="724"/>
                    </a:lnTo>
                    <a:lnTo>
                      <a:pt x="155" y="724"/>
                    </a:lnTo>
                    <a:lnTo>
                      <a:pt x="155" y="726"/>
                    </a:lnTo>
                    <a:lnTo>
                      <a:pt x="153" y="726"/>
                    </a:lnTo>
                    <a:lnTo>
                      <a:pt x="152" y="728"/>
                    </a:lnTo>
                    <a:lnTo>
                      <a:pt x="150" y="728"/>
                    </a:lnTo>
                    <a:lnTo>
                      <a:pt x="149" y="729"/>
                    </a:lnTo>
                    <a:lnTo>
                      <a:pt x="149" y="731"/>
                    </a:lnTo>
                    <a:lnTo>
                      <a:pt x="149" y="732"/>
                    </a:lnTo>
                    <a:lnTo>
                      <a:pt x="147" y="734"/>
                    </a:lnTo>
                    <a:lnTo>
                      <a:pt x="145" y="735"/>
                    </a:lnTo>
                    <a:lnTo>
                      <a:pt x="144" y="735"/>
                    </a:lnTo>
                    <a:lnTo>
                      <a:pt x="142" y="737"/>
                    </a:lnTo>
                    <a:lnTo>
                      <a:pt x="141" y="737"/>
                    </a:lnTo>
                    <a:lnTo>
                      <a:pt x="141" y="739"/>
                    </a:lnTo>
                    <a:lnTo>
                      <a:pt x="141" y="740"/>
                    </a:lnTo>
                    <a:lnTo>
                      <a:pt x="142" y="742"/>
                    </a:lnTo>
                    <a:lnTo>
                      <a:pt x="141" y="742"/>
                    </a:lnTo>
                    <a:lnTo>
                      <a:pt x="141" y="743"/>
                    </a:lnTo>
                    <a:lnTo>
                      <a:pt x="139" y="745"/>
                    </a:lnTo>
                    <a:lnTo>
                      <a:pt x="139" y="747"/>
                    </a:lnTo>
                    <a:lnTo>
                      <a:pt x="139" y="748"/>
                    </a:lnTo>
                    <a:lnTo>
                      <a:pt x="138" y="750"/>
                    </a:lnTo>
                    <a:lnTo>
                      <a:pt x="136" y="751"/>
                    </a:lnTo>
                    <a:lnTo>
                      <a:pt x="136" y="753"/>
                    </a:lnTo>
                    <a:lnTo>
                      <a:pt x="134" y="754"/>
                    </a:lnTo>
                    <a:lnTo>
                      <a:pt x="134" y="756"/>
                    </a:lnTo>
                    <a:lnTo>
                      <a:pt x="133" y="759"/>
                    </a:lnTo>
                    <a:lnTo>
                      <a:pt x="133" y="761"/>
                    </a:lnTo>
                    <a:lnTo>
                      <a:pt x="131" y="761"/>
                    </a:lnTo>
                    <a:lnTo>
                      <a:pt x="131" y="762"/>
                    </a:lnTo>
                    <a:lnTo>
                      <a:pt x="130" y="762"/>
                    </a:lnTo>
                    <a:lnTo>
                      <a:pt x="128" y="764"/>
                    </a:lnTo>
                    <a:lnTo>
                      <a:pt x="126" y="766"/>
                    </a:lnTo>
                    <a:lnTo>
                      <a:pt x="125" y="767"/>
                    </a:lnTo>
                    <a:lnTo>
                      <a:pt x="125" y="769"/>
                    </a:lnTo>
                    <a:lnTo>
                      <a:pt x="125" y="770"/>
                    </a:lnTo>
                    <a:lnTo>
                      <a:pt x="123" y="770"/>
                    </a:lnTo>
                    <a:lnTo>
                      <a:pt x="123" y="772"/>
                    </a:lnTo>
                    <a:lnTo>
                      <a:pt x="123" y="773"/>
                    </a:lnTo>
                    <a:lnTo>
                      <a:pt x="122" y="775"/>
                    </a:lnTo>
                    <a:lnTo>
                      <a:pt x="122" y="777"/>
                    </a:lnTo>
                    <a:lnTo>
                      <a:pt x="120" y="778"/>
                    </a:lnTo>
                    <a:lnTo>
                      <a:pt x="120" y="780"/>
                    </a:lnTo>
                    <a:lnTo>
                      <a:pt x="118" y="780"/>
                    </a:lnTo>
                    <a:lnTo>
                      <a:pt x="117" y="781"/>
                    </a:lnTo>
                    <a:lnTo>
                      <a:pt x="115" y="783"/>
                    </a:lnTo>
                    <a:lnTo>
                      <a:pt x="112" y="785"/>
                    </a:lnTo>
                    <a:lnTo>
                      <a:pt x="111" y="786"/>
                    </a:lnTo>
                    <a:lnTo>
                      <a:pt x="107" y="788"/>
                    </a:lnTo>
                    <a:lnTo>
                      <a:pt x="106" y="789"/>
                    </a:lnTo>
                    <a:lnTo>
                      <a:pt x="104" y="789"/>
                    </a:lnTo>
                    <a:lnTo>
                      <a:pt x="103" y="791"/>
                    </a:lnTo>
                    <a:lnTo>
                      <a:pt x="103" y="792"/>
                    </a:lnTo>
                    <a:lnTo>
                      <a:pt x="101" y="792"/>
                    </a:lnTo>
                    <a:lnTo>
                      <a:pt x="99" y="794"/>
                    </a:lnTo>
                    <a:lnTo>
                      <a:pt x="99" y="796"/>
                    </a:lnTo>
                    <a:lnTo>
                      <a:pt x="98" y="796"/>
                    </a:lnTo>
                    <a:lnTo>
                      <a:pt x="98" y="797"/>
                    </a:lnTo>
                    <a:lnTo>
                      <a:pt x="96" y="799"/>
                    </a:lnTo>
                    <a:lnTo>
                      <a:pt x="95" y="799"/>
                    </a:lnTo>
                    <a:lnTo>
                      <a:pt x="95" y="800"/>
                    </a:lnTo>
                    <a:lnTo>
                      <a:pt x="93" y="800"/>
                    </a:lnTo>
                    <a:lnTo>
                      <a:pt x="93" y="802"/>
                    </a:lnTo>
                    <a:lnTo>
                      <a:pt x="93" y="804"/>
                    </a:lnTo>
                    <a:lnTo>
                      <a:pt x="92" y="807"/>
                    </a:lnTo>
                    <a:lnTo>
                      <a:pt x="90" y="808"/>
                    </a:lnTo>
                    <a:lnTo>
                      <a:pt x="88" y="810"/>
                    </a:lnTo>
                    <a:lnTo>
                      <a:pt x="88" y="811"/>
                    </a:lnTo>
                    <a:lnTo>
                      <a:pt x="88" y="813"/>
                    </a:lnTo>
                    <a:lnTo>
                      <a:pt x="87" y="815"/>
                    </a:lnTo>
                    <a:lnTo>
                      <a:pt x="88" y="816"/>
                    </a:lnTo>
                    <a:lnTo>
                      <a:pt x="88" y="818"/>
                    </a:lnTo>
                    <a:lnTo>
                      <a:pt x="87" y="819"/>
                    </a:lnTo>
                    <a:lnTo>
                      <a:pt x="85" y="821"/>
                    </a:lnTo>
                    <a:lnTo>
                      <a:pt x="84" y="823"/>
                    </a:lnTo>
                    <a:lnTo>
                      <a:pt x="82" y="824"/>
                    </a:lnTo>
                    <a:lnTo>
                      <a:pt x="82" y="826"/>
                    </a:lnTo>
                    <a:lnTo>
                      <a:pt x="82" y="827"/>
                    </a:lnTo>
                    <a:lnTo>
                      <a:pt x="80" y="829"/>
                    </a:lnTo>
                    <a:lnTo>
                      <a:pt x="79" y="829"/>
                    </a:lnTo>
                    <a:lnTo>
                      <a:pt x="79" y="831"/>
                    </a:lnTo>
                    <a:lnTo>
                      <a:pt x="77" y="832"/>
                    </a:lnTo>
                    <a:lnTo>
                      <a:pt x="76" y="832"/>
                    </a:lnTo>
                    <a:lnTo>
                      <a:pt x="73" y="832"/>
                    </a:lnTo>
                    <a:lnTo>
                      <a:pt x="73" y="834"/>
                    </a:lnTo>
                    <a:lnTo>
                      <a:pt x="71" y="834"/>
                    </a:lnTo>
                    <a:lnTo>
                      <a:pt x="69" y="835"/>
                    </a:lnTo>
                    <a:lnTo>
                      <a:pt x="68" y="837"/>
                    </a:lnTo>
                    <a:lnTo>
                      <a:pt x="66" y="840"/>
                    </a:lnTo>
                    <a:lnTo>
                      <a:pt x="63" y="843"/>
                    </a:lnTo>
                    <a:lnTo>
                      <a:pt x="61" y="845"/>
                    </a:lnTo>
                    <a:lnTo>
                      <a:pt x="61" y="846"/>
                    </a:lnTo>
                    <a:lnTo>
                      <a:pt x="60" y="848"/>
                    </a:lnTo>
                    <a:lnTo>
                      <a:pt x="58" y="848"/>
                    </a:lnTo>
                    <a:lnTo>
                      <a:pt x="58" y="850"/>
                    </a:lnTo>
                    <a:lnTo>
                      <a:pt x="57" y="850"/>
                    </a:lnTo>
                    <a:lnTo>
                      <a:pt x="57" y="851"/>
                    </a:lnTo>
                    <a:lnTo>
                      <a:pt x="55" y="851"/>
                    </a:lnTo>
                    <a:lnTo>
                      <a:pt x="55" y="853"/>
                    </a:lnTo>
                    <a:lnTo>
                      <a:pt x="55" y="854"/>
                    </a:lnTo>
                    <a:lnTo>
                      <a:pt x="55" y="856"/>
                    </a:lnTo>
                    <a:lnTo>
                      <a:pt x="55" y="857"/>
                    </a:lnTo>
                    <a:lnTo>
                      <a:pt x="57" y="859"/>
                    </a:lnTo>
                    <a:lnTo>
                      <a:pt x="55" y="861"/>
                    </a:lnTo>
                    <a:lnTo>
                      <a:pt x="55" y="862"/>
                    </a:lnTo>
                    <a:lnTo>
                      <a:pt x="52" y="862"/>
                    </a:lnTo>
                    <a:lnTo>
                      <a:pt x="50" y="862"/>
                    </a:lnTo>
                    <a:lnTo>
                      <a:pt x="49" y="864"/>
                    </a:lnTo>
                    <a:lnTo>
                      <a:pt x="47" y="864"/>
                    </a:lnTo>
                    <a:lnTo>
                      <a:pt x="47" y="865"/>
                    </a:lnTo>
                    <a:lnTo>
                      <a:pt x="46" y="867"/>
                    </a:lnTo>
                    <a:lnTo>
                      <a:pt x="44" y="869"/>
                    </a:lnTo>
                    <a:lnTo>
                      <a:pt x="44" y="870"/>
                    </a:lnTo>
                    <a:lnTo>
                      <a:pt x="44" y="872"/>
                    </a:lnTo>
                    <a:lnTo>
                      <a:pt x="44" y="873"/>
                    </a:lnTo>
                    <a:lnTo>
                      <a:pt x="42" y="873"/>
                    </a:lnTo>
                    <a:lnTo>
                      <a:pt x="41" y="873"/>
                    </a:lnTo>
                    <a:lnTo>
                      <a:pt x="39" y="873"/>
                    </a:lnTo>
                    <a:lnTo>
                      <a:pt x="38" y="875"/>
                    </a:lnTo>
                    <a:lnTo>
                      <a:pt x="38" y="876"/>
                    </a:lnTo>
                    <a:lnTo>
                      <a:pt x="36" y="878"/>
                    </a:lnTo>
                    <a:lnTo>
                      <a:pt x="35" y="880"/>
                    </a:lnTo>
                    <a:lnTo>
                      <a:pt x="33" y="880"/>
                    </a:lnTo>
                    <a:lnTo>
                      <a:pt x="31" y="880"/>
                    </a:lnTo>
                    <a:lnTo>
                      <a:pt x="31" y="881"/>
                    </a:lnTo>
                    <a:lnTo>
                      <a:pt x="31" y="883"/>
                    </a:lnTo>
                    <a:lnTo>
                      <a:pt x="30" y="883"/>
                    </a:lnTo>
                    <a:lnTo>
                      <a:pt x="28" y="884"/>
                    </a:lnTo>
                    <a:lnTo>
                      <a:pt x="28" y="886"/>
                    </a:lnTo>
                    <a:lnTo>
                      <a:pt x="28" y="888"/>
                    </a:lnTo>
                    <a:lnTo>
                      <a:pt x="30" y="888"/>
                    </a:lnTo>
                    <a:lnTo>
                      <a:pt x="30" y="889"/>
                    </a:lnTo>
                    <a:lnTo>
                      <a:pt x="31" y="891"/>
                    </a:lnTo>
                    <a:lnTo>
                      <a:pt x="31" y="892"/>
                    </a:lnTo>
                    <a:lnTo>
                      <a:pt x="31" y="894"/>
                    </a:lnTo>
                    <a:lnTo>
                      <a:pt x="31" y="895"/>
                    </a:lnTo>
                    <a:lnTo>
                      <a:pt x="31" y="897"/>
                    </a:lnTo>
                    <a:lnTo>
                      <a:pt x="33" y="897"/>
                    </a:lnTo>
                    <a:lnTo>
                      <a:pt x="33" y="899"/>
                    </a:lnTo>
                    <a:lnTo>
                      <a:pt x="33" y="900"/>
                    </a:lnTo>
                    <a:lnTo>
                      <a:pt x="33" y="902"/>
                    </a:lnTo>
                    <a:lnTo>
                      <a:pt x="35" y="903"/>
                    </a:lnTo>
                    <a:lnTo>
                      <a:pt x="35" y="905"/>
                    </a:lnTo>
                    <a:lnTo>
                      <a:pt x="36" y="905"/>
                    </a:lnTo>
                    <a:lnTo>
                      <a:pt x="36" y="907"/>
                    </a:lnTo>
                    <a:lnTo>
                      <a:pt x="36" y="908"/>
                    </a:lnTo>
                    <a:lnTo>
                      <a:pt x="35" y="910"/>
                    </a:lnTo>
                    <a:lnTo>
                      <a:pt x="35" y="911"/>
                    </a:lnTo>
                    <a:lnTo>
                      <a:pt x="36" y="911"/>
                    </a:lnTo>
                    <a:lnTo>
                      <a:pt x="38" y="911"/>
                    </a:lnTo>
                    <a:lnTo>
                      <a:pt x="39" y="911"/>
                    </a:lnTo>
                    <a:lnTo>
                      <a:pt x="39" y="913"/>
                    </a:lnTo>
                    <a:lnTo>
                      <a:pt x="39" y="914"/>
                    </a:lnTo>
                    <a:lnTo>
                      <a:pt x="38" y="916"/>
                    </a:lnTo>
                    <a:lnTo>
                      <a:pt x="38" y="918"/>
                    </a:lnTo>
                    <a:lnTo>
                      <a:pt x="38" y="919"/>
                    </a:lnTo>
                    <a:lnTo>
                      <a:pt x="38" y="921"/>
                    </a:lnTo>
                    <a:lnTo>
                      <a:pt x="38" y="922"/>
                    </a:lnTo>
                    <a:lnTo>
                      <a:pt x="39" y="922"/>
                    </a:lnTo>
                    <a:lnTo>
                      <a:pt x="38" y="924"/>
                    </a:lnTo>
                    <a:lnTo>
                      <a:pt x="38" y="926"/>
                    </a:lnTo>
                    <a:lnTo>
                      <a:pt x="36" y="926"/>
                    </a:lnTo>
                    <a:lnTo>
                      <a:pt x="36" y="927"/>
                    </a:lnTo>
                    <a:lnTo>
                      <a:pt x="35" y="927"/>
                    </a:lnTo>
                    <a:lnTo>
                      <a:pt x="35" y="929"/>
                    </a:lnTo>
                    <a:lnTo>
                      <a:pt x="35" y="930"/>
                    </a:lnTo>
                    <a:lnTo>
                      <a:pt x="33" y="930"/>
                    </a:lnTo>
                    <a:lnTo>
                      <a:pt x="31" y="932"/>
                    </a:lnTo>
                    <a:lnTo>
                      <a:pt x="31" y="933"/>
                    </a:lnTo>
                    <a:lnTo>
                      <a:pt x="30" y="933"/>
                    </a:lnTo>
                    <a:lnTo>
                      <a:pt x="30" y="935"/>
                    </a:lnTo>
                    <a:lnTo>
                      <a:pt x="30" y="937"/>
                    </a:lnTo>
                    <a:lnTo>
                      <a:pt x="30" y="938"/>
                    </a:lnTo>
                    <a:lnTo>
                      <a:pt x="30" y="940"/>
                    </a:lnTo>
                    <a:lnTo>
                      <a:pt x="30" y="941"/>
                    </a:lnTo>
                    <a:lnTo>
                      <a:pt x="30" y="943"/>
                    </a:lnTo>
                    <a:lnTo>
                      <a:pt x="30" y="945"/>
                    </a:lnTo>
                    <a:lnTo>
                      <a:pt x="30" y="946"/>
                    </a:lnTo>
                    <a:lnTo>
                      <a:pt x="28" y="946"/>
                    </a:lnTo>
                    <a:lnTo>
                      <a:pt x="28" y="948"/>
                    </a:lnTo>
                    <a:lnTo>
                      <a:pt x="28" y="951"/>
                    </a:lnTo>
                    <a:lnTo>
                      <a:pt x="27" y="951"/>
                    </a:lnTo>
                    <a:lnTo>
                      <a:pt x="27" y="952"/>
                    </a:lnTo>
                    <a:lnTo>
                      <a:pt x="25" y="952"/>
                    </a:lnTo>
                    <a:lnTo>
                      <a:pt x="25" y="954"/>
                    </a:lnTo>
                    <a:lnTo>
                      <a:pt x="25" y="956"/>
                    </a:lnTo>
                    <a:lnTo>
                      <a:pt x="25" y="957"/>
                    </a:lnTo>
                    <a:lnTo>
                      <a:pt x="25" y="959"/>
                    </a:lnTo>
                    <a:lnTo>
                      <a:pt x="23" y="959"/>
                    </a:lnTo>
                    <a:lnTo>
                      <a:pt x="22" y="960"/>
                    </a:lnTo>
                    <a:lnTo>
                      <a:pt x="20" y="962"/>
                    </a:lnTo>
                    <a:lnTo>
                      <a:pt x="20" y="964"/>
                    </a:lnTo>
                    <a:lnTo>
                      <a:pt x="22" y="965"/>
                    </a:lnTo>
                    <a:lnTo>
                      <a:pt x="20" y="967"/>
                    </a:lnTo>
                    <a:lnTo>
                      <a:pt x="20" y="968"/>
                    </a:lnTo>
                    <a:lnTo>
                      <a:pt x="19" y="968"/>
                    </a:lnTo>
                    <a:lnTo>
                      <a:pt x="19" y="971"/>
                    </a:lnTo>
                    <a:lnTo>
                      <a:pt x="19" y="973"/>
                    </a:lnTo>
                    <a:lnTo>
                      <a:pt x="19" y="975"/>
                    </a:lnTo>
                    <a:lnTo>
                      <a:pt x="16" y="976"/>
                    </a:lnTo>
                    <a:lnTo>
                      <a:pt x="14" y="978"/>
                    </a:lnTo>
                    <a:lnTo>
                      <a:pt x="12" y="978"/>
                    </a:lnTo>
                    <a:lnTo>
                      <a:pt x="12" y="979"/>
                    </a:lnTo>
                    <a:lnTo>
                      <a:pt x="12" y="981"/>
                    </a:lnTo>
                    <a:lnTo>
                      <a:pt x="12" y="983"/>
                    </a:lnTo>
                    <a:lnTo>
                      <a:pt x="14" y="983"/>
                    </a:lnTo>
                    <a:lnTo>
                      <a:pt x="14" y="984"/>
                    </a:lnTo>
                    <a:lnTo>
                      <a:pt x="12" y="984"/>
                    </a:lnTo>
                    <a:lnTo>
                      <a:pt x="12" y="986"/>
                    </a:lnTo>
                    <a:lnTo>
                      <a:pt x="11" y="986"/>
                    </a:lnTo>
                    <a:lnTo>
                      <a:pt x="9" y="987"/>
                    </a:lnTo>
                    <a:lnTo>
                      <a:pt x="9" y="989"/>
                    </a:lnTo>
                    <a:lnTo>
                      <a:pt x="9" y="990"/>
                    </a:lnTo>
                    <a:lnTo>
                      <a:pt x="9" y="992"/>
                    </a:lnTo>
                    <a:lnTo>
                      <a:pt x="11" y="994"/>
                    </a:lnTo>
                    <a:lnTo>
                      <a:pt x="12" y="995"/>
                    </a:lnTo>
                    <a:lnTo>
                      <a:pt x="14" y="997"/>
                    </a:lnTo>
                    <a:lnTo>
                      <a:pt x="14" y="998"/>
                    </a:lnTo>
                    <a:lnTo>
                      <a:pt x="12" y="998"/>
                    </a:lnTo>
                    <a:lnTo>
                      <a:pt x="12" y="1000"/>
                    </a:lnTo>
                    <a:lnTo>
                      <a:pt x="11" y="1000"/>
                    </a:lnTo>
                    <a:lnTo>
                      <a:pt x="12" y="1002"/>
                    </a:lnTo>
                    <a:lnTo>
                      <a:pt x="12" y="1003"/>
                    </a:lnTo>
                    <a:lnTo>
                      <a:pt x="14" y="1003"/>
                    </a:lnTo>
                    <a:lnTo>
                      <a:pt x="14" y="1005"/>
                    </a:lnTo>
                    <a:lnTo>
                      <a:pt x="16" y="1005"/>
                    </a:lnTo>
                    <a:lnTo>
                      <a:pt x="17" y="1006"/>
                    </a:lnTo>
                    <a:lnTo>
                      <a:pt x="19" y="1006"/>
                    </a:lnTo>
                    <a:lnTo>
                      <a:pt x="19" y="1008"/>
                    </a:lnTo>
                    <a:lnTo>
                      <a:pt x="19" y="1010"/>
                    </a:lnTo>
                    <a:lnTo>
                      <a:pt x="19" y="1011"/>
                    </a:lnTo>
                    <a:lnTo>
                      <a:pt x="17" y="1011"/>
                    </a:lnTo>
                    <a:lnTo>
                      <a:pt x="19" y="1013"/>
                    </a:lnTo>
                    <a:lnTo>
                      <a:pt x="20" y="1014"/>
                    </a:lnTo>
                    <a:lnTo>
                      <a:pt x="20" y="1016"/>
                    </a:lnTo>
                    <a:lnTo>
                      <a:pt x="20" y="1017"/>
                    </a:lnTo>
                    <a:lnTo>
                      <a:pt x="20" y="1019"/>
                    </a:lnTo>
                    <a:lnTo>
                      <a:pt x="19" y="1021"/>
                    </a:lnTo>
                    <a:lnTo>
                      <a:pt x="19" y="1022"/>
                    </a:lnTo>
                    <a:lnTo>
                      <a:pt x="17" y="1022"/>
                    </a:lnTo>
                    <a:lnTo>
                      <a:pt x="17" y="1024"/>
                    </a:lnTo>
                    <a:lnTo>
                      <a:pt x="17" y="1025"/>
                    </a:lnTo>
                    <a:lnTo>
                      <a:pt x="19" y="1027"/>
                    </a:lnTo>
                    <a:lnTo>
                      <a:pt x="20" y="1027"/>
                    </a:lnTo>
                    <a:lnTo>
                      <a:pt x="22" y="1027"/>
                    </a:lnTo>
                    <a:lnTo>
                      <a:pt x="23" y="1027"/>
                    </a:lnTo>
                    <a:lnTo>
                      <a:pt x="25" y="1027"/>
                    </a:lnTo>
                    <a:lnTo>
                      <a:pt x="25" y="1029"/>
                    </a:lnTo>
                    <a:lnTo>
                      <a:pt x="27" y="1029"/>
                    </a:lnTo>
                    <a:lnTo>
                      <a:pt x="28" y="1030"/>
                    </a:lnTo>
                    <a:lnTo>
                      <a:pt x="28" y="1032"/>
                    </a:lnTo>
                    <a:lnTo>
                      <a:pt x="30" y="1032"/>
                    </a:lnTo>
                    <a:lnTo>
                      <a:pt x="30" y="1033"/>
                    </a:lnTo>
                    <a:lnTo>
                      <a:pt x="31" y="1035"/>
                    </a:lnTo>
                    <a:lnTo>
                      <a:pt x="31" y="1036"/>
                    </a:lnTo>
                    <a:lnTo>
                      <a:pt x="31" y="1038"/>
                    </a:lnTo>
                    <a:lnTo>
                      <a:pt x="31" y="1040"/>
                    </a:lnTo>
                    <a:lnTo>
                      <a:pt x="33" y="1040"/>
                    </a:lnTo>
                    <a:lnTo>
                      <a:pt x="33" y="1041"/>
                    </a:lnTo>
                    <a:lnTo>
                      <a:pt x="31" y="1043"/>
                    </a:lnTo>
                    <a:lnTo>
                      <a:pt x="31" y="1044"/>
                    </a:lnTo>
                    <a:lnTo>
                      <a:pt x="30" y="1044"/>
                    </a:lnTo>
                    <a:lnTo>
                      <a:pt x="28" y="1044"/>
                    </a:lnTo>
                    <a:lnTo>
                      <a:pt x="27" y="1044"/>
                    </a:lnTo>
                    <a:lnTo>
                      <a:pt x="27" y="1046"/>
                    </a:lnTo>
                    <a:lnTo>
                      <a:pt x="25" y="1048"/>
                    </a:lnTo>
                    <a:lnTo>
                      <a:pt x="27" y="1049"/>
                    </a:lnTo>
                    <a:lnTo>
                      <a:pt x="28" y="1051"/>
                    </a:lnTo>
                    <a:lnTo>
                      <a:pt x="30" y="1052"/>
                    </a:lnTo>
                    <a:lnTo>
                      <a:pt x="31" y="1052"/>
                    </a:lnTo>
                    <a:lnTo>
                      <a:pt x="31" y="1054"/>
                    </a:lnTo>
                    <a:lnTo>
                      <a:pt x="31" y="1055"/>
                    </a:lnTo>
                    <a:lnTo>
                      <a:pt x="30" y="1057"/>
                    </a:lnTo>
                    <a:lnTo>
                      <a:pt x="28" y="1057"/>
                    </a:lnTo>
                    <a:lnTo>
                      <a:pt x="27" y="1057"/>
                    </a:lnTo>
                    <a:lnTo>
                      <a:pt x="25" y="1057"/>
                    </a:lnTo>
                    <a:lnTo>
                      <a:pt x="25" y="1060"/>
                    </a:lnTo>
                    <a:lnTo>
                      <a:pt x="27" y="1062"/>
                    </a:lnTo>
                    <a:lnTo>
                      <a:pt x="27" y="1063"/>
                    </a:lnTo>
                    <a:lnTo>
                      <a:pt x="27" y="1065"/>
                    </a:lnTo>
                    <a:lnTo>
                      <a:pt x="27" y="1067"/>
                    </a:lnTo>
                    <a:lnTo>
                      <a:pt x="27" y="1070"/>
                    </a:lnTo>
                    <a:lnTo>
                      <a:pt x="28" y="1071"/>
                    </a:lnTo>
                    <a:lnTo>
                      <a:pt x="31" y="1073"/>
                    </a:lnTo>
                    <a:lnTo>
                      <a:pt x="33" y="1074"/>
                    </a:lnTo>
                    <a:lnTo>
                      <a:pt x="35" y="1074"/>
                    </a:lnTo>
                    <a:lnTo>
                      <a:pt x="36" y="1076"/>
                    </a:lnTo>
                    <a:lnTo>
                      <a:pt x="38" y="1076"/>
                    </a:lnTo>
                    <a:lnTo>
                      <a:pt x="39" y="1078"/>
                    </a:lnTo>
                    <a:lnTo>
                      <a:pt x="39" y="1079"/>
                    </a:lnTo>
                    <a:lnTo>
                      <a:pt x="39" y="1081"/>
                    </a:lnTo>
                    <a:lnTo>
                      <a:pt x="41" y="1081"/>
                    </a:lnTo>
                    <a:lnTo>
                      <a:pt x="41" y="1082"/>
                    </a:lnTo>
                    <a:lnTo>
                      <a:pt x="42" y="1084"/>
                    </a:lnTo>
                    <a:lnTo>
                      <a:pt x="41" y="1084"/>
                    </a:lnTo>
                    <a:lnTo>
                      <a:pt x="39" y="1084"/>
                    </a:lnTo>
                    <a:lnTo>
                      <a:pt x="38" y="1084"/>
                    </a:lnTo>
                    <a:lnTo>
                      <a:pt x="36" y="1084"/>
                    </a:lnTo>
                    <a:lnTo>
                      <a:pt x="35" y="1084"/>
                    </a:lnTo>
                    <a:lnTo>
                      <a:pt x="33" y="1086"/>
                    </a:lnTo>
                    <a:lnTo>
                      <a:pt x="33" y="1087"/>
                    </a:lnTo>
                    <a:lnTo>
                      <a:pt x="35" y="1089"/>
                    </a:lnTo>
                    <a:lnTo>
                      <a:pt x="33" y="1089"/>
                    </a:lnTo>
                    <a:lnTo>
                      <a:pt x="33" y="1090"/>
                    </a:lnTo>
                    <a:lnTo>
                      <a:pt x="33" y="1089"/>
                    </a:lnTo>
                    <a:lnTo>
                      <a:pt x="31" y="1089"/>
                    </a:lnTo>
                    <a:lnTo>
                      <a:pt x="31" y="1087"/>
                    </a:lnTo>
                    <a:lnTo>
                      <a:pt x="30" y="1087"/>
                    </a:lnTo>
                    <a:lnTo>
                      <a:pt x="28" y="1087"/>
                    </a:lnTo>
                    <a:lnTo>
                      <a:pt x="27" y="1087"/>
                    </a:lnTo>
                    <a:lnTo>
                      <a:pt x="25" y="1087"/>
                    </a:lnTo>
                    <a:lnTo>
                      <a:pt x="25" y="1089"/>
                    </a:lnTo>
                    <a:lnTo>
                      <a:pt x="25" y="1090"/>
                    </a:lnTo>
                    <a:lnTo>
                      <a:pt x="23" y="1090"/>
                    </a:lnTo>
                    <a:lnTo>
                      <a:pt x="22" y="1090"/>
                    </a:lnTo>
                    <a:lnTo>
                      <a:pt x="20" y="1092"/>
                    </a:lnTo>
                    <a:lnTo>
                      <a:pt x="19" y="1092"/>
                    </a:lnTo>
                    <a:lnTo>
                      <a:pt x="19" y="1090"/>
                    </a:lnTo>
                    <a:lnTo>
                      <a:pt x="17" y="1089"/>
                    </a:lnTo>
                    <a:lnTo>
                      <a:pt x="16" y="1089"/>
                    </a:lnTo>
                    <a:lnTo>
                      <a:pt x="16" y="1090"/>
                    </a:lnTo>
                    <a:lnTo>
                      <a:pt x="16" y="1092"/>
                    </a:lnTo>
                    <a:lnTo>
                      <a:pt x="16" y="1093"/>
                    </a:lnTo>
                    <a:lnTo>
                      <a:pt x="14" y="1095"/>
                    </a:lnTo>
                    <a:lnTo>
                      <a:pt x="14" y="1097"/>
                    </a:lnTo>
                    <a:lnTo>
                      <a:pt x="12" y="1098"/>
                    </a:lnTo>
                    <a:lnTo>
                      <a:pt x="12" y="1100"/>
                    </a:lnTo>
                    <a:lnTo>
                      <a:pt x="14" y="1101"/>
                    </a:lnTo>
                    <a:lnTo>
                      <a:pt x="12" y="1103"/>
                    </a:lnTo>
                    <a:lnTo>
                      <a:pt x="11" y="1103"/>
                    </a:lnTo>
                    <a:lnTo>
                      <a:pt x="9" y="1101"/>
                    </a:lnTo>
                    <a:lnTo>
                      <a:pt x="9" y="1103"/>
                    </a:lnTo>
                    <a:lnTo>
                      <a:pt x="9" y="1106"/>
                    </a:lnTo>
                    <a:lnTo>
                      <a:pt x="8" y="1108"/>
                    </a:lnTo>
                    <a:lnTo>
                      <a:pt x="8" y="1106"/>
                    </a:lnTo>
                    <a:lnTo>
                      <a:pt x="6" y="1106"/>
                    </a:lnTo>
                    <a:lnTo>
                      <a:pt x="6" y="1105"/>
                    </a:lnTo>
                    <a:lnTo>
                      <a:pt x="4" y="1105"/>
                    </a:lnTo>
                    <a:lnTo>
                      <a:pt x="4" y="1103"/>
                    </a:lnTo>
                    <a:lnTo>
                      <a:pt x="3" y="1103"/>
                    </a:lnTo>
                    <a:lnTo>
                      <a:pt x="3" y="1105"/>
                    </a:lnTo>
                    <a:lnTo>
                      <a:pt x="1" y="1105"/>
                    </a:lnTo>
                    <a:lnTo>
                      <a:pt x="0" y="1105"/>
                    </a:lnTo>
                    <a:lnTo>
                      <a:pt x="0" y="1106"/>
                    </a:lnTo>
                    <a:lnTo>
                      <a:pt x="1" y="1106"/>
                    </a:lnTo>
                    <a:lnTo>
                      <a:pt x="3" y="1106"/>
                    </a:lnTo>
                    <a:lnTo>
                      <a:pt x="4" y="1108"/>
                    </a:lnTo>
                    <a:lnTo>
                      <a:pt x="4" y="1109"/>
                    </a:lnTo>
                    <a:lnTo>
                      <a:pt x="6" y="1111"/>
                    </a:lnTo>
                    <a:lnTo>
                      <a:pt x="6" y="1112"/>
                    </a:lnTo>
                    <a:lnTo>
                      <a:pt x="6" y="1116"/>
                    </a:lnTo>
                    <a:lnTo>
                      <a:pt x="6" y="1117"/>
                    </a:lnTo>
                    <a:lnTo>
                      <a:pt x="8" y="1119"/>
                    </a:lnTo>
                    <a:lnTo>
                      <a:pt x="6" y="1120"/>
                    </a:lnTo>
                    <a:lnTo>
                      <a:pt x="4" y="1120"/>
                    </a:lnTo>
                    <a:lnTo>
                      <a:pt x="4" y="1119"/>
                    </a:lnTo>
                    <a:lnTo>
                      <a:pt x="3" y="1119"/>
                    </a:lnTo>
                    <a:lnTo>
                      <a:pt x="3" y="1120"/>
                    </a:lnTo>
                    <a:lnTo>
                      <a:pt x="1" y="1120"/>
                    </a:lnTo>
                    <a:lnTo>
                      <a:pt x="1" y="1122"/>
                    </a:lnTo>
                    <a:lnTo>
                      <a:pt x="0" y="1122"/>
                    </a:lnTo>
                    <a:lnTo>
                      <a:pt x="0" y="1124"/>
                    </a:lnTo>
                    <a:lnTo>
                      <a:pt x="0" y="1125"/>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84" name="Freeform 64"/>
              <p:cNvSpPr>
                <a:spLocks/>
              </p:cNvSpPr>
              <p:nvPr/>
            </p:nvSpPr>
            <p:spPr bwMode="auto">
              <a:xfrm>
                <a:off x="3817" y="2804"/>
                <a:ext cx="628" cy="652"/>
              </a:xfrm>
              <a:custGeom>
                <a:avLst/>
                <a:gdLst>
                  <a:gd name="T0" fmla="*/ 599 w 628"/>
                  <a:gd name="T1" fmla="*/ 492 h 652"/>
                  <a:gd name="T2" fmla="*/ 517 w 628"/>
                  <a:gd name="T3" fmla="*/ 559 h 652"/>
                  <a:gd name="T4" fmla="*/ 480 w 628"/>
                  <a:gd name="T5" fmla="*/ 589 h 652"/>
                  <a:gd name="T6" fmla="*/ 444 w 628"/>
                  <a:gd name="T7" fmla="*/ 625 h 652"/>
                  <a:gd name="T8" fmla="*/ 403 w 628"/>
                  <a:gd name="T9" fmla="*/ 649 h 652"/>
                  <a:gd name="T10" fmla="*/ 374 w 628"/>
                  <a:gd name="T11" fmla="*/ 641 h 652"/>
                  <a:gd name="T12" fmla="*/ 393 w 628"/>
                  <a:gd name="T13" fmla="*/ 611 h 652"/>
                  <a:gd name="T14" fmla="*/ 401 w 628"/>
                  <a:gd name="T15" fmla="*/ 575 h 652"/>
                  <a:gd name="T16" fmla="*/ 384 w 628"/>
                  <a:gd name="T17" fmla="*/ 557 h 652"/>
                  <a:gd name="T18" fmla="*/ 381 w 628"/>
                  <a:gd name="T19" fmla="*/ 530 h 652"/>
                  <a:gd name="T20" fmla="*/ 374 w 628"/>
                  <a:gd name="T21" fmla="*/ 524 h 652"/>
                  <a:gd name="T22" fmla="*/ 371 w 628"/>
                  <a:gd name="T23" fmla="*/ 535 h 652"/>
                  <a:gd name="T24" fmla="*/ 350 w 628"/>
                  <a:gd name="T25" fmla="*/ 564 h 652"/>
                  <a:gd name="T26" fmla="*/ 335 w 628"/>
                  <a:gd name="T27" fmla="*/ 573 h 652"/>
                  <a:gd name="T28" fmla="*/ 316 w 628"/>
                  <a:gd name="T29" fmla="*/ 576 h 652"/>
                  <a:gd name="T30" fmla="*/ 293 w 628"/>
                  <a:gd name="T31" fmla="*/ 575 h 652"/>
                  <a:gd name="T32" fmla="*/ 276 w 628"/>
                  <a:gd name="T33" fmla="*/ 578 h 652"/>
                  <a:gd name="T34" fmla="*/ 259 w 628"/>
                  <a:gd name="T35" fmla="*/ 580 h 652"/>
                  <a:gd name="T36" fmla="*/ 248 w 628"/>
                  <a:gd name="T37" fmla="*/ 570 h 652"/>
                  <a:gd name="T38" fmla="*/ 236 w 628"/>
                  <a:gd name="T39" fmla="*/ 572 h 652"/>
                  <a:gd name="T40" fmla="*/ 216 w 628"/>
                  <a:gd name="T41" fmla="*/ 597 h 652"/>
                  <a:gd name="T42" fmla="*/ 184 w 628"/>
                  <a:gd name="T43" fmla="*/ 600 h 652"/>
                  <a:gd name="T44" fmla="*/ 151 w 628"/>
                  <a:gd name="T45" fmla="*/ 600 h 652"/>
                  <a:gd name="T46" fmla="*/ 127 w 628"/>
                  <a:gd name="T47" fmla="*/ 587 h 652"/>
                  <a:gd name="T48" fmla="*/ 148 w 628"/>
                  <a:gd name="T49" fmla="*/ 564 h 652"/>
                  <a:gd name="T50" fmla="*/ 176 w 628"/>
                  <a:gd name="T51" fmla="*/ 524 h 652"/>
                  <a:gd name="T52" fmla="*/ 181 w 628"/>
                  <a:gd name="T53" fmla="*/ 489 h 652"/>
                  <a:gd name="T54" fmla="*/ 189 w 628"/>
                  <a:gd name="T55" fmla="*/ 445 h 652"/>
                  <a:gd name="T56" fmla="*/ 187 w 628"/>
                  <a:gd name="T57" fmla="*/ 415 h 652"/>
                  <a:gd name="T58" fmla="*/ 186 w 628"/>
                  <a:gd name="T59" fmla="*/ 401 h 652"/>
                  <a:gd name="T60" fmla="*/ 173 w 628"/>
                  <a:gd name="T61" fmla="*/ 415 h 652"/>
                  <a:gd name="T62" fmla="*/ 159 w 628"/>
                  <a:gd name="T63" fmla="*/ 429 h 652"/>
                  <a:gd name="T64" fmla="*/ 141 w 628"/>
                  <a:gd name="T65" fmla="*/ 443 h 652"/>
                  <a:gd name="T66" fmla="*/ 122 w 628"/>
                  <a:gd name="T67" fmla="*/ 446 h 652"/>
                  <a:gd name="T68" fmla="*/ 121 w 628"/>
                  <a:gd name="T69" fmla="*/ 421 h 652"/>
                  <a:gd name="T70" fmla="*/ 103 w 628"/>
                  <a:gd name="T71" fmla="*/ 407 h 652"/>
                  <a:gd name="T72" fmla="*/ 83 w 628"/>
                  <a:gd name="T73" fmla="*/ 391 h 652"/>
                  <a:gd name="T74" fmla="*/ 64 w 628"/>
                  <a:gd name="T75" fmla="*/ 377 h 652"/>
                  <a:gd name="T76" fmla="*/ 48 w 628"/>
                  <a:gd name="T77" fmla="*/ 359 h 652"/>
                  <a:gd name="T78" fmla="*/ 34 w 628"/>
                  <a:gd name="T79" fmla="*/ 337 h 652"/>
                  <a:gd name="T80" fmla="*/ 19 w 628"/>
                  <a:gd name="T81" fmla="*/ 337 h 652"/>
                  <a:gd name="T82" fmla="*/ 10 w 628"/>
                  <a:gd name="T83" fmla="*/ 315 h 652"/>
                  <a:gd name="T84" fmla="*/ 7 w 628"/>
                  <a:gd name="T85" fmla="*/ 296 h 652"/>
                  <a:gd name="T86" fmla="*/ 2 w 628"/>
                  <a:gd name="T87" fmla="*/ 252 h 652"/>
                  <a:gd name="T88" fmla="*/ 46 w 628"/>
                  <a:gd name="T89" fmla="*/ 239 h 652"/>
                  <a:gd name="T90" fmla="*/ 107 w 628"/>
                  <a:gd name="T91" fmla="*/ 248 h 652"/>
                  <a:gd name="T92" fmla="*/ 113 w 628"/>
                  <a:gd name="T93" fmla="*/ 291 h 652"/>
                  <a:gd name="T94" fmla="*/ 126 w 628"/>
                  <a:gd name="T95" fmla="*/ 234 h 652"/>
                  <a:gd name="T96" fmla="*/ 186 w 628"/>
                  <a:gd name="T97" fmla="*/ 184 h 652"/>
                  <a:gd name="T98" fmla="*/ 197 w 628"/>
                  <a:gd name="T99" fmla="*/ 157 h 652"/>
                  <a:gd name="T100" fmla="*/ 208 w 628"/>
                  <a:gd name="T101" fmla="*/ 138 h 652"/>
                  <a:gd name="T102" fmla="*/ 222 w 628"/>
                  <a:gd name="T103" fmla="*/ 117 h 652"/>
                  <a:gd name="T104" fmla="*/ 240 w 628"/>
                  <a:gd name="T105" fmla="*/ 104 h 652"/>
                  <a:gd name="T106" fmla="*/ 260 w 628"/>
                  <a:gd name="T107" fmla="*/ 85 h 652"/>
                  <a:gd name="T108" fmla="*/ 287 w 628"/>
                  <a:gd name="T109" fmla="*/ 71 h 652"/>
                  <a:gd name="T110" fmla="*/ 320 w 628"/>
                  <a:gd name="T111" fmla="*/ 69 h 652"/>
                  <a:gd name="T112" fmla="*/ 325 w 628"/>
                  <a:gd name="T113" fmla="*/ 52 h 652"/>
                  <a:gd name="T114" fmla="*/ 327 w 628"/>
                  <a:gd name="T115" fmla="*/ 30 h 652"/>
                  <a:gd name="T116" fmla="*/ 343 w 628"/>
                  <a:gd name="T117" fmla="*/ 14 h 652"/>
                  <a:gd name="T118" fmla="*/ 363 w 628"/>
                  <a:gd name="T119" fmla="*/ 1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8" h="652">
                    <a:moveTo>
                      <a:pt x="628" y="421"/>
                    </a:moveTo>
                    <a:lnTo>
                      <a:pt x="628" y="424"/>
                    </a:lnTo>
                    <a:lnTo>
                      <a:pt x="626" y="424"/>
                    </a:lnTo>
                    <a:lnTo>
                      <a:pt x="623" y="431"/>
                    </a:lnTo>
                    <a:lnTo>
                      <a:pt x="621" y="431"/>
                    </a:lnTo>
                    <a:lnTo>
                      <a:pt x="620" y="434"/>
                    </a:lnTo>
                    <a:lnTo>
                      <a:pt x="621" y="437"/>
                    </a:lnTo>
                    <a:lnTo>
                      <a:pt x="615" y="439"/>
                    </a:lnTo>
                    <a:lnTo>
                      <a:pt x="615" y="445"/>
                    </a:lnTo>
                    <a:lnTo>
                      <a:pt x="610" y="448"/>
                    </a:lnTo>
                    <a:lnTo>
                      <a:pt x="610" y="451"/>
                    </a:lnTo>
                    <a:lnTo>
                      <a:pt x="607" y="454"/>
                    </a:lnTo>
                    <a:lnTo>
                      <a:pt x="609" y="462"/>
                    </a:lnTo>
                    <a:lnTo>
                      <a:pt x="609" y="465"/>
                    </a:lnTo>
                    <a:lnTo>
                      <a:pt x="602" y="477"/>
                    </a:lnTo>
                    <a:lnTo>
                      <a:pt x="604" y="489"/>
                    </a:lnTo>
                    <a:lnTo>
                      <a:pt x="599" y="492"/>
                    </a:lnTo>
                    <a:lnTo>
                      <a:pt x="591" y="519"/>
                    </a:lnTo>
                    <a:lnTo>
                      <a:pt x="585" y="521"/>
                    </a:lnTo>
                    <a:lnTo>
                      <a:pt x="579" y="524"/>
                    </a:lnTo>
                    <a:lnTo>
                      <a:pt x="564" y="529"/>
                    </a:lnTo>
                    <a:lnTo>
                      <a:pt x="553" y="534"/>
                    </a:lnTo>
                    <a:lnTo>
                      <a:pt x="547" y="542"/>
                    </a:lnTo>
                    <a:lnTo>
                      <a:pt x="547" y="543"/>
                    </a:lnTo>
                    <a:lnTo>
                      <a:pt x="545" y="543"/>
                    </a:lnTo>
                    <a:lnTo>
                      <a:pt x="544" y="545"/>
                    </a:lnTo>
                    <a:lnTo>
                      <a:pt x="542" y="545"/>
                    </a:lnTo>
                    <a:lnTo>
                      <a:pt x="539" y="548"/>
                    </a:lnTo>
                    <a:lnTo>
                      <a:pt x="536" y="549"/>
                    </a:lnTo>
                    <a:lnTo>
                      <a:pt x="533" y="551"/>
                    </a:lnTo>
                    <a:lnTo>
                      <a:pt x="528" y="553"/>
                    </a:lnTo>
                    <a:lnTo>
                      <a:pt x="525" y="554"/>
                    </a:lnTo>
                    <a:lnTo>
                      <a:pt x="522" y="556"/>
                    </a:lnTo>
                    <a:lnTo>
                      <a:pt x="517" y="559"/>
                    </a:lnTo>
                    <a:lnTo>
                      <a:pt x="515" y="561"/>
                    </a:lnTo>
                    <a:lnTo>
                      <a:pt x="514" y="562"/>
                    </a:lnTo>
                    <a:lnTo>
                      <a:pt x="512" y="564"/>
                    </a:lnTo>
                    <a:lnTo>
                      <a:pt x="509" y="564"/>
                    </a:lnTo>
                    <a:lnTo>
                      <a:pt x="506" y="567"/>
                    </a:lnTo>
                    <a:lnTo>
                      <a:pt x="504" y="568"/>
                    </a:lnTo>
                    <a:lnTo>
                      <a:pt x="503" y="570"/>
                    </a:lnTo>
                    <a:lnTo>
                      <a:pt x="499" y="572"/>
                    </a:lnTo>
                    <a:lnTo>
                      <a:pt x="496" y="573"/>
                    </a:lnTo>
                    <a:lnTo>
                      <a:pt x="493" y="576"/>
                    </a:lnTo>
                    <a:lnTo>
                      <a:pt x="491" y="576"/>
                    </a:lnTo>
                    <a:lnTo>
                      <a:pt x="488" y="578"/>
                    </a:lnTo>
                    <a:lnTo>
                      <a:pt x="487" y="580"/>
                    </a:lnTo>
                    <a:lnTo>
                      <a:pt x="485" y="580"/>
                    </a:lnTo>
                    <a:lnTo>
                      <a:pt x="484" y="583"/>
                    </a:lnTo>
                    <a:lnTo>
                      <a:pt x="482" y="586"/>
                    </a:lnTo>
                    <a:lnTo>
                      <a:pt x="480" y="589"/>
                    </a:lnTo>
                    <a:lnTo>
                      <a:pt x="479" y="592"/>
                    </a:lnTo>
                    <a:lnTo>
                      <a:pt x="477" y="594"/>
                    </a:lnTo>
                    <a:lnTo>
                      <a:pt x="476" y="597"/>
                    </a:lnTo>
                    <a:lnTo>
                      <a:pt x="474" y="599"/>
                    </a:lnTo>
                    <a:lnTo>
                      <a:pt x="471" y="600"/>
                    </a:lnTo>
                    <a:lnTo>
                      <a:pt x="469" y="603"/>
                    </a:lnTo>
                    <a:lnTo>
                      <a:pt x="468" y="605"/>
                    </a:lnTo>
                    <a:lnTo>
                      <a:pt x="466" y="606"/>
                    </a:lnTo>
                    <a:lnTo>
                      <a:pt x="463" y="610"/>
                    </a:lnTo>
                    <a:lnTo>
                      <a:pt x="461" y="611"/>
                    </a:lnTo>
                    <a:lnTo>
                      <a:pt x="458" y="613"/>
                    </a:lnTo>
                    <a:lnTo>
                      <a:pt x="457" y="616"/>
                    </a:lnTo>
                    <a:lnTo>
                      <a:pt x="453" y="618"/>
                    </a:lnTo>
                    <a:lnTo>
                      <a:pt x="452" y="619"/>
                    </a:lnTo>
                    <a:lnTo>
                      <a:pt x="449" y="621"/>
                    </a:lnTo>
                    <a:lnTo>
                      <a:pt x="447" y="624"/>
                    </a:lnTo>
                    <a:lnTo>
                      <a:pt x="444" y="625"/>
                    </a:lnTo>
                    <a:lnTo>
                      <a:pt x="442" y="627"/>
                    </a:lnTo>
                    <a:lnTo>
                      <a:pt x="439" y="629"/>
                    </a:lnTo>
                    <a:lnTo>
                      <a:pt x="438" y="630"/>
                    </a:lnTo>
                    <a:lnTo>
                      <a:pt x="434" y="632"/>
                    </a:lnTo>
                    <a:lnTo>
                      <a:pt x="431" y="633"/>
                    </a:lnTo>
                    <a:lnTo>
                      <a:pt x="430" y="635"/>
                    </a:lnTo>
                    <a:lnTo>
                      <a:pt x="427" y="637"/>
                    </a:lnTo>
                    <a:lnTo>
                      <a:pt x="423" y="640"/>
                    </a:lnTo>
                    <a:lnTo>
                      <a:pt x="422" y="640"/>
                    </a:lnTo>
                    <a:lnTo>
                      <a:pt x="419" y="643"/>
                    </a:lnTo>
                    <a:lnTo>
                      <a:pt x="417" y="643"/>
                    </a:lnTo>
                    <a:lnTo>
                      <a:pt x="414" y="644"/>
                    </a:lnTo>
                    <a:lnTo>
                      <a:pt x="412" y="646"/>
                    </a:lnTo>
                    <a:lnTo>
                      <a:pt x="409" y="648"/>
                    </a:lnTo>
                    <a:lnTo>
                      <a:pt x="408" y="648"/>
                    </a:lnTo>
                    <a:lnTo>
                      <a:pt x="406" y="649"/>
                    </a:lnTo>
                    <a:lnTo>
                      <a:pt x="403" y="649"/>
                    </a:lnTo>
                    <a:lnTo>
                      <a:pt x="401" y="651"/>
                    </a:lnTo>
                    <a:lnTo>
                      <a:pt x="398" y="651"/>
                    </a:lnTo>
                    <a:lnTo>
                      <a:pt x="396" y="651"/>
                    </a:lnTo>
                    <a:lnTo>
                      <a:pt x="393" y="652"/>
                    </a:lnTo>
                    <a:lnTo>
                      <a:pt x="392" y="652"/>
                    </a:lnTo>
                    <a:lnTo>
                      <a:pt x="390" y="651"/>
                    </a:lnTo>
                    <a:lnTo>
                      <a:pt x="387" y="651"/>
                    </a:lnTo>
                    <a:lnTo>
                      <a:pt x="385" y="651"/>
                    </a:lnTo>
                    <a:lnTo>
                      <a:pt x="382" y="651"/>
                    </a:lnTo>
                    <a:lnTo>
                      <a:pt x="381" y="651"/>
                    </a:lnTo>
                    <a:lnTo>
                      <a:pt x="379" y="649"/>
                    </a:lnTo>
                    <a:lnTo>
                      <a:pt x="377" y="648"/>
                    </a:lnTo>
                    <a:lnTo>
                      <a:pt x="377" y="646"/>
                    </a:lnTo>
                    <a:lnTo>
                      <a:pt x="376" y="646"/>
                    </a:lnTo>
                    <a:lnTo>
                      <a:pt x="376" y="644"/>
                    </a:lnTo>
                    <a:lnTo>
                      <a:pt x="376" y="643"/>
                    </a:lnTo>
                    <a:lnTo>
                      <a:pt x="374" y="641"/>
                    </a:lnTo>
                    <a:lnTo>
                      <a:pt x="374" y="640"/>
                    </a:lnTo>
                    <a:lnTo>
                      <a:pt x="374" y="638"/>
                    </a:lnTo>
                    <a:lnTo>
                      <a:pt x="374" y="637"/>
                    </a:lnTo>
                    <a:lnTo>
                      <a:pt x="374" y="635"/>
                    </a:lnTo>
                    <a:lnTo>
                      <a:pt x="376" y="633"/>
                    </a:lnTo>
                    <a:lnTo>
                      <a:pt x="377" y="632"/>
                    </a:lnTo>
                    <a:lnTo>
                      <a:pt x="379" y="629"/>
                    </a:lnTo>
                    <a:lnTo>
                      <a:pt x="381" y="627"/>
                    </a:lnTo>
                    <a:lnTo>
                      <a:pt x="381" y="625"/>
                    </a:lnTo>
                    <a:lnTo>
                      <a:pt x="382" y="625"/>
                    </a:lnTo>
                    <a:lnTo>
                      <a:pt x="384" y="622"/>
                    </a:lnTo>
                    <a:lnTo>
                      <a:pt x="385" y="621"/>
                    </a:lnTo>
                    <a:lnTo>
                      <a:pt x="387" y="619"/>
                    </a:lnTo>
                    <a:lnTo>
                      <a:pt x="389" y="619"/>
                    </a:lnTo>
                    <a:lnTo>
                      <a:pt x="390" y="614"/>
                    </a:lnTo>
                    <a:lnTo>
                      <a:pt x="392" y="613"/>
                    </a:lnTo>
                    <a:lnTo>
                      <a:pt x="393" y="611"/>
                    </a:lnTo>
                    <a:lnTo>
                      <a:pt x="395" y="610"/>
                    </a:lnTo>
                    <a:lnTo>
                      <a:pt x="396" y="608"/>
                    </a:lnTo>
                    <a:lnTo>
                      <a:pt x="396" y="606"/>
                    </a:lnTo>
                    <a:lnTo>
                      <a:pt x="398" y="605"/>
                    </a:lnTo>
                    <a:lnTo>
                      <a:pt x="400" y="603"/>
                    </a:lnTo>
                    <a:lnTo>
                      <a:pt x="400" y="602"/>
                    </a:lnTo>
                    <a:lnTo>
                      <a:pt x="401" y="599"/>
                    </a:lnTo>
                    <a:lnTo>
                      <a:pt x="403" y="595"/>
                    </a:lnTo>
                    <a:lnTo>
                      <a:pt x="403" y="592"/>
                    </a:lnTo>
                    <a:lnTo>
                      <a:pt x="404" y="591"/>
                    </a:lnTo>
                    <a:lnTo>
                      <a:pt x="404" y="589"/>
                    </a:lnTo>
                    <a:lnTo>
                      <a:pt x="404" y="586"/>
                    </a:lnTo>
                    <a:lnTo>
                      <a:pt x="404" y="583"/>
                    </a:lnTo>
                    <a:lnTo>
                      <a:pt x="404" y="581"/>
                    </a:lnTo>
                    <a:lnTo>
                      <a:pt x="403" y="578"/>
                    </a:lnTo>
                    <a:lnTo>
                      <a:pt x="403" y="576"/>
                    </a:lnTo>
                    <a:lnTo>
                      <a:pt x="401" y="575"/>
                    </a:lnTo>
                    <a:lnTo>
                      <a:pt x="401" y="573"/>
                    </a:lnTo>
                    <a:lnTo>
                      <a:pt x="400" y="572"/>
                    </a:lnTo>
                    <a:lnTo>
                      <a:pt x="398" y="568"/>
                    </a:lnTo>
                    <a:lnTo>
                      <a:pt x="398" y="567"/>
                    </a:lnTo>
                    <a:lnTo>
                      <a:pt x="396" y="567"/>
                    </a:lnTo>
                    <a:lnTo>
                      <a:pt x="395" y="567"/>
                    </a:lnTo>
                    <a:lnTo>
                      <a:pt x="395" y="565"/>
                    </a:lnTo>
                    <a:lnTo>
                      <a:pt x="393" y="565"/>
                    </a:lnTo>
                    <a:lnTo>
                      <a:pt x="393" y="564"/>
                    </a:lnTo>
                    <a:lnTo>
                      <a:pt x="392" y="562"/>
                    </a:lnTo>
                    <a:lnTo>
                      <a:pt x="390" y="562"/>
                    </a:lnTo>
                    <a:lnTo>
                      <a:pt x="390" y="561"/>
                    </a:lnTo>
                    <a:lnTo>
                      <a:pt x="389" y="561"/>
                    </a:lnTo>
                    <a:lnTo>
                      <a:pt x="389" y="559"/>
                    </a:lnTo>
                    <a:lnTo>
                      <a:pt x="387" y="559"/>
                    </a:lnTo>
                    <a:lnTo>
                      <a:pt x="385" y="557"/>
                    </a:lnTo>
                    <a:lnTo>
                      <a:pt x="384" y="557"/>
                    </a:lnTo>
                    <a:lnTo>
                      <a:pt x="384" y="556"/>
                    </a:lnTo>
                    <a:lnTo>
                      <a:pt x="384" y="554"/>
                    </a:lnTo>
                    <a:lnTo>
                      <a:pt x="384" y="553"/>
                    </a:lnTo>
                    <a:lnTo>
                      <a:pt x="384" y="551"/>
                    </a:lnTo>
                    <a:lnTo>
                      <a:pt x="382" y="551"/>
                    </a:lnTo>
                    <a:lnTo>
                      <a:pt x="382" y="549"/>
                    </a:lnTo>
                    <a:lnTo>
                      <a:pt x="381" y="549"/>
                    </a:lnTo>
                    <a:lnTo>
                      <a:pt x="381" y="548"/>
                    </a:lnTo>
                    <a:lnTo>
                      <a:pt x="381" y="546"/>
                    </a:lnTo>
                    <a:lnTo>
                      <a:pt x="381" y="543"/>
                    </a:lnTo>
                    <a:lnTo>
                      <a:pt x="381" y="542"/>
                    </a:lnTo>
                    <a:lnTo>
                      <a:pt x="381" y="540"/>
                    </a:lnTo>
                    <a:lnTo>
                      <a:pt x="381" y="537"/>
                    </a:lnTo>
                    <a:lnTo>
                      <a:pt x="381" y="535"/>
                    </a:lnTo>
                    <a:lnTo>
                      <a:pt x="381" y="534"/>
                    </a:lnTo>
                    <a:lnTo>
                      <a:pt x="381" y="532"/>
                    </a:lnTo>
                    <a:lnTo>
                      <a:pt x="381" y="530"/>
                    </a:lnTo>
                    <a:lnTo>
                      <a:pt x="381" y="529"/>
                    </a:lnTo>
                    <a:lnTo>
                      <a:pt x="381" y="527"/>
                    </a:lnTo>
                    <a:lnTo>
                      <a:pt x="381" y="524"/>
                    </a:lnTo>
                    <a:lnTo>
                      <a:pt x="381" y="523"/>
                    </a:lnTo>
                    <a:lnTo>
                      <a:pt x="379" y="521"/>
                    </a:lnTo>
                    <a:lnTo>
                      <a:pt x="377" y="519"/>
                    </a:lnTo>
                    <a:lnTo>
                      <a:pt x="377" y="518"/>
                    </a:lnTo>
                    <a:lnTo>
                      <a:pt x="377" y="516"/>
                    </a:lnTo>
                    <a:lnTo>
                      <a:pt x="376" y="516"/>
                    </a:lnTo>
                    <a:lnTo>
                      <a:pt x="374" y="516"/>
                    </a:lnTo>
                    <a:lnTo>
                      <a:pt x="373" y="516"/>
                    </a:lnTo>
                    <a:lnTo>
                      <a:pt x="371" y="518"/>
                    </a:lnTo>
                    <a:lnTo>
                      <a:pt x="371" y="519"/>
                    </a:lnTo>
                    <a:lnTo>
                      <a:pt x="373" y="521"/>
                    </a:lnTo>
                    <a:lnTo>
                      <a:pt x="374" y="521"/>
                    </a:lnTo>
                    <a:lnTo>
                      <a:pt x="374" y="523"/>
                    </a:lnTo>
                    <a:lnTo>
                      <a:pt x="374" y="524"/>
                    </a:lnTo>
                    <a:lnTo>
                      <a:pt x="373" y="526"/>
                    </a:lnTo>
                    <a:lnTo>
                      <a:pt x="373" y="524"/>
                    </a:lnTo>
                    <a:lnTo>
                      <a:pt x="371" y="523"/>
                    </a:lnTo>
                    <a:lnTo>
                      <a:pt x="371" y="521"/>
                    </a:lnTo>
                    <a:lnTo>
                      <a:pt x="369" y="521"/>
                    </a:lnTo>
                    <a:lnTo>
                      <a:pt x="368" y="521"/>
                    </a:lnTo>
                    <a:lnTo>
                      <a:pt x="368" y="523"/>
                    </a:lnTo>
                    <a:lnTo>
                      <a:pt x="371" y="524"/>
                    </a:lnTo>
                    <a:lnTo>
                      <a:pt x="371" y="526"/>
                    </a:lnTo>
                    <a:lnTo>
                      <a:pt x="371" y="527"/>
                    </a:lnTo>
                    <a:lnTo>
                      <a:pt x="369" y="529"/>
                    </a:lnTo>
                    <a:lnTo>
                      <a:pt x="368" y="530"/>
                    </a:lnTo>
                    <a:lnTo>
                      <a:pt x="368" y="532"/>
                    </a:lnTo>
                    <a:lnTo>
                      <a:pt x="368" y="534"/>
                    </a:lnTo>
                    <a:lnTo>
                      <a:pt x="369" y="534"/>
                    </a:lnTo>
                    <a:lnTo>
                      <a:pt x="371" y="534"/>
                    </a:lnTo>
                    <a:lnTo>
                      <a:pt x="371" y="535"/>
                    </a:lnTo>
                    <a:lnTo>
                      <a:pt x="369" y="535"/>
                    </a:lnTo>
                    <a:lnTo>
                      <a:pt x="368" y="535"/>
                    </a:lnTo>
                    <a:lnTo>
                      <a:pt x="368" y="537"/>
                    </a:lnTo>
                    <a:lnTo>
                      <a:pt x="366" y="538"/>
                    </a:lnTo>
                    <a:lnTo>
                      <a:pt x="368" y="540"/>
                    </a:lnTo>
                    <a:lnTo>
                      <a:pt x="366" y="540"/>
                    </a:lnTo>
                    <a:lnTo>
                      <a:pt x="366" y="542"/>
                    </a:lnTo>
                    <a:lnTo>
                      <a:pt x="366" y="543"/>
                    </a:lnTo>
                    <a:lnTo>
                      <a:pt x="366" y="545"/>
                    </a:lnTo>
                    <a:lnTo>
                      <a:pt x="365" y="545"/>
                    </a:lnTo>
                    <a:lnTo>
                      <a:pt x="363" y="546"/>
                    </a:lnTo>
                    <a:lnTo>
                      <a:pt x="362" y="548"/>
                    </a:lnTo>
                    <a:lnTo>
                      <a:pt x="362" y="549"/>
                    </a:lnTo>
                    <a:lnTo>
                      <a:pt x="360" y="549"/>
                    </a:lnTo>
                    <a:lnTo>
                      <a:pt x="349" y="562"/>
                    </a:lnTo>
                    <a:lnTo>
                      <a:pt x="349" y="564"/>
                    </a:lnTo>
                    <a:lnTo>
                      <a:pt x="350" y="564"/>
                    </a:lnTo>
                    <a:lnTo>
                      <a:pt x="349" y="565"/>
                    </a:lnTo>
                    <a:lnTo>
                      <a:pt x="347" y="565"/>
                    </a:lnTo>
                    <a:lnTo>
                      <a:pt x="347" y="567"/>
                    </a:lnTo>
                    <a:lnTo>
                      <a:pt x="346" y="568"/>
                    </a:lnTo>
                    <a:lnTo>
                      <a:pt x="344" y="568"/>
                    </a:lnTo>
                    <a:lnTo>
                      <a:pt x="344" y="570"/>
                    </a:lnTo>
                    <a:lnTo>
                      <a:pt x="344" y="572"/>
                    </a:lnTo>
                    <a:lnTo>
                      <a:pt x="344" y="573"/>
                    </a:lnTo>
                    <a:lnTo>
                      <a:pt x="344" y="575"/>
                    </a:lnTo>
                    <a:lnTo>
                      <a:pt x="343" y="575"/>
                    </a:lnTo>
                    <a:lnTo>
                      <a:pt x="341" y="575"/>
                    </a:lnTo>
                    <a:lnTo>
                      <a:pt x="341" y="573"/>
                    </a:lnTo>
                    <a:lnTo>
                      <a:pt x="339" y="573"/>
                    </a:lnTo>
                    <a:lnTo>
                      <a:pt x="339" y="572"/>
                    </a:lnTo>
                    <a:lnTo>
                      <a:pt x="338" y="572"/>
                    </a:lnTo>
                    <a:lnTo>
                      <a:pt x="336" y="573"/>
                    </a:lnTo>
                    <a:lnTo>
                      <a:pt x="335" y="573"/>
                    </a:lnTo>
                    <a:lnTo>
                      <a:pt x="333" y="573"/>
                    </a:lnTo>
                    <a:lnTo>
                      <a:pt x="331" y="573"/>
                    </a:lnTo>
                    <a:lnTo>
                      <a:pt x="330" y="573"/>
                    </a:lnTo>
                    <a:lnTo>
                      <a:pt x="328" y="575"/>
                    </a:lnTo>
                    <a:lnTo>
                      <a:pt x="327" y="575"/>
                    </a:lnTo>
                    <a:lnTo>
                      <a:pt x="327" y="576"/>
                    </a:lnTo>
                    <a:lnTo>
                      <a:pt x="325" y="576"/>
                    </a:lnTo>
                    <a:lnTo>
                      <a:pt x="324" y="575"/>
                    </a:lnTo>
                    <a:lnTo>
                      <a:pt x="324" y="576"/>
                    </a:lnTo>
                    <a:lnTo>
                      <a:pt x="322" y="576"/>
                    </a:lnTo>
                    <a:lnTo>
                      <a:pt x="320" y="578"/>
                    </a:lnTo>
                    <a:lnTo>
                      <a:pt x="320" y="580"/>
                    </a:lnTo>
                    <a:lnTo>
                      <a:pt x="319" y="580"/>
                    </a:lnTo>
                    <a:lnTo>
                      <a:pt x="319" y="578"/>
                    </a:lnTo>
                    <a:lnTo>
                      <a:pt x="317" y="578"/>
                    </a:lnTo>
                    <a:lnTo>
                      <a:pt x="316" y="578"/>
                    </a:lnTo>
                    <a:lnTo>
                      <a:pt x="316" y="576"/>
                    </a:lnTo>
                    <a:lnTo>
                      <a:pt x="314" y="576"/>
                    </a:lnTo>
                    <a:lnTo>
                      <a:pt x="312" y="576"/>
                    </a:lnTo>
                    <a:lnTo>
                      <a:pt x="311" y="576"/>
                    </a:lnTo>
                    <a:lnTo>
                      <a:pt x="309" y="575"/>
                    </a:lnTo>
                    <a:lnTo>
                      <a:pt x="309" y="576"/>
                    </a:lnTo>
                    <a:lnTo>
                      <a:pt x="308" y="576"/>
                    </a:lnTo>
                    <a:lnTo>
                      <a:pt x="306" y="576"/>
                    </a:lnTo>
                    <a:lnTo>
                      <a:pt x="305" y="575"/>
                    </a:lnTo>
                    <a:lnTo>
                      <a:pt x="305" y="576"/>
                    </a:lnTo>
                    <a:lnTo>
                      <a:pt x="303" y="575"/>
                    </a:lnTo>
                    <a:lnTo>
                      <a:pt x="301" y="575"/>
                    </a:lnTo>
                    <a:lnTo>
                      <a:pt x="300" y="575"/>
                    </a:lnTo>
                    <a:lnTo>
                      <a:pt x="298" y="575"/>
                    </a:lnTo>
                    <a:lnTo>
                      <a:pt x="297" y="575"/>
                    </a:lnTo>
                    <a:lnTo>
                      <a:pt x="295" y="576"/>
                    </a:lnTo>
                    <a:lnTo>
                      <a:pt x="293" y="576"/>
                    </a:lnTo>
                    <a:lnTo>
                      <a:pt x="293" y="575"/>
                    </a:lnTo>
                    <a:lnTo>
                      <a:pt x="292" y="575"/>
                    </a:lnTo>
                    <a:lnTo>
                      <a:pt x="290" y="575"/>
                    </a:lnTo>
                    <a:lnTo>
                      <a:pt x="290" y="576"/>
                    </a:lnTo>
                    <a:lnTo>
                      <a:pt x="290" y="575"/>
                    </a:lnTo>
                    <a:lnTo>
                      <a:pt x="289" y="576"/>
                    </a:lnTo>
                    <a:lnTo>
                      <a:pt x="287" y="576"/>
                    </a:lnTo>
                    <a:lnTo>
                      <a:pt x="286" y="576"/>
                    </a:lnTo>
                    <a:lnTo>
                      <a:pt x="284" y="576"/>
                    </a:lnTo>
                    <a:lnTo>
                      <a:pt x="284" y="575"/>
                    </a:lnTo>
                    <a:lnTo>
                      <a:pt x="282" y="575"/>
                    </a:lnTo>
                    <a:lnTo>
                      <a:pt x="282" y="576"/>
                    </a:lnTo>
                    <a:lnTo>
                      <a:pt x="281" y="575"/>
                    </a:lnTo>
                    <a:lnTo>
                      <a:pt x="279" y="576"/>
                    </a:lnTo>
                    <a:lnTo>
                      <a:pt x="278" y="578"/>
                    </a:lnTo>
                    <a:lnTo>
                      <a:pt x="278" y="576"/>
                    </a:lnTo>
                    <a:lnTo>
                      <a:pt x="276" y="576"/>
                    </a:lnTo>
                    <a:lnTo>
                      <a:pt x="276" y="578"/>
                    </a:lnTo>
                    <a:lnTo>
                      <a:pt x="274" y="578"/>
                    </a:lnTo>
                    <a:lnTo>
                      <a:pt x="273" y="580"/>
                    </a:lnTo>
                    <a:lnTo>
                      <a:pt x="273" y="581"/>
                    </a:lnTo>
                    <a:lnTo>
                      <a:pt x="271" y="581"/>
                    </a:lnTo>
                    <a:lnTo>
                      <a:pt x="270" y="581"/>
                    </a:lnTo>
                    <a:lnTo>
                      <a:pt x="268" y="581"/>
                    </a:lnTo>
                    <a:lnTo>
                      <a:pt x="268" y="580"/>
                    </a:lnTo>
                    <a:lnTo>
                      <a:pt x="267" y="581"/>
                    </a:lnTo>
                    <a:lnTo>
                      <a:pt x="267" y="580"/>
                    </a:lnTo>
                    <a:lnTo>
                      <a:pt x="265" y="580"/>
                    </a:lnTo>
                    <a:lnTo>
                      <a:pt x="265" y="581"/>
                    </a:lnTo>
                    <a:lnTo>
                      <a:pt x="263" y="581"/>
                    </a:lnTo>
                    <a:lnTo>
                      <a:pt x="262" y="580"/>
                    </a:lnTo>
                    <a:lnTo>
                      <a:pt x="262" y="581"/>
                    </a:lnTo>
                    <a:lnTo>
                      <a:pt x="260" y="581"/>
                    </a:lnTo>
                    <a:lnTo>
                      <a:pt x="259" y="581"/>
                    </a:lnTo>
                    <a:lnTo>
                      <a:pt x="259" y="580"/>
                    </a:lnTo>
                    <a:lnTo>
                      <a:pt x="257" y="580"/>
                    </a:lnTo>
                    <a:lnTo>
                      <a:pt x="257" y="578"/>
                    </a:lnTo>
                    <a:lnTo>
                      <a:pt x="255" y="578"/>
                    </a:lnTo>
                    <a:lnTo>
                      <a:pt x="254" y="578"/>
                    </a:lnTo>
                    <a:lnTo>
                      <a:pt x="254" y="576"/>
                    </a:lnTo>
                    <a:lnTo>
                      <a:pt x="255" y="576"/>
                    </a:lnTo>
                    <a:lnTo>
                      <a:pt x="255" y="575"/>
                    </a:lnTo>
                    <a:lnTo>
                      <a:pt x="255" y="573"/>
                    </a:lnTo>
                    <a:lnTo>
                      <a:pt x="254" y="573"/>
                    </a:lnTo>
                    <a:lnTo>
                      <a:pt x="252" y="573"/>
                    </a:lnTo>
                    <a:lnTo>
                      <a:pt x="251" y="573"/>
                    </a:lnTo>
                    <a:lnTo>
                      <a:pt x="251" y="575"/>
                    </a:lnTo>
                    <a:lnTo>
                      <a:pt x="249" y="575"/>
                    </a:lnTo>
                    <a:lnTo>
                      <a:pt x="249" y="573"/>
                    </a:lnTo>
                    <a:lnTo>
                      <a:pt x="248" y="573"/>
                    </a:lnTo>
                    <a:lnTo>
                      <a:pt x="248" y="572"/>
                    </a:lnTo>
                    <a:lnTo>
                      <a:pt x="248" y="570"/>
                    </a:lnTo>
                    <a:lnTo>
                      <a:pt x="249" y="570"/>
                    </a:lnTo>
                    <a:lnTo>
                      <a:pt x="249" y="568"/>
                    </a:lnTo>
                    <a:lnTo>
                      <a:pt x="248" y="568"/>
                    </a:lnTo>
                    <a:lnTo>
                      <a:pt x="249" y="567"/>
                    </a:lnTo>
                    <a:lnTo>
                      <a:pt x="248" y="567"/>
                    </a:lnTo>
                    <a:lnTo>
                      <a:pt x="249" y="565"/>
                    </a:lnTo>
                    <a:lnTo>
                      <a:pt x="248" y="565"/>
                    </a:lnTo>
                    <a:lnTo>
                      <a:pt x="246" y="565"/>
                    </a:lnTo>
                    <a:lnTo>
                      <a:pt x="244" y="567"/>
                    </a:lnTo>
                    <a:lnTo>
                      <a:pt x="243" y="565"/>
                    </a:lnTo>
                    <a:lnTo>
                      <a:pt x="243" y="567"/>
                    </a:lnTo>
                    <a:lnTo>
                      <a:pt x="241" y="567"/>
                    </a:lnTo>
                    <a:lnTo>
                      <a:pt x="241" y="568"/>
                    </a:lnTo>
                    <a:lnTo>
                      <a:pt x="240" y="568"/>
                    </a:lnTo>
                    <a:lnTo>
                      <a:pt x="240" y="570"/>
                    </a:lnTo>
                    <a:lnTo>
                      <a:pt x="238" y="572"/>
                    </a:lnTo>
                    <a:lnTo>
                      <a:pt x="236" y="572"/>
                    </a:lnTo>
                    <a:lnTo>
                      <a:pt x="235" y="572"/>
                    </a:lnTo>
                    <a:lnTo>
                      <a:pt x="233" y="572"/>
                    </a:lnTo>
                    <a:lnTo>
                      <a:pt x="233" y="573"/>
                    </a:lnTo>
                    <a:lnTo>
                      <a:pt x="232" y="573"/>
                    </a:lnTo>
                    <a:lnTo>
                      <a:pt x="230" y="573"/>
                    </a:lnTo>
                    <a:lnTo>
                      <a:pt x="230" y="575"/>
                    </a:lnTo>
                    <a:lnTo>
                      <a:pt x="229" y="576"/>
                    </a:lnTo>
                    <a:lnTo>
                      <a:pt x="225" y="578"/>
                    </a:lnTo>
                    <a:lnTo>
                      <a:pt x="221" y="581"/>
                    </a:lnTo>
                    <a:lnTo>
                      <a:pt x="219" y="586"/>
                    </a:lnTo>
                    <a:lnTo>
                      <a:pt x="219" y="587"/>
                    </a:lnTo>
                    <a:lnTo>
                      <a:pt x="217" y="589"/>
                    </a:lnTo>
                    <a:lnTo>
                      <a:pt x="217" y="591"/>
                    </a:lnTo>
                    <a:lnTo>
                      <a:pt x="216" y="592"/>
                    </a:lnTo>
                    <a:lnTo>
                      <a:pt x="216" y="594"/>
                    </a:lnTo>
                    <a:lnTo>
                      <a:pt x="216" y="595"/>
                    </a:lnTo>
                    <a:lnTo>
                      <a:pt x="216" y="597"/>
                    </a:lnTo>
                    <a:lnTo>
                      <a:pt x="216" y="599"/>
                    </a:lnTo>
                    <a:lnTo>
                      <a:pt x="216" y="600"/>
                    </a:lnTo>
                    <a:lnTo>
                      <a:pt x="216" y="603"/>
                    </a:lnTo>
                    <a:lnTo>
                      <a:pt x="214" y="603"/>
                    </a:lnTo>
                    <a:lnTo>
                      <a:pt x="213" y="603"/>
                    </a:lnTo>
                    <a:lnTo>
                      <a:pt x="211" y="602"/>
                    </a:lnTo>
                    <a:lnTo>
                      <a:pt x="210" y="602"/>
                    </a:lnTo>
                    <a:lnTo>
                      <a:pt x="210" y="600"/>
                    </a:lnTo>
                    <a:lnTo>
                      <a:pt x="208" y="600"/>
                    </a:lnTo>
                    <a:lnTo>
                      <a:pt x="205" y="600"/>
                    </a:lnTo>
                    <a:lnTo>
                      <a:pt x="200" y="600"/>
                    </a:lnTo>
                    <a:lnTo>
                      <a:pt x="197" y="600"/>
                    </a:lnTo>
                    <a:lnTo>
                      <a:pt x="194" y="600"/>
                    </a:lnTo>
                    <a:lnTo>
                      <a:pt x="190" y="600"/>
                    </a:lnTo>
                    <a:lnTo>
                      <a:pt x="187" y="600"/>
                    </a:lnTo>
                    <a:lnTo>
                      <a:pt x="186" y="600"/>
                    </a:lnTo>
                    <a:lnTo>
                      <a:pt x="184" y="600"/>
                    </a:lnTo>
                    <a:lnTo>
                      <a:pt x="179" y="600"/>
                    </a:lnTo>
                    <a:lnTo>
                      <a:pt x="175" y="599"/>
                    </a:lnTo>
                    <a:lnTo>
                      <a:pt x="173" y="599"/>
                    </a:lnTo>
                    <a:lnTo>
                      <a:pt x="171" y="600"/>
                    </a:lnTo>
                    <a:lnTo>
                      <a:pt x="170" y="600"/>
                    </a:lnTo>
                    <a:lnTo>
                      <a:pt x="168" y="600"/>
                    </a:lnTo>
                    <a:lnTo>
                      <a:pt x="167" y="599"/>
                    </a:lnTo>
                    <a:lnTo>
                      <a:pt x="165" y="599"/>
                    </a:lnTo>
                    <a:lnTo>
                      <a:pt x="164" y="599"/>
                    </a:lnTo>
                    <a:lnTo>
                      <a:pt x="162" y="599"/>
                    </a:lnTo>
                    <a:lnTo>
                      <a:pt x="160" y="600"/>
                    </a:lnTo>
                    <a:lnTo>
                      <a:pt x="159" y="600"/>
                    </a:lnTo>
                    <a:lnTo>
                      <a:pt x="157" y="600"/>
                    </a:lnTo>
                    <a:lnTo>
                      <a:pt x="156" y="600"/>
                    </a:lnTo>
                    <a:lnTo>
                      <a:pt x="154" y="600"/>
                    </a:lnTo>
                    <a:lnTo>
                      <a:pt x="152" y="600"/>
                    </a:lnTo>
                    <a:lnTo>
                      <a:pt x="151" y="600"/>
                    </a:lnTo>
                    <a:lnTo>
                      <a:pt x="149" y="600"/>
                    </a:lnTo>
                    <a:lnTo>
                      <a:pt x="146" y="599"/>
                    </a:lnTo>
                    <a:lnTo>
                      <a:pt x="145" y="599"/>
                    </a:lnTo>
                    <a:lnTo>
                      <a:pt x="143" y="599"/>
                    </a:lnTo>
                    <a:lnTo>
                      <a:pt x="141" y="600"/>
                    </a:lnTo>
                    <a:lnTo>
                      <a:pt x="140" y="600"/>
                    </a:lnTo>
                    <a:lnTo>
                      <a:pt x="138" y="602"/>
                    </a:lnTo>
                    <a:lnTo>
                      <a:pt x="137" y="600"/>
                    </a:lnTo>
                    <a:lnTo>
                      <a:pt x="135" y="599"/>
                    </a:lnTo>
                    <a:lnTo>
                      <a:pt x="135" y="597"/>
                    </a:lnTo>
                    <a:lnTo>
                      <a:pt x="133" y="595"/>
                    </a:lnTo>
                    <a:lnTo>
                      <a:pt x="132" y="594"/>
                    </a:lnTo>
                    <a:lnTo>
                      <a:pt x="132" y="592"/>
                    </a:lnTo>
                    <a:lnTo>
                      <a:pt x="130" y="592"/>
                    </a:lnTo>
                    <a:lnTo>
                      <a:pt x="130" y="591"/>
                    </a:lnTo>
                    <a:lnTo>
                      <a:pt x="129" y="589"/>
                    </a:lnTo>
                    <a:lnTo>
                      <a:pt x="127" y="587"/>
                    </a:lnTo>
                    <a:lnTo>
                      <a:pt x="126" y="586"/>
                    </a:lnTo>
                    <a:lnTo>
                      <a:pt x="124" y="586"/>
                    </a:lnTo>
                    <a:lnTo>
                      <a:pt x="126" y="584"/>
                    </a:lnTo>
                    <a:lnTo>
                      <a:pt x="126" y="583"/>
                    </a:lnTo>
                    <a:lnTo>
                      <a:pt x="127" y="583"/>
                    </a:lnTo>
                    <a:lnTo>
                      <a:pt x="127" y="581"/>
                    </a:lnTo>
                    <a:lnTo>
                      <a:pt x="129" y="581"/>
                    </a:lnTo>
                    <a:lnTo>
                      <a:pt x="129" y="580"/>
                    </a:lnTo>
                    <a:lnTo>
                      <a:pt x="129" y="575"/>
                    </a:lnTo>
                    <a:lnTo>
                      <a:pt x="130" y="573"/>
                    </a:lnTo>
                    <a:lnTo>
                      <a:pt x="132" y="570"/>
                    </a:lnTo>
                    <a:lnTo>
                      <a:pt x="133" y="568"/>
                    </a:lnTo>
                    <a:lnTo>
                      <a:pt x="133" y="567"/>
                    </a:lnTo>
                    <a:lnTo>
                      <a:pt x="135" y="565"/>
                    </a:lnTo>
                    <a:lnTo>
                      <a:pt x="143" y="565"/>
                    </a:lnTo>
                    <a:lnTo>
                      <a:pt x="146" y="565"/>
                    </a:lnTo>
                    <a:lnTo>
                      <a:pt x="148" y="564"/>
                    </a:lnTo>
                    <a:lnTo>
                      <a:pt x="149" y="562"/>
                    </a:lnTo>
                    <a:lnTo>
                      <a:pt x="151" y="557"/>
                    </a:lnTo>
                    <a:lnTo>
                      <a:pt x="154" y="551"/>
                    </a:lnTo>
                    <a:lnTo>
                      <a:pt x="156" y="551"/>
                    </a:lnTo>
                    <a:lnTo>
                      <a:pt x="159" y="546"/>
                    </a:lnTo>
                    <a:lnTo>
                      <a:pt x="160" y="545"/>
                    </a:lnTo>
                    <a:lnTo>
                      <a:pt x="162" y="543"/>
                    </a:lnTo>
                    <a:lnTo>
                      <a:pt x="164" y="543"/>
                    </a:lnTo>
                    <a:lnTo>
                      <a:pt x="164" y="542"/>
                    </a:lnTo>
                    <a:lnTo>
                      <a:pt x="165" y="540"/>
                    </a:lnTo>
                    <a:lnTo>
                      <a:pt x="165" y="537"/>
                    </a:lnTo>
                    <a:lnTo>
                      <a:pt x="167" y="535"/>
                    </a:lnTo>
                    <a:lnTo>
                      <a:pt x="168" y="529"/>
                    </a:lnTo>
                    <a:lnTo>
                      <a:pt x="173" y="527"/>
                    </a:lnTo>
                    <a:lnTo>
                      <a:pt x="173" y="526"/>
                    </a:lnTo>
                    <a:lnTo>
                      <a:pt x="175" y="524"/>
                    </a:lnTo>
                    <a:lnTo>
                      <a:pt x="176" y="524"/>
                    </a:lnTo>
                    <a:lnTo>
                      <a:pt x="176" y="523"/>
                    </a:lnTo>
                    <a:lnTo>
                      <a:pt x="178" y="521"/>
                    </a:lnTo>
                    <a:lnTo>
                      <a:pt x="178" y="516"/>
                    </a:lnTo>
                    <a:lnTo>
                      <a:pt x="178" y="515"/>
                    </a:lnTo>
                    <a:lnTo>
                      <a:pt x="176" y="511"/>
                    </a:lnTo>
                    <a:lnTo>
                      <a:pt x="173" y="510"/>
                    </a:lnTo>
                    <a:lnTo>
                      <a:pt x="173" y="508"/>
                    </a:lnTo>
                    <a:lnTo>
                      <a:pt x="175" y="505"/>
                    </a:lnTo>
                    <a:lnTo>
                      <a:pt x="175" y="502"/>
                    </a:lnTo>
                    <a:lnTo>
                      <a:pt x="176" y="502"/>
                    </a:lnTo>
                    <a:lnTo>
                      <a:pt x="178" y="500"/>
                    </a:lnTo>
                    <a:lnTo>
                      <a:pt x="179" y="499"/>
                    </a:lnTo>
                    <a:lnTo>
                      <a:pt x="179" y="497"/>
                    </a:lnTo>
                    <a:lnTo>
                      <a:pt x="179" y="496"/>
                    </a:lnTo>
                    <a:lnTo>
                      <a:pt x="181" y="494"/>
                    </a:lnTo>
                    <a:lnTo>
                      <a:pt x="181" y="491"/>
                    </a:lnTo>
                    <a:lnTo>
                      <a:pt x="181" y="489"/>
                    </a:lnTo>
                    <a:lnTo>
                      <a:pt x="181" y="488"/>
                    </a:lnTo>
                    <a:lnTo>
                      <a:pt x="186" y="486"/>
                    </a:lnTo>
                    <a:lnTo>
                      <a:pt x="187" y="484"/>
                    </a:lnTo>
                    <a:lnTo>
                      <a:pt x="190" y="483"/>
                    </a:lnTo>
                    <a:lnTo>
                      <a:pt x="194" y="481"/>
                    </a:lnTo>
                    <a:lnTo>
                      <a:pt x="197" y="478"/>
                    </a:lnTo>
                    <a:lnTo>
                      <a:pt x="198" y="475"/>
                    </a:lnTo>
                    <a:lnTo>
                      <a:pt x="200" y="472"/>
                    </a:lnTo>
                    <a:lnTo>
                      <a:pt x="200" y="470"/>
                    </a:lnTo>
                    <a:lnTo>
                      <a:pt x="198" y="467"/>
                    </a:lnTo>
                    <a:lnTo>
                      <a:pt x="198" y="462"/>
                    </a:lnTo>
                    <a:lnTo>
                      <a:pt x="197" y="458"/>
                    </a:lnTo>
                    <a:lnTo>
                      <a:pt x="195" y="454"/>
                    </a:lnTo>
                    <a:lnTo>
                      <a:pt x="194" y="451"/>
                    </a:lnTo>
                    <a:lnTo>
                      <a:pt x="192" y="448"/>
                    </a:lnTo>
                    <a:lnTo>
                      <a:pt x="190" y="445"/>
                    </a:lnTo>
                    <a:lnTo>
                      <a:pt x="189" y="445"/>
                    </a:lnTo>
                    <a:lnTo>
                      <a:pt x="190" y="442"/>
                    </a:lnTo>
                    <a:lnTo>
                      <a:pt x="189" y="440"/>
                    </a:lnTo>
                    <a:lnTo>
                      <a:pt x="189" y="439"/>
                    </a:lnTo>
                    <a:lnTo>
                      <a:pt x="189" y="437"/>
                    </a:lnTo>
                    <a:lnTo>
                      <a:pt x="189" y="435"/>
                    </a:lnTo>
                    <a:lnTo>
                      <a:pt x="189" y="434"/>
                    </a:lnTo>
                    <a:lnTo>
                      <a:pt x="189" y="432"/>
                    </a:lnTo>
                    <a:lnTo>
                      <a:pt x="189" y="431"/>
                    </a:lnTo>
                    <a:lnTo>
                      <a:pt x="189" y="429"/>
                    </a:lnTo>
                    <a:lnTo>
                      <a:pt x="189" y="427"/>
                    </a:lnTo>
                    <a:lnTo>
                      <a:pt x="189" y="426"/>
                    </a:lnTo>
                    <a:lnTo>
                      <a:pt x="189" y="424"/>
                    </a:lnTo>
                    <a:lnTo>
                      <a:pt x="187" y="423"/>
                    </a:lnTo>
                    <a:lnTo>
                      <a:pt x="187" y="421"/>
                    </a:lnTo>
                    <a:lnTo>
                      <a:pt x="187" y="420"/>
                    </a:lnTo>
                    <a:lnTo>
                      <a:pt x="187" y="416"/>
                    </a:lnTo>
                    <a:lnTo>
                      <a:pt x="187" y="415"/>
                    </a:lnTo>
                    <a:lnTo>
                      <a:pt x="186" y="413"/>
                    </a:lnTo>
                    <a:lnTo>
                      <a:pt x="187" y="413"/>
                    </a:lnTo>
                    <a:lnTo>
                      <a:pt x="187" y="412"/>
                    </a:lnTo>
                    <a:lnTo>
                      <a:pt x="186" y="410"/>
                    </a:lnTo>
                    <a:lnTo>
                      <a:pt x="186" y="408"/>
                    </a:lnTo>
                    <a:lnTo>
                      <a:pt x="187" y="408"/>
                    </a:lnTo>
                    <a:lnTo>
                      <a:pt x="187" y="407"/>
                    </a:lnTo>
                    <a:lnTo>
                      <a:pt x="186" y="405"/>
                    </a:lnTo>
                    <a:lnTo>
                      <a:pt x="187" y="404"/>
                    </a:lnTo>
                    <a:lnTo>
                      <a:pt x="189" y="405"/>
                    </a:lnTo>
                    <a:lnTo>
                      <a:pt x="189" y="404"/>
                    </a:lnTo>
                    <a:lnTo>
                      <a:pt x="189" y="402"/>
                    </a:lnTo>
                    <a:lnTo>
                      <a:pt x="189" y="397"/>
                    </a:lnTo>
                    <a:lnTo>
                      <a:pt x="187" y="399"/>
                    </a:lnTo>
                    <a:lnTo>
                      <a:pt x="186" y="399"/>
                    </a:lnTo>
                    <a:lnTo>
                      <a:pt x="187" y="401"/>
                    </a:lnTo>
                    <a:lnTo>
                      <a:pt x="186" y="401"/>
                    </a:lnTo>
                    <a:lnTo>
                      <a:pt x="184" y="401"/>
                    </a:lnTo>
                    <a:lnTo>
                      <a:pt x="183" y="401"/>
                    </a:lnTo>
                    <a:lnTo>
                      <a:pt x="183" y="402"/>
                    </a:lnTo>
                    <a:lnTo>
                      <a:pt x="181" y="402"/>
                    </a:lnTo>
                    <a:lnTo>
                      <a:pt x="181" y="404"/>
                    </a:lnTo>
                    <a:lnTo>
                      <a:pt x="179" y="404"/>
                    </a:lnTo>
                    <a:lnTo>
                      <a:pt x="178" y="405"/>
                    </a:lnTo>
                    <a:lnTo>
                      <a:pt x="179" y="405"/>
                    </a:lnTo>
                    <a:lnTo>
                      <a:pt x="178" y="407"/>
                    </a:lnTo>
                    <a:lnTo>
                      <a:pt x="178" y="408"/>
                    </a:lnTo>
                    <a:lnTo>
                      <a:pt x="176" y="408"/>
                    </a:lnTo>
                    <a:lnTo>
                      <a:pt x="176" y="410"/>
                    </a:lnTo>
                    <a:lnTo>
                      <a:pt x="176" y="412"/>
                    </a:lnTo>
                    <a:lnTo>
                      <a:pt x="175" y="412"/>
                    </a:lnTo>
                    <a:lnTo>
                      <a:pt x="175" y="413"/>
                    </a:lnTo>
                    <a:lnTo>
                      <a:pt x="175" y="415"/>
                    </a:lnTo>
                    <a:lnTo>
                      <a:pt x="173" y="415"/>
                    </a:lnTo>
                    <a:lnTo>
                      <a:pt x="171" y="415"/>
                    </a:lnTo>
                    <a:lnTo>
                      <a:pt x="171" y="416"/>
                    </a:lnTo>
                    <a:lnTo>
                      <a:pt x="170" y="416"/>
                    </a:lnTo>
                    <a:lnTo>
                      <a:pt x="171" y="418"/>
                    </a:lnTo>
                    <a:lnTo>
                      <a:pt x="170" y="420"/>
                    </a:lnTo>
                    <a:lnTo>
                      <a:pt x="170" y="421"/>
                    </a:lnTo>
                    <a:lnTo>
                      <a:pt x="168" y="421"/>
                    </a:lnTo>
                    <a:lnTo>
                      <a:pt x="167" y="423"/>
                    </a:lnTo>
                    <a:lnTo>
                      <a:pt x="165" y="423"/>
                    </a:lnTo>
                    <a:lnTo>
                      <a:pt x="165" y="424"/>
                    </a:lnTo>
                    <a:lnTo>
                      <a:pt x="164" y="424"/>
                    </a:lnTo>
                    <a:lnTo>
                      <a:pt x="164" y="426"/>
                    </a:lnTo>
                    <a:lnTo>
                      <a:pt x="162" y="426"/>
                    </a:lnTo>
                    <a:lnTo>
                      <a:pt x="162" y="427"/>
                    </a:lnTo>
                    <a:lnTo>
                      <a:pt x="160" y="427"/>
                    </a:lnTo>
                    <a:lnTo>
                      <a:pt x="160" y="429"/>
                    </a:lnTo>
                    <a:lnTo>
                      <a:pt x="159" y="429"/>
                    </a:lnTo>
                    <a:lnTo>
                      <a:pt x="159" y="431"/>
                    </a:lnTo>
                    <a:lnTo>
                      <a:pt x="157" y="431"/>
                    </a:lnTo>
                    <a:lnTo>
                      <a:pt x="157" y="432"/>
                    </a:lnTo>
                    <a:lnTo>
                      <a:pt x="156" y="432"/>
                    </a:lnTo>
                    <a:lnTo>
                      <a:pt x="156" y="434"/>
                    </a:lnTo>
                    <a:lnTo>
                      <a:pt x="154" y="434"/>
                    </a:lnTo>
                    <a:lnTo>
                      <a:pt x="152" y="435"/>
                    </a:lnTo>
                    <a:lnTo>
                      <a:pt x="151" y="435"/>
                    </a:lnTo>
                    <a:lnTo>
                      <a:pt x="151" y="437"/>
                    </a:lnTo>
                    <a:lnTo>
                      <a:pt x="149" y="437"/>
                    </a:lnTo>
                    <a:lnTo>
                      <a:pt x="149" y="439"/>
                    </a:lnTo>
                    <a:lnTo>
                      <a:pt x="148" y="439"/>
                    </a:lnTo>
                    <a:lnTo>
                      <a:pt x="148" y="440"/>
                    </a:lnTo>
                    <a:lnTo>
                      <a:pt x="146" y="440"/>
                    </a:lnTo>
                    <a:lnTo>
                      <a:pt x="145" y="442"/>
                    </a:lnTo>
                    <a:lnTo>
                      <a:pt x="143" y="443"/>
                    </a:lnTo>
                    <a:lnTo>
                      <a:pt x="141" y="443"/>
                    </a:lnTo>
                    <a:lnTo>
                      <a:pt x="141" y="445"/>
                    </a:lnTo>
                    <a:lnTo>
                      <a:pt x="140" y="445"/>
                    </a:lnTo>
                    <a:lnTo>
                      <a:pt x="140" y="446"/>
                    </a:lnTo>
                    <a:lnTo>
                      <a:pt x="138" y="446"/>
                    </a:lnTo>
                    <a:lnTo>
                      <a:pt x="137" y="446"/>
                    </a:lnTo>
                    <a:lnTo>
                      <a:pt x="137" y="445"/>
                    </a:lnTo>
                    <a:lnTo>
                      <a:pt x="135" y="445"/>
                    </a:lnTo>
                    <a:lnTo>
                      <a:pt x="133" y="445"/>
                    </a:lnTo>
                    <a:lnTo>
                      <a:pt x="132" y="445"/>
                    </a:lnTo>
                    <a:lnTo>
                      <a:pt x="130" y="445"/>
                    </a:lnTo>
                    <a:lnTo>
                      <a:pt x="129" y="446"/>
                    </a:lnTo>
                    <a:lnTo>
                      <a:pt x="127" y="446"/>
                    </a:lnTo>
                    <a:lnTo>
                      <a:pt x="126" y="446"/>
                    </a:lnTo>
                    <a:lnTo>
                      <a:pt x="124" y="446"/>
                    </a:lnTo>
                    <a:lnTo>
                      <a:pt x="122" y="446"/>
                    </a:lnTo>
                    <a:lnTo>
                      <a:pt x="122" y="448"/>
                    </a:lnTo>
                    <a:lnTo>
                      <a:pt x="122" y="446"/>
                    </a:lnTo>
                    <a:lnTo>
                      <a:pt x="121" y="445"/>
                    </a:lnTo>
                    <a:lnTo>
                      <a:pt x="121" y="443"/>
                    </a:lnTo>
                    <a:lnTo>
                      <a:pt x="121" y="442"/>
                    </a:lnTo>
                    <a:lnTo>
                      <a:pt x="122" y="440"/>
                    </a:lnTo>
                    <a:lnTo>
                      <a:pt x="122" y="439"/>
                    </a:lnTo>
                    <a:lnTo>
                      <a:pt x="122" y="437"/>
                    </a:lnTo>
                    <a:lnTo>
                      <a:pt x="122" y="435"/>
                    </a:lnTo>
                    <a:lnTo>
                      <a:pt x="122" y="434"/>
                    </a:lnTo>
                    <a:lnTo>
                      <a:pt x="122" y="432"/>
                    </a:lnTo>
                    <a:lnTo>
                      <a:pt x="122" y="431"/>
                    </a:lnTo>
                    <a:lnTo>
                      <a:pt x="122" y="429"/>
                    </a:lnTo>
                    <a:lnTo>
                      <a:pt x="122" y="427"/>
                    </a:lnTo>
                    <a:lnTo>
                      <a:pt x="122" y="426"/>
                    </a:lnTo>
                    <a:lnTo>
                      <a:pt x="122" y="424"/>
                    </a:lnTo>
                    <a:lnTo>
                      <a:pt x="121" y="424"/>
                    </a:lnTo>
                    <a:lnTo>
                      <a:pt x="121" y="423"/>
                    </a:lnTo>
                    <a:lnTo>
                      <a:pt x="121" y="421"/>
                    </a:lnTo>
                    <a:lnTo>
                      <a:pt x="119" y="421"/>
                    </a:lnTo>
                    <a:lnTo>
                      <a:pt x="119" y="420"/>
                    </a:lnTo>
                    <a:lnTo>
                      <a:pt x="118" y="418"/>
                    </a:lnTo>
                    <a:lnTo>
                      <a:pt x="116" y="416"/>
                    </a:lnTo>
                    <a:lnTo>
                      <a:pt x="114" y="416"/>
                    </a:lnTo>
                    <a:lnTo>
                      <a:pt x="114" y="415"/>
                    </a:lnTo>
                    <a:lnTo>
                      <a:pt x="113" y="413"/>
                    </a:lnTo>
                    <a:lnTo>
                      <a:pt x="111" y="413"/>
                    </a:lnTo>
                    <a:lnTo>
                      <a:pt x="111" y="412"/>
                    </a:lnTo>
                    <a:lnTo>
                      <a:pt x="110" y="412"/>
                    </a:lnTo>
                    <a:lnTo>
                      <a:pt x="110" y="410"/>
                    </a:lnTo>
                    <a:lnTo>
                      <a:pt x="108" y="410"/>
                    </a:lnTo>
                    <a:lnTo>
                      <a:pt x="107" y="410"/>
                    </a:lnTo>
                    <a:lnTo>
                      <a:pt x="107" y="408"/>
                    </a:lnTo>
                    <a:lnTo>
                      <a:pt x="105" y="408"/>
                    </a:lnTo>
                    <a:lnTo>
                      <a:pt x="105" y="407"/>
                    </a:lnTo>
                    <a:lnTo>
                      <a:pt x="103" y="407"/>
                    </a:lnTo>
                    <a:lnTo>
                      <a:pt x="102" y="405"/>
                    </a:lnTo>
                    <a:lnTo>
                      <a:pt x="100" y="405"/>
                    </a:lnTo>
                    <a:lnTo>
                      <a:pt x="99" y="404"/>
                    </a:lnTo>
                    <a:lnTo>
                      <a:pt x="97" y="402"/>
                    </a:lnTo>
                    <a:lnTo>
                      <a:pt x="95" y="402"/>
                    </a:lnTo>
                    <a:lnTo>
                      <a:pt x="95" y="401"/>
                    </a:lnTo>
                    <a:lnTo>
                      <a:pt x="94" y="401"/>
                    </a:lnTo>
                    <a:lnTo>
                      <a:pt x="92" y="399"/>
                    </a:lnTo>
                    <a:lnTo>
                      <a:pt x="91" y="397"/>
                    </a:lnTo>
                    <a:lnTo>
                      <a:pt x="89" y="397"/>
                    </a:lnTo>
                    <a:lnTo>
                      <a:pt x="89" y="396"/>
                    </a:lnTo>
                    <a:lnTo>
                      <a:pt x="88" y="394"/>
                    </a:lnTo>
                    <a:lnTo>
                      <a:pt x="86" y="394"/>
                    </a:lnTo>
                    <a:lnTo>
                      <a:pt x="86" y="393"/>
                    </a:lnTo>
                    <a:lnTo>
                      <a:pt x="84" y="393"/>
                    </a:lnTo>
                    <a:lnTo>
                      <a:pt x="84" y="391"/>
                    </a:lnTo>
                    <a:lnTo>
                      <a:pt x="83" y="391"/>
                    </a:lnTo>
                    <a:lnTo>
                      <a:pt x="81" y="389"/>
                    </a:lnTo>
                    <a:lnTo>
                      <a:pt x="80" y="389"/>
                    </a:lnTo>
                    <a:lnTo>
                      <a:pt x="80" y="388"/>
                    </a:lnTo>
                    <a:lnTo>
                      <a:pt x="78" y="386"/>
                    </a:lnTo>
                    <a:lnTo>
                      <a:pt x="76" y="386"/>
                    </a:lnTo>
                    <a:lnTo>
                      <a:pt x="76" y="385"/>
                    </a:lnTo>
                    <a:lnTo>
                      <a:pt x="75" y="385"/>
                    </a:lnTo>
                    <a:lnTo>
                      <a:pt x="73" y="383"/>
                    </a:lnTo>
                    <a:lnTo>
                      <a:pt x="72" y="383"/>
                    </a:lnTo>
                    <a:lnTo>
                      <a:pt x="72" y="382"/>
                    </a:lnTo>
                    <a:lnTo>
                      <a:pt x="70" y="382"/>
                    </a:lnTo>
                    <a:lnTo>
                      <a:pt x="69" y="380"/>
                    </a:lnTo>
                    <a:lnTo>
                      <a:pt x="67" y="380"/>
                    </a:lnTo>
                    <a:lnTo>
                      <a:pt x="67" y="378"/>
                    </a:lnTo>
                    <a:lnTo>
                      <a:pt x="65" y="378"/>
                    </a:lnTo>
                    <a:lnTo>
                      <a:pt x="64" y="378"/>
                    </a:lnTo>
                    <a:lnTo>
                      <a:pt x="64" y="377"/>
                    </a:lnTo>
                    <a:lnTo>
                      <a:pt x="62" y="377"/>
                    </a:lnTo>
                    <a:lnTo>
                      <a:pt x="61" y="377"/>
                    </a:lnTo>
                    <a:lnTo>
                      <a:pt x="61" y="375"/>
                    </a:lnTo>
                    <a:lnTo>
                      <a:pt x="59" y="375"/>
                    </a:lnTo>
                    <a:lnTo>
                      <a:pt x="57" y="375"/>
                    </a:lnTo>
                    <a:lnTo>
                      <a:pt x="57" y="374"/>
                    </a:lnTo>
                    <a:lnTo>
                      <a:pt x="56" y="372"/>
                    </a:lnTo>
                    <a:lnTo>
                      <a:pt x="56" y="370"/>
                    </a:lnTo>
                    <a:lnTo>
                      <a:pt x="54" y="369"/>
                    </a:lnTo>
                    <a:lnTo>
                      <a:pt x="54" y="367"/>
                    </a:lnTo>
                    <a:lnTo>
                      <a:pt x="53" y="367"/>
                    </a:lnTo>
                    <a:lnTo>
                      <a:pt x="53" y="366"/>
                    </a:lnTo>
                    <a:lnTo>
                      <a:pt x="51" y="364"/>
                    </a:lnTo>
                    <a:lnTo>
                      <a:pt x="51" y="363"/>
                    </a:lnTo>
                    <a:lnTo>
                      <a:pt x="50" y="363"/>
                    </a:lnTo>
                    <a:lnTo>
                      <a:pt x="50" y="361"/>
                    </a:lnTo>
                    <a:lnTo>
                      <a:pt x="48" y="359"/>
                    </a:lnTo>
                    <a:lnTo>
                      <a:pt x="48" y="358"/>
                    </a:lnTo>
                    <a:lnTo>
                      <a:pt x="46" y="356"/>
                    </a:lnTo>
                    <a:lnTo>
                      <a:pt x="45" y="355"/>
                    </a:lnTo>
                    <a:lnTo>
                      <a:pt x="45" y="353"/>
                    </a:lnTo>
                    <a:lnTo>
                      <a:pt x="43" y="351"/>
                    </a:lnTo>
                    <a:lnTo>
                      <a:pt x="43" y="350"/>
                    </a:lnTo>
                    <a:lnTo>
                      <a:pt x="42" y="350"/>
                    </a:lnTo>
                    <a:lnTo>
                      <a:pt x="42" y="348"/>
                    </a:lnTo>
                    <a:lnTo>
                      <a:pt x="40" y="347"/>
                    </a:lnTo>
                    <a:lnTo>
                      <a:pt x="40" y="345"/>
                    </a:lnTo>
                    <a:lnTo>
                      <a:pt x="38" y="345"/>
                    </a:lnTo>
                    <a:lnTo>
                      <a:pt x="38" y="344"/>
                    </a:lnTo>
                    <a:lnTo>
                      <a:pt x="37" y="342"/>
                    </a:lnTo>
                    <a:lnTo>
                      <a:pt x="37" y="340"/>
                    </a:lnTo>
                    <a:lnTo>
                      <a:pt x="35" y="339"/>
                    </a:lnTo>
                    <a:lnTo>
                      <a:pt x="35" y="337"/>
                    </a:lnTo>
                    <a:lnTo>
                      <a:pt x="34" y="337"/>
                    </a:lnTo>
                    <a:lnTo>
                      <a:pt x="34" y="336"/>
                    </a:lnTo>
                    <a:lnTo>
                      <a:pt x="32" y="334"/>
                    </a:lnTo>
                    <a:lnTo>
                      <a:pt x="32" y="332"/>
                    </a:lnTo>
                    <a:lnTo>
                      <a:pt x="31" y="332"/>
                    </a:lnTo>
                    <a:lnTo>
                      <a:pt x="31" y="331"/>
                    </a:lnTo>
                    <a:lnTo>
                      <a:pt x="31" y="329"/>
                    </a:lnTo>
                    <a:lnTo>
                      <a:pt x="29" y="329"/>
                    </a:lnTo>
                    <a:lnTo>
                      <a:pt x="29" y="331"/>
                    </a:lnTo>
                    <a:lnTo>
                      <a:pt x="27" y="331"/>
                    </a:lnTo>
                    <a:lnTo>
                      <a:pt x="27" y="332"/>
                    </a:lnTo>
                    <a:lnTo>
                      <a:pt x="26" y="332"/>
                    </a:lnTo>
                    <a:lnTo>
                      <a:pt x="24" y="334"/>
                    </a:lnTo>
                    <a:lnTo>
                      <a:pt x="23" y="334"/>
                    </a:lnTo>
                    <a:lnTo>
                      <a:pt x="23" y="336"/>
                    </a:lnTo>
                    <a:lnTo>
                      <a:pt x="21" y="336"/>
                    </a:lnTo>
                    <a:lnTo>
                      <a:pt x="21" y="337"/>
                    </a:lnTo>
                    <a:lnTo>
                      <a:pt x="19" y="337"/>
                    </a:lnTo>
                    <a:lnTo>
                      <a:pt x="18" y="339"/>
                    </a:lnTo>
                    <a:lnTo>
                      <a:pt x="16" y="340"/>
                    </a:lnTo>
                    <a:lnTo>
                      <a:pt x="15" y="340"/>
                    </a:lnTo>
                    <a:lnTo>
                      <a:pt x="15" y="342"/>
                    </a:lnTo>
                    <a:lnTo>
                      <a:pt x="13" y="342"/>
                    </a:lnTo>
                    <a:lnTo>
                      <a:pt x="13" y="340"/>
                    </a:lnTo>
                    <a:lnTo>
                      <a:pt x="13" y="339"/>
                    </a:lnTo>
                    <a:lnTo>
                      <a:pt x="12" y="336"/>
                    </a:lnTo>
                    <a:lnTo>
                      <a:pt x="12" y="332"/>
                    </a:lnTo>
                    <a:lnTo>
                      <a:pt x="12" y="331"/>
                    </a:lnTo>
                    <a:lnTo>
                      <a:pt x="10" y="329"/>
                    </a:lnTo>
                    <a:lnTo>
                      <a:pt x="10" y="328"/>
                    </a:lnTo>
                    <a:lnTo>
                      <a:pt x="10" y="325"/>
                    </a:lnTo>
                    <a:lnTo>
                      <a:pt x="10" y="321"/>
                    </a:lnTo>
                    <a:lnTo>
                      <a:pt x="12" y="318"/>
                    </a:lnTo>
                    <a:lnTo>
                      <a:pt x="12" y="317"/>
                    </a:lnTo>
                    <a:lnTo>
                      <a:pt x="10" y="315"/>
                    </a:lnTo>
                    <a:lnTo>
                      <a:pt x="10" y="313"/>
                    </a:lnTo>
                    <a:lnTo>
                      <a:pt x="12" y="312"/>
                    </a:lnTo>
                    <a:lnTo>
                      <a:pt x="12" y="310"/>
                    </a:lnTo>
                    <a:lnTo>
                      <a:pt x="12" y="309"/>
                    </a:lnTo>
                    <a:lnTo>
                      <a:pt x="12" y="307"/>
                    </a:lnTo>
                    <a:lnTo>
                      <a:pt x="10" y="306"/>
                    </a:lnTo>
                    <a:lnTo>
                      <a:pt x="10" y="304"/>
                    </a:lnTo>
                    <a:lnTo>
                      <a:pt x="8" y="304"/>
                    </a:lnTo>
                    <a:lnTo>
                      <a:pt x="8" y="302"/>
                    </a:lnTo>
                    <a:lnTo>
                      <a:pt x="10" y="301"/>
                    </a:lnTo>
                    <a:lnTo>
                      <a:pt x="12" y="301"/>
                    </a:lnTo>
                    <a:lnTo>
                      <a:pt x="13" y="301"/>
                    </a:lnTo>
                    <a:lnTo>
                      <a:pt x="13" y="299"/>
                    </a:lnTo>
                    <a:lnTo>
                      <a:pt x="12" y="298"/>
                    </a:lnTo>
                    <a:lnTo>
                      <a:pt x="10" y="298"/>
                    </a:lnTo>
                    <a:lnTo>
                      <a:pt x="8" y="296"/>
                    </a:lnTo>
                    <a:lnTo>
                      <a:pt x="7" y="296"/>
                    </a:lnTo>
                    <a:lnTo>
                      <a:pt x="5" y="296"/>
                    </a:lnTo>
                    <a:lnTo>
                      <a:pt x="4" y="296"/>
                    </a:lnTo>
                    <a:lnTo>
                      <a:pt x="2" y="294"/>
                    </a:lnTo>
                    <a:lnTo>
                      <a:pt x="0" y="293"/>
                    </a:lnTo>
                    <a:lnTo>
                      <a:pt x="2" y="291"/>
                    </a:lnTo>
                    <a:lnTo>
                      <a:pt x="4" y="288"/>
                    </a:lnTo>
                    <a:lnTo>
                      <a:pt x="8" y="285"/>
                    </a:lnTo>
                    <a:lnTo>
                      <a:pt x="10" y="280"/>
                    </a:lnTo>
                    <a:lnTo>
                      <a:pt x="13" y="275"/>
                    </a:lnTo>
                    <a:lnTo>
                      <a:pt x="12" y="274"/>
                    </a:lnTo>
                    <a:lnTo>
                      <a:pt x="12" y="271"/>
                    </a:lnTo>
                    <a:lnTo>
                      <a:pt x="12" y="266"/>
                    </a:lnTo>
                    <a:lnTo>
                      <a:pt x="10" y="263"/>
                    </a:lnTo>
                    <a:lnTo>
                      <a:pt x="8" y="260"/>
                    </a:lnTo>
                    <a:lnTo>
                      <a:pt x="4" y="255"/>
                    </a:lnTo>
                    <a:lnTo>
                      <a:pt x="2" y="253"/>
                    </a:lnTo>
                    <a:lnTo>
                      <a:pt x="2" y="252"/>
                    </a:lnTo>
                    <a:lnTo>
                      <a:pt x="4" y="248"/>
                    </a:lnTo>
                    <a:lnTo>
                      <a:pt x="5" y="245"/>
                    </a:lnTo>
                    <a:lnTo>
                      <a:pt x="5" y="242"/>
                    </a:lnTo>
                    <a:lnTo>
                      <a:pt x="7" y="237"/>
                    </a:lnTo>
                    <a:lnTo>
                      <a:pt x="7" y="236"/>
                    </a:lnTo>
                    <a:lnTo>
                      <a:pt x="7" y="234"/>
                    </a:lnTo>
                    <a:lnTo>
                      <a:pt x="8" y="233"/>
                    </a:lnTo>
                    <a:lnTo>
                      <a:pt x="10" y="233"/>
                    </a:lnTo>
                    <a:lnTo>
                      <a:pt x="13" y="233"/>
                    </a:lnTo>
                    <a:lnTo>
                      <a:pt x="18" y="234"/>
                    </a:lnTo>
                    <a:lnTo>
                      <a:pt x="24" y="234"/>
                    </a:lnTo>
                    <a:lnTo>
                      <a:pt x="31" y="236"/>
                    </a:lnTo>
                    <a:lnTo>
                      <a:pt x="34" y="237"/>
                    </a:lnTo>
                    <a:lnTo>
                      <a:pt x="38" y="237"/>
                    </a:lnTo>
                    <a:lnTo>
                      <a:pt x="40" y="239"/>
                    </a:lnTo>
                    <a:lnTo>
                      <a:pt x="43" y="239"/>
                    </a:lnTo>
                    <a:lnTo>
                      <a:pt x="46" y="239"/>
                    </a:lnTo>
                    <a:lnTo>
                      <a:pt x="53" y="241"/>
                    </a:lnTo>
                    <a:lnTo>
                      <a:pt x="61" y="242"/>
                    </a:lnTo>
                    <a:lnTo>
                      <a:pt x="64" y="244"/>
                    </a:lnTo>
                    <a:lnTo>
                      <a:pt x="69" y="244"/>
                    </a:lnTo>
                    <a:lnTo>
                      <a:pt x="73" y="245"/>
                    </a:lnTo>
                    <a:lnTo>
                      <a:pt x="76" y="245"/>
                    </a:lnTo>
                    <a:lnTo>
                      <a:pt x="80" y="247"/>
                    </a:lnTo>
                    <a:lnTo>
                      <a:pt x="83" y="247"/>
                    </a:lnTo>
                    <a:lnTo>
                      <a:pt x="86" y="247"/>
                    </a:lnTo>
                    <a:lnTo>
                      <a:pt x="89" y="248"/>
                    </a:lnTo>
                    <a:lnTo>
                      <a:pt x="92" y="248"/>
                    </a:lnTo>
                    <a:lnTo>
                      <a:pt x="95" y="248"/>
                    </a:lnTo>
                    <a:lnTo>
                      <a:pt x="99" y="250"/>
                    </a:lnTo>
                    <a:lnTo>
                      <a:pt x="102" y="248"/>
                    </a:lnTo>
                    <a:lnTo>
                      <a:pt x="103" y="248"/>
                    </a:lnTo>
                    <a:lnTo>
                      <a:pt x="105" y="248"/>
                    </a:lnTo>
                    <a:lnTo>
                      <a:pt x="107" y="248"/>
                    </a:lnTo>
                    <a:lnTo>
                      <a:pt x="107" y="252"/>
                    </a:lnTo>
                    <a:lnTo>
                      <a:pt x="105" y="255"/>
                    </a:lnTo>
                    <a:lnTo>
                      <a:pt x="103" y="258"/>
                    </a:lnTo>
                    <a:lnTo>
                      <a:pt x="103" y="260"/>
                    </a:lnTo>
                    <a:lnTo>
                      <a:pt x="103" y="261"/>
                    </a:lnTo>
                    <a:lnTo>
                      <a:pt x="103" y="263"/>
                    </a:lnTo>
                    <a:lnTo>
                      <a:pt x="103" y="266"/>
                    </a:lnTo>
                    <a:lnTo>
                      <a:pt x="105" y="267"/>
                    </a:lnTo>
                    <a:lnTo>
                      <a:pt x="107" y="272"/>
                    </a:lnTo>
                    <a:lnTo>
                      <a:pt x="107" y="279"/>
                    </a:lnTo>
                    <a:lnTo>
                      <a:pt x="107" y="283"/>
                    </a:lnTo>
                    <a:lnTo>
                      <a:pt x="105" y="286"/>
                    </a:lnTo>
                    <a:lnTo>
                      <a:pt x="105" y="288"/>
                    </a:lnTo>
                    <a:lnTo>
                      <a:pt x="107" y="291"/>
                    </a:lnTo>
                    <a:lnTo>
                      <a:pt x="108" y="293"/>
                    </a:lnTo>
                    <a:lnTo>
                      <a:pt x="110" y="293"/>
                    </a:lnTo>
                    <a:lnTo>
                      <a:pt x="113" y="291"/>
                    </a:lnTo>
                    <a:lnTo>
                      <a:pt x="114" y="290"/>
                    </a:lnTo>
                    <a:lnTo>
                      <a:pt x="114" y="288"/>
                    </a:lnTo>
                    <a:lnTo>
                      <a:pt x="114" y="285"/>
                    </a:lnTo>
                    <a:lnTo>
                      <a:pt x="116" y="280"/>
                    </a:lnTo>
                    <a:lnTo>
                      <a:pt x="116" y="277"/>
                    </a:lnTo>
                    <a:lnTo>
                      <a:pt x="118" y="272"/>
                    </a:lnTo>
                    <a:lnTo>
                      <a:pt x="118" y="267"/>
                    </a:lnTo>
                    <a:lnTo>
                      <a:pt x="116" y="264"/>
                    </a:lnTo>
                    <a:lnTo>
                      <a:pt x="116" y="261"/>
                    </a:lnTo>
                    <a:lnTo>
                      <a:pt x="116" y="256"/>
                    </a:lnTo>
                    <a:lnTo>
                      <a:pt x="116" y="252"/>
                    </a:lnTo>
                    <a:lnTo>
                      <a:pt x="116" y="250"/>
                    </a:lnTo>
                    <a:lnTo>
                      <a:pt x="119" y="247"/>
                    </a:lnTo>
                    <a:lnTo>
                      <a:pt x="121" y="244"/>
                    </a:lnTo>
                    <a:lnTo>
                      <a:pt x="124" y="241"/>
                    </a:lnTo>
                    <a:lnTo>
                      <a:pt x="126" y="237"/>
                    </a:lnTo>
                    <a:lnTo>
                      <a:pt x="126" y="234"/>
                    </a:lnTo>
                    <a:lnTo>
                      <a:pt x="126" y="229"/>
                    </a:lnTo>
                    <a:lnTo>
                      <a:pt x="126" y="226"/>
                    </a:lnTo>
                    <a:lnTo>
                      <a:pt x="127" y="223"/>
                    </a:lnTo>
                    <a:lnTo>
                      <a:pt x="127" y="220"/>
                    </a:lnTo>
                    <a:lnTo>
                      <a:pt x="129" y="218"/>
                    </a:lnTo>
                    <a:lnTo>
                      <a:pt x="130" y="217"/>
                    </a:lnTo>
                    <a:lnTo>
                      <a:pt x="133" y="215"/>
                    </a:lnTo>
                    <a:lnTo>
                      <a:pt x="137" y="212"/>
                    </a:lnTo>
                    <a:lnTo>
                      <a:pt x="141" y="209"/>
                    </a:lnTo>
                    <a:lnTo>
                      <a:pt x="148" y="206"/>
                    </a:lnTo>
                    <a:lnTo>
                      <a:pt x="156" y="203"/>
                    </a:lnTo>
                    <a:lnTo>
                      <a:pt x="160" y="199"/>
                    </a:lnTo>
                    <a:lnTo>
                      <a:pt x="164" y="196"/>
                    </a:lnTo>
                    <a:lnTo>
                      <a:pt x="170" y="193"/>
                    </a:lnTo>
                    <a:lnTo>
                      <a:pt x="175" y="191"/>
                    </a:lnTo>
                    <a:lnTo>
                      <a:pt x="179" y="187"/>
                    </a:lnTo>
                    <a:lnTo>
                      <a:pt x="186" y="184"/>
                    </a:lnTo>
                    <a:lnTo>
                      <a:pt x="190" y="180"/>
                    </a:lnTo>
                    <a:lnTo>
                      <a:pt x="192" y="179"/>
                    </a:lnTo>
                    <a:lnTo>
                      <a:pt x="192" y="177"/>
                    </a:lnTo>
                    <a:lnTo>
                      <a:pt x="192" y="176"/>
                    </a:lnTo>
                    <a:lnTo>
                      <a:pt x="192" y="174"/>
                    </a:lnTo>
                    <a:lnTo>
                      <a:pt x="192" y="172"/>
                    </a:lnTo>
                    <a:lnTo>
                      <a:pt x="192" y="171"/>
                    </a:lnTo>
                    <a:lnTo>
                      <a:pt x="192" y="169"/>
                    </a:lnTo>
                    <a:lnTo>
                      <a:pt x="192" y="168"/>
                    </a:lnTo>
                    <a:lnTo>
                      <a:pt x="194" y="168"/>
                    </a:lnTo>
                    <a:lnTo>
                      <a:pt x="194" y="166"/>
                    </a:lnTo>
                    <a:lnTo>
                      <a:pt x="194" y="165"/>
                    </a:lnTo>
                    <a:lnTo>
                      <a:pt x="195" y="163"/>
                    </a:lnTo>
                    <a:lnTo>
                      <a:pt x="195" y="161"/>
                    </a:lnTo>
                    <a:lnTo>
                      <a:pt x="197" y="160"/>
                    </a:lnTo>
                    <a:lnTo>
                      <a:pt x="197" y="158"/>
                    </a:lnTo>
                    <a:lnTo>
                      <a:pt x="197" y="157"/>
                    </a:lnTo>
                    <a:lnTo>
                      <a:pt x="198" y="157"/>
                    </a:lnTo>
                    <a:lnTo>
                      <a:pt x="198" y="155"/>
                    </a:lnTo>
                    <a:lnTo>
                      <a:pt x="198" y="153"/>
                    </a:lnTo>
                    <a:lnTo>
                      <a:pt x="200" y="153"/>
                    </a:lnTo>
                    <a:lnTo>
                      <a:pt x="200" y="152"/>
                    </a:lnTo>
                    <a:lnTo>
                      <a:pt x="200" y="150"/>
                    </a:lnTo>
                    <a:lnTo>
                      <a:pt x="202" y="149"/>
                    </a:lnTo>
                    <a:lnTo>
                      <a:pt x="202" y="147"/>
                    </a:lnTo>
                    <a:lnTo>
                      <a:pt x="203" y="146"/>
                    </a:lnTo>
                    <a:lnTo>
                      <a:pt x="203" y="144"/>
                    </a:lnTo>
                    <a:lnTo>
                      <a:pt x="205" y="144"/>
                    </a:lnTo>
                    <a:lnTo>
                      <a:pt x="205" y="142"/>
                    </a:lnTo>
                    <a:lnTo>
                      <a:pt x="206" y="142"/>
                    </a:lnTo>
                    <a:lnTo>
                      <a:pt x="206" y="141"/>
                    </a:lnTo>
                    <a:lnTo>
                      <a:pt x="206" y="139"/>
                    </a:lnTo>
                    <a:lnTo>
                      <a:pt x="208" y="139"/>
                    </a:lnTo>
                    <a:lnTo>
                      <a:pt x="208" y="138"/>
                    </a:lnTo>
                    <a:lnTo>
                      <a:pt x="208" y="136"/>
                    </a:lnTo>
                    <a:lnTo>
                      <a:pt x="210" y="136"/>
                    </a:lnTo>
                    <a:lnTo>
                      <a:pt x="210" y="134"/>
                    </a:lnTo>
                    <a:lnTo>
                      <a:pt x="211" y="133"/>
                    </a:lnTo>
                    <a:lnTo>
                      <a:pt x="211" y="131"/>
                    </a:lnTo>
                    <a:lnTo>
                      <a:pt x="213" y="130"/>
                    </a:lnTo>
                    <a:lnTo>
                      <a:pt x="213" y="128"/>
                    </a:lnTo>
                    <a:lnTo>
                      <a:pt x="214" y="127"/>
                    </a:lnTo>
                    <a:lnTo>
                      <a:pt x="214" y="125"/>
                    </a:lnTo>
                    <a:lnTo>
                      <a:pt x="216" y="123"/>
                    </a:lnTo>
                    <a:lnTo>
                      <a:pt x="216" y="122"/>
                    </a:lnTo>
                    <a:lnTo>
                      <a:pt x="217" y="122"/>
                    </a:lnTo>
                    <a:lnTo>
                      <a:pt x="217" y="120"/>
                    </a:lnTo>
                    <a:lnTo>
                      <a:pt x="219" y="119"/>
                    </a:lnTo>
                    <a:lnTo>
                      <a:pt x="221" y="119"/>
                    </a:lnTo>
                    <a:lnTo>
                      <a:pt x="221" y="117"/>
                    </a:lnTo>
                    <a:lnTo>
                      <a:pt x="222" y="117"/>
                    </a:lnTo>
                    <a:lnTo>
                      <a:pt x="224" y="117"/>
                    </a:lnTo>
                    <a:lnTo>
                      <a:pt x="224" y="115"/>
                    </a:lnTo>
                    <a:lnTo>
                      <a:pt x="225" y="115"/>
                    </a:lnTo>
                    <a:lnTo>
                      <a:pt x="227" y="115"/>
                    </a:lnTo>
                    <a:lnTo>
                      <a:pt x="227" y="114"/>
                    </a:lnTo>
                    <a:lnTo>
                      <a:pt x="229" y="114"/>
                    </a:lnTo>
                    <a:lnTo>
                      <a:pt x="229" y="112"/>
                    </a:lnTo>
                    <a:lnTo>
                      <a:pt x="230" y="112"/>
                    </a:lnTo>
                    <a:lnTo>
                      <a:pt x="232" y="111"/>
                    </a:lnTo>
                    <a:lnTo>
                      <a:pt x="232" y="109"/>
                    </a:lnTo>
                    <a:lnTo>
                      <a:pt x="233" y="109"/>
                    </a:lnTo>
                    <a:lnTo>
                      <a:pt x="235" y="107"/>
                    </a:lnTo>
                    <a:lnTo>
                      <a:pt x="236" y="107"/>
                    </a:lnTo>
                    <a:lnTo>
                      <a:pt x="236" y="106"/>
                    </a:lnTo>
                    <a:lnTo>
                      <a:pt x="238" y="106"/>
                    </a:lnTo>
                    <a:lnTo>
                      <a:pt x="238" y="104"/>
                    </a:lnTo>
                    <a:lnTo>
                      <a:pt x="240" y="104"/>
                    </a:lnTo>
                    <a:lnTo>
                      <a:pt x="240" y="103"/>
                    </a:lnTo>
                    <a:lnTo>
                      <a:pt x="241" y="103"/>
                    </a:lnTo>
                    <a:lnTo>
                      <a:pt x="243" y="101"/>
                    </a:lnTo>
                    <a:lnTo>
                      <a:pt x="244" y="100"/>
                    </a:lnTo>
                    <a:lnTo>
                      <a:pt x="246" y="98"/>
                    </a:lnTo>
                    <a:lnTo>
                      <a:pt x="248" y="96"/>
                    </a:lnTo>
                    <a:lnTo>
                      <a:pt x="249" y="95"/>
                    </a:lnTo>
                    <a:lnTo>
                      <a:pt x="251" y="95"/>
                    </a:lnTo>
                    <a:lnTo>
                      <a:pt x="251" y="93"/>
                    </a:lnTo>
                    <a:lnTo>
                      <a:pt x="252" y="92"/>
                    </a:lnTo>
                    <a:lnTo>
                      <a:pt x="254" y="92"/>
                    </a:lnTo>
                    <a:lnTo>
                      <a:pt x="255" y="90"/>
                    </a:lnTo>
                    <a:lnTo>
                      <a:pt x="257" y="88"/>
                    </a:lnTo>
                    <a:lnTo>
                      <a:pt x="257" y="87"/>
                    </a:lnTo>
                    <a:lnTo>
                      <a:pt x="259" y="87"/>
                    </a:lnTo>
                    <a:lnTo>
                      <a:pt x="259" y="85"/>
                    </a:lnTo>
                    <a:lnTo>
                      <a:pt x="260" y="85"/>
                    </a:lnTo>
                    <a:lnTo>
                      <a:pt x="260" y="84"/>
                    </a:lnTo>
                    <a:lnTo>
                      <a:pt x="262" y="84"/>
                    </a:lnTo>
                    <a:lnTo>
                      <a:pt x="262" y="82"/>
                    </a:lnTo>
                    <a:lnTo>
                      <a:pt x="263" y="82"/>
                    </a:lnTo>
                    <a:lnTo>
                      <a:pt x="263" y="81"/>
                    </a:lnTo>
                    <a:lnTo>
                      <a:pt x="265" y="81"/>
                    </a:lnTo>
                    <a:lnTo>
                      <a:pt x="265" y="79"/>
                    </a:lnTo>
                    <a:lnTo>
                      <a:pt x="267" y="79"/>
                    </a:lnTo>
                    <a:lnTo>
                      <a:pt x="268" y="77"/>
                    </a:lnTo>
                    <a:lnTo>
                      <a:pt x="270" y="77"/>
                    </a:lnTo>
                    <a:lnTo>
                      <a:pt x="271" y="76"/>
                    </a:lnTo>
                    <a:lnTo>
                      <a:pt x="273" y="76"/>
                    </a:lnTo>
                    <a:lnTo>
                      <a:pt x="278" y="74"/>
                    </a:lnTo>
                    <a:lnTo>
                      <a:pt x="281" y="76"/>
                    </a:lnTo>
                    <a:lnTo>
                      <a:pt x="284" y="76"/>
                    </a:lnTo>
                    <a:lnTo>
                      <a:pt x="286" y="73"/>
                    </a:lnTo>
                    <a:lnTo>
                      <a:pt x="287" y="71"/>
                    </a:lnTo>
                    <a:lnTo>
                      <a:pt x="290" y="74"/>
                    </a:lnTo>
                    <a:lnTo>
                      <a:pt x="292" y="76"/>
                    </a:lnTo>
                    <a:lnTo>
                      <a:pt x="295" y="77"/>
                    </a:lnTo>
                    <a:lnTo>
                      <a:pt x="298" y="77"/>
                    </a:lnTo>
                    <a:lnTo>
                      <a:pt x="300" y="76"/>
                    </a:lnTo>
                    <a:lnTo>
                      <a:pt x="301" y="74"/>
                    </a:lnTo>
                    <a:lnTo>
                      <a:pt x="305" y="73"/>
                    </a:lnTo>
                    <a:lnTo>
                      <a:pt x="305" y="71"/>
                    </a:lnTo>
                    <a:lnTo>
                      <a:pt x="308" y="69"/>
                    </a:lnTo>
                    <a:lnTo>
                      <a:pt x="311" y="69"/>
                    </a:lnTo>
                    <a:lnTo>
                      <a:pt x="314" y="71"/>
                    </a:lnTo>
                    <a:lnTo>
                      <a:pt x="316" y="73"/>
                    </a:lnTo>
                    <a:lnTo>
                      <a:pt x="317" y="74"/>
                    </a:lnTo>
                    <a:lnTo>
                      <a:pt x="319" y="74"/>
                    </a:lnTo>
                    <a:lnTo>
                      <a:pt x="320" y="73"/>
                    </a:lnTo>
                    <a:lnTo>
                      <a:pt x="320" y="71"/>
                    </a:lnTo>
                    <a:lnTo>
                      <a:pt x="320" y="69"/>
                    </a:lnTo>
                    <a:lnTo>
                      <a:pt x="322" y="68"/>
                    </a:lnTo>
                    <a:lnTo>
                      <a:pt x="324" y="68"/>
                    </a:lnTo>
                    <a:lnTo>
                      <a:pt x="324" y="66"/>
                    </a:lnTo>
                    <a:lnTo>
                      <a:pt x="325" y="66"/>
                    </a:lnTo>
                    <a:lnTo>
                      <a:pt x="327" y="66"/>
                    </a:lnTo>
                    <a:lnTo>
                      <a:pt x="325" y="65"/>
                    </a:lnTo>
                    <a:lnTo>
                      <a:pt x="327" y="65"/>
                    </a:lnTo>
                    <a:lnTo>
                      <a:pt x="327" y="63"/>
                    </a:lnTo>
                    <a:lnTo>
                      <a:pt x="328" y="63"/>
                    </a:lnTo>
                    <a:lnTo>
                      <a:pt x="328" y="62"/>
                    </a:lnTo>
                    <a:lnTo>
                      <a:pt x="327" y="62"/>
                    </a:lnTo>
                    <a:lnTo>
                      <a:pt x="327" y="60"/>
                    </a:lnTo>
                    <a:lnTo>
                      <a:pt x="327" y="58"/>
                    </a:lnTo>
                    <a:lnTo>
                      <a:pt x="327" y="57"/>
                    </a:lnTo>
                    <a:lnTo>
                      <a:pt x="325" y="55"/>
                    </a:lnTo>
                    <a:lnTo>
                      <a:pt x="325" y="54"/>
                    </a:lnTo>
                    <a:lnTo>
                      <a:pt x="325" y="52"/>
                    </a:lnTo>
                    <a:lnTo>
                      <a:pt x="324" y="50"/>
                    </a:lnTo>
                    <a:lnTo>
                      <a:pt x="322" y="50"/>
                    </a:lnTo>
                    <a:lnTo>
                      <a:pt x="322" y="49"/>
                    </a:lnTo>
                    <a:lnTo>
                      <a:pt x="322" y="47"/>
                    </a:lnTo>
                    <a:lnTo>
                      <a:pt x="324" y="47"/>
                    </a:lnTo>
                    <a:lnTo>
                      <a:pt x="325" y="46"/>
                    </a:lnTo>
                    <a:lnTo>
                      <a:pt x="325" y="44"/>
                    </a:lnTo>
                    <a:lnTo>
                      <a:pt x="324" y="44"/>
                    </a:lnTo>
                    <a:lnTo>
                      <a:pt x="322" y="43"/>
                    </a:lnTo>
                    <a:lnTo>
                      <a:pt x="322" y="41"/>
                    </a:lnTo>
                    <a:lnTo>
                      <a:pt x="322" y="39"/>
                    </a:lnTo>
                    <a:lnTo>
                      <a:pt x="324" y="38"/>
                    </a:lnTo>
                    <a:lnTo>
                      <a:pt x="324" y="36"/>
                    </a:lnTo>
                    <a:lnTo>
                      <a:pt x="322" y="33"/>
                    </a:lnTo>
                    <a:lnTo>
                      <a:pt x="324" y="31"/>
                    </a:lnTo>
                    <a:lnTo>
                      <a:pt x="325" y="30"/>
                    </a:lnTo>
                    <a:lnTo>
                      <a:pt x="327" y="30"/>
                    </a:lnTo>
                    <a:lnTo>
                      <a:pt x="327" y="28"/>
                    </a:lnTo>
                    <a:lnTo>
                      <a:pt x="328" y="28"/>
                    </a:lnTo>
                    <a:lnTo>
                      <a:pt x="328" y="27"/>
                    </a:lnTo>
                    <a:lnTo>
                      <a:pt x="330" y="27"/>
                    </a:lnTo>
                    <a:lnTo>
                      <a:pt x="330" y="25"/>
                    </a:lnTo>
                    <a:lnTo>
                      <a:pt x="331" y="25"/>
                    </a:lnTo>
                    <a:lnTo>
                      <a:pt x="331" y="24"/>
                    </a:lnTo>
                    <a:lnTo>
                      <a:pt x="333" y="24"/>
                    </a:lnTo>
                    <a:lnTo>
                      <a:pt x="333" y="22"/>
                    </a:lnTo>
                    <a:lnTo>
                      <a:pt x="335" y="22"/>
                    </a:lnTo>
                    <a:lnTo>
                      <a:pt x="336" y="20"/>
                    </a:lnTo>
                    <a:lnTo>
                      <a:pt x="338" y="19"/>
                    </a:lnTo>
                    <a:lnTo>
                      <a:pt x="339" y="19"/>
                    </a:lnTo>
                    <a:lnTo>
                      <a:pt x="339" y="17"/>
                    </a:lnTo>
                    <a:lnTo>
                      <a:pt x="341" y="16"/>
                    </a:lnTo>
                    <a:lnTo>
                      <a:pt x="343" y="16"/>
                    </a:lnTo>
                    <a:lnTo>
                      <a:pt x="343" y="14"/>
                    </a:lnTo>
                    <a:lnTo>
                      <a:pt x="344" y="14"/>
                    </a:lnTo>
                    <a:lnTo>
                      <a:pt x="344" y="12"/>
                    </a:lnTo>
                    <a:lnTo>
                      <a:pt x="346" y="12"/>
                    </a:lnTo>
                    <a:lnTo>
                      <a:pt x="346" y="11"/>
                    </a:lnTo>
                    <a:lnTo>
                      <a:pt x="347" y="11"/>
                    </a:lnTo>
                    <a:lnTo>
                      <a:pt x="349" y="9"/>
                    </a:lnTo>
                    <a:lnTo>
                      <a:pt x="350" y="8"/>
                    </a:lnTo>
                    <a:lnTo>
                      <a:pt x="352" y="8"/>
                    </a:lnTo>
                    <a:lnTo>
                      <a:pt x="352" y="6"/>
                    </a:lnTo>
                    <a:lnTo>
                      <a:pt x="354" y="6"/>
                    </a:lnTo>
                    <a:lnTo>
                      <a:pt x="355" y="6"/>
                    </a:lnTo>
                    <a:lnTo>
                      <a:pt x="355" y="5"/>
                    </a:lnTo>
                    <a:lnTo>
                      <a:pt x="357" y="5"/>
                    </a:lnTo>
                    <a:lnTo>
                      <a:pt x="358" y="5"/>
                    </a:lnTo>
                    <a:lnTo>
                      <a:pt x="360" y="3"/>
                    </a:lnTo>
                    <a:lnTo>
                      <a:pt x="362" y="3"/>
                    </a:lnTo>
                    <a:lnTo>
                      <a:pt x="363" y="1"/>
                    </a:lnTo>
                    <a:lnTo>
                      <a:pt x="365" y="1"/>
                    </a:lnTo>
                    <a:lnTo>
                      <a:pt x="366" y="0"/>
                    </a:lnTo>
                    <a:lnTo>
                      <a:pt x="368" y="0"/>
                    </a:lnTo>
                    <a:lnTo>
                      <a:pt x="369" y="0"/>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85" name="Freeform 65"/>
              <p:cNvSpPr>
                <a:spLocks/>
              </p:cNvSpPr>
              <p:nvPr/>
            </p:nvSpPr>
            <p:spPr bwMode="auto">
              <a:xfrm>
                <a:off x="4186" y="2097"/>
                <a:ext cx="316" cy="713"/>
              </a:xfrm>
              <a:custGeom>
                <a:avLst/>
                <a:gdLst>
                  <a:gd name="T0" fmla="*/ 64 w 316"/>
                  <a:gd name="T1" fmla="*/ 708 h 713"/>
                  <a:gd name="T2" fmla="*/ 100 w 316"/>
                  <a:gd name="T3" fmla="*/ 705 h 713"/>
                  <a:gd name="T4" fmla="*/ 107 w 316"/>
                  <a:gd name="T5" fmla="*/ 691 h 713"/>
                  <a:gd name="T6" fmla="*/ 116 w 316"/>
                  <a:gd name="T7" fmla="*/ 667 h 713"/>
                  <a:gd name="T8" fmla="*/ 129 w 316"/>
                  <a:gd name="T9" fmla="*/ 645 h 713"/>
                  <a:gd name="T10" fmla="*/ 164 w 316"/>
                  <a:gd name="T11" fmla="*/ 616 h 713"/>
                  <a:gd name="T12" fmla="*/ 153 w 316"/>
                  <a:gd name="T13" fmla="*/ 601 h 713"/>
                  <a:gd name="T14" fmla="*/ 134 w 316"/>
                  <a:gd name="T15" fmla="*/ 601 h 713"/>
                  <a:gd name="T16" fmla="*/ 115 w 316"/>
                  <a:gd name="T17" fmla="*/ 604 h 713"/>
                  <a:gd name="T18" fmla="*/ 107 w 316"/>
                  <a:gd name="T19" fmla="*/ 594 h 713"/>
                  <a:gd name="T20" fmla="*/ 100 w 316"/>
                  <a:gd name="T21" fmla="*/ 583 h 713"/>
                  <a:gd name="T22" fmla="*/ 78 w 316"/>
                  <a:gd name="T23" fmla="*/ 578 h 713"/>
                  <a:gd name="T24" fmla="*/ 69 w 316"/>
                  <a:gd name="T25" fmla="*/ 569 h 713"/>
                  <a:gd name="T26" fmla="*/ 59 w 316"/>
                  <a:gd name="T27" fmla="*/ 561 h 713"/>
                  <a:gd name="T28" fmla="*/ 45 w 316"/>
                  <a:gd name="T29" fmla="*/ 561 h 713"/>
                  <a:gd name="T30" fmla="*/ 32 w 316"/>
                  <a:gd name="T31" fmla="*/ 558 h 713"/>
                  <a:gd name="T32" fmla="*/ 23 w 316"/>
                  <a:gd name="T33" fmla="*/ 555 h 713"/>
                  <a:gd name="T34" fmla="*/ 15 w 316"/>
                  <a:gd name="T35" fmla="*/ 542 h 713"/>
                  <a:gd name="T36" fmla="*/ 5 w 316"/>
                  <a:gd name="T37" fmla="*/ 525 h 713"/>
                  <a:gd name="T38" fmla="*/ 18 w 316"/>
                  <a:gd name="T39" fmla="*/ 506 h 713"/>
                  <a:gd name="T40" fmla="*/ 21 w 316"/>
                  <a:gd name="T41" fmla="*/ 491 h 713"/>
                  <a:gd name="T42" fmla="*/ 18 w 316"/>
                  <a:gd name="T43" fmla="*/ 477 h 713"/>
                  <a:gd name="T44" fmla="*/ 15 w 316"/>
                  <a:gd name="T45" fmla="*/ 463 h 713"/>
                  <a:gd name="T46" fmla="*/ 16 w 316"/>
                  <a:gd name="T47" fmla="*/ 447 h 713"/>
                  <a:gd name="T48" fmla="*/ 24 w 316"/>
                  <a:gd name="T49" fmla="*/ 434 h 713"/>
                  <a:gd name="T50" fmla="*/ 29 w 316"/>
                  <a:gd name="T51" fmla="*/ 420 h 713"/>
                  <a:gd name="T52" fmla="*/ 37 w 316"/>
                  <a:gd name="T53" fmla="*/ 407 h 713"/>
                  <a:gd name="T54" fmla="*/ 50 w 316"/>
                  <a:gd name="T55" fmla="*/ 401 h 713"/>
                  <a:gd name="T56" fmla="*/ 61 w 316"/>
                  <a:gd name="T57" fmla="*/ 393 h 713"/>
                  <a:gd name="T58" fmla="*/ 62 w 316"/>
                  <a:gd name="T59" fmla="*/ 376 h 713"/>
                  <a:gd name="T60" fmla="*/ 59 w 316"/>
                  <a:gd name="T61" fmla="*/ 361 h 713"/>
                  <a:gd name="T62" fmla="*/ 59 w 316"/>
                  <a:gd name="T63" fmla="*/ 344 h 713"/>
                  <a:gd name="T64" fmla="*/ 59 w 316"/>
                  <a:gd name="T65" fmla="*/ 330 h 713"/>
                  <a:gd name="T66" fmla="*/ 59 w 316"/>
                  <a:gd name="T67" fmla="*/ 314 h 713"/>
                  <a:gd name="T68" fmla="*/ 65 w 316"/>
                  <a:gd name="T69" fmla="*/ 301 h 713"/>
                  <a:gd name="T70" fmla="*/ 73 w 316"/>
                  <a:gd name="T71" fmla="*/ 289 h 713"/>
                  <a:gd name="T72" fmla="*/ 67 w 316"/>
                  <a:gd name="T73" fmla="*/ 274 h 713"/>
                  <a:gd name="T74" fmla="*/ 80 w 316"/>
                  <a:gd name="T75" fmla="*/ 273 h 713"/>
                  <a:gd name="T76" fmla="*/ 96 w 316"/>
                  <a:gd name="T77" fmla="*/ 232 h 713"/>
                  <a:gd name="T78" fmla="*/ 107 w 316"/>
                  <a:gd name="T79" fmla="*/ 208 h 713"/>
                  <a:gd name="T80" fmla="*/ 127 w 316"/>
                  <a:gd name="T81" fmla="*/ 194 h 713"/>
                  <a:gd name="T82" fmla="*/ 129 w 316"/>
                  <a:gd name="T83" fmla="*/ 162 h 713"/>
                  <a:gd name="T84" fmla="*/ 124 w 316"/>
                  <a:gd name="T85" fmla="*/ 135 h 713"/>
                  <a:gd name="T86" fmla="*/ 121 w 316"/>
                  <a:gd name="T87" fmla="*/ 91 h 713"/>
                  <a:gd name="T88" fmla="*/ 172 w 316"/>
                  <a:gd name="T89" fmla="*/ 46 h 713"/>
                  <a:gd name="T90" fmla="*/ 197 w 316"/>
                  <a:gd name="T91" fmla="*/ 34 h 713"/>
                  <a:gd name="T92" fmla="*/ 200 w 316"/>
                  <a:gd name="T93" fmla="*/ 48 h 713"/>
                  <a:gd name="T94" fmla="*/ 200 w 316"/>
                  <a:gd name="T95" fmla="*/ 60 h 713"/>
                  <a:gd name="T96" fmla="*/ 213 w 316"/>
                  <a:gd name="T97" fmla="*/ 65 h 713"/>
                  <a:gd name="T98" fmla="*/ 213 w 316"/>
                  <a:gd name="T99" fmla="*/ 78 h 713"/>
                  <a:gd name="T100" fmla="*/ 216 w 316"/>
                  <a:gd name="T101" fmla="*/ 89 h 713"/>
                  <a:gd name="T102" fmla="*/ 232 w 316"/>
                  <a:gd name="T103" fmla="*/ 106 h 713"/>
                  <a:gd name="T104" fmla="*/ 249 w 316"/>
                  <a:gd name="T105" fmla="*/ 81 h 713"/>
                  <a:gd name="T106" fmla="*/ 262 w 316"/>
                  <a:gd name="T107" fmla="*/ 70 h 713"/>
                  <a:gd name="T108" fmla="*/ 273 w 316"/>
                  <a:gd name="T109" fmla="*/ 57 h 713"/>
                  <a:gd name="T110" fmla="*/ 289 w 316"/>
                  <a:gd name="T111" fmla="*/ 56 h 713"/>
                  <a:gd name="T112" fmla="*/ 294 w 316"/>
                  <a:gd name="T113" fmla="*/ 43 h 713"/>
                  <a:gd name="T114" fmla="*/ 297 w 316"/>
                  <a:gd name="T115" fmla="*/ 27 h 713"/>
                  <a:gd name="T116" fmla="*/ 298 w 316"/>
                  <a:gd name="T117" fmla="*/ 11 h 713"/>
                  <a:gd name="T118" fmla="*/ 309 w 316"/>
                  <a:gd name="T119" fmla="*/ 2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6" h="713">
                    <a:moveTo>
                      <a:pt x="0" y="707"/>
                    </a:moveTo>
                    <a:lnTo>
                      <a:pt x="0" y="705"/>
                    </a:lnTo>
                    <a:lnTo>
                      <a:pt x="2" y="705"/>
                    </a:lnTo>
                    <a:lnTo>
                      <a:pt x="4" y="705"/>
                    </a:lnTo>
                    <a:lnTo>
                      <a:pt x="13" y="700"/>
                    </a:lnTo>
                    <a:lnTo>
                      <a:pt x="27" y="699"/>
                    </a:lnTo>
                    <a:lnTo>
                      <a:pt x="37" y="700"/>
                    </a:lnTo>
                    <a:lnTo>
                      <a:pt x="46" y="704"/>
                    </a:lnTo>
                    <a:lnTo>
                      <a:pt x="48" y="704"/>
                    </a:lnTo>
                    <a:lnTo>
                      <a:pt x="56" y="705"/>
                    </a:lnTo>
                    <a:lnTo>
                      <a:pt x="64" y="708"/>
                    </a:lnTo>
                    <a:lnTo>
                      <a:pt x="69" y="708"/>
                    </a:lnTo>
                    <a:lnTo>
                      <a:pt x="72" y="710"/>
                    </a:lnTo>
                    <a:lnTo>
                      <a:pt x="78" y="712"/>
                    </a:lnTo>
                    <a:lnTo>
                      <a:pt x="86" y="712"/>
                    </a:lnTo>
                    <a:lnTo>
                      <a:pt x="92" y="713"/>
                    </a:lnTo>
                    <a:lnTo>
                      <a:pt x="97" y="712"/>
                    </a:lnTo>
                    <a:lnTo>
                      <a:pt x="99" y="712"/>
                    </a:lnTo>
                    <a:lnTo>
                      <a:pt x="99" y="710"/>
                    </a:lnTo>
                    <a:lnTo>
                      <a:pt x="99" y="708"/>
                    </a:lnTo>
                    <a:lnTo>
                      <a:pt x="100" y="707"/>
                    </a:lnTo>
                    <a:lnTo>
                      <a:pt x="100" y="705"/>
                    </a:lnTo>
                    <a:lnTo>
                      <a:pt x="100" y="704"/>
                    </a:lnTo>
                    <a:lnTo>
                      <a:pt x="102" y="704"/>
                    </a:lnTo>
                    <a:lnTo>
                      <a:pt x="102" y="702"/>
                    </a:lnTo>
                    <a:lnTo>
                      <a:pt x="102" y="700"/>
                    </a:lnTo>
                    <a:lnTo>
                      <a:pt x="103" y="699"/>
                    </a:lnTo>
                    <a:lnTo>
                      <a:pt x="103" y="697"/>
                    </a:lnTo>
                    <a:lnTo>
                      <a:pt x="105" y="696"/>
                    </a:lnTo>
                    <a:lnTo>
                      <a:pt x="105" y="694"/>
                    </a:lnTo>
                    <a:lnTo>
                      <a:pt x="105" y="693"/>
                    </a:lnTo>
                    <a:lnTo>
                      <a:pt x="107" y="693"/>
                    </a:lnTo>
                    <a:lnTo>
                      <a:pt x="107" y="691"/>
                    </a:lnTo>
                    <a:lnTo>
                      <a:pt x="107" y="689"/>
                    </a:lnTo>
                    <a:lnTo>
                      <a:pt x="108" y="689"/>
                    </a:lnTo>
                    <a:lnTo>
                      <a:pt x="108" y="688"/>
                    </a:lnTo>
                    <a:lnTo>
                      <a:pt x="108" y="686"/>
                    </a:lnTo>
                    <a:lnTo>
                      <a:pt x="110" y="681"/>
                    </a:lnTo>
                    <a:lnTo>
                      <a:pt x="111" y="678"/>
                    </a:lnTo>
                    <a:lnTo>
                      <a:pt x="115" y="672"/>
                    </a:lnTo>
                    <a:lnTo>
                      <a:pt x="116" y="672"/>
                    </a:lnTo>
                    <a:lnTo>
                      <a:pt x="116" y="670"/>
                    </a:lnTo>
                    <a:lnTo>
                      <a:pt x="116" y="669"/>
                    </a:lnTo>
                    <a:lnTo>
                      <a:pt x="116" y="667"/>
                    </a:lnTo>
                    <a:lnTo>
                      <a:pt x="119" y="662"/>
                    </a:lnTo>
                    <a:lnTo>
                      <a:pt x="122" y="658"/>
                    </a:lnTo>
                    <a:lnTo>
                      <a:pt x="122" y="656"/>
                    </a:lnTo>
                    <a:lnTo>
                      <a:pt x="122" y="655"/>
                    </a:lnTo>
                    <a:lnTo>
                      <a:pt x="124" y="653"/>
                    </a:lnTo>
                    <a:lnTo>
                      <a:pt x="126" y="651"/>
                    </a:lnTo>
                    <a:lnTo>
                      <a:pt x="126" y="650"/>
                    </a:lnTo>
                    <a:lnTo>
                      <a:pt x="127" y="648"/>
                    </a:lnTo>
                    <a:lnTo>
                      <a:pt x="127" y="647"/>
                    </a:lnTo>
                    <a:lnTo>
                      <a:pt x="129" y="647"/>
                    </a:lnTo>
                    <a:lnTo>
                      <a:pt x="129" y="645"/>
                    </a:lnTo>
                    <a:lnTo>
                      <a:pt x="130" y="643"/>
                    </a:lnTo>
                    <a:lnTo>
                      <a:pt x="132" y="642"/>
                    </a:lnTo>
                    <a:lnTo>
                      <a:pt x="134" y="642"/>
                    </a:lnTo>
                    <a:lnTo>
                      <a:pt x="138" y="640"/>
                    </a:lnTo>
                    <a:lnTo>
                      <a:pt x="146" y="632"/>
                    </a:lnTo>
                    <a:lnTo>
                      <a:pt x="151" y="628"/>
                    </a:lnTo>
                    <a:lnTo>
                      <a:pt x="153" y="626"/>
                    </a:lnTo>
                    <a:lnTo>
                      <a:pt x="154" y="624"/>
                    </a:lnTo>
                    <a:lnTo>
                      <a:pt x="159" y="623"/>
                    </a:lnTo>
                    <a:lnTo>
                      <a:pt x="160" y="620"/>
                    </a:lnTo>
                    <a:lnTo>
                      <a:pt x="164" y="616"/>
                    </a:lnTo>
                    <a:lnTo>
                      <a:pt x="165" y="613"/>
                    </a:lnTo>
                    <a:lnTo>
                      <a:pt x="167" y="612"/>
                    </a:lnTo>
                    <a:lnTo>
                      <a:pt x="170" y="610"/>
                    </a:lnTo>
                    <a:lnTo>
                      <a:pt x="168" y="609"/>
                    </a:lnTo>
                    <a:lnTo>
                      <a:pt x="167" y="607"/>
                    </a:lnTo>
                    <a:lnTo>
                      <a:pt x="164" y="607"/>
                    </a:lnTo>
                    <a:lnTo>
                      <a:pt x="162" y="607"/>
                    </a:lnTo>
                    <a:lnTo>
                      <a:pt x="159" y="607"/>
                    </a:lnTo>
                    <a:lnTo>
                      <a:pt x="157" y="605"/>
                    </a:lnTo>
                    <a:lnTo>
                      <a:pt x="156" y="602"/>
                    </a:lnTo>
                    <a:lnTo>
                      <a:pt x="153" y="601"/>
                    </a:lnTo>
                    <a:lnTo>
                      <a:pt x="151" y="601"/>
                    </a:lnTo>
                    <a:lnTo>
                      <a:pt x="149" y="601"/>
                    </a:lnTo>
                    <a:lnTo>
                      <a:pt x="146" y="601"/>
                    </a:lnTo>
                    <a:lnTo>
                      <a:pt x="146" y="602"/>
                    </a:lnTo>
                    <a:lnTo>
                      <a:pt x="145" y="602"/>
                    </a:lnTo>
                    <a:lnTo>
                      <a:pt x="143" y="601"/>
                    </a:lnTo>
                    <a:lnTo>
                      <a:pt x="141" y="599"/>
                    </a:lnTo>
                    <a:lnTo>
                      <a:pt x="137" y="601"/>
                    </a:lnTo>
                    <a:lnTo>
                      <a:pt x="137" y="602"/>
                    </a:lnTo>
                    <a:lnTo>
                      <a:pt x="135" y="602"/>
                    </a:lnTo>
                    <a:lnTo>
                      <a:pt x="134" y="601"/>
                    </a:lnTo>
                    <a:lnTo>
                      <a:pt x="132" y="601"/>
                    </a:lnTo>
                    <a:lnTo>
                      <a:pt x="130" y="601"/>
                    </a:lnTo>
                    <a:lnTo>
                      <a:pt x="129" y="601"/>
                    </a:lnTo>
                    <a:lnTo>
                      <a:pt x="126" y="601"/>
                    </a:lnTo>
                    <a:lnTo>
                      <a:pt x="124" y="601"/>
                    </a:lnTo>
                    <a:lnTo>
                      <a:pt x="124" y="602"/>
                    </a:lnTo>
                    <a:lnTo>
                      <a:pt x="122" y="604"/>
                    </a:lnTo>
                    <a:lnTo>
                      <a:pt x="121" y="605"/>
                    </a:lnTo>
                    <a:lnTo>
                      <a:pt x="118" y="605"/>
                    </a:lnTo>
                    <a:lnTo>
                      <a:pt x="116" y="604"/>
                    </a:lnTo>
                    <a:lnTo>
                      <a:pt x="115" y="604"/>
                    </a:lnTo>
                    <a:lnTo>
                      <a:pt x="113" y="604"/>
                    </a:lnTo>
                    <a:lnTo>
                      <a:pt x="110" y="604"/>
                    </a:lnTo>
                    <a:lnTo>
                      <a:pt x="108" y="604"/>
                    </a:lnTo>
                    <a:lnTo>
                      <a:pt x="105" y="604"/>
                    </a:lnTo>
                    <a:lnTo>
                      <a:pt x="105" y="602"/>
                    </a:lnTo>
                    <a:lnTo>
                      <a:pt x="103" y="602"/>
                    </a:lnTo>
                    <a:lnTo>
                      <a:pt x="103" y="601"/>
                    </a:lnTo>
                    <a:lnTo>
                      <a:pt x="105" y="599"/>
                    </a:lnTo>
                    <a:lnTo>
                      <a:pt x="105" y="597"/>
                    </a:lnTo>
                    <a:lnTo>
                      <a:pt x="107" y="596"/>
                    </a:lnTo>
                    <a:lnTo>
                      <a:pt x="107" y="594"/>
                    </a:lnTo>
                    <a:lnTo>
                      <a:pt x="107" y="593"/>
                    </a:lnTo>
                    <a:lnTo>
                      <a:pt x="108" y="591"/>
                    </a:lnTo>
                    <a:lnTo>
                      <a:pt x="108" y="590"/>
                    </a:lnTo>
                    <a:lnTo>
                      <a:pt x="108" y="588"/>
                    </a:lnTo>
                    <a:lnTo>
                      <a:pt x="108" y="586"/>
                    </a:lnTo>
                    <a:lnTo>
                      <a:pt x="108" y="585"/>
                    </a:lnTo>
                    <a:lnTo>
                      <a:pt x="108" y="583"/>
                    </a:lnTo>
                    <a:lnTo>
                      <a:pt x="107" y="583"/>
                    </a:lnTo>
                    <a:lnTo>
                      <a:pt x="105" y="583"/>
                    </a:lnTo>
                    <a:lnTo>
                      <a:pt x="102" y="583"/>
                    </a:lnTo>
                    <a:lnTo>
                      <a:pt x="100" y="583"/>
                    </a:lnTo>
                    <a:lnTo>
                      <a:pt x="99" y="583"/>
                    </a:lnTo>
                    <a:lnTo>
                      <a:pt x="97" y="582"/>
                    </a:lnTo>
                    <a:lnTo>
                      <a:pt x="96" y="580"/>
                    </a:lnTo>
                    <a:lnTo>
                      <a:pt x="94" y="582"/>
                    </a:lnTo>
                    <a:lnTo>
                      <a:pt x="92" y="580"/>
                    </a:lnTo>
                    <a:lnTo>
                      <a:pt x="89" y="580"/>
                    </a:lnTo>
                    <a:lnTo>
                      <a:pt x="89" y="578"/>
                    </a:lnTo>
                    <a:lnTo>
                      <a:pt x="86" y="578"/>
                    </a:lnTo>
                    <a:lnTo>
                      <a:pt x="83" y="578"/>
                    </a:lnTo>
                    <a:lnTo>
                      <a:pt x="80" y="578"/>
                    </a:lnTo>
                    <a:lnTo>
                      <a:pt x="78" y="578"/>
                    </a:lnTo>
                    <a:lnTo>
                      <a:pt x="77" y="578"/>
                    </a:lnTo>
                    <a:lnTo>
                      <a:pt x="75" y="577"/>
                    </a:lnTo>
                    <a:lnTo>
                      <a:pt x="73" y="577"/>
                    </a:lnTo>
                    <a:lnTo>
                      <a:pt x="73" y="575"/>
                    </a:lnTo>
                    <a:lnTo>
                      <a:pt x="72" y="575"/>
                    </a:lnTo>
                    <a:lnTo>
                      <a:pt x="72" y="574"/>
                    </a:lnTo>
                    <a:lnTo>
                      <a:pt x="72" y="572"/>
                    </a:lnTo>
                    <a:lnTo>
                      <a:pt x="70" y="572"/>
                    </a:lnTo>
                    <a:lnTo>
                      <a:pt x="70" y="571"/>
                    </a:lnTo>
                    <a:lnTo>
                      <a:pt x="70" y="569"/>
                    </a:lnTo>
                    <a:lnTo>
                      <a:pt x="69" y="569"/>
                    </a:lnTo>
                    <a:lnTo>
                      <a:pt x="69" y="567"/>
                    </a:lnTo>
                    <a:lnTo>
                      <a:pt x="67" y="567"/>
                    </a:lnTo>
                    <a:lnTo>
                      <a:pt x="67" y="566"/>
                    </a:lnTo>
                    <a:lnTo>
                      <a:pt x="65" y="566"/>
                    </a:lnTo>
                    <a:lnTo>
                      <a:pt x="65" y="564"/>
                    </a:lnTo>
                    <a:lnTo>
                      <a:pt x="64" y="564"/>
                    </a:lnTo>
                    <a:lnTo>
                      <a:pt x="64" y="563"/>
                    </a:lnTo>
                    <a:lnTo>
                      <a:pt x="62" y="563"/>
                    </a:lnTo>
                    <a:lnTo>
                      <a:pt x="61" y="563"/>
                    </a:lnTo>
                    <a:lnTo>
                      <a:pt x="61" y="561"/>
                    </a:lnTo>
                    <a:lnTo>
                      <a:pt x="59" y="561"/>
                    </a:lnTo>
                    <a:lnTo>
                      <a:pt x="58" y="561"/>
                    </a:lnTo>
                    <a:lnTo>
                      <a:pt x="56" y="561"/>
                    </a:lnTo>
                    <a:lnTo>
                      <a:pt x="54" y="561"/>
                    </a:lnTo>
                    <a:lnTo>
                      <a:pt x="54" y="563"/>
                    </a:lnTo>
                    <a:lnTo>
                      <a:pt x="53" y="563"/>
                    </a:lnTo>
                    <a:lnTo>
                      <a:pt x="51" y="563"/>
                    </a:lnTo>
                    <a:lnTo>
                      <a:pt x="50" y="563"/>
                    </a:lnTo>
                    <a:lnTo>
                      <a:pt x="48" y="563"/>
                    </a:lnTo>
                    <a:lnTo>
                      <a:pt x="46" y="563"/>
                    </a:lnTo>
                    <a:lnTo>
                      <a:pt x="45" y="563"/>
                    </a:lnTo>
                    <a:lnTo>
                      <a:pt x="45" y="561"/>
                    </a:lnTo>
                    <a:lnTo>
                      <a:pt x="43" y="561"/>
                    </a:lnTo>
                    <a:lnTo>
                      <a:pt x="43" y="559"/>
                    </a:lnTo>
                    <a:lnTo>
                      <a:pt x="42" y="559"/>
                    </a:lnTo>
                    <a:lnTo>
                      <a:pt x="42" y="558"/>
                    </a:lnTo>
                    <a:lnTo>
                      <a:pt x="40" y="556"/>
                    </a:lnTo>
                    <a:lnTo>
                      <a:pt x="40" y="558"/>
                    </a:lnTo>
                    <a:lnTo>
                      <a:pt x="39" y="558"/>
                    </a:lnTo>
                    <a:lnTo>
                      <a:pt x="37" y="558"/>
                    </a:lnTo>
                    <a:lnTo>
                      <a:pt x="35" y="558"/>
                    </a:lnTo>
                    <a:lnTo>
                      <a:pt x="34" y="558"/>
                    </a:lnTo>
                    <a:lnTo>
                      <a:pt x="32" y="558"/>
                    </a:lnTo>
                    <a:lnTo>
                      <a:pt x="31" y="558"/>
                    </a:lnTo>
                    <a:lnTo>
                      <a:pt x="29" y="558"/>
                    </a:lnTo>
                    <a:lnTo>
                      <a:pt x="27" y="558"/>
                    </a:lnTo>
                    <a:lnTo>
                      <a:pt x="27" y="559"/>
                    </a:lnTo>
                    <a:lnTo>
                      <a:pt x="26" y="559"/>
                    </a:lnTo>
                    <a:lnTo>
                      <a:pt x="24" y="559"/>
                    </a:lnTo>
                    <a:lnTo>
                      <a:pt x="23" y="559"/>
                    </a:lnTo>
                    <a:lnTo>
                      <a:pt x="21" y="558"/>
                    </a:lnTo>
                    <a:lnTo>
                      <a:pt x="21" y="556"/>
                    </a:lnTo>
                    <a:lnTo>
                      <a:pt x="21" y="555"/>
                    </a:lnTo>
                    <a:lnTo>
                      <a:pt x="23" y="555"/>
                    </a:lnTo>
                    <a:lnTo>
                      <a:pt x="23" y="553"/>
                    </a:lnTo>
                    <a:lnTo>
                      <a:pt x="21" y="553"/>
                    </a:lnTo>
                    <a:lnTo>
                      <a:pt x="20" y="552"/>
                    </a:lnTo>
                    <a:lnTo>
                      <a:pt x="20" y="550"/>
                    </a:lnTo>
                    <a:lnTo>
                      <a:pt x="20" y="548"/>
                    </a:lnTo>
                    <a:lnTo>
                      <a:pt x="20" y="547"/>
                    </a:lnTo>
                    <a:lnTo>
                      <a:pt x="20" y="545"/>
                    </a:lnTo>
                    <a:lnTo>
                      <a:pt x="18" y="545"/>
                    </a:lnTo>
                    <a:lnTo>
                      <a:pt x="18" y="544"/>
                    </a:lnTo>
                    <a:lnTo>
                      <a:pt x="16" y="544"/>
                    </a:lnTo>
                    <a:lnTo>
                      <a:pt x="15" y="542"/>
                    </a:lnTo>
                    <a:lnTo>
                      <a:pt x="15" y="540"/>
                    </a:lnTo>
                    <a:lnTo>
                      <a:pt x="15" y="539"/>
                    </a:lnTo>
                    <a:lnTo>
                      <a:pt x="15" y="537"/>
                    </a:lnTo>
                    <a:lnTo>
                      <a:pt x="15" y="536"/>
                    </a:lnTo>
                    <a:lnTo>
                      <a:pt x="15" y="534"/>
                    </a:lnTo>
                    <a:lnTo>
                      <a:pt x="13" y="533"/>
                    </a:lnTo>
                    <a:lnTo>
                      <a:pt x="10" y="528"/>
                    </a:lnTo>
                    <a:lnTo>
                      <a:pt x="8" y="528"/>
                    </a:lnTo>
                    <a:lnTo>
                      <a:pt x="7" y="528"/>
                    </a:lnTo>
                    <a:lnTo>
                      <a:pt x="5" y="526"/>
                    </a:lnTo>
                    <a:lnTo>
                      <a:pt x="5" y="525"/>
                    </a:lnTo>
                    <a:lnTo>
                      <a:pt x="7" y="525"/>
                    </a:lnTo>
                    <a:lnTo>
                      <a:pt x="7" y="523"/>
                    </a:lnTo>
                    <a:lnTo>
                      <a:pt x="7" y="521"/>
                    </a:lnTo>
                    <a:lnTo>
                      <a:pt x="7" y="520"/>
                    </a:lnTo>
                    <a:lnTo>
                      <a:pt x="7" y="518"/>
                    </a:lnTo>
                    <a:lnTo>
                      <a:pt x="8" y="518"/>
                    </a:lnTo>
                    <a:lnTo>
                      <a:pt x="8" y="517"/>
                    </a:lnTo>
                    <a:lnTo>
                      <a:pt x="8" y="514"/>
                    </a:lnTo>
                    <a:lnTo>
                      <a:pt x="12" y="510"/>
                    </a:lnTo>
                    <a:lnTo>
                      <a:pt x="16" y="507"/>
                    </a:lnTo>
                    <a:lnTo>
                      <a:pt x="18" y="506"/>
                    </a:lnTo>
                    <a:lnTo>
                      <a:pt x="20" y="504"/>
                    </a:lnTo>
                    <a:lnTo>
                      <a:pt x="20" y="502"/>
                    </a:lnTo>
                    <a:lnTo>
                      <a:pt x="21" y="502"/>
                    </a:lnTo>
                    <a:lnTo>
                      <a:pt x="21" y="501"/>
                    </a:lnTo>
                    <a:lnTo>
                      <a:pt x="23" y="501"/>
                    </a:lnTo>
                    <a:lnTo>
                      <a:pt x="23" y="499"/>
                    </a:lnTo>
                    <a:lnTo>
                      <a:pt x="23" y="498"/>
                    </a:lnTo>
                    <a:lnTo>
                      <a:pt x="23" y="496"/>
                    </a:lnTo>
                    <a:lnTo>
                      <a:pt x="21" y="495"/>
                    </a:lnTo>
                    <a:lnTo>
                      <a:pt x="21" y="493"/>
                    </a:lnTo>
                    <a:lnTo>
                      <a:pt x="21" y="491"/>
                    </a:lnTo>
                    <a:lnTo>
                      <a:pt x="21" y="490"/>
                    </a:lnTo>
                    <a:lnTo>
                      <a:pt x="21" y="488"/>
                    </a:lnTo>
                    <a:lnTo>
                      <a:pt x="21" y="487"/>
                    </a:lnTo>
                    <a:lnTo>
                      <a:pt x="21" y="485"/>
                    </a:lnTo>
                    <a:lnTo>
                      <a:pt x="21" y="483"/>
                    </a:lnTo>
                    <a:lnTo>
                      <a:pt x="21" y="482"/>
                    </a:lnTo>
                    <a:lnTo>
                      <a:pt x="20" y="482"/>
                    </a:lnTo>
                    <a:lnTo>
                      <a:pt x="20" y="480"/>
                    </a:lnTo>
                    <a:lnTo>
                      <a:pt x="20" y="479"/>
                    </a:lnTo>
                    <a:lnTo>
                      <a:pt x="18" y="479"/>
                    </a:lnTo>
                    <a:lnTo>
                      <a:pt x="18" y="477"/>
                    </a:lnTo>
                    <a:lnTo>
                      <a:pt x="18" y="476"/>
                    </a:lnTo>
                    <a:lnTo>
                      <a:pt x="18" y="474"/>
                    </a:lnTo>
                    <a:lnTo>
                      <a:pt x="18" y="472"/>
                    </a:lnTo>
                    <a:lnTo>
                      <a:pt x="18" y="471"/>
                    </a:lnTo>
                    <a:lnTo>
                      <a:pt x="16" y="471"/>
                    </a:lnTo>
                    <a:lnTo>
                      <a:pt x="16" y="469"/>
                    </a:lnTo>
                    <a:lnTo>
                      <a:pt x="16" y="468"/>
                    </a:lnTo>
                    <a:lnTo>
                      <a:pt x="15" y="466"/>
                    </a:lnTo>
                    <a:lnTo>
                      <a:pt x="15" y="464"/>
                    </a:lnTo>
                    <a:lnTo>
                      <a:pt x="16" y="464"/>
                    </a:lnTo>
                    <a:lnTo>
                      <a:pt x="15" y="463"/>
                    </a:lnTo>
                    <a:lnTo>
                      <a:pt x="15" y="461"/>
                    </a:lnTo>
                    <a:lnTo>
                      <a:pt x="15" y="460"/>
                    </a:lnTo>
                    <a:lnTo>
                      <a:pt x="15" y="458"/>
                    </a:lnTo>
                    <a:lnTo>
                      <a:pt x="15" y="457"/>
                    </a:lnTo>
                    <a:lnTo>
                      <a:pt x="15" y="455"/>
                    </a:lnTo>
                    <a:lnTo>
                      <a:pt x="15" y="453"/>
                    </a:lnTo>
                    <a:lnTo>
                      <a:pt x="15" y="452"/>
                    </a:lnTo>
                    <a:lnTo>
                      <a:pt x="15" y="450"/>
                    </a:lnTo>
                    <a:lnTo>
                      <a:pt x="16" y="450"/>
                    </a:lnTo>
                    <a:lnTo>
                      <a:pt x="16" y="449"/>
                    </a:lnTo>
                    <a:lnTo>
                      <a:pt x="16" y="447"/>
                    </a:lnTo>
                    <a:lnTo>
                      <a:pt x="16" y="445"/>
                    </a:lnTo>
                    <a:lnTo>
                      <a:pt x="16" y="444"/>
                    </a:lnTo>
                    <a:lnTo>
                      <a:pt x="18" y="442"/>
                    </a:lnTo>
                    <a:lnTo>
                      <a:pt x="20" y="441"/>
                    </a:lnTo>
                    <a:lnTo>
                      <a:pt x="20" y="439"/>
                    </a:lnTo>
                    <a:lnTo>
                      <a:pt x="21" y="439"/>
                    </a:lnTo>
                    <a:lnTo>
                      <a:pt x="21" y="437"/>
                    </a:lnTo>
                    <a:lnTo>
                      <a:pt x="21" y="436"/>
                    </a:lnTo>
                    <a:lnTo>
                      <a:pt x="23" y="436"/>
                    </a:lnTo>
                    <a:lnTo>
                      <a:pt x="23" y="434"/>
                    </a:lnTo>
                    <a:lnTo>
                      <a:pt x="24" y="434"/>
                    </a:lnTo>
                    <a:lnTo>
                      <a:pt x="24" y="433"/>
                    </a:lnTo>
                    <a:lnTo>
                      <a:pt x="24" y="431"/>
                    </a:lnTo>
                    <a:lnTo>
                      <a:pt x="24" y="430"/>
                    </a:lnTo>
                    <a:lnTo>
                      <a:pt x="24" y="428"/>
                    </a:lnTo>
                    <a:lnTo>
                      <a:pt x="26" y="428"/>
                    </a:lnTo>
                    <a:lnTo>
                      <a:pt x="26" y="426"/>
                    </a:lnTo>
                    <a:lnTo>
                      <a:pt x="26" y="425"/>
                    </a:lnTo>
                    <a:lnTo>
                      <a:pt x="27" y="423"/>
                    </a:lnTo>
                    <a:lnTo>
                      <a:pt x="27" y="422"/>
                    </a:lnTo>
                    <a:lnTo>
                      <a:pt x="29" y="422"/>
                    </a:lnTo>
                    <a:lnTo>
                      <a:pt x="29" y="420"/>
                    </a:lnTo>
                    <a:lnTo>
                      <a:pt x="29" y="418"/>
                    </a:lnTo>
                    <a:lnTo>
                      <a:pt x="29" y="417"/>
                    </a:lnTo>
                    <a:lnTo>
                      <a:pt x="31" y="417"/>
                    </a:lnTo>
                    <a:lnTo>
                      <a:pt x="31" y="415"/>
                    </a:lnTo>
                    <a:lnTo>
                      <a:pt x="32" y="414"/>
                    </a:lnTo>
                    <a:lnTo>
                      <a:pt x="32" y="412"/>
                    </a:lnTo>
                    <a:lnTo>
                      <a:pt x="34" y="412"/>
                    </a:lnTo>
                    <a:lnTo>
                      <a:pt x="34" y="411"/>
                    </a:lnTo>
                    <a:lnTo>
                      <a:pt x="35" y="409"/>
                    </a:lnTo>
                    <a:lnTo>
                      <a:pt x="35" y="407"/>
                    </a:lnTo>
                    <a:lnTo>
                      <a:pt x="37" y="407"/>
                    </a:lnTo>
                    <a:lnTo>
                      <a:pt x="39" y="407"/>
                    </a:lnTo>
                    <a:lnTo>
                      <a:pt x="39" y="406"/>
                    </a:lnTo>
                    <a:lnTo>
                      <a:pt x="40" y="406"/>
                    </a:lnTo>
                    <a:lnTo>
                      <a:pt x="42" y="406"/>
                    </a:lnTo>
                    <a:lnTo>
                      <a:pt x="43" y="404"/>
                    </a:lnTo>
                    <a:lnTo>
                      <a:pt x="45" y="404"/>
                    </a:lnTo>
                    <a:lnTo>
                      <a:pt x="45" y="403"/>
                    </a:lnTo>
                    <a:lnTo>
                      <a:pt x="46" y="403"/>
                    </a:lnTo>
                    <a:lnTo>
                      <a:pt x="48" y="403"/>
                    </a:lnTo>
                    <a:lnTo>
                      <a:pt x="48" y="401"/>
                    </a:lnTo>
                    <a:lnTo>
                      <a:pt x="50" y="401"/>
                    </a:lnTo>
                    <a:lnTo>
                      <a:pt x="51" y="401"/>
                    </a:lnTo>
                    <a:lnTo>
                      <a:pt x="53" y="399"/>
                    </a:lnTo>
                    <a:lnTo>
                      <a:pt x="54" y="399"/>
                    </a:lnTo>
                    <a:lnTo>
                      <a:pt x="56" y="399"/>
                    </a:lnTo>
                    <a:lnTo>
                      <a:pt x="58" y="399"/>
                    </a:lnTo>
                    <a:lnTo>
                      <a:pt x="59" y="399"/>
                    </a:lnTo>
                    <a:lnTo>
                      <a:pt x="61" y="399"/>
                    </a:lnTo>
                    <a:lnTo>
                      <a:pt x="61" y="398"/>
                    </a:lnTo>
                    <a:lnTo>
                      <a:pt x="61" y="396"/>
                    </a:lnTo>
                    <a:lnTo>
                      <a:pt x="61" y="395"/>
                    </a:lnTo>
                    <a:lnTo>
                      <a:pt x="61" y="393"/>
                    </a:lnTo>
                    <a:lnTo>
                      <a:pt x="62" y="392"/>
                    </a:lnTo>
                    <a:lnTo>
                      <a:pt x="62" y="390"/>
                    </a:lnTo>
                    <a:lnTo>
                      <a:pt x="62" y="388"/>
                    </a:lnTo>
                    <a:lnTo>
                      <a:pt x="62" y="387"/>
                    </a:lnTo>
                    <a:lnTo>
                      <a:pt x="61" y="385"/>
                    </a:lnTo>
                    <a:lnTo>
                      <a:pt x="61" y="384"/>
                    </a:lnTo>
                    <a:lnTo>
                      <a:pt x="61" y="382"/>
                    </a:lnTo>
                    <a:lnTo>
                      <a:pt x="61" y="380"/>
                    </a:lnTo>
                    <a:lnTo>
                      <a:pt x="61" y="379"/>
                    </a:lnTo>
                    <a:lnTo>
                      <a:pt x="61" y="377"/>
                    </a:lnTo>
                    <a:lnTo>
                      <a:pt x="62" y="376"/>
                    </a:lnTo>
                    <a:lnTo>
                      <a:pt x="62" y="374"/>
                    </a:lnTo>
                    <a:lnTo>
                      <a:pt x="61" y="374"/>
                    </a:lnTo>
                    <a:lnTo>
                      <a:pt x="61" y="373"/>
                    </a:lnTo>
                    <a:lnTo>
                      <a:pt x="59" y="373"/>
                    </a:lnTo>
                    <a:lnTo>
                      <a:pt x="59" y="371"/>
                    </a:lnTo>
                    <a:lnTo>
                      <a:pt x="59" y="369"/>
                    </a:lnTo>
                    <a:lnTo>
                      <a:pt x="59" y="368"/>
                    </a:lnTo>
                    <a:lnTo>
                      <a:pt x="59" y="366"/>
                    </a:lnTo>
                    <a:lnTo>
                      <a:pt x="59" y="365"/>
                    </a:lnTo>
                    <a:lnTo>
                      <a:pt x="59" y="363"/>
                    </a:lnTo>
                    <a:lnTo>
                      <a:pt x="59" y="361"/>
                    </a:lnTo>
                    <a:lnTo>
                      <a:pt x="61" y="360"/>
                    </a:lnTo>
                    <a:lnTo>
                      <a:pt x="61" y="358"/>
                    </a:lnTo>
                    <a:lnTo>
                      <a:pt x="61" y="357"/>
                    </a:lnTo>
                    <a:lnTo>
                      <a:pt x="61" y="355"/>
                    </a:lnTo>
                    <a:lnTo>
                      <a:pt x="61" y="354"/>
                    </a:lnTo>
                    <a:lnTo>
                      <a:pt x="61" y="352"/>
                    </a:lnTo>
                    <a:lnTo>
                      <a:pt x="61" y="350"/>
                    </a:lnTo>
                    <a:lnTo>
                      <a:pt x="61" y="349"/>
                    </a:lnTo>
                    <a:lnTo>
                      <a:pt x="61" y="347"/>
                    </a:lnTo>
                    <a:lnTo>
                      <a:pt x="59" y="346"/>
                    </a:lnTo>
                    <a:lnTo>
                      <a:pt x="59" y="344"/>
                    </a:lnTo>
                    <a:lnTo>
                      <a:pt x="59" y="342"/>
                    </a:lnTo>
                    <a:lnTo>
                      <a:pt x="59" y="341"/>
                    </a:lnTo>
                    <a:lnTo>
                      <a:pt x="59" y="339"/>
                    </a:lnTo>
                    <a:lnTo>
                      <a:pt x="61" y="339"/>
                    </a:lnTo>
                    <a:lnTo>
                      <a:pt x="61" y="338"/>
                    </a:lnTo>
                    <a:lnTo>
                      <a:pt x="61" y="336"/>
                    </a:lnTo>
                    <a:lnTo>
                      <a:pt x="61" y="335"/>
                    </a:lnTo>
                    <a:lnTo>
                      <a:pt x="61" y="333"/>
                    </a:lnTo>
                    <a:lnTo>
                      <a:pt x="59" y="333"/>
                    </a:lnTo>
                    <a:lnTo>
                      <a:pt x="59" y="331"/>
                    </a:lnTo>
                    <a:lnTo>
                      <a:pt x="59" y="330"/>
                    </a:lnTo>
                    <a:lnTo>
                      <a:pt x="59" y="328"/>
                    </a:lnTo>
                    <a:lnTo>
                      <a:pt x="59" y="327"/>
                    </a:lnTo>
                    <a:lnTo>
                      <a:pt x="59" y="325"/>
                    </a:lnTo>
                    <a:lnTo>
                      <a:pt x="61" y="323"/>
                    </a:lnTo>
                    <a:lnTo>
                      <a:pt x="61" y="322"/>
                    </a:lnTo>
                    <a:lnTo>
                      <a:pt x="61" y="320"/>
                    </a:lnTo>
                    <a:lnTo>
                      <a:pt x="61" y="319"/>
                    </a:lnTo>
                    <a:lnTo>
                      <a:pt x="61" y="317"/>
                    </a:lnTo>
                    <a:lnTo>
                      <a:pt x="59" y="317"/>
                    </a:lnTo>
                    <a:lnTo>
                      <a:pt x="59" y="316"/>
                    </a:lnTo>
                    <a:lnTo>
                      <a:pt x="59" y="314"/>
                    </a:lnTo>
                    <a:lnTo>
                      <a:pt x="58" y="314"/>
                    </a:lnTo>
                    <a:lnTo>
                      <a:pt x="58" y="312"/>
                    </a:lnTo>
                    <a:lnTo>
                      <a:pt x="59" y="312"/>
                    </a:lnTo>
                    <a:lnTo>
                      <a:pt x="59" y="311"/>
                    </a:lnTo>
                    <a:lnTo>
                      <a:pt x="61" y="309"/>
                    </a:lnTo>
                    <a:lnTo>
                      <a:pt x="61" y="308"/>
                    </a:lnTo>
                    <a:lnTo>
                      <a:pt x="62" y="308"/>
                    </a:lnTo>
                    <a:lnTo>
                      <a:pt x="62" y="306"/>
                    </a:lnTo>
                    <a:lnTo>
                      <a:pt x="64" y="304"/>
                    </a:lnTo>
                    <a:lnTo>
                      <a:pt x="64" y="303"/>
                    </a:lnTo>
                    <a:lnTo>
                      <a:pt x="65" y="301"/>
                    </a:lnTo>
                    <a:lnTo>
                      <a:pt x="65" y="300"/>
                    </a:lnTo>
                    <a:lnTo>
                      <a:pt x="67" y="300"/>
                    </a:lnTo>
                    <a:lnTo>
                      <a:pt x="67" y="298"/>
                    </a:lnTo>
                    <a:lnTo>
                      <a:pt x="69" y="297"/>
                    </a:lnTo>
                    <a:lnTo>
                      <a:pt x="69" y="295"/>
                    </a:lnTo>
                    <a:lnTo>
                      <a:pt x="70" y="295"/>
                    </a:lnTo>
                    <a:lnTo>
                      <a:pt x="70" y="293"/>
                    </a:lnTo>
                    <a:lnTo>
                      <a:pt x="70" y="292"/>
                    </a:lnTo>
                    <a:lnTo>
                      <a:pt x="72" y="292"/>
                    </a:lnTo>
                    <a:lnTo>
                      <a:pt x="72" y="290"/>
                    </a:lnTo>
                    <a:lnTo>
                      <a:pt x="73" y="289"/>
                    </a:lnTo>
                    <a:lnTo>
                      <a:pt x="73" y="287"/>
                    </a:lnTo>
                    <a:lnTo>
                      <a:pt x="72" y="287"/>
                    </a:lnTo>
                    <a:lnTo>
                      <a:pt x="73" y="285"/>
                    </a:lnTo>
                    <a:lnTo>
                      <a:pt x="72" y="284"/>
                    </a:lnTo>
                    <a:lnTo>
                      <a:pt x="72" y="282"/>
                    </a:lnTo>
                    <a:lnTo>
                      <a:pt x="70" y="282"/>
                    </a:lnTo>
                    <a:lnTo>
                      <a:pt x="70" y="281"/>
                    </a:lnTo>
                    <a:lnTo>
                      <a:pt x="70" y="279"/>
                    </a:lnTo>
                    <a:lnTo>
                      <a:pt x="69" y="278"/>
                    </a:lnTo>
                    <a:lnTo>
                      <a:pt x="69" y="276"/>
                    </a:lnTo>
                    <a:lnTo>
                      <a:pt x="67" y="274"/>
                    </a:lnTo>
                    <a:lnTo>
                      <a:pt x="67" y="273"/>
                    </a:lnTo>
                    <a:lnTo>
                      <a:pt x="69" y="273"/>
                    </a:lnTo>
                    <a:lnTo>
                      <a:pt x="70" y="273"/>
                    </a:lnTo>
                    <a:lnTo>
                      <a:pt x="72" y="273"/>
                    </a:lnTo>
                    <a:lnTo>
                      <a:pt x="73" y="274"/>
                    </a:lnTo>
                    <a:lnTo>
                      <a:pt x="75" y="274"/>
                    </a:lnTo>
                    <a:lnTo>
                      <a:pt x="77" y="274"/>
                    </a:lnTo>
                    <a:lnTo>
                      <a:pt x="77" y="276"/>
                    </a:lnTo>
                    <a:lnTo>
                      <a:pt x="78" y="276"/>
                    </a:lnTo>
                    <a:lnTo>
                      <a:pt x="78" y="274"/>
                    </a:lnTo>
                    <a:lnTo>
                      <a:pt x="80" y="273"/>
                    </a:lnTo>
                    <a:lnTo>
                      <a:pt x="84" y="260"/>
                    </a:lnTo>
                    <a:lnTo>
                      <a:pt x="86" y="259"/>
                    </a:lnTo>
                    <a:lnTo>
                      <a:pt x="86" y="257"/>
                    </a:lnTo>
                    <a:lnTo>
                      <a:pt x="88" y="255"/>
                    </a:lnTo>
                    <a:lnTo>
                      <a:pt x="91" y="252"/>
                    </a:lnTo>
                    <a:lnTo>
                      <a:pt x="92" y="249"/>
                    </a:lnTo>
                    <a:lnTo>
                      <a:pt x="92" y="247"/>
                    </a:lnTo>
                    <a:lnTo>
                      <a:pt x="94" y="244"/>
                    </a:lnTo>
                    <a:lnTo>
                      <a:pt x="94" y="238"/>
                    </a:lnTo>
                    <a:lnTo>
                      <a:pt x="94" y="235"/>
                    </a:lnTo>
                    <a:lnTo>
                      <a:pt x="96" y="232"/>
                    </a:lnTo>
                    <a:lnTo>
                      <a:pt x="96" y="222"/>
                    </a:lnTo>
                    <a:lnTo>
                      <a:pt x="96" y="217"/>
                    </a:lnTo>
                    <a:lnTo>
                      <a:pt x="97" y="217"/>
                    </a:lnTo>
                    <a:lnTo>
                      <a:pt x="97" y="216"/>
                    </a:lnTo>
                    <a:lnTo>
                      <a:pt x="97" y="214"/>
                    </a:lnTo>
                    <a:lnTo>
                      <a:pt x="99" y="213"/>
                    </a:lnTo>
                    <a:lnTo>
                      <a:pt x="100" y="213"/>
                    </a:lnTo>
                    <a:lnTo>
                      <a:pt x="102" y="211"/>
                    </a:lnTo>
                    <a:lnTo>
                      <a:pt x="105" y="209"/>
                    </a:lnTo>
                    <a:lnTo>
                      <a:pt x="105" y="208"/>
                    </a:lnTo>
                    <a:lnTo>
                      <a:pt x="107" y="208"/>
                    </a:lnTo>
                    <a:lnTo>
                      <a:pt x="108" y="206"/>
                    </a:lnTo>
                    <a:lnTo>
                      <a:pt x="111" y="206"/>
                    </a:lnTo>
                    <a:lnTo>
                      <a:pt x="115" y="206"/>
                    </a:lnTo>
                    <a:lnTo>
                      <a:pt x="116" y="206"/>
                    </a:lnTo>
                    <a:lnTo>
                      <a:pt x="119" y="205"/>
                    </a:lnTo>
                    <a:lnTo>
                      <a:pt x="121" y="203"/>
                    </a:lnTo>
                    <a:lnTo>
                      <a:pt x="122" y="201"/>
                    </a:lnTo>
                    <a:lnTo>
                      <a:pt x="124" y="200"/>
                    </a:lnTo>
                    <a:lnTo>
                      <a:pt x="126" y="197"/>
                    </a:lnTo>
                    <a:lnTo>
                      <a:pt x="127" y="197"/>
                    </a:lnTo>
                    <a:lnTo>
                      <a:pt x="127" y="194"/>
                    </a:lnTo>
                    <a:lnTo>
                      <a:pt x="129" y="190"/>
                    </a:lnTo>
                    <a:lnTo>
                      <a:pt x="129" y="189"/>
                    </a:lnTo>
                    <a:lnTo>
                      <a:pt x="129" y="186"/>
                    </a:lnTo>
                    <a:lnTo>
                      <a:pt x="130" y="184"/>
                    </a:lnTo>
                    <a:lnTo>
                      <a:pt x="129" y="179"/>
                    </a:lnTo>
                    <a:lnTo>
                      <a:pt x="129" y="178"/>
                    </a:lnTo>
                    <a:lnTo>
                      <a:pt x="129" y="173"/>
                    </a:lnTo>
                    <a:lnTo>
                      <a:pt x="129" y="168"/>
                    </a:lnTo>
                    <a:lnTo>
                      <a:pt x="129" y="165"/>
                    </a:lnTo>
                    <a:lnTo>
                      <a:pt x="129" y="163"/>
                    </a:lnTo>
                    <a:lnTo>
                      <a:pt x="129" y="162"/>
                    </a:lnTo>
                    <a:lnTo>
                      <a:pt x="129" y="160"/>
                    </a:lnTo>
                    <a:lnTo>
                      <a:pt x="127" y="157"/>
                    </a:lnTo>
                    <a:lnTo>
                      <a:pt x="127" y="154"/>
                    </a:lnTo>
                    <a:lnTo>
                      <a:pt x="127" y="152"/>
                    </a:lnTo>
                    <a:lnTo>
                      <a:pt x="127" y="151"/>
                    </a:lnTo>
                    <a:lnTo>
                      <a:pt x="126" y="148"/>
                    </a:lnTo>
                    <a:lnTo>
                      <a:pt x="126" y="144"/>
                    </a:lnTo>
                    <a:lnTo>
                      <a:pt x="126" y="143"/>
                    </a:lnTo>
                    <a:lnTo>
                      <a:pt x="124" y="140"/>
                    </a:lnTo>
                    <a:lnTo>
                      <a:pt x="124" y="137"/>
                    </a:lnTo>
                    <a:lnTo>
                      <a:pt x="124" y="135"/>
                    </a:lnTo>
                    <a:lnTo>
                      <a:pt x="124" y="130"/>
                    </a:lnTo>
                    <a:lnTo>
                      <a:pt x="124" y="129"/>
                    </a:lnTo>
                    <a:lnTo>
                      <a:pt x="122" y="122"/>
                    </a:lnTo>
                    <a:lnTo>
                      <a:pt x="122" y="116"/>
                    </a:lnTo>
                    <a:lnTo>
                      <a:pt x="122" y="113"/>
                    </a:lnTo>
                    <a:lnTo>
                      <a:pt x="122" y="111"/>
                    </a:lnTo>
                    <a:lnTo>
                      <a:pt x="122" y="106"/>
                    </a:lnTo>
                    <a:lnTo>
                      <a:pt x="121" y="102"/>
                    </a:lnTo>
                    <a:lnTo>
                      <a:pt x="121" y="97"/>
                    </a:lnTo>
                    <a:lnTo>
                      <a:pt x="121" y="94"/>
                    </a:lnTo>
                    <a:lnTo>
                      <a:pt x="121" y="91"/>
                    </a:lnTo>
                    <a:lnTo>
                      <a:pt x="121" y="87"/>
                    </a:lnTo>
                    <a:lnTo>
                      <a:pt x="121" y="84"/>
                    </a:lnTo>
                    <a:lnTo>
                      <a:pt x="121" y="83"/>
                    </a:lnTo>
                    <a:lnTo>
                      <a:pt x="132" y="70"/>
                    </a:lnTo>
                    <a:lnTo>
                      <a:pt x="135" y="70"/>
                    </a:lnTo>
                    <a:lnTo>
                      <a:pt x="145" y="65"/>
                    </a:lnTo>
                    <a:lnTo>
                      <a:pt x="149" y="64"/>
                    </a:lnTo>
                    <a:lnTo>
                      <a:pt x="154" y="59"/>
                    </a:lnTo>
                    <a:lnTo>
                      <a:pt x="156" y="57"/>
                    </a:lnTo>
                    <a:lnTo>
                      <a:pt x="170" y="48"/>
                    </a:lnTo>
                    <a:lnTo>
                      <a:pt x="172" y="46"/>
                    </a:lnTo>
                    <a:lnTo>
                      <a:pt x="173" y="45"/>
                    </a:lnTo>
                    <a:lnTo>
                      <a:pt x="176" y="43"/>
                    </a:lnTo>
                    <a:lnTo>
                      <a:pt x="183" y="38"/>
                    </a:lnTo>
                    <a:lnTo>
                      <a:pt x="183" y="37"/>
                    </a:lnTo>
                    <a:lnTo>
                      <a:pt x="184" y="35"/>
                    </a:lnTo>
                    <a:lnTo>
                      <a:pt x="194" y="27"/>
                    </a:lnTo>
                    <a:lnTo>
                      <a:pt x="195" y="27"/>
                    </a:lnTo>
                    <a:lnTo>
                      <a:pt x="197" y="27"/>
                    </a:lnTo>
                    <a:lnTo>
                      <a:pt x="197" y="30"/>
                    </a:lnTo>
                    <a:lnTo>
                      <a:pt x="197" y="32"/>
                    </a:lnTo>
                    <a:lnTo>
                      <a:pt x="197" y="34"/>
                    </a:lnTo>
                    <a:lnTo>
                      <a:pt x="197" y="35"/>
                    </a:lnTo>
                    <a:lnTo>
                      <a:pt x="197" y="37"/>
                    </a:lnTo>
                    <a:lnTo>
                      <a:pt x="197" y="38"/>
                    </a:lnTo>
                    <a:lnTo>
                      <a:pt x="197" y="40"/>
                    </a:lnTo>
                    <a:lnTo>
                      <a:pt x="198" y="40"/>
                    </a:lnTo>
                    <a:lnTo>
                      <a:pt x="198" y="41"/>
                    </a:lnTo>
                    <a:lnTo>
                      <a:pt x="198" y="43"/>
                    </a:lnTo>
                    <a:lnTo>
                      <a:pt x="198" y="45"/>
                    </a:lnTo>
                    <a:lnTo>
                      <a:pt x="200" y="45"/>
                    </a:lnTo>
                    <a:lnTo>
                      <a:pt x="200" y="46"/>
                    </a:lnTo>
                    <a:lnTo>
                      <a:pt x="200" y="48"/>
                    </a:lnTo>
                    <a:lnTo>
                      <a:pt x="202" y="48"/>
                    </a:lnTo>
                    <a:lnTo>
                      <a:pt x="200" y="49"/>
                    </a:lnTo>
                    <a:lnTo>
                      <a:pt x="200" y="51"/>
                    </a:lnTo>
                    <a:lnTo>
                      <a:pt x="200" y="53"/>
                    </a:lnTo>
                    <a:lnTo>
                      <a:pt x="200" y="54"/>
                    </a:lnTo>
                    <a:lnTo>
                      <a:pt x="200" y="56"/>
                    </a:lnTo>
                    <a:lnTo>
                      <a:pt x="202" y="56"/>
                    </a:lnTo>
                    <a:lnTo>
                      <a:pt x="202" y="57"/>
                    </a:lnTo>
                    <a:lnTo>
                      <a:pt x="202" y="59"/>
                    </a:lnTo>
                    <a:lnTo>
                      <a:pt x="202" y="60"/>
                    </a:lnTo>
                    <a:lnTo>
                      <a:pt x="200" y="60"/>
                    </a:lnTo>
                    <a:lnTo>
                      <a:pt x="200" y="62"/>
                    </a:lnTo>
                    <a:lnTo>
                      <a:pt x="200" y="64"/>
                    </a:lnTo>
                    <a:lnTo>
                      <a:pt x="202" y="64"/>
                    </a:lnTo>
                    <a:lnTo>
                      <a:pt x="202" y="65"/>
                    </a:lnTo>
                    <a:lnTo>
                      <a:pt x="203" y="65"/>
                    </a:lnTo>
                    <a:lnTo>
                      <a:pt x="205" y="65"/>
                    </a:lnTo>
                    <a:lnTo>
                      <a:pt x="206" y="65"/>
                    </a:lnTo>
                    <a:lnTo>
                      <a:pt x="208" y="65"/>
                    </a:lnTo>
                    <a:lnTo>
                      <a:pt x="210" y="65"/>
                    </a:lnTo>
                    <a:lnTo>
                      <a:pt x="211" y="65"/>
                    </a:lnTo>
                    <a:lnTo>
                      <a:pt x="213" y="65"/>
                    </a:lnTo>
                    <a:lnTo>
                      <a:pt x="214" y="65"/>
                    </a:lnTo>
                    <a:lnTo>
                      <a:pt x="216" y="67"/>
                    </a:lnTo>
                    <a:lnTo>
                      <a:pt x="218" y="67"/>
                    </a:lnTo>
                    <a:lnTo>
                      <a:pt x="219" y="67"/>
                    </a:lnTo>
                    <a:lnTo>
                      <a:pt x="221" y="67"/>
                    </a:lnTo>
                    <a:lnTo>
                      <a:pt x="222" y="68"/>
                    </a:lnTo>
                    <a:lnTo>
                      <a:pt x="216" y="72"/>
                    </a:lnTo>
                    <a:lnTo>
                      <a:pt x="216" y="73"/>
                    </a:lnTo>
                    <a:lnTo>
                      <a:pt x="214" y="75"/>
                    </a:lnTo>
                    <a:lnTo>
                      <a:pt x="213" y="76"/>
                    </a:lnTo>
                    <a:lnTo>
                      <a:pt x="213" y="78"/>
                    </a:lnTo>
                    <a:lnTo>
                      <a:pt x="211" y="78"/>
                    </a:lnTo>
                    <a:lnTo>
                      <a:pt x="211" y="80"/>
                    </a:lnTo>
                    <a:lnTo>
                      <a:pt x="210" y="81"/>
                    </a:lnTo>
                    <a:lnTo>
                      <a:pt x="210" y="83"/>
                    </a:lnTo>
                    <a:lnTo>
                      <a:pt x="211" y="84"/>
                    </a:lnTo>
                    <a:lnTo>
                      <a:pt x="213" y="86"/>
                    </a:lnTo>
                    <a:lnTo>
                      <a:pt x="214" y="87"/>
                    </a:lnTo>
                    <a:lnTo>
                      <a:pt x="214" y="86"/>
                    </a:lnTo>
                    <a:lnTo>
                      <a:pt x="214" y="87"/>
                    </a:lnTo>
                    <a:lnTo>
                      <a:pt x="216" y="87"/>
                    </a:lnTo>
                    <a:lnTo>
                      <a:pt x="216" y="89"/>
                    </a:lnTo>
                    <a:lnTo>
                      <a:pt x="216" y="91"/>
                    </a:lnTo>
                    <a:lnTo>
                      <a:pt x="214" y="91"/>
                    </a:lnTo>
                    <a:lnTo>
                      <a:pt x="213" y="91"/>
                    </a:lnTo>
                    <a:lnTo>
                      <a:pt x="214" y="92"/>
                    </a:lnTo>
                    <a:lnTo>
                      <a:pt x="218" y="94"/>
                    </a:lnTo>
                    <a:lnTo>
                      <a:pt x="219" y="97"/>
                    </a:lnTo>
                    <a:lnTo>
                      <a:pt x="222" y="99"/>
                    </a:lnTo>
                    <a:lnTo>
                      <a:pt x="224" y="100"/>
                    </a:lnTo>
                    <a:lnTo>
                      <a:pt x="225" y="102"/>
                    </a:lnTo>
                    <a:lnTo>
                      <a:pt x="229" y="103"/>
                    </a:lnTo>
                    <a:lnTo>
                      <a:pt x="232" y="106"/>
                    </a:lnTo>
                    <a:lnTo>
                      <a:pt x="233" y="108"/>
                    </a:lnTo>
                    <a:lnTo>
                      <a:pt x="235" y="106"/>
                    </a:lnTo>
                    <a:lnTo>
                      <a:pt x="237" y="105"/>
                    </a:lnTo>
                    <a:lnTo>
                      <a:pt x="238" y="103"/>
                    </a:lnTo>
                    <a:lnTo>
                      <a:pt x="241" y="89"/>
                    </a:lnTo>
                    <a:lnTo>
                      <a:pt x="243" y="87"/>
                    </a:lnTo>
                    <a:lnTo>
                      <a:pt x="244" y="86"/>
                    </a:lnTo>
                    <a:lnTo>
                      <a:pt x="244" y="84"/>
                    </a:lnTo>
                    <a:lnTo>
                      <a:pt x="246" y="84"/>
                    </a:lnTo>
                    <a:lnTo>
                      <a:pt x="248" y="83"/>
                    </a:lnTo>
                    <a:lnTo>
                      <a:pt x="249" y="81"/>
                    </a:lnTo>
                    <a:lnTo>
                      <a:pt x="251" y="81"/>
                    </a:lnTo>
                    <a:lnTo>
                      <a:pt x="251" y="80"/>
                    </a:lnTo>
                    <a:lnTo>
                      <a:pt x="252" y="80"/>
                    </a:lnTo>
                    <a:lnTo>
                      <a:pt x="252" y="78"/>
                    </a:lnTo>
                    <a:lnTo>
                      <a:pt x="254" y="78"/>
                    </a:lnTo>
                    <a:lnTo>
                      <a:pt x="256" y="76"/>
                    </a:lnTo>
                    <a:lnTo>
                      <a:pt x="257" y="75"/>
                    </a:lnTo>
                    <a:lnTo>
                      <a:pt x="259" y="73"/>
                    </a:lnTo>
                    <a:lnTo>
                      <a:pt x="260" y="73"/>
                    </a:lnTo>
                    <a:lnTo>
                      <a:pt x="260" y="72"/>
                    </a:lnTo>
                    <a:lnTo>
                      <a:pt x="262" y="70"/>
                    </a:lnTo>
                    <a:lnTo>
                      <a:pt x="263" y="68"/>
                    </a:lnTo>
                    <a:lnTo>
                      <a:pt x="265" y="67"/>
                    </a:lnTo>
                    <a:lnTo>
                      <a:pt x="267" y="67"/>
                    </a:lnTo>
                    <a:lnTo>
                      <a:pt x="268" y="65"/>
                    </a:lnTo>
                    <a:lnTo>
                      <a:pt x="270" y="65"/>
                    </a:lnTo>
                    <a:lnTo>
                      <a:pt x="271" y="64"/>
                    </a:lnTo>
                    <a:lnTo>
                      <a:pt x="271" y="62"/>
                    </a:lnTo>
                    <a:lnTo>
                      <a:pt x="271" y="60"/>
                    </a:lnTo>
                    <a:lnTo>
                      <a:pt x="271" y="59"/>
                    </a:lnTo>
                    <a:lnTo>
                      <a:pt x="271" y="57"/>
                    </a:lnTo>
                    <a:lnTo>
                      <a:pt x="273" y="57"/>
                    </a:lnTo>
                    <a:lnTo>
                      <a:pt x="275" y="57"/>
                    </a:lnTo>
                    <a:lnTo>
                      <a:pt x="276" y="57"/>
                    </a:lnTo>
                    <a:lnTo>
                      <a:pt x="278" y="57"/>
                    </a:lnTo>
                    <a:lnTo>
                      <a:pt x="279" y="57"/>
                    </a:lnTo>
                    <a:lnTo>
                      <a:pt x="281" y="57"/>
                    </a:lnTo>
                    <a:lnTo>
                      <a:pt x="282" y="57"/>
                    </a:lnTo>
                    <a:lnTo>
                      <a:pt x="284" y="57"/>
                    </a:lnTo>
                    <a:lnTo>
                      <a:pt x="286" y="57"/>
                    </a:lnTo>
                    <a:lnTo>
                      <a:pt x="287" y="57"/>
                    </a:lnTo>
                    <a:lnTo>
                      <a:pt x="289" y="57"/>
                    </a:lnTo>
                    <a:lnTo>
                      <a:pt x="289" y="56"/>
                    </a:lnTo>
                    <a:lnTo>
                      <a:pt x="290" y="56"/>
                    </a:lnTo>
                    <a:lnTo>
                      <a:pt x="290" y="54"/>
                    </a:lnTo>
                    <a:lnTo>
                      <a:pt x="292" y="54"/>
                    </a:lnTo>
                    <a:lnTo>
                      <a:pt x="292" y="53"/>
                    </a:lnTo>
                    <a:lnTo>
                      <a:pt x="292" y="51"/>
                    </a:lnTo>
                    <a:lnTo>
                      <a:pt x="292" y="49"/>
                    </a:lnTo>
                    <a:lnTo>
                      <a:pt x="292" y="48"/>
                    </a:lnTo>
                    <a:lnTo>
                      <a:pt x="292" y="46"/>
                    </a:lnTo>
                    <a:lnTo>
                      <a:pt x="292" y="45"/>
                    </a:lnTo>
                    <a:lnTo>
                      <a:pt x="292" y="43"/>
                    </a:lnTo>
                    <a:lnTo>
                      <a:pt x="294" y="43"/>
                    </a:lnTo>
                    <a:lnTo>
                      <a:pt x="294" y="41"/>
                    </a:lnTo>
                    <a:lnTo>
                      <a:pt x="294" y="40"/>
                    </a:lnTo>
                    <a:lnTo>
                      <a:pt x="294" y="38"/>
                    </a:lnTo>
                    <a:lnTo>
                      <a:pt x="294" y="37"/>
                    </a:lnTo>
                    <a:lnTo>
                      <a:pt x="294" y="35"/>
                    </a:lnTo>
                    <a:lnTo>
                      <a:pt x="294" y="34"/>
                    </a:lnTo>
                    <a:lnTo>
                      <a:pt x="295" y="34"/>
                    </a:lnTo>
                    <a:lnTo>
                      <a:pt x="295" y="32"/>
                    </a:lnTo>
                    <a:lnTo>
                      <a:pt x="295" y="30"/>
                    </a:lnTo>
                    <a:lnTo>
                      <a:pt x="295" y="29"/>
                    </a:lnTo>
                    <a:lnTo>
                      <a:pt x="297" y="27"/>
                    </a:lnTo>
                    <a:lnTo>
                      <a:pt x="297" y="26"/>
                    </a:lnTo>
                    <a:lnTo>
                      <a:pt x="297" y="24"/>
                    </a:lnTo>
                    <a:lnTo>
                      <a:pt x="297" y="22"/>
                    </a:lnTo>
                    <a:lnTo>
                      <a:pt x="297" y="21"/>
                    </a:lnTo>
                    <a:lnTo>
                      <a:pt x="297" y="19"/>
                    </a:lnTo>
                    <a:lnTo>
                      <a:pt x="297" y="18"/>
                    </a:lnTo>
                    <a:lnTo>
                      <a:pt x="298" y="18"/>
                    </a:lnTo>
                    <a:lnTo>
                      <a:pt x="298" y="16"/>
                    </a:lnTo>
                    <a:lnTo>
                      <a:pt x="298" y="15"/>
                    </a:lnTo>
                    <a:lnTo>
                      <a:pt x="298" y="13"/>
                    </a:lnTo>
                    <a:lnTo>
                      <a:pt x="298" y="11"/>
                    </a:lnTo>
                    <a:lnTo>
                      <a:pt x="298" y="10"/>
                    </a:lnTo>
                    <a:lnTo>
                      <a:pt x="300" y="10"/>
                    </a:lnTo>
                    <a:lnTo>
                      <a:pt x="300" y="8"/>
                    </a:lnTo>
                    <a:lnTo>
                      <a:pt x="300" y="7"/>
                    </a:lnTo>
                    <a:lnTo>
                      <a:pt x="300" y="5"/>
                    </a:lnTo>
                    <a:lnTo>
                      <a:pt x="300" y="3"/>
                    </a:lnTo>
                    <a:lnTo>
                      <a:pt x="300" y="2"/>
                    </a:lnTo>
                    <a:lnTo>
                      <a:pt x="301" y="0"/>
                    </a:lnTo>
                    <a:lnTo>
                      <a:pt x="306" y="0"/>
                    </a:lnTo>
                    <a:lnTo>
                      <a:pt x="308" y="2"/>
                    </a:lnTo>
                    <a:lnTo>
                      <a:pt x="309" y="2"/>
                    </a:lnTo>
                    <a:lnTo>
                      <a:pt x="311" y="3"/>
                    </a:lnTo>
                    <a:lnTo>
                      <a:pt x="313" y="3"/>
                    </a:lnTo>
                    <a:lnTo>
                      <a:pt x="314" y="3"/>
                    </a:lnTo>
                    <a:lnTo>
                      <a:pt x="316" y="3"/>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86" name="Freeform 66"/>
              <p:cNvSpPr>
                <a:spLocks/>
              </p:cNvSpPr>
              <p:nvPr/>
            </p:nvSpPr>
            <p:spPr bwMode="auto">
              <a:xfrm>
                <a:off x="4270" y="2557"/>
                <a:ext cx="192" cy="122"/>
              </a:xfrm>
              <a:custGeom>
                <a:avLst/>
                <a:gdLst>
                  <a:gd name="T0" fmla="*/ 80 w 192"/>
                  <a:gd name="T1" fmla="*/ 23 h 122"/>
                  <a:gd name="T2" fmla="*/ 75 w 192"/>
                  <a:gd name="T3" fmla="*/ 25 h 122"/>
                  <a:gd name="T4" fmla="*/ 70 w 192"/>
                  <a:gd name="T5" fmla="*/ 25 h 122"/>
                  <a:gd name="T6" fmla="*/ 62 w 192"/>
                  <a:gd name="T7" fmla="*/ 25 h 122"/>
                  <a:gd name="T8" fmla="*/ 56 w 192"/>
                  <a:gd name="T9" fmla="*/ 22 h 122"/>
                  <a:gd name="T10" fmla="*/ 46 w 192"/>
                  <a:gd name="T11" fmla="*/ 22 h 122"/>
                  <a:gd name="T12" fmla="*/ 40 w 192"/>
                  <a:gd name="T13" fmla="*/ 22 h 122"/>
                  <a:gd name="T14" fmla="*/ 31 w 192"/>
                  <a:gd name="T15" fmla="*/ 20 h 122"/>
                  <a:gd name="T16" fmla="*/ 32 w 192"/>
                  <a:gd name="T17" fmla="*/ 31 h 122"/>
                  <a:gd name="T18" fmla="*/ 34 w 192"/>
                  <a:gd name="T19" fmla="*/ 42 h 122"/>
                  <a:gd name="T20" fmla="*/ 34 w 192"/>
                  <a:gd name="T21" fmla="*/ 54 h 122"/>
                  <a:gd name="T22" fmla="*/ 32 w 192"/>
                  <a:gd name="T23" fmla="*/ 58 h 122"/>
                  <a:gd name="T24" fmla="*/ 29 w 192"/>
                  <a:gd name="T25" fmla="*/ 63 h 122"/>
                  <a:gd name="T26" fmla="*/ 24 w 192"/>
                  <a:gd name="T27" fmla="*/ 66 h 122"/>
                  <a:gd name="T28" fmla="*/ 16 w 192"/>
                  <a:gd name="T29" fmla="*/ 69 h 122"/>
                  <a:gd name="T30" fmla="*/ 10 w 192"/>
                  <a:gd name="T31" fmla="*/ 76 h 122"/>
                  <a:gd name="T32" fmla="*/ 4 w 192"/>
                  <a:gd name="T33" fmla="*/ 77 h 122"/>
                  <a:gd name="T34" fmla="*/ 4 w 192"/>
                  <a:gd name="T35" fmla="*/ 84 h 122"/>
                  <a:gd name="T36" fmla="*/ 19 w 192"/>
                  <a:gd name="T37" fmla="*/ 115 h 122"/>
                  <a:gd name="T38" fmla="*/ 27 w 192"/>
                  <a:gd name="T39" fmla="*/ 111 h 122"/>
                  <a:gd name="T40" fmla="*/ 35 w 192"/>
                  <a:gd name="T41" fmla="*/ 95 h 122"/>
                  <a:gd name="T42" fmla="*/ 46 w 192"/>
                  <a:gd name="T43" fmla="*/ 87 h 122"/>
                  <a:gd name="T44" fmla="*/ 73 w 192"/>
                  <a:gd name="T45" fmla="*/ 87 h 122"/>
                  <a:gd name="T46" fmla="*/ 91 w 192"/>
                  <a:gd name="T47" fmla="*/ 84 h 122"/>
                  <a:gd name="T48" fmla="*/ 116 w 192"/>
                  <a:gd name="T49" fmla="*/ 76 h 122"/>
                  <a:gd name="T50" fmla="*/ 176 w 192"/>
                  <a:gd name="T51" fmla="*/ 71 h 122"/>
                  <a:gd name="T52" fmla="*/ 184 w 192"/>
                  <a:gd name="T53" fmla="*/ 71 h 122"/>
                  <a:gd name="T54" fmla="*/ 191 w 192"/>
                  <a:gd name="T55" fmla="*/ 71 h 122"/>
                  <a:gd name="T56" fmla="*/ 192 w 192"/>
                  <a:gd name="T57" fmla="*/ 68 h 122"/>
                  <a:gd name="T58" fmla="*/ 191 w 192"/>
                  <a:gd name="T59" fmla="*/ 58 h 122"/>
                  <a:gd name="T60" fmla="*/ 191 w 192"/>
                  <a:gd name="T61" fmla="*/ 47 h 122"/>
                  <a:gd name="T62" fmla="*/ 189 w 192"/>
                  <a:gd name="T63" fmla="*/ 35 h 122"/>
                  <a:gd name="T64" fmla="*/ 187 w 192"/>
                  <a:gd name="T65" fmla="*/ 27 h 122"/>
                  <a:gd name="T66" fmla="*/ 187 w 192"/>
                  <a:gd name="T67" fmla="*/ 17 h 122"/>
                  <a:gd name="T68" fmla="*/ 170 w 192"/>
                  <a:gd name="T69" fmla="*/ 1 h 122"/>
                  <a:gd name="T70" fmla="*/ 165 w 192"/>
                  <a:gd name="T71" fmla="*/ 0 h 122"/>
                  <a:gd name="T72" fmla="*/ 156 w 192"/>
                  <a:gd name="T73" fmla="*/ 4 h 122"/>
                  <a:gd name="T74" fmla="*/ 148 w 192"/>
                  <a:gd name="T75" fmla="*/ 6 h 122"/>
                  <a:gd name="T76" fmla="*/ 140 w 192"/>
                  <a:gd name="T77" fmla="*/ 9 h 122"/>
                  <a:gd name="T78" fmla="*/ 135 w 192"/>
                  <a:gd name="T79" fmla="*/ 9 h 122"/>
                  <a:gd name="T80" fmla="*/ 127 w 192"/>
                  <a:gd name="T81" fmla="*/ 11 h 122"/>
                  <a:gd name="T82" fmla="*/ 119 w 192"/>
                  <a:gd name="T83" fmla="*/ 11 h 122"/>
                  <a:gd name="T84" fmla="*/ 110 w 192"/>
                  <a:gd name="T85" fmla="*/ 12 h 122"/>
                  <a:gd name="T86" fmla="*/ 102 w 192"/>
                  <a:gd name="T87" fmla="*/ 14 h 122"/>
                  <a:gd name="T88" fmla="*/ 94 w 192"/>
                  <a:gd name="T89" fmla="*/ 14 h 122"/>
                  <a:gd name="T90" fmla="*/ 89 w 192"/>
                  <a:gd name="T91" fmla="*/ 17 h 122"/>
                  <a:gd name="T92" fmla="*/ 84 w 192"/>
                  <a:gd name="T93" fmla="*/ 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2" h="122">
                    <a:moveTo>
                      <a:pt x="84" y="20"/>
                    </a:moveTo>
                    <a:lnTo>
                      <a:pt x="81" y="22"/>
                    </a:lnTo>
                    <a:lnTo>
                      <a:pt x="80" y="23"/>
                    </a:lnTo>
                    <a:lnTo>
                      <a:pt x="78" y="23"/>
                    </a:lnTo>
                    <a:lnTo>
                      <a:pt x="76" y="25"/>
                    </a:lnTo>
                    <a:lnTo>
                      <a:pt x="75" y="25"/>
                    </a:lnTo>
                    <a:lnTo>
                      <a:pt x="73" y="27"/>
                    </a:lnTo>
                    <a:lnTo>
                      <a:pt x="72" y="27"/>
                    </a:lnTo>
                    <a:lnTo>
                      <a:pt x="70" y="25"/>
                    </a:lnTo>
                    <a:lnTo>
                      <a:pt x="67" y="25"/>
                    </a:lnTo>
                    <a:lnTo>
                      <a:pt x="64" y="25"/>
                    </a:lnTo>
                    <a:lnTo>
                      <a:pt x="62" y="25"/>
                    </a:lnTo>
                    <a:lnTo>
                      <a:pt x="61" y="25"/>
                    </a:lnTo>
                    <a:lnTo>
                      <a:pt x="59" y="23"/>
                    </a:lnTo>
                    <a:lnTo>
                      <a:pt x="56" y="22"/>
                    </a:lnTo>
                    <a:lnTo>
                      <a:pt x="51" y="22"/>
                    </a:lnTo>
                    <a:lnTo>
                      <a:pt x="48" y="22"/>
                    </a:lnTo>
                    <a:lnTo>
                      <a:pt x="46" y="22"/>
                    </a:lnTo>
                    <a:lnTo>
                      <a:pt x="45" y="22"/>
                    </a:lnTo>
                    <a:lnTo>
                      <a:pt x="43" y="22"/>
                    </a:lnTo>
                    <a:lnTo>
                      <a:pt x="40" y="22"/>
                    </a:lnTo>
                    <a:lnTo>
                      <a:pt x="37" y="22"/>
                    </a:lnTo>
                    <a:lnTo>
                      <a:pt x="34" y="20"/>
                    </a:lnTo>
                    <a:lnTo>
                      <a:pt x="31" y="20"/>
                    </a:lnTo>
                    <a:lnTo>
                      <a:pt x="31" y="23"/>
                    </a:lnTo>
                    <a:lnTo>
                      <a:pt x="31" y="27"/>
                    </a:lnTo>
                    <a:lnTo>
                      <a:pt x="32" y="31"/>
                    </a:lnTo>
                    <a:lnTo>
                      <a:pt x="34" y="38"/>
                    </a:lnTo>
                    <a:lnTo>
                      <a:pt x="34" y="41"/>
                    </a:lnTo>
                    <a:lnTo>
                      <a:pt x="34" y="42"/>
                    </a:lnTo>
                    <a:lnTo>
                      <a:pt x="34" y="46"/>
                    </a:lnTo>
                    <a:lnTo>
                      <a:pt x="34" y="52"/>
                    </a:lnTo>
                    <a:lnTo>
                      <a:pt x="34" y="54"/>
                    </a:lnTo>
                    <a:lnTo>
                      <a:pt x="34" y="55"/>
                    </a:lnTo>
                    <a:lnTo>
                      <a:pt x="34" y="57"/>
                    </a:lnTo>
                    <a:lnTo>
                      <a:pt x="32" y="58"/>
                    </a:lnTo>
                    <a:lnTo>
                      <a:pt x="32" y="60"/>
                    </a:lnTo>
                    <a:lnTo>
                      <a:pt x="31" y="61"/>
                    </a:lnTo>
                    <a:lnTo>
                      <a:pt x="29" y="63"/>
                    </a:lnTo>
                    <a:lnTo>
                      <a:pt x="27" y="66"/>
                    </a:lnTo>
                    <a:lnTo>
                      <a:pt x="26" y="66"/>
                    </a:lnTo>
                    <a:lnTo>
                      <a:pt x="24" y="66"/>
                    </a:lnTo>
                    <a:lnTo>
                      <a:pt x="23" y="66"/>
                    </a:lnTo>
                    <a:lnTo>
                      <a:pt x="21" y="68"/>
                    </a:lnTo>
                    <a:lnTo>
                      <a:pt x="16" y="69"/>
                    </a:lnTo>
                    <a:lnTo>
                      <a:pt x="13" y="71"/>
                    </a:lnTo>
                    <a:lnTo>
                      <a:pt x="10" y="74"/>
                    </a:lnTo>
                    <a:lnTo>
                      <a:pt x="10" y="76"/>
                    </a:lnTo>
                    <a:lnTo>
                      <a:pt x="7" y="76"/>
                    </a:lnTo>
                    <a:lnTo>
                      <a:pt x="5" y="76"/>
                    </a:lnTo>
                    <a:lnTo>
                      <a:pt x="4" y="77"/>
                    </a:lnTo>
                    <a:lnTo>
                      <a:pt x="2" y="77"/>
                    </a:lnTo>
                    <a:lnTo>
                      <a:pt x="0" y="77"/>
                    </a:lnTo>
                    <a:lnTo>
                      <a:pt x="4" y="84"/>
                    </a:lnTo>
                    <a:lnTo>
                      <a:pt x="10" y="93"/>
                    </a:lnTo>
                    <a:lnTo>
                      <a:pt x="15" y="107"/>
                    </a:lnTo>
                    <a:lnTo>
                      <a:pt x="19" y="115"/>
                    </a:lnTo>
                    <a:lnTo>
                      <a:pt x="23" y="122"/>
                    </a:lnTo>
                    <a:lnTo>
                      <a:pt x="26" y="115"/>
                    </a:lnTo>
                    <a:lnTo>
                      <a:pt x="27" y="111"/>
                    </a:lnTo>
                    <a:lnTo>
                      <a:pt x="27" y="106"/>
                    </a:lnTo>
                    <a:lnTo>
                      <a:pt x="32" y="99"/>
                    </a:lnTo>
                    <a:lnTo>
                      <a:pt x="35" y="95"/>
                    </a:lnTo>
                    <a:lnTo>
                      <a:pt x="35" y="92"/>
                    </a:lnTo>
                    <a:lnTo>
                      <a:pt x="40" y="87"/>
                    </a:lnTo>
                    <a:lnTo>
                      <a:pt x="46" y="87"/>
                    </a:lnTo>
                    <a:lnTo>
                      <a:pt x="54" y="87"/>
                    </a:lnTo>
                    <a:lnTo>
                      <a:pt x="64" y="85"/>
                    </a:lnTo>
                    <a:lnTo>
                      <a:pt x="73" y="87"/>
                    </a:lnTo>
                    <a:lnTo>
                      <a:pt x="81" y="88"/>
                    </a:lnTo>
                    <a:lnTo>
                      <a:pt x="84" y="87"/>
                    </a:lnTo>
                    <a:lnTo>
                      <a:pt x="91" y="84"/>
                    </a:lnTo>
                    <a:lnTo>
                      <a:pt x="95" y="85"/>
                    </a:lnTo>
                    <a:lnTo>
                      <a:pt x="107" y="77"/>
                    </a:lnTo>
                    <a:lnTo>
                      <a:pt x="116" y="76"/>
                    </a:lnTo>
                    <a:lnTo>
                      <a:pt x="127" y="74"/>
                    </a:lnTo>
                    <a:lnTo>
                      <a:pt x="129" y="76"/>
                    </a:lnTo>
                    <a:lnTo>
                      <a:pt x="176" y="71"/>
                    </a:lnTo>
                    <a:lnTo>
                      <a:pt x="179" y="71"/>
                    </a:lnTo>
                    <a:lnTo>
                      <a:pt x="181" y="71"/>
                    </a:lnTo>
                    <a:lnTo>
                      <a:pt x="184" y="71"/>
                    </a:lnTo>
                    <a:lnTo>
                      <a:pt x="187" y="71"/>
                    </a:lnTo>
                    <a:lnTo>
                      <a:pt x="189" y="71"/>
                    </a:lnTo>
                    <a:lnTo>
                      <a:pt x="191" y="71"/>
                    </a:lnTo>
                    <a:lnTo>
                      <a:pt x="192" y="71"/>
                    </a:lnTo>
                    <a:lnTo>
                      <a:pt x="192" y="69"/>
                    </a:lnTo>
                    <a:lnTo>
                      <a:pt x="192" y="68"/>
                    </a:lnTo>
                    <a:lnTo>
                      <a:pt x="192" y="65"/>
                    </a:lnTo>
                    <a:lnTo>
                      <a:pt x="192" y="60"/>
                    </a:lnTo>
                    <a:lnTo>
                      <a:pt x="191" y="58"/>
                    </a:lnTo>
                    <a:lnTo>
                      <a:pt x="191" y="55"/>
                    </a:lnTo>
                    <a:lnTo>
                      <a:pt x="191" y="50"/>
                    </a:lnTo>
                    <a:lnTo>
                      <a:pt x="191" y="47"/>
                    </a:lnTo>
                    <a:lnTo>
                      <a:pt x="191" y="42"/>
                    </a:lnTo>
                    <a:lnTo>
                      <a:pt x="189" y="36"/>
                    </a:lnTo>
                    <a:lnTo>
                      <a:pt x="189" y="35"/>
                    </a:lnTo>
                    <a:lnTo>
                      <a:pt x="189" y="31"/>
                    </a:lnTo>
                    <a:lnTo>
                      <a:pt x="189" y="28"/>
                    </a:lnTo>
                    <a:lnTo>
                      <a:pt x="187" y="27"/>
                    </a:lnTo>
                    <a:lnTo>
                      <a:pt x="187" y="23"/>
                    </a:lnTo>
                    <a:lnTo>
                      <a:pt x="187" y="20"/>
                    </a:lnTo>
                    <a:lnTo>
                      <a:pt x="187" y="17"/>
                    </a:lnTo>
                    <a:lnTo>
                      <a:pt x="173" y="1"/>
                    </a:lnTo>
                    <a:lnTo>
                      <a:pt x="172" y="1"/>
                    </a:lnTo>
                    <a:lnTo>
                      <a:pt x="170" y="1"/>
                    </a:lnTo>
                    <a:lnTo>
                      <a:pt x="168" y="0"/>
                    </a:lnTo>
                    <a:lnTo>
                      <a:pt x="167" y="0"/>
                    </a:lnTo>
                    <a:lnTo>
                      <a:pt x="165" y="0"/>
                    </a:lnTo>
                    <a:lnTo>
                      <a:pt x="162" y="1"/>
                    </a:lnTo>
                    <a:lnTo>
                      <a:pt x="159" y="3"/>
                    </a:lnTo>
                    <a:lnTo>
                      <a:pt x="156" y="4"/>
                    </a:lnTo>
                    <a:lnTo>
                      <a:pt x="154" y="4"/>
                    </a:lnTo>
                    <a:lnTo>
                      <a:pt x="153" y="6"/>
                    </a:lnTo>
                    <a:lnTo>
                      <a:pt x="148" y="6"/>
                    </a:lnTo>
                    <a:lnTo>
                      <a:pt x="146" y="8"/>
                    </a:lnTo>
                    <a:lnTo>
                      <a:pt x="145" y="8"/>
                    </a:lnTo>
                    <a:lnTo>
                      <a:pt x="140" y="9"/>
                    </a:lnTo>
                    <a:lnTo>
                      <a:pt x="138" y="9"/>
                    </a:lnTo>
                    <a:lnTo>
                      <a:pt x="137" y="9"/>
                    </a:lnTo>
                    <a:lnTo>
                      <a:pt x="135" y="9"/>
                    </a:lnTo>
                    <a:lnTo>
                      <a:pt x="132" y="9"/>
                    </a:lnTo>
                    <a:lnTo>
                      <a:pt x="130" y="11"/>
                    </a:lnTo>
                    <a:lnTo>
                      <a:pt x="127" y="11"/>
                    </a:lnTo>
                    <a:lnTo>
                      <a:pt x="126" y="11"/>
                    </a:lnTo>
                    <a:lnTo>
                      <a:pt x="121" y="11"/>
                    </a:lnTo>
                    <a:lnTo>
                      <a:pt x="119" y="11"/>
                    </a:lnTo>
                    <a:lnTo>
                      <a:pt x="116" y="12"/>
                    </a:lnTo>
                    <a:lnTo>
                      <a:pt x="113" y="12"/>
                    </a:lnTo>
                    <a:lnTo>
                      <a:pt x="110" y="12"/>
                    </a:lnTo>
                    <a:lnTo>
                      <a:pt x="108" y="12"/>
                    </a:lnTo>
                    <a:lnTo>
                      <a:pt x="103" y="14"/>
                    </a:lnTo>
                    <a:lnTo>
                      <a:pt x="102" y="14"/>
                    </a:lnTo>
                    <a:lnTo>
                      <a:pt x="99" y="14"/>
                    </a:lnTo>
                    <a:lnTo>
                      <a:pt x="97" y="14"/>
                    </a:lnTo>
                    <a:lnTo>
                      <a:pt x="94" y="14"/>
                    </a:lnTo>
                    <a:lnTo>
                      <a:pt x="92" y="16"/>
                    </a:lnTo>
                    <a:lnTo>
                      <a:pt x="91" y="17"/>
                    </a:lnTo>
                    <a:lnTo>
                      <a:pt x="89" y="17"/>
                    </a:lnTo>
                    <a:lnTo>
                      <a:pt x="88" y="17"/>
                    </a:lnTo>
                    <a:lnTo>
                      <a:pt x="86" y="19"/>
                    </a:lnTo>
                    <a:lnTo>
                      <a:pt x="84" y="20"/>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87" name="Freeform 67"/>
              <p:cNvSpPr>
                <a:spLocks noEditPoints="1"/>
              </p:cNvSpPr>
              <p:nvPr/>
            </p:nvSpPr>
            <p:spPr bwMode="auto">
              <a:xfrm>
                <a:off x="4685" y="3506"/>
                <a:ext cx="797" cy="421"/>
              </a:xfrm>
              <a:custGeom>
                <a:avLst/>
                <a:gdLst>
                  <a:gd name="T0" fmla="*/ 789 w 797"/>
                  <a:gd name="T1" fmla="*/ 88 h 421"/>
                  <a:gd name="T2" fmla="*/ 772 w 797"/>
                  <a:gd name="T3" fmla="*/ 99 h 421"/>
                  <a:gd name="T4" fmla="*/ 775 w 797"/>
                  <a:gd name="T5" fmla="*/ 52 h 421"/>
                  <a:gd name="T6" fmla="*/ 764 w 797"/>
                  <a:gd name="T7" fmla="*/ 41 h 421"/>
                  <a:gd name="T8" fmla="*/ 753 w 797"/>
                  <a:gd name="T9" fmla="*/ 42 h 421"/>
                  <a:gd name="T10" fmla="*/ 667 w 797"/>
                  <a:gd name="T11" fmla="*/ 7 h 421"/>
                  <a:gd name="T12" fmla="*/ 693 w 797"/>
                  <a:gd name="T13" fmla="*/ 17 h 421"/>
                  <a:gd name="T14" fmla="*/ 694 w 797"/>
                  <a:gd name="T15" fmla="*/ 41 h 421"/>
                  <a:gd name="T16" fmla="*/ 696 w 797"/>
                  <a:gd name="T17" fmla="*/ 49 h 421"/>
                  <a:gd name="T18" fmla="*/ 701 w 797"/>
                  <a:gd name="T19" fmla="*/ 47 h 421"/>
                  <a:gd name="T20" fmla="*/ 721 w 797"/>
                  <a:gd name="T21" fmla="*/ 49 h 421"/>
                  <a:gd name="T22" fmla="*/ 723 w 797"/>
                  <a:gd name="T23" fmla="*/ 50 h 421"/>
                  <a:gd name="T24" fmla="*/ 728 w 797"/>
                  <a:gd name="T25" fmla="*/ 42 h 421"/>
                  <a:gd name="T26" fmla="*/ 721 w 797"/>
                  <a:gd name="T27" fmla="*/ 36 h 421"/>
                  <a:gd name="T28" fmla="*/ 734 w 797"/>
                  <a:gd name="T29" fmla="*/ 42 h 421"/>
                  <a:gd name="T30" fmla="*/ 753 w 797"/>
                  <a:gd name="T31" fmla="*/ 61 h 421"/>
                  <a:gd name="T32" fmla="*/ 772 w 797"/>
                  <a:gd name="T33" fmla="*/ 77 h 421"/>
                  <a:gd name="T34" fmla="*/ 785 w 797"/>
                  <a:gd name="T35" fmla="*/ 68 h 421"/>
                  <a:gd name="T36" fmla="*/ 786 w 797"/>
                  <a:gd name="T37" fmla="*/ 60 h 421"/>
                  <a:gd name="T38" fmla="*/ 791 w 797"/>
                  <a:gd name="T39" fmla="*/ 80 h 421"/>
                  <a:gd name="T40" fmla="*/ 769 w 797"/>
                  <a:gd name="T41" fmla="*/ 93 h 421"/>
                  <a:gd name="T42" fmla="*/ 772 w 797"/>
                  <a:gd name="T43" fmla="*/ 99 h 421"/>
                  <a:gd name="T44" fmla="*/ 775 w 797"/>
                  <a:gd name="T45" fmla="*/ 106 h 421"/>
                  <a:gd name="T46" fmla="*/ 788 w 797"/>
                  <a:gd name="T47" fmla="*/ 106 h 421"/>
                  <a:gd name="T48" fmla="*/ 785 w 797"/>
                  <a:gd name="T49" fmla="*/ 109 h 421"/>
                  <a:gd name="T50" fmla="*/ 777 w 797"/>
                  <a:gd name="T51" fmla="*/ 131 h 421"/>
                  <a:gd name="T52" fmla="*/ 743 w 797"/>
                  <a:gd name="T53" fmla="*/ 150 h 421"/>
                  <a:gd name="T54" fmla="*/ 696 w 797"/>
                  <a:gd name="T55" fmla="*/ 186 h 421"/>
                  <a:gd name="T56" fmla="*/ 652 w 797"/>
                  <a:gd name="T57" fmla="*/ 223 h 421"/>
                  <a:gd name="T58" fmla="*/ 609 w 797"/>
                  <a:gd name="T59" fmla="*/ 240 h 421"/>
                  <a:gd name="T60" fmla="*/ 549 w 797"/>
                  <a:gd name="T61" fmla="*/ 267 h 421"/>
                  <a:gd name="T62" fmla="*/ 496 w 797"/>
                  <a:gd name="T63" fmla="*/ 281 h 421"/>
                  <a:gd name="T64" fmla="*/ 442 w 797"/>
                  <a:gd name="T65" fmla="*/ 315 h 421"/>
                  <a:gd name="T66" fmla="*/ 381 w 797"/>
                  <a:gd name="T67" fmla="*/ 337 h 421"/>
                  <a:gd name="T68" fmla="*/ 311 w 797"/>
                  <a:gd name="T69" fmla="*/ 342 h 421"/>
                  <a:gd name="T70" fmla="*/ 257 w 797"/>
                  <a:gd name="T71" fmla="*/ 364 h 421"/>
                  <a:gd name="T72" fmla="*/ 183 w 797"/>
                  <a:gd name="T73" fmla="*/ 400 h 421"/>
                  <a:gd name="T74" fmla="*/ 141 w 797"/>
                  <a:gd name="T75" fmla="*/ 411 h 421"/>
                  <a:gd name="T76" fmla="*/ 88 w 797"/>
                  <a:gd name="T77" fmla="*/ 380 h 421"/>
                  <a:gd name="T78" fmla="*/ 31 w 797"/>
                  <a:gd name="T79" fmla="*/ 358 h 421"/>
                  <a:gd name="T80" fmla="*/ 18 w 797"/>
                  <a:gd name="T81" fmla="*/ 331 h 421"/>
                  <a:gd name="T82" fmla="*/ 15 w 797"/>
                  <a:gd name="T83" fmla="*/ 302 h 421"/>
                  <a:gd name="T84" fmla="*/ 8 w 797"/>
                  <a:gd name="T85" fmla="*/ 269 h 421"/>
                  <a:gd name="T86" fmla="*/ 4 w 797"/>
                  <a:gd name="T87" fmla="*/ 242 h 421"/>
                  <a:gd name="T88" fmla="*/ 97 w 797"/>
                  <a:gd name="T89" fmla="*/ 175 h 421"/>
                  <a:gd name="T90" fmla="*/ 173 w 797"/>
                  <a:gd name="T91" fmla="*/ 142 h 421"/>
                  <a:gd name="T92" fmla="*/ 232 w 797"/>
                  <a:gd name="T93" fmla="*/ 128 h 421"/>
                  <a:gd name="T94" fmla="*/ 260 w 797"/>
                  <a:gd name="T95" fmla="*/ 137 h 421"/>
                  <a:gd name="T96" fmla="*/ 290 w 797"/>
                  <a:gd name="T97" fmla="*/ 133 h 421"/>
                  <a:gd name="T98" fmla="*/ 314 w 797"/>
                  <a:gd name="T99" fmla="*/ 117 h 421"/>
                  <a:gd name="T100" fmla="*/ 344 w 797"/>
                  <a:gd name="T101" fmla="*/ 106 h 421"/>
                  <a:gd name="T102" fmla="*/ 384 w 797"/>
                  <a:gd name="T103" fmla="*/ 87 h 421"/>
                  <a:gd name="T104" fmla="*/ 403 w 797"/>
                  <a:gd name="T105" fmla="*/ 106 h 421"/>
                  <a:gd name="T106" fmla="*/ 417 w 797"/>
                  <a:gd name="T107" fmla="*/ 85 h 421"/>
                  <a:gd name="T108" fmla="*/ 463 w 797"/>
                  <a:gd name="T109" fmla="*/ 69 h 421"/>
                  <a:gd name="T110" fmla="*/ 512 w 797"/>
                  <a:gd name="T111" fmla="*/ 133 h 421"/>
                  <a:gd name="T112" fmla="*/ 533 w 797"/>
                  <a:gd name="T113" fmla="*/ 153 h 421"/>
                  <a:gd name="T114" fmla="*/ 552 w 797"/>
                  <a:gd name="T115" fmla="*/ 129 h 421"/>
                  <a:gd name="T116" fmla="*/ 553 w 797"/>
                  <a:gd name="T117" fmla="*/ 69 h 421"/>
                  <a:gd name="T118" fmla="*/ 618 w 797"/>
                  <a:gd name="T119" fmla="*/ 36 h 421"/>
                  <a:gd name="T120" fmla="*/ 647 w 797"/>
                  <a:gd name="T121" fmla="*/ 19 h 421"/>
                  <a:gd name="T122" fmla="*/ 648 w 797"/>
                  <a:gd name="T123" fmla="*/ 2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7" h="421">
                    <a:moveTo>
                      <a:pt x="783" y="98"/>
                    </a:moveTo>
                    <a:lnTo>
                      <a:pt x="783" y="99"/>
                    </a:lnTo>
                    <a:lnTo>
                      <a:pt x="781" y="99"/>
                    </a:lnTo>
                    <a:lnTo>
                      <a:pt x="780" y="99"/>
                    </a:lnTo>
                    <a:lnTo>
                      <a:pt x="780" y="101"/>
                    </a:lnTo>
                    <a:lnTo>
                      <a:pt x="778" y="101"/>
                    </a:lnTo>
                    <a:lnTo>
                      <a:pt x="777" y="101"/>
                    </a:lnTo>
                    <a:lnTo>
                      <a:pt x="777" y="102"/>
                    </a:lnTo>
                    <a:lnTo>
                      <a:pt x="777" y="104"/>
                    </a:lnTo>
                    <a:lnTo>
                      <a:pt x="775" y="104"/>
                    </a:lnTo>
                    <a:lnTo>
                      <a:pt x="775" y="102"/>
                    </a:lnTo>
                    <a:lnTo>
                      <a:pt x="775" y="101"/>
                    </a:lnTo>
                    <a:lnTo>
                      <a:pt x="777" y="101"/>
                    </a:lnTo>
                    <a:lnTo>
                      <a:pt x="777" y="99"/>
                    </a:lnTo>
                    <a:lnTo>
                      <a:pt x="777" y="101"/>
                    </a:lnTo>
                    <a:lnTo>
                      <a:pt x="778" y="101"/>
                    </a:lnTo>
                    <a:lnTo>
                      <a:pt x="778" y="99"/>
                    </a:lnTo>
                    <a:lnTo>
                      <a:pt x="778" y="98"/>
                    </a:lnTo>
                    <a:lnTo>
                      <a:pt x="780" y="98"/>
                    </a:lnTo>
                    <a:lnTo>
                      <a:pt x="781" y="98"/>
                    </a:lnTo>
                    <a:lnTo>
                      <a:pt x="783" y="98"/>
                    </a:lnTo>
                    <a:close/>
                    <a:moveTo>
                      <a:pt x="789" y="85"/>
                    </a:moveTo>
                    <a:lnTo>
                      <a:pt x="789" y="87"/>
                    </a:lnTo>
                    <a:lnTo>
                      <a:pt x="789" y="88"/>
                    </a:lnTo>
                    <a:lnTo>
                      <a:pt x="789" y="90"/>
                    </a:lnTo>
                    <a:lnTo>
                      <a:pt x="789" y="91"/>
                    </a:lnTo>
                    <a:lnTo>
                      <a:pt x="789" y="93"/>
                    </a:lnTo>
                    <a:lnTo>
                      <a:pt x="789" y="95"/>
                    </a:lnTo>
                    <a:lnTo>
                      <a:pt x="789" y="96"/>
                    </a:lnTo>
                    <a:lnTo>
                      <a:pt x="788" y="96"/>
                    </a:lnTo>
                    <a:lnTo>
                      <a:pt x="786" y="96"/>
                    </a:lnTo>
                    <a:lnTo>
                      <a:pt x="786" y="98"/>
                    </a:lnTo>
                    <a:lnTo>
                      <a:pt x="786" y="99"/>
                    </a:lnTo>
                    <a:lnTo>
                      <a:pt x="785" y="99"/>
                    </a:lnTo>
                    <a:lnTo>
                      <a:pt x="785" y="101"/>
                    </a:lnTo>
                    <a:lnTo>
                      <a:pt x="785" y="99"/>
                    </a:lnTo>
                    <a:lnTo>
                      <a:pt x="785" y="98"/>
                    </a:lnTo>
                    <a:lnTo>
                      <a:pt x="783" y="98"/>
                    </a:lnTo>
                    <a:lnTo>
                      <a:pt x="781" y="98"/>
                    </a:lnTo>
                    <a:lnTo>
                      <a:pt x="780" y="98"/>
                    </a:lnTo>
                    <a:lnTo>
                      <a:pt x="778" y="98"/>
                    </a:lnTo>
                    <a:lnTo>
                      <a:pt x="778" y="99"/>
                    </a:lnTo>
                    <a:lnTo>
                      <a:pt x="777" y="99"/>
                    </a:lnTo>
                    <a:lnTo>
                      <a:pt x="777" y="98"/>
                    </a:lnTo>
                    <a:lnTo>
                      <a:pt x="777" y="99"/>
                    </a:lnTo>
                    <a:lnTo>
                      <a:pt x="775" y="99"/>
                    </a:lnTo>
                    <a:lnTo>
                      <a:pt x="773" y="99"/>
                    </a:lnTo>
                    <a:lnTo>
                      <a:pt x="772" y="99"/>
                    </a:lnTo>
                    <a:lnTo>
                      <a:pt x="772" y="98"/>
                    </a:lnTo>
                    <a:lnTo>
                      <a:pt x="773" y="98"/>
                    </a:lnTo>
                    <a:lnTo>
                      <a:pt x="773" y="96"/>
                    </a:lnTo>
                    <a:lnTo>
                      <a:pt x="775" y="96"/>
                    </a:lnTo>
                    <a:lnTo>
                      <a:pt x="775" y="95"/>
                    </a:lnTo>
                    <a:lnTo>
                      <a:pt x="777" y="95"/>
                    </a:lnTo>
                    <a:lnTo>
                      <a:pt x="777" y="93"/>
                    </a:lnTo>
                    <a:lnTo>
                      <a:pt x="778" y="93"/>
                    </a:lnTo>
                    <a:lnTo>
                      <a:pt x="778" y="91"/>
                    </a:lnTo>
                    <a:lnTo>
                      <a:pt x="780" y="91"/>
                    </a:lnTo>
                    <a:lnTo>
                      <a:pt x="780" y="90"/>
                    </a:lnTo>
                    <a:lnTo>
                      <a:pt x="781" y="90"/>
                    </a:lnTo>
                    <a:lnTo>
                      <a:pt x="783" y="90"/>
                    </a:lnTo>
                    <a:lnTo>
                      <a:pt x="783" y="88"/>
                    </a:lnTo>
                    <a:lnTo>
                      <a:pt x="785" y="88"/>
                    </a:lnTo>
                    <a:lnTo>
                      <a:pt x="786" y="88"/>
                    </a:lnTo>
                    <a:lnTo>
                      <a:pt x="786" y="87"/>
                    </a:lnTo>
                    <a:lnTo>
                      <a:pt x="788" y="87"/>
                    </a:lnTo>
                    <a:lnTo>
                      <a:pt x="789" y="87"/>
                    </a:lnTo>
                    <a:lnTo>
                      <a:pt x="789" y="85"/>
                    </a:lnTo>
                    <a:close/>
                    <a:moveTo>
                      <a:pt x="773" y="49"/>
                    </a:moveTo>
                    <a:lnTo>
                      <a:pt x="773" y="50"/>
                    </a:lnTo>
                    <a:lnTo>
                      <a:pt x="775" y="50"/>
                    </a:lnTo>
                    <a:lnTo>
                      <a:pt x="775" y="52"/>
                    </a:lnTo>
                    <a:lnTo>
                      <a:pt x="777" y="52"/>
                    </a:lnTo>
                    <a:lnTo>
                      <a:pt x="777" y="53"/>
                    </a:lnTo>
                    <a:lnTo>
                      <a:pt x="775" y="53"/>
                    </a:lnTo>
                    <a:lnTo>
                      <a:pt x="775" y="55"/>
                    </a:lnTo>
                    <a:lnTo>
                      <a:pt x="775" y="53"/>
                    </a:lnTo>
                    <a:lnTo>
                      <a:pt x="775" y="55"/>
                    </a:lnTo>
                    <a:lnTo>
                      <a:pt x="775" y="57"/>
                    </a:lnTo>
                    <a:lnTo>
                      <a:pt x="773" y="57"/>
                    </a:lnTo>
                    <a:lnTo>
                      <a:pt x="772" y="57"/>
                    </a:lnTo>
                    <a:lnTo>
                      <a:pt x="772" y="55"/>
                    </a:lnTo>
                    <a:lnTo>
                      <a:pt x="772" y="53"/>
                    </a:lnTo>
                    <a:lnTo>
                      <a:pt x="773" y="53"/>
                    </a:lnTo>
                    <a:lnTo>
                      <a:pt x="773" y="52"/>
                    </a:lnTo>
                    <a:lnTo>
                      <a:pt x="772" y="52"/>
                    </a:lnTo>
                    <a:lnTo>
                      <a:pt x="772" y="50"/>
                    </a:lnTo>
                    <a:lnTo>
                      <a:pt x="773" y="50"/>
                    </a:lnTo>
                    <a:lnTo>
                      <a:pt x="773" y="49"/>
                    </a:lnTo>
                    <a:close/>
                    <a:moveTo>
                      <a:pt x="758" y="38"/>
                    </a:moveTo>
                    <a:lnTo>
                      <a:pt x="759" y="38"/>
                    </a:lnTo>
                    <a:lnTo>
                      <a:pt x="761" y="38"/>
                    </a:lnTo>
                    <a:lnTo>
                      <a:pt x="761" y="39"/>
                    </a:lnTo>
                    <a:lnTo>
                      <a:pt x="762" y="39"/>
                    </a:lnTo>
                    <a:lnTo>
                      <a:pt x="764" y="39"/>
                    </a:lnTo>
                    <a:lnTo>
                      <a:pt x="764" y="41"/>
                    </a:lnTo>
                    <a:lnTo>
                      <a:pt x="764" y="42"/>
                    </a:lnTo>
                    <a:lnTo>
                      <a:pt x="766" y="42"/>
                    </a:lnTo>
                    <a:lnTo>
                      <a:pt x="766" y="44"/>
                    </a:lnTo>
                    <a:lnTo>
                      <a:pt x="766" y="45"/>
                    </a:lnTo>
                    <a:lnTo>
                      <a:pt x="766" y="47"/>
                    </a:lnTo>
                    <a:lnTo>
                      <a:pt x="767" y="47"/>
                    </a:lnTo>
                    <a:lnTo>
                      <a:pt x="767" y="49"/>
                    </a:lnTo>
                    <a:lnTo>
                      <a:pt x="766" y="49"/>
                    </a:lnTo>
                    <a:lnTo>
                      <a:pt x="764" y="49"/>
                    </a:lnTo>
                    <a:lnTo>
                      <a:pt x="764" y="47"/>
                    </a:lnTo>
                    <a:lnTo>
                      <a:pt x="762" y="47"/>
                    </a:lnTo>
                    <a:lnTo>
                      <a:pt x="761" y="47"/>
                    </a:lnTo>
                    <a:lnTo>
                      <a:pt x="761" y="45"/>
                    </a:lnTo>
                    <a:lnTo>
                      <a:pt x="759" y="45"/>
                    </a:lnTo>
                    <a:lnTo>
                      <a:pt x="759" y="44"/>
                    </a:lnTo>
                    <a:lnTo>
                      <a:pt x="758" y="44"/>
                    </a:lnTo>
                    <a:lnTo>
                      <a:pt x="758" y="42"/>
                    </a:lnTo>
                    <a:lnTo>
                      <a:pt x="756" y="42"/>
                    </a:lnTo>
                    <a:lnTo>
                      <a:pt x="756" y="41"/>
                    </a:lnTo>
                    <a:lnTo>
                      <a:pt x="754" y="41"/>
                    </a:lnTo>
                    <a:lnTo>
                      <a:pt x="753" y="41"/>
                    </a:lnTo>
                    <a:lnTo>
                      <a:pt x="753" y="42"/>
                    </a:lnTo>
                    <a:lnTo>
                      <a:pt x="754" y="42"/>
                    </a:lnTo>
                    <a:lnTo>
                      <a:pt x="753" y="42"/>
                    </a:lnTo>
                    <a:lnTo>
                      <a:pt x="753" y="41"/>
                    </a:lnTo>
                    <a:lnTo>
                      <a:pt x="753" y="39"/>
                    </a:lnTo>
                    <a:lnTo>
                      <a:pt x="753" y="38"/>
                    </a:lnTo>
                    <a:lnTo>
                      <a:pt x="754" y="38"/>
                    </a:lnTo>
                    <a:lnTo>
                      <a:pt x="756" y="38"/>
                    </a:lnTo>
                    <a:lnTo>
                      <a:pt x="758" y="38"/>
                    </a:lnTo>
                    <a:close/>
                    <a:moveTo>
                      <a:pt x="648" y="0"/>
                    </a:moveTo>
                    <a:lnTo>
                      <a:pt x="650" y="0"/>
                    </a:lnTo>
                    <a:lnTo>
                      <a:pt x="650" y="1"/>
                    </a:lnTo>
                    <a:lnTo>
                      <a:pt x="652" y="1"/>
                    </a:lnTo>
                    <a:lnTo>
                      <a:pt x="653" y="1"/>
                    </a:lnTo>
                    <a:lnTo>
                      <a:pt x="653" y="3"/>
                    </a:lnTo>
                    <a:lnTo>
                      <a:pt x="655" y="3"/>
                    </a:lnTo>
                    <a:lnTo>
                      <a:pt x="656" y="3"/>
                    </a:lnTo>
                    <a:lnTo>
                      <a:pt x="656" y="4"/>
                    </a:lnTo>
                    <a:lnTo>
                      <a:pt x="658" y="4"/>
                    </a:lnTo>
                    <a:lnTo>
                      <a:pt x="659" y="4"/>
                    </a:lnTo>
                    <a:lnTo>
                      <a:pt x="659" y="6"/>
                    </a:lnTo>
                    <a:lnTo>
                      <a:pt x="661" y="6"/>
                    </a:lnTo>
                    <a:lnTo>
                      <a:pt x="663" y="6"/>
                    </a:lnTo>
                    <a:lnTo>
                      <a:pt x="664" y="6"/>
                    </a:lnTo>
                    <a:lnTo>
                      <a:pt x="664" y="7"/>
                    </a:lnTo>
                    <a:lnTo>
                      <a:pt x="666" y="7"/>
                    </a:lnTo>
                    <a:lnTo>
                      <a:pt x="667" y="7"/>
                    </a:lnTo>
                    <a:lnTo>
                      <a:pt x="669" y="7"/>
                    </a:lnTo>
                    <a:lnTo>
                      <a:pt x="669" y="9"/>
                    </a:lnTo>
                    <a:lnTo>
                      <a:pt x="671" y="9"/>
                    </a:lnTo>
                    <a:lnTo>
                      <a:pt x="672" y="9"/>
                    </a:lnTo>
                    <a:lnTo>
                      <a:pt x="672" y="11"/>
                    </a:lnTo>
                    <a:lnTo>
                      <a:pt x="674" y="11"/>
                    </a:lnTo>
                    <a:lnTo>
                      <a:pt x="675" y="11"/>
                    </a:lnTo>
                    <a:lnTo>
                      <a:pt x="675" y="12"/>
                    </a:lnTo>
                    <a:lnTo>
                      <a:pt x="677" y="12"/>
                    </a:lnTo>
                    <a:lnTo>
                      <a:pt x="678" y="12"/>
                    </a:lnTo>
                    <a:lnTo>
                      <a:pt x="680" y="12"/>
                    </a:lnTo>
                    <a:lnTo>
                      <a:pt x="680" y="14"/>
                    </a:lnTo>
                    <a:lnTo>
                      <a:pt x="682" y="14"/>
                    </a:lnTo>
                    <a:lnTo>
                      <a:pt x="683" y="14"/>
                    </a:lnTo>
                    <a:lnTo>
                      <a:pt x="685" y="14"/>
                    </a:lnTo>
                    <a:lnTo>
                      <a:pt x="686" y="14"/>
                    </a:lnTo>
                    <a:lnTo>
                      <a:pt x="686" y="15"/>
                    </a:lnTo>
                    <a:lnTo>
                      <a:pt x="688" y="15"/>
                    </a:lnTo>
                    <a:lnTo>
                      <a:pt x="688" y="14"/>
                    </a:lnTo>
                    <a:lnTo>
                      <a:pt x="688" y="15"/>
                    </a:lnTo>
                    <a:lnTo>
                      <a:pt x="690" y="15"/>
                    </a:lnTo>
                    <a:lnTo>
                      <a:pt x="691" y="15"/>
                    </a:lnTo>
                    <a:lnTo>
                      <a:pt x="691" y="17"/>
                    </a:lnTo>
                    <a:lnTo>
                      <a:pt x="693" y="17"/>
                    </a:lnTo>
                    <a:lnTo>
                      <a:pt x="694" y="17"/>
                    </a:lnTo>
                    <a:lnTo>
                      <a:pt x="694" y="19"/>
                    </a:lnTo>
                    <a:lnTo>
                      <a:pt x="696" y="19"/>
                    </a:lnTo>
                    <a:lnTo>
                      <a:pt x="696" y="20"/>
                    </a:lnTo>
                    <a:lnTo>
                      <a:pt x="697" y="20"/>
                    </a:lnTo>
                    <a:lnTo>
                      <a:pt x="697" y="22"/>
                    </a:lnTo>
                    <a:lnTo>
                      <a:pt x="696" y="22"/>
                    </a:lnTo>
                    <a:lnTo>
                      <a:pt x="696" y="23"/>
                    </a:lnTo>
                    <a:lnTo>
                      <a:pt x="697" y="23"/>
                    </a:lnTo>
                    <a:lnTo>
                      <a:pt x="696" y="23"/>
                    </a:lnTo>
                    <a:lnTo>
                      <a:pt x="696" y="25"/>
                    </a:lnTo>
                    <a:lnTo>
                      <a:pt x="696" y="26"/>
                    </a:lnTo>
                    <a:lnTo>
                      <a:pt x="694" y="26"/>
                    </a:lnTo>
                    <a:lnTo>
                      <a:pt x="693" y="26"/>
                    </a:lnTo>
                    <a:lnTo>
                      <a:pt x="693" y="28"/>
                    </a:lnTo>
                    <a:lnTo>
                      <a:pt x="693" y="30"/>
                    </a:lnTo>
                    <a:lnTo>
                      <a:pt x="693" y="31"/>
                    </a:lnTo>
                    <a:lnTo>
                      <a:pt x="693" y="33"/>
                    </a:lnTo>
                    <a:lnTo>
                      <a:pt x="693" y="34"/>
                    </a:lnTo>
                    <a:lnTo>
                      <a:pt x="693" y="36"/>
                    </a:lnTo>
                    <a:lnTo>
                      <a:pt x="694" y="36"/>
                    </a:lnTo>
                    <a:lnTo>
                      <a:pt x="694" y="38"/>
                    </a:lnTo>
                    <a:lnTo>
                      <a:pt x="694" y="39"/>
                    </a:lnTo>
                    <a:lnTo>
                      <a:pt x="694" y="41"/>
                    </a:lnTo>
                    <a:lnTo>
                      <a:pt x="694" y="42"/>
                    </a:lnTo>
                    <a:lnTo>
                      <a:pt x="694" y="44"/>
                    </a:lnTo>
                    <a:lnTo>
                      <a:pt x="693" y="44"/>
                    </a:lnTo>
                    <a:lnTo>
                      <a:pt x="691" y="44"/>
                    </a:lnTo>
                    <a:lnTo>
                      <a:pt x="691" y="42"/>
                    </a:lnTo>
                    <a:lnTo>
                      <a:pt x="691" y="44"/>
                    </a:lnTo>
                    <a:lnTo>
                      <a:pt x="690" y="44"/>
                    </a:lnTo>
                    <a:lnTo>
                      <a:pt x="690" y="45"/>
                    </a:lnTo>
                    <a:lnTo>
                      <a:pt x="688" y="45"/>
                    </a:lnTo>
                    <a:lnTo>
                      <a:pt x="690" y="45"/>
                    </a:lnTo>
                    <a:lnTo>
                      <a:pt x="688" y="45"/>
                    </a:lnTo>
                    <a:lnTo>
                      <a:pt x="688" y="47"/>
                    </a:lnTo>
                    <a:lnTo>
                      <a:pt x="688" y="49"/>
                    </a:lnTo>
                    <a:lnTo>
                      <a:pt x="688" y="50"/>
                    </a:lnTo>
                    <a:lnTo>
                      <a:pt x="690" y="50"/>
                    </a:lnTo>
                    <a:lnTo>
                      <a:pt x="688" y="50"/>
                    </a:lnTo>
                    <a:lnTo>
                      <a:pt x="690" y="50"/>
                    </a:lnTo>
                    <a:lnTo>
                      <a:pt x="690" y="52"/>
                    </a:lnTo>
                    <a:lnTo>
                      <a:pt x="691" y="52"/>
                    </a:lnTo>
                    <a:lnTo>
                      <a:pt x="693" y="52"/>
                    </a:lnTo>
                    <a:lnTo>
                      <a:pt x="693" y="50"/>
                    </a:lnTo>
                    <a:lnTo>
                      <a:pt x="694" y="50"/>
                    </a:lnTo>
                    <a:lnTo>
                      <a:pt x="696" y="50"/>
                    </a:lnTo>
                    <a:lnTo>
                      <a:pt x="696" y="49"/>
                    </a:lnTo>
                    <a:lnTo>
                      <a:pt x="696" y="47"/>
                    </a:lnTo>
                    <a:lnTo>
                      <a:pt x="694" y="47"/>
                    </a:lnTo>
                    <a:lnTo>
                      <a:pt x="694" y="45"/>
                    </a:lnTo>
                    <a:lnTo>
                      <a:pt x="696" y="45"/>
                    </a:lnTo>
                    <a:lnTo>
                      <a:pt x="696" y="47"/>
                    </a:lnTo>
                    <a:lnTo>
                      <a:pt x="697" y="47"/>
                    </a:lnTo>
                    <a:lnTo>
                      <a:pt x="699" y="47"/>
                    </a:lnTo>
                    <a:lnTo>
                      <a:pt x="701" y="47"/>
                    </a:lnTo>
                    <a:lnTo>
                      <a:pt x="701" y="49"/>
                    </a:lnTo>
                    <a:lnTo>
                      <a:pt x="699" y="49"/>
                    </a:lnTo>
                    <a:lnTo>
                      <a:pt x="701" y="49"/>
                    </a:lnTo>
                    <a:lnTo>
                      <a:pt x="701" y="50"/>
                    </a:lnTo>
                    <a:lnTo>
                      <a:pt x="701" y="52"/>
                    </a:lnTo>
                    <a:lnTo>
                      <a:pt x="702" y="52"/>
                    </a:lnTo>
                    <a:lnTo>
                      <a:pt x="704" y="52"/>
                    </a:lnTo>
                    <a:lnTo>
                      <a:pt x="704" y="53"/>
                    </a:lnTo>
                    <a:lnTo>
                      <a:pt x="704" y="52"/>
                    </a:lnTo>
                    <a:lnTo>
                      <a:pt x="704" y="50"/>
                    </a:lnTo>
                    <a:lnTo>
                      <a:pt x="702" y="50"/>
                    </a:lnTo>
                    <a:lnTo>
                      <a:pt x="702" y="49"/>
                    </a:lnTo>
                    <a:lnTo>
                      <a:pt x="701" y="49"/>
                    </a:lnTo>
                    <a:lnTo>
                      <a:pt x="702" y="49"/>
                    </a:lnTo>
                    <a:lnTo>
                      <a:pt x="701" y="49"/>
                    </a:lnTo>
                    <a:lnTo>
                      <a:pt x="701" y="47"/>
                    </a:lnTo>
                    <a:lnTo>
                      <a:pt x="701" y="45"/>
                    </a:lnTo>
                    <a:lnTo>
                      <a:pt x="701" y="47"/>
                    </a:lnTo>
                    <a:lnTo>
                      <a:pt x="702" y="47"/>
                    </a:lnTo>
                    <a:lnTo>
                      <a:pt x="702" y="45"/>
                    </a:lnTo>
                    <a:lnTo>
                      <a:pt x="704" y="45"/>
                    </a:lnTo>
                    <a:lnTo>
                      <a:pt x="704" y="44"/>
                    </a:lnTo>
                    <a:lnTo>
                      <a:pt x="705" y="44"/>
                    </a:lnTo>
                    <a:lnTo>
                      <a:pt x="707" y="44"/>
                    </a:lnTo>
                    <a:lnTo>
                      <a:pt x="709" y="44"/>
                    </a:lnTo>
                    <a:lnTo>
                      <a:pt x="709" y="42"/>
                    </a:lnTo>
                    <a:lnTo>
                      <a:pt x="710" y="42"/>
                    </a:lnTo>
                    <a:lnTo>
                      <a:pt x="712" y="42"/>
                    </a:lnTo>
                    <a:lnTo>
                      <a:pt x="713" y="42"/>
                    </a:lnTo>
                    <a:lnTo>
                      <a:pt x="715" y="42"/>
                    </a:lnTo>
                    <a:lnTo>
                      <a:pt x="713" y="42"/>
                    </a:lnTo>
                    <a:lnTo>
                      <a:pt x="713" y="44"/>
                    </a:lnTo>
                    <a:lnTo>
                      <a:pt x="713" y="45"/>
                    </a:lnTo>
                    <a:lnTo>
                      <a:pt x="715" y="45"/>
                    </a:lnTo>
                    <a:lnTo>
                      <a:pt x="715" y="47"/>
                    </a:lnTo>
                    <a:lnTo>
                      <a:pt x="716" y="47"/>
                    </a:lnTo>
                    <a:lnTo>
                      <a:pt x="718" y="47"/>
                    </a:lnTo>
                    <a:lnTo>
                      <a:pt x="720" y="47"/>
                    </a:lnTo>
                    <a:lnTo>
                      <a:pt x="720" y="49"/>
                    </a:lnTo>
                    <a:lnTo>
                      <a:pt x="721" y="49"/>
                    </a:lnTo>
                    <a:lnTo>
                      <a:pt x="721" y="50"/>
                    </a:lnTo>
                    <a:lnTo>
                      <a:pt x="723" y="50"/>
                    </a:lnTo>
                    <a:lnTo>
                      <a:pt x="723" y="52"/>
                    </a:lnTo>
                    <a:lnTo>
                      <a:pt x="723" y="53"/>
                    </a:lnTo>
                    <a:lnTo>
                      <a:pt x="723" y="55"/>
                    </a:lnTo>
                    <a:lnTo>
                      <a:pt x="724" y="55"/>
                    </a:lnTo>
                    <a:lnTo>
                      <a:pt x="724" y="57"/>
                    </a:lnTo>
                    <a:lnTo>
                      <a:pt x="726" y="57"/>
                    </a:lnTo>
                    <a:lnTo>
                      <a:pt x="726" y="58"/>
                    </a:lnTo>
                    <a:lnTo>
                      <a:pt x="726" y="60"/>
                    </a:lnTo>
                    <a:lnTo>
                      <a:pt x="726" y="58"/>
                    </a:lnTo>
                    <a:lnTo>
                      <a:pt x="728" y="58"/>
                    </a:lnTo>
                    <a:lnTo>
                      <a:pt x="726" y="58"/>
                    </a:lnTo>
                    <a:lnTo>
                      <a:pt x="728" y="58"/>
                    </a:lnTo>
                    <a:lnTo>
                      <a:pt x="728" y="57"/>
                    </a:lnTo>
                    <a:lnTo>
                      <a:pt x="726" y="57"/>
                    </a:lnTo>
                    <a:lnTo>
                      <a:pt x="726" y="55"/>
                    </a:lnTo>
                    <a:lnTo>
                      <a:pt x="724" y="55"/>
                    </a:lnTo>
                    <a:lnTo>
                      <a:pt x="723" y="55"/>
                    </a:lnTo>
                    <a:lnTo>
                      <a:pt x="723" y="53"/>
                    </a:lnTo>
                    <a:lnTo>
                      <a:pt x="723" y="52"/>
                    </a:lnTo>
                    <a:lnTo>
                      <a:pt x="724" y="52"/>
                    </a:lnTo>
                    <a:lnTo>
                      <a:pt x="724" y="50"/>
                    </a:lnTo>
                    <a:lnTo>
                      <a:pt x="723" y="50"/>
                    </a:lnTo>
                    <a:lnTo>
                      <a:pt x="723" y="49"/>
                    </a:lnTo>
                    <a:lnTo>
                      <a:pt x="724" y="49"/>
                    </a:lnTo>
                    <a:lnTo>
                      <a:pt x="726" y="49"/>
                    </a:lnTo>
                    <a:lnTo>
                      <a:pt x="728" y="49"/>
                    </a:lnTo>
                    <a:lnTo>
                      <a:pt x="729" y="49"/>
                    </a:lnTo>
                    <a:lnTo>
                      <a:pt x="729" y="50"/>
                    </a:lnTo>
                    <a:lnTo>
                      <a:pt x="731" y="50"/>
                    </a:lnTo>
                    <a:lnTo>
                      <a:pt x="732" y="50"/>
                    </a:lnTo>
                    <a:lnTo>
                      <a:pt x="732" y="52"/>
                    </a:lnTo>
                    <a:lnTo>
                      <a:pt x="734" y="52"/>
                    </a:lnTo>
                    <a:lnTo>
                      <a:pt x="734" y="50"/>
                    </a:lnTo>
                    <a:lnTo>
                      <a:pt x="734" y="49"/>
                    </a:lnTo>
                    <a:lnTo>
                      <a:pt x="732" y="49"/>
                    </a:lnTo>
                    <a:lnTo>
                      <a:pt x="734" y="49"/>
                    </a:lnTo>
                    <a:lnTo>
                      <a:pt x="735" y="49"/>
                    </a:lnTo>
                    <a:lnTo>
                      <a:pt x="735" y="47"/>
                    </a:lnTo>
                    <a:lnTo>
                      <a:pt x="734" y="47"/>
                    </a:lnTo>
                    <a:lnTo>
                      <a:pt x="734" y="45"/>
                    </a:lnTo>
                    <a:lnTo>
                      <a:pt x="732" y="45"/>
                    </a:lnTo>
                    <a:lnTo>
                      <a:pt x="731" y="45"/>
                    </a:lnTo>
                    <a:lnTo>
                      <a:pt x="729" y="45"/>
                    </a:lnTo>
                    <a:lnTo>
                      <a:pt x="729" y="44"/>
                    </a:lnTo>
                    <a:lnTo>
                      <a:pt x="728" y="44"/>
                    </a:lnTo>
                    <a:lnTo>
                      <a:pt x="728" y="42"/>
                    </a:lnTo>
                    <a:lnTo>
                      <a:pt x="728" y="41"/>
                    </a:lnTo>
                    <a:lnTo>
                      <a:pt x="726" y="41"/>
                    </a:lnTo>
                    <a:lnTo>
                      <a:pt x="724" y="41"/>
                    </a:lnTo>
                    <a:lnTo>
                      <a:pt x="723" y="41"/>
                    </a:lnTo>
                    <a:lnTo>
                      <a:pt x="721" y="41"/>
                    </a:lnTo>
                    <a:lnTo>
                      <a:pt x="721" y="42"/>
                    </a:lnTo>
                    <a:lnTo>
                      <a:pt x="721" y="41"/>
                    </a:lnTo>
                    <a:lnTo>
                      <a:pt x="721" y="42"/>
                    </a:lnTo>
                    <a:lnTo>
                      <a:pt x="720" y="42"/>
                    </a:lnTo>
                    <a:lnTo>
                      <a:pt x="718" y="42"/>
                    </a:lnTo>
                    <a:lnTo>
                      <a:pt x="718" y="44"/>
                    </a:lnTo>
                    <a:lnTo>
                      <a:pt x="716" y="44"/>
                    </a:lnTo>
                    <a:lnTo>
                      <a:pt x="716" y="45"/>
                    </a:lnTo>
                    <a:lnTo>
                      <a:pt x="715" y="45"/>
                    </a:lnTo>
                    <a:lnTo>
                      <a:pt x="715" y="44"/>
                    </a:lnTo>
                    <a:lnTo>
                      <a:pt x="716" y="44"/>
                    </a:lnTo>
                    <a:lnTo>
                      <a:pt x="716" y="42"/>
                    </a:lnTo>
                    <a:lnTo>
                      <a:pt x="716" y="41"/>
                    </a:lnTo>
                    <a:lnTo>
                      <a:pt x="716" y="39"/>
                    </a:lnTo>
                    <a:lnTo>
                      <a:pt x="718" y="39"/>
                    </a:lnTo>
                    <a:lnTo>
                      <a:pt x="718" y="38"/>
                    </a:lnTo>
                    <a:lnTo>
                      <a:pt x="718" y="36"/>
                    </a:lnTo>
                    <a:lnTo>
                      <a:pt x="720" y="36"/>
                    </a:lnTo>
                    <a:lnTo>
                      <a:pt x="721" y="36"/>
                    </a:lnTo>
                    <a:lnTo>
                      <a:pt x="721" y="34"/>
                    </a:lnTo>
                    <a:lnTo>
                      <a:pt x="723" y="34"/>
                    </a:lnTo>
                    <a:lnTo>
                      <a:pt x="723" y="33"/>
                    </a:lnTo>
                    <a:lnTo>
                      <a:pt x="724" y="33"/>
                    </a:lnTo>
                    <a:lnTo>
                      <a:pt x="724" y="31"/>
                    </a:lnTo>
                    <a:lnTo>
                      <a:pt x="726" y="31"/>
                    </a:lnTo>
                    <a:lnTo>
                      <a:pt x="726" y="30"/>
                    </a:lnTo>
                    <a:lnTo>
                      <a:pt x="726" y="28"/>
                    </a:lnTo>
                    <a:lnTo>
                      <a:pt x="728" y="28"/>
                    </a:lnTo>
                    <a:lnTo>
                      <a:pt x="728" y="26"/>
                    </a:lnTo>
                    <a:lnTo>
                      <a:pt x="729" y="26"/>
                    </a:lnTo>
                    <a:lnTo>
                      <a:pt x="729" y="28"/>
                    </a:lnTo>
                    <a:lnTo>
                      <a:pt x="729" y="30"/>
                    </a:lnTo>
                    <a:lnTo>
                      <a:pt x="729" y="31"/>
                    </a:lnTo>
                    <a:lnTo>
                      <a:pt x="729" y="33"/>
                    </a:lnTo>
                    <a:lnTo>
                      <a:pt x="729" y="34"/>
                    </a:lnTo>
                    <a:lnTo>
                      <a:pt x="729" y="36"/>
                    </a:lnTo>
                    <a:lnTo>
                      <a:pt x="731" y="36"/>
                    </a:lnTo>
                    <a:lnTo>
                      <a:pt x="731" y="38"/>
                    </a:lnTo>
                    <a:lnTo>
                      <a:pt x="731" y="39"/>
                    </a:lnTo>
                    <a:lnTo>
                      <a:pt x="732" y="39"/>
                    </a:lnTo>
                    <a:lnTo>
                      <a:pt x="732" y="41"/>
                    </a:lnTo>
                    <a:lnTo>
                      <a:pt x="734" y="41"/>
                    </a:lnTo>
                    <a:lnTo>
                      <a:pt x="734" y="42"/>
                    </a:lnTo>
                    <a:lnTo>
                      <a:pt x="735" y="42"/>
                    </a:lnTo>
                    <a:lnTo>
                      <a:pt x="735" y="44"/>
                    </a:lnTo>
                    <a:lnTo>
                      <a:pt x="737" y="44"/>
                    </a:lnTo>
                    <a:lnTo>
                      <a:pt x="737" y="45"/>
                    </a:lnTo>
                    <a:lnTo>
                      <a:pt x="739" y="45"/>
                    </a:lnTo>
                    <a:lnTo>
                      <a:pt x="740" y="45"/>
                    </a:lnTo>
                    <a:lnTo>
                      <a:pt x="742" y="45"/>
                    </a:lnTo>
                    <a:lnTo>
                      <a:pt x="742" y="47"/>
                    </a:lnTo>
                    <a:lnTo>
                      <a:pt x="743" y="47"/>
                    </a:lnTo>
                    <a:lnTo>
                      <a:pt x="745" y="47"/>
                    </a:lnTo>
                    <a:lnTo>
                      <a:pt x="747" y="47"/>
                    </a:lnTo>
                    <a:lnTo>
                      <a:pt x="747" y="49"/>
                    </a:lnTo>
                    <a:lnTo>
                      <a:pt x="748" y="49"/>
                    </a:lnTo>
                    <a:lnTo>
                      <a:pt x="748" y="50"/>
                    </a:lnTo>
                    <a:lnTo>
                      <a:pt x="748" y="52"/>
                    </a:lnTo>
                    <a:lnTo>
                      <a:pt x="750" y="52"/>
                    </a:lnTo>
                    <a:lnTo>
                      <a:pt x="750" y="53"/>
                    </a:lnTo>
                    <a:lnTo>
                      <a:pt x="750" y="55"/>
                    </a:lnTo>
                    <a:lnTo>
                      <a:pt x="751" y="55"/>
                    </a:lnTo>
                    <a:lnTo>
                      <a:pt x="751" y="57"/>
                    </a:lnTo>
                    <a:lnTo>
                      <a:pt x="751" y="58"/>
                    </a:lnTo>
                    <a:lnTo>
                      <a:pt x="753" y="58"/>
                    </a:lnTo>
                    <a:lnTo>
                      <a:pt x="753" y="60"/>
                    </a:lnTo>
                    <a:lnTo>
                      <a:pt x="753" y="61"/>
                    </a:lnTo>
                    <a:lnTo>
                      <a:pt x="753" y="63"/>
                    </a:lnTo>
                    <a:lnTo>
                      <a:pt x="754" y="63"/>
                    </a:lnTo>
                    <a:lnTo>
                      <a:pt x="754" y="64"/>
                    </a:lnTo>
                    <a:lnTo>
                      <a:pt x="754" y="66"/>
                    </a:lnTo>
                    <a:lnTo>
                      <a:pt x="754" y="68"/>
                    </a:lnTo>
                    <a:lnTo>
                      <a:pt x="756" y="68"/>
                    </a:lnTo>
                    <a:lnTo>
                      <a:pt x="756" y="69"/>
                    </a:lnTo>
                    <a:lnTo>
                      <a:pt x="756" y="71"/>
                    </a:lnTo>
                    <a:lnTo>
                      <a:pt x="756" y="72"/>
                    </a:lnTo>
                    <a:lnTo>
                      <a:pt x="758" y="72"/>
                    </a:lnTo>
                    <a:lnTo>
                      <a:pt x="758" y="74"/>
                    </a:lnTo>
                    <a:lnTo>
                      <a:pt x="758" y="76"/>
                    </a:lnTo>
                    <a:lnTo>
                      <a:pt x="759" y="76"/>
                    </a:lnTo>
                    <a:lnTo>
                      <a:pt x="761" y="76"/>
                    </a:lnTo>
                    <a:lnTo>
                      <a:pt x="761" y="77"/>
                    </a:lnTo>
                    <a:lnTo>
                      <a:pt x="762" y="77"/>
                    </a:lnTo>
                    <a:lnTo>
                      <a:pt x="762" y="76"/>
                    </a:lnTo>
                    <a:lnTo>
                      <a:pt x="764" y="76"/>
                    </a:lnTo>
                    <a:lnTo>
                      <a:pt x="766" y="76"/>
                    </a:lnTo>
                    <a:lnTo>
                      <a:pt x="767" y="76"/>
                    </a:lnTo>
                    <a:lnTo>
                      <a:pt x="769" y="76"/>
                    </a:lnTo>
                    <a:lnTo>
                      <a:pt x="770" y="76"/>
                    </a:lnTo>
                    <a:lnTo>
                      <a:pt x="772" y="76"/>
                    </a:lnTo>
                    <a:lnTo>
                      <a:pt x="772" y="77"/>
                    </a:lnTo>
                    <a:lnTo>
                      <a:pt x="773" y="77"/>
                    </a:lnTo>
                    <a:lnTo>
                      <a:pt x="775" y="77"/>
                    </a:lnTo>
                    <a:lnTo>
                      <a:pt x="777" y="77"/>
                    </a:lnTo>
                    <a:lnTo>
                      <a:pt x="778" y="77"/>
                    </a:lnTo>
                    <a:lnTo>
                      <a:pt x="778" y="79"/>
                    </a:lnTo>
                    <a:lnTo>
                      <a:pt x="778" y="80"/>
                    </a:lnTo>
                    <a:lnTo>
                      <a:pt x="778" y="79"/>
                    </a:lnTo>
                    <a:lnTo>
                      <a:pt x="780" y="79"/>
                    </a:lnTo>
                    <a:lnTo>
                      <a:pt x="781" y="79"/>
                    </a:lnTo>
                    <a:lnTo>
                      <a:pt x="781" y="77"/>
                    </a:lnTo>
                    <a:lnTo>
                      <a:pt x="783" y="77"/>
                    </a:lnTo>
                    <a:lnTo>
                      <a:pt x="785" y="77"/>
                    </a:lnTo>
                    <a:lnTo>
                      <a:pt x="785" y="76"/>
                    </a:lnTo>
                    <a:lnTo>
                      <a:pt x="786" y="76"/>
                    </a:lnTo>
                    <a:lnTo>
                      <a:pt x="786" y="74"/>
                    </a:lnTo>
                    <a:lnTo>
                      <a:pt x="786" y="72"/>
                    </a:lnTo>
                    <a:lnTo>
                      <a:pt x="786" y="71"/>
                    </a:lnTo>
                    <a:lnTo>
                      <a:pt x="786" y="69"/>
                    </a:lnTo>
                    <a:lnTo>
                      <a:pt x="785" y="69"/>
                    </a:lnTo>
                    <a:lnTo>
                      <a:pt x="785" y="68"/>
                    </a:lnTo>
                    <a:lnTo>
                      <a:pt x="786" y="68"/>
                    </a:lnTo>
                    <a:lnTo>
                      <a:pt x="786" y="66"/>
                    </a:lnTo>
                    <a:lnTo>
                      <a:pt x="785" y="66"/>
                    </a:lnTo>
                    <a:lnTo>
                      <a:pt x="785" y="68"/>
                    </a:lnTo>
                    <a:lnTo>
                      <a:pt x="785" y="66"/>
                    </a:lnTo>
                    <a:lnTo>
                      <a:pt x="783" y="66"/>
                    </a:lnTo>
                    <a:lnTo>
                      <a:pt x="781" y="66"/>
                    </a:lnTo>
                    <a:lnTo>
                      <a:pt x="781" y="68"/>
                    </a:lnTo>
                    <a:lnTo>
                      <a:pt x="781" y="66"/>
                    </a:lnTo>
                    <a:lnTo>
                      <a:pt x="781" y="64"/>
                    </a:lnTo>
                    <a:lnTo>
                      <a:pt x="780" y="64"/>
                    </a:lnTo>
                    <a:lnTo>
                      <a:pt x="778" y="64"/>
                    </a:lnTo>
                    <a:lnTo>
                      <a:pt x="778" y="66"/>
                    </a:lnTo>
                    <a:lnTo>
                      <a:pt x="777" y="66"/>
                    </a:lnTo>
                    <a:lnTo>
                      <a:pt x="777" y="64"/>
                    </a:lnTo>
                    <a:lnTo>
                      <a:pt x="778" y="64"/>
                    </a:lnTo>
                    <a:lnTo>
                      <a:pt x="778" y="63"/>
                    </a:lnTo>
                    <a:lnTo>
                      <a:pt x="780" y="63"/>
                    </a:lnTo>
                    <a:lnTo>
                      <a:pt x="780" y="61"/>
                    </a:lnTo>
                    <a:lnTo>
                      <a:pt x="780" y="60"/>
                    </a:lnTo>
                    <a:lnTo>
                      <a:pt x="781" y="60"/>
                    </a:lnTo>
                    <a:lnTo>
                      <a:pt x="781" y="58"/>
                    </a:lnTo>
                    <a:lnTo>
                      <a:pt x="781" y="57"/>
                    </a:lnTo>
                    <a:lnTo>
                      <a:pt x="783" y="57"/>
                    </a:lnTo>
                    <a:lnTo>
                      <a:pt x="785" y="57"/>
                    </a:lnTo>
                    <a:lnTo>
                      <a:pt x="785" y="58"/>
                    </a:lnTo>
                    <a:lnTo>
                      <a:pt x="786" y="58"/>
                    </a:lnTo>
                    <a:lnTo>
                      <a:pt x="786" y="60"/>
                    </a:lnTo>
                    <a:lnTo>
                      <a:pt x="788" y="60"/>
                    </a:lnTo>
                    <a:lnTo>
                      <a:pt x="788" y="61"/>
                    </a:lnTo>
                    <a:lnTo>
                      <a:pt x="789" y="61"/>
                    </a:lnTo>
                    <a:lnTo>
                      <a:pt x="789" y="63"/>
                    </a:lnTo>
                    <a:lnTo>
                      <a:pt x="791" y="63"/>
                    </a:lnTo>
                    <a:lnTo>
                      <a:pt x="791" y="64"/>
                    </a:lnTo>
                    <a:lnTo>
                      <a:pt x="791" y="66"/>
                    </a:lnTo>
                    <a:lnTo>
                      <a:pt x="791" y="68"/>
                    </a:lnTo>
                    <a:lnTo>
                      <a:pt x="792" y="68"/>
                    </a:lnTo>
                    <a:lnTo>
                      <a:pt x="792" y="69"/>
                    </a:lnTo>
                    <a:lnTo>
                      <a:pt x="792" y="71"/>
                    </a:lnTo>
                    <a:lnTo>
                      <a:pt x="794" y="71"/>
                    </a:lnTo>
                    <a:lnTo>
                      <a:pt x="796" y="71"/>
                    </a:lnTo>
                    <a:lnTo>
                      <a:pt x="796" y="72"/>
                    </a:lnTo>
                    <a:lnTo>
                      <a:pt x="797" y="72"/>
                    </a:lnTo>
                    <a:lnTo>
                      <a:pt x="797" y="74"/>
                    </a:lnTo>
                    <a:lnTo>
                      <a:pt x="797" y="76"/>
                    </a:lnTo>
                    <a:lnTo>
                      <a:pt x="797" y="77"/>
                    </a:lnTo>
                    <a:lnTo>
                      <a:pt x="796" y="77"/>
                    </a:lnTo>
                    <a:lnTo>
                      <a:pt x="796" y="79"/>
                    </a:lnTo>
                    <a:lnTo>
                      <a:pt x="794" y="79"/>
                    </a:lnTo>
                    <a:lnTo>
                      <a:pt x="794" y="80"/>
                    </a:lnTo>
                    <a:lnTo>
                      <a:pt x="792" y="80"/>
                    </a:lnTo>
                    <a:lnTo>
                      <a:pt x="791" y="80"/>
                    </a:lnTo>
                    <a:lnTo>
                      <a:pt x="791" y="82"/>
                    </a:lnTo>
                    <a:lnTo>
                      <a:pt x="789" y="82"/>
                    </a:lnTo>
                    <a:lnTo>
                      <a:pt x="788" y="82"/>
                    </a:lnTo>
                    <a:lnTo>
                      <a:pt x="788" y="83"/>
                    </a:lnTo>
                    <a:lnTo>
                      <a:pt x="786" y="83"/>
                    </a:lnTo>
                    <a:lnTo>
                      <a:pt x="786" y="85"/>
                    </a:lnTo>
                    <a:lnTo>
                      <a:pt x="785" y="85"/>
                    </a:lnTo>
                    <a:lnTo>
                      <a:pt x="785" y="87"/>
                    </a:lnTo>
                    <a:lnTo>
                      <a:pt x="783" y="87"/>
                    </a:lnTo>
                    <a:lnTo>
                      <a:pt x="781" y="87"/>
                    </a:lnTo>
                    <a:lnTo>
                      <a:pt x="781" y="88"/>
                    </a:lnTo>
                    <a:lnTo>
                      <a:pt x="780" y="88"/>
                    </a:lnTo>
                    <a:lnTo>
                      <a:pt x="778" y="88"/>
                    </a:lnTo>
                    <a:lnTo>
                      <a:pt x="778" y="90"/>
                    </a:lnTo>
                    <a:lnTo>
                      <a:pt x="777" y="90"/>
                    </a:lnTo>
                    <a:lnTo>
                      <a:pt x="775" y="90"/>
                    </a:lnTo>
                    <a:lnTo>
                      <a:pt x="775" y="91"/>
                    </a:lnTo>
                    <a:lnTo>
                      <a:pt x="775" y="90"/>
                    </a:lnTo>
                    <a:lnTo>
                      <a:pt x="773" y="90"/>
                    </a:lnTo>
                    <a:lnTo>
                      <a:pt x="772" y="90"/>
                    </a:lnTo>
                    <a:lnTo>
                      <a:pt x="770" y="90"/>
                    </a:lnTo>
                    <a:lnTo>
                      <a:pt x="770" y="91"/>
                    </a:lnTo>
                    <a:lnTo>
                      <a:pt x="769" y="91"/>
                    </a:lnTo>
                    <a:lnTo>
                      <a:pt x="769" y="93"/>
                    </a:lnTo>
                    <a:lnTo>
                      <a:pt x="767" y="93"/>
                    </a:lnTo>
                    <a:lnTo>
                      <a:pt x="767" y="95"/>
                    </a:lnTo>
                    <a:lnTo>
                      <a:pt x="767" y="93"/>
                    </a:lnTo>
                    <a:lnTo>
                      <a:pt x="769" y="93"/>
                    </a:lnTo>
                    <a:lnTo>
                      <a:pt x="769" y="91"/>
                    </a:lnTo>
                    <a:lnTo>
                      <a:pt x="770" y="91"/>
                    </a:lnTo>
                    <a:lnTo>
                      <a:pt x="772" y="91"/>
                    </a:lnTo>
                    <a:lnTo>
                      <a:pt x="772" y="90"/>
                    </a:lnTo>
                    <a:lnTo>
                      <a:pt x="772" y="91"/>
                    </a:lnTo>
                    <a:lnTo>
                      <a:pt x="772" y="90"/>
                    </a:lnTo>
                    <a:lnTo>
                      <a:pt x="773" y="90"/>
                    </a:lnTo>
                    <a:lnTo>
                      <a:pt x="773" y="91"/>
                    </a:lnTo>
                    <a:lnTo>
                      <a:pt x="775" y="91"/>
                    </a:lnTo>
                    <a:lnTo>
                      <a:pt x="777" y="91"/>
                    </a:lnTo>
                    <a:lnTo>
                      <a:pt x="777" y="90"/>
                    </a:lnTo>
                    <a:lnTo>
                      <a:pt x="777" y="91"/>
                    </a:lnTo>
                    <a:lnTo>
                      <a:pt x="777" y="93"/>
                    </a:lnTo>
                    <a:lnTo>
                      <a:pt x="775" y="93"/>
                    </a:lnTo>
                    <a:lnTo>
                      <a:pt x="775" y="95"/>
                    </a:lnTo>
                    <a:lnTo>
                      <a:pt x="773" y="95"/>
                    </a:lnTo>
                    <a:lnTo>
                      <a:pt x="773" y="96"/>
                    </a:lnTo>
                    <a:lnTo>
                      <a:pt x="773" y="98"/>
                    </a:lnTo>
                    <a:lnTo>
                      <a:pt x="772" y="98"/>
                    </a:lnTo>
                    <a:lnTo>
                      <a:pt x="772" y="99"/>
                    </a:lnTo>
                    <a:lnTo>
                      <a:pt x="773" y="99"/>
                    </a:lnTo>
                    <a:lnTo>
                      <a:pt x="775" y="99"/>
                    </a:lnTo>
                    <a:lnTo>
                      <a:pt x="777" y="99"/>
                    </a:lnTo>
                    <a:lnTo>
                      <a:pt x="775" y="99"/>
                    </a:lnTo>
                    <a:lnTo>
                      <a:pt x="775" y="101"/>
                    </a:lnTo>
                    <a:lnTo>
                      <a:pt x="773" y="101"/>
                    </a:lnTo>
                    <a:lnTo>
                      <a:pt x="775" y="101"/>
                    </a:lnTo>
                    <a:lnTo>
                      <a:pt x="773" y="101"/>
                    </a:lnTo>
                    <a:lnTo>
                      <a:pt x="775" y="101"/>
                    </a:lnTo>
                    <a:lnTo>
                      <a:pt x="773" y="101"/>
                    </a:lnTo>
                    <a:lnTo>
                      <a:pt x="775" y="101"/>
                    </a:lnTo>
                    <a:lnTo>
                      <a:pt x="775" y="102"/>
                    </a:lnTo>
                    <a:lnTo>
                      <a:pt x="775" y="104"/>
                    </a:lnTo>
                    <a:lnTo>
                      <a:pt x="777" y="104"/>
                    </a:lnTo>
                    <a:lnTo>
                      <a:pt x="775" y="104"/>
                    </a:lnTo>
                    <a:lnTo>
                      <a:pt x="773" y="104"/>
                    </a:lnTo>
                    <a:lnTo>
                      <a:pt x="773" y="106"/>
                    </a:lnTo>
                    <a:lnTo>
                      <a:pt x="772" y="106"/>
                    </a:lnTo>
                    <a:lnTo>
                      <a:pt x="770" y="106"/>
                    </a:lnTo>
                    <a:lnTo>
                      <a:pt x="772" y="106"/>
                    </a:lnTo>
                    <a:lnTo>
                      <a:pt x="773" y="106"/>
                    </a:lnTo>
                    <a:lnTo>
                      <a:pt x="773" y="104"/>
                    </a:lnTo>
                    <a:lnTo>
                      <a:pt x="775" y="104"/>
                    </a:lnTo>
                    <a:lnTo>
                      <a:pt x="775" y="106"/>
                    </a:lnTo>
                    <a:lnTo>
                      <a:pt x="777" y="106"/>
                    </a:lnTo>
                    <a:lnTo>
                      <a:pt x="778" y="106"/>
                    </a:lnTo>
                    <a:lnTo>
                      <a:pt x="780" y="106"/>
                    </a:lnTo>
                    <a:lnTo>
                      <a:pt x="780" y="107"/>
                    </a:lnTo>
                    <a:lnTo>
                      <a:pt x="780" y="106"/>
                    </a:lnTo>
                    <a:lnTo>
                      <a:pt x="778" y="106"/>
                    </a:lnTo>
                    <a:lnTo>
                      <a:pt x="777" y="106"/>
                    </a:lnTo>
                    <a:lnTo>
                      <a:pt x="777" y="104"/>
                    </a:lnTo>
                    <a:lnTo>
                      <a:pt x="777" y="102"/>
                    </a:lnTo>
                    <a:lnTo>
                      <a:pt x="778" y="102"/>
                    </a:lnTo>
                    <a:lnTo>
                      <a:pt x="778" y="101"/>
                    </a:lnTo>
                    <a:lnTo>
                      <a:pt x="780" y="101"/>
                    </a:lnTo>
                    <a:lnTo>
                      <a:pt x="781" y="101"/>
                    </a:lnTo>
                    <a:lnTo>
                      <a:pt x="783" y="101"/>
                    </a:lnTo>
                    <a:lnTo>
                      <a:pt x="785" y="101"/>
                    </a:lnTo>
                    <a:lnTo>
                      <a:pt x="786" y="101"/>
                    </a:lnTo>
                    <a:lnTo>
                      <a:pt x="786" y="99"/>
                    </a:lnTo>
                    <a:lnTo>
                      <a:pt x="788" y="99"/>
                    </a:lnTo>
                    <a:lnTo>
                      <a:pt x="789" y="99"/>
                    </a:lnTo>
                    <a:lnTo>
                      <a:pt x="789" y="101"/>
                    </a:lnTo>
                    <a:lnTo>
                      <a:pt x="789" y="102"/>
                    </a:lnTo>
                    <a:lnTo>
                      <a:pt x="789" y="104"/>
                    </a:lnTo>
                    <a:lnTo>
                      <a:pt x="789" y="106"/>
                    </a:lnTo>
                    <a:lnTo>
                      <a:pt x="788" y="106"/>
                    </a:lnTo>
                    <a:lnTo>
                      <a:pt x="786" y="106"/>
                    </a:lnTo>
                    <a:lnTo>
                      <a:pt x="786" y="104"/>
                    </a:lnTo>
                    <a:lnTo>
                      <a:pt x="785" y="104"/>
                    </a:lnTo>
                    <a:lnTo>
                      <a:pt x="785" y="106"/>
                    </a:lnTo>
                    <a:lnTo>
                      <a:pt x="785" y="107"/>
                    </a:lnTo>
                    <a:lnTo>
                      <a:pt x="783" y="107"/>
                    </a:lnTo>
                    <a:lnTo>
                      <a:pt x="781" y="107"/>
                    </a:lnTo>
                    <a:lnTo>
                      <a:pt x="781" y="109"/>
                    </a:lnTo>
                    <a:lnTo>
                      <a:pt x="780" y="109"/>
                    </a:lnTo>
                    <a:lnTo>
                      <a:pt x="780" y="110"/>
                    </a:lnTo>
                    <a:lnTo>
                      <a:pt x="780" y="109"/>
                    </a:lnTo>
                    <a:lnTo>
                      <a:pt x="778" y="109"/>
                    </a:lnTo>
                    <a:lnTo>
                      <a:pt x="777" y="109"/>
                    </a:lnTo>
                    <a:lnTo>
                      <a:pt x="777" y="110"/>
                    </a:lnTo>
                    <a:lnTo>
                      <a:pt x="777" y="109"/>
                    </a:lnTo>
                    <a:lnTo>
                      <a:pt x="778" y="109"/>
                    </a:lnTo>
                    <a:lnTo>
                      <a:pt x="778" y="110"/>
                    </a:lnTo>
                    <a:lnTo>
                      <a:pt x="780" y="110"/>
                    </a:lnTo>
                    <a:lnTo>
                      <a:pt x="781" y="110"/>
                    </a:lnTo>
                    <a:lnTo>
                      <a:pt x="781" y="109"/>
                    </a:lnTo>
                    <a:lnTo>
                      <a:pt x="781" y="107"/>
                    </a:lnTo>
                    <a:lnTo>
                      <a:pt x="783" y="107"/>
                    </a:lnTo>
                    <a:lnTo>
                      <a:pt x="785" y="107"/>
                    </a:lnTo>
                    <a:lnTo>
                      <a:pt x="785" y="109"/>
                    </a:lnTo>
                    <a:lnTo>
                      <a:pt x="785" y="107"/>
                    </a:lnTo>
                    <a:lnTo>
                      <a:pt x="785" y="106"/>
                    </a:lnTo>
                    <a:lnTo>
                      <a:pt x="786" y="106"/>
                    </a:lnTo>
                    <a:lnTo>
                      <a:pt x="788" y="106"/>
                    </a:lnTo>
                    <a:lnTo>
                      <a:pt x="789" y="106"/>
                    </a:lnTo>
                    <a:lnTo>
                      <a:pt x="791" y="106"/>
                    </a:lnTo>
                    <a:lnTo>
                      <a:pt x="791" y="107"/>
                    </a:lnTo>
                    <a:lnTo>
                      <a:pt x="791" y="109"/>
                    </a:lnTo>
                    <a:lnTo>
                      <a:pt x="791" y="110"/>
                    </a:lnTo>
                    <a:lnTo>
                      <a:pt x="792" y="110"/>
                    </a:lnTo>
                    <a:lnTo>
                      <a:pt x="792" y="112"/>
                    </a:lnTo>
                    <a:lnTo>
                      <a:pt x="791" y="112"/>
                    </a:lnTo>
                    <a:lnTo>
                      <a:pt x="791" y="110"/>
                    </a:lnTo>
                    <a:lnTo>
                      <a:pt x="791" y="112"/>
                    </a:lnTo>
                    <a:lnTo>
                      <a:pt x="792" y="112"/>
                    </a:lnTo>
                    <a:lnTo>
                      <a:pt x="792" y="114"/>
                    </a:lnTo>
                    <a:lnTo>
                      <a:pt x="794" y="114"/>
                    </a:lnTo>
                    <a:lnTo>
                      <a:pt x="792" y="115"/>
                    </a:lnTo>
                    <a:lnTo>
                      <a:pt x="789" y="118"/>
                    </a:lnTo>
                    <a:lnTo>
                      <a:pt x="786" y="123"/>
                    </a:lnTo>
                    <a:lnTo>
                      <a:pt x="781" y="128"/>
                    </a:lnTo>
                    <a:lnTo>
                      <a:pt x="780" y="128"/>
                    </a:lnTo>
                    <a:lnTo>
                      <a:pt x="778" y="129"/>
                    </a:lnTo>
                    <a:lnTo>
                      <a:pt x="777" y="131"/>
                    </a:lnTo>
                    <a:lnTo>
                      <a:pt x="775" y="131"/>
                    </a:lnTo>
                    <a:lnTo>
                      <a:pt x="775" y="133"/>
                    </a:lnTo>
                    <a:lnTo>
                      <a:pt x="773" y="134"/>
                    </a:lnTo>
                    <a:lnTo>
                      <a:pt x="773" y="137"/>
                    </a:lnTo>
                    <a:lnTo>
                      <a:pt x="772" y="139"/>
                    </a:lnTo>
                    <a:lnTo>
                      <a:pt x="772" y="142"/>
                    </a:lnTo>
                    <a:lnTo>
                      <a:pt x="770" y="142"/>
                    </a:lnTo>
                    <a:lnTo>
                      <a:pt x="769" y="144"/>
                    </a:lnTo>
                    <a:lnTo>
                      <a:pt x="762" y="147"/>
                    </a:lnTo>
                    <a:lnTo>
                      <a:pt x="761" y="147"/>
                    </a:lnTo>
                    <a:lnTo>
                      <a:pt x="761" y="148"/>
                    </a:lnTo>
                    <a:lnTo>
                      <a:pt x="761" y="147"/>
                    </a:lnTo>
                    <a:lnTo>
                      <a:pt x="759" y="147"/>
                    </a:lnTo>
                    <a:lnTo>
                      <a:pt x="758" y="147"/>
                    </a:lnTo>
                    <a:lnTo>
                      <a:pt x="756" y="147"/>
                    </a:lnTo>
                    <a:lnTo>
                      <a:pt x="754" y="147"/>
                    </a:lnTo>
                    <a:lnTo>
                      <a:pt x="753" y="147"/>
                    </a:lnTo>
                    <a:lnTo>
                      <a:pt x="751" y="147"/>
                    </a:lnTo>
                    <a:lnTo>
                      <a:pt x="750" y="148"/>
                    </a:lnTo>
                    <a:lnTo>
                      <a:pt x="748" y="148"/>
                    </a:lnTo>
                    <a:lnTo>
                      <a:pt x="747" y="148"/>
                    </a:lnTo>
                    <a:lnTo>
                      <a:pt x="745" y="148"/>
                    </a:lnTo>
                    <a:lnTo>
                      <a:pt x="743" y="148"/>
                    </a:lnTo>
                    <a:lnTo>
                      <a:pt x="743" y="150"/>
                    </a:lnTo>
                    <a:lnTo>
                      <a:pt x="737" y="153"/>
                    </a:lnTo>
                    <a:lnTo>
                      <a:pt x="735" y="153"/>
                    </a:lnTo>
                    <a:lnTo>
                      <a:pt x="734" y="155"/>
                    </a:lnTo>
                    <a:lnTo>
                      <a:pt x="731" y="156"/>
                    </a:lnTo>
                    <a:lnTo>
                      <a:pt x="729" y="156"/>
                    </a:lnTo>
                    <a:lnTo>
                      <a:pt x="728" y="158"/>
                    </a:lnTo>
                    <a:lnTo>
                      <a:pt x="724" y="161"/>
                    </a:lnTo>
                    <a:lnTo>
                      <a:pt x="720" y="167"/>
                    </a:lnTo>
                    <a:lnTo>
                      <a:pt x="718" y="169"/>
                    </a:lnTo>
                    <a:lnTo>
                      <a:pt x="716" y="169"/>
                    </a:lnTo>
                    <a:lnTo>
                      <a:pt x="716" y="171"/>
                    </a:lnTo>
                    <a:lnTo>
                      <a:pt x="713" y="174"/>
                    </a:lnTo>
                    <a:lnTo>
                      <a:pt x="712" y="174"/>
                    </a:lnTo>
                    <a:lnTo>
                      <a:pt x="710" y="174"/>
                    </a:lnTo>
                    <a:lnTo>
                      <a:pt x="709" y="174"/>
                    </a:lnTo>
                    <a:lnTo>
                      <a:pt x="709" y="175"/>
                    </a:lnTo>
                    <a:lnTo>
                      <a:pt x="705" y="177"/>
                    </a:lnTo>
                    <a:lnTo>
                      <a:pt x="702" y="180"/>
                    </a:lnTo>
                    <a:lnTo>
                      <a:pt x="701" y="182"/>
                    </a:lnTo>
                    <a:lnTo>
                      <a:pt x="699" y="183"/>
                    </a:lnTo>
                    <a:lnTo>
                      <a:pt x="699" y="185"/>
                    </a:lnTo>
                    <a:lnTo>
                      <a:pt x="697" y="185"/>
                    </a:lnTo>
                    <a:lnTo>
                      <a:pt x="697" y="186"/>
                    </a:lnTo>
                    <a:lnTo>
                      <a:pt x="696" y="186"/>
                    </a:lnTo>
                    <a:lnTo>
                      <a:pt x="694" y="188"/>
                    </a:lnTo>
                    <a:lnTo>
                      <a:pt x="691" y="190"/>
                    </a:lnTo>
                    <a:lnTo>
                      <a:pt x="690" y="191"/>
                    </a:lnTo>
                    <a:lnTo>
                      <a:pt x="688" y="193"/>
                    </a:lnTo>
                    <a:lnTo>
                      <a:pt x="688" y="194"/>
                    </a:lnTo>
                    <a:lnTo>
                      <a:pt x="685" y="198"/>
                    </a:lnTo>
                    <a:lnTo>
                      <a:pt x="680" y="199"/>
                    </a:lnTo>
                    <a:lnTo>
                      <a:pt x="678" y="201"/>
                    </a:lnTo>
                    <a:lnTo>
                      <a:pt x="677" y="201"/>
                    </a:lnTo>
                    <a:lnTo>
                      <a:pt x="677" y="202"/>
                    </a:lnTo>
                    <a:lnTo>
                      <a:pt x="675" y="202"/>
                    </a:lnTo>
                    <a:lnTo>
                      <a:pt x="675" y="204"/>
                    </a:lnTo>
                    <a:lnTo>
                      <a:pt x="674" y="204"/>
                    </a:lnTo>
                    <a:lnTo>
                      <a:pt x="672" y="205"/>
                    </a:lnTo>
                    <a:lnTo>
                      <a:pt x="672" y="207"/>
                    </a:lnTo>
                    <a:lnTo>
                      <a:pt x="671" y="207"/>
                    </a:lnTo>
                    <a:lnTo>
                      <a:pt x="671" y="209"/>
                    </a:lnTo>
                    <a:lnTo>
                      <a:pt x="669" y="209"/>
                    </a:lnTo>
                    <a:lnTo>
                      <a:pt x="667" y="212"/>
                    </a:lnTo>
                    <a:lnTo>
                      <a:pt x="664" y="213"/>
                    </a:lnTo>
                    <a:lnTo>
                      <a:pt x="663" y="217"/>
                    </a:lnTo>
                    <a:lnTo>
                      <a:pt x="658" y="220"/>
                    </a:lnTo>
                    <a:lnTo>
                      <a:pt x="655" y="221"/>
                    </a:lnTo>
                    <a:lnTo>
                      <a:pt x="652" y="223"/>
                    </a:lnTo>
                    <a:lnTo>
                      <a:pt x="650" y="224"/>
                    </a:lnTo>
                    <a:lnTo>
                      <a:pt x="650" y="226"/>
                    </a:lnTo>
                    <a:lnTo>
                      <a:pt x="648" y="226"/>
                    </a:lnTo>
                    <a:lnTo>
                      <a:pt x="648" y="224"/>
                    </a:lnTo>
                    <a:lnTo>
                      <a:pt x="648" y="226"/>
                    </a:lnTo>
                    <a:lnTo>
                      <a:pt x="647" y="226"/>
                    </a:lnTo>
                    <a:lnTo>
                      <a:pt x="644" y="228"/>
                    </a:lnTo>
                    <a:lnTo>
                      <a:pt x="642" y="228"/>
                    </a:lnTo>
                    <a:lnTo>
                      <a:pt x="640" y="228"/>
                    </a:lnTo>
                    <a:lnTo>
                      <a:pt x="639" y="228"/>
                    </a:lnTo>
                    <a:lnTo>
                      <a:pt x="639" y="229"/>
                    </a:lnTo>
                    <a:lnTo>
                      <a:pt x="637" y="229"/>
                    </a:lnTo>
                    <a:lnTo>
                      <a:pt x="636" y="229"/>
                    </a:lnTo>
                    <a:lnTo>
                      <a:pt x="634" y="229"/>
                    </a:lnTo>
                    <a:lnTo>
                      <a:pt x="632" y="229"/>
                    </a:lnTo>
                    <a:lnTo>
                      <a:pt x="631" y="229"/>
                    </a:lnTo>
                    <a:lnTo>
                      <a:pt x="629" y="231"/>
                    </a:lnTo>
                    <a:lnTo>
                      <a:pt x="626" y="231"/>
                    </a:lnTo>
                    <a:lnTo>
                      <a:pt x="620" y="234"/>
                    </a:lnTo>
                    <a:lnTo>
                      <a:pt x="615" y="236"/>
                    </a:lnTo>
                    <a:lnTo>
                      <a:pt x="612" y="237"/>
                    </a:lnTo>
                    <a:lnTo>
                      <a:pt x="610" y="239"/>
                    </a:lnTo>
                    <a:lnTo>
                      <a:pt x="609" y="239"/>
                    </a:lnTo>
                    <a:lnTo>
                      <a:pt x="609" y="240"/>
                    </a:lnTo>
                    <a:lnTo>
                      <a:pt x="607" y="242"/>
                    </a:lnTo>
                    <a:lnTo>
                      <a:pt x="601" y="247"/>
                    </a:lnTo>
                    <a:lnTo>
                      <a:pt x="599" y="247"/>
                    </a:lnTo>
                    <a:lnTo>
                      <a:pt x="598" y="247"/>
                    </a:lnTo>
                    <a:lnTo>
                      <a:pt x="596" y="248"/>
                    </a:lnTo>
                    <a:lnTo>
                      <a:pt x="594" y="250"/>
                    </a:lnTo>
                    <a:lnTo>
                      <a:pt x="588" y="253"/>
                    </a:lnTo>
                    <a:lnTo>
                      <a:pt x="587" y="255"/>
                    </a:lnTo>
                    <a:lnTo>
                      <a:pt x="585" y="255"/>
                    </a:lnTo>
                    <a:lnTo>
                      <a:pt x="583" y="255"/>
                    </a:lnTo>
                    <a:lnTo>
                      <a:pt x="583" y="256"/>
                    </a:lnTo>
                    <a:lnTo>
                      <a:pt x="582" y="256"/>
                    </a:lnTo>
                    <a:lnTo>
                      <a:pt x="580" y="256"/>
                    </a:lnTo>
                    <a:lnTo>
                      <a:pt x="579" y="256"/>
                    </a:lnTo>
                    <a:lnTo>
                      <a:pt x="577" y="258"/>
                    </a:lnTo>
                    <a:lnTo>
                      <a:pt x="575" y="258"/>
                    </a:lnTo>
                    <a:lnTo>
                      <a:pt x="574" y="259"/>
                    </a:lnTo>
                    <a:lnTo>
                      <a:pt x="563" y="264"/>
                    </a:lnTo>
                    <a:lnTo>
                      <a:pt x="561" y="264"/>
                    </a:lnTo>
                    <a:lnTo>
                      <a:pt x="560" y="266"/>
                    </a:lnTo>
                    <a:lnTo>
                      <a:pt x="556" y="266"/>
                    </a:lnTo>
                    <a:lnTo>
                      <a:pt x="553" y="267"/>
                    </a:lnTo>
                    <a:lnTo>
                      <a:pt x="552" y="267"/>
                    </a:lnTo>
                    <a:lnTo>
                      <a:pt x="549" y="267"/>
                    </a:lnTo>
                    <a:lnTo>
                      <a:pt x="545" y="267"/>
                    </a:lnTo>
                    <a:lnTo>
                      <a:pt x="542" y="267"/>
                    </a:lnTo>
                    <a:lnTo>
                      <a:pt x="541" y="267"/>
                    </a:lnTo>
                    <a:lnTo>
                      <a:pt x="541" y="269"/>
                    </a:lnTo>
                    <a:lnTo>
                      <a:pt x="534" y="269"/>
                    </a:lnTo>
                    <a:lnTo>
                      <a:pt x="533" y="269"/>
                    </a:lnTo>
                    <a:lnTo>
                      <a:pt x="531" y="269"/>
                    </a:lnTo>
                    <a:lnTo>
                      <a:pt x="530" y="269"/>
                    </a:lnTo>
                    <a:lnTo>
                      <a:pt x="526" y="270"/>
                    </a:lnTo>
                    <a:lnTo>
                      <a:pt x="525" y="270"/>
                    </a:lnTo>
                    <a:lnTo>
                      <a:pt x="523" y="272"/>
                    </a:lnTo>
                    <a:lnTo>
                      <a:pt x="522" y="272"/>
                    </a:lnTo>
                    <a:lnTo>
                      <a:pt x="520" y="272"/>
                    </a:lnTo>
                    <a:lnTo>
                      <a:pt x="518" y="274"/>
                    </a:lnTo>
                    <a:lnTo>
                      <a:pt x="517" y="275"/>
                    </a:lnTo>
                    <a:lnTo>
                      <a:pt x="514" y="277"/>
                    </a:lnTo>
                    <a:lnTo>
                      <a:pt x="512" y="277"/>
                    </a:lnTo>
                    <a:lnTo>
                      <a:pt x="509" y="278"/>
                    </a:lnTo>
                    <a:lnTo>
                      <a:pt x="507" y="278"/>
                    </a:lnTo>
                    <a:lnTo>
                      <a:pt x="506" y="278"/>
                    </a:lnTo>
                    <a:lnTo>
                      <a:pt x="501" y="280"/>
                    </a:lnTo>
                    <a:lnTo>
                      <a:pt x="499" y="280"/>
                    </a:lnTo>
                    <a:lnTo>
                      <a:pt x="498" y="281"/>
                    </a:lnTo>
                    <a:lnTo>
                      <a:pt x="496" y="281"/>
                    </a:lnTo>
                    <a:lnTo>
                      <a:pt x="496" y="283"/>
                    </a:lnTo>
                    <a:lnTo>
                      <a:pt x="495" y="283"/>
                    </a:lnTo>
                    <a:lnTo>
                      <a:pt x="493" y="285"/>
                    </a:lnTo>
                    <a:lnTo>
                      <a:pt x="492" y="286"/>
                    </a:lnTo>
                    <a:lnTo>
                      <a:pt x="490" y="288"/>
                    </a:lnTo>
                    <a:lnTo>
                      <a:pt x="490" y="289"/>
                    </a:lnTo>
                    <a:lnTo>
                      <a:pt x="488" y="289"/>
                    </a:lnTo>
                    <a:lnTo>
                      <a:pt x="487" y="291"/>
                    </a:lnTo>
                    <a:lnTo>
                      <a:pt x="484" y="293"/>
                    </a:lnTo>
                    <a:lnTo>
                      <a:pt x="482" y="293"/>
                    </a:lnTo>
                    <a:lnTo>
                      <a:pt x="473" y="300"/>
                    </a:lnTo>
                    <a:lnTo>
                      <a:pt x="469" y="302"/>
                    </a:lnTo>
                    <a:lnTo>
                      <a:pt x="468" y="304"/>
                    </a:lnTo>
                    <a:lnTo>
                      <a:pt x="461" y="305"/>
                    </a:lnTo>
                    <a:lnTo>
                      <a:pt x="460" y="305"/>
                    </a:lnTo>
                    <a:lnTo>
                      <a:pt x="458" y="305"/>
                    </a:lnTo>
                    <a:lnTo>
                      <a:pt x="457" y="307"/>
                    </a:lnTo>
                    <a:lnTo>
                      <a:pt x="453" y="308"/>
                    </a:lnTo>
                    <a:lnTo>
                      <a:pt x="452" y="310"/>
                    </a:lnTo>
                    <a:lnTo>
                      <a:pt x="450" y="310"/>
                    </a:lnTo>
                    <a:lnTo>
                      <a:pt x="449" y="312"/>
                    </a:lnTo>
                    <a:lnTo>
                      <a:pt x="446" y="312"/>
                    </a:lnTo>
                    <a:lnTo>
                      <a:pt x="446" y="313"/>
                    </a:lnTo>
                    <a:lnTo>
                      <a:pt x="442" y="315"/>
                    </a:lnTo>
                    <a:lnTo>
                      <a:pt x="441" y="318"/>
                    </a:lnTo>
                    <a:lnTo>
                      <a:pt x="438" y="319"/>
                    </a:lnTo>
                    <a:lnTo>
                      <a:pt x="438" y="321"/>
                    </a:lnTo>
                    <a:lnTo>
                      <a:pt x="434" y="323"/>
                    </a:lnTo>
                    <a:lnTo>
                      <a:pt x="433" y="324"/>
                    </a:lnTo>
                    <a:lnTo>
                      <a:pt x="428" y="329"/>
                    </a:lnTo>
                    <a:lnTo>
                      <a:pt x="425" y="332"/>
                    </a:lnTo>
                    <a:lnTo>
                      <a:pt x="423" y="332"/>
                    </a:lnTo>
                    <a:lnTo>
                      <a:pt x="422" y="334"/>
                    </a:lnTo>
                    <a:lnTo>
                      <a:pt x="414" y="340"/>
                    </a:lnTo>
                    <a:lnTo>
                      <a:pt x="411" y="342"/>
                    </a:lnTo>
                    <a:lnTo>
                      <a:pt x="409" y="342"/>
                    </a:lnTo>
                    <a:lnTo>
                      <a:pt x="406" y="343"/>
                    </a:lnTo>
                    <a:lnTo>
                      <a:pt x="401" y="343"/>
                    </a:lnTo>
                    <a:lnTo>
                      <a:pt x="400" y="343"/>
                    </a:lnTo>
                    <a:lnTo>
                      <a:pt x="396" y="343"/>
                    </a:lnTo>
                    <a:lnTo>
                      <a:pt x="393" y="342"/>
                    </a:lnTo>
                    <a:lnTo>
                      <a:pt x="392" y="342"/>
                    </a:lnTo>
                    <a:lnTo>
                      <a:pt x="390" y="338"/>
                    </a:lnTo>
                    <a:lnTo>
                      <a:pt x="389" y="338"/>
                    </a:lnTo>
                    <a:lnTo>
                      <a:pt x="387" y="337"/>
                    </a:lnTo>
                    <a:lnTo>
                      <a:pt x="385" y="337"/>
                    </a:lnTo>
                    <a:lnTo>
                      <a:pt x="384" y="337"/>
                    </a:lnTo>
                    <a:lnTo>
                      <a:pt x="381" y="337"/>
                    </a:lnTo>
                    <a:lnTo>
                      <a:pt x="377" y="337"/>
                    </a:lnTo>
                    <a:lnTo>
                      <a:pt x="376" y="335"/>
                    </a:lnTo>
                    <a:lnTo>
                      <a:pt x="373" y="334"/>
                    </a:lnTo>
                    <a:lnTo>
                      <a:pt x="371" y="334"/>
                    </a:lnTo>
                    <a:lnTo>
                      <a:pt x="362" y="335"/>
                    </a:lnTo>
                    <a:lnTo>
                      <a:pt x="360" y="337"/>
                    </a:lnTo>
                    <a:lnTo>
                      <a:pt x="358" y="337"/>
                    </a:lnTo>
                    <a:lnTo>
                      <a:pt x="357" y="337"/>
                    </a:lnTo>
                    <a:lnTo>
                      <a:pt x="354" y="338"/>
                    </a:lnTo>
                    <a:lnTo>
                      <a:pt x="352" y="338"/>
                    </a:lnTo>
                    <a:lnTo>
                      <a:pt x="347" y="340"/>
                    </a:lnTo>
                    <a:lnTo>
                      <a:pt x="343" y="342"/>
                    </a:lnTo>
                    <a:lnTo>
                      <a:pt x="341" y="342"/>
                    </a:lnTo>
                    <a:lnTo>
                      <a:pt x="339" y="342"/>
                    </a:lnTo>
                    <a:lnTo>
                      <a:pt x="336" y="340"/>
                    </a:lnTo>
                    <a:lnTo>
                      <a:pt x="330" y="342"/>
                    </a:lnTo>
                    <a:lnTo>
                      <a:pt x="328" y="342"/>
                    </a:lnTo>
                    <a:lnTo>
                      <a:pt x="327" y="342"/>
                    </a:lnTo>
                    <a:lnTo>
                      <a:pt x="320" y="342"/>
                    </a:lnTo>
                    <a:lnTo>
                      <a:pt x="319" y="342"/>
                    </a:lnTo>
                    <a:lnTo>
                      <a:pt x="317" y="342"/>
                    </a:lnTo>
                    <a:lnTo>
                      <a:pt x="316" y="342"/>
                    </a:lnTo>
                    <a:lnTo>
                      <a:pt x="314" y="342"/>
                    </a:lnTo>
                    <a:lnTo>
                      <a:pt x="311" y="342"/>
                    </a:lnTo>
                    <a:lnTo>
                      <a:pt x="309" y="342"/>
                    </a:lnTo>
                    <a:lnTo>
                      <a:pt x="306" y="340"/>
                    </a:lnTo>
                    <a:lnTo>
                      <a:pt x="305" y="340"/>
                    </a:lnTo>
                    <a:lnTo>
                      <a:pt x="303" y="340"/>
                    </a:lnTo>
                    <a:lnTo>
                      <a:pt x="301" y="340"/>
                    </a:lnTo>
                    <a:lnTo>
                      <a:pt x="300" y="340"/>
                    </a:lnTo>
                    <a:lnTo>
                      <a:pt x="298" y="340"/>
                    </a:lnTo>
                    <a:lnTo>
                      <a:pt x="290" y="342"/>
                    </a:lnTo>
                    <a:lnTo>
                      <a:pt x="289" y="342"/>
                    </a:lnTo>
                    <a:lnTo>
                      <a:pt x="289" y="343"/>
                    </a:lnTo>
                    <a:lnTo>
                      <a:pt x="287" y="343"/>
                    </a:lnTo>
                    <a:lnTo>
                      <a:pt x="286" y="345"/>
                    </a:lnTo>
                    <a:lnTo>
                      <a:pt x="281" y="348"/>
                    </a:lnTo>
                    <a:lnTo>
                      <a:pt x="278" y="351"/>
                    </a:lnTo>
                    <a:lnTo>
                      <a:pt x="276" y="353"/>
                    </a:lnTo>
                    <a:lnTo>
                      <a:pt x="276" y="354"/>
                    </a:lnTo>
                    <a:lnTo>
                      <a:pt x="275" y="354"/>
                    </a:lnTo>
                    <a:lnTo>
                      <a:pt x="273" y="356"/>
                    </a:lnTo>
                    <a:lnTo>
                      <a:pt x="271" y="356"/>
                    </a:lnTo>
                    <a:lnTo>
                      <a:pt x="270" y="358"/>
                    </a:lnTo>
                    <a:lnTo>
                      <a:pt x="267" y="359"/>
                    </a:lnTo>
                    <a:lnTo>
                      <a:pt x="265" y="361"/>
                    </a:lnTo>
                    <a:lnTo>
                      <a:pt x="263" y="361"/>
                    </a:lnTo>
                    <a:lnTo>
                      <a:pt x="257" y="364"/>
                    </a:lnTo>
                    <a:lnTo>
                      <a:pt x="255" y="367"/>
                    </a:lnTo>
                    <a:lnTo>
                      <a:pt x="254" y="367"/>
                    </a:lnTo>
                    <a:lnTo>
                      <a:pt x="254" y="369"/>
                    </a:lnTo>
                    <a:lnTo>
                      <a:pt x="244" y="375"/>
                    </a:lnTo>
                    <a:lnTo>
                      <a:pt x="238" y="375"/>
                    </a:lnTo>
                    <a:lnTo>
                      <a:pt x="236" y="375"/>
                    </a:lnTo>
                    <a:lnTo>
                      <a:pt x="235" y="373"/>
                    </a:lnTo>
                    <a:lnTo>
                      <a:pt x="233" y="373"/>
                    </a:lnTo>
                    <a:lnTo>
                      <a:pt x="229" y="373"/>
                    </a:lnTo>
                    <a:lnTo>
                      <a:pt x="219" y="375"/>
                    </a:lnTo>
                    <a:lnTo>
                      <a:pt x="214" y="375"/>
                    </a:lnTo>
                    <a:lnTo>
                      <a:pt x="206" y="381"/>
                    </a:lnTo>
                    <a:lnTo>
                      <a:pt x="198" y="388"/>
                    </a:lnTo>
                    <a:lnTo>
                      <a:pt x="197" y="389"/>
                    </a:lnTo>
                    <a:lnTo>
                      <a:pt x="197" y="391"/>
                    </a:lnTo>
                    <a:lnTo>
                      <a:pt x="194" y="392"/>
                    </a:lnTo>
                    <a:lnTo>
                      <a:pt x="194" y="394"/>
                    </a:lnTo>
                    <a:lnTo>
                      <a:pt x="192" y="394"/>
                    </a:lnTo>
                    <a:lnTo>
                      <a:pt x="189" y="397"/>
                    </a:lnTo>
                    <a:lnTo>
                      <a:pt x="187" y="399"/>
                    </a:lnTo>
                    <a:lnTo>
                      <a:pt x="186" y="399"/>
                    </a:lnTo>
                    <a:lnTo>
                      <a:pt x="184" y="399"/>
                    </a:lnTo>
                    <a:lnTo>
                      <a:pt x="184" y="400"/>
                    </a:lnTo>
                    <a:lnTo>
                      <a:pt x="183" y="400"/>
                    </a:lnTo>
                    <a:lnTo>
                      <a:pt x="181" y="402"/>
                    </a:lnTo>
                    <a:lnTo>
                      <a:pt x="179" y="402"/>
                    </a:lnTo>
                    <a:lnTo>
                      <a:pt x="178" y="403"/>
                    </a:lnTo>
                    <a:lnTo>
                      <a:pt x="175" y="405"/>
                    </a:lnTo>
                    <a:lnTo>
                      <a:pt x="175" y="407"/>
                    </a:lnTo>
                    <a:lnTo>
                      <a:pt x="173" y="407"/>
                    </a:lnTo>
                    <a:lnTo>
                      <a:pt x="172" y="408"/>
                    </a:lnTo>
                    <a:lnTo>
                      <a:pt x="172" y="410"/>
                    </a:lnTo>
                    <a:lnTo>
                      <a:pt x="168" y="413"/>
                    </a:lnTo>
                    <a:lnTo>
                      <a:pt x="167" y="415"/>
                    </a:lnTo>
                    <a:lnTo>
                      <a:pt x="165" y="415"/>
                    </a:lnTo>
                    <a:lnTo>
                      <a:pt x="162" y="418"/>
                    </a:lnTo>
                    <a:lnTo>
                      <a:pt x="162" y="419"/>
                    </a:lnTo>
                    <a:lnTo>
                      <a:pt x="160" y="419"/>
                    </a:lnTo>
                    <a:lnTo>
                      <a:pt x="159" y="421"/>
                    </a:lnTo>
                    <a:lnTo>
                      <a:pt x="157" y="419"/>
                    </a:lnTo>
                    <a:lnTo>
                      <a:pt x="154" y="419"/>
                    </a:lnTo>
                    <a:lnTo>
                      <a:pt x="153" y="419"/>
                    </a:lnTo>
                    <a:lnTo>
                      <a:pt x="149" y="419"/>
                    </a:lnTo>
                    <a:lnTo>
                      <a:pt x="148" y="418"/>
                    </a:lnTo>
                    <a:lnTo>
                      <a:pt x="146" y="418"/>
                    </a:lnTo>
                    <a:lnTo>
                      <a:pt x="145" y="416"/>
                    </a:lnTo>
                    <a:lnTo>
                      <a:pt x="141" y="413"/>
                    </a:lnTo>
                    <a:lnTo>
                      <a:pt x="141" y="411"/>
                    </a:lnTo>
                    <a:lnTo>
                      <a:pt x="137" y="411"/>
                    </a:lnTo>
                    <a:lnTo>
                      <a:pt x="134" y="411"/>
                    </a:lnTo>
                    <a:lnTo>
                      <a:pt x="130" y="411"/>
                    </a:lnTo>
                    <a:lnTo>
                      <a:pt x="127" y="410"/>
                    </a:lnTo>
                    <a:lnTo>
                      <a:pt x="126" y="410"/>
                    </a:lnTo>
                    <a:lnTo>
                      <a:pt x="124" y="408"/>
                    </a:lnTo>
                    <a:lnTo>
                      <a:pt x="121" y="405"/>
                    </a:lnTo>
                    <a:lnTo>
                      <a:pt x="119" y="402"/>
                    </a:lnTo>
                    <a:lnTo>
                      <a:pt x="118" y="402"/>
                    </a:lnTo>
                    <a:lnTo>
                      <a:pt x="116" y="400"/>
                    </a:lnTo>
                    <a:lnTo>
                      <a:pt x="113" y="396"/>
                    </a:lnTo>
                    <a:lnTo>
                      <a:pt x="111" y="394"/>
                    </a:lnTo>
                    <a:lnTo>
                      <a:pt x="110" y="392"/>
                    </a:lnTo>
                    <a:lnTo>
                      <a:pt x="108" y="391"/>
                    </a:lnTo>
                    <a:lnTo>
                      <a:pt x="107" y="391"/>
                    </a:lnTo>
                    <a:lnTo>
                      <a:pt x="102" y="391"/>
                    </a:lnTo>
                    <a:lnTo>
                      <a:pt x="97" y="392"/>
                    </a:lnTo>
                    <a:lnTo>
                      <a:pt x="96" y="392"/>
                    </a:lnTo>
                    <a:lnTo>
                      <a:pt x="96" y="391"/>
                    </a:lnTo>
                    <a:lnTo>
                      <a:pt x="94" y="391"/>
                    </a:lnTo>
                    <a:lnTo>
                      <a:pt x="94" y="389"/>
                    </a:lnTo>
                    <a:lnTo>
                      <a:pt x="94" y="388"/>
                    </a:lnTo>
                    <a:lnTo>
                      <a:pt x="91" y="381"/>
                    </a:lnTo>
                    <a:lnTo>
                      <a:pt x="88" y="380"/>
                    </a:lnTo>
                    <a:lnTo>
                      <a:pt x="88" y="378"/>
                    </a:lnTo>
                    <a:lnTo>
                      <a:pt x="86" y="378"/>
                    </a:lnTo>
                    <a:lnTo>
                      <a:pt x="84" y="378"/>
                    </a:lnTo>
                    <a:lnTo>
                      <a:pt x="83" y="378"/>
                    </a:lnTo>
                    <a:lnTo>
                      <a:pt x="81" y="378"/>
                    </a:lnTo>
                    <a:lnTo>
                      <a:pt x="75" y="377"/>
                    </a:lnTo>
                    <a:lnTo>
                      <a:pt x="72" y="375"/>
                    </a:lnTo>
                    <a:lnTo>
                      <a:pt x="70" y="375"/>
                    </a:lnTo>
                    <a:lnTo>
                      <a:pt x="69" y="375"/>
                    </a:lnTo>
                    <a:lnTo>
                      <a:pt x="65" y="375"/>
                    </a:lnTo>
                    <a:lnTo>
                      <a:pt x="64" y="375"/>
                    </a:lnTo>
                    <a:lnTo>
                      <a:pt x="62" y="375"/>
                    </a:lnTo>
                    <a:lnTo>
                      <a:pt x="61" y="375"/>
                    </a:lnTo>
                    <a:lnTo>
                      <a:pt x="57" y="375"/>
                    </a:lnTo>
                    <a:lnTo>
                      <a:pt x="54" y="375"/>
                    </a:lnTo>
                    <a:lnTo>
                      <a:pt x="51" y="375"/>
                    </a:lnTo>
                    <a:lnTo>
                      <a:pt x="48" y="373"/>
                    </a:lnTo>
                    <a:lnTo>
                      <a:pt x="40" y="370"/>
                    </a:lnTo>
                    <a:lnTo>
                      <a:pt x="38" y="369"/>
                    </a:lnTo>
                    <a:lnTo>
                      <a:pt x="38" y="370"/>
                    </a:lnTo>
                    <a:lnTo>
                      <a:pt x="35" y="370"/>
                    </a:lnTo>
                    <a:lnTo>
                      <a:pt x="34" y="370"/>
                    </a:lnTo>
                    <a:lnTo>
                      <a:pt x="34" y="369"/>
                    </a:lnTo>
                    <a:lnTo>
                      <a:pt x="31" y="358"/>
                    </a:lnTo>
                    <a:lnTo>
                      <a:pt x="32" y="356"/>
                    </a:lnTo>
                    <a:lnTo>
                      <a:pt x="31" y="356"/>
                    </a:lnTo>
                    <a:lnTo>
                      <a:pt x="29" y="354"/>
                    </a:lnTo>
                    <a:lnTo>
                      <a:pt x="29" y="353"/>
                    </a:lnTo>
                    <a:lnTo>
                      <a:pt x="27" y="351"/>
                    </a:lnTo>
                    <a:lnTo>
                      <a:pt x="27" y="350"/>
                    </a:lnTo>
                    <a:lnTo>
                      <a:pt x="27" y="348"/>
                    </a:lnTo>
                    <a:lnTo>
                      <a:pt x="26" y="346"/>
                    </a:lnTo>
                    <a:lnTo>
                      <a:pt x="26" y="345"/>
                    </a:lnTo>
                    <a:lnTo>
                      <a:pt x="27" y="343"/>
                    </a:lnTo>
                    <a:lnTo>
                      <a:pt x="27" y="342"/>
                    </a:lnTo>
                    <a:lnTo>
                      <a:pt x="26" y="342"/>
                    </a:lnTo>
                    <a:lnTo>
                      <a:pt x="26" y="340"/>
                    </a:lnTo>
                    <a:lnTo>
                      <a:pt x="24" y="338"/>
                    </a:lnTo>
                    <a:lnTo>
                      <a:pt x="26" y="338"/>
                    </a:lnTo>
                    <a:lnTo>
                      <a:pt x="26" y="337"/>
                    </a:lnTo>
                    <a:lnTo>
                      <a:pt x="27" y="337"/>
                    </a:lnTo>
                    <a:lnTo>
                      <a:pt x="27" y="335"/>
                    </a:lnTo>
                    <a:lnTo>
                      <a:pt x="26" y="335"/>
                    </a:lnTo>
                    <a:lnTo>
                      <a:pt x="24" y="334"/>
                    </a:lnTo>
                    <a:lnTo>
                      <a:pt x="23" y="332"/>
                    </a:lnTo>
                    <a:lnTo>
                      <a:pt x="21" y="331"/>
                    </a:lnTo>
                    <a:lnTo>
                      <a:pt x="19" y="331"/>
                    </a:lnTo>
                    <a:lnTo>
                      <a:pt x="18" y="331"/>
                    </a:lnTo>
                    <a:lnTo>
                      <a:pt x="18" y="329"/>
                    </a:lnTo>
                    <a:lnTo>
                      <a:pt x="18" y="327"/>
                    </a:lnTo>
                    <a:lnTo>
                      <a:pt x="18" y="326"/>
                    </a:lnTo>
                    <a:lnTo>
                      <a:pt x="19" y="324"/>
                    </a:lnTo>
                    <a:lnTo>
                      <a:pt x="18" y="324"/>
                    </a:lnTo>
                    <a:lnTo>
                      <a:pt x="18" y="323"/>
                    </a:lnTo>
                    <a:lnTo>
                      <a:pt x="18" y="321"/>
                    </a:lnTo>
                    <a:lnTo>
                      <a:pt x="18" y="319"/>
                    </a:lnTo>
                    <a:lnTo>
                      <a:pt x="19" y="319"/>
                    </a:lnTo>
                    <a:lnTo>
                      <a:pt x="18" y="318"/>
                    </a:lnTo>
                    <a:lnTo>
                      <a:pt x="18" y="316"/>
                    </a:lnTo>
                    <a:lnTo>
                      <a:pt x="19" y="316"/>
                    </a:lnTo>
                    <a:lnTo>
                      <a:pt x="19" y="315"/>
                    </a:lnTo>
                    <a:lnTo>
                      <a:pt x="19" y="313"/>
                    </a:lnTo>
                    <a:lnTo>
                      <a:pt x="18" y="312"/>
                    </a:lnTo>
                    <a:lnTo>
                      <a:pt x="16" y="312"/>
                    </a:lnTo>
                    <a:lnTo>
                      <a:pt x="16" y="310"/>
                    </a:lnTo>
                    <a:lnTo>
                      <a:pt x="15" y="310"/>
                    </a:lnTo>
                    <a:lnTo>
                      <a:pt x="16" y="308"/>
                    </a:lnTo>
                    <a:lnTo>
                      <a:pt x="16" y="307"/>
                    </a:lnTo>
                    <a:lnTo>
                      <a:pt x="15" y="307"/>
                    </a:lnTo>
                    <a:lnTo>
                      <a:pt x="16" y="305"/>
                    </a:lnTo>
                    <a:lnTo>
                      <a:pt x="15" y="304"/>
                    </a:lnTo>
                    <a:lnTo>
                      <a:pt x="15" y="302"/>
                    </a:lnTo>
                    <a:lnTo>
                      <a:pt x="15" y="300"/>
                    </a:lnTo>
                    <a:lnTo>
                      <a:pt x="13" y="300"/>
                    </a:lnTo>
                    <a:lnTo>
                      <a:pt x="12" y="299"/>
                    </a:lnTo>
                    <a:lnTo>
                      <a:pt x="12" y="297"/>
                    </a:lnTo>
                    <a:lnTo>
                      <a:pt x="10" y="296"/>
                    </a:lnTo>
                    <a:lnTo>
                      <a:pt x="10" y="294"/>
                    </a:lnTo>
                    <a:lnTo>
                      <a:pt x="10" y="293"/>
                    </a:lnTo>
                    <a:lnTo>
                      <a:pt x="8" y="293"/>
                    </a:lnTo>
                    <a:lnTo>
                      <a:pt x="8" y="291"/>
                    </a:lnTo>
                    <a:lnTo>
                      <a:pt x="8" y="289"/>
                    </a:lnTo>
                    <a:lnTo>
                      <a:pt x="10" y="288"/>
                    </a:lnTo>
                    <a:lnTo>
                      <a:pt x="10" y="286"/>
                    </a:lnTo>
                    <a:lnTo>
                      <a:pt x="8" y="285"/>
                    </a:lnTo>
                    <a:lnTo>
                      <a:pt x="7" y="285"/>
                    </a:lnTo>
                    <a:lnTo>
                      <a:pt x="7" y="283"/>
                    </a:lnTo>
                    <a:lnTo>
                      <a:pt x="7" y="281"/>
                    </a:lnTo>
                    <a:lnTo>
                      <a:pt x="7" y="280"/>
                    </a:lnTo>
                    <a:lnTo>
                      <a:pt x="8" y="278"/>
                    </a:lnTo>
                    <a:lnTo>
                      <a:pt x="8" y="277"/>
                    </a:lnTo>
                    <a:lnTo>
                      <a:pt x="8" y="275"/>
                    </a:lnTo>
                    <a:lnTo>
                      <a:pt x="8" y="274"/>
                    </a:lnTo>
                    <a:lnTo>
                      <a:pt x="8" y="272"/>
                    </a:lnTo>
                    <a:lnTo>
                      <a:pt x="8" y="270"/>
                    </a:lnTo>
                    <a:lnTo>
                      <a:pt x="8" y="269"/>
                    </a:lnTo>
                    <a:lnTo>
                      <a:pt x="7" y="269"/>
                    </a:lnTo>
                    <a:lnTo>
                      <a:pt x="7" y="267"/>
                    </a:lnTo>
                    <a:lnTo>
                      <a:pt x="5" y="267"/>
                    </a:lnTo>
                    <a:lnTo>
                      <a:pt x="5" y="266"/>
                    </a:lnTo>
                    <a:lnTo>
                      <a:pt x="5" y="264"/>
                    </a:lnTo>
                    <a:lnTo>
                      <a:pt x="5" y="262"/>
                    </a:lnTo>
                    <a:lnTo>
                      <a:pt x="5" y="261"/>
                    </a:lnTo>
                    <a:lnTo>
                      <a:pt x="4" y="261"/>
                    </a:lnTo>
                    <a:lnTo>
                      <a:pt x="5" y="259"/>
                    </a:lnTo>
                    <a:lnTo>
                      <a:pt x="5" y="258"/>
                    </a:lnTo>
                    <a:lnTo>
                      <a:pt x="5" y="256"/>
                    </a:lnTo>
                    <a:lnTo>
                      <a:pt x="7" y="256"/>
                    </a:lnTo>
                    <a:lnTo>
                      <a:pt x="7" y="255"/>
                    </a:lnTo>
                    <a:lnTo>
                      <a:pt x="8" y="253"/>
                    </a:lnTo>
                    <a:lnTo>
                      <a:pt x="8" y="251"/>
                    </a:lnTo>
                    <a:lnTo>
                      <a:pt x="7" y="251"/>
                    </a:lnTo>
                    <a:lnTo>
                      <a:pt x="7" y="250"/>
                    </a:lnTo>
                    <a:lnTo>
                      <a:pt x="5" y="250"/>
                    </a:lnTo>
                    <a:lnTo>
                      <a:pt x="5" y="248"/>
                    </a:lnTo>
                    <a:lnTo>
                      <a:pt x="5" y="247"/>
                    </a:lnTo>
                    <a:lnTo>
                      <a:pt x="5" y="245"/>
                    </a:lnTo>
                    <a:lnTo>
                      <a:pt x="5" y="243"/>
                    </a:lnTo>
                    <a:lnTo>
                      <a:pt x="5" y="242"/>
                    </a:lnTo>
                    <a:lnTo>
                      <a:pt x="4" y="242"/>
                    </a:lnTo>
                    <a:lnTo>
                      <a:pt x="4" y="240"/>
                    </a:lnTo>
                    <a:lnTo>
                      <a:pt x="2" y="240"/>
                    </a:lnTo>
                    <a:lnTo>
                      <a:pt x="0" y="239"/>
                    </a:lnTo>
                    <a:lnTo>
                      <a:pt x="0" y="237"/>
                    </a:lnTo>
                    <a:lnTo>
                      <a:pt x="2" y="237"/>
                    </a:lnTo>
                    <a:lnTo>
                      <a:pt x="2" y="236"/>
                    </a:lnTo>
                    <a:lnTo>
                      <a:pt x="2" y="234"/>
                    </a:lnTo>
                    <a:lnTo>
                      <a:pt x="2" y="232"/>
                    </a:lnTo>
                    <a:lnTo>
                      <a:pt x="2" y="231"/>
                    </a:lnTo>
                    <a:lnTo>
                      <a:pt x="2" y="229"/>
                    </a:lnTo>
                    <a:lnTo>
                      <a:pt x="0" y="229"/>
                    </a:lnTo>
                    <a:lnTo>
                      <a:pt x="0" y="228"/>
                    </a:lnTo>
                    <a:lnTo>
                      <a:pt x="0" y="226"/>
                    </a:lnTo>
                    <a:lnTo>
                      <a:pt x="48" y="223"/>
                    </a:lnTo>
                    <a:lnTo>
                      <a:pt x="61" y="221"/>
                    </a:lnTo>
                    <a:lnTo>
                      <a:pt x="84" y="191"/>
                    </a:lnTo>
                    <a:lnTo>
                      <a:pt x="88" y="186"/>
                    </a:lnTo>
                    <a:lnTo>
                      <a:pt x="89" y="185"/>
                    </a:lnTo>
                    <a:lnTo>
                      <a:pt x="91" y="183"/>
                    </a:lnTo>
                    <a:lnTo>
                      <a:pt x="91" y="182"/>
                    </a:lnTo>
                    <a:lnTo>
                      <a:pt x="92" y="182"/>
                    </a:lnTo>
                    <a:lnTo>
                      <a:pt x="92" y="180"/>
                    </a:lnTo>
                    <a:lnTo>
                      <a:pt x="94" y="180"/>
                    </a:lnTo>
                    <a:lnTo>
                      <a:pt x="97" y="175"/>
                    </a:lnTo>
                    <a:lnTo>
                      <a:pt x="99" y="174"/>
                    </a:lnTo>
                    <a:lnTo>
                      <a:pt x="100" y="172"/>
                    </a:lnTo>
                    <a:lnTo>
                      <a:pt x="102" y="171"/>
                    </a:lnTo>
                    <a:lnTo>
                      <a:pt x="103" y="171"/>
                    </a:lnTo>
                    <a:lnTo>
                      <a:pt x="107" y="169"/>
                    </a:lnTo>
                    <a:lnTo>
                      <a:pt x="108" y="169"/>
                    </a:lnTo>
                    <a:lnTo>
                      <a:pt x="113" y="166"/>
                    </a:lnTo>
                    <a:lnTo>
                      <a:pt x="115" y="166"/>
                    </a:lnTo>
                    <a:lnTo>
                      <a:pt x="119" y="164"/>
                    </a:lnTo>
                    <a:lnTo>
                      <a:pt x="127" y="161"/>
                    </a:lnTo>
                    <a:lnTo>
                      <a:pt x="129" y="159"/>
                    </a:lnTo>
                    <a:lnTo>
                      <a:pt x="134" y="158"/>
                    </a:lnTo>
                    <a:lnTo>
                      <a:pt x="137" y="158"/>
                    </a:lnTo>
                    <a:lnTo>
                      <a:pt x="137" y="156"/>
                    </a:lnTo>
                    <a:lnTo>
                      <a:pt x="138" y="156"/>
                    </a:lnTo>
                    <a:lnTo>
                      <a:pt x="140" y="156"/>
                    </a:lnTo>
                    <a:lnTo>
                      <a:pt x="145" y="153"/>
                    </a:lnTo>
                    <a:lnTo>
                      <a:pt x="146" y="153"/>
                    </a:lnTo>
                    <a:lnTo>
                      <a:pt x="148" y="153"/>
                    </a:lnTo>
                    <a:lnTo>
                      <a:pt x="159" y="148"/>
                    </a:lnTo>
                    <a:lnTo>
                      <a:pt x="164" y="147"/>
                    </a:lnTo>
                    <a:lnTo>
                      <a:pt x="165" y="147"/>
                    </a:lnTo>
                    <a:lnTo>
                      <a:pt x="170" y="145"/>
                    </a:lnTo>
                    <a:lnTo>
                      <a:pt x="173" y="142"/>
                    </a:lnTo>
                    <a:lnTo>
                      <a:pt x="178" y="140"/>
                    </a:lnTo>
                    <a:lnTo>
                      <a:pt x="181" y="139"/>
                    </a:lnTo>
                    <a:lnTo>
                      <a:pt x="186" y="137"/>
                    </a:lnTo>
                    <a:lnTo>
                      <a:pt x="192" y="134"/>
                    </a:lnTo>
                    <a:lnTo>
                      <a:pt x="195" y="133"/>
                    </a:lnTo>
                    <a:lnTo>
                      <a:pt x="197" y="133"/>
                    </a:lnTo>
                    <a:lnTo>
                      <a:pt x="197" y="131"/>
                    </a:lnTo>
                    <a:lnTo>
                      <a:pt x="213" y="134"/>
                    </a:lnTo>
                    <a:lnTo>
                      <a:pt x="214" y="134"/>
                    </a:lnTo>
                    <a:lnTo>
                      <a:pt x="217" y="134"/>
                    </a:lnTo>
                    <a:lnTo>
                      <a:pt x="219" y="134"/>
                    </a:lnTo>
                    <a:lnTo>
                      <a:pt x="221" y="134"/>
                    </a:lnTo>
                    <a:lnTo>
                      <a:pt x="221" y="133"/>
                    </a:lnTo>
                    <a:lnTo>
                      <a:pt x="222" y="133"/>
                    </a:lnTo>
                    <a:lnTo>
                      <a:pt x="222" y="131"/>
                    </a:lnTo>
                    <a:lnTo>
                      <a:pt x="224" y="131"/>
                    </a:lnTo>
                    <a:lnTo>
                      <a:pt x="225" y="131"/>
                    </a:lnTo>
                    <a:lnTo>
                      <a:pt x="225" y="133"/>
                    </a:lnTo>
                    <a:lnTo>
                      <a:pt x="227" y="133"/>
                    </a:lnTo>
                    <a:lnTo>
                      <a:pt x="227" y="131"/>
                    </a:lnTo>
                    <a:lnTo>
                      <a:pt x="227" y="129"/>
                    </a:lnTo>
                    <a:lnTo>
                      <a:pt x="229" y="128"/>
                    </a:lnTo>
                    <a:lnTo>
                      <a:pt x="230" y="128"/>
                    </a:lnTo>
                    <a:lnTo>
                      <a:pt x="232" y="128"/>
                    </a:lnTo>
                    <a:lnTo>
                      <a:pt x="233" y="129"/>
                    </a:lnTo>
                    <a:lnTo>
                      <a:pt x="235" y="128"/>
                    </a:lnTo>
                    <a:lnTo>
                      <a:pt x="236" y="128"/>
                    </a:lnTo>
                    <a:lnTo>
                      <a:pt x="236" y="126"/>
                    </a:lnTo>
                    <a:lnTo>
                      <a:pt x="238" y="126"/>
                    </a:lnTo>
                    <a:lnTo>
                      <a:pt x="240" y="126"/>
                    </a:lnTo>
                    <a:lnTo>
                      <a:pt x="241" y="128"/>
                    </a:lnTo>
                    <a:lnTo>
                      <a:pt x="243" y="128"/>
                    </a:lnTo>
                    <a:lnTo>
                      <a:pt x="244" y="128"/>
                    </a:lnTo>
                    <a:lnTo>
                      <a:pt x="244" y="129"/>
                    </a:lnTo>
                    <a:lnTo>
                      <a:pt x="246" y="129"/>
                    </a:lnTo>
                    <a:lnTo>
                      <a:pt x="248" y="131"/>
                    </a:lnTo>
                    <a:lnTo>
                      <a:pt x="248" y="133"/>
                    </a:lnTo>
                    <a:lnTo>
                      <a:pt x="249" y="133"/>
                    </a:lnTo>
                    <a:lnTo>
                      <a:pt x="249" y="134"/>
                    </a:lnTo>
                    <a:lnTo>
                      <a:pt x="249" y="136"/>
                    </a:lnTo>
                    <a:lnTo>
                      <a:pt x="251" y="136"/>
                    </a:lnTo>
                    <a:lnTo>
                      <a:pt x="251" y="137"/>
                    </a:lnTo>
                    <a:lnTo>
                      <a:pt x="252" y="137"/>
                    </a:lnTo>
                    <a:lnTo>
                      <a:pt x="254" y="137"/>
                    </a:lnTo>
                    <a:lnTo>
                      <a:pt x="255" y="137"/>
                    </a:lnTo>
                    <a:lnTo>
                      <a:pt x="257" y="137"/>
                    </a:lnTo>
                    <a:lnTo>
                      <a:pt x="259" y="137"/>
                    </a:lnTo>
                    <a:lnTo>
                      <a:pt x="260" y="137"/>
                    </a:lnTo>
                    <a:lnTo>
                      <a:pt x="262" y="139"/>
                    </a:lnTo>
                    <a:lnTo>
                      <a:pt x="262" y="137"/>
                    </a:lnTo>
                    <a:lnTo>
                      <a:pt x="263" y="137"/>
                    </a:lnTo>
                    <a:lnTo>
                      <a:pt x="265" y="139"/>
                    </a:lnTo>
                    <a:lnTo>
                      <a:pt x="267" y="139"/>
                    </a:lnTo>
                    <a:lnTo>
                      <a:pt x="268" y="139"/>
                    </a:lnTo>
                    <a:lnTo>
                      <a:pt x="270" y="137"/>
                    </a:lnTo>
                    <a:lnTo>
                      <a:pt x="271" y="137"/>
                    </a:lnTo>
                    <a:lnTo>
                      <a:pt x="271" y="139"/>
                    </a:lnTo>
                    <a:lnTo>
                      <a:pt x="273" y="139"/>
                    </a:lnTo>
                    <a:lnTo>
                      <a:pt x="275" y="139"/>
                    </a:lnTo>
                    <a:lnTo>
                      <a:pt x="275" y="137"/>
                    </a:lnTo>
                    <a:lnTo>
                      <a:pt x="276" y="137"/>
                    </a:lnTo>
                    <a:lnTo>
                      <a:pt x="278" y="137"/>
                    </a:lnTo>
                    <a:lnTo>
                      <a:pt x="279" y="137"/>
                    </a:lnTo>
                    <a:lnTo>
                      <a:pt x="281" y="137"/>
                    </a:lnTo>
                    <a:lnTo>
                      <a:pt x="284" y="137"/>
                    </a:lnTo>
                    <a:lnTo>
                      <a:pt x="286" y="137"/>
                    </a:lnTo>
                    <a:lnTo>
                      <a:pt x="287" y="137"/>
                    </a:lnTo>
                    <a:lnTo>
                      <a:pt x="289" y="137"/>
                    </a:lnTo>
                    <a:lnTo>
                      <a:pt x="289" y="136"/>
                    </a:lnTo>
                    <a:lnTo>
                      <a:pt x="289" y="134"/>
                    </a:lnTo>
                    <a:lnTo>
                      <a:pt x="289" y="133"/>
                    </a:lnTo>
                    <a:lnTo>
                      <a:pt x="290" y="133"/>
                    </a:lnTo>
                    <a:lnTo>
                      <a:pt x="292" y="133"/>
                    </a:lnTo>
                    <a:lnTo>
                      <a:pt x="292" y="131"/>
                    </a:lnTo>
                    <a:lnTo>
                      <a:pt x="294" y="131"/>
                    </a:lnTo>
                    <a:lnTo>
                      <a:pt x="294" y="129"/>
                    </a:lnTo>
                    <a:lnTo>
                      <a:pt x="292" y="128"/>
                    </a:lnTo>
                    <a:lnTo>
                      <a:pt x="294" y="128"/>
                    </a:lnTo>
                    <a:lnTo>
                      <a:pt x="294" y="126"/>
                    </a:lnTo>
                    <a:lnTo>
                      <a:pt x="295" y="125"/>
                    </a:lnTo>
                    <a:lnTo>
                      <a:pt x="295" y="123"/>
                    </a:lnTo>
                    <a:lnTo>
                      <a:pt x="297" y="125"/>
                    </a:lnTo>
                    <a:lnTo>
                      <a:pt x="298" y="123"/>
                    </a:lnTo>
                    <a:lnTo>
                      <a:pt x="300" y="123"/>
                    </a:lnTo>
                    <a:lnTo>
                      <a:pt x="301" y="125"/>
                    </a:lnTo>
                    <a:lnTo>
                      <a:pt x="303" y="123"/>
                    </a:lnTo>
                    <a:lnTo>
                      <a:pt x="305" y="123"/>
                    </a:lnTo>
                    <a:lnTo>
                      <a:pt x="306" y="123"/>
                    </a:lnTo>
                    <a:lnTo>
                      <a:pt x="308" y="123"/>
                    </a:lnTo>
                    <a:lnTo>
                      <a:pt x="308" y="121"/>
                    </a:lnTo>
                    <a:lnTo>
                      <a:pt x="309" y="121"/>
                    </a:lnTo>
                    <a:lnTo>
                      <a:pt x="311" y="121"/>
                    </a:lnTo>
                    <a:lnTo>
                      <a:pt x="313" y="120"/>
                    </a:lnTo>
                    <a:lnTo>
                      <a:pt x="313" y="118"/>
                    </a:lnTo>
                    <a:lnTo>
                      <a:pt x="314" y="118"/>
                    </a:lnTo>
                    <a:lnTo>
                      <a:pt x="314" y="117"/>
                    </a:lnTo>
                    <a:lnTo>
                      <a:pt x="316" y="117"/>
                    </a:lnTo>
                    <a:lnTo>
                      <a:pt x="317" y="117"/>
                    </a:lnTo>
                    <a:lnTo>
                      <a:pt x="319" y="117"/>
                    </a:lnTo>
                    <a:lnTo>
                      <a:pt x="319" y="115"/>
                    </a:lnTo>
                    <a:lnTo>
                      <a:pt x="320" y="115"/>
                    </a:lnTo>
                    <a:lnTo>
                      <a:pt x="320" y="114"/>
                    </a:lnTo>
                    <a:lnTo>
                      <a:pt x="320" y="112"/>
                    </a:lnTo>
                    <a:lnTo>
                      <a:pt x="322" y="112"/>
                    </a:lnTo>
                    <a:lnTo>
                      <a:pt x="324" y="112"/>
                    </a:lnTo>
                    <a:lnTo>
                      <a:pt x="325" y="112"/>
                    </a:lnTo>
                    <a:lnTo>
                      <a:pt x="325" y="110"/>
                    </a:lnTo>
                    <a:lnTo>
                      <a:pt x="327" y="110"/>
                    </a:lnTo>
                    <a:lnTo>
                      <a:pt x="328" y="112"/>
                    </a:lnTo>
                    <a:lnTo>
                      <a:pt x="328" y="110"/>
                    </a:lnTo>
                    <a:lnTo>
                      <a:pt x="330" y="110"/>
                    </a:lnTo>
                    <a:lnTo>
                      <a:pt x="332" y="109"/>
                    </a:lnTo>
                    <a:lnTo>
                      <a:pt x="333" y="109"/>
                    </a:lnTo>
                    <a:lnTo>
                      <a:pt x="335" y="109"/>
                    </a:lnTo>
                    <a:lnTo>
                      <a:pt x="336" y="109"/>
                    </a:lnTo>
                    <a:lnTo>
                      <a:pt x="338" y="107"/>
                    </a:lnTo>
                    <a:lnTo>
                      <a:pt x="339" y="107"/>
                    </a:lnTo>
                    <a:lnTo>
                      <a:pt x="341" y="107"/>
                    </a:lnTo>
                    <a:lnTo>
                      <a:pt x="343" y="107"/>
                    </a:lnTo>
                    <a:lnTo>
                      <a:pt x="344" y="106"/>
                    </a:lnTo>
                    <a:lnTo>
                      <a:pt x="346" y="106"/>
                    </a:lnTo>
                    <a:lnTo>
                      <a:pt x="347" y="104"/>
                    </a:lnTo>
                    <a:lnTo>
                      <a:pt x="349" y="104"/>
                    </a:lnTo>
                    <a:lnTo>
                      <a:pt x="351" y="102"/>
                    </a:lnTo>
                    <a:lnTo>
                      <a:pt x="354" y="99"/>
                    </a:lnTo>
                    <a:lnTo>
                      <a:pt x="355" y="99"/>
                    </a:lnTo>
                    <a:lnTo>
                      <a:pt x="357" y="98"/>
                    </a:lnTo>
                    <a:lnTo>
                      <a:pt x="358" y="96"/>
                    </a:lnTo>
                    <a:lnTo>
                      <a:pt x="362" y="98"/>
                    </a:lnTo>
                    <a:lnTo>
                      <a:pt x="362" y="96"/>
                    </a:lnTo>
                    <a:lnTo>
                      <a:pt x="363" y="96"/>
                    </a:lnTo>
                    <a:lnTo>
                      <a:pt x="365" y="95"/>
                    </a:lnTo>
                    <a:lnTo>
                      <a:pt x="365" y="93"/>
                    </a:lnTo>
                    <a:lnTo>
                      <a:pt x="368" y="91"/>
                    </a:lnTo>
                    <a:lnTo>
                      <a:pt x="370" y="91"/>
                    </a:lnTo>
                    <a:lnTo>
                      <a:pt x="370" y="90"/>
                    </a:lnTo>
                    <a:lnTo>
                      <a:pt x="371" y="90"/>
                    </a:lnTo>
                    <a:lnTo>
                      <a:pt x="373" y="90"/>
                    </a:lnTo>
                    <a:lnTo>
                      <a:pt x="376" y="90"/>
                    </a:lnTo>
                    <a:lnTo>
                      <a:pt x="377" y="88"/>
                    </a:lnTo>
                    <a:lnTo>
                      <a:pt x="377" y="87"/>
                    </a:lnTo>
                    <a:lnTo>
                      <a:pt x="379" y="87"/>
                    </a:lnTo>
                    <a:lnTo>
                      <a:pt x="381" y="87"/>
                    </a:lnTo>
                    <a:lnTo>
                      <a:pt x="384" y="87"/>
                    </a:lnTo>
                    <a:lnTo>
                      <a:pt x="385" y="87"/>
                    </a:lnTo>
                    <a:lnTo>
                      <a:pt x="385" y="85"/>
                    </a:lnTo>
                    <a:lnTo>
                      <a:pt x="387" y="85"/>
                    </a:lnTo>
                    <a:lnTo>
                      <a:pt x="389" y="85"/>
                    </a:lnTo>
                    <a:lnTo>
                      <a:pt x="392" y="87"/>
                    </a:lnTo>
                    <a:lnTo>
                      <a:pt x="393" y="88"/>
                    </a:lnTo>
                    <a:lnTo>
                      <a:pt x="393" y="90"/>
                    </a:lnTo>
                    <a:lnTo>
                      <a:pt x="393" y="91"/>
                    </a:lnTo>
                    <a:lnTo>
                      <a:pt x="392" y="93"/>
                    </a:lnTo>
                    <a:lnTo>
                      <a:pt x="392" y="95"/>
                    </a:lnTo>
                    <a:lnTo>
                      <a:pt x="392" y="96"/>
                    </a:lnTo>
                    <a:lnTo>
                      <a:pt x="393" y="98"/>
                    </a:lnTo>
                    <a:lnTo>
                      <a:pt x="395" y="99"/>
                    </a:lnTo>
                    <a:lnTo>
                      <a:pt x="396" y="99"/>
                    </a:lnTo>
                    <a:lnTo>
                      <a:pt x="398" y="101"/>
                    </a:lnTo>
                    <a:lnTo>
                      <a:pt x="398" y="102"/>
                    </a:lnTo>
                    <a:lnTo>
                      <a:pt x="398" y="104"/>
                    </a:lnTo>
                    <a:lnTo>
                      <a:pt x="398" y="106"/>
                    </a:lnTo>
                    <a:lnTo>
                      <a:pt x="396" y="107"/>
                    </a:lnTo>
                    <a:lnTo>
                      <a:pt x="396" y="109"/>
                    </a:lnTo>
                    <a:lnTo>
                      <a:pt x="396" y="110"/>
                    </a:lnTo>
                    <a:lnTo>
                      <a:pt x="400" y="107"/>
                    </a:lnTo>
                    <a:lnTo>
                      <a:pt x="401" y="106"/>
                    </a:lnTo>
                    <a:lnTo>
                      <a:pt x="403" y="106"/>
                    </a:lnTo>
                    <a:lnTo>
                      <a:pt x="404" y="106"/>
                    </a:lnTo>
                    <a:lnTo>
                      <a:pt x="406" y="106"/>
                    </a:lnTo>
                    <a:lnTo>
                      <a:pt x="406" y="107"/>
                    </a:lnTo>
                    <a:lnTo>
                      <a:pt x="408" y="107"/>
                    </a:lnTo>
                    <a:lnTo>
                      <a:pt x="409" y="109"/>
                    </a:lnTo>
                    <a:lnTo>
                      <a:pt x="411" y="109"/>
                    </a:lnTo>
                    <a:lnTo>
                      <a:pt x="412" y="109"/>
                    </a:lnTo>
                    <a:lnTo>
                      <a:pt x="414" y="107"/>
                    </a:lnTo>
                    <a:lnTo>
                      <a:pt x="414" y="106"/>
                    </a:lnTo>
                    <a:lnTo>
                      <a:pt x="414" y="104"/>
                    </a:lnTo>
                    <a:lnTo>
                      <a:pt x="415" y="102"/>
                    </a:lnTo>
                    <a:lnTo>
                      <a:pt x="415" y="101"/>
                    </a:lnTo>
                    <a:lnTo>
                      <a:pt x="417" y="99"/>
                    </a:lnTo>
                    <a:lnTo>
                      <a:pt x="417" y="98"/>
                    </a:lnTo>
                    <a:lnTo>
                      <a:pt x="417" y="96"/>
                    </a:lnTo>
                    <a:lnTo>
                      <a:pt x="417" y="95"/>
                    </a:lnTo>
                    <a:lnTo>
                      <a:pt x="415" y="95"/>
                    </a:lnTo>
                    <a:lnTo>
                      <a:pt x="415" y="93"/>
                    </a:lnTo>
                    <a:lnTo>
                      <a:pt x="415" y="91"/>
                    </a:lnTo>
                    <a:lnTo>
                      <a:pt x="415" y="90"/>
                    </a:lnTo>
                    <a:lnTo>
                      <a:pt x="415" y="88"/>
                    </a:lnTo>
                    <a:lnTo>
                      <a:pt x="414" y="87"/>
                    </a:lnTo>
                    <a:lnTo>
                      <a:pt x="415" y="87"/>
                    </a:lnTo>
                    <a:lnTo>
                      <a:pt x="417" y="85"/>
                    </a:lnTo>
                    <a:lnTo>
                      <a:pt x="419" y="85"/>
                    </a:lnTo>
                    <a:lnTo>
                      <a:pt x="419" y="83"/>
                    </a:lnTo>
                    <a:lnTo>
                      <a:pt x="422" y="82"/>
                    </a:lnTo>
                    <a:lnTo>
                      <a:pt x="422" y="83"/>
                    </a:lnTo>
                    <a:lnTo>
                      <a:pt x="423" y="83"/>
                    </a:lnTo>
                    <a:lnTo>
                      <a:pt x="425" y="83"/>
                    </a:lnTo>
                    <a:lnTo>
                      <a:pt x="427" y="83"/>
                    </a:lnTo>
                    <a:lnTo>
                      <a:pt x="431" y="83"/>
                    </a:lnTo>
                    <a:lnTo>
                      <a:pt x="434" y="85"/>
                    </a:lnTo>
                    <a:lnTo>
                      <a:pt x="436" y="85"/>
                    </a:lnTo>
                    <a:lnTo>
                      <a:pt x="438" y="83"/>
                    </a:lnTo>
                    <a:lnTo>
                      <a:pt x="439" y="80"/>
                    </a:lnTo>
                    <a:lnTo>
                      <a:pt x="441" y="77"/>
                    </a:lnTo>
                    <a:lnTo>
                      <a:pt x="442" y="74"/>
                    </a:lnTo>
                    <a:lnTo>
                      <a:pt x="442" y="72"/>
                    </a:lnTo>
                    <a:lnTo>
                      <a:pt x="446" y="72"/>
                    </a:lnTo>
                    <a:lnTo>
                      <a:pt x="447" y="71"/>
                    </a:lnTo>
                    <a:lnTo>
                      <a:pt x="449" y="71"/>
                    </a:lnTo>
                    <a:lnTo>
                      <a:pt x="452" y="69"/>
                    </a:lnTo>
                    <a:lnTo>
                      <a:pt x="453" y="69"/>
                    </a:lnTo>
                    <a:lnTo>
                      <a:pt x="457" y="66"/>
                    </a:lnTo>
                    <a:lnTo>
                      <a:pt x="458" y="68"/>
                    </a:lnTo>
                    <a:lnTo>
                      <a:pt x="461" y="69"/>
                    </a:lnTo>
                    <a:lnTo>
                      <a:pt x="463" y="69"/>
                    </a:lnTo>
                    <a:lnTo>
                      <a:pt x="465" y="69"/>
                    </a:lnTo>
                    <a:lnTo>
                      <a:pt x="466" y="69"/>
                    </a:lnTo>
                    <a:lnTo>
                      <a:pt x="468" y="69"/>
                    </a:lnTo>
                    <a:lnTo>
                      <a:pt x="469" y="69"/>
                    </a:lnTo>
                    <a:lnTo>
                      <a:pt x="471" y="71"/>
                    </a:lnTo>
                    <a:lnTo>
                      <a:pt x="473" y="71"/>
                    </a:lnTo>
                    <a:lnTo>
                      <a:pt x="479" y="74"/>
                    </a:lnTo>
                    <a:lnTo>
                      <a:pt x="480" y="76"/>
                    </a:lnTo>
                    <a:lnTo>
                      <a:pt x="487" y="77"/>
                    </a:lnTo>
                    <a:lnTo>
                      <a:pt x="490" y="90"/>
                    </a:lnTo>
                    <a:lnTo>
                      <a:pt x="493" y="98"/>
                    </a:lnTo>
                    <a:lnTo>
                      <a:pt x="495" y="101"/>
                    </a:lnTo>
                    <a:lnTo>
                      <a:pt x="496" y="102"/>
                    </a:lnTo>
                    <a:lnTo>
                      <a:pt x="496" y="104"/>
                    </a:lnTo>
                    <a:lnTo>
                      <a:pt x="498" y="106"/>
                    </a:lnTo>
                    <a:lnTo>
                      <a:pt x="498" y="110"/>
                    </a:lnTo>
                    <a:lnTo>
                      <a:pt x="501" y="115"/>
                    </a:lnTo>
                    <a:lnTo>
                      <a:pt x="504" y="121"/>
                    </a:lnTo>
                    <a:lnTo>
                      <a:pt x="504" y="123"/>
                    </a:lnTo>
                    <a:lnTo>
                      <a:pt x="509" y="123"/>
                    </a:lnTo>
                    <a:lnTo>
                      <a:pt x="511" y="123"/>
                    </a:lnTo>
                    <a:lnTo>
                      <a:pt x="511" y="125"/>
                    </a:lnTo>
                    <a:lnTo>
                      <a:pt x="511" y="126"/>
                    </a:lnTo>
                    <a:lnTo>
                      <a:pt x="512" y="133"/>
                    </a:lnTo>
                    <a:lnTo>
                      <a:pt x="512" y="134"/>
                    </a:lnTo>
                    <a:lnTo>
                      <a:pt x="515" y="137"/>
                    </a:lnTo>
                    <a:lnTo>
                      <a:pt x="515" y="139"/>
                    </a:lnTo>
                    <a:lnTo>
                      <a:pt x="515" y="140"/>
                    </a:lnTo>
                    <a:lnTo>
                      <a:pt x="517" y="140"/>
                    </a:lnTo>
                    <a:lnTo>
                      <a:pt x="517" y="142"/>
                    </a:lnTo>
                    <a:lnTo>
                      <a:pt x="517" y="144"/>
                    </a:lnTo>
                    <a:lnTo>
                      <a:pt x="517" y="145"/>
                    </a:lnTo>
                    <a:lnTo>
                      <a:pt x="518" y="145"/>
                    </a:lnTo>
                    <a:lnTo>
                      <a:pt x="518" y="147"/>
                    </a:lnTo>
                    <a:lnTo>
                      <a:pt x="520" y="147"/>
                    </a:lnTo>
                    <a:lnTo>
                      <a:pt x="520" y="148"/>
                    </a:lnTo>
                    <a:lnTo>
                      <a:pt x="522" y="148"/>
                    </a:lnTo>
                    <a:lnTo>
                      <a:pt x="522" y="150"/>
                    </a:lnTo>
                    <a:lnTo>
                      <a:pt x="523" y="150"/>
                    </a:lnTo>
                    <a:lnTo>
                      <a:pt x="525" y="152"/>
                    </a:lnTo>
                    <a:lnTo>
                      <a:pt x="526" y="152"/>
                    </a:lnTo>
                    <a:lnTo>
                      <a:pt x="526" y="153"/>
                    </a:lnTo>
                    <a:lnTo>
                      <a:pt x="528" y="153"/>
                    </a:lnTo>
                    <a:lnTo>
                      <a:pt x="528" y="155"/>
                    </a:lnTo>
                    <a:lnTo>
                      <a:pt x="530" y="155"/>
                    </a:lnTo>
                    <a:lnTo>
                      <a:pt x="531" y="155"/>
                    </a:lnTo>
                    <a:lnTo>
                      <a:pt x="531" y="153"/>
                    </a:lnTo>
                    <a:lnTo>
                      <a:pt x="533" y="153"/>
                    </a:lnTo>
                    <a:lnTo>
                      <a:pt x="534" y="153"/>
                    </a:lnTo>
                    <a:lnTo>
                      <a:pt x="536" y="153"/>
                    </a:lnTo>
                    <a:lnTo>
                      <a:pt x="537" y="153"/>
                    </a:lnTo>
                    <a:lnTo>
                      <a:pt x="537" y="152"/>
                    </a:lnTo>
                    <a:lnTo>
                      <a:pt x="539" y="152"/>
                    </a:lnTo>
                    <a:lnTo>
                      <a:pt x="541" y="152"/>
                    </a:lnTo>
                    <a:lnTo>
                      <a:pt x="541" y="150"/>
                    </a:lnTo>
                    <a:lnTo>
                      <a:pt x="541" y="148"/>
                    </a:lnTo>
                    <a:lnTo>
                      <a:pt x="542" y="148"/>
                    </a:lnTo>
                    <a:lnTo>
                      <a:pt x="542" y="147"/>
                    </a:lnTo>
                    <a:lnTo>
                      <a:pt x="542" y="145"/>
                    </a:lnTo>
                    <a:lnTo>
                      <a:pt x="542" y="144"/>
                    </a:lnTo>
                    <a:lnTo>
                      <a:pt x="544" y="144"/>
                    </a:lnTo>
                    <a:lnTo>
                      <a:pt x="544" y="142"/>
                    </a:lnTo>
                    <a:lnTo>
                      <a:pt x="545" y="140"/>
                    </a:lnTo>
                    <a:lnTo>
                      <a:pt x="545" y="139"/>
                    </a:lnTo>
                    <a:lnTo>
                      <a:pt x="545" y="137"/>
                    </a:lnTo>
                    <a:lnTo>
                      <a:pt x="547" y="137"/>
                    </a:lnTo>
                    <a:lnTo>
                      <a:pt x="547" y="136"/>
                    </a:lnTo>
                    <a:lnTo>
                      <a:pt x="549" y="134"/>
                    </a:lnTo>
                    <a:lnTo>
                      <a:pt x="549" y="133"/>
                    </a:lnTo>
                    <a:lnTo>
                      <a:pt x="550" y="133"/>
                    </a:lnTo>
                    <a:lnTo>
                      <a:pt x="550" y="131"/>
                    </a:lnTo>
                    <a:lnTo>
                      <a:pt x="552" y="129"/>
                    </a:lnTo>
                    <a:lnTo>
                      <a:pt x="552" y="128"/>
                    </a:lnTo>
                    <a:lnTo>
                      <a:pt x="553" y="128"/>
                    </a:lnTo>
                    <a:lnTo>
                      <a:pt x="553" y="126"/>
                    </a:lnTo>
                    <a:lnTo>
                      <a:pt x="552" y="125"/>
                    </a:lnTo>
                    <a:lnTo>
                      <a:pt x="547" y="120"/>
                    </a:lnTo>
                    <a:lnTo>
                      <a:pt x="541" y="110"/>
                    </a:lnTo>
                    <a:lnTo>
                      <a:pt x="537" y="109"/>
                    </a:lnTo>
                    <a:lnTo>
                      <a:pt x="539" y="107"/>
                    </a:lnTo>
                    <a:lnTo>
                      <a:pt x="542" y="104"/>
                    </a:lnTo>
                    <a:lnTo>
                      <a:pt x="547" y="95"/>
                    </a:lnTo>
                    <a:lnTo>
                      <a:pt x="547" y="90"/>
                    </a:lnTo>
                    <a:lnTo>
                      <a:pt x="547" y="88"/>
                    </a:lnTo>
                    <a:lnTo>
                      <a:pt x="547" y="87"/>
                    </a:lnTo>
                    <a:lnTo>
                      <a:pt x="549" y="80"/>
                    </a:lnTo>
                    <a:lnTo>
                      <a:pt x="549" y="79"/>
                    </a:lnTo>
                    <a:lnTo>
                      <a:pt x="547" y="79"/>
                    </a:lnTo>
                    <a:lnTo>
                      <a:pt x="549" y="77"/>
                    </a:lnTo>
                    <a:lnTo>
                      <a:pt x="549" y="76"/>
                    </a:lnTo>
                    <a:lnTo>
                      <a:pt x="550" y="76"/>
                    </a:lnTo>
                    <a:lnTo>
                      <a:pt x="550" y="74"/>
                    </a:lnTo>
                    <a:lnTo>
                      <a:pt x="552" y="72"/>
                    </a:lnTo>
                    <a:lnTo>
                      <a:pt x="552" y="71"/>
                    </a:lnTo>
                    <a:lnTo>
                      <a:pt x="553" y="71"/>
                    </a:lnTo>
                    <a:lnTo>
                      <a:pt x="553" y="69"/>
                    </a:lnTo>
                    <a:lnTo>
                      <a:pt x="553" y="68"/>
                    </a:lnTo>
                    <a:lnTo>
                      <a:pt x="556" y="68"/>
                    </a:lnTo>
                    <a:lnTo>
                      <a:pt x="561" y="66"/>
                    </a:lnTo>
                    <a:lnTo>
                      <a:pt x="564" y="66"/>
                    </a:lnTo>
                    <a:lnTo>
                      <a:pt x="568" y="64"/>
                    </a:lnTo>
                    <a:lnTo>
                      <a:pt x="571" y="63"/>
                    </a:lnTo>
                    <a:lnTo>
                      <a:pt x="574" y="61"/>
                    </a:lnTo>
                    <a:lnTo>
                      <a:pt x="577" y="61"/>
                    </a:lnTo>
                    <a:lnTo>
                      <a:pt x="579" y="60"/>
                    </a:lnTo>
                    <a:lnTo>
                      <a:pt x="582" y="58"/>
                    </a:lnTo>
                    <a:lnTo>
                      <a:pt x="585" y="55"/>
                    </a:lnTo>
                    <a:lnTo>
                      <a:pt x="588" y="52"/>
                    </a:lnTo>
                    <a:lnTo>
                      <a:pt x="590" y="50"/>
                    </a:lnTo>
                    <a:lnTo>
                      <a:pt x="591" y="50"/>
                    </a:lnTo>
                    <a:lnTo>
                      <a:pt x="596" y="47"/>
                    </a:lnTo>
                    <a:lnTo>
                      <a:pt x="602" y="44"/>
                    </a:lnTo>
                    <a:lnTo>
                      <a:pt x="607" y="42"/>
                    </a:lnTo>
                    <a:lnTo>
                      <a:pt x="610" y="39"/>
                    </a:lnTo>
                    <a:lnTo>
                      <a:pt x="610" y="38"/>
                    </a:lnTo>
                    <a:lnTo>
                      <a:pt x="612" y="38"/>
                    </a:lnTo>
                    <a:lnTo>
                      <a:pt x="613" y="38"/>
                    </a:lnTo>
                    <a:lnTo>
                      <a:pt x="615" y="38"/>
                    </a:lnTo>
                    <a:lnTo>
                      <a:pt x="617" y="38"/>
                    </a:lnTo>
                    <a:lnTo>
                      <a:pt x="618" y="36"/>
                    </a:lnTo>
                    <a:lnTo>
                      <a:pt x="620" y="36"/>
                    </a:lnTo>
                    <a:lnTo>
                      <a:pt x="621" y="34"/>
                    </a:lnTo>
                    <a:lnTo>
                      <a:pt x="623" y="34"/>
                    </a:lnTo>
                    <a:lnTo>
                      <a:pt x="625" y="33"/>
                    </a:lnTo>
                    <a:lnTo>
                      <a:pt x="626" y="31"/>
                    </a:lnTo>
                    <a:lnTo>
                      <a:pt x="628" y="31"/>
                    </a:lnTo>
                    <a:lnTo>
                      <a:pt x="628" y="30"/>
                    </a:lnTo>
                    <a:lnTo>
                      <a:pt x="629" y="30"/>
                    </a:lnTo>
                    <a:lnTo>
                      <a:pt x="631" y="28"/>
                    </a:lnTo>
                    <a:lnTo>
                      <a:pt x="631" y="26"/>
                    </a:lnTo>
                    <a:lnTo>
                      <a:pt x="632" y="26"/>
                    </a:lnTo>
                    <a:lnTo>
                      <a:pt x="634" y="25"/>
                    </a:lnTo>
                    <a:lnTo>
                      <a:pt x="636" y="23"/>
                    </a:lnTo>
                    <a:lnTo>
                      <a:pt x="637" y="23"/>
                    </a:lnTo>
                    <a:lnTo>
                      <a:pt x="637" y="22"/>
                    </a:lnTo>
                    <a:lnTo>
                      <a:pt x="639" y="22"/>
                    </a:lnTo>
                    <a:lnTo>
                      <a:pt x="639" y="20"/>
                    </a:lnTo>
                    <a:lnTo>
                      <a:pt x="640" y="20"/>
                    </a:lnTo>
                    <a:lnTo>
                      <a:pt x="642" y="20"/>
                    </a:lnTo>
                    <a:lnTo>
                      <a:pt x="642" y="19"/>
                    </a:lnTo>
                    <a:lnTo>
                      <a:pt x="644" y="19"/>
                    </a:lnTo>
                    <a:lnTo>
                      <a:pt x="645" y="17"/>
                    </a:lnTo>
                    <a:lnTo>
                      <a:pt x="647" y="17"/>
                    </a:lnTo>
                    <a:lnTo>
                      <a:pt x="647" y="19"/>
                    </a:lnTo>
                    <a:lnTo>
                      <a:pt x="645" y="19"/>
                    </a:lnTo>
                    <a:lnTo>
                      <a:pt x="645" y="20"/>
                    </a:lnTo>
                    <a:lnTo>
                      <a:pt x="645" y="22"/>
                    </a:lnTo>
                    <a:lnTo>
                      <a:pt x="644" y="22"/>
                    </a:lnTo>
                    <a:lnTo>
                      <a:pt x="644" y="23"/>
                    </a:lnTo>
                    <a:lnTo>
                      <a:pt x="644" y="25"/>
                    </a:lnTo>
                    <a:lnTo>
                      <a:pt x="642" y="25"/>
                    </a:lnTo>
                    <a:lnTo>
                      <a:pt x="642" y="26"/>
                    </a:lnTo>
                    <a:lnTo>
                      <a:pt x="642" y="25"/>
                    </a:lnTo>
                    <a:lnTo>
                      <a:pt x="644" y="25"/>
                    </a:lnTo>
                    <a:lnTo>
                      <a:pt x="644" y="26"/>
                    </a:lnTo>
                    <a:lnTo>
                      <a:pt x="645" y="26"/>
                    </a:lnTo>
                    <a:lnTo>
                      <a:pt x="647" y="26"/>
                    </a:lnTo>
                    <a:lnTo>
                      <a:pt x="647" y="28"/>
                    </a:lnTo>
                    <a:lnTo>
                      <a:pt x="648" y="28"/>
                    </a:lnTo>
                    <a:lnTo>
                      <a:pt x="647" y="28"/>
                    </a:lnTo>
                    <a:lnTo>
                      <a:pt x="647" y="26"/>
                    </a:lnTo>
                    <a:lnTo>
                      <a:pt x="647" y="25"/>
                    </a:lnTo>
                    <a:lnTo>
                      <a:pt x="647" y="23"/>
                    </a:lnTo>
                    <a:lnTo>
                      <a:pt x="647" y="25"/>
                    </a:lnTo>
                    <a:lnTo>
                      <a:pt x="648" y="25"/>
                    </a:lnTo>
                    <a:lnTo>
                      <a:pt x="648" y="23"/>
                    </a:lnTo>
                    <a:lnTo>
                      <a:pt x="648" y="22"/>
                    </a:lnTo>
                    <a:lnTo>
                      <a:pt x="648" y="20"/>
                    </a:lnTo>
                    <a:lnTo>
                      <a:pt x="648" y="19"/>
                    </a:lnTo>
                    <a:lnTo>
                      <a:pt x="650" y="19"/>
                    </a:lnTo>
                    <a:lnTo>
                      <a:pt x="650" y="17"/>
                    </a:lnTo>
                    <a:lnTo>
                      <a:pt x="650" y="15"/>
                    </a:lnTo>
                    <a:lnTo>
                      <a:pt x="650" y="14"/>
                    </a:lnTo>
                    <a:lnTo>
                      <a:pt x="648" y="14"/>
                    </a:lnTo>
                    <a:lnTo>
                      <a:pt x="647" y="14"/>
                    </a:lnTo>
                    <a:lnTo>
                      <a:pt x="647" y="12"/>
                    </a:lnTo>
                    <a:lnTo>
                      <a:pt x="647" y="11"/>
                    </a:lnTo>
                    <a:lnTo>
                      <a:pt x="645" y="11"/>
                    </a:lnTo>
                    <a:lnTo>
                      <a:pt x="645" y="9"/>
                    </a:lnTo>
                    <a:lnTo>
                      <a:pt x="644" y="9"/>
                    </a:lnTo>
                    <a:lnTo>
                      <a:pt x="644" y="7"/>
                    </a:lnTo>
                    <a:lnTo>
                      <a:pt x="644" y="6"/>
                    </a:lnTo>
                    <a:lnTo>
                      <a:pt x="645" y="6"/>
                    </a:lnTo>
                    <a:lnTo>
                      <a:pt x="645" y="4"/>
                    </a:lnTo>
                    <a:lnTo>
                      <a:pt x="645" y="3"/>
                    </a:lnTo>
                    <a:lnTo>
                      <a:pt x="647" y="3"/>
                    </a:lnTo>
                    <a:lnTo>
                      <a:pt x="647" y="1"/>
                    </a:lnTo>
                    <a:lnTo>
                      <a:pt x="647" y="0"/>
                    </a:lnTo>
                    <a:lnTo>
                      <a:pt x="648" y="0"/>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88" name="Freeform 68"/>
              <p:cNvSpPr>
                <a:spLocks/>
              </p:cNvSpPr>
              <p:nvPr/>
            </p:nvSpPr>
            <p:spPr bwMode="auto">
              <a:xfrm>
                <a:off x="5460" y="3604"/>
                <a:ext cx="8" cy="6"/>
              </a:xfrm>
              <a:custGeom>
                <a:avLst/>
                <a:gdLst>
                  <a:gd name="T0" fmla="*/ 8 w 8"/>
                  <a:gd name="T1" fmla="*/ 0 h 6"/>
                  <a:gd name="T2" fmla="*/ 8 w 8"/>
                  <a:gd name="T3" fmla="*/ 1 h 6"/>
                  <a:gd name="T4" fmla="*/ 6 w 8"/>
                  <a:gd name="T5" fmla="*/ 1 h 6"/>
                  <a:gd name="T6" fmla="*/ 5 w 8"/>
                  <a:gd name="T7" fmla="*/ 1 h 6"/>
                  <a:gd name="T8" fmla="*/ 5 w 8"/>
                  <a:gd name="T9" fmla="*/ 3 h 6"/>
                  <a:gd name="T10" fmla="*/ 3 w 8"/>
                  <a:gd name="T11" fmla="*/ 3 h 6"/>
                  <a:gd name="T12" fmla="*/ 2 w 8"/>
                  <a:gd name="T13" fmla="*/ 3 h 6"/>
                  <a:gd name="T14" fmla="*/ 2 w 8"/>
                  <a:gd name="T15" fmla="*/ 4 h 6"/>
                  <a:gd name="T16" fmla="*/ 2 w 8"/>
                  <a:gd name="T17" fmla="*/ 6 h 6"/>
                  <a:gd name="T18" fmla="*/ 0 w 8"/>
                  <a:gd name="T19" fmla="*/ 6 h 6"/>
                  <a:gd name="T20" fmla="*/ 0 w 8"/>
                  <a:gd name="T21" fmla="*/ 4 h 6"/>
                  <a:gd name="T22" fmla="*/ 0 w 8"/>
                  <a:gd name="T23" fmla="*/ 3 h 6"/>
                  <a:gd name="T24" fmla="*/ 2 w 8"/>
                  <a:gd name="T25" fmla="*/ 3 h 6"/>
                  <a:gd name="T26" fmla="*/ 2 w 8"/>
                  <a:gd name="T27" fmla="*/ 1 h 6"/>
                  <a:gd name="T28" fmla="*/ 2 w 8"/>
                  <a:gd name="T29" fmla="*/ 3 h 6"/>
                  <a:gd name="T30" fmla="*/ 3 w 8"/>
                  <a:gd name="T31" fmla="*/ 3 h 6"/>
                  <a:gd name="T32" fmla="*/ 3 w 8"/>
                  <a:gd name="T33" fmla="*/ 1 h 6"/>
                  <a:gd name="T34" fmla="*/ 3 w 8"/>
                  <a:gd name="T35" fmla="*/ 0 h 6"/>
                  <a:gd name="T36" fmla="*/ 5 w 8"/>
                  <a:gd name="T37" fmla="*/ 0 h 6"/>
                  <a:gd name="T38" fmla="*/ 6 w 8"/>
                  <a:gd name="T39" fmla="*/ 0 h 6"/>
                  <a:gd name="T40" fmla="*/ 8 w 8"/>
                  <a:gd name="T4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6">
                    <a:moveTo>
                      <a:pt x="8" y="0"/>
                    </a:moveTo>
                    <a:lnTo>
                      <a:pt x="8" y="1"/>
                    </a:lnTo>
                    <a:lnTo>
                      <a:pt x="6" y="1"/>
                    </a:lnTo>
                    <a:lnTo>
                      <a:pt x="5" y="1"/>
                    </a:lnTo>
                    <a:lnTo>
                      <a:pt x="5" y="3"/>
                    </a:lnTo>
                    <a:lnTo>
                      <a:pt x="3" y="3"/>
                    </a:lnTo>
                    <a:lnTo>
                      <a:pt x="2" y="3"/>
                    </a:lnTo>
                    <a:lnTo>
                      <a:pt x="2" y="4"/>
                    </a:lnTo>
                    <a:lnTo>
                      <a:pt x="2" y="6"/>
                    </a:lnTo>
                    <a:lnTo>
                      <a:pt x="0" y="6"/>
                    </a:lnTo>
                    <a:lnTo>
                      <a:pt x="0" y="4"/>
                    </a:lnTo>
                    <a:lnTo>
                      <a:pt x="0" y="3"/>
                    </a:lnTo>
                    <a:lnTo>
                      <a:pt x="2" y="3"/>
                    </a:lnTo>
                    <a:lnTo>
                      <a:pt x="2" y="1"/>
                    </a:lnTo>
                    <a:lnTo>
                      <a:pt x="2" y="3"/>
                    </a:lnTo>
                    <a:lnTo>
                      <a:pt x="3" y="3"/>
                    </a:lnTo>
                    <a:lnTo>
                      <a:pt x="3" y="1"/>
                    </a:lnTo>
                    <a:lnTo>
                      <a:pt x="3" y="0"/>
                    </a:lnTo>
                    <a:lnTo>
                      <a:pt x="5" y="0"/>
                    </a:lnTo>
                    <a:lnTo>
                      <a:pt x="6" y="0"/>
                    </a:lnTo>
                    <a:lnTo>
                      <a:pt x="8"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89" name="Freeform 69"/>
              <p:cNvSpPr>
                <a:spLocks/>
              </p:cNvSpPr>
              <p:nvPr/>
            </p:nvSpPr>
            <p:spPr bwMode="auto">
              <a:xfrm>
                <a:off x="5457" y="3591"/>
                <a:ext cx="17" cy="16"/>
              </a:xfrm>
              <a:custGeom>
                <a:avLst/>
                <a:gdLst>
                  <a:gd name="T0" fmla="*/ 17 w 17"/>
                  <a:gd name="T1" fmla="*/ 0 h 16"/>
                  <a:gd name="T2" fmla="*/ 17 w 17"/>
                  <a:gd name="T3" fmla="*/ 2 h 16"/>
                  <a:gd name="T4" fmla="*/ 17 w 17"/>
                  <a:gd name="T5" fmla="*/ 3 h 16"/>
                  <a:gd name="T6" fmla="*/ 17 w 17"/>
                  <a:gd name="T7" fmla="*/ 5 h 16"/>
                  <a:gd name="T8" fmla="*/ 17 w 17"/>
                  <a:gd name="T9" fmla="*/ 6 h 16"/>
                  <a:gd name="T10" fmla="*/ 17 w 17"/>
                  <a:gd name="T11" fmla="*/ 8 h 16"/>
                  <a:gd name="T12" fmla="*/ 17 w 17"/>
                  <a:gd name="T13" fmla="*/ 10 h 16"/>
                  <a:gd name="T14" fmla="*/ 17 w 17"/>
                  <a:gd name="T15" fmla="*/ 11 h 16"/>
                  <a:gd name="T16" fmla="*/ 16 w 17"/>
                  <a:gd name="T17" fmla="*/ 11 h 16"/>
                  <a:gd name="T18" fmla="*/ 14 w 17"/>
                  <a:gd name="T19" fmla="*/ 11 h 16"/>
                  <a:gd name="T20" fmla="*/ 14 w 17"/>
                  <a:gd name="T21" fmla="*/ 13 h 16"/>
                  <a:gd name="T22" fmla="*/ 14 w 17"/>
                  <a:gd name="T23" fmla="*/ 14 h 16"/>
                  <a:gd name="T24" fmla="*/ 13 w 17"/>
                  <a:gd name="T25" fmla="*/ 14 h 16"/>
                  <a:gd name="T26" fmla="*/ 13 w 17"/>
                  <a:gd name="T27" fmla="*/ 16 h 16"/>
                  <a:gd name="T28" fmla="*/ 13 w 17"/>
                  <a:gd name="T29" fmla="*/ 14 h 16"/>
                  <a:gd name="T30" fmla="*/ 13 w 17"/>
                  <a:gd name="T31" fmla="*/ 13 h 16"/>
                  <a:gd name="T32" fmla="*/ 11 w 17"/>
                  <a:gd name="T33" fmla="*/ 13 h 16"/>
                  <a:gd name="T34" fmla="*/ 9 w 17"/>
                  <a:gd name="T35" fmla="*/ 13 h 16"/>
                  <a:gd name="T36" fmla="*/ 8 w 17"/>
                  <a:gd name="T37" fmla="*/ 13 h 16"/>
                  <a:gd name="T38" fmla="*/ 6 w 17"/>
                  <a:gd name="T39" fmla="*/ 13 h 16"/>
                  <a:gd name="T40" fmla="*/ 6 w 17"/>
                  <a:gd name="T41" fmla="*/ 14 h 16"/>
                  <a:gd name="T42" fmla="*/ 5 w 17"/>
                  <a:gd name="T43" fmla="*/ 14 h 16"/>
                  <a:gd name="T44" fmla="*/ 5 w 17"/>
                  <a:gd name="T45" fmla="*/ 13 h 16"/>
                  <a:gd name="T46" fmla="*/ 5 w 17"/>
                  <a:gd name="T47" fmla="*/ 14 h 16"/>
                  <a:gd name="T48" fmla="*/ 3 w 17"/>
                  <a:gd name="T49" fmla="*/ 14 h 16"/>
                  <a:gd name="T50" fmla="*/ 1 w 17"/>
                  <a:gd name="T51" fmla="*/ 14 h 16"/>
                  <a:gd name="T52" fmla="*/ 0 w 17"/>
                  <a:gd name="T53" fmla="*/ 14 h 16"/>
                  <a:gd name="T54" fmla="*/ 0 w 17"/>
                  <a:gd name="T55" fmla="*/ 13 h 16"/>
                  <a:gd name="T56" fmla="*/ 1 w 17"/>
                  <a:gd name="T57" fmla="*/ 13 h 16"/>
                  <a:gd name="T58" fmla="*/ 1 w 17"/>
                  <a:gd name="T59" fmla="*/ 11 h 16"/>
                  <a:gd name="T60" fmla="*/ 3 w 17"/>
                  <a:gd name="T61" fmla="*/ 11 h 16"/>
                  <a:gd name="T62" fmla="*/ 3 w 17"/>
                  <a:gd name="T63" fmla="*/ 10 h 16"/>
                  <a:gd name="T64" fmla="*/ 5 w 17"/>
                  <a:gd name="T65" fmla="*/ 10 h 16"/>
                  <a:gd name="T66" fmla="*/ 5 w 17"/>
                  <a:gd name="T67" fmla="*/ 8 h 16"/>
                  <a:gd name="T68" fmla="*/ 6 w 17"/>
                  <a:gd name="T69" fmla="*/ 8 h 16"/>
                  <a:gd name="T70" fmla="*/ 6 w 17"/>
                  <a:gd name="T71" fmla="*/ 6 h 16"/>
                  <a:gd name="T72" fmla="*/ 8 w 17"/>
                  <a:gd name="T73" fmla="*/ 6 h 16"/>
                  <a:gd name="T74" fmla="*/ 8 w 17"/>
                  <a:gd name="T75" fmla="*/ 5 h 16"/>
                  <a:gd name="T76" fmla="*/ 9 w 17"/>
                  <a:gd name="T77" fmla="*/ 5 h 16"/>
                  <a:gd name="T78" fmla="*/ 11 w 17"/>
                  <a:gd name="T79" fmla="*/ 5 h 16"/>
                  <a:gd name="T80" fmla="*/ 11 w 17"/>
                  <a:gd name="T81" fmla="*/ 3 h 16"/>
                  <a:gd name="T82" fmla="*/ 13 w 17"/>
                  <a:gd name="T83" fmla="*/ 3 h 16"/>
                  <a:gd name="T84" fmla="*/ 14 w 17"/>
                  <a:gd name="T85" fmla="*/ 3 h 16"/>
                  <a:gd name="T86" fmla="*/ 14 w 17"/>
                  <a:gd name="T87" fmla="*/ 2 h 16"/>
                  <a:gd name="T88" fmla="*/ 16 w 17"/>
                  <a:gd name="T89" fmla="*/ 2 h 16"/>
                  <a:gd name="T90" fmla="*/ 17 w 17"/>
                  <a:gd name="T91" fmla="*/ 2 h 16"/>
                  <a:gd name="T92" fmla="*/ 17 w 17"/>
                  <a:gd name="T9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 h="16">
                    <a:moveTo>
                      <a:pt x="17" y="0"/>
                    </a:moveTo>
                    <a:lnTo>
                      <a:pt x="17" y="2"/>
                    </a:lnTo>
                    <a:lnTo>
                      <a:pt x="17" y="3"/>
                    </a:lnTo>
                    <a:lnTo>
                      <a:pt x="17" y="5"/>
                    </a:lnTo>
                    <a:lnTo>
                      <a:pt x="17" y="6"/>
                    </a:lnTo>
                    <a:lnTo>
                      <a:pt x="17" y="8"/>
                    </a:lnTo>
                    <a:lnTo>
                      <a:pt x="17" y="10"/>
                    </a:lnTo>
                    <a:lnTo>
                      <a:pt x="17" y="11"/>
                    </a:lnTo>
                    <a:lnTo>
                      <a:pt x="16" y="11"/>
                    </a:lnTo>
                    <a:lnTo>
                      <a:pt x="14" y="11"/>
                    </a:lnTo>
                    <a:lnTo>
                      <a:pt x="14" y="13"/>
                    </a:lnTo>
                    <a:lnTo>
                      <a:pt x="14" y="14"/>
                    </a:lnTo>
                    <a:lnTo>
                      <a:pt x="13" y="14"/>
                    </a:lnTo>
                    <a:lnTo>
                      <a:pt x="13" y="16"/>
                    </a:lnTo>
                    <a:lnTo>
                      <a:pt x="13" y="14"/>
                    </a:lnTo>
                    <a:lnTo>
                      <a:pt x="13" y="13"/>
                    </a:lnTo>
                    <a:lnTo>
                      <a:pt x="11" y="13"/>
                    </a:lnTo>
                    <a:lnTo>
                      <a:pt x="9" y="13"/>
                    </a:lnTo>
                    <a:lnTo>
                      <a:pt x="8" y="13"/>
                    </a:lnTo>
                    <a:lnTo>
                      <a:pt x="6" y="13"/>
                    </a:lnTo>
                    <a:lnTo>
                      <a:pt x="6" y="14"/>
                    </a:lnTo>
                    <a:lnTo>
                      <a:pt x="5" y="14"/>
                    </a:lnTo>
                    <a:lnTo>
                      <a:pt x="5" y="13"/>
                    </a:lnTo>
                    <a:lnTo>
                      <a:pt x="5" y="14"/>
                    </a:lnTo>
                    <a:lnTo>
                      <a:pt x="3" y="14"/>
                    </a:lnTo>
                    <a:lnTo>
                      <a:pt x="1" y="14"/>
                    </a:lnTo>
                    <a:lnTo>
                      <a:pt x="0" y="14"/>
                    </a:lnTo>
                    <a:lnTo>
                      <a:pt x="0" y="13"/>
                    </a:lnTo>
                    <a:lnTo>
                      <a:pt x="1" y="13"/>
                    </a:lnTo>
                    <a:lnTo>
                      <a:pt x="1" y="11"/>
                    </a:lnTo>
                    <a:lnTo>
                      <a:pt x="3" y="11"/>
                    </a:lnTo>
                    <a:lnTo>
                      <a:pt x="3" y="10"/>
                    </a:lnTo>
                    <a:lnTo>
                      <a:pt x="5" y="10"/>
                    </a:lnTo>
                    <a:lnTo>
                      <a:pt x="5" y="8"/>
                    </a:lnTo>
                    <a:lnTo>
                      <a:pt x="6" y="8"/>
                    </a:lnTo>
                    <a:lnTo>
                      <a:pt x="6" y="6"/>
                    </a:lnTo>
                    <a:lnTo>
                      <a:pt x="8" y="6"/>
                    </a:lnTo>
                    <a:lnTo>
                      <a:pt x="8" y="5"/>
                    </a:lnTo>
                    <a:lnTo>
                      <a:pt x="9" y="5"/>
                    </a:lnTo>
                    <a:lnTo>
                      <a:pt x="11" y="5"/>
                    </a:lnTo>
                    <a:lnTo>
                      <a:pt x="11" y="3"/>
                    </a:lnTo>
                    <a:lnTo>
                      <a:pt x="13" y="3"/>
                    </a:lnTo>
                    <a:lnTo>
                      <a:pt x="14" y="3"/>
                    </a:lnTo>
                    <a:lnTo>
                      <a:pt x="14" y="2"/>
                    </a:lnTo>
                    <a:lnTo>
                      <a:pt x="16" y="2"/>
                    </a:lnTo>
                    <a:lnTo>
                      <a:pt x="17" y="2"/>
                    </a:lnTo>
                    <a:lnTo>
                      <a:pt x="17"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90" name="Freeform 70"/>
              <p:cNvSpPr>
                <a:spLocks/>
              </p:cNvSpPr>
              <p:nvPr/>
            </p:nvSpPr>
            <p:spPr bwMode="auto">
              <a:xfrm>
                <a:off x="5457" y="3555"/>
                <a:ext cx="5" cy="8"/>
              </a:xfrm>
              <a:custGeom>
                <a:avLst/>
                <a:gdLst>
                  <a:gd name="T0" fmla="*/ 1 w 5"/>
                  <a:gd name="T1" fmla="*/ 0 h 8"/>
                  <a:gd name="T2" fmla="*/ 1 w 5"/>
                  <a:gd name="T3" fmla="*/ 1 h 8"/>
                  <a:gd name="T4" fmla="*/ 3 w 5"/>
                  <a:gd name="T5" fmla="*/ 1 h 8"/>
                  <a:gd name="T6" fmla="*/ 3 w 5"/>
                  <a:gd name="T7" fmla="*/ 3 h 8"/>
                  <a:gd name="T8" fmla="*/ 5 w 5"/>
                  <a:gd name="T9" fmla="*/ 3 h 8"/>
                  <a:gd name="T10" fmla="*/ 5 w 5"/>
                  <a:gd name="T11" fmla="*/ 4 h 8"/>
                  <a:gd name="T12" fmla="*/ 3 w 5"/>
                  <a:gd name="T13" fmla="*/ 4 h 8"/>
                  <a:gd name="T14" fmla="*/ 3 w 5"/>
                  <a:gd name="T15" fmla="*/ 6 h 8"/>
                  <a:gd name="T16" fmla="*/ 3 w 5"/>
                  <a:gd name="T17" fmla="*/ 4 h 8"/>
                  <a:gd name="T18" fmla="*/ 3 w 5"/>
                  <a:gd name="T19" fmla="*/ 6 h 8"/>
                  <a:gd name="T20" fmla="*/ 3 w 5"/>
                  <a:gd name="T21" fmla="*/ 8 h 8"/>
                  <a:gd name="T22" fmla="*/ 1 w 5"/>
                  <a:gd name="T23" fmla="*/ 8 h 8"/>
                  <a:gd name="T24" fmla="*/ 0 w 5"/>
                  <a:gd name="T25" fmla="*/ 8 h 8"/>
                  <a:gd name="T26" fmla="*/ 0 w 5"/>
                  <a:gd name="T27" fmla="*/ 6 h 8"/>
                  <a:gd name="T28" fmla="*/ 0 w 5"/>
                  <a:gd name="T29" fmla="*/ 4 h 8"/>
                  <a:gd name="T30" fmla="*/ 1 w 5"/>
                  <a:gd name="T31" fmla="*/ 4 h 8"/>
                  <a:gd name="T32" fmla="*/ 1 w 5"/>
                  <a:gd name="T33" fmla="*/ 3 h 8"/>
                  <a:gd name="T34" fmla="*/ 0 w 5"/>
                  <a:gd name="T35" fmla="*/ 3 h 8"/>
                  <a:gd name="T36" fmla="*/ 0 w 5"/>
                  <a:gd name="T37" fmla="*/ 1 h 8"/>
                  <a:gd name="T38" fmla="*/ 1 w 5"/>
                  <a:gd name="T39" fmla="*/ 1 h 8"/>
                  <a:gd name="T40" fmla="*/ 1 w 5"/>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 h="8">
                    <a:moveTo>
                      <a:pt x="1" y="0"/>
                    </a:moveTo>
                    <a:lnTo>
                      <a:pt x="1" y="1"/>
                    </a:lnTo>
                    <a:lnTo>
                      <a:pt x="3" y="1"/>
                    </a:lnTo>
                    <a:lnTo>
                      <a:pt x="3" y="3"/>
                    </a:lnTo>
                    <a:lnTo>
                      <a:pt x="5" y="3"/>
                    </a:lnTo>
                    <a:lnTo>
                      <a:pt x="5" y="4"/>
                    </a:lnTo>
                    <a:lnTo>
                      <a:pt x="3" y="4"/>
                    </a:lnTo>
                    <a:lnTo>
                      <a:pt x="3" y="6"/>
                    </a:lnTo>
                    <a:lnTo>
                      <a:pt x="3" y="4"/>
                    </a:lnTo>
                    <a:lnTo>
                      <a:pt x="3" y="6"/>
                    </a:lnTo>
                    <a:lnTo>
                      <a:pt x="3" y="8"/>
                    </a:lnTo>
                    <a:lnTo>
                      <a:pt x="1" y="8"/>
                    </a:lnTo>
                    <a:lnTo>
                      <a:pt x="0" y="8"/>
                    </a:lnTo>
                    <a:lnTo>
                      <a:pt x="0" y="6"/>
                    </a:lnTo>
                    <a:lnTo>
                      <a:pt x="0" y="4"/>
                    </a:lnTo>
                    <a:lnTo>
                      <a:pt x="1" y="4"/>
                    </a:lnTo>
                    <a:lnTo>
                      <a:pt x="1" y="3"/>
                    </a:lnTo>
                    <a:lnTo>
                      <a:pt x="0" y="3"/>
                    </a:lnTo>
                    <a:lnTo>
                      <a:pt x="0" y="1"/>
                    </a:lnTo>
                    <a:lnTo>
                      <a:pt x="1" y="1"/>
                    </a:lnTo>
                    <a:lnTo>
                      <a:pt x="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91" name="Freeform 71"/>
              <p:cNvSpPr>
                <a:spLocks/>
              </p:cNvSpPr>
              <p:nvPr/>
            </p:nvSpPr>
            <p:spPr bwMode="auto">
              <a:xfrm>
                <a:off x="5438" y="3544"/>
                <a:ext cx="14" cy="11"/>
              </a:xfrm>
              <a:custGeom>
                <a:avLst/>
                <a:gdLst>
                  <a:gd name="T0" fmla="*/ 5 w 14"/>
                  <a:gd name="T1" fmla="*/ 0 h 11"/>
                  <a:gd name="T2" fmla="*/ 6 w 14"/>
                  <a:gd name="T3" fmla="*/ 0 h 11"/>
                  <a:gd name="T4" fmla="*/ 8 w 14"/>
                  <a:gd name="T5" fmla="*/ 0 h 11"/>
                  <a:gd name="T6" fmla="*/ 8 w 14"/>
                  <a:gd name="T7" fmla="*/ 1 h 11"/>
                  <a:gd name="T8" fmla="*/ 9 w 14"/>
                  <a:gd name="T9" fmla="*/ 1 h 11"/>
                  <a:gd name="T10" fmla="*/ 11 w 14"/>
                  <a:gd name="T11" fmla="*/ 1 h 11"/>
                  <a:gd name="T12" fmla="*/ 11 w 14"/>
                  <a:gd name="T13" fmla="*/ 3 h 11"/>
                  <a:gd name="T14" fmla="*/ 11 w 14"/>
                  <a:gd name="T15" fmla="*/ 4 h 11"/>
                  <a:gd name="T16" fmla="*/ 13 w 14"/>
                  <a:gd name="T17" fmla="*/ 4 h 11"/>
                  <a:gd name="T18" fmla="*/ 13 w 14"/>
                  <a:gd name="T19" fmla="*/ 6 h 11"/>
                  <a:gd name="T20" fmla="*/ 13 w 14"/>
                  <a:gd name="T21" fmla="*/ 7 h 11"/>
                  <a:gd name="T22" fmla="*/ 13 w 14"/>
                  <a:gd name="T23" fmla="*/ 9 h 11"/>
                  <a:gd name="T24" fmla="*/ 14 w 14"/>
                  <a:gd name="T25" fmla="*/ 9 h 11"/>
                  <a:gd name="T26" fmla="*/ 14 w 14"/>
                  <a:gd name="T27" fmla="*/ 11 h 11"/>
                  <a:gd name="T28" fmla="*/ 13 w 14"/>
                  <a:gd name="T29" fmla="*/ 11 h 11"/>
                  <a:gd name="T30" fmla="*/ 11 w 14"/>
                  <a:gd name="T31" fmla="*/ 11 h 11"/>
                  <a:gd name="T32" fmla="*/ 11 w 14"/>
                  <a:gd name="T33" fmla="*/ 9 h 11"/>
                  <a:gd name="T34" fmla="*/ 9 w 14"/>
                  <a:gd name="T35" fmla="*/ 9 h 11"/>
                  <a:gd name="T36" fmla="*/ 8 w 14"/>
                  <a:gd name="T37" fmla="*/ 9 h 11"/>
                  <a:gd name="T38" fmla="*/ 8 w 14"/>
                  <a:gd name="T39" fmla="*/ 7 h 11"/>
                  <a:gd name="T40" fmla="*/ 6 w 14"/>
                  <a:gd name="T41" fmla="*/ 7 h 11"/>
                  <a:gd name="T42" fmla="*/ 6 w 14"/>
                  <a:gd name="T43" fmla="*/ 6 h 11"/>
                  <a:gd name="T44" fmla="*/ 5 w 14"/>
                  <a:gd name="T45" fmla="*/ 6 h 11"/>
                  <a:gd name="T46" fmla="*/ 5 w 14"/>
                  <a:gd name="T47" fmla="*/ 4 h 11"/>
                  <a:gd name="T48" fmla="*/ 3 w 14"/>
                  <a:gd name="T49" fmla="*/ 4 h 11"/>
                  <a:gd name="T50" fmla="*/ 3 w 14"/>
                  <a:gd name="T51" fmla="*/ 3 h 11"/>
                  <a:gd name="T52" fmla="*/ 1 w 14"/>
                  <a:gd name="T53" fmla="*/ 3 h 11"/>
                  <a:gd name="T54" fmla="*/ 0 w 14"/>
                  <a:gd name="T55" fmla="*/ 3 h 11"/>
                  <a:gd name="T56" fmla="*/ 0 w 14"/>
                  <a:gd name="T57" fmla="*/ 4 h 11"/>
                  <a:gd name="T58" fmla="*/ 1 w 14"/>
                  <a:gd name="T59" fmla="*/ 4 h 11"/>
                  <a:gd name="T60" fmla="*/ 0 w 14"/>
                  <a:gd name="T61" fmla="*/ 4 h 11"/>
                  <a:gd name="T62" fmla="*/ 0 w 14"/>
                  <a:gd name="T63" fmla="*/ 3 h 11"/>
                  <a:gd name="T64" fmla="*/ 0 w 14"/>
                  <a:gd name="T65" fmla="*/ 1 h 11"/>
                  <a:gd name="T66" fmla="*/ 0 w 14"/>
                  <a:gd name="T67" fmla="*/ 0 h 11"/>
                  <a:gd name="T68" fmla="*/ 1 w 14"/>
                  <a:gd name="T69" fmla="*/ 0 h 11"/>
                  <a:gd name="T70" fmla="*/ 3 w 14"/>
                  <a:gd name="T71" fmla="*/ 0 h 11"/>
                  <a:gd name="T72" fmla="*/ 5 w 14"/>
                  <a:gd name="T7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11">
                    <a:moveTo>
                      <a:pt x="5" y="0"/>
                    </a:moveTo>
                    <a:lnTo>
                      <a:pt x="6" y="0"/>
                    </a:lnTo>
                    <a:lnTo>
                      <a:pt x="8" y="0"/>
                    </a:lnTo>
                    <a:lnTo>
                      <a:pt x="8" y="1"/>
                    </a:lnTo>
                    <a:lnTo>
                      <a:pt x="9" y="1"/>
                    </a:lnTo>
                    <a:lnTo>
                      <a:pt x="11" y="1"/>
                    </a:lnTo>
                    <a:lnTo>
                      <a:pt x="11" y="3"/>
                    </a:lnTo>
                    <a:lnTo>
                      <a:pt x="11" y="4"/>
                    </a:lnTo>
                    <a:lnTo>
                      <a:pt x="13" y="4"/>
                    </a:lnTo>
                    <a:lnTo>
                      <a:pt x="13" y="6"/>
                    </a:lnTo>
                    <a:lnTo>
                      <a:pt x="13" y="7"/>
                    </a:lnTo>
                    <a:lnTo>
                      <a:pt x="13" y="9"/>
                    </a:lnTo>
                    <a:lnTo>
                      <a:pt x="14" y="9"/>
                    </a:lnTo>
                    <a:lnTo>
                      <a:pt x="14" y="11"/>
                    </a:lnTo>
                    <a:lnTo>
                      <a:pt x="13" y="11"/>
                    </a:lnTo>
                    <a:lnTo>
                      <a:pt x="11" y="11"/>
                    </a:lnTo>
                    <a:lnTo>
                      <a:pt x="11" y="9"/>
                    </a:lnTo>
                    <a:lnTo>
                      <a:pt x="9" y="9"/>
                    </a:lnTo>
                    <a:lnTo>
                      <a:pt x="8" y="9"/>
                    </a:lnTo>
                    <a:lnTo>
                      <a:pt x="8" y="7"/>
                    </a:lnTo>
                    <a:lnTo>
                      <a:pt x="6" y="7"/>
                    </a:lnTo>
                    <a:lnTo>
                      <a:pt x="6" y="6"/>
                    </a:lnTo>
                    <a:lnTo>
                      <a:pt x="5" y="6"/>
                    </a:lnTo>
                    <a:lnTo>
                      <a:pt x="5" y="4"/>
                    </a:lnTo>
                    <a:lnTo>
                      <a:pt x="3" y="4"/>
                    </a:lnTo>
                    <a:lnTo>
                      <a:pt x="3" y="3"/>
                    </a:lnTo>
                    <a:lnTo>
                      <a:pt x="1" y="3"/>
                    </a:lnTo>
                    <a:lnTo>
                      <a:pt x="0" y="3"/>
                    </a:lnTo>
                    <a:lnTo>
                      <a:pt x="0" y="4"/>
                    </a:lnTo>
                    <a:lnTo>
                      <a:pt x="1" y="4"/>
                    </a:lnTo>
                    <a:lnTo>
                      <a:pt x="0" y="4"/>
                    </a:lnTo>
                    <a:lnTo>
                      <a:pt x="0" y="3"/>
                    </a:lnTo>
                    <a:lnTo>
                      <a:pt x="0" y="1"/>
                    </a:lnTo>
                    <a:lnTo>
                      <a:pt x="0" y="0"/>
                    </a:lnTo>
                    <a:lnTo>
                      <a:pt x="1" y="0"/>
                    </a:lnTo>
                    <a:lnTo>
                      <a:pt x="3" y="0"/>
                    </a:lnTo>
                    <a:lnTo>
                      <a:pt x="5"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92" name="Freeform 72"/>
              <p:cNvSpPr>
                <a:spLocks/>
              </p:cNvSpPr>
              <p:nvPr/>
            </p:nvSpPr>
            <p:spPr bwMode="auto">
              <a:xfrm>
                <a:off x="4685" y="3506"/>
                <a:ext cx="797" cy="421"/>
              </a:xfrm>
              <a:custGeom>
                <a:avLst/>
                <a:gdLst>
                  <a:gd name="T0" fmla="*/ 666 w 797"/>
                  <a:gd name="T1" fmla="*/ 7 h 421"/>
                  <a:gd name="T2" fmla="*/ 686 w 797"/>
                  <a:gd name="T3" fmla="*/ 14 h 421"/>
                  <a:gd name="T4" fmla="*/ 697 w 797"/>
                  <a:gd name="T5" fmla="*/ 23 h 421"/>
                  <a:gd name="T6" fmla="*/ 694 w 797"/>
                  <a:gd name="T7" fmla="*/ 44 h 421"/>
                  <a:gd name="T8" fmla="*/ 691 w 797"/>
                  <a:gd name="T9" fmla="*/ 52 h 421"/>
                  <a:gd name="T10" fmla="*/ 701 w 797"/>
                  <a:gd name="T11" fmla="*/ 50 h 421"/>
                  <a:gd name="T12" fmla="*/ 704 w 797"/>
                  <a:gd name="T13" fmla="*/ 45 h 421"/>
                  <a:gd name="T14" fmla="*/ 720 w 797"/>
                  <a:gd name="T15" fmla="*/ 47 h 421"/>
                  <a:gd name="T16" fmla="*/ 728 w 797"/>
                  <a:gd name="T17" fmla="*/ 57 h 421"/>
                  <a:gd name="T18" fmla="*/ 732 w 797"/>
                  <a:gd name="T19" fmla="*/ 50 h 421"/>
                  <a:gd name="T20" fmla="*/ 728 w 797"/>
                  <a:gd name="T21" fmla="*/ 41 h 421"/>
                  <a:gd name="T22" fmla="*/ 716 w 797"/>
                  <a:gd name="T23" fmla="*/ 41 h 421"/>
                  <a:gd name="T24" fmla="*/ 729 w 797"/>
                  <a:gd name="T25" fmla="*/ 26 h 421"/>
                  <a:gd name="T26" fmla="*/ 737 w 797"/>
                  <a:gd name="T27" fmla="*/ 45 h 421"/>
                  <a:gd name="T28" fmla="*/ 751 w 797"/>
                  <a:gd name="T29" fmla="*/ 58 h 421"/>
                  <a:gd name="T30" fmla="*/ 761 w 797"/>
                  <a:gd name="T31" fmla="*/ 76 h 421"/>
                  <a:gd name="T32" fmla="*/ 778 w 797"/>
                  <a:gd name="T33" fmla="*/ 79 h 421"/>
                  <a:gd name="T34" fmla="*/ 785 w 797"/>
                  <a:gd name="T35" fmla="*/ 68 h 421"/>
                  <a:gd name="T36" fmla="*/ 781 w 797"/>
                  <a:gd name="T37" fmla="*/ 60 h 421"/>
                  <a:gd name="T38" fmla="*/ 792 w 797"/>
                  <a:gd name="T39" fmla="*/ 69 h 421"/>
                  <a:gd name="T40" fmla="*/ 788 w 797"/>
                  <a:gd name="T41" fmla="*/ 82 h 421"/>
                  <a:gd name="T42" fmla="*/ 772 w 797"/>
                  <a:gd name="T43" fmla="*/ 90 h 421"/>
                  <a:gd name="T44" fmla="*/ 775 w 797"/>
                  <a:gd name="T45" fmla="*/ 91 h 421"/>
                  <a:gd name="T46" fmla="*/ 773 w 797"/>
                  <a:gd name="T47" fmla="*/ 101 h 421"/>
                  <a:gd name="T48" fmla="*/ 775 w 797"/>
                  <a:gd name="T49" fmla="*/ 104 h 421"/>
                  <a:gd name="T50" fmla="*/ 786 w 797"/>
                  <a:gd name="T51" fmla="*/ 101 h 421"/>
                  <a:gd name="T52" fmla="*/ 780 w 797"/>
                  <a:gd name="T53" fmla="*/ 109 h 421"/>
                  <a:gd name="T54" fmla="*/ 785 w 797"/>
                  <a:gd name="T55" fmla="*/ 106 h 421"/>
                  <a:gd name="T56" fmla="*/ 789 w 797"/>
                  <a:gd name="T57" fmla="*/ 118 h 421"/>
                  <a:gd name="T58" fmla="*/ 761 w 797"/>
                  <a:gd name="T59" fmla="*/ 147 h 421"/>
                  <a:gd name="T60" fmla="*/ 729 w 797"/>
                  <a:gd name="T61" fmla="*/ 156 h 421"/>
                  <a:gd name="T62" fmla="*/ 697 w 797"/>
                  <a:gd name="T63" fmla="*/ 185 h 421"/>
                  <a:gd name="T64" fmla="*/ 672 w 797"/>
                  <a:gd name="T65" fmla="*/ 207 h 421"/>
                  <a:gd name="T66" fmla="*/ 642 w 797"/>
                  <a:gd name="T67" fmla="*/ 228 h 421"/>
                  <a:gd name="T68" fmla="*/ 607 w 797"/>
                  <a:gd name="T69" fmla="*/ 242 h 421"/>
                  <a:gd name="T70" fmla="*/ 563 w 797"/>
                  <a:gd name="T71" fmla="*/ 264 h 421"/>
                  <a:gd name="T72" fmla="*/ 523 w 797"/>
                  <a:gd name="T73" fmla="*/ 272 h 421"/>
                  <a:gd name="T74" fmla="*/ 492 w 797"/>
                  <a:gd name="T75" fmla="*/ 286 h 421"/>
                  <a:gd name="T76" fmla="*/ 449 w 797"/>
                  <a:gd name="T77" fmla="*/ 312 h 421"/>
                  <a:gd name="T78" fmla="*/ 401 w 797"/>
                  <a:gd name="T79" fmla="*/ 343 h 421"/>
                  <a:gd name="T80" fmla="*/ 358 w 797"/>
                  <a:gd name="T81" fmla="*/ 337 h 421"/>
                  <a:gd name="T82" fmla="*/ 311 w 797"/>
                  <a:gd name="T83" fmla="*/ 342 h 421"/>
                  <a:gd name="T84" fmla="*/ 275 w 797"/>
                  <a:gd name="T85" fmla="*/ 354 h 421"/>
                  <a:gd name="T86" fmla="*/ 219 w 797"/>
                  <a:gd name="T87" fmla="*/ 375 h 421"/>
                  <a:gd name="T88" fmla="*/ 178 w 797"/>
                  <a:gd name="T89" fmla="*/ 403 h 421"/>
                  <a:gd name="T90" fmla="*/ 148 w 797"/>
                  <a:gd name="T91" fmla="*/ 418 h 421"/>
                  <a:gd name="T92" fmla="*/ 110 w 797"/>
                  <a:gd name="T93" fmla="*/ 392 h 421"/>
                  <a:gd name="T94" fmla="*/ 75 w 797"/>
                  <a:gd name="T95" fmla="*/ 377 h 421"/>
                  <a:gd name="T96" fmla="*/ 34 w 797"/>
                  <a:gd name="T97" fmla="*/ 369 h 421"/>
                  <a:gd name="T98" fmla="*/ 26 w 797"/>
                  <a:gd name="T99" fmla="*/ 337 h 421"/>
                  <a:gd name="T100" fmla="*/ 19 w 797"/>
                  <a:gd name="T101" fmla="*/ 319 h 421"/>
                  <a:gd name="T102" fmla="*/ 13 w 797"/>
                  <a:gd name="T103" fmla="*/ 300 h 421"/>
                  <a:gd name="T104" fmla="*/ 8 w 797"/>
                  <a:gd name="T105" fmla="*/ 277 h 421"/>
                  <a:gd name="T106" fmla="*/ 7 w 797"/>
                  <a:gd name="T107" fmla="*/ 256 h 421"/>
                  <a:gd name="T108" fmla="*/ 2 w 797"/>
                  <a:gd name="T109" fmla="*/ 237 h 421"/>
                  <a:gd name="T110" fmla="*/ 92 w 797"/>
                  <a:gd name="T111" fmla="*/ 180 h 421"/>
                  <a:gd name="T112" fmla="*/ 138 w 797"/>
                  <a:gd name="T113" fmla="*/ 156 h 421"/>
                  <a:gd name="T114" fmla="*/ 213 w 797"/>
                  <a:gd name="T115" fmla="*/ 134 h 421"/>
                  <a:gd name="T116" fmla="*/ 233 w 797"/>
                  <a:gd name="T117" fmla="*/ 129 h 421"/>
                  <a:gd name="T118" fmla="*/ 251 w 797"/>
                  <a:gd name="T119" fmla="*/ 137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7" h="421">
                    <a:moveTo>
                      <a:pt x="648" y="0"/>
                    </a:moveTo>
                    <a:lnTo>
                      <a:pt x="650" y="0"/>
                    </a:lnTo>
                    <a:lnTo>
                      <a:pt x="650" y="1"/>
                    </a:lnTo>
                    <a:lnTo>
                      <a:pt x="652" y="1"/>
                    </a:lnTo>
                    <a:lnTo>
                      <a:pt x="653" y="1"/>
                    </a:lnTo>
                    <a:lnTo>
                      <a:pt x="653" y="3"/>
                    </a:lnTo>
                    <a:lnTo>
                      <a:pt x="655" y="3"/>
                    </a:lnTo>
                    <a:lnTo>
                      <a:pt x="656" y="3"/>
                    </a:lnTo>
                    <a:lnTo>
                      <a:pt x="656" y="4"/>
                    </a:lnTo>
                    <a:lnTo>
                      <a:pt x="658" y="4"/>
                    </a:lnTo>
                    <a:lnTo>
                      <a:pt x="659" y="4"/>
                    </a:lnTo>
                    <a:lnTo>
                      <a:pt x="659" y="6"/>
                    </a:lnTo>
                    <a:lnTo>
                      <a:pt x="661" y="6"/>
                    </a:lnTo>
                    <a:lnTo>
                      <a:pt x="663" y="6"/>
                    </a:lnTo>
                    <a:lnTo>
                      <a:pt x="664" y="6"/>
                    </a:lnTo>
                    <a:lnTo>
                      <a:pt x="664" y="7"/>
                    </a:lnTo>
                    <a:lnTo>
                      <a:pt x="666" y="7"/>
                    </a:lnTo>
                    <a:lnTo>
                      <a:pt x="667" y="7"/>
                    </a:lnTo>
                    <a:lnTo>
                      <a:pt x="669" y="7"/>
                    </a:lnTo>
                    <a:lnTo>
                      <a:pt x="669" y="9"/>
                    </a:lnTo>
                    <a:lnTo>
                      <a:pt x="671" y="9"/>
                    </a:lnTo>
                    <a:lnTo>
                      <a:pt x="672" y="9"/>
                    </a:lnTo>
                    <a:lnTo>
                      <a:pt x="672" y="11"/>
                    </a:lnTo>
                    <a:lnTo>
                      <a:pt x="674" y="11"/>
                    </a:lnTo>
                    <a:lnTo>
                      <a:pt x="675" y="11"/>
                    </a:lnTo>
                    <a:lnTo>
                      <a:pt x="675" y="12"/>
                    </a:lnTo>
                    <a:lnTo>
                      <a:pt x="677" y="12"/>
                    </a:lnTo>
                    <a:lnTo>
                      <a:pt x="678" y="12"/>
                    </a:lnTo>
                    <a:lnTo>
                      <a:pt x="680" y="12"/>
                    </a:lnTo>
                    <a:lnTo>
                      <a:pt x="680" y="14"/>
                    </a:lnTo>
                    <a:lnTo>
                      <a:pt x="682" y="14"/>
                    </a:lnTo>
                    <a:lnTo>
                      <a:pt x="683" y="14"/>
                    </a:lnTo>
                    <a:lnTo>
                      <a:pt x="685" y="14"/>
                    </a:lnTo>
                    <a:lnTo>
                      <a:pt x="686" y="14"/>
                    </a:lnTo>
                    <a:lnTo>
                      <a:pt x="686" y="15"/>
                    </a:lnTo>
                    <a:lnTo>
                      <a:pt x="688" y="15"/>
                    </a:lnTo>
                    <a:lnTo>
                      <a:pt x="688" y="14"/>
                    </a:lnTo>
                    <a:lnTo>
                      <a:pt x="688" y="15"/>
                    </a:lnTo>
                    <a:lnTo>
                      <a:pt x="690" y="15"/>
                    </a:lnTo>
                    <a:lnTo>
                      <a:pt x="691" y="15"/>
                    </a:lnTo>
                    <a:lnTo>
                      <a:pt x="691" y="17"/>
                    </a:lnTo>
                    <a:lnTo>
                      <a:pt x="693" y="17"/>
                    </a:lnTo>
                    <a:lnTo>
                      <a:pt x="694" y="17"/>
                    </a:lnTo>
                    <a:lnTo>
                      <a:pt x="694" y="19"/>
                    </a:lnTo>
                    <a:lnTo>
                      <a:pt x="696" y="19"/>
                    </a:lnTo>
                    <a:lnTo>
                      <a:pt x="696" y="20"/>
                    </a:lnTo>
                    <a:lnTo>
                      <a:pt x="697" y="20"/>
                    </a:lnTo>
                    <a:lnTo>
                      <a:pt x="697" y="22"/>
                    </a:lnTo>
                    <a:lnTo>
                      <a:pt x="696" y="22"/>
                    </a:lnTo>
                    <a:lnTo>
                      <a:pt x="696" y="23"/>
                    </a:lnTo>
                    <a:lnTo>
                      <a:pt x="697" y="23"/>
                    </a:lnTo>
                    <a:lnTo>
                      <a:pt x="696" y="23"/>
                    </a:lnTo>
                    <a:lnTo>
                      <a:pt x="696" y="25"/>
                    </a:lnTo>
                    <a:lnTo>
                      <a:pt x="696" y="26"/>
                    </a:lnTo>
                    <a:lnTo>
                      <a:pt x="694" y="26"/>
                    </a:lnTo>
                    <a:lnTo>
                      <a:pt x="693" y="26"/>
                    </a:lnTo>
                    <a:lnTo>
                      <a:pt x="693" y="28"/>
                    </a:lnTo>
                    <a:lnTo>
                      <a:pt x="693" y="30"/>
                    </a:lnTo>
                    <a:lnTo>
                      <a:pt x="693" y="31"/>
                    </a:lnTo>
                    <a:lnTo>
                      <a:pt x="693" y="33"/>
                    </a:lnTo>
                    <a:lnTo>
                      <a:pt x="693" y="34"/>
                    </a:lnTo>
                    <a:lnTo>
                      <a:pt x="693" y="36"/>
                    </a:lnTo>
                    <a:lnTo>
                      <a:pt x="694" y="36"/>
                    </a:lnTo>
                    <a:lnTo>
                      <a:pt x="694" y="38"/>
                    </a:lnTo>
                    <a:lnTo>
                      <a:pt x="694" y="39"/>
                    </a:lnTo>
                    <a:lnTo>
                      <a:pt x="694" y="41"/>
                    </a:lnTo>
                    <a:lnTo>
                      <a:pt x="694" y="42"/>
                    </a:lnTo>
                    <a:lnTo>
                      <a:pt x="694" y="44"/>
                    </a:lnTo>
                    <a:lnTo>
                      <a:pt x="693" y="44"/>
                    </a:lnTo>
                    <a:lnTo>
                      <a:pt x="691" y="44"/>
                    </a:lnTo>
                    <a:lnTo>
                      <a:pt x="691" y="42"/>
                    </a:lnTo>
                    <a:lnTo>
                      <a:pt x="691" y="44"/>
                    </a:lnTo>
                    <a:lnTo>
                      <a:pt x="690" y="44"/>
                    </a:lnTo>
                    <a:lnTo>
                      <a:pt x="690" y="45"/>
                    </a:lnTo>
                    <a:lnTo>
                      <a:pt x="688" y="45"/>
                    </a:lnTo>
                    <a:lnTo>
                      <a:pt x="690" y="45"/>
                    </a:lnTo>
                    <a:lnTo>
                      <a:pt x="688" y="45"/>
                    </a:lnTo>
                    <a:lnTo>
                      <a:pt x="688" y="47"/>
                    </a:lnTo>
                    <a:lnTo>
                      <a:pt x="688" y="49"/>
                    </a:lnTo>
                    <a:lnTo>
                      <a:pt x="688" y="50"/>
                    </a:lnTo>
                    <a:lnTo>
                      <a:pt x="690" y="50"/>
                    </a:lnTo>
                    <a:lnTo>
                      <a:pt x="688" y="50"/>
                    </a:lnTo>
                    <a:lnTo>
                      <a:pt x="690" y="50"/>
                    </a:lnTo>
                    <a:lnTo>
                      <a:pt x="690" y="52"/>
                    </a:lnTo>
                    <a:lnTo>
                      <a:pt x="691" y="52"/>
                    </a:lnTo>
                    <a:lnTo>
                      <a:pt x="693" y="52"/>
                    </a:lnTo>
                    <a:lnTo>
                      <a:pt x="693" y="50"/>
                    </a:lnTo>
                    <a:lnTo>
                      <a:pt x="694" y="50"/>
                    </a:lnTo>
                    <a:lnTo>
                      <a:pt x="696" y="50"/>
                    </a:lnTo>
                    <a:lnTo>
                      <a:pt x="696" y="49"/>
                    </a:lnTo>
                    <a:lnTo>
                      <a:pt x="696" y="47"/>
                    </a:lnTo>
                    <a:lnTo>
                      <a:pt x="694" y="47"/>
                    </a:lnTo>
                    <a:lnTo>
                      <a:pt x="694" y="45"/>
                    </a:lnTo>
                    <a:lnTo>
                      <a:pt x="696" y="45"/>
                    </a:lnTo>
                    <a:lnTo>
                      <a:pt x="696" y="47"/>
                    </a:lnTo>
                    <a:lnTo>
                      <a:pt x="697" y="47"/>
                    </a:lnTo>
                    <a:lnTo>
                      <a:pt x="699" y="47"/>
                    </a:lnTo>
                    <a:lnTo>
                      <a:pt x="701" y="47"/>
                    </a:lnTo>
                    <a:lnTo>
                      <a:pt x="701" y="49"/>
                    </a:lnTo>
                    <a:lnTo>
                      <a:pt x="699" y="49"/>
                    </a:lnTo>
                    <a:lnTo>
                      <a:pt x="701" y="49"/>
                    </a:lnTo>
                    <a:lnTo>
                      <a:pt x="701" y="50"/>
                    </a:lnTo>
                    <a:lnTo>
                      <a:pt x="701" y="52"/>
                    </a:lnTo>
                    <a:lnTo>
                      <a:pt x="702" y="52"/>
                    </a:lnTo>
                    <a:lnTo>
                      <a:pt x="704" y="52"/>
                    </a:lnTo>
                    <a:lnTo>
                      <a:pt x="704" y="53"/>
                    </a:lnTo>
                    <a:lnTo>
                      <a:pt x="704" y="52"/>
                    </a:lnTo>
                    <a:lnTo>
                      <a:pt x="704" y="50"/>
                    </a:lnTo>
                    <a:lnTo>
                      <a:pt x="702" y="50"/>
                    </a:lnTo>
                    <a:lnTo>
                      <a:pt x="702" y="49"/>
                    </a:lnTo>
                    <a:lnTo>
                      <a:pt x="701" y="49"/>
                    </a:lnTo>
                    <a:lnTo>
                      <a:pt x="702" y="49"/>
                    </a:lnTo>
                    <a:lnTo>
                      <a:pt x="701" y="49"/>
                    </a:lnTo>
                    <a:lnTo>
                      <a:pt x="701" y="47"/>
                    </a:lnTo>
                    <a:lnTo>
                      <a:pt x="701" y="45"/>
                    </a:lnTo>
                    <a:lnTo>
                      <a:pt x="701" y="47"/>
                    </a:lnTo>
                    <a:lnTo>
                      <a:pt x="702" y="47"/>
                    </a:lnTo>
                    <a:lnTo>
                      <a:pt x="702" y="45"/>
                    </a:lnTo>
                    <a:lnTo>
                      <a:pt x="704" y="45"/>
                    </a:lnTo>
                    <a:lnTo>
                      <a:pt x="704" y="44"/>
                    </a:lnTo>
                    <a:lnTo>
                      <a:pt x="705" y="44"/>
                    </a:lnTo>
                    <a:lnTo>
                      <a:pt x="707" y="44"/>
                    </a:lnTo>
                    <a:lnTo>
                      <a:pt x="709" y="44"/>
                    </a:lnTo>
                    <a:lnTo>
                      <a:pt x="709" y="42"/>
                    </a:lnTo>
                    <a:lnTo>
                      <a:pt x="710" y="42"/>
                    </a:lnTo>
                    <a:lnTo>
                      <a:pt x="712" y="42"/>
                    </a:lnTo>
                    <a:lnTo>
                      <a:pt x="713" y="42"/>
                    </a:lnTo>
                    <a:lnTo>
                      <a:pt x="715" y="42"/>
                    </a:lnTo>
                    <a:lnTo>
                      <a:pt x="713" y="42"/>
                    </a:lnTo>
                    <a:lnTo>
                      <a:pt x="713" y="44"/>
                    </a:lnTo>
                    <a:lnTo>
                      <a:pt x="713" y="45"/>
                    </a:lnTo>
                    <a:lnTo>
                      <a:pt x="715" y="45"/>
                    </a:lnTo>
                    <a:lnTo>
                      <a:pt x="715" y="47"/>
                    </a:lnTo>
                    <a:lnTo>
                      <a:pt x="716" y="47"/>
                    </a:lnTo>
                    <a:lnTo>
                      <a:pt x="718" y="47"/>
                    </a:lnTo>
                    <a:lnTo>
                      <a:pt x="720" y="47"/>
                    </a:lnTo>
                    <a:lnTo>
                      <a:pt x="720" y="49"/>
                    </a:lnTo>
                    <a:lnTo>
                      <a:pt x="721" y="49"/>
                    </a:lnTo>
                    <a:lnTo>
                      <a:pt x="721" y="50"/>
                    </a:lnTo>
                    <a:lnTo>
                      <a:pt x="723" y="50"/>
                    </a:lnTo>
                    <a:lnTo>
                      <a:pt x="723" y="52"/>
                    </a:lnTo>
                    <a:lnTo>
                      <a:pt x="723" y="53"/>
                    </a:lnTo>
                    <a:lnTo>
                      <a:pt x="723" y="55"/>
                    </a:lnTo>
                    <a:lnTo>
                      <a:pt x="724" y="55"/>
                    </a:lnTo>
                    <a:lnTo>
                      <a:pt x="724" y="57"/>
                    </a:lnTo>
                    <a:lnTo>
                      <a:pt x="726" y="57"/>
                    </a:lnTo>
                    <a:lnTo>
                      <a:pt x="726" y="58"/>
                    </a:lnTo>
                    <a:lnTo>
                      <a:pt x="726" y="60"/>
                    </a:lnTo>
                    <a:lnTo>
                      <a:pt x="726" y="58"/>
                    </a:lnTo>
                    <a:lnTo>
                      <a:pt x="728" y="58"/>
                    </a:lnTo>
                    <a:lnTo>
                      <a:pt x="726" y="58"/>
                    </a:lnTo>
                    <a:lnTo>
                      <a:pt x="728" y="58"/>
                    </a:lnTo>
                    <a:lnTo>
                      <a:pt x="728" y="57"/>
                    </a:lnTo>
                    <a:lnTo>
                      <a:pt x="726" y="57"/>
                    </a:lnTo>
                    <a:lnTo>
                      <a:pt x="726" y="55"/>
                    </a:lnTo>
                    <a:lnTo>
                      <a:pt x="724" y="55"/>
                    </a:lnTo>
                    <a:lnTo>
                      <a:pt x="723" y="55"/>
                    </a:lnTo>
                    <a:lnTo>
                      <a:pt x="723" y="53"/>
                    </a:lnTo>
                    <a:lnTo>
                      <a:pt x="723" y="52"/>
                    </a:lnTo>
                    <a:lnTo>
                      <a:pt x="724" y="52"/>
                    </a:lnTo>
                    <a:lnTo>
                      <a:pt x="724" y="50"/>
                    </a:lnTo>
                    <a:lnTo>
                      <a:pt x="723" y="50"/>
                    </a:lnTo>
                    <a:lnTo>
                      <a:pt x="723" y="49"/>
                    </a:lnTo>
                    <a:lnTo>
                      <a:pt x="724" y="49"/>
                    </a:lnTo>
                    <a:lnTo>
                      <a:pt x="726" y="49"/>
                    </a:lnTo>
                    <a:lnTo>
                      <a:pt x="728" y="49"/>
                    </a:lnTo>
                    <a:lnTo>
                      <a:pt x="729" y="49"/>
                    </a:lnTo>
                    <a:lnTo>
                      <a:pt x="729" y="50"/>
                    </a:lnTo>
                    <a:lnTo>
                      <a:pt x="731" y="50"/>
                    </a:lnTo>
                    <a:lnTo>
                      <a:pt x="732" y="50"/>
                    </a:lnTo>
                    <a:lnTo>
                      <a:pt x="732" y="52"/>
                    </a:lnTo>
                    <a:lnTo>
                      <a:pt x="734" y="52"/>
                    </a:lnTo>
                    <a:lnTo>
                      <a:pt x="734" y="50"/>
                    </a:lnTo>
                    <a:lnTo>
                      <a:pt x="734" y="49"/>
                    </a:lnTo>
                    <a:lnTo>
                      <a:pt x="732" y="49"/>
                    </a:lnTo>
                    <a:lnTo>
                      <a:pt x="734" y="49"/>
                    </a:lnTo>
                    <a:lnTo>
                      <a:pt x="735" y="49"/>
                    </a:lnTo>
                    <a:lnTo>
                      <a:pt x="735" y="47"/>
                    </a:lnTo>
                    <a:lnTo>
                      <a:pt x="734" y="47"/>
                    </a:lnTo>
                    <a:lnTo>
                      <a:pt x="734" y="45"/>
                    </a:lnTo>
                    <a:lnTo>
                      <a:pt x="732" y="45"/>
                    </a:lnTo>
                    <a:lnTo>
                      <a:pt x="731" y="45"/>
                    </a:lnTo>
                    <a:lnTo>
                      <a:pt x="729" y="45"/>
                    </a:lnTo>
                    <a:lnTo>
                      <a:pt x="729" y="44"/>
                    </a:lnTo>
                    <a:lnTo>
                      <a:pt x="728" y="44"/>
                    </a:lnTo>
                    <a:lnTo>
                      <a:pt x="728" y="42"/>
                    </a:lnTo>
                    <a:lnTo>
                      <a:pt x="728" y="41"/>
                    </a:lnTo>
                    <a:lnTo>
                      <a:pt x="726" y="41"/>
                    </a:lnTo>
                    <a:lnTo>
                      <a:pt x="724" y="41"/>
                    </a:lnTo>
                    <a:lnTo>
                      <a:pt x="723" y="41"/>
                    </a:lnTo>
                    <a:lnTo>
                      <a:pt x="721" y="41"/>
                    </a:lnTo>
                    <a:lnTo>
                      <a:pt x="721" y="42"/>
                    </a:lnTo>
                    <a:lnTo>
                      <a:pt x="721" y="41"/>
                    </a:lnTo>
                    <a:lnTo>
                      <a:pt x="721" y="42"/>
                    </a:lnTo>
                    <a:lnTo>
                      <a:pt x="720" y="42"/>
                    </a:lnTo>
                    <a:lnTo>
                      <a:pt x="718" y="42"/>
                    </a:lnTo>
                    <a:lnTo>
                      <a:pt x="718" y="44"/>
                    </a:lnTo>
                    <a:lnTo>
                      <a:pt x="716" y="44"/>
                    </a:lnTo>
                    <a:lnTo>
                      <a:pt x="716" y="45"/>
                    </a:lnTo>
                    <a:lnTo>
                      <a:pt x="715" y="45"/>
                    </a:lnTo>
                    <a:lnTo>
                      <a:pt x="715" y="44"/>
                    </a:lnTo>
                    <a:lnTo>
                      <a:pt x="716" y="44"/>
                    </a:lnTo>
                    <a:lnTo>
                      <a:pt x="716" y="42"/>
                    </a:lnTo>
                    <a:lnTo>
                      <a:pt x="716" y="41"/>
                    </a:lnTo>
                    <a:lnTo>
                      <a:pt x="716" y="39"/>
                    </a:lnTo>
                    <a:lnTo>
                      <a:pt x="718" y="39"/>
                    </a:lnTo>
                    <a:lnTo>
                      <a:pt x="718" y="38"/>
                    </a:lnTo>
                    <a:lnTo>
                      <a:pt x="718" y="36"/>
                    </a:lnTo>
                    <a:lnTo>
                      <a:pt x="720" y="36"/>
                    </a:lnTo>
                    <a:lnTo>
                      <a:pt x="721" y="36"/>
                    </a:lnTo>
                    <a:lnTo>
                      <a:pt x="721" y="34"/>
                    </a:lnTo>
                    <a:lnTo>
                      <a:pt x="723" y="34"/>
                    </a:lnTo>
                    <a:lnTo>
                      <a:pt x="723" y="33"/>
                    </a:lnTo>
                    <a:lnTo>
                      <a:pt x="724" y="33"/>
                    </a:lnTo>
                    <a:lnTo>
                      <a:pt x="724" y="31"/>
                    </a:lnTo>
                    <a:lnTo>
                      <a:pt x="726" y="31"/>
                    </a:lnTo>
                    <a:lnTo>
                      <a:pt x="726" y="30"/>
                    </a:lnTo>
                    <a:lnTo>
                      <a:pt x="726" y="28"/>
                    </a:lnTo>
                    <a:lnTo>
                      <a:pt x="728" y="28"/>
                    </a:lnTo>
                    <a:lnTo>
                      <a:pt x="728" y="26"/>
                    </a:lnTo>
                    <a:lnTo>
                      <a:pt x="729" y="26"/>
                    </a:lnTo>
                    <a:lnTo>
                      <a:pt x="729" y="28"/>
                    </a:lnTo>
                    <a:lnTo>
                      <a:pt x="729" y="30"/>
                    </a:lnTo>
                    <a:lnTo>
                      <a:pt x="729" y="31"/>
                    </a:lnTo>
                    <a:lnTo>
                      <a:pt x="729" y="33"/>
                    </a:lnTo>
                    <a:lnTo>
                      <a:pt x="729" y="34"/>
                    </a:lnTo>
                    <a:lnTo>
                      <a:pt x="729" y="36"/>
                    </a:lnTo>
                    <a:lnTo>
                      <a:pt x="731" y="36"/>
                    </a:lnTo>
                    <a:lnTo>
                      <a:pt x="731" y="38"/>
                    </a:lnTo>
                    <a:lnTo>
                      <a:pt x="731" y="39"/>
                    </a:lnTo>
                    <a:lnTo>
                      <a:pt x="732" y="39"/>
                    </a:lnTo>
                    <a:lnTo>
                      <a:pt x="732" y="41"/>
                    </a:lnTo>
                    <a:lnTo>
                      <a:pt x="734" y="41"/>
                    </a:lnTo>
                    <a:lnTo>
                      <a:pt x="734" y="42"/>
                    </a:lnTo>
                    <a:lnTo>
                      <a:pt x="735" y="42"/>
                    </a:lnTo>
                    <a:lnTo>
                      <a:pt x="735" y="44"/>
                    </a:lnTo>
                    <a:lnTo>
                      <a:pt x="737" y="44"/>
                    </a:lnTo>
                    <a:lnTo>
                      <a:pt x="737" y="45"/>
                    </a:lnTo>
                    <a:lnTo>
                      <a:pt x="739" y="45"/>
                    </a:lnTo>
                    <a:lnTo>
                      <a:pt x="740" y="45"/>
                    </a:lnTo>
                    <a:lnTo>
                      <a:pt x="742" y="45"/>
                    </a:lnTo>
                    <a:lnTo>
                      <a:pt x="742" y="47"/>
                    </a:lnTo>
                    <a:lnTo>
                      <a:pt x="743" y="47"/>
                    </a:lnTo>
                    <a:lnTo>
                      <a:pt x="745" y="47"/>
                    </a:lnTo>
                    <a:lnTo>
                      <a:pt x="747" y="47"/>
                    </a:lnTo>
                    <a:lnTo>
                      <a:pt x="747" y="49"/>
                    </a:lnTo>
                    <a:lnTo>
                      <a:pt x="748" y="49"/>
                    </a:lnTo>
                    <a:lnTo>
                      <a:pt x="748" y="50"/>
                    </a:lnTo>
                    <a:lnTo>
                      <a:pt x="748" y="52"/>
                    </a:lnTo>
                    <a:lnTo>
                      <a:pt x="750" y="52"/>
                    </a:lnTo>
                    <a:lnTo>
                      <a:pt x="750" y="53"/>
                    </a:lnTo>
                    <a:lnTo>
                      <a:pt x="750" y="55"/>
                    </a:lnTo>
                    <a:lnTo>
                      <a:pt x="751" y="55"/>
                    </a:lnTo>
                    <a:lnTo>
                      <a:pt x="751" y="57"/>
                    </a:lnTo>
                    <a:lnTo>
                      <a:pt x="751" y="58"/>
                    </a:lnTo>
                    <a:lnTo>
                      <a:pt x="753" y="58"/>
                    </a:lnTo>
                    <a:lnTo>
                      <a:pt x="753" y="60"/>
                    </a:lnTo>
                    <a:lnTo>
                      <a:pt x="753" y="61"/>
                    </a:lnTo>
                    <a:lnTo>
                      <a:pt x="753" y="63"/>
                    </a:lnTo>
                    <a:lnTo>
                      <a:pt x="754" y="63"/>
                    </a:lnTo>
                    <a:lnTo>
                      <a:pt x="754" y="64"/>
                    </a:lnTo>
                    <a:lnTo>
                      <a:pt x="754" y="66"/>
                    </a:lnTo>
                    <a:lnTo>
                      <a:pt x="754" y="68"/>
                    </a:lnTo>
                    <a:lnTo>
                      <a:pt x="756" y="68"/>
                    </a:lnTo>
                    <a:lnTo>
                      <a:pt x="756" y="69"/>
                    </a:lnTo>
                    <a:lnTo>
                      <a:pt x="756" y="71"/>
                    </a:lnTo>
                    <a:lnTo>
                      <a:pt x="756" y="72"/>
                    </a:lnTo>
                    <a:lnTo>
                      <a:pt x="758" y="72"/>
                    </a:lnTo>
                    <a:lnTo>
                      <a:pt x="758" y="74"/>
                    </a:lnTo>
                    <a:lnTo>
                      <a:pt x="758" y="76"/>
                    </a:lnTo>
                    <a:lnTo>
                      <a:pt x="759" y="76"/>
                    </a:lnTo>
                    <a:lnTo>
                      <a:pt x="761" y="76"/>
                    </a:lnTo>
                    <a:lnTo>
                      <a:pt x="761" y="77"/>
                    </a:lnTo>
                    <a:lnTo>
                      <a:pt x="762" y="77"/>
                    </a:lnTo>
                    <a:lnTo>
                      <a:pt x="762" y="76"/>
                    </a:lnTo>
                    <a:lnTo>
                      <a:pt x="764" y="76"/>
                    </a:lnTo>
                    <a:lnTo>
                      <a:pt x="766" y="76"/>
                    </a:lnTo>
                    <a:lnTo>
                      <a:pt x="767" y="76"/>
                    </a:lnTo>
                    <a:lnTo>
                      <a:pt x="769" y="76"/>
                    </a:lnTo>
                    <a:lnTo>
                      <a:pt x="770" y="76"/>
                    </a:lnTo>
                    <a:lnTo>
                      <a:pt x="772" y="76"/>
                    </a:lnTo>
                    <a:lnTo>
                      <a:pt x="772" y="77"/>
                    </a:lnTo>
                    <a:lnTo>
                      <a:pt x="773" y="77"/>
                    </a:lnTo>
                    <a:lnTo>
                      <a:pt x="775" y="77"/>
                    </a:lnTo>
                    <a:lnTo>
                      <a:pt x="777" y="77"/>
                    </a:lnTo>
                    <a:lnTo>
                      <a:pt x="778" y="77"/>
                    </a:lnTo>
                    <a:lnTo>
                      <a:pt x="778" y="79"/>
                    </a:lnTo>
                    <a:lnTo>
                      <a:pt x="778" y="80"/>
                    </a:lnTo>
                    <a:lnTo>
                      <a:pt x="778" y="79"/>
                    </a:lnTo>
                    <a:lnTo>
                      <a:pt x="780" y="79"/>
                    </a:lnTo>
                    <a:lnTo>
                      <a:pt x="781" y="79"/>
                    </a:lnTo>
                    <a:lnTo>
                      <a:pt x="781" y="77"/>
                    </a:lnTo>
                    <a:lnTo>
                      <a:pt x="783" y="77"/>
                    </a:lnTo>
                    <a:lnTo>
                      <a:pt x="785" y="77"/>
                    </a:lnTo>
                    <a:lnTo>
                      <a:pt x="785" y="76"/>
                    </a:lnTo>
                    <a:lnTo>
                      <a:pt x="786" y="76"/>
                    </a:lnTo>
                    <a:lnTo>
                      <a:pt x="786" y="74"/>
                    </a:lnTo>
                    <a:lnTo>
                      <a:pt x="786" y="72"/>
                    </a:lnTo>
                    <a:lnTo>
                      <a:pt x="786" y="71"/>
                    </a:lnTo>
                    <a:lnTo>
                      <a:pt x="786" y="69"/>
                    </a:lnTo>
                    <a:lnTo>
                      <a:pt x="785" y="69"/>
                    </a:lnTo>
                    <a:lnTo>
                      <a:pt x="785" y="68"/>
                    </a:lnTo>
                    <a:lnTo>
                      <a:pt x="786" y="68"/>
                    </a:lnTo>
                    <a:lnTo>
                      <a:pt x="786" y="66"/>
                    </a:lnTo>
                    <a:lnTo>
                      <a:pt x="785" y="66"/>
                    </a:lnTo>
                    <a:lnTo>
                      <a:pt x="785" y="68"/>
                    </a:lnTo>
                    <a:lnTo>
                      <a:pt x="785" y="66"/>
                    </a:lnTo>
                    <a:lnTo>
                      <a:pt x="783" y="66"/>
                    </a:lnTo>
                    <a:lnTo>
                      <a:pt x="781" y="66"/>
                    </a:lnTo>
                    <a:lnTo>
                      <a:pt x="781" y="68"/>
                    </a:lnTo>
                    <a:lnTo>
                      <a:pt x="781" y="66"/>
                    </a:lnTo>
                    <a:lnTo>
                      <a:pt x="781" y="64"/>
                    </a:lnTo>
                    <a:lnTo>
                      <a:pt x="780" y="64"/>
                    </a:lnTo>
                    <a:lnTo>
                      <a:pt x="778" y="64"/>
                    </a:lnTo>
                    <a:lnTo>
                      <a:pt x="778" y="66"/>
                    </a:lnTo>
                    <a:lnTo>
                      <a:pt x="777" y="66"/>
                    </a:lnTo>
                    <a:lnTo>
                      <a:pt x="777" y="64"/>
                    </a:lnTo>
                    <a:lnTo>
                      <a:pt x="778" y="64"/>
                    </a:lnTo>
                    <a:lnTo>
                      <a:pt x="778" y="63"/>
                    </a:lnTo>
                    <a:lnTo>
                      <a:pt x="780" y="63"/>
                    </a:lnTo>
                    <a:lnTo>
                      <a:pt x="780" y="61"/>
                    </a:lnTo>
                    <a:lnTo>
                      <a:pt x="780" y="60"/>
                    </a:lnTo>
                    <a:lnTo>
                      <a:pt x="781" y="60"/>
                    </a:lnTo>
                    <a:lnTo>
                      <a:pt x="781" y="58"/>
                    </a:lnTo>
                    <a:lnTo>
                      <a:pt x="781" y="57"/>
                    </a:lnTo>
                    <a:lnTo>
                      <a:pt x="783" y="57"/>
                    </a:lnTo>
                    <a:lnTo>
                      <a:pt x="785" y="57"/>
                    </a:lnTo>
                    <a:lnTo>
                      <a:pt x="785" y="58"/>
                    </a:lnTo>
                    <a:lnTo>
                      <a:pt x="786" y="58"/>
                    </a:lnTo>
                    <a:lnTo>
                      <a:pt x="786" y="60"/>
                    </a:lnTo>
                    <a:lnTo>
                      <a:pt x="788" y="60"/>
                    </a:lnTo>
                    <a:lnTo>
                      <a:pt x="788" y="61"/>
                    </a:lnTo>
                    <a:lnTo>
                      <a:pt x="789" y="61"/>
                    </a:lnTo>
                    <a:lnTo>
                      <a:pt x="789" y="63"/>
                    </a:lnTo>
                    <a:lnTo>
                      <a:pt x="791" y="63"/>
                    </a:lnTo>
                    <a:lnTo>
                      <a:pt x="791" y="64"/>
                    </a:lnTo>
                    <a:lnTo>
                      <a:pt x="791" y="66"/>
                    </a:lnTo>
                    <a:lnTo>
                      <a:pt x="791" y="68"/>
                    </a:lnTo>
                    <a:lnTo>
                      <a:pt x="792" y="68"/>
                    </a:lnTo>
                    <a:lnTo>
                      <a:pt x="792" y="69"/>
                    </a:lnTo>
                    <a:lnTo>
                      <a:pt x="792" y="71"/>
                    </a:lnTo>
                    <a:lnTo>
                      <a:pt x="794" y="71"/>
                    </a:lnTo>
                    <a:lnTo>
                      <a:pt x="796" y="71"/>
                    </a:lnTo>
                    <a:lnTo>
                      <a:pt x="796" y="72"/>
                    </a:lnTo>
                    <a:lnTo>
                      <a:pt x="797" y="72"/>
                    </a:lnTo>
                    <a:lnTo>
                      <a:pt x="797" y="74"/>
                    </a:lnTo>
                    <a:lnTo>
                      <a:pt x="797" y="76"/>
                    </a:lnTo>
                    <a:lnTo>
                      <a:pt x="797" y="77"/>
                    </a:lnTo>
                    <a:lnTo>
                      <a:pt x="796" y="77"/>
                    </a:lnTo>
                    <a:lnTo>
                      <a:pt x="796" y="79"/>
                    </a:lnTo>
                    <a:lnTo>
                      <a:pt x="794" y="79"/>
                    </a:lnTo>
                    <a:lnTo>
                      <a:pt x="794" y="80"/>
                    </a:lnTo>
                    <a:lnTo>
                      <a:pt x="792" y="80"/>
                    </a:lnTo>
                    <a:lnTo>
                      <a:pt x="791" y="80"/>
                    </a:lnTo>
                    <a:lnTo>
                      <a:pt x="791" y="82"/>
                    </a:lnTo>
                    <a:lnTo>
                      <a:pt x="789" y="82"/>
                    </a:lnTo>
                    <a:lnTo>
                      <a:pt x="788" y="82"/>
                    </a:lnTo>
                    <a:lnTo>
                      <a:pt x="788" y="83"/>
                    </a:lnTo>
                    <a:lnTo>
                      <a:pt x="786" y="83"/>
                    </a:lnTo>
                    <a:lnTo>
                      <a:pt x="786" y="85"/>
                    </a:lnTo>
                    <a:lnTo>
                      <a:pt x="785" y="85"/>
                    </a:lnTo>
                    <a:lnTo>
                      <a:pt x="785" y="87"/>
                    </a:lnTo>
                    <a:lnTo>
                      <a:pt x="783" y="87"/>
                    </a:lnTo>
                    <a:lnTo>
                      <a:pt x="781" y="87"/>
                    </a:lnTo>
                    <a:lnTo>
                      <a:pt x="781" y="88"/>
                    </a:lnTo>
                    <a:lnTo>
                      <a:pt x="780" y="88"/>
                    </a:lnTo>
                    <a:lnTo>
                      <a:pt x="778" y="88"/>
                    </a:lnTo>
                    <a:lnTo>
                      <a:pt x="778" y="90"/>
                    </a:lnTo>
                    <a:lnTo>
                      <a:pt x="777" y="90"/>
                    </a:lnTo>
                    <a:lnTo>
                      <a:pt x="775" y="90"/>
                    </a:lnTo>
                    <a:lnTo>
                      <a:pt x="775" y="91"/>
                    </a:lnTo>
                    <a:lnTo>
                      <a:pt x="775" y="90"/>
                    </a:lnTo>
                    <a:lnTo>
                      <a:pt x="773" y="90"/>
                    </a:lnTo>
                    <a:lnTo>
                      <a:pt x="772" y="90"/>
                    </a:lnTo>
                    <a:lnTo>
                      <a:pt x="770" y="90"/>
                    </a:lnTo>
                    <a:lnTo>
                      <a:pt x="770" y="91"/>
                    </a:lnTo>
                    <a:lnTo>
                      <a:pt x="769" y="91"/>
                    </a:lnTo>
                    <a:lnTo>
                      <a:pt x="769" y="93"/>
                    </a:lnTo>
                    <a:lnTo>
                      <a:pt x="767" y="93"/>
                    </a:lnTo>
                    <a:lnTo>
                      <a:pt x="767" y="95"/>
                    </a:lnTo>
                    <a:lnTo>
                      <a:pt x="767" y="93"/>
                    </a:lnTo>
                    <a:lnTo>
                      <a:pt x="769" y="93"/>
                    </a:lnTo>
                    <a:lnTo>
                      <a:pt x="769" y="91"/>
                    </a:lnTo>
                    <a:lnTo>
                      <a:pt x="770" y="91"/>
                    </a:lnTo>
                    <a:lnTo>
                      <a:pt x="772" y="91"/>
                    </a:lnTo>
                    <a:lnTo>
                      <a:pt x="772" y="90"/>
                    </a:lnTo>
                    <a:lnTo>
                      <a:pt x="772" y="91"/>
                    </a:lnTo>
                    <a:lnTo>
                      <a:pt x="772" y="90"/>
                    </a:lnTo>
                    <a:lnTo>
                      <a:pt x="773" y="90"/>
                    </a:lnTo>
                    <a:lnTo>
                      <a:pt x="773" y="91"/>
                    </a:lnTo>
                    <a:lnTo>
                      <a:pt x="775" y="91"/>
                    </a:lnTo>
                    <a:lnTo>
                      <a:pt x="777" y="91"/>
                    </a:lnTo>
                    <a:lnTo>
                      <a:pt x="777" y="90"/>
                    </a:lnTo>
                    <a:lnTo>
                      <a:pt x="777" y="91"/>
                    </a:lnTo>
                    <a:lnTo>
                      <a:pt x="777" y="93"/>
                    </a:lnTo>
                    <a:lnTo>
                      <a:pt x="775" y="93"/>
                    </a:lnTo>
                    <a:lnTo>
                      <a:pt x="775" y="95"/>
                    </a:lnTo>
                    <a:lnTo>
                      <a:pt x="773" y="95"/>
                    </a:lnTo>
                    <a:lnTo>
                      <a:pt x="773" y="96"/>
                    </a:lnTo>
                    <a:lnTo>
                      <a:pt x="773" y="98"/>
                    </a:lnTo>
                    <a:lnTo>
                      <a:pt x="772" y="98"/>
                    </a:lnTo>
                    <a:lnTo>
                      <a:pt x="772" y="99"/>
                    </a:lnTo>
                    <a:lnTo>
                      <a:pt x="773" y="99"/>
                    </a:lnTo>
                    <a:lnTo>
                      <a:pt x="775" y="99"/>
                    </a:lnTo>
                    <a:lnTo>
                      <a:pt x="777" y="99"/>
                    </a:lnTo>
                    <a:lnTo>
                      <a:pt x="775" y="99"/>
                    </a:lnTo>
                    <a:lnTo>
                      <a:pt x="775" y="101"/>
                    </a:lnTo>
                    <a:lnTo>
                      <a:pt x="773" y="101"/>
                    </a:lnTo>
                    <a:lnTo>
                      <a:pt x="775" y="101"/>
                    </a:lnTo>
                    <a:lnTo>
                      <a:pt x="773" y="101"/>
                    </a:lnTo>
                    <a:lnTo>
                      <a:pt x="775" y="101"/>
                    </a:lnTo>
                    <a:lnTo>
                      <a:pt x="773" y="101"/>
                    </a:lnTo>
                    <a:lnTo>
                      <a:pt x="775" y="101"/>
                    </a:lnTo>
                    <a:lnTo>
                      <a:pt x="775" y="102"/>
                    </a:lnTo>
                    <a:lnTo>
                      <a:pt x="775" y="104"/>
                    </a:lnTo>
                    <a:lnTo>
                      <a:pt x="777" y="104"/>
                    </a:lnTo>
                    <a:lnTo>
                      <a:pt x="775" y="104"/>
                    </a:lnTo>
                    <a:lnTo>
                      <a:pt x="773" y="104"/>
                    </a:lnTo>
                    <a:lnTo>
                      <a:pt x="773" y="106"/>
                    </a:lnTo>
                    <a:lnTo>
                      <a:pt x="772" y="106"/>
                    </a:lnTo>
                    <a:lnTo>
                      <a:pt x="770" y="106"/>
                    </a:lnTo>
                    <a:lnTo>
                      <a:pt x="772" y="106"/>
                    </a:lnTo>
                    <a:lnTo>
                      <a:pt x="773" y="106"/>
                    </a:lnTo>
                    <a:lnTo>
                      <a:pt x="773" y="104"/>
                    </a:lnTo>
                    <a:lnTo>
                      <a:pt x="775" y="104"/>
                    </a:lnTo>
                    <a:lnTo>
                      <a:pt x="775" y="106"/>
                    </a:lnTo>
                    <a:lnTo>
                      <a:pt x="777" y="106"/>
                    </a:lnTo>
                    <a:lnTo>
                      <a:pt x="778" y="106"/>
                    </a:lnTo>
                    <a:lnTo>
                      <a:pt x="780" y="106"/>
                    </a:lnTo>
                    <a:lnTo>
                      <a:pt x="780" y="107"/>
                    </a:lnTo>
                    <a:lnTo>
                      <a:pt x="780" y="106"/>
                    </a:lnTo>
                    <a:lnTo>
                      <a:pt x="778" y="106"/>
                    </a:lnTo>
                    <a:lnTo>
                      <a:pt x="777" y="106"/>
                    </a:lnTo>
                    <a:lnTo>
                      <a:pt x="777" y="104"/>
                    </a:lnTo>
                    <a:lnTo>
                      <a:pt x="777" y="102"/>
                    </a:lnTo>
                    <a:lnTo>
                      <a:pt x="778" y="102"/>
                    </a:lnTo>
                    <a:lnTo>
                      <a:pt x="778" y="101"/>
                    </a:lnTo>
                    <a:lnTo>
                      <a:pt x="780" y="101"/>
                    </a:lnTo>
                    <a:lnTo>
                      <a:pt x="781" y="101"/>
                    </a:lnTo>
                    <a:lnTo>
                      <a:pt x="783" y="101"/>
                    </a:lnTo>
                    <a:lnTo>
                      <a:pt x="785" y="101"/>
                    </a:lnTo>
                    <a:lnTo>
                      <a:pt x="786" y="101"/>
                    </a:lnTo>
                    <a:lnTo>
                      <a:pt x="786" y="99"/>
                    </a:lnTo>
                    <a:lnTo>
                      <a:pt x="788" y="99"/>
                    </a:lnTo>
                    <a:lnTo>
                      <a:pt x="789" y="99"/>
                    </a:lnTo>
                    <a:lnTo>
                      <a:pt x="789" y="101"/>
                    </a:lnTo>
                    <a:lnTo>
                      <a:pt x="789" y="102"/>
                    </a:lnTo>
                    <a:lnTo>
                      <a:pt x="789" y="104"/>
                    </a:lnTo>
                    <a:lnTo>
                      <a:pt x="789" y="106"/>
                    </a:lnTo>
                    <a:lnTo>
                      <a:pt x="788" y="106"/>
                    </a:lnTo>
                    <a:lnTo>
                      <a:pt x="786" y="106"/>
                    </a:lnTo>
                    <a:lnTo>
                      <a:pt x="786" y="104"/>
                    </a:lnTo>
                    <a:lnTo>
                      <a:pt x="785" y="104"/>
                    </a:lnTo>
                    <a:lnTo>
                      <a:pt x="785" y="106"/>
                    </a:lnTo>
                    <a:lnTo>
                      <a:pt x="785" y="107"/>
                    </a:lnTo>
                    <a:lnTo>
                      <a:pt x="783" y="107"/>
                    </a:lnTo>
                    <a:lnTo>
                      <a:pt x="781" y="107"/>
                    </a:lnTo>
                    <a:lnTo>
                      <a:pt x="781" y="109"/>
                    </a:lnTo>
                    <a:lnTo>
                      <a:pt x="780" y="109"/>
                    </a:lnTo>
                    <a:lnTo>
                      <a:pt x="780" y="110"/>
                    </a:lnTo>
                    <a:lnTo>
                      <a:pt x="780" y="109"/>
                    </a:lnTo>
                    <a:lnTo>
                      <a:pt x="778" y="109"/>
                    </a:lnTo>
                    <a:lnTo>
                      <a:pt x="777" y="109"/>
                    </a:lnTo>
                    <a:lnTo>
                      <a:pt x="777" y="110"/>
                    </a:lnTo>
                    <a:lnTo>
                      <a:pt x="777" y="109"/>
                    </a:lnTo>
                    <a:lnTo>
                      <a:pt x="778" y="109"/>
                    </a:lnTo>
                    <a:lnTo>
                      <a:pt x="778" y="110"/>
                    </a:lnTo>
                    <a:lnTo>
                      <a:pt x="780" y="110"/>
                    </a:lnTo>
                    <a:lnTo>
                      <a:pt x="781" y="110"/>
                    </a:lnTo>
                    <a:lnTo>
                      <a:pt x="781" y="109"/>
                    </a:lnTo>
                    <a:lnTo>
                      <a:pt x="781" y="107"/>
                    </a:lnTo>
                    <a:lnTo>
                      <a:pt x="783" y="107"/>
                    </a:lnTo>
                    <a:lnTo>
                      <a:pt x="785" y="107"/>
                    </a:lnTo>
                    <a:lnTo>
                      <a:pt x="785" y="109"/>
                    </a:lnTo>
                    <a:lnTo>
                      <a:pt x="785" y="107"/>
                    </a:lnTo>
                    <a:lnTo>
                      <a:pt x="785" y="106"/>
                    </a:lnTo>
                    <a:lnTo>
                      <a:pt x="786" y="106"/>
                    </a:lnTo>
                    <a:lnTo>
                      <a:pt x="788" y="106"/>
                    </a:lnTo>
                    <a:lnTo>
                      <a:pt x="789" y="106"/>
                    </a:lnTo>
                    <a:lnTo>
                      <a:pt x="791" y="106"/>
                    </a:lnTo>
                    <a:lnTo>
                      <a:pt x="791" y="107"/>
                    </a:lnTo>
                    <a:lnTo>
                      <a:pt x="791" y="109"/>
                    </a:lnTo>
                    <a:lnTo>
                      <a:pt x="791" y="110"/>
                    </a:lnTo>
                    <a:lnTo>
                      <a:pt x="792" y="110"/>
                    </a:lnTo>
                    <a:lnTo>
                      <a:pt x="792" y="112"/>
                    </a:lnTo>
                    <a:lnTo>
                      <a:pt x="791" y="112"/>
                    </a:lnTo>
                    <a:lnTo>
                      <a:pt x="791" y="110"/>
                    </a:lnTo>
                    <a:lnTo>
                      <a:pt x="791" y="112"/>
                    </a:lnTo>
                    <a:lnTo>
                      <a:pt x="792" y="112"/>
                    </a:lnTo>
                    <a:lnTo>
                      <a:pt x="792" y="114"/>
                    </a:lnTo>
                    <a:lnTo>
                      <a:pt x="794" y="114"/>
                    </a:lnTo>
                    <a:lnTo>
                      <a:pt x="792" y="115"/>
                    </a:lnTo>
                    <a:lnTo>
                      <a:pt x="789" y="118"/>
                    </a:lnTo>
                    <a:lnTo>
                      <a:pt x="786" y="123"/>
                    </a:lnTo>
                    <a:lnTo>
                      <a:pt x="781" y="128"/>
                    </a:lnTo>
                    <a:lnTo>
                      <a:pt x="780" y="128"/>
                    </a:lnTo>
                    <a:lnTo>
                      <a:pt x="778" y="129"/>
                    </a:lnTo>
                    <a:lnTo>
                      <a:pt x="777" y="131"/>
                    </a:lnTo>
                    <a:lnTo>
                      <a:pt x="775" y="131"/>
                    </a:lnTo>
                    <a:lnTo>
                      <a:pt x="775" y="133"/>
                    </a:lnTo>
                    <a:lnTo>
                      <a:pt x="773" y="134"/>
                    </a:lnTo>
                    <a:lnTo>
                      <a:pt x="773" y="137"/>
                    </a:lnTo>
                    <a:lnTo>
                      <a:pt x="772" y="139"/>
                    </a:lnTo>
                    <a:lnTo>
                      <a:pt x="772" y="142"/>
                    </a:lnTo>
                    <a:lnTo>
                      <a:pt x="770" y="142"/>
                    </a:lnTo>
                    <a:lnTo>
                      <a:pt x="769" y="144"/>
                    </a:lnTo>
                    <a:lnTo>
                      <a:pt x="762" y="147"/>
                    </a:lnTo>
                    <a:lnTo>
                      <a:pt x="761" y="147"/>
                    </a:lnTo>
                    <a:lnTo>
                      <a:pt x="761" y="148"/>
                    </a:lnTo>
                    <a:lnTo>
                      <a:pt x="761" y="147"/>
                    </a:lnTo>
                    <a:lnTo>
                      <a:pt x="759" y="147"/>
                    </a:lnTo>
                    <a:lnTo>
                      <a:pt x="758" y="147"/>
                    </a:lnTo>
                    <a:lnTo>
                      <a:pt x="756" y="147"/>
                    </a:lnTo>
                    <a:lnTo>
                      <a:pt x="754" y="147"/>
                    </a:lnTo>
                    <a:lnTo>
                      <a:pt x="753" y="147"/>
                    </a:lnTo>
                    <a:lnTo>
                      <a:pt x="751" y="147"/>
                    </a:lnTo>
                    <a:lnTo>
                      <a:pt x="750" y="148"/>
                    </a:lnTo>
                    <a:lnTo>
                      <a:pt x="748" y="148"/>
                    </a:lnTo>
                    <a:lnTo>
                      <a:pt x="747" y="148"/>
                    </a:lnTo>
                    <a:lnTo>
                      <a:pt x="745" y="148"/>
                    </a:lnTo>
                    <a:lnTo>
                      <a:pt x="743" y="148"/>
                    </a:lnTo>
                    <a:lnTo>
                      <a:pt x="743" y="150"/>
                    </a:lnTo>
                    <a:lnTo>
                      <a:pt x="737" y="153"/>
                    </a:lnTo>
                    <a:lnTo>
                      <a:pt x="735" y="153"/>
                    </a:lnTo>
                    <a:lnTo>
                      <a:pt x="734" y="155"/>
                    </a:lnTo>
                    <a:lnTo>
                      <a:pt x="731" y="156"/>
                    </a:lnTo>
                    <a:lnTo>
                      <a:pt x="729" y="156"/>
                    </a:lnTo>
                    <a:lnTo>
                      <a:pt x="728" y="158"/>
                    </a:lnTo>
                    <a:lnTo>
                      <a:pt x="724" y="161"/>
                    </a:lnTo>
                    <a:lnTo>
                      <a:pt x="720" y="167"/>
                    </a:lnTo>
                    <a:lnTo>
                      <a:pt x="718" y="169"/>
                    </a:lnTo>
                    <a:lnTo>
                      <a:pt x="716" y="169"/>
                    </a:lnTo>
                    <a:lnTo>
                      <a:pt x="716" y="171"/>
                    </a:lnTo>
                    <a:lnTo>
                      <a:pt x="713" y="174"/>
                    </a:lnTo>
                    <a:lnTo>
                      <a:pt x="712" y="174"/>
                    </a:lnTo>
                    <a:lnTo>
                      <a:pt x="710" y="174"/>
                    </a:lnTo>
                    <a:lnTo>
                      <a:pt x="709" y="174"/>
                    </a:lnTo>
                    <a:lnTo>
                      <a:pt x="709" y="175"/>
                    </a:lnTo>
                    <a:lnTo>
                      <a:pt x="705" y="177"/>
                    </a:lnTo>
                    <a:lnTo>
                      <a:pt x="702" y="180"/>
                    </a:lnTo>
                    <a:lnTo>
                      <a:pt x="701" y="182"/>
                    </a:lnTo>
                    <a:lnTo>
                      <a:pt x="699" y="183"/>
                    </a:lnTo>
                    <a:lnTo>
                      <a:pt x="699" y="185"/>
                    </a:lnTo>
                    <a:lnTo>
                      <a:pt x="697" y="185"/>
                    </a:lnTo>
                    <a:lnTo>
                      <a:pt x="697" y="186"/>
                    </a:lnTo>
                    <a:lnTo>
                      <a:pt x="696" y="186"/>
                    </a:lnTo>
                    <a:lnTo>
                      <a:pt x="694" y="188"/>
                    </a:lnTo>
                    <a:lnTo>
                      <a:pt x="691" y="190"/>
                    </a:lnTo>
                    <a:lnTo>
                      <a:pt x="690" y="191"/>
                    </a:lnTo>
                    <a:lnTo>
                      <a:pt x="688" y="193"/>
                    </a:lnTo>
                    <a:lnTo>
                      <a:pt x="688" y="194"/>
                    </a:lnTo>
                    <a:lnTo>
                      <a:pt x="685" y="198"/>
                    </a:lnTo>
                    <a:lnTo>
                      <a:pt x="680" y="199"/>
                    </a:lnTo>
                    <a:lnTo>
                      <a:pt x="678" y="201"/>
                    </a:lnTo>
                    <a:lnTo>
                      <a:pt x="677" y="201"/>
                    </a:lnTo>
                    <a:lnTo>
                      <a:pt x="677" y="202"/>
                    </a:lnTo>
                    <a:lnTo>
                      <a:pt x="675" y="202"/>
                    </a:lnTo>
                    <a:lnTo>
                      <a:pt x="675" y="204"/>
                    </a:lnTo>
                    <a:lnTo>
                      <a:pt x="674" y="204"/>
                    </a:lnTo>
                    <a:lnTo>
                      <a:pt x="672" y="205"/>
                    </a:lnTo>
                    <a:lnTo>
                      <a:pt x="672" y="207"/>
                    </a:lnTo>
                    <a:lnTo>
                      <a:pt x="671" y="207"/>
                    </a:lnTo>
                    <a:lnTo>
                      <a:pt x="671" y="209"/>
                    </a:lnTo>
                    <a:lnTo>
                      <a:pt x="669" y="209"/>
                    </a:lnTo>
                    <a:lnTo>
                      <a:pt x="667" y="212"/>
                    </a:lnTo>
                    <a:lnTo>
                      <a:pt x="664" y="213"/>
                    </a:lnTo>
                    <a:lnTo>
                      <a:pt x="663" y="217"/>
                    </a:lnTo>
                    <a:lnTo>
                      <a:pt x="658" y="220"/>
                    </a:lnTo>
                    <a:lnTo>
                      <a:pt x="655" y="221"/>
                    </a:lnTo>
                    <a:lnTo>
                      <a:pt x="652" y="223"/>
                    </a:lnTo>
                    <a:lnTo>
                      <a:pt x="650" y="224"/>
                    </a:lnTo>
                    <a:lnTo>
                      <a:pt x="650" y="226"/>
                    </a:lnTo>
                    <a:lnTo>
                      <a:pt x="648" y="226"/>
                    </a:lnTo>
                    <a:lnTo>
                      <a:pt x="648" y="224"/>
                    </a:lnTo>
                    <a:lnTo>
                      <a:pt x="648" y="226"/>
                    </a:lnTo>
                    <a:lnTo>
                      <a:pt x="647" y="226"/>
                    </a:lnTo>
                    <a:lnTo>
                      <a:pt x="644" y="228"/>
                    </a:lnTo>
                    <a:lnTo>
                      <a:pt x="642" y="228"/>
                    </a:lnTo>
                    <a:lnTo>
                      <a:pt x="640" y="228"/>
                    </a:lnTo>
                    <a:lnTo>
                      <a:pt x="639" y="228"/>
                    </a:lnTo>
                    <a:lnTo>
                      <a:pt x="639" y="229"/>
                    </a:lnTo>
                    <a:lnTo>
                      <a:pt x="637" y="229"/>
                    </a:lnTo>
                    <a:lnTo>
                      <a:pt x="636" y="229"/>
                    </a:lnTo>
                    <a:lnTo>
                      <a:pt x="634" y="229"/>
                    </a:lnTo>
                    <a:lnTo>
                      <a:pt x="632" y="229"/>
                    </a:lnTo>
                    <a:lnTo>
                      <a:pt x="631" y="229"/>
                    </a:lnTo>
                    <a:lnTo>
                      <a:pt x="629" y="231"/>
                    </a:lnTo>
                    <a:lnTo>
                      <a:pt x="626" y="231"/>
                    </a:lnTo>
                    <a:lnTo>
                      <a:pt x="620" y="234"/>
                    </a:lnTo>
                    <a:lnTo>
                      <a:pt x="615" y="236"/>
                    </a:lnTo>
                    <a:lnTo>
                      <a:pt x="612" y="237"/>
                    </a:lnTo>
                    <a:lnTo>
                      <a:pt x="610" y="239"/>
                    </a:lnTo>
                    <a:lnTo>
                      <a:pt x="609" y="239"/>
                    </a:lnTo>
                    <a:lnTo>
                      <a:pt x="609" y="240"/>
                    </a:lnTo>
                    <a:lnTo>
                      <a:pt x="607" y="242"/>
                    </a:lnTo>
                    <a:lnTo>
                      <a:pt x="601" y="247"/>
                    </a:lnTo>
                    <a:lnTo>
                      <a:pt x="599" y="247"/>
                    </a:lnTo>
                    <a:lnTo>
                      <a:pt x="598" y="247"/>
                    </a:lnTo>
                    <a:lnTo>
                      <a:pt x="596" y="248"/>
                    </a:lnTo>
                    <a:lnTo>
                      <a:pt x="594" y="250"/>
                    </a:lnTo>
                    <a:lnTo>
                      <a:pt x="588" y="253"/>
                    </a:lnTo>
                    <a:lnTo>
                      <a:pt x="587" y="255"/>
                    </a:lnTo>
                    <a:lnTo>
                      <a:pt x="585" y="255"/>
                    </a:lnTo>
                    <a:lnTo>
                      <a:pt x="583" y="255"/>
                    </a:lnTo>
                    <a:lnTo>
                      <a:pt x="583" y="256"/>
                    </a:lnTo>
                    <a:lnTo>
                      <a:pt x="582" y="256"/>
                    </a:lnTo>
                    <a:lnTo>
                      <a:pt x="580" y="256"/>
                    </a:lnTo>
                    <a:lnTo>
                      <a:pt x="579" y="256"/>
                    </a:lnTo>
                    <a:lnTo>
                      <a:pt x="577" y="258"/>
                    </a:lnTo>
                    <a:lnTo>
                      <a:pt x="575" y="258"/>
                    </a:lnTo>
                    <a:lnTo>
                      <a:pt x="574" y="259"/>
                    </a:lnTo>
                    <a:lnTo>
                      <a:pt x="563" y="264"/>
                    </a:lnTo>
                    <a:lnTo>
                      <a:pt x="561" y="264"/>
                    </a:lnTo>
                    <a:lnTo>
                      <a:pt x="560" y="266"/>
                    </a:lnTo>
                    <a:lnTo>
                      <a:pt x="556" y="266"/>
                    </a:lnTo>
                    <a:lnTo>
                      <a:pt x="553" y="267"/>
                    </a:lnTo>
                    <a:lnTo>
                      <a:pt x="552" y="267"/>
                    </a:lnTo>
                    <a:lnTo>
                      <a:pt x="549" y="267"/>
                    </a:lnTo>
                    <a:lnTo>
                      <a:pt x="545" y="267"/>
                    </a:lnTo>
                    <a:lnTo>
                      <a:pt x="542" y="267"/>
                    </a:lnTo>
                    <a:lnTo>
                      <a:pt x="541" y="267"/>
                    </a:lnTo>
                    <a:lnTo>
                      <a:pt x="541" y="269"/>
                    </a:lnTo>
                    <a:lnTo>
                      <a:pt x="534" y="269"/>
                    </a:lnTo>
                    <a:lnTo>
                      <a:pt x="533" y="269"/>
                    </a:lnTo>
                    <a:lnTo>
                      <a:pt x="531" y="269"/>
                    </a:lnTo>
                    <a:lnTo>
                      <a:pt x="530" y="269"/>
                    </a:lnTo>
                    <a:lnTo>
                      <a:pt x="526" y="270"/>
                    </a:lnTo>
                    <a:lnTo>
                      <a:pt x="525" y="270"/>
                    </a:lnTo>
                    <a:lnTo>
                      <a:pt x="523" y="272"/>
                    </a:lnTo>
                    <a:lnTo>
                      <a:pt x="522" y="272"/>
                    </a:lnTo>
                    <a:lnTo>
                      <a:pt x="520" y="272"/>
                    </a:lnTo>
                    <a:lnTo>
                      <a:pt x="518" y="274"/>
                    </a:lnTo>
                    <a:lnTo>
                      <a:pt x="517" y="275"/>
                    </a:lnTo>
                    <a:lnTo>
                      <a:pt x="514" y="277"/>
                    </a:lnTo>
                    <a:lnTo>
                      <a:pt x="512" y="277"/>
                    </a:lnTo>
                    <a:lnTo>
                      <a:pt x="509" y="278"/>
                    </a:lnTo>
                    <a:lnTo>
                      <a:pt x="507" y="278"/>
                    </a:lnTo>
                    <a:lnTo>
                      <a:pt x="506" y="278"/>
                    </a:lnTo>
                    <a:lnTo>
                      <a:pt x="501" y="280"/>
                    </a:lnTo>
                    <a:lnTo>
                      <a:pt x="499" y="280"/>
                    </a:lnTo>
                    <a:lnTo>
                      <a:pt x="498" y="281"/>
                    </a:lnTo>
                    <a:lnTo>
                      <a:pt x="496" y="281"/>
                    </a:lnTo>
                    <a:lnTo>
                      <a:pt x="496" y="283"/>
                    </a:lnTo>
                    <a:lnTo>
                      <a:pt x="495" y="283"/>
                    </a:lnTo>
                    <a:lnTo>
                      <a:pt x="493" y="285"/>
                    </a:lnTo>
                    <a:lnTo>
                      <a:pt x="492" y="286"/>
                    </a:lnTo>
                    <a:lnTo>
                      <a:pt x="490" y="288"/>
                    </a:lnTo>
                    <a:lnTo>
                      <a:pt x="490" y="289"/>
                    </a:lnTo>
                    <a:lnTo>
                      <a:pt x="488" y="289"/>
                    </a:lnTo>
                    <a:lnTo>
                      <a:pt x="487" y="291"/>
                    </a:lnTo>
                    <a:lnTo>
                      <a:pt x="484" y="293"/>
                    </a:lnTo>
                    <a:lnTo>
                      <a:pt x="482" y="293"/>
                    </a:lnTo>
                    <a:lnTo>
                      <a:pt x="473" y="300"/>
                    </a:lnTo>
                    <a:lnTo>
                      <a:pt x="469" y="302"/>
                    </a:lnTo>
                    <a:lnTo>
                      <a:pt x="468" y="304"/>
                    </a:lnTo>
                    <a:lnTo>
                      <a:pt x="461" y="305"/>
                    </a:lnTo>
                    <a:lnTo>
                      <a:pt x="460" y="305"/>
                    </a:lnTo>
                    <a:lnTo>
                      <a:pt x="458" y="305"/>
                    </a:lnTo>
                    <a:lnTo>
                      <a:pt x="457" y="307"/>
                    </a:lnTo>
                    <a:lnTo>
                      <a:pt x="453" y="308"/>
                    </a:lnTo>
                    <a:lnTo>
                      <a:pt x="452" y="310"/>
                    </a:lnTo>
                    <a:lnTo>
                      <a:pt x="450" y="310"/>
                    </a:lnTo>
                    <a:lnTo>
                      <a:pt x="449" y="312"/>
                    </a:lnTo>
                    <a:lnTo>
                      <a:pt x="446" y="312"/>
                    </a:lnTo>
                    <a:lnTo>
                      <a:pt x="446" y="313"/>
                    </a:lnTo>
                    <a:lnTo>
                      <a:pt x="442" y="315"/>
                    </a:lnTo>
                    <a:lnTo>
                      <a:pt x="441" y="318"/>
                    </a:lnTo>
                    <a:lnTo>
                      <a:pt x="438" y="319"/>
                    </a:lnTo>
                    <a:lnTo>
                      <a:pt x="438" y="321"/>
                    </a:lnTo>
                    <a:lnTo>
                      <a:pt x="434" y="323"/>
                    </a:lnTo>
                    <a:lnTo>
                      <a:pt x="433" y="324"/>
                    </a:lnTo>
                    <a:lnTo>
                      <a:pt x="428" y="329"/>
                    </a:lnTo>
                    <a:lnTo>
                      <a:pt x="425" y="332"/>
                    </a:lnTo>
                    <a:lnTo>
                      <a:pt x="423" y="332"/>
                    </a:lnTo>
                    <a:lnTo>
                      <a:pt x="422" y="334"/>
                    </a:lnTo>
                    <a:lnTo>
                      <a:pt x="414" y="340"/>
                    </a:lnTo>
                    <a:lnTo>
                      <a:pt x="411" y="342"/>
                    </a:lnTo>
                    <a:lnTo>
                      <a:pt x="409" y="342"/>
                    </a:lnTo>
                    <a:lnTo>
                      <a:pt x="406" y="343"/>
                    </a:lnTo>
                    <a:lnTo>
                      <a:pt x="401" y="343"/>
                    </a:lnTo>
                    <a:lnTo>
                      <a:pt x="400" y="343"/>
                    </a:lnTo>
                    <a:lnTo>
                      <a:pt x="396" y="343"/>
                    </a:lnTo>
                    <a:lnTo>
                      <a:pt x="393" y="342"/>
                    </a:lnTo>
                    <a:lnTo>
                      <a:pt x="392" y="342"/>
                    </a:lnTo>
                    <a:lnTo>
                      <a:pt x="390" y="338"/>
                    </a:lnTo>
                    <a:lnTo>
                      <a:pt x="389" y="338"/>
                    </a:lnTo>
                    <a:lnTo>
                      <a:pt x="387" y="337"/>
                    </a:lnTo>
                    <a:lnTo>
                      <a:pt x="385" y="337"/>
                    </a:lnTo>
                    <a:lnTo>
                      <a:pt x="384" y="337"/>
                    </a:lnTo>
                    <a:lnTo>
                      <a:pt x="381" y="337"/>
                    </a:lnTo>
                    <a:lnTo>
                      <a:pt x="377" y="337"/>
                    </a:lnTo>
                    <a:lnTo>
                      <a:pt x="376" y="335"/>
                    </a:lnTo>
                    <a:lnTo>
                      <a:pt x="373" y="334"/>
                    </a:lnTo>
                    <a:lnTo>
                      <a:pt x="371" y="334"/>
                    </a:lnTo>
                    <a:lnTo>
                      <a:pt x="362" y="335"/>
                    </a:lnTo>
                    <a:lnTo>
                      <a:pt x="360" y="337"/>
                    </a:lnTo>
                    <a:lnTo>
                      <a:pt x="358" y="337"/>
                    </a:lnTo>
                    <a:lnTo>
                      <a:pt x="357" y="337"/>
                    </a:lnTo>
                    <a:lnTo>
                      <a:pt x="354" y="338"/>
                    </a:lnTo>
                    <a:lnTo>
                      <a:pt x="352" y="338"/>
                    </a:lnTo>
                    <a:lnTo>
                      <a:pt x="347" y="340"/>
                    </a:lnTo>
                    <a:lnTo>
                      <a:pt x="343" y="342"/>
                    </a:lnTo>
                    <a:lnTo>
                      <a:pt x="341" y="342"/>
                    </a:lnTo>
                    <a:lnTo>
                      <a:pt x="339" y="342"/>
                    </a:lnTo>
                    <a:lnTo>
                      <a:pt x="336" y="340"/>
                    </a:lnTo>
                    <a:lnTo>
                      <a:pt x="330" y="342"/>
                    </a:lnTo>
                    <a:lnTo>
                      <a:pt x="328" y="342"/>
                    </a:lnTo>
                    <a:lnTo>
                      <a:pt x="327" y="342"/>
                    </a:lnTo>
                    <a:lnTo>
                      <a:pt x="320" y="342"/>
                    </a:lnTo>
                    <a:lnTo>
                      <a:pt x="319" y="342"/>
                    </a:lnTo>
                    <a:lnTo>
                      <a:pt x="317" y="342"/>
                    </a:lnTo>
                    <a:lnTo>
                      <a:pt x="316" y="342"/>
                    </a:lnTo>
                    <a:lnTo>
                      <a:pt x="314" y="342"/>
                    </a:lnTo>
                    <a:lnTo>
                      <a:pt x="311" y="342"/>
                    </a:lnTo>
                    <a:lnTo>
                      <a:pt x="309" y="342"/>
                    </a:lnTo>
                    <a:lnTo>
                      <a:pt x="306" y="340"/>
                    </a:lnTo>
                    <a:lnTo>
                      <a:pt x="305" y="340"/>
                    </a:lnTo>
                    <a:lnTo>
                      <a:pt x="303" y="340"/>
                    </a:lnTo>
                    <a:lnTo>
                      <a:pt x="301" y="340"/>
                    </a:lnTo>
                    <a:lnTo>
                      <a:pt x="300" y="340"/>
                    </a:lnTo>
                    <a:lnTo>
                      <a:pt x="298" y="340"/>
                    </a:lnTo>
                    <a:lnTo>
                      <a:pt x="290" y="342"/>
                    </a:lnTo>
                    <a:lnTo>
                      <a:pt x="289" y="342"/>
                    </a:lnTo>
                    <a:lnTo>
                      <a:pt x="289" y="343"/>
                    </a:lnTo>
                    <a:lnTo>
                      <a:pt x="287" y="343"/>
                    </a:lnTo>
                    <a:lnTo>
                      <a:pt x="286" y="345"/>
                    </a:lnTo>
                    <a:lnTo>
                      <a:pt x="281" y="348"/>
                    </a:lnTo>
                    <a:lnTo>
                      <a:pt x="278" y="351"/>
                    </a:lnTo>
                    <a:lnTo>
                      <a:pt x="276" y="353"/>
                    </a:lnTo>
                    <a:lnTo>
                      <a:pt x="276" y="354"/>
                    </a:lnTo>
                    <a:lnTo>
                      <a:pt x="275" y="354"/>
                    </a:lnTo>
                    <a:lnTo>
                      <a:pt x="273" y="356"/>
                    </a:lnTo>
                    <a:lnTo>
                      <a:pt x="271" y="356"/>
                    </a:lnTo>
                    <a:lnTo>
                      <a:pt x="270" y="358"/>
                    </a:lnTo>
                    <a:lnTo>
                      <a:pt x="267" y="359"/>
                    </a:lnTo>
                    <a:lnTo>
                      <a:pt x="265" y="361"/>
                    </a:lnTo>
                    <a:lnTo>
                      <a:pt x="263" y="361"/>
                    </a:lnTo>
                    <a:lnTo>
                      <a:pt x="257" y="364"/>
                    </a:lnTo>
                    <a:lnTo>
                      <a:pt x="255" y="367"/>
                    </a:lnTo>
                    <a:lnTo>
                      <a:pt x="254" y="367"/>
                    </a:lnTo>
                    <a:lnTo>
                      <a:pt x="254" y="369"/>
                    </a:lnTo>
                    <a:lnTo>
                      <a:pt x="244" y="375"/>
                    </a:lnTo>
                    <a:lnTo>
                      <a:pt x="238" y="375"/>
                    </a:lnTo>
                    <a:lnTo>
                      <a:pt x="236" y="375"/>
                    </a:lnTo>
                    <a:lnTo>
                      <a:pt x="235" y="373"/>
                    </a:lnTo>
                    <a:lnTo>
                      <a:pt x="233" y="373"/>
                    </a:lnTo>
                    <a:lnTo>
                      <a:pt x="229" y="373"/>
                    </a:lnTo>
                    <a:lnTo>
                      <a:pt x="219" y="375"/>
                    </a:lnTo>
                    <a:lnTo>
                      <a:pt x="214" y="375"/>
                    </a:lnTo>
                    <a:lnTo>
                      <a:pt x="206" y="381"/>
                    </a:lnTo>
                    <a:lnTo>
                      <a:pt x="198" y="388"/>
                    </a:lnTo>
                    <a:lnTo>
                      <a:pt x="197" y="389"/>
                    </a:lnTo>
                    <a:lnTo>
                      <a:pt x="197" y="391"/>
                    </a:lnTo>
                    <a:lnTo>
                      <a:pt x="194" y="392"/>
                    </a:lnTo>
                    <a:lnTo>
                      <a:pt x="194" y="394"/>
                    </a:lnTo>
                    <a:lnTo>
                      <a:pt x="192" y="394"/>
                    </a:lnTo>
                    <a:lnTo>
                      <a:pt x="189" y="397"/>
                    </a:lnTo>
                    <a:lnTo>
                      <a:pt x="187" y="399"/>
                    </a:lnTo>
                    <a:lnTo>
                      <a:pt x="186" y="399"/>
                    </a:lnTo>
                    <a:lnTo>
                      <a:pt x="184" y="399"/>
                    </a:lnTo>
                    <a:lnTo>
                      <a:pt x="184" y="400"/>
                    </a:lnTo>
                    <a:lnTo>
                      <a:pt x="183" y="400"/>
                    </a:lnTo>
                    <a:lnTo>
                      <a:pt x="181" y="402"/>
                    </a:lnTo>
                    <a:lnTo>
                      <a:pt x="179" y="402"/>
                    </a:lnTo>
                    <a:lnTo>
                      <a:pt x="178" y="403"/>
                    </a:lnTo>
                    <a:lnTo>
                      <a:pt x="175" y="405"/>
                    </a:lnTo>
                    <a:lnTo>
                      <a:pt x="175" y="407"/>
                    </a:lnTo>
                    <a:lnTo>
                      <a:pt x="173" y="407"/>
                    </a:lnTo>
                    <a:lnTo>
                      <a:pt x="172" y="408"/>
                    </a:lnTo>
                    <a:lnTo>
                      <a:pt x="172" y="410"/>
                    </a:lnTo>
                    <a:lnTo>
                      <a:pt x="168" y="413"/>
                    </a:lnTo>
                    <a:lnTo>
                      <a:pt x="167" y="415"/>
                    </a:lnTo>
                    <a:lnTo>
                      <a:pt x="165" y="415"/>
                    </a:lnTo>
                    <a:lnTo>
                      <a:pt x="162" y="418"/>
                    </a:lnTo>
                    <a:lnTo>
                      <a:pt x="162" y="419"/>
                    </a:lnTo>
                    <a:lnTo>
                      <a:pt x="160" y="419"/>
                    </a:lnTo>
                    <a:lnTo>
                      <a:pt x="159" y="421"/>
                    </a:lnTo>
                    <a:lnTo>
                      <a:pt x="157" y="419"/>
                    </a:lnTo>
                    <a:lnTo>
                      <a:pt x="154" y="419"/>
                    </a:lnTo>
                    <a:lnTo>
                      <a:pt x="153" y="419"/>
                    </a:lnTo>
                    <a:lnTo>
                      <a:pt x="149" y="419"/>
                    </a:lnTo>
                    <a:lnTo>
                      <a:pt x="148" y="418"/>
                    </a:lnTo>
                    <a:lnTo>
                      <a:pt x="146" y="418"/>
                    </a:lnTo>
                    <a:lnTo>
                      <a:pt x="145" y="416"/>
                    </a:lnTo>
                    <a:lnTo>
                      <a:pt x="141" y="413"/>
                    </a:lnTo>
                    <a:lnTo>
                      <a:pt x="141" y="411"/>
                    </a:lnTo>
                    <a:lnTo>
                      <a:pt x="137" y="411"/>
                    </a:lnTo>
                    <a:lnTo>
                      <a:pt x="134" y="411"/>
                    </a:lnTo>
                    <a:lnTo>
                      <a:pt x="130" y="411"/>
                    </a:lnTo>
                    <a:lnTo>
                      <a:pt x="127" y="410"/>
                    </a:lnTo>
                    <a:lnTo>
                      <a:pt x="126" y="410"/>
                    </a:lnTo>
                    <a:lnTo>
                      <a:pt x="124" y="408"/>
                    </a:lnTo>
                    <a:lnTo>
                      <a:pt x="121" y="405"/>
                    </a:lnTo>
                    <a:lnTo>
                      <a:pt x="119" y="402"/>
                    </a:lnTo>
                    <a:lnTo>
                      <a:pt x="118" y="402"/>
                    </a:lnTo>
                    <a:lnTo>
                      <a:pt x="116" y="400"/>
                    </a:lnTo>
                    <a:lnTo>
                      <a:pt x="113" y="396"/>
                    </a:lnTo>
                    <a:lnTo>
                      <a:pt x="111" y="394"/>
                    </a:lnTo>
                    <a:lnTo>
                      <a:pt x="110" y="392"/>
                    </a:lnTo>
                    <a:lnTo>
                      <a:pt x="108" y="391"/>
                    </a:lnTo>
                    <a:lnTo>
                      <a:pt x="107" y="391"/>
                    </a:lnTo>
                    <a:lnTo>
                      <a:pt x="102" y="391"/>
                    </a:lnTo>
                    <a:lnTo>
                      <a:pt x="97" y="392"/>
                    </a:lnTo>
                    <a:lnTo>
                      <a:pt x="96" y="392"/>
                    </a:lnTo>
                    <a:lnTo>
                      <a:pt x="96" y="391"/>
                    </a:lnTo>
                    <a:lnTo>
                      <a:pt x="94" y="391"/>
                    </a:lnTo>
                    <a:lnTo>
                      <a:pt x="94" y="389"/>
                    </a:lnTo>
                    <a:lnTo>
                      <a:pt x="94" y="388"/>
                    </a:lnTo>
                    <a:lnTo>
                      <a:pt x="91" y="381"/>
                    </a:lnTo>
                    <a:lnTo>
                      <a:pt x="88" y="380"/>
                    </a:lnTo>
                    <a:lnTo>
                      <a:pt x="88" y="378"/>
                    </a:lnTo>
                    <a:lnTo>
                      <a:pt x="86" y="378"/>
                    </a:lnTo>
                    <a:lnTo>
                      <a:pt x="84" y="378"/>
                    </a:lnTo>
                    <a:lnTo>
                      <a:pt x="83" y="378"/>
                    </a:lnTo>
                    <a:lnTo>
                      <a:pt x="81" y="378"/>
                    </a:lnTo>
                    <a:lnTo>
                      <a:pt x="75" y="377"/>
                    </a:lnTo>
                    <a:lnTo>
                      <a:pt x="72" y="375"/>
                    </a:lnTo>
                    <a:lnTo>
                      <a:pt x="70" y="375"/>
                    </a:lnTo>
                    <a:lnTo>
                      <a:pt x="69" y="375"/>
                    </a:lnTo>
                    <a:lnTo>
                      <a:pt x="65" y="375"/>
                    </a:lnTo>
                    <a:lnTo>
                      <a:pt x="64" y="375"/>
                    </a:lnTo>
                    <a:lnTo>
                      <a:pt x="62" y="375"/>
                    </a:lnTo>
                    <a:lnTo>
                      <a:pt x="61" y="375"/>
                    </a:lnTo>
                    <a:lnTo>
                      <a:pt x="57" y="375"/>
                    </a:lnTo>
                    <a:lnTo>
                      <a:pt x="54" y="375"/>
                    </a:lnTo>
                    <a:lnTo>
                      <a:pt x="51" y="375"/>
                    </a:lnTo>
                    <a:lnTo>
                      <a:pt x="48" y="373"/>
                    </a:lnTo>
                    <a:lnTo>
                      <a:pt x="40" y="370"/>
                    </a:lnTo>
                    <a:lnTo>
                      <a:pt x="38" y="369"/>
                    </a:lnTo>
                    <a:lnTo>
                      <a:pt x="38" y="370"/>
                    </a:lnTo>
                    <a:lnTo>
                      <a:pt x="35" y="370"/>
                    </a:lnTo>
                    <a:lnTo>
                      <a:pt x="34" y="370"/>
                    </a:lnTo>
                    <a:lnTo>
                      <a:pt x="34" y="369"/>
                    </a:lnTo>
                    <a:lnTo>
                      <a:pt x="31" y="358"/>
                    </a:lnTo>
                    <a:lnTo>
                      <a:pt x="32" y="356"/>
                    </a:lnTo>
                    <a:lnTo>
                      <a:pt x="31" y="356"/>
                    </a:lnTo>
                    <a:lnTo>
                      <a:pt x="29" y="354"/>
                    </a:lnTo>
                    <a:lnTo>
                      <a:pt x="29" y="353"/>
                    </a:lnTo>
                    <a:lnTo>
                      <a:pt x="27" y="351"/>
                    </a:lnTo>
                    <a:lnTo>
                      <a:pt x="27" y="350"/>
                    </a:lnTo>
                    <a:lnTo>
                      <a:pt x="27" y="348"/>
                    </a:lnTo>
                    <a:lnTo>
                      <a:pt x="26" y="346"/>
                    </a:lnTo>
                    <a:lnTo>
                      <a:pt x="26" y="345"/>
                    </a:lnTo>
                    <a:lnTo>
                      <a:pt x="27" y="343"/>
                    </a:lnTo>
                    <a:lnTo>
                      <a:pt x="27" y="342"/>
                    </a:lnTo>
                    <a:lnTo>
                      <a:pt x="26" y="342"/>
                    </a:lnTo>
                    <a:lnTo>
                      <a:pt x="26" y="340"/>
                    </a:lnTo>
                    <a:lnTo>
                      <a:pt x="24" y="338"/>
                    </a:lnTo>
                    <a:lnTo>
                      <a:pt x="26" y="338"/>
                    </a:lnTo>
                    <a:lnTo>
                      <a:pt x="26" y="337"/>
                    </a:lnTo>
                    <a:lnTo>
                      <a:pt x="27" y="337"/>
                    </a:lnTo>
                    <a:lnTo>
                      <a:pt x="27" y="335"/>
                    </a:lnTo>
                    <a:lnTo>
                      <a:pt x="26" y="335"/>
                    </a:lnTo>
                    <a:lnTo>
                      <a:pt x="24" y="334"/>
                    </a:lnTo>
                    <a:lnTo>
                      <a:pt x="23" y="332"/>
                    </a:lnTo>
                    <a:lnTo>
                      <a:pt x="21" y="331"/>
                    </a:lnTo>
                    <a:lnTo>
                      <a:pt x="19" y="331"/>
                    </a:lnTo>
                    <a:lnTo>
                      <a:pt x="18" y="331"/>
                    </a:lnTo>
                    <a:lnTo>
                      <a:pt x="18" y="329"/>
                    </a:lnTo>
                    <a:lnTo>
                      <a:pt x="18" y="327"/>
                    </a:lnTo>
                    <a:lnTo>
                      <a:pt x="18" y="326"/>
                    </a:lnTo>
                    <a:lnTo>
                      <a:pt x="19" y="324"/>
                    </a:lnTo>
                    <a:lnTo>
                      <a:pt x="18" y="324"/>
                    </a:lnTo>
                    <a:lnTo>
                      <a:pt x="18" y="323"/>
                    </a:lnTo>
                    <a:lnTo>
                      <a:pt x="18" y="321"/>
                    </a:lnTo>
                    <a:lnTo>
                      <a:pt x="18" y="319"/>
                    </a:lnTo>
                    <a:lnTo>
                      <a:pt x="19" y="319"/>
                    </a:lnTo>
                    <a:lnTo>
                      <a:pt x="18" y="318"/>
                    </a:lnTo>
                    <a:lnTo>
                      <a:pt x="18" y="316"/>
                    </a:lnTo>
                    <a:lnTo>
                      <a:pt x="19" y="316"/>
                    </a:lnTo>
                    <a:lnTo>
                      <a:pt x="19" y="315"/>
                    </a:lnTo>
                    <a:lnTo>
                      <a:pt x="19" y="313"/>
                    </a:lnTo>
                    <a:lnTo>
                      <a:pt x="18" y="312"/>
                    </a:lnTo>
                    <a:lnTo>
                      <a:pt x="16" y="312"/>
                    </a:lnTo>
                    <a:lnTo>
                      <a:pt x="16" y="310"/>
                    </a:lnTo>
                    <a:lnTo>
                      <a:pt x="15" y="310"/>
                    </a:lnTo>
                    <a:lnTo>
                      <a:pt x="16" y="308"/>
                    </a:lnTo>
                    <a:lnTo>
                      <a:pt x="16" y="307"/>
                    </a:lnTo>
                    <a:lnTo>
                      <a:pt x="15" y="307"/>
                    </a:lnTo>
                    <a:lnTo>
                      <a:pt x="16" y="305"/>
                    </a:lnTo>
                    <a:lnTo>
                      <a:pt x="15" y="304"/>
                    </a:lnTo>
                    <a:lnTo>
                      <a:pt x="15" y="302"/>
                    </a:lnTo>
                    <a:lnTo>
                      <a:pt x="15" y="300"/>
                    </a:lnTo>
                    <a:lnTo>
                      <a:pt x="13" y="300"/>
                    </a:lnTo>
                    <a:lnTo>
                      <a:pt x="12" y="299"/>
                    </a:lnTo>
                    <a:lnTo>
                      <a:pt x="12" y="297"/>
                    </a:lnTo>
                    <a:lnTo>
                      <a:pt x="10" y="296"/>
                    </a:lnTo>
                    <a:lnTo>
                      <a:pt x="10" y="294"/>
                    </a:lnTo>
                    <a:lnTo>
                      <a:pt x="10" y="293"/>
                    </a:lnTo>
                    <a:lnTo>
                      <a:pt x="8" y="293"/>
                    </a:lnTo>
                    <a:lnTo>
                      <a:pt x="8" y="291"/>
                    </a:lnTo>
                    <a:lnTo>
                      <a:pt x="8" y="289"/>
                    </a:lnTo>
                    <a:lnTo>
                      <a:pt x="10" y="288"/>
                    </a:lnTo>
                    <a:lnTo>
                      <a:pt x="10" y="286"/>
                    </a:lnTo>
                    <a:lnTo>
                      <a:pt x="8" y="285"/>
                    </a:lnTo>
                    <a:lnTo>
                      <a:pt x="7" y="285"/>
                    </a:lnTo>
                    <a:lnTo>
                      <a:pt x="7" y="283"/>
                    </a:lnTo>
                    <a:lnTo>
                      <a:pt x="7" y="281"/>
                    </a:lnTo>
                    <a:lnTo>
                      <a:pt x="7" y="280"/>
                    </a:lnTo>
                    <a:lnTo>
                      <a:pt x="8" y="278"/>
                    </a:lnTo>
                    <a:lnTo>
                      <a:pt x="8" y="277"/>
                    </a:lnTo>
                    <a:lnTo>
                      <a:pt x="8" y="275"/>
                    </a:lnTo>
                    <a:lnTo>
                      <a:pt x="8" y="274"/>
                    </a:lnTo>
                    <a:lnTo>
                      <a:pt x="8" y="272"/>
                    </a:lnTo>
                    <a:lnTo>
                      <a:pt x="8" y="270"/>
                    </a:lnTo>
                    <a:lnTo>
                      <a:pt x="8" y="269"/>
                    </a:lnTo>
                    <a:lnTo>
                      <a:pt x="7" y="269"/>
                    </a:lnTo>
                    <a:lnTo>
                      <a:pt x="7" y="267"/>
                    </a:lnTo>
                    <a:lnTo>
                      <a:pt x="5" y="267"/>
                    </a:lnTo>
                    <a:lnTo>
                      <a:pt x="5" y="266"/>
                    </a:lnTo>
                    <a:lnTo>
                      <a:pt x="5" y="264"/>
                    </a:lnTo>
                    <a:lnTo>
                      <a:pt x="5" y="262"/>
                    </a:lnTo>
                    <a:lnTo>
                      <a:pt x="5" y="261"/>
                    </a:lnTo>
                    <a:lnTo>
                      <a:pt x="4" y="261"/>
                    </a:lnTo>
                    <a:lnTo>
                      <a:pt x="5" y="259"/>
                    </a:lnTo>
                    <a:lnTo>
                      <a:pt x="5" y="258"/>
                    </a:lnTo>
                    <a:lnTo>
                      <a:pt x="5" y="256"/>
                    </a:lnTo>
                    <a:lnTo>
                      <a:pt x="7" y="256"/>
                    </a:lnTo>
                    <a:lnTo>
                      <a:pt x="7" y="255"/>
                    </a:lnTo>
                    <a:lnTo>
                      <a:pt x="8" y="253"/>
                    </a:lnTo>
                    <a:lnTo>
                      <a:pt x="8" y="251"/>
                    </a:lnTo>
                    <a:lnTo>
                      <a:pt x="7" y="251"/>
                    </a:lnTo>
                    <a:lnTo>
                      <a:pt x="7" y="250"/>
                    </a:lnTo>
                    <a:lnTo>
                      <a:pt x="5" y="250"/>
                    </a:lnTo>
                    <a:lnTo>
                      <a:pt x="5" y="248"/>
                    </a:lnTo>
                    <a:lnTo>
                      <a:pt x="5" y="247"/>
                    </a:lnTo>
                    <a:lnTo>
                      <a:pt x="5" y="245"/>
                    </a:lnTo>
                    <a:lnTo>
                      <a:pt x="5" y="243"/>
                    </a:lnTo>
                    <a:lnTo>
                      <a:pt x="5" y="242"/>
                    </a:lnTo>
                    <a:lnTo>
                      <a:pt x="4" y="242"/>
                    </a:lnTo>
                    <a:lnTo>
                      <a:pt x="4" y="240"/>
                    </a:lnTo>
                    <a:lnTo>
                      <a:pt x="2" y="240"/>
                    </a:lnTo>
                    <a:lnTo>
                      <a:pt x="0" y="239"/>
                    </a:lnTo>
                    <a:lnTo>
                      <a:pt x="0" y="237"/>
                    </a:lnTo>
                    <a:lnTo>
                      <a:pt x="2" y="237"/>
                    </a:lnTo>
                    <a:lnTo>
                      <a:pt x="2" y="236"/>
                    </a:lnTo>
                    <a:lnTo>
                      <a:pt x="2" y="234"/>
                    </a:lnTo>
                    <a:lnTo>
                      <a:pt x="2" y="232"/>
                    </a:lnTo>
                    <a:lnTo>
                      <a:pt x="2" y="231"/>
                    </a:lnTo>
                    <a:lnTo>
                      <a:pt x="2" y="229"/>
                    </a:lnTo>
                    <a:lnTo>
                      <a:pt x="0" y="229"/>
                    </a:lnTo>
                    <a:lnTo>
                      <a:pt x="0" y="228"/>
                    </a:lnTo>
                    <a:lnTo>
                      <a:pt x="0" y="226"/>
                    </a:lnTo>
                    <a:lnTo>
                      <a:pt x="48" y="223"/>
                    </a:lnTo>
                    <a:lnTo>
                      <a:pt x="61" y="221"/>
                    </a:lnTo>
                    <a:lnTo>
                      <a:pt x="84" y="191"/>
                    </a:lnTo>
                    <a:lnTo>
                      <a:pt x="88" y="186"/>
                    </a:lnTo>
                    <a:lnTo>
                      <a:pt x="89" y="185"/>
                    </a:lnTo>
                    <a:lnTo>
                      <a:pt x="91" y="183"/>
                    </a:lnTo>
                    <a:lnTo>
                      <a:pt x="91" y="182"/>
                    </a:lnTo>
                    <a:lnTo>
                      <a:pt x="92" y="182"/>
                    </a:lnTo>
                    <a:lnTo>
                      <a:pt x="92" y="180"/>
                    </a:lnTo>
                    <a:lnTo>
                      <a:pt x="94" y="180"/>
                    </a:lnTo>
                    <a:lnTo>
                      <a:pt x="97" y="175"/>
                    </a:lnTo>
                    <a:lnTo>
                      <a:pt x="99" y="174"/>
                    </a:lnTo>
                    <a:lnTo>
                      <a:pt x="100" y="172"/>
                    </a:lnTo>
                    <a:lnTo>
                      <a:pt x="102" y="171"/>
                    </a:lnTo>
                    <a:lnTo>
                      <a:pt x="103" y="171"/>
                    </a:lnTo>
                    <a:lnTo>
                      <a:pt x="107" y="169"/>
                    </a:lnTo>
                    <a:lnTo>
                      <a:pt x="108" y="169"/>
                    </a:lnTo>
                    <a:lnTo>
                      <a:pt x="113" y="166"/>
                    </a:lnTo>
                    <a:lnTo>
                      <a:pt x="115" y="166"/>
                    </a:lnTo>
                    <a:lnTo>
                      <a:pt x="119" y="164"/>
                    </a:lnTo>
                    <a:lnTo>
                      <a:pt x="127" y="161"/>
                    </a:lnTo>
                    <a:lnTo>
                      <a:pt x="129" y="159"/>
                    </a:lnTo>
                    <a:lnTo>
                      <a:pt x="134" y="158"/>
                    </a:lnTo>
                    <a:lnTo>
                      <a:pt x="137" y="158"/>
                    </a:lnTo>
                    <a:lnTo>
                      <a:pt x="137" y="156"/>
                    </a:lnTo>
                    <a:lnTo>
                      <a:pt x="138" y="156"/>
                    </a:lnTo>
                    <a:lnTo>
                      <a:pt x="140" y="156"/>
                    </a:lnTo>
                    <a:lnTo>
                      <a:pt x="145" y="153"/>
                    </a:lnTo>
                    <a:lnTo>
                      <a:pt x="146" y="153"/>
                    </a:lnTo>
                    <a:lnTo>
                      <a:pt x="148" y="153"/>
                    </a:lnTo>
                    <a:lnTo>
                      <a:pt x="159" y="148"/>
                    </a:lnTo>
                    <a:lnTo>
                      <a:pt x="164" y="147"/>
                    </a:lnTo>
                    <a:lnTo>
                      <a:pt x="165" y="147"/>
                    </a:lnTo>
                    <a:lnTo>
                      <a:pt x="170" y="145"/>
                    </a:lnTo>
                    <a:lnTo>
                      <a:pt x="173" y="142"/>
                    </a:lnTo>
                    <a:lnTo>
                      <a:pt x="178" y="140"/>
                    </a:lnTo>
                    <a:lnTo>
                      <a:pt x="181" y="139"/>
                    </a:lnTo>
                    <a:lnTo>
                      <a:pt x="186" y="137"/>
                    </a:lnTo>
                    <a:lnTo>
                      <a:pt x="192" y="134"/>
                    </a:lnTo>
                    <a:lnTo>
                      <a:pt x="195" y="133"/>
                    </a:lnTo>
                    <a:lnTo>
                      <a:pt x="197" y="133"/>
                    </a:lnTo>
                    <a:lnTo>
                      <a:pt x="197" y="131"/>
                    </a:lnTo>
                    <a:lnTo>
                      <a:pt x="213" y="134"/>
                    </a:lnTo>
                    <a:lnTo>
                      <a:pt x="214" y="134"/>
                    </a:lnTo>
                    <a:lnTo>
                      <a:pt x="217" y="134"/>
                    </a:lnTo>
                    <a:lnTo>
                      <a:pt x="219" y="134"/>
                    </a:lnTo>
                    <a:lnTo>
                      <a:pt x="221" y="134"/>
                    </a:lnTo>
                    <a:lnTo>
                      <a:pt x="221" y="133"/>
                    </a:lnTo>
                    <a:lnTo>
                      <a:pt x="222" y="133"/>
                    </a:lnTo>
                    <a:lnTo>
                      <a:pt x="222" y="131"/>
                    </a:lnTo>
                    <a:lnTo>
                      <a:pt x="224" y="131"/>
                    </a:lnTo>
                    <a:lnTo>
                      <a:pt x="225" y="131"/>
                    </a:lnTo>
                    <a:lnTo>
                      <a:pt x="225" y="133"/>
                    </a:lnTo>
                    <a:lnTo>
                      <a:pt x="227" y="133"/>
                    </a:lnTo>
                    <a:lnTo>
                      <a:pt x="227" y="131"/>
                    </a:lnTo>
                    <a:lnTo>
                      <a:pt x="227" y="129"/>
                    </a:lnTo>
                    <a:lnTo>
                      <a:pt x="229" y="128"/>
                    </a:lnTo>
                    <a:lnTo>
                      <a:pt x="230" y="128"/>
                    </a:lnTo>
                    <a:lnTo>
                      <a:pt x="232" y="128"/>
                    </a:lnTo>
                    <a:lnTo>
                      <a:pt x="233" y="129"/>
                    </a:lnTo>
                    <a:lnTo>
                      <a:pt x="235" y="128"/>
                    </a:lnTo>
                    <a:lnTo>
                      <a:pt x="236" y="128"/>
                    </a:lnTo>
                    <a:lnTo>
                      <a:pt x="236" y="126"/>
                    </a:lnTo>
                    <a:lnTo>
                      <a:pt x="238" y="126"/>
                    </a:lnTo>
                    <a:lnTo>
                      <a:pt x="240" y="126"/>
                    </a:lnTo>
                    <a:lnTo>
                      <a:pt x="241" y="128"/>
                    </a:lnTo>
                    <a:lnTo>
                      <a:pt x="243" y="128"/>
                    </a:lnTo>
                    <a:lnTo>
                      <a:pt x="244" y="128"/>
                    </a:lnTo>
                    <a:lnTo>
                      <a:pt x="244" y="129"/>
                    </a:lnTo>
                    <a:lnTo>
                      <a:pt x="246" y="129"/>
                    </a:lnTo>
                    <a:lnTo>
                      <a:pt x="248" y="131"/>
                    </a:lnTo>
                    <a:lnTo>
                      <a:pt x="248" y="133"/>
                    </a:lnTo>
                    <a:lnTo>
                      <a:pt x="249" y="133"/>
                    </a:lnTo>
                    <a:lnTo>
                      <a:pt x="249" y="134"/>
                    </a:lnTo>
                    <a:lnTo>
                      <a:pt x="249" y="136"/>
                    </a:lnTo>
                    <a:lnTo>
                      <a:pt x="251" y="136"/>
                    </a:lnTo>
                    <a:lnTo>
                      <a:pt x="251" y="137"/>
                    </a:lnTo>
                    <a:lnTo>
                      <a:pt x="252" y="137"/>
                    </a:lnTo>
                    <a:lnTo>
                      <a:pt x="254" y="137"/>
                    </a:lnTo>
                    <a:lnTo>
                      <a:pt x="255" y="137"/>
                    </a:lnTo>
                    <a:lnTo>
                      <a:pt x="257" y="137"/>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93" name="Freeform 73"/>
              <p:cNvSpPr>
                <a:spLocks/>
              </p:cNvSpPr>
              <p:nvPr/>
            </p:nvSpPr>
            <p:spPr bwMode="auto">
              <a:xfrm>
                <a:off x="4942" y="3506"/>
                <a:ext cx="393" cy="155"/>
              </a:xfrm>
              <a:custGeom>
                <a:avLst/>
                <a:gdLst>
                  <a:gd name="T0" fmla="*/ 6 w 393"/>
                  <a:gd name="T1" fmla="*/ 137 h 155"/>
                  <a:gd name="T2" fmla="*/ 14 w 393"/>
                  <a:gd name="T3" fmla="*/ 139 h 155"/>
                  <a:gd name="T4" fmla="*/ 22 w 393"/>
                  <a:gd name="T5" fmla="*/ 137 h 155"/>
                  <a:gd name="T6" fmla="*/ 32 w 393"/>
                  <a:gd name="T7" fmla="*/ 136 h 155"/>
                  <a:gd name="T8" fmla="*/ 37 w 393"/>
                  <a:gd name="T9" fmla="*/ 131 h 155"/>
                  <a:gd name="T10" fmla="*/ 38 w 393"/>
                  <a:gd name="T11" fmla="*/ 123 h 155"/>
                  <a:gd name="T12" fmla="*/ 48 w 393"/>
                  <a:gd name="T13" fmla="*/ 123 h 155"/>
                  <a:gd name="T14" fmla="*/ 56 w 393"/>
                  <a:gd name="T15" fmla="*/ 120 h 155"/>
                  <a:gd name="T16" fmla="*/ 62 w 393"/>
                  <a:gd name="T17" fmla="*/ 117 h 155"/>
                  <a:gd name="T18" fmla="*/ 67 w 393"/>
                  <a:gd name="T19" fmla="*/ 112 h 155"/>
                  <a:gd name="T20" fmla="*/ 73 w 393"/>
                  <a:gd name="T21" fmla="*/ 110 h 155"/>
                  <a:gd name="T22" fmla="*/ 82 w 393"/>
                  <a:gd name="T23" fmla="*/ 107 h 155"/>
                  <a:gd name="T24" fmla="*/ 92 w 393"/>
                  <a:gd name="T25" fmla="*/ 104 h 155"/>
                  <a:gd name="T26" fmla="*/ 105 w 393"/>
                  <a:gd name="T27" fmla="*/ 98 h 155"/>
                  <a:gd name="T28" fmla="*/ 113 w 393"/>
                  <a:gd name="T29" fmla="*/ 91 h 155"/>
                  <a:gd name="T30" fmla="*/ 120 w 393"/>
                  <a:gd name="T31" fmla="*/ 87 h 155"/>
                  <a:gd name="T32" fmla="*/ 130 w 393"/>
                  <a:gd name="T33" fmla="*/ 85 h 155"/>
                  <a:gd name="T34" fmla="*/ 135 w 393"/>
                  <a:gd name="T35" fmla="*/ 93 h 155"/>
                  <a:gd name="T36" fmla="*/ 141 w 393"/>
                  <a:gd name="T37" fmla="*/ 101 h 155"/>
                  <a:gd name="T38" fmla="*/ 139 w 393"/>
                  <a:gd name="T39" fmla="*/ 110 h 155"/>
                  <a:gd name="T40" fmla="*/ 149 w 393"/>
                  <a:gd name="T41" fmla="*/ 107 h 155"/>
                  <a:gd name="T42" fmla="*/ 157 w 393"/>
                  <a:gd name="T43" fmla="*/ 106 h 155"/>
                  <a:gd name="T44" fmla="*/ 160 w 393"/>
                  <a:gd name="T45" fmla="*/ 96 h 155"/>
                  <a:gd name="T46" fmla="*/ 158 w 393"/>
                  <a:gd name="T47" fmla="*/ 88 h 155"/>
                  <a:gd name="T48" fmla="*/ 165 w 393"/>
                  <a:gd name="T49" fmla="*/ 82 h 155"/>
                  <a:gd name="T50" fmla="*/ 177 w 393"/>
                  <a:gd name="T51" fmla="*/ 85 h 155"/>
                  <a:gd name="T52" fmla="*/ 185 w 393"/>
                  <a:gd name="T53" fmla="*/ 72 h 155"/>
                  <a:gd name="T54" fmla="*/ 200 w 393"/>
                  <a:gd name="T55" fmla="*/ 66 h 155"/>
                  <a:gd name="T56" fmla="*/ 211 w 393"/>
                  <a:gd name="T57" fmla="*/ 69 h 155"/>
                  <a:gd name="T58" fmla="*/ 230 w 393"/>
                  <a:gd name="T59" fmla="*/ 77 h 155"/>
                  <a:gd name="T60" fmla="*/ 241 w 393"/>
                  <a:gd name="T61" fmla="*/ 106 h 155"/>
                  <a:gd name="T62" fmla="*/ 254 w 393"/>
                  <a:gd name="T63" fmla="*/ 123 h 155"/>
                  <a:gd name="T64" fmla="*/ 258 w 393"/>
                  <a:gd name="T65" fmla="*/ 139 h 155"/>
                  <a:gd name="T66" fmla="*/ 261 w 393"/>
                  <a:gd name="T67" fmla="*/ 145 h 155"/>
                  <a:gd name="T68" fmla="*/ 266 w 393"/>
                  <a:gd name="T69" fmla="*/ 150 h 155"/>
                  <a:gd name="T70" fmla="*/ 273 w 393"/>
                  <a:gd name="T71" fmla="*/ 155 h 155"/>
                  <a:gd name="T72" fmla="*/ 280 w 393"/>
                  <a:gd name="T73" fmla="*/ 153 h 155"/>
                  <a:gd name="T74" fmla="*/ 285 w 393"/>
                  <a:gd name="T75" fmla="*/ 148 h 155"/>
                  <a:gd name="T76" fmla="*/ 288 w 393"/>
                  <a:gd name="T77" fmla="*/ 140 h 155"/>
                  <a:gd name="T78" fmla="*/ 292 w 393"/>
                  <a:gd name="T79" fmla="*/ 133 h 155"/>
                  <a:gd name="T80" fmla="*/ 296 w 393"/>
                  <a:gd name="T81" fmla="*/ 126 h 155"/>
                  <a:gd name="T82" fmla="*/ 285 w 393"/>
                  <a:gd name="T83" fmla="*/ 104 h 155"/>
                  <a:gd name="T84" fmla="*/ 292 w 393"/>
                  <a:gd name="T85" fmla="*/ 79 h 155"/>
                  <a:gd name="T86" fmla="*/ 295 w 393"/>
                  <a:gd name="T87" fmla="*/ 72 h 155"/>
                  <a:gd name="T88" fmla="*/ 304 w 393"/>
                  <a:gd name="T89" fmla="*/ 66 h 155"/>
                  <a:gd name="T90" fmla="*/ 322 w 393"/>
                  <a:gd name="T91" fmla="*/ 60 h 155"/>
                  <a:gd name="T92" fmla="*/ 339 w 393"/>
                  <a:gd name="T93" fmla="*/ 47 h 155"/>
                  <a:gd name="T94" fmla="*/ 356 w 393"/>
                  <a:gd name="T95" fmla="*/ 38 h 155"/>
                  <a:gd name="T96" fmla="*/ 366 w 393"/>
                  <a:gd name="T97" fmla="*/ 34 h 155"/>
                  <a:gd name="T98" fmla="*/ 374 w 393"/>
                  <a:gd name="T99" fmla="*/ 28 h 155"/>
                  <a:gd name="T100" fmla="*/ 380 w 393"/>
                  <a:gd name="T101" fmla="*/ 22 h 155"/>
                  <a:gd name="T102" fmla="*/ 387 w 393"/>
                  <a:gd name="T103" fmla="*/ 19 h 155"/>
                  <a:gd name="T104" fmla="*/ 388 w 393"/>
                  <a:gd name="T105" fmla="*/ 22 h 155"/>
                  <a:gd name="T106" fmla="*/ 385 w 393"/>
                  <a:gd name="T107" fmla="*/ 25 h 155"/>
                  <a:gd name="T108" fmla="*/ 391 w 393"/>
                  <a:gd name="T109" fmla="*/ 28 h 155"/>
                  <a:gd name="T110" fmla="*/ 391 w 393"/>
                  <a:gd name="T111" fmla="*/ 25 h 155"/>
                  <a:gd name="T112" fmla="*/ 393 w 393"/>
                  <a:gd name="T113" fmla="*/ 17 h 155"/>
                  <a:gd name="T114" fmla="*/ 390 w 393"/>
                  <a:gd name="T115" fmla="*/ 11 h 155"/>
                  <a:gd name="T116" fmla="*/ 388 w 393"/>
                  <a:gd name="T117" fmla="*/ 6 h 155"/>
                  <a:gd name="T118" fmla="*/ 391 w 393"/>
                  <a:gd name="T119"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3" h="155">
                    <a:moveTo>
                      <a:pt x="0" y="137"/>
                    </a:moveTo>
                    <a:lnTo>
                      <a:pt x="2" y="137"/>
                    </a:lnTo>
                    <a:lnTo>
                      <a:pt x="3" y="137"/>
                    </a:lnTo>
                    <a:lnTo>
                      <a:pt x="5" y="139"/>
                    </a:lnTo>
                    <a:lnTo>
                      <a:pt x="5" y="137"/>
                    </a:lnTo>
                    <a:lnTo>
                      <a:pt x="6" y="137"/>
                    </a:lnTo>
                    <a:lnTo>
                      <a:pt x="8" y="139"/>
                    </a:lnTo>
                    <a:lnTo>
                      <a:pt x="10" y="139"/>
                    </a:lnTo>
                    <a:lnTo>
                      <a:pt x="11" y="139"/>
                    </a:lnTo>
                    <a:lnTo>
                      <a:pt x="13" y="137"/>
                    </a:lnTo>
                    <a:lnTo>
                      <a:pt x="14" y="137"/>
                    </a:lnTo>
                    <a:lnTo>
                      <a:pt x="14" y="139"/>
                    </a:lnTo>
                    <a:lnTo>
                      <a:pt x="16" y="139"/>
                    </a:lnTo>
                    <a:lnTo>
                      <a:pt x="18" y="139"/>
                    </a:lnTo>
                    <a:lnTo>
                      <a:pt x="18" y="137"/>
                    </a:lnTo>
                    <a:lnTo>
                      <a:pt x="19" y="137"/>
                    </a:lnTo>
                    <a:lnTo>
                      <a:pt x="21" y="137"/>
                    </a:lnTo>
                    <a:lnTo>
                      <a:pt x="22" y="137"/>
                    </a:lnTo>
                    <a:lnTo>
                      <a:pt x="24" y="137"/>
                    </a:lnTo>
                    <a:lnTo>
                      <a:pt x="27" y="137"/>
                    </a:lnTo>
                    <a:lnTo>
                      <a:pt x="29" y="137"/>
                    </a:lnTo>
                    <a:lnTo>
                      <a:pt x="30" y="137"/>
                    </a:lnTo>
                    <a:lnTo>
                      <a:pt x="32" y="137"/>
                    </a:lnTo>
                    <a:lnTo>
                      <a:pt x="32" y="136"/>
                    </a:lnTo>
                    <a:lnTo>
                      <a:pt x="32" y="134"/>
                    </a:lnTo>
                    <a:lnTo>
                      <a:pt x="32" y="133"/>
                    </a:lnTo>
                    <a:lnTo>
                      <a:pt x="33" y="133"/>
                    </a:lnTo>
                    <a:lnTo>
                      <a:pt x="35" y="133"/>
                    </a:lnTo>
                    <a:lnTo>
                      <a:pt x="35" y="131"/>
                    </a:lnTo>
                    <a:lnTo>
                      <a:pt x="37" y="131"/>
                    </a:lnTo>
                    <a:lnTo>
                      <a:pt x="37" y="129"/>
                    </a:lnTo>
                    <a:lnTo>
                      <a:pt x="35" y="128"/>
                    </a:lnTo>
                    <a:lnTo>
                      <a:pt x="37" y="128"/>
                    </a:lnTo>
                    <a:lnTo>
                      <a:pt x="37" y="126"/>
                    </a:lnTo>
                    <a:lnTo>
                      <a:pt x="38" y="125"/>
                    </a:lnTo>
                    <a:lnTo>
                      <a:pt x="38" y="123"/>
                    </a:lnTo>
                    <a:lnTo>
                      <a:pt x="40" y="125"/>
                    </a:lnTo>
                    <a:lnTo>
                      <a:pt x="41" y="123"/>
                    </a:lnTo>
                    <a:lnTo>
                      <a:pt x="43" y="123"/>
                    </a:lnTo>
                    <a:lnTo>
                      <a:pt x="44" y="125"/>
                    </a:lnTo>
                    <a:lnTo>
                      <a:pt x="46" y="123"/>
                    </a:lnTo>
                    <a:lnTo>
                      <a:pt x="48" y="123"/>
                    </a:lnTo>
                    <a:lnTo>
                      <a:pt x="49" y="123"/>
                    </a:lnTo>
                    <a:lnTo>
                      <a:pt x="51" y="123"/>
                    </a:lnTo>
                    <a:lnTo>
                      <a:pt x="51" y="121"/>
                    </a:lnTo>
                    <a:lnTo>
                      <a:pt x="52" y="121"/>
                    </a:lnTo>
                    <a:lnTo>
                      <a:pt x="54" y="121"/>
                    </a:lnTo>
                    <a:lnTo>
                      <a:pt x="56" y="120"/>
                    </a:lnTo>
                    <a:lnTo>
                      <a:pt x="56" y="118"/>
                    </a:lnTo>
                    <a:lnTo>
                      <a:pt x="57" y="118"/>
                    </a:lnTo>
                    <a:lnTo>
                      <a:pt x="57" y="117"/>
                    </a:lnTo>
                    <a:lnTo>
                      <a:pt x="59" y="117"/>
                    </a:lnTo>
                    <a:lnTo>
                      <a:pt x="60" y="117"/>
                    </a:lnTo>
                    <a:lnTo>
                      <a:pt x="62" y="117"/>
                    </a:lnTo>
                    <a:lnTo>
                      <a:pt x="62" y="115"/>
                    </a:lnTo>
                    <a:lnTo>
                      <a:pt x="63" y="115"/>
                    </a:lnTo>
                    <a:lnTo>
                      <a:pt x="63" y="114"/>
                    </a:lnTo>
                    <a:lnTo>
                      <a:pt x="63" y="112"/>
                    </a:lnTo>
                    <a:lnTo>
                      <a:pt x="65" y="112"/>
                    </a:lnTo>
                    <a:lnTo>
                      <a:pt x="67" y="112"/>
                    </a:lnTo>
                    <a:lnTo>
                      <a:pt x="68" y="112"/>
                    </a:lnTo>
                    <a:lnTo>
                      <a:pt x="68" y="110"/>
                    </a:lnTo>
                    <a:lnTo>
                      <a:pt x="70" y="110"/>
                    </a:lnTo>
                    <a:lnTo>
                      <a:pt x="71" y="112"/>
                    </a:lnTo>
                    <a:lnTo>
                      <a:pt x="71" y="110"/>
                    </a:lnTo>
                    <a:lnTo>
                      <a:pt x="73" y="110"/>
                    </a:lnTo>
                    <a:lnTo>
                      <a:pt x="75" y="109"/>
                    </a:lnTo>
                    <a:lnTo>
                      <a:pt x="76" y="109"/>
                    </a:lnTo>
                    <a:lnTo>
                      <a:pt x="78" y="109"/>
                    </a:lnTo>
                    <a:lnTo>
                      <a:pt x="79" y="109"/>
                    </a:lnTo>
                    <a:lnTo>
                      <a:pt x="81" y="107"/>
                    </a:lnTo>
                    <a:lnTo>
                      <a:pt x="82" y="107"/>
                    </a:lnTo>
                    <a:lnTo>
                      <a:pt x="84" y="107"/>
                    </a:lnTo>
                    <a:lnTo>
                      <a:pt x="86" y="107"/>
                    </a:lnTo>
                    <a:lnTo>
                      <a:pt x="87" y="106"/>
                    </a:lnTo>
                    <a:lnTo>
                      <a:pt x="89" y="106"/>
                    </a:lnTo>
                    <a:lnTo>
                      <a:pt x="90" y="104"/>
                    </a:lnTo>
                    <a:lnTo>
                      <a:pt x="92" y="104"/>
                    </a:lnTo>
                    <a:lnTo>
                      <a:pt x="94" y="102"/>
                    </a:lnTo>
                    <a:lnTo>
                      <a:pt x="97" y="99"/>
                    </a:lnTo>
                    <a:lnTo>
                      <a:pt x="98" y="99"/>
                    </a:lnTo>
                    <a:lnTo>
                      <a:pt x="100" y="98"/>
                    </a:lnTo>
                    <a:lnTo>
                      <a:pt x="101" y="96"/>
                    </a:lnTo>
                    <a:lnTo>
                      <a:pt x="105" y="98"/>
                    </a:lnTo>
                    <a:lnTo>
                      <a:pt x="105" y="96"/>
                    </a:lnTo>
                    <a:lnTo>
                      <a:pt x="106" y="96"/>
                    </a:lnTo>
                    <a:lnTo>
                      <a:pt x="108" y="95"/>
                    </a:lnTo>
                    <a:lnTo>
                      <a:pt x="108" y="93"/>
                    </a:lnTo>
                    <a:lnTo>
                      <a:pt x="111" y="91"/>
                    </a:lnTo>
                    <a:lnTo>
                      <a:pt x="113" y="91"/>
                    </a:lnTo>
                    <a:lnTo>
                      <a:pt x="113" y="90"/>
                    </a:lnTo>
                    <a:lnTo>
                      <a:pt x="114" y="90"/>
                    </a:lnTo>
                    <a:lnTo>
                      <a:pt x="116" y="90"/>
                    </a:lnTo>
                    <a:lnTo>
                      <a:pt x="119" y="90"/>
                    </a:lnTo>
                    <a:lnTo>
                      <a:pt x="120" y="88"/>
                    </a:lnTo>
                    <a:lnTo>
                      <a:pt x="120" y="87"/>
                    </a:lnTo>
                    <a:lnTo>
                      <a:pt x="122" y="87"/>
                    </a:lnTo>
                    <a:lnTo>
                      <a:pt x="124" y="87"/>
                    </a:lnTo>
                    <a:lnTo>
                      <a:pt x="127" y="87"/>
                    </a:lnTo>
                    <a:lnTo>
                      <a:pt x="128" y="87"/>
                    </a:lnTo>
                    <a:lnTo>
                      <a:pt x="128" y="85"/>
                    </a:lnTo>
                    <a:lnTo>
                      <a:pt x="130" y="85"/>
                    </a:lnTo>
                    <a:lnTo>
                      <a:pt x="132" y="85"/>
                    </a:lnTo>
                    <a:lnTo>
                      <a:pt x="135" y="87"/>
                    </a:lnTo>
                    <a:lnTo>
                      <a:pt x="136" y="88"/>
                    </a:lnTo>
                    <a:lnTo>
                      <a:pt x="136" y="90"/>
                    </a:lnTo>
                    <a:lnTo>
                      <a:pt x="136" y="91"/>
                    </a:lnTo>
                    <a:lnTo>
                      <a:pt x="135" y="93"/>
                    </a:lnTo>
                    <a:lnTo>
                      <a:pt x="135" y="95"/>
                    </a:lnTo>
                    <a:lnTo>
                      <a:pt x="135" y="96"/>
                    </a:lnTo>
                    <a:lnTo>
                      <a:pt x="136" y="98"/>
                    </a:lnTo>
                    <a:lnTo>
                      <a:pt x="138" y="99"/>
                    </a:lnTo>
                    <a:lnTo>
                      <a:pt x="139" y="99"/>
                    </a:lnTo>
                    <a:lnTo>
                      <a:pt x="141" y="101"/>
                    </a:lnTo>
                    <a:lnTo>
                      <a:pt x="141" y="102"/>
                    </a:lnTo>
                    <a:lnTo>
                      <a:pt x="141" y="104"/>
                    </a:lnTo>
                    <a:lnTo>
                      <a:pt x="141" y="106"/>
                    </a:lnTo>
                    <a:lnTo>
                      <a:pt x="139" y="107"/>
                    </a:lnTo>
                    <a:lnTo>
                      <a:pt x="139" y="109"/>
                    </a:lnTo>
                    <a:lnTo>
                      <a:pt x="139" y="110"/>
                    </a:lnTo>
                    <a:lnTo>
                      <a:pt x="143" y="107"/>
                    </a:lnTo>
                    <a:lnTo>
                      <a:pt x="144" y="106"/>
                    </a:lnTo>
                    <a:lnTo>
                      <a:pt x="146" y="106"/>
                    </a:lnTo>
                    <a:lnTo>
                      <a:pt x="147" y="106"/>
                    </a:lnTo>
                    <a:lnTo>
                      <a:pt x="149" y="106"/>
                    </a:lnTo>
                    <a:lnTo>
                      <a:pt x="149" y="107"/>
                    </a:lnTo>
                    <a:lnTo>
                      <a:pt x="151" y="107"/>
                    </a:lnTo>
                    <a:lnTo>
                      <a:pt x="152" y="109"/>
                    </a:lnTo>
                    <a:lnTo>
                      <a:pt x="154" y="109"/>
                    </a:lnTo>
                    <a:lnTo>
                      <a:pt x="155" y="109"/>
                    </a:lnTo>
                    <a:lnTo>
                      <a:pt x="157" y="107"/>
                    </a:lnTo>
                    <a:lnTo>
                      <a:pt x="157" y="106"/>
                    </a:lnTo>
                    <a:lnTo>
                      <a:pt x="157" y="104"/>
                    </a:lnTo>
                    <a:lnTo>
                      <a:pt x="158" y="102"/>
                    </a:lnTo>
                    <a:lnTo>
                      <a:pt x="158" y="101"/>
                    </a:lnTo>
                    <a:lnTo>
                      <a:pt x="160" y="99"/>
                    </a:lnTo>
                    <a:lnTo>
                      <a:pt x="160" y="98"/>
                    </a:lnTo>
                    <a:lnTo>
                      <a:pt x="160" y="96"/>
                    </a:lnTo>
                    <a:lnTo>
                      <a:pt x="160" y="95"/>
                    </a:lnTo>
                    <a:lnTo>
                      <a:pt x="158" y="95"/>
                    </a:lnTo>
                    <a:lnTo>
                      <a:pt x="158" y="93"/>
                    </a:lnTo>
                    <a:lnTo>
                      <a:pt x="158" y="91"/>
                    </a:lnTo>
                    <a:lnTo>
                      <a:pt x="158" y="90"/>
                    </a:lnTo>
                    <a:lnTo>
                      <a:pt x="158" y="88"/>
                    </a:lnTo>
                    <a:lnTo>
                      <a:pt x="157" y="87"/>
                    </a:lnTo>
                    <a:lnTo>
                      <a:pt x="158" y="87"/>
                    </a:lnTo>
                    <a:lnTo>
                      <a:pt x="160" y="85"/>
                    </a:lnTo>
                    <a:lnTo>
                      <a:pt x="162" y="85"/>
                    </a:lnTo>
                    <a:lnTo>
                      <a:pt x="162" y="83"/>
                    </a:lnTo>
                    <a:lnTo>
                      <a:pt x="165" y="82"/>
                    </a:lnTo>
                    <a:lnTo>
                      <a:pt x="165" y="83"/>
                    </a:lnTo>
                    <a:lnTo>
                      <a:pt x="166" y="83"/>
                    </a:lnTo>
                    <a:lnTo>
                      <a:pt x="168" y="83"/>
                    </a:lnTo>
                    <a:lnTo>
                      <a:pt x="170" y="83"/>
                    </a:lnTo>
                    <a:lnTo>
                      <a:pt x="174" y="83"/>
                    </a:lnTo>
                    <a:lnTo>
                      <a:pt x="177" y="85"/>
                    </a:lnTo>
                    <a:lnTo>
                      <a:pt x="179" y="85"/>
                    </a:lnTo>
                    <a:lnTo>
                      <a:pt x="181" y="83"/>
                    </a:lnTo>
                    <a:lnTo>
                      <a:pt x="182" y="80"/>
                    </a:lnTo>
                    <a:lnTo>
                      <a:pt x="184" y="77"/>
                    </a:lnTo>
                    <a:lnTo>
                      <a:pt x="185" y="74"/>
                    </a:lnTo>
                    <a:lnTo>
                      <a:pt x="185" y="72"/>
                    </a:lnTo>
                    <a:lnTo>
                      <a:pt x="189" y="72"/>
                    </a:lnTo>
                    <a:lnTo>
                      <a:pt x="190" y="71"/>
                    </a:lnTo>
                    <a:lnTo>
                      <a:pt x="192" y="71"/>
                    </a:lnTo>
                    <a:lnTo>
                      <a:pt x="195" y="69"/>
                    </a:lnTo>
                    <a:lnTo>
                      <a:pt x="196" y="69"/>
                    </a:lnTo>
                    <a:lnTo>
                      <a:pt x="200" y="66"/>
                    </a:lnTo>
                    <a:lnTo>
                      <a:pt x="201" y="68"/>
                    </a:lnTo>
                    <a:lnTo>
                      <a:pt x="204" y="69"/>
                    </a:lnTo>
                    <a:lnTo>
                      <a:pt x="206" y="69"/>
                    </a:lnTo>
                    <a:lnTo>
                      <a:pt x="208" y="69"/>
                    </a:lnTo>
                    <a:lnTo>
                      <a:pt x="209" y="69"/>
                    </a:lnTo>
                    <a:lnTo>
                      <a:pt x="211" y="69"/>
                    </a:lnTo>
                    <a:lnTo>
                      <a:pt x="212" y="69"/>
                    </a:lnTo>
                    <a:lnTo>
                      <a:pt x="214" y="71"/>
                    </a:lnTo>
                    <a:lnTo>
                      <a:pt x="216" y="71"/>
                    </a:lnTo>
                    <a:lnTo>
                      <a:pt x="222" y="74"/>
                    </a:lnTo>
                    <a:lnTo>
                      <a:pt x="223" y="76"/>
                    </a:lnTo>
                    <a:lnTo>
                      <a:pt x="230" y="77"/>
                    </a:lnTo>
                    <a:lnTo>
                      <a:pt x="233" y="90"/>
                    </a:lnTo>
                    <a:lnTo>
                      <a:pt x="236" y="98"/>
                    </a:lnTo>
                    <a:lnTo>
                      <a:pt x="238" y="101"/>
                    </a:lnTo>
                    <a:lnTo>
                      <a:pt x="239" y="102"/>
                    </a:lnTo>
                    <a:lnTo>
                      <a:pt x="239" y="104"/>
                    </a:lnTo>
                    <a:lnTo>
                      <a:pt x="241" y="106"/>
                    </a:lnTo>
                    <a:lnTo>
                      <a:pt x="241" y="110"/>
                    </a:lnTo>
                    <a:lnTo>
                      <a:pt x="244" y="115"/>
                    </a:lnTo>
                    <a:lnTo>
                      <a:pt x="247" y="121"/>
                    </a:lnTo>
                    <a:lnTo>
                      <a:pt x="247" y="123"/>
                    </a:lnTo>
                    <a:lnTo>
                      <a:pt x="252" y="123"/>
                    </a:lnTo>
                    <a:lnTo>
                      <a:pt x="254" y="123"/>
                    </a:lnTo>
                    <a:lnTo>
                      <a:pt x="254" y="125"/>
                    </a:lnTo>
                    <a:lnTo>
                      <a:pt x="254" y="126"/>
                    </a:lnTo>
                    <a:lnTo>
                      <a:pt x="255" y="133"/>
                    </a:lnTo>
                    <a:lnTo>
                      <a:pt x="255" y="134"/>
                    </a:lnTo>
                    <a:lnTo>
                      <a:pt x="258" y="137"/>
                    </a:lnTo>
                    <a:lnTo>
                      <a:pt x="258" y="139"/>
                    </a:lnTo>
                    <a:lnTo>
                      <a:pt x="258" y="140"/>
                    </a:lnTo>
                    <a:lnTo>
                      <a:pt x="260" y="140"/>
                    </a:lnTo>
                    <a:lnTo>
                      <a:pt x="260" y="142"/>
                    </a:lnTo>
                    <a:lnTo>
                      <a:pt x="260" y="144"/>
                    </a:lnTo>
                    <a:lnTo>
                      <a:pt x="260" y="145"/>
                    </a:lnTo>
                    <a:lnTo>
                      <a:pt x="261" y="145"/>
                    </a:lnTo>
                    <a:lnTo>
                      <a:pt x="261" y="147"/>
                    </a:lnTo>
                    <a:lnTo>
                      <a:pt x="263" y="147"/>
                    </a:lnTo>
                    <a:lnTo>
                      <a:pt x="263" y="148"/>
                    </a:lnTo>
                    <a:lnTo>
                      <a:pt x="265" y="148"/>
                    </a:lnTo>
                    <a:lnTo>
                      <a:pt x="265" y="150"/>
                    </a:lnTo>
                    <a:lnTo>
                      <a:pt x="266" y="150"/>
                    </a:lnTo>
                    <a:lnTo>
                      <a:pt x="268" y="152"/>
                    </a:lnTo>
                    <a:lnTo>
                      <a:pt x="269" y="152"/>
                    </a:lnTo>
                    <a:lnTo>
                      <a:pt x="269" y="153"/>
                    </a:lnTo>
                    <a:lnTo>
                      <a:pt x="271" y="153"/>
                    </a:lnTo>
                    <a:lnTo>
                      <a:pt x="271" y="155"/>
                    </a:lnTo>
                    <a:lnTo>
                      <a:pt x="273" y="155"/>
                    </a:lnTo>
                    <a:lnTo>
                      <a:pt x="274" y="155"/>
                    </a:lnTo>
                    <a:lnTo>
                      <a:pt x="274" y="153"/>
                    </a:lnTo>
                    <a:lnTo>
                      <a:pt x="276" y="153"/>
                    </a:lnTo>
                    <a:lnTo>
                      <a:pt x="277" y="153"/>
                    </a:lnTo>
                    <a:lnTo>
                      <a:pt x="279" y="153"/>
                    </a:lnTo>
                    <a:lnTo>
                      <a:pt x="280" y="153"/>
                    </a:lnTo>
                    <a:lnTo>
                      <a:pt x="280" y="152"/>
                    </a:lnTo>
                    <a:lnTo>
                      <a:pt x="282" y="152"/>
                    </a:lnTo>
                    <a:lnTo>
                      <a:pt x="284" y="152"/>
                    </a:lnTo>
                    <a:lnTo>
                      <a:pt x="284" y="150"/>
                    </a:lnTo>
                    <a:lnTo>
                      <a:pt x="284" y="148"/>
                    </a:lnTo>
                    <a:lnTo>
                      <a:pt x="285" y="148"/>
                    </a:lnTo>
                    <a:lnTo>
                      <a:pt x="285" y="147"/>
                    </a:lnTo>
                    <a:lnTo>
                      <a:pt x="285" y="145"/>
                    </a:lnTo>
                    <a:lnTo>
                      <a:pt x="285" y="144"/>
                    </a:lnTo>
                    <a:lnTo>
                      <a:pt x="287" y="144"/>
                    </a:lnTo>
                    <a:lnTo>
                      <a:pt x="287" y="142"/>
                    </a:lnTo>
                    <a:lnTo>
                      <a:pt x="288" y="140"/>
                    </a:lnTo>
                    <a:lnTo>
                      <a:pt x="288" y="139"/>
                    </a:lnTo>
                    <a:lnTo>
                      <a:pt x="288" y="137"/>
                    </a:lnTo>
                    <a:lnTo>
                      <a:pt x="290" y="137"/>
                    </a:lnTo>
                    <a:lnTo>
                      <a:pt x="290" y="136"/>
                    </a:lnTo>
                    <a:lnTo>
                      <a:pt x="292" y="134"/>
                    </a:lnTo>
                    <a:lnTo>
                      <a:pt x="292" y="133"/>
                    </a:lnTo>
                    <a:lnTo>
                      <a:pt x="293" y="133"/>
                    </a:lnTo>
                    <a:lnTo>
                      <a:pt x="293" y="131"/>
                    </a:lnTo>
                    <a:lnTo>
                      <a:pt x="295" y="129"/>
                    </a:lnTo>
                    <a:lnTo>
                      <a:pt x="295" y="128"/>
                    </a:lnTo>
                    <a:lnTo>
                      <a:pt x="296" y="128"/>
                    </a:lnTo>
                    <a:lnTo>
                      <a:pt x="296" y="126"/>
                    </a:lnTo>
                    <a:lnTo>
                      <a:pt x="295" y="125"/>
                    </a:lnTo>
                    <a:lnTo>
                      <a:pt x="290" y="120"/>
                    </a:lnTo>
                    <a:lnTo>
                      <a:pt x="284" y="110"/>
                    </a:lnTo>
                    <a:lnTo>
                      <a:pt x="280" y="109"/>
                    </a:lnTo>
                    <a:lnTo>
                      <a:pt x="282" y="107"/>
                    </a:lnTo>
                    <a:lnTo>
                      <a:pt x="285" y="104"/>
                    </a:lnTo>
                    <a:lnTo>
                      <a:pt x="290" y="95"/>
                    </a:lnTo>
                    <a:lnTo>
                      <a:pt x="290" y="90"/>
                    </a:lnTo>
                    <a:lnTo>
                      <a:pt x="290" y="88"/>
                    </a:lnTo>
                    <a:lnTo>
                      <a:pt x="290" y="87"/>
                    </a:lnTo>
                    <a:lnTo>
                      <a:pt x="292" y="80"/>
                    </a:lnTo>
                    <a:lnTo>
                      <a:pt x="292" y="79"/>
                    </a:lnTo>
                    <a:lnTo>
                      <a:pt x="290" y="79"/>
                    </a:lnTo>
                    <a:lnTo>
                      <a:pt x="292" y="77"/>
                    </a:lnTo>
                    <a:lnTo>
                      <a:pt x="292" y="76"/>
                    </a:lnTo>
                    <a:lnTo>
                      <a:pt x="293" y="76"/>
                    </a:lnTo>
                    <a:lnTo>
                      <a:pt x="293" y="74"/>
                    </a:lnTo>
                    <a:lnTo>
                      <a:pt x="295" y="72"/>
                    </a:lnTo>
                    <a:lnTo>
                      <a:pt x="295" y="71"/>
                    </a:lnTo>
                    <a:lnTo>
                      <a:pt x="296" y="71"/>
                    </a:lnTo>
                    <a:lnTo>
                      <a:pt x="296" y="69"/>
                    </a:lnTo>
                    <a:lnTo>
                      <a:pt x="296" y="68"/>
                    </a:lnTo>
                    <a:lnTo>
                      <a:pt x="299" y="68"/>
                    </a:lnTo>
                    <a:lnTo>
                      <a:pt x="304" y="66"/>
                    </a:lnTo>
                    <a:lnTo>
                      <a:pt x="307" y="66"/>
                    </a:lnTo>
                    <a:lnTo>
                      <a:pt x="311" y="64"/>
                    </a:lnTo>
                    <a:lnTo>
                      <a:pt x="314" y="63"/>
                    </a:lnTo>
                    <a:lnTo>
                      <a:pt x="317" y="61"/>
                    </a:lnTo>
                    <a:lnTo>
                      <a:pt x="320" y="61"/>
                    </a:lnTo>
                    <a:lnTo>
                      <a:pt x="322" y="60"/>
                    </a:lnTo>
                    <a:lnTo>
                      <a:pt x="325" y="58"/>
                    </a:lnTo>
                    <a:lnTo>
                      <a:pt x="328" y="55"/>
                    </a:lnTo>
                    <a:lnTo>
                      <a:pt x="331" y="52"/>
                    </a:lnTo>
                    <a:lnTo>
                      <a:pt x="333" y="50"/>
                    </a:lnTo>
                    <a:lnTo>
                      <a:pt x="334" y="50"/>
                    </a:lnTo>
                    <a:lnTo>
                      <a:pt x="339" y="47"/>
                    </a:lnTo>
                    <a:lnTo>
                      <a:pt x="345" y="44"/>
                    </a:lnTo>
                    <a:lnTo>
                      <a:pt x="350" y="42"/>
                    </a:lnTo>
                    <a:lnTo>
                      <a:pt x="353" y="39"/>
                    </a:lnTo>
                    <a:lnTo>
                      <a:pt x="353" y="38"/>
                    </a:lnTo>
                    <a:lnTo>
                      <a:pt x="355" y="38"/>
                    </a:lnTo>
                    <a:lnTo>
                      <a:pt x="356" y="38"/>
                    </a:lnTo>
                    <a:lnTo>
                      <a:pt x="358" y="38"/>
                    </a:lnTo>
                    <a:lnTo>
                      <a:pt x="360" y="38"/>
                    </a:lnTo>
                    <a:lnTo>
                      <a:pt x="361" y="36"/>
                    </a:lnTo>
                    <a:lnTo>
                      <a:pt x="363" y="36"/>
                    </a:lnTo>
                    <a:lnTo>
                      <a:pt x="364" y="34"/>
                    </a:lnTo>
                    <a:lnTo>
                      <a:pt x="366" y="34"/>
                    </a:lnTo>
                    <a:lnTo>
                      <a:pt x="368" y="33"/>
                    </a:lnTo>
                    <a:lnTo>
                      <a:pt x="369" y="31"/>
                    </a:lnTo>
                    <a:lnTo>
                      <a:pt x="371" y="31"/>
                    </a:lnTo>
                    <a:lnTo>
                      <a:pt x="371" y="30"/>
                    </a:lnTo>
                    <a:lnTo>
                      <a:pt x="372" y="30"/>
                    </a:lnTo>
                    <a:lnTo>
                      <a:pt x="374" y="28"/>
                    </a:lnTo>
                    <a:lnTo>
                      <a:pt x="374" y="26"/>
                    </a:lnTo>
                    <a:lnTo>
                      <a:pt x="375" y="26"/>
                    </a:lnTo>
                    <a:lnTo>
                      <a:pt x="377" y="25"/>
                    </a:lnTo>
                    <a:lnTo>
                      <a:pt x="379" y="23"/>
                    </a:lnTo>
                    <a:lnTo>
                      <a:pt x="380" y="23"/>
                    </a:lnTo>
                    <a:lnTo>
                      <a:pt x="380" y="22"/>
                    </a:lnTo>
                    <a:lnTo>
                      <a:pt x="382" y="22"/>
                    </a:lnTo>
                    <a:lnTo>
                      <a:pt x="382" y="20"/>
                    </a:lnTo>
                    <a:lnTo>
                      <a:pt x="383" y="20"/>
                    </a:lnTo>
                    <a:lnTo>
                      <a:pt x="385" y="20"/>
                    </a:lnTo>
                    <a:lnTo>
                      <a:pt x="385" y="19"/>
                    </a:lnTo>
                    <a:lnTo>
                      <a:pt x="387" y="19"/>
                    </a:lnTo>
                    <a:lnTo>
                      <a:pt x="388" y="17"/>
                    </a:lnTo>
                    <a:lnTo>
                      <a:pt x="390" y="17"/>
                    </a:lnTo>
                    <a:lnTo>
                      <a:pt x="390" y="19"/>
                    </a:lnTo>
                    <a:lnTo>
                      <a:pt x="388" y="19"/>
                    </a:lnTo>
                    <a:lnTo>
                      <a:pt x="388" y="20"/>
                    </a:lnTo>
                    <a:lnTo>
                      <a:pt x="388" y="22"/>
                    </a:lnTo>
                    <a:lnTo>
                      <a:pt x="387" y="22"/>
                    </a:lnTo>
                    <a:lnTo>
                      <a:pt x="387" y="23"/>
                    </a:lnTo>
                    <a:lnTo>
                      <a:pt x="387" y="25"/>
                    </a:lnTo>
                    <a:lnTo>
                      <a:pt x="385" y="25"/>
                    </a:lnTo>
                    <a:lnTo>
                      <a:pt x="385" y="26"/>
                    </a:lnTo>
                    <a:lnTo>
                      <a:pt x="385" y="25"/>
                    </a:lnTo>
                    <a:lnTo>
                      <a:pt x="387" y="25"/>
                    </a:lnTo>
                    <a:lnTo>
                      <a:pt x="387" y="26"/>
                    </a:lnTo>
                    <a:lnTo>
                      <a:pt x="388" y="26"/>
                    </a:lnTo>
                    <a:lnTo>
                      <a:pt x="390" y="26"/>
                    </a:lnTo>
                    <a:lnTo>
                      <a:pt x="390" y="28"/>
                    </a:lnTo>
                    <a:lnTo>
                      <a:pt x="391" y="28"/>
                    </a:lnTo>
                    <a:lnTo>
                      <a:pt x="390" y="28"/>
                    </a:lnTo>
                    <a:lnTo>
                      <a:pt x="390" y="26"/>
                    </a:lnTo>
                    <a:lnTo>
                      <a:pt x="390" y="25"/>
                    </a:lnTo>
                    <a:lnTo>
                      <a:pt x="390" y="23"/>
                    </a:lnTo>
                    <a:lnTo>
                      <a:pt x="390" y="25"/>
                    </a:lnTo>
                    <a:lnTo>
                      <a:pt x="391" y="25"/>
                    </a:lnTo>
                    <a:lnTo>
                      <a:pt x="391" y="23"/>
                    </a:lnTo>
                    <a:lnTo>
                      <a:pt x="391" y="22"/>
                    </a:lnTo>
                    <a:lnTo>
                      <a:pt x="391" y="20"/>
                    </a:lnTo>
                    <a:lnTo>
                      <a:pt x="391" y="19"/>
                    </a:lnTo>
                    <a:lnTo>
                      <a:pt x="393" y="19"/>
                    </a:lnTo>
                    <a:lnTo>
                      <a:pt x="393" y="17"/>
                    </a:lnTo>
                    <a:lnTo>
                      <a:pt x="393" y="15"/>
                    </a:lnTo>
                    <a:lnTo>
                      <a:pt x="393" y="14"/>
                    </a:lnTo>
                    <a:lnTo>
                      <a:pt x="391" y="14"/>
                    </a:lnTo>
                    <a:lnTo>
                      <a:pt x="390" y="14"/>
                    </a:lnTo>
                    <a:lnTo>
                      <a:pt x="390" y="12"/>
                    </a:lnTo>
                    <a:lnTo>
                      <a:pt x="390" y="11"/>
                    </a:lnTo>
                    <a:lnTo>
                      <a:pt x="388" y="11"/>
                    </a:lnTo>
                    <a:lnTo>
                      <a:pt x="388" y="9"/>
                    </a:lnTo>
                    <a:lnTo>
                      <a:pt x="387" y="9"/>
                    </a:lnTo>
                    <a:lnTo>
                      <a:pt x="387" y="7"/>
                    </a:lnTo>
                    <a:lnTo>
                      <a:pt x="387" y="6"/>
                    </a:lnTo>
                    <a:lnTo>
                      <a:pt x="388" y="6"/>
                    </a:lnTo>
                    <a:lnTo>
                      <a:pt x="388" y="4"/>
                    </a:lnTo>
                    <a:lnTo>
                      <a:pt x="388" y="3"/>
                    </a:lnTo>
                    <a:lnTo>
                      <a:pt x="390" y="3"/>
                    </a:lnTo>
                    <a:lnTo>
                      <a:pt x="390" y="1"/>
                    </a:lnTo>
                    <a:lnTo>
                      <a:pt x="390" y="0"/>
                    </a:lnTo>
                    <a:lnTo>
                      <a:pt x="39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94" name="Freeform 74"/>
              <p:cNvSpPr>
                <a:spLocks/>
              </p:cNvSpPr>
              <p:nvPr/>
            </p:nvSpPr>
            <p:spPr bwMode="auto">
              <a:xfrm>
                <a:off x="2648" y="694"/>
                <a:ext cx="742" cy="648"/>
              </a:xfrm>
              <a:custGeom>
                <a:avLst/>
                <a:gdLst>
                  <a:gd name="T0" fmla="*/ 539 w 742"/>
                  <a:gd name="T1" fmla="*/ 79 h 648"/>
                  <a:gd name="T2" fmla="*/ 518 w 742"/>
                  <a:gd name="T3" fmla="*/ 106 h 648"/>
                  <a:gd name="T4" fmla="*/ 518 w 742"/>
                  <a:gd name="T5" fmla="*/ 134 h 648"/>
                  <a:gd name="T6" fmla="*/ 522 w 742"/>
                  <a:gd name="T7" fmla="*/ 155 h 648"/>
                  <a:gd name="T8" fmla="*/ 552 w 742"/>
                  <a:gd name="T9" fmla="*/ 139 h 648"/>
                  <a:gd name="T10" fmla="*/ 571 w 742"/>
                  <a:gd name="T11" fmla="*/ 152 h 648"/>
                  <a:gd name="T12" fmla="*/ 590 w 742"/>
                  <a:gd name="T13" fmla="*/ 160 h 648"/>
                  <a:gd name="T14" fmla="*/ 585 w 742"/>
                  <a:gd name="T15" fmla="*/ 179 h 648"/>
                  <a:gd name="T16" fmla="*/ 560 w 742"/>
                  <a:gd name="T17" fmla="*/ 168 h 648"/>
                  <a:gd name="T18" fmla="*/ 545 w 742"/>
                  <a:gd name="T19" fmla="*/ 184 h 648"/>
                  <a:gd name="T20" fmla="*/ 522 w 742"/>
                  <a:gd name="T21" fmla="*/ 182 h 648"/>
                  <a:gd name="T22" fmla="*/ 507 w 742"/>
                  <a:gd name="T23" fmla="*/ 168 h 648"/>
                  <a:gd name="T24" fmla="*/ 512 w 742"/>
                  <a:gd name="T25" fmla="*/ 196 h 648"/>
                  <a:gd name="T26" fmla="*/ 485 w 742"/>
                  <a:gd name="T27" fmla="*/ 179 h 648"/>
                  <a:gd name="T28" fmla="*/ 477 w 742"/>
                  <a:gd name="T29" fmla="*/ 199 h 648"/>
                  <a:gd name="T30" fmla="*/ 512 w 742"/>
                  <a:gd name="T31" fmla="*/ 206 h 648"/>
                  <a:gd name="T32" fmla="*/ 542 w 742"/>
                  <a:gd name="T33" fmla="*/ 230 h 648"/>
                  <a:gd name="T34" fmla="*/ 583 w 742"/>
                  <a:gd name="T35" fmla="*/ 228 h 648"/>
                  <a:gd name="T36" fmla="*/ 618 w 742"/>
                  <a:gd name="T37" fmla="*/ 214 h 648"/>
                  <a:gd name="T38" fmla="*/ 669 w 742"/>
                  <a:gd name="T39" fmla="*/ 199 h 648"/>
                  <a:gd name="T40" fmla="*/ 685 w 742"/>
                  <a:gd name="T41" fmla="*/ 236 h 648"/>
                  <a:gd name="T42" fmla="*/ 726 w 742"/>
                  <a:gd name="T43" fmla="*/ 234 h 648"/>
                  <a:gd name="T44" fmla="*/ 729 w 742"/>
                  <a:gd name="T45" fmla="*/ 256 h 648"/>
                  <a:gd name="T46" fmla="*/ 716 w 742"/>
                  <a:gd name="T47" fmla="*/ 288 h 648"/>
                  <a:gd name="T48" fmla="*/ 704 w 742"/>
                  <a:gd name="T49" fmla="*/ 323 h 648"/>
                  <a:gd name="T50" fmla="*/ 691 w 742"/>
                  <a:gd name="T51" fmla="*/ 337 h 648"/>
                  <a:gd name="T52" fmla="*/ 656 w 742"/>
                  <a:gd name="T53" fmla="*/ 328 h 648"/>
                  <a:gd name="T54" fmla="*/ 625 w 742"/>
                  <a:gd name="T55" fmla="*/ 345 h 648"/>
                  <a:gd name="T56" fmla="*/ 640 w 742"/>
                  <a:gd name="T57" fmla="*/ 374 h 648"/>
                  <a:gd name="T58" fmla="*/ 669 w 742"/>
                  <a:gd name="T59" fmla="*/ 393 h 648"/>
                  <a:gd name="T60" fmla="*/ 653 w 742"/>
                  <a:gd name="T61" fmla="*/ 420 h 648"/>
                  <a:gd name="T62" fmla="*/ 623 w 742"/>
                  <a:gd name="T63" fmla="*/ 423 h 648"/>
                  <a:gd name="T64" fmla="*/ 594 w 742"/>
                  <a:gd name="T65" fmla="*/ 437 h 648"/>
                  <a:gd name="T66" fmla="*/ 582 w 742"/>
                  <a:gd name="T67" fmla="*/ 473 h 648"/>
                  <a:gd name="T68" fmla="*/ 582 w 742"/>
                  <a:gd name="T69" fmla="*/ 508 h 648"/>
                  <a:gd name="T70" fmla="*/ 571 w 742"/>
                  <a:gd name="T71" fmla="*/ 546 h 648"/>
                  <a:gd name="T72" fmla="*/ 555 w 742"/>
                  <a:gd name="T73" fmla="*/ 576 h 648"/>
                  <a:gd name="T74" fmla="*/ 528 w 742"/>
                  <a:gd name="T75" fmla="*/ 597 h 648"/>
                  <a:gd name="T76" fmla="*/ 487 w 742"/>
                  <a:gd name="T77" fmla="*/ 600 h 648"/>
                  <a:gd name="T78" fmla="*/ 465 w 742"/>
                  <a:gd name="T79" fmla="*/ 633 h 648"/>
                  <a:gd name="T80" fmla="*/ 431 w 742"/>
                  <a:gd name="T81" fmla="*/ 624 h 648"/>
                  <a:gd name="T82" fmla="*/ 396 w 742"/>
                  <a:gd name="T83" fmla="*/ 614 h 648"/>
                  <a:gd name="T84" fmla="*/ 371 w 742"/>
                  <a:gd name="T85" fmla="*/ 581 h 648"/>
                  <a:gd name="T86" fmla="*/ 336 w 742"/>
                  <a:gd name="T87" fmla="*/ 586 h 648"/>
                  <a:gd name="T88" fmla="*/ 309 w 742"/>
                  <a:gd name="T89" fmla="*/ 599 h 648"/>
                  <a:gd name="T90" fmla="*/ 308 w 742"/>
                  <a:gd name="T91" fmla="*/ 633 h 648"/>
                  <a:gd name="T92" fmla="*/ 297 w 742"/>
                  <a:gd name="T93" fmla="*/ 638 h 648"/>
                  <a:gd name="T94" fmla="*/ 263 w 742"/>
                  <a:gd name="T95" fmla="*/ 621 h 648"/>
                  <a:gd name="T96" fmla="*/ 265 w 742"/>
                  <a:gd name="T97" fmla="*/ 584 h 648"/>
                  <a:gd name="T98" fmla="*/ 244 w 742"/>
                  <a:gd name="T99" fmla="*/ 565 h 648"/>
                  <a:gd name="T100" fmla="*/ 214 w 742"/>
                  <a:gd name="T101" fmla="*/ 581 h 648"/>
                  <a:gd name="T102" fmla="*/ 190 w 742"/>
                  <a:gd name="T103" fmla="*/ 599 h 648"/>
                  <a:gd name="T104" fmla="*/ 171 w 742"/>
                  <a:gd name="T105" fmla="*/ 575 h 648"/>
                  <a:gd name="T106" fmla="*/ 141 w 742"/>
                  <a:gd name="T107" fmla="*/ 580 h 648"/>
                  <a:gd name="T108" fmla="*/ 119 w 742"/>
                  <a:gd name="T109" fmla="*/ 561 h 648"/>
                  <a:gd name="T110" fmla="*/ 81 w 742"/>
                  <a:gd name="T111" fmla="*/ 561 h 648"/>
                  <a:gd name="T112" fmla="*/ 62 w 742"/>
                  <a:gd name="T113" fmla="*/ 548 h 648"/>
                  <a:gd name="T114" fmla="*/ 61 w 742"/>
                  <a:gd name="T115" fmla="*/ 513 h 648"/>
                  <a:gd name="T116" fmla="*/ 65 w 742"/>
                  <a:gd name="T117" fmla="*/ 481 h 648"/>
                  <a:gd name="T118" fmla="*/ 50 w 742"/>
                  <a:gd name="T119" fmla="*/ 458 h 648"/>
                  <a:gd name="T120" fmla="*/ 34 w 742"/>
                  <a:gd name="T121" fmla="*/ 428 h 648"/>
                  <a:gd name="T122" fmla="*/ 34 w 742"/>
                  <a:gd name="T123" fmla="*/ 393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42" h="648">
                    <a:moveTo>
                      <a:pt x="319" y="0"/>
                    </a:moveTo>
                    <a:lnTo>
                      <a:pt x="319" y="5"/>
                    </a:lnTo>
                    <a:lnTo>
                      <a:pt x="457" y="1"/>
                    </a:lnTo>
                    <a:lnTo>
                      <a:pt x="566" y="1"/>
                    </a:lnTo>
                    <a:lnTo>
                      <a:pt x="564" y="90"/>
                    </a:lnTo>
                    <a:lnTo>
                      <a:pt x="563" y="89"/>
                    </a:lnTo>
                    <a:lnTo>
                      <a:pt x="563" y="87"/>
                    </a:lnTo>
                    <a:lnTo>
                      <a:pt x="563" y="85"/>
                    </a:lnTo>
                    <a:lnTo>
                      <a:pt x="563" y="84"/>
                    </a:lnTo>
                    <a:lnTo>
                      <a:pt x="561" y="82"/>
                    </a:lnTo>
                    <a:lnTo>
                      <a:pt x="561" y="81"/>
                    </a:lnTo>
                    <a:lnTo>
                      <a:pt x="561" y="79"/>
                    </a:lnTo>
                    <a:lnTo>
                      <a:pt x="560" y="79"/>
                    </a:lnTo>
                    <a:lnTo>
                      <a:pt x="560" y="77"/>
                    </a:lnTo>
                    <a:lnTo>
                      <a:pt x="558" y="77"/>
                    </a:lnTo>
                    <a:lnTo>
                      <a:pt x="556" y="77"/>
                    </a:lnTo>
                    <a:lnTo>
                      <a:pt x="555" y="77"/>
                    </a:lnTo>
                    <a:lnTo>
                      <a:pt x="553" y="79"/>
                    </a:lnTo>
                    <a:lnTo>
                      <a:pt x="552" y="77"/>
                    </a:lnTo>
                    <a:lnTo>
                      <a:pt x="550" y="77"/>
                    </a:lnTo>
                    <a:lnTo>
                      <a:pt x="548" y="77"/>
                    </a:lnTo>
                    <a:lnTo>
                      <a:pt x="547" y="77"/>
                    </a:lnTo>
                    <a:lnTo>
                      <a:pt x="545" y="77"/>
                    </a:lnTo>
                    <a:lnTo>
                      <a:pt x="544" y="77"/>
                    </a:lnTo>
                    <a:lnTo>
                      <a:pt x="542" y="77"/>
                    </a:lnTo>
                    <a:lnTo>
                      <a:pt x="541" y="77"/>
                    </a:lnTo>
                    <a:lnTo>
                      <a:pt x="539" y="77"/>
                    </a:lnTo>
                    <a:lnTo>
                      <a:pt x="539" y="79"/>
                    </a:lnTo>
                    <a:lnTo>
                      <a:pt x="537" y="79"/>
                    </a:lnTo>
                    <a:lnTo>
                      <a:pt x="536" y="79"/>
                    </a:lnTo>
                    <a:lnTo>
                      <a:pt x="534" y="79"/>
                    </a:lnTo>
                    <a:lnTo>
                      <a:pt x="534" y="81"/>
                    </a:lnTo>
                    <a:lnTo>
                      <a:pt x="533" y="81"/>
                    </a:lnTo>
                    <a:lnTo>
                      <a:pt x="531" y="81"/>
                    </a:lnTo>
                    <a:lnTo>
                      <a:pt x="531" y="82"/>
                    </a:lnTo>
                    <a:lnTo>
                      <a:pt x="529" y="82"/>
                    </a:lnTo>
                    <a:lnTo>
                      <a:pt x="529" y="84"/>
                    </a:lnTo>
                    <a:lnTo>
                      <a:pt x="528" y="84"/>
                    </a:lnTo>
                    <a:lnTo>
                      <a:pt x="528" y="85"/>
                    </a:lnTo>
                    <a:lnTo>
                      <a:pt x="526" y="85"/>
                    </a:lnTo>
                    <a:lnTo>
                      <a:pt x="526" y="87"/>
                    </a:lnTo>
                    <a:lnTo>
                      <a:pt x="526" y="89"/>
                    </a:lnTo>
                    <a:lnTo>
                      <a:pt x="525" y="89"/>
                    </a:lnTo>
                    <a:lnTo>
                      <a:pt x="525" y="90"/>
                    </a:lnTo>
                    <a:lnTo>
                      <a:pt x="525" y="92"/>
                    </a:lnTo>
                    <a:lnTo>
                      <a:pt x="523" y="93"/>
                    </a:lnTo>
                    <a:lnTo>
                      <a:pt x="523" y="95"/>
                    </a:lnTo>
                    <a:lnTo>
                      <a:pt x="523" y="96"/>
                    </a:lnTo>
                    <a:lnTo>
                      <a:pt x="522" y="96"/>
                    </a:lnTo>
                    <a:lnTo>
                      <a:pt x="522" y="98"/>
                    </a:lnTo>
                    <a:lnTo>
                      <a:pt x="522" y="100"/>
                    </a:lnTo>
                    <a:lnTo>
                      <a:pt x="520" y="101"/>
                    </a:lnTo>
                    <a:lnTo>
                      <a:pt x="520" y="103"/>
                    </a:lnTo>
                    <a:lnTo>
                      <a:pt x="520" y="104"/>
                    </a:lnTo>
                    <a:lnTo>
                      <a:pt x="520" y="106"/>
                    </a:lnTo>
                    <a:lnTo>
                      <a:pt x="518" y="106"/>
                    </a:lnTo>
                    <a:lnTo>
                      <a:pt x="518" y="108"/>
                    </a:lnTo>
                    <a:lnTo>
                      <a:pt x="518" y="109"/>
                    </a:lnTo>
                    <a:lnTo>
                      <a:pt x="517" y="109"/>
                    </a:lnTo>
                    <a:lnTo>
                      <a:pt x="517" y="111"/>
                    </a:lnTo>
                    <a:lnTo>
                      <a:pt x="517" y="112"/>
                    </a:lnTo>
                    <a:lnTo>
                      <a:pt x="515" y="112"/>
                    </a:lnTo>
                    <a:lnTo>
                      <a:pt x="515" y="114"/>
                    </a:lnTo>
                    <a:lnTo>
                      <a:pt x="514" y="115"/>
                    </a:lnTo>
                    <a:lnTo>
                      <a:pt x="514" y="117"/>
                    </a:lnTo>
                    <a:lnTo>
                      <a:pt x="512" y="117"/>
                    </a:lnTo>
                    <a:lnTo>
                      <a:pt x="512" y="119"/>
                    </a:lnTo>
                    <a:lnTo>
                      <a:pt x="512" y="120"/>
                    </a:lnTo>
                    <a:lnTo>
                      <a:pt x="512" y="122"/>
                    </a:lnTo>
                    <a:lnTo>
                      <a:pt x="512" y="123"/>
                    </a:lnTo>
                    <a:lnTo>
                      <a:pt x="514" y="123"/>
                    </a:lnTo>
                    <a:lnTo>
                      <a:pt x="514" y="125"/>
                    </a:lnTo>
                    <a:lnTo>
                      <a:pt x="514" y="127"/>
                    </a:lnTo>
                    <a:lnTo>
                      <a:pt x="515" y="127"/>
                    </a:lnTo>
                    <a:lnTo>
                      <a:pt x="517" y="127"/>
                    </a:lnTo>
                    <a:lnTo>
                      <a:pt x="518" y="127"/>
                    </a:lnTo>
                    <a:lnTo>
                      <a:pt x="520" y="127"/>
                    </a:lnTo>
                    <a:lnTo>
                      <a:pt x="520" y="128"/>
                    </a:lnTo>
                    <a:lnTo>
                      <a:pt x="520" y="130"/>
                    </a:lnTo>
                    <a:lnTo>
                      <a:pt x="518" y="130"/>
                    </a:lnTo>
                    <a:lnTo>
                      <a:pt x="520" y="131"/>
                    </a:lnTo>
                    <a:lnTo>
                      <a:pt x="518" y="131"/>
                    </a:lnTo>
                    <a:lnTo>
                      <a:pt x="518" y="133"/>
                    </a:lnTo>
                    <a:lnTo>
                      <a:pt x="518" y="134"/>
                    </a:lnTo>
                    <a:lnTo>
                      <a:pt x="518" y="136"/>
                    </a:lnTo>
                    <a:lnTo>
                      <a:pt x="518" y="138"/>
                    </a:lnTo>
                    <a:lnTo>
                      <a:pt x="518" y="139"/>
                    </a:lnTo>
                    <a:lnTo>
                      <a:pt x="518" y="141"/>
                    </a:lnTo>
                    <a:lnTo>
                      <a:pt x="517" y="141"/>
                    </a:lnTo>
                    <a:lnTo>
                      <a:pt x="517" y="142"/>
                    </a:lnTo>
                    <a:lnTo>
                      <a:pt x="515" y="142"/>
                    </a:lnTo>
                    <a:lnTo>
                      <a:pt x="515" y="144"/>
                    </a:lnTo>
                    <a:lnTo>
                      <a:pt x="514" y="144"/>
                    </a:lnTo>
                    <a:lnTo>
                      <a:pt x="514" y="146"/>
                    </a:lnTo>
                    <a:lnTo>
                      <a:pt x="512" y="146"/>
                    </a:lnTo>
                    <a:lnTo>
                      <a:pt x="510" y="146"/>
                    </a:lnTo>
                    <a:lnTo>
                      <a:pt x="510" y="147"/>
                    </a:lnTo>
                    <a:lnTo>
                      <a:pt x="509" y="149"/>
                    </a:lnTo>
                    <a:lnTo>
                      <a:pt x="509" y="150"/>
                    </a:lnTo>
                    <a:lnTo>
                      <a:pt x="509" y="152"/>
                    </a:lnTo>
                    <a:lnTo>
                      <a:pt x="510" y="152"/>
                    </a:lnTo>
                    <a:lnTo>
                      <a:pt x="510" y="153"/>
                    </a:lnTo>
                    <a:lnTo>
                      <a:pt x="512" y="153"/>
                    </a:lnTo>
                    <a:lnTo>
                      <a:pt x="512" y="155"/>
                    </a:lnTo>
                    <a:lnTo>
                      <a:pt x="514" y="155"/>
                    </a:lnTo>
                    <a:lnTo>
                      <a:pt x="515" y="155"/>
                    </a:lnTo>
                    <a:lnTo>
                      <a:pt x="515" y="157"/>
                    </a:lnTo>
                    <a:lnTo>
                      <a:pt x="517" y="157"/>
                    </a:lnTo>
                    <a:lnTo>
                      <a:pt x="517" y="155"/>
                    </a:lnTo>
                    <a:lnTo>
                      <a:pt x="518" y="155"/>
                    </a:lnTo>
                    <a:lnTo>
                      <a:pt x="520" y="155"/>
                    </a:lnTo>
                    <a:lnTo>
                      <a:pt x="522" y="155"/>
                    </a:lnTo>
                    <a:lnTo>
                      <a:pt x="523" y="155"/>
                    </a:lnTo>
                    <a:lnTo>
                      <a:pt x="523" y="153"/>
                    </a:lnTo>
                    <a:lnTo>
                      <a:pt x="525" y="153"/>
                    </a:lnTo>
                    <a:lnTo>
                      <a:pt x="526" y="152"/>
                    </a:lnTo>
                    <a:lnTo>
                      <a:pt x="526" y="150"/>
                    </a:lnTo>
                    <a:lnTo>
                      <a:pt x="528" y="150"/>
                    </a:lnTo>
                    <a:lnTo>
                      <a:pt x="528" y="149"/>
                    </a:lnTo>
                    <a:lnTo>
                      <a:pt x="529" y="149"/>
                    </a:lnTo>
                    <a:lnTo>
                      <a:pt x="529" y="147"/>
                    </a:lnTo>
                    <a:lnTo>
                      <a:pt x="531" y="147"/>
                    </a:lnTo>
                    <a:lnTo>
                      <a:pt x="533" y="147"/>
                    </a:lnTo>
                    <a:lnTo>
                      <a:pt x="533" y="149"/>
                    </a:lnTo>
                    <a:lnTo>
                      <a:pt x="534" y="147"/>
                    </a:lnTo>
                    <a:lnTo>
                      <a:pt x="536" y="147"/>
                    </a:lnTo>
                    <a:lnTo>
                      <a:pt x="536" y="146"/>
                    </a:lnTo>
                    <a:lnTo>
                      <a:pt x="537" y="146"/>
                    </a:lnTo>
                    <a:lnTo>
                      <a:pt x="537" y="144"/>
                    </a:lnTo>
                    <a:lnTo>
                      <a:pt x="539" y="144"/>
                    </a:lnTo>
                    <a:lnTo>
                      <a:pt x="541" y="144"/>
                    </a:lnTo>
                    <a:lnTo>
                      <a:pt x="542" y="142"/>
                    </a:lnTo>
                    <a:lnTo>
                      <a:pt x="544" y="142"/>
                    </a:lnTo>
                    <a:lnTo>
                      <a:pt x="544" y="141"/>
                    </a:lnTo>
                    <a:lnTo>
                      <a:pt x="545" y="141"/>
                    </a:lnTo>
                    <a:lnTo>
                      <a:pt x="547" y="141"/>
                    </a:lnTo>
                    <a:lnTo>
                      <a:pt x="548" y="141"/>
                    </a:lnTo>
                    <a:lnTo>
                      <a:pt x="550" y="139"/>
                    </a:lnTo>
                    <a:lnTo>
                      <a:pt x="552" y="138"/>
                    </a:lnTo>
                    <a:lnTo>
                      <a:pt x="552" y="139"/>
                    </a:lnTo>
                    <a:lnTo>
                      <a:pt x="553" y="139"/>
                    </a:lnTo>
                    <a:lnTo>
                      <a:pt x="555" y="139"/>
                    </a:lnTo>
                    <a:lnTo>
                      <a:pt x="555" y="138"/>
                    </a:lnTo>
                    <a:lnTo>
                      <a:pt x="556" y="136"/>
                    </a:lnTo>
                    <a:lnTo>
                      <a:pt x="556" y="134"/>
                    </a:lnTo>
                    <a:lnTo>
                      <a:pt x="558" y="134"/>
                    </a:lnTo>
                    <a:lnTo>
                      <a:pt x="560" y="134"/>
                    </a:lnTo>
                    <a:lnTo>
                      <a:pt x="561" y="134"/>
                    </a:lnTo>
                    <a:lnTo>
                      <a:pt x="563" y="134"/>
                    </a:lnTo>
                    <a:lnTo>
                      <a:pt x="563" y="136"/>
                    </a:lnTo>
                    <a:lnTo>
                      <a:pt x="563" y="138"/>
                    </a:lnTo>
                    <a:lnTo>
                      <a:pt x="563" y="139"/>
                    </a:lnTo>
                    <a:lnTo>
                      <a:pt x="563" y="141"/>
                    </a:lnTo>
                    <a:lnTo>
                      <a:pt x="564" y="141"/>
                    </a:lnTo>
                    <a:lnTo>
                      <a:pt x="566" y="141"/>
                    </a:lnTo>
                    <a:lnTo>
                      <a:pt x="567" y="141"/>
                    </a:lnTo>
                    <a:lnTo>
                      <a:pt x="569" y="141"/>
                    </a:lnTo>
                    <a:lnTo>
                      <a:pt x="569" y="142"/>
                    </a:lnTo>
                    <a:lnTo>
                      <a:pt x="571" y="144"/>
                    </a:lnTo>
                    <a:lnTo>
                      <a:pt x="571" y="146"/>
                    </a:lnTo>
                    <a:lnTo>
                      <a:pt x="572" y="146"/>
                    </a:lnTo>
                    <a:lnTo>
                      <a:pt x="574" y="146"/>
                    </a:lnTo>
                    <a:lnTo>
                      <a:pt x="574" y="147"/>
                    </a:lnTo>
                    <a:lnTo>
                      <a:pt x="574" y="149"/>
                    </a:lnTo>
                    <a:lnTo>
                      <a:pt x="574" y="150"/>
                    </a:lnTo>
                    <a:lnTo>
                      <a:pt x="572" y="150"/>
                    </a:lnTo>
                    <a:lnTo>
                      <a:pt x="572" y="152"/>
                    </a:lnTo>
                    <a:lnTo>
                      <a:pt x="571" y="152"/>
                    </a:lnTo>
                    <a:lnTo>
                      <a:pt x="569" y="153"/>
                    </a:lnTo>
                    <a:lnTo>
                      <a:pt x="567" y="153"/>
                    </a:lnTo>
                    <a:lnTo>
                      <a:pt x="567" y="155"/>
                    </a:lnTo>
                    <a:lnTo>
                      <a:pt x="567" y="157"/>
                    </a:lnTo>
                    <a:lnTo>
                      <a:pt x="566" y="157"/>
                    </a:lnTo>
                    <a:lnTo>
                      <a:pt x="566" y="158"/>
                    </a:lnTo>
                    <a:lnTo>
                      <a:pt x="567" y="158"/>
                    </a:lnTo>
                    <a:lnTo>
                      <a:pt x="569" y="157"/>
                    </a:lnTo>
                    <a:lnTo>
                      <a:pt x="571" y="157"/>
                    </a:lnTo>
                    <a:lnTo>
                      <a:pt x="572" y="157"/>
                    </a:lnTo>
                    <a:lnTo>
                      <a:pt x="572" y="158"/>
                    </a:lnTo>
                    <a:lnTo>
                      <a:pt x="574" y="158"/>
                    </a:lnTo>
                    <a:lnTo>
                      <a:pt x="575" y="158"/>
                    </a:lnTo>
                    <a:lnTo>
                      <a:pt x="577" y="158"/>
                    </a:lnTo>
                    <a:lnTo>
                      <a:pt x="579" y="158"/>
                    </a:lnTo>
                    <a:lnTo>
                      <a:pt x="579" y="160"/>
                    </a:lnTo>
                    <a:lnTo>
                      <a:pt x="580" y="161"/>
                    </a:lnTo>
                    <a:lnTo>
                      <a:pt x="582" y="161"/>
                    </a:lnTo>
                    <a:lnTo>
                      <a:pt x="582" y="160"/>
                    </a:lnTo>
                    <a:lnTo>
                      <a:pt x="583" y="160"/>
                    </a:lnTo>
                    <a:lnTo>
                      <a:pt x="583" y="158"/>
                    </a:lnTo>
                    <a:lnTo>
                      <a:pt x="585" y="158"/>
                    </a:lnTo>
                    <a:lnTo>
                      <a:pt x="585" y="160"/>
                    </a:lnTo>
                    <a:lnTo>
                      <a:pt x="586" y="160"/>
                    </a:lnTo>
                    <a:lnTo>
                      <a:pt x="588" y="160"/>
                    </a:lnTo>
                    <a:lnTo>
                      <a:pt x="588" y="161"/>
                    </a:lnTo>
                    <a:lnTo>
                      <a:pt x="590" y="161"/>
                    </a:lnTo>
                    <a:lnTo>
                      <a:pt x="590" y="160"/>
                    </a:lnTo>
                    <a:lnTo>
                      <a:pt x="591" y="160"/>
                    </a:lnTo>
                    <a:lnTo>
                      <a:pt x="591" y="161"/>
                    </a:lnTo>
                    <a:lnTo>
                      <a:pt x="593" y="161"/>
                    </a:lnTo>
                    <a:lnTo>
                      <a:pt x="593" y="163"/>
                    </a:lnTo>
                    <a:lnTo>
                      <a:pt x="591" y="165"/>
                    </a:lnTo>
                    <a:lnTo>
                      <a:pt x="590" y="166"/>
                    </a:lnTo>
                    <a:lnTo>
                      <a:pt x="590" y="168"/>
                    </a:lnTo>
                    <a:lnTo>
                      <a:pt x="591" y="168"/>
                    </a:lnTo>
                    <a:lnTo>
                      <a:pt x="591" y="169"/>
                    </a:lnTo>
                    <a:lnTo>
                      <a:pt x="593" y="169"/>
                    </a:lnTo>
                    <a:lnTo>
                      <a:pt x="594" y="169"/>
                    </a:lnTo>
                    <a:lnTo>
                      <a:pt x="594" y="168"/>
                    </a:lnTo>
                    <a:lnTo>
                      <a:pt x="596" y="169"/>
                    </a:lnTo>
                    <a:lnTo>
                      <a:pt x="598" y="171"/>
                    </a:lnTo>
                    <a:lnTo>
                      <a:pt x="599" y="173"/>
                    </a:lnTo>
                    <a:lnTo>
                      <a:pt x="599" y="174"/>
                    </a:lnTo>
                    <a:lnTo>
                      <a:pt x="599" y="176"/>
                    </a:lnTo>
                    <a:lnTo>
                      <a:pt x="598" y="177"/>
                    </a:lnTo>
                    <a:lnTo>
                      <a:pt x="596" y="177"/>
                    </a:lnTo>
                    <a:lnTo>
                      <a:pt x="594" y="177"/>
                    </a:lnTo>
                    <a:lnTo>
                      <a:pt x="594" y="179"/>
                    </a:lnTo>
                    <a:lnTo>
                      <a:pt x="593" y="179"/>
                    </a:lnTo>
                    <a:lnTo>
                      <a:pt x="591" y="179"/>
                    </a:lnTo>
                    <a:lnTo>
                      <a:pt x="590" y="180"/>
                    </a:lnTo>
                    <a:lnTo>
                      <a:pt x="588" y="180"/>
                    </a:lnTo>
                    <a:lnTo>
                      <a:pt x="586" y="180"/>
                    </a:lnTo>
                    <a:lnTo>
                      <a:pt x="586" y="179"/>
                    </a:lnTo>
                    <a:lnTo>
                      <a:pt x="585" y="179"/>
                    </a:lnTo>
                    <a:lnTo>
                      <a:pt x="585" y="177"/>
                    </a:lnTo>
                    <a:lnTo>
                      <a:pt x="585" y="176"/>
                    </a:lnTo>
                    <a:lnTo>
                      <a:pt x="585" y="174"/>
                    </a:lnTo>
                    <a:lnTo>
                      <a:pt x="583" y="174"/>
                    </a:lnTo>
                    <a:lnTo>
                      <a:pt x="582" y="174"/>
                    </a:lnTo>
                    <a:lnTo>
                      <a:pt x="580" y="174"/>
                    </a:lnTo>
                    <a:lnTo>
                      <a:pt x="579" y="174"/>
                    </a:lnTo>
                    <a:lnTo>
                      <a:pt x="577" y="174"/>
                    </a:lnTo>
                    <a:lnTo>
                      <a:pt x="577" y="176"/>
                    </a:lnTo>
                    <a:lnTo>
                      <a:pt x="577" y="177"/>
                    </a:lnTo>
                    <a:lnTo>
                      <a:pt x="577" y="179"/>
                    </a:lnTo>
                    <a:lnTo>
                      <a:pt x="575" y="179"/>
                    </a:lnTo>
                    <a:lnTo>
                      <a:pt x="575" y="180"/>
                    </a:lnTo>
                    <a:lnTo>
                      <a:pt x="574" y="180"/>
                    </a:lnTo>
                    <a:lnTo>
                      <a:pt x="572" y="180"/>
                    </a:lnTo>
                    <a:lnTo>
                      <a:pt x="571" y="179"/>
                    </a:lnTo>
                    <a:lnTo>
                      <a:pt x="571" y="177"/>
                    </a:lnTo>
                    <a:lnTo>
                      <a:pt x="569" y="176"/>
                    </a:lnTo>
                    <a:lnTo>
                      <a:pt x="567" y="176"/>
                    </a:lnTo>
                    <a:lnTo>
                      <a:pt x="566" y="176"/>
                    </a:lnTo>
                    <a:lnTo>
                      <a:pt x="564" y="176"/>
                    </a:lnTo>
                    <a:lnTo>
                      <a:pt x="563" y="174"/>
                    </a:lnTo>
                    <a:lnTo>
                      <a:pt x="563" y="173"/>
                    </a:lnTo>
                    <a:lnTo>
                      <a:pt x="561" y="173"/>
                    </a:lnTo>
                    <a:lnTo>
                      <a:pt x="561" y="171"/>
                    </a:lnTo>
                    <a:lnTo>
                      <a:pt x="561" y="169"/>
                    </a:lnTo>
                    <a:lnTo>
                      <a:pt x="560" y="169"/>
                    </a:lnTo>
                    <a:lnTo>
                      <a:pt x="560" y="168"/>
                    </a:lnTo>
                    <a:lnTo>
                      <a:pt x="558" y="168"/>
                    </a:lnTo>
                    <a:lnTo>
                      <a:pt x="556" y="168"/>
                    </a:lnTo>
                    <a:lnTo>
                      <a:pt x="555" y="166"/>
                    </a:lnTo>
                    <a:lnTo>
                      <a:pt x="553" y="165"/>
                    </a:lnTo>
                    <a:lnTo>
                      <a:pt x="552" y="163"/>
                    </a:lnTo>
                    <a:lnTo>
                      <a:pt x="550" y="163"/>
                    </a:lnTo>
                    <a:lnTo>
                      <a:pt x="550" y="161"/>
                    </a:lnTo>
                    <a:lnTo>
                      <a:pt x="550" y="163"/>
                    </a:lnTo>
                    <a:lnTo>
                      <a:pt x="548" y="163"/>
                    </a:lnTo>
                    <a:lnTo>
                      <a:pt x="547" y="163"/>
                    </a:lnTo>
                    <a:lnTo>
                      <a:pt x="545" y="163"/>
                    </a:lnTo>
                    <a:lnTo>
                      <a:pt x="544" y="163"/>
                    </a:lnTo>
                    <a:lnTo>
                      <a:pt x="542" y="163"/>
                    </a:lnTo>
                    <a:lnTo>
                      <a:pt x="542" y="165"/>
                    </a:lnTo>
                    <a:lnTo>
                      <a:pt x="541" y="165"/>
                    </a:lnTo>
                    <a:lnTo>
                      <a:pt x="539" y="165"/>
                    </a:lnTo>
                    <a:lnTo>
                      <a:pt x="539" y="166"/>
                    </a:lnTo>
                    <a:lnTo>
                      <a:pt x="539" y="168"/>
                    </a:lnTo>
                    <a:lnTo>
                      <a:pt x="539" y="169"/>
                    </a:lnTo>
                    <a:lnTo>
                      <a:pt x="539" y="171"/>
                    </a:lnTo>
                    <a:lnTo>
                      <a:pt x="539" y="173"/>
                    </a:lnTo>
                    <a:lnTo>
                      <a:pt x="539" y="174"/>
                    </a:lnTo>
                    <a:lnTo>
                      <a:pt x="541" y="176"/>
                    </a:lnTo>
                    <a:lnTo>
                      <a:pt x="541" y="177"/>
                    </a:lnTo>
                    <a:lnTo>
                      <a:pt x="542" y="179"/>
                    </a:lnTo>
                    <a:lnTo>
                      <a:pt x="544" y="180"/>
                    </a:lnTo>
                    <a:lnTo>
                      <a:pt x="544" y="182"/>
                    </a:lnTo>
                    <a:lnTo>
                      <a:pt x="545" y="184"/>
                    </a:lnTo>
                    <a:lnTo>
                      <a:pt x="547" y="185"/>
                    </a:lnTo>
                    <a:lnTo>
                      <a:pt x="545" y="187"/>
                    </a:lnTo>
                    <a:lnTo>
                      <a:pt x="544" y="187"/>
                    </a:lnTo>
                    <a:lnTo>
                      <a:pt x="542" y="187"/>
                    </a:lnTo>
                    <a:lnTo>
                      <a:pt x="541" y="187"/>
                    </a:lnTo>
                    <a:lnTo>
                      <a:pt x="539" y="187"/>
                    </a:lnTo>
                    <a:lnTo>
                      <a:pt x="537" y="188"/>
                    </a:lnTo>
                    <a:lnTo>
                      <a:pt x="536" y="188"/>
                    </a:lnTo>
                    <a:lnTo>
                      <a:pt x="534" y="187"/>
                    </a:lnTo>
                    <a:lnTo>
                      <a:pt x="533" y="185"/>
                    </a:lnTo>
                    <a:lnTo>
                      <a:pt x="533" y="184"/>
                    </a:lnTo>
                    <a:lnTo>
                      <a:pt x="531" y="184"/>
                    </a:lnTo>
                    <a:lnTo>
                      <a:pt x="531" y="182"/>
                    </a:lnTo>
                    <a:lnTo>
                      <a:pt x="529" y="182"/>
                    </a:lnTo>
                    <a:lnTo>
                      <a:pt x="529" y="180"/>
                    </a:lnTo>
                    <a:lnTo>
                      <a:pt x="528" y="180"/>
                    </a:lnTo>
                    <a:lnTo>
                      <a:pt x="528" y="179"/>
                    </a:lnTo>
                    <a:lnTo>
                      <a:pt x="528" y="177"/>
                    </a:lnTo>
                    <a:lnTo>
                      <a:pt x="526" y="177"/>
                    </a:lnTo>
                    <a:lnTo>
                      <a:pt x="525" y="177"/>
                    </a:lnTo>
                    <a:lnTo>
                      <a:pt x="525" y="179"/>
                    </a:lnTo>
                    <a:lnTo>
                      <a:pt x="523" y="180"/>
                    </a:lnTo>
                    <a:lnTo>
                      <a:pt x="523" y="179"/>
                    </a:lnTo>
                    <a:lnTo>
                      <a:pt x="522" y="179"/>
                    </a:lnTo>
                    <a:lnTo>
                      <a:pt x="520" y="179"/>
                    </a:lnTo>
                    <a:lnTo>
                      <a:pt x="520" y="180"/>
                    </a:lnTo>
                    <a:lnTo>
                      <a:pt x="520" y="182"/>
                    </a:lnTo>
                    <a:lnTo>
                      <a:pt x="522" y="182"/>
                    </a:lnTo>
                    <a:lnTo>
                      <a:pt x="522" y="184"/>
                    </a:lnTo>
                    <a:lnTo>
                      <a:pt x="522" y="185"/>
                    </a:lnTo>
                    <a:lnTo>
                      <a:pt x="522" y="187"/>
                    </a:lnTo>
                    <a:lnTo>
                      <a:pt x="522" y="188"/>
                    </a:lnTo>
                    <a:lnTo>
                      <a:pt x="520" y="188"/>
                    </a:lnTo>
                    <a:lnTo>
                      <a:pt x="518" y="188"/>
                    </a:lnTo>
                    <a:lnTo>
                      <a:pt x="517" y="187"/>
                    </a:lnTo>
                    <a:lnTo>
                      <a:pt x="517" y="188"/>
                    </a:lnTo>
                    <a:lnTo>
                      <a:pt x="515" y="188"/>
                    </a:lnTo>
                    <a:lnTo>
                      <a:pt x="515" y="187"/>
                    </a:lnTo>
                    <a:lnTo>
                      <a:pt x="514" y="185"/>
                    </a:lnTo>
                    <a:lnTo>
                      <a:pt x="514" y="184"/>
                    </a:lnTo>
                    <a:lnTo>
                      <a:pt x="514" y="182"/>
                    </a:lnTo>
                    <a:lnTo>
                      <a:pt x="512" y="182"/>
                    </a:lnTo>
                    <a:lnTo>
                      <a:pt x="512" y="180"/>
                    </a:lnTo>
                    <a:lnTo>
                      <a:pt x="510" y="179"/>
                    </a:lnTo>
                    <a:lnTo>
                      <a:pt x="510" y="177"/>
                    </a:lnTo>
                    <a:lnTo>
                      <a:pt x="510" y="176"/>
                    </a:lnTo>
                    <a:lnTo>
                      <a:pt x="512" y="174"/>
                    </a:lnTo>
                    <a:lnTo>
                      <a:pt x="512" y="173"/>
                    </a:lnTo>
                    <a:lnTo>
                      <a:pt x="514" y="173"/>
                    </a:lnTo>
                    <a:lnTo>
                      <a:pt x="512" y="173"/>
                    </a:lnTo>
                    <a:lnTo>
                      <a:pt x="512" y="171"/>
                    </a:lnTo>
                    <a:lnTo>
                      <a:pt x="512" y="169"/>
                    </a:lnTo>
                    <a:lnTo>
                      <a:pt x="510" y="169"/>
                    </a:lnTo>
                    <a:lnTo>
                      <a:pt x="510" y="168"/>
                    </a:lnTo>
                    <a:lnTo>
                      <a:pt x="509" y="168"/>
                    </a:lnTo>
                    <a:lnTo>
                      <a:pt x="507" y="168"/>
                    </a:lnTo>
                    <a:lnTo>
                      <a:pt x="507" y="169"/>
                    </a:lnTo>
                    <a:lnTo>
                      <a:pt x="506" y="169"/>
                    </a:lnTo>
                    <a:lnTo>
                      <a:pt x="504" y="169"/>
                    </a:lnTo>
                    <a:lnTo>
                      <a:pt x="504" y="171"/>
                    </a:lnTo>
                    <a:lnTo>
                      <a:pt x="503" y="171"/>
                    </a:lnTo>
                    <a:lnTo>
                      <a:pt x="504" y="173"/>
                    </a:lnTo>
                    <a:lnTo>
                      <a:pt x="504" y="174"/>
                    </a:lnTo>
                    <a:lnTo>
                      <a:pt x="506" y="174"/>
                    </a:lnTo>
                    <a:lnTo>
                      <a:pt x="506" y="176"/>
                    </a:lnTo>
                    <a:lnTo>
                      <a:pt x="506" y="177"/>
                    </a:lnTo>
                    <a:lnTo>
                      <a:pt x="507" y="177"/>
                    </a:lnTo>
                    <a:lnTo>
                      <a:pt x="507" y="179"/>
                    </a:lnTo>
                    <a:lnTo>
                      <a:pt x="509" y="179"/>
                    </a:lnTo>
                    <a:lnTo>
                      <a:pt x="509" y="180"/>
                    </a:lnTo>
                    <a:lnTo>
                      <a:pt x="509" y="182"/>
                    </a:lnTo>
                    <a:lnTo>
                      <a:pt x="510" y="182"/>
                    </a:lnTo>
                    <a:lnTo>
                      <a:pt x="510" y="184"/>
                    </a:lnTo>
                    <a:lnTo>
                      <a:pt x="510" y="185"/>
                    </a:lnTo>
                    <a:lnTo>
                      <a:pt x="510" y="187"/>
                    </a:lnTo>
                    <a:lnTo>
                      <a:pt x="512" y="187"/>
                    </a:lnTo>
                    <a:lnTo>
                      <a:pt x="512" y="188"/>
                    </a:lnTo>
                    <a:lnTo>
                      <a:pt x="512" y="190"/>
                    </a:lnTo>
                    <a:lnTo>
                      <a:pt x="514" y="190"/>
                    </a:lnTo>
                    <a:lnTo>
                      <a:pt x="514" y="192"/>
                    </a:lnTo>
                    <a:lnTo>
                      <a:pt x="514" y="193"/>
                    </a:lnTo>
                    <a:lnTo>
                      <a:pt x="514" y="195"/>
                    </a:lnTo>
                    <a:lnTo>
                      <a:pt x="514" y="196"/>
                    </a:lnTo>
                    <a:lnTo>
                      <a:pt x="512" y="196"/>
                    </a:lnTo>
                    <a:lnTo>
                      <a:pt x="510" y="196"/>
                    </a:lnTo>
                    <a:lnTo>
                      <a:pt x="510" y="195"/>
                    </a:lnTo>
                    <a:lnTo>
                      <a:pt x="509" y="195"/>
                    </a:lnTo>
                    <a:lnTo>
                      <a:pt x="509" y="193"/>
                    </a:lnTo>
                    <a:lnTo>
                      <a:pt x="509" y="192"/>
                    </a:lnTo>
                    <a:lnTo>
                      <a:pt x="507" y="192"/>
                    </a:lnTo>
                    <a:lnTo>
                      <a:pt x="507" y="190"/>
                    </a:lnTo>
                    <a:lnTo>
                      <a:pt x="506" y="190"/>
                    </a:lnTo>
                    <a:lnTo>
                      <a:pt x="506" y="188"/>
                    </a:lnTo>
                    <a:lnTo>
                      <a:pt x="504" y="188"/>
                    </a:lnTo>
                    <a:lnTo>
                      <a:pt x="504" y="187"/>
                    </a:lnTo>
                    <a:lnTo>
                      <a:pt x="503" y="187"/>
                    </a:lnTo>
                    <a:lnTo>
                      <a:pt x="501" y="187"/>
                    </a:lnTo>
                    <a:lnTo>
                      <a:pt x="499" y="187"/>
                    </a:lnTo>
                    <a:lnTo>
                      <a:pt x="499" y="185"/>
                    </a:lnTo>
                    <a:lnTo>
                      <a:pt x="498" y="185"/>
                    </a:lnTo>
                    <a:lnTo>
                      <a:pt x="498" y="184"/>
                    </a:lnTo>
                    <a:lnTo>
                      <a:pt x="498" y="182"/>
                    </a:lnTo>
                    <a:lnTo>
                      <a:pt x="496" y="182"/>
                    </a:lnTo>
                    <a:lnTo>
                      <a:pt x="496" y="180"/>
                    </a:lnTo>
                    <a:lnTo>
                      <a:pt x="495" y="180"/>
                    </a:lnTo>
                    <a:lnTo>
                      <a:pt x="493" y="179"/>
                    </a:lnTo>
                    <a:lnTo>
                      <a:pt x="491" y="179"/>
                    </a:lnTo>
                    <a:lnTo>
                      <a:pt x="490" y="179"/>
                    </a:lnTo>
                    <a:lnTo>
                      <a:pt x="488" y="180"/>
                    </a:lnTo>
                    <a:lnTo>
                      <a:pt x="487" y="180"/>
                    </a:lnTo>
                    <a:lnTo>
                      <a:pt x="485" y="180"/>
                    </a:lnTo>
                    <a:lnTo>
                      <a:pt x="485" y="179"/>
                    </a:lnTo>
                    <a:lnTo>
                      <a:pt x="484" y="179"/>
                    </a:lnTo>
                    <a:lnTo>
                      <a:pt x="484" y="177"/>
                    </a:lnTo>
                    <a:lnTo>
                      <a:pt x="482" y="177"/>
                    </a:lnTo>
                    <a:lnTo>
                      <a:pt x="482" y="176"/>
                    </a:lnTo>
                    <a:lnTo>
                      <a:pt x="480" y="176"/>
                    </a:lnTo>
                    <a:lnTo>
                      <a:pt x="479" y="176"/>
                    </a:lnTo>
                    <a:lnTo>
                      <a:pt x="479" y="174"/>
                    </a:lnTo>
                    <a:lnTo>
                      <a:pt x="477" y="174"/>
                    </a:lnTo>
                    <a:lnTo>
                      <a:pt x="476" y="176"/>
                    </a:lnTo>
                    <a:lnTo>
                      <a:pt x="476" y="177"/>
                    </a:lnTo>
                    <a:lnTo>
                      <a:pt x="474" y="177"/>
                    </a:lnTo>
                    <a:lnTo>
                      <a:pt x="476" y="179"/>
                    </a:lnTo>
                    <a:lnTo>
                      <a:pt x="476" y="180"/>
                    </a:lnTo>
                    <a:lnTo>
                      <a:pt x="477" y="182"/>
                    </a:lnTo>
                    <a:lnTo>
                      <a:pt x="477" y="184"/>
                    </a:lnTo>
                    <a:lnTo>
                      <a:pt x="479" y="184"/>
                    </a:lnTo>
                    <a:lnTo>
                      <a:pt x="479" y="185"/>
                    </a:lnTo>
                    <a:lnTo>
                      <a:pt x="480" y="187"/>
                    </a:lnTo>
                    <a:lnTo>
                      <a:pt x="479" y="188"/>
                    </a:lnTo>
                    <a:lnTo>
                      <a:pt x="479" y="190"/>
                    </a:lnTo>
                    <a:lnTo>
                      <a:pt x="477" y="190"/>
                    </a:lnTo>
                    <a:lnTo>
                      <a:pt x="477" y="192"/>
                    </a:lnTo>
                    <a:lnTo>
                      <a:pt x="477" y="193"/>
                    </a:lnTo>
                    <a:lnTo>
                      <a:pt x="476" y="193"/>
                    </a:lnTo>
                    <a:lnTo>
                      <a:pt x="476" y="195"/>
                    </a:lnTo>
                    <a:lnTo>
                      <a:pt x="477" y="196"/>
                    </a:lnTo>
                    <a:lnTo>
                      <a:pt x="477" y="198"/>
                    </a:lnTo>
                    <a:lnTo>
                      <a:pt x="477" y="199"/>
                    </a:lnTo>
                    <a:lnTo>
                      <a:pt x="479" y="201"/>
                    </a:lnTo>
                    <a:lnTo>
                      <a:pt x="479" y="203"/>
                    </a:lnTo>
                    <a:lnTo>
                      <a:pt x="479" y="204"/>
                    </a:lnTo>
                    <a:lnTo>
                      <a:pt x="480" y="204"/>
                    </a:lnTo>
                    <a:lnTo>
                      <a:pt x="480" y="206"/>
                    </a:lnTo>
                    <a:lnTo>
                      <a:pt x="482" y="206"/>
                    </a:lnTo>
                    <a:lnTo>
                      <a:pt x="482" y="207"/>
                    </a:lnTo>
                    <a:lnTo>
                      <a:pt x="484" y="207"/>
                    </a:lnTo>
                    <a:lnTo>
                      <a:pt x="485" y="207"/>
                    </a:lnTo>
                    <a:lnTo>
                      <a:pt x="487" y="207"/>
                    </a:lnTo>
                    <a:lnTo>
                      <a:pt x="488" y="207"/>
                    </a:lnTo>
                    <a:lnTo>
                      <a:pt x="490" y="206"/>
                    </a:lnTo>
                    <a:lnTo>
                      <a:pt x="491" y="206"/>
                    </a:lnTo>
                    <a:lnTo>
                      <a:pt x="493" y="206"/>
                    </a:lnTo>
                    <a:lnTo>
                      <a:pt x="495" y="206"/>
                    </a:lnTo>
                    <a:lnTo>
                      <a:pt x="496" y="206"/>
                    </a:lnTo>
                    <a:lnTo>
                      <a:pt x="498" y="206"/>
                    </a:lnTo>
                    <a:lnTo>
                      <a:pt x="499" y="206"/>
                    </a:lnTo>
                    <a:lnTo>
                      <a:pt x="499" y="204"/>
                    </a:lnTo>
                    <a:lnTo>
                      <a:pt x="501" y="204"/>
                    </a:lnTo>
                    <a:lnTo>
                      <a:pt x="503" y="204"/>
                    </a:lnTo>
                    <a:lnTo>
                      <a:pt x="504" y="204"/>
                    </a:lnTo>
                    <a:lnTo>
                      <a:pt x="506" y="204"/>
                    </a:lnTo>
                    <a:lnTo>
                      <a:pt x="506" y="206"/>
                    </a:lnTo>
                    <a:lnTo>
                      <a:pt x="507" y="206"/>
                    </a:lnTo>
                    <a:lnTo>
                      <a:pt x="509" y="206"/>
                    </a:lnTo>
                    <a:lnTo>
                      <a:pt x="510" y="206"/>
                    </a:lnTo>
                    <a:lnTo>
                      <a:pt x="512" y="206"/>
                    </a:lnTo>
                    <a:lnTo>
                      <a:pt x="514" y="207"/>
                    </a:lnTo>
                    <a:lnTo>
                      <a:pt x="515" y="207"/>
                    </a:lnTo>
                    <a:lnTo>
                      <a:pt x="517" y="209"/>
                    </a:lnTo>
                    <a:lnTo>
                      <a:pt x="518" y="209"/>
                    </a:lnTo>
                    <a:lnTo>
                      <a:pt x="518" y="211"/>
                    </a:lnTo>
                    <a:lnTo>
                      <a:pt x="520" y="211"/>
                    </a:lnTo>
                    <a:lnTo>
                      <a:pt x="520" y="212"/>
                    </a:lnTo>
                    <a:lnTo>
                      <a:pt x="522" y="212"/>
                    </a:lnTo>
                    <a:lnTo>
                      <a:pt x="522" y="214"/>
                    </a:lnTo>
                    <a:lnTo>
                      <a:pt x="523" y="215"/>
                    </a:lnTo>
                    <a:lnTo>
                      <a:pt x="525" y="215"/>
                    </a:lnTo>
                    <a:lnTo>
                      <a:pt x="525" y="217"/>
                    </a:lnTo>
                    <a:lnTo>
                      <a:pt x="526" y="217"/>
                    </a:lnTo>
                    <a:lnTo>
                      <a:pt x="526" y="218"/>
                    </a:lnTo>
                    <a:lnTo>
                      <a:pt x="528" y="218"/>
                    </a:lnTo>
                    <a:lnTo>
                      <a:pt x="529" y="220"/>
                    </a:lnTo>
                    <a:lnTo>
                      <a:pt x="531" y="220"/>
                    </a:lnTo>
                    <a:lnTo>
                      <a:pt x="531" y="222"/>
                    </a:lnTo>
                    <a:lnTo>
                      <a:pt x="533" y="222"/>
                    </a:lnTo>
                    <a:lnTo>
                      <a:pt x="533" y="223"/>
                    </a:lnTo>
                    <a:lnTo>
                      <a:pt x="534" y="223"/>
                    </a:lnTo>
                    <a:lnTo>
                      <a:pt x="534" y="225"/>
                    </a:lnTo>
                    <a:lnTo>
                      <a:pt x="536" y="225"/>
                    </a:lnTo>
                    <a:lnTo>
                      <a:pt x="536" y="226"/>
                    </a:lnTo>
                    <a:lnTo>
                      <a:pt x="537" y="226"/>
                    </a:lnTo>
                    <a:lnTo>
                      <a:pt x="539" y="228"/>
                    </a:lnTo>
                    <a:lnTo>
                      <a:pt x="541" y="230"/>
                    </a:lnTo>
                    <a:lnTo>
                      <a:pt x="542" y="230"/>
                    </a:lnTo>
                    <a:lnTo>
                      <a:pt x="544" y="230"/>
                    </a:lnTo>
                    <a:lnTo>
                      <a:pt x="544" y="231"/>
                    </a:lnTo>
                    <a:lnTo>
                      <a:pt x="545" y="231"/>
                    </a:lnTo>
                    <a:lnTo>
                      <a:pt x="547" y="231"/>
                    </a:lnTo>
                    <a:lnTo>
                      <a:pt x="548" y="231"/>
                    </a:lnTo>
                    <a:lnTo>
                      <a:pt x="550" y="231"/>
                    </a:lnTo>
                    <a:lnTo>
                      <a:pt x="552" y="231"/>
                    </a:lnTo>
                    <a:lnTo>
                      <a:pt x="553" y="233"/>
                    </a:lnTo>
                    <a:lnTo>
                      <a:pt x="555" y="233"/>
                    </a:lnTo>
                    <a:lnTo>
                      <a:pt x="556" y="233"/>
                    </a:lnTo>
                    <a:lnTo>
                      <a:pt x="558" y="233"/>
                    </a:lnTo>
                    <a:lnTo>
                      <a:pt x="560" y="233"/>
                    </a:lnTo>
                    <a:lnTo>
                      <a:pt x="561" y="233"/>
                    </a:lnTo>
                    <a:lnTo>
                      <a:pt x="563" y="233"/>
                    </a:lnTo>
                    <a:lnTo>
                      <a:pt x="564" y="233"/>
                    </a:lnTo>
                    <a:lnTo>
                      <a:pt x="566" y="233"/>
                    </a:lnTo>
                    <a:lnTo>
                      <a:pt x="567" y="233"/>
                    </a:lnTo>
                    <a:lnTo>
                      <a:pt x="567" y="231"/>
                    </a:lnTo>
                    <a:lnTo>
                      <a:pt x="569" y="231"/>
                    </a:lnTo>
                    <a:lnTo>
                      <a:pt x="571" y="231"/>
                    </a:lnTo>
                    <a:lnTo>
                      <a:pt x="572" y="231"/>
                    </a:lnTo>
                    <a:lnTo>
                      <a:pt x="574" y="231"/>
                    </a:lnTo>
                    <a:lnTo>
                      <a:pt x="575" y="231"/>
                    </a:lnTo>
                    <a:lnTo>
                      <a:pt x="577" y="230"/>
                    </a:lnTo>
                    <a:lnTo>
                      <a:pt x="579" y="230"/>
                    </a:lnTo>
                    <a:lnTo>
                      <a:pt x="580" y="230"/>
                    </a:lnTo>
                    <a:lnTo>
                      <a:pt x="582" y="230"/>
                    </a:lnTo>
                    <a:lnTo>
                      <a:pt x="583" y="228"/>
                    </a:lnTo>
                    <a:lnTo>
                      <a:pt x="585" y="228"/>
                    </a:lnTo>
                    <a:lnTo>
                      <a:pt x="585" y="226"/>
                    </a:lnTo>
                    <a:lnTo>
                      <a:pt x="586" y="226"/>
                    </a:lnTo>
                    <a:lnTo>
                      <a:pt x="588" y="226"/>
                    </a:lnTo>
                    <a:lnTo>
                      <a:pt x="590" y="226"/>
                    </a:lnTo>
                    <a:lnTo>
                      <a:pt x="591" y="226"/>
                    </a:lnTo>
                    <a:lnTo>
                      <a:pt x="593" y="225"/>
                    </a:lnTo>
                    <a:lnTo>
                      <a:pt x="594" y="225"/>
                    </a:lnTo>
                    <a:lnTo>
                      <a:pt x="596" y="223"/>
                    </a:lnTo>
                    <a:lnTo>
                      <a:pt x="598" y="223"/>
                    </a:lnTo>
                    <a:lnTo>
                      <a:pt x="599" y="223"/>
                    </a:lnTo>
                    <a:lnTo>
                      <a:pt x="599" y="222"/>
                    </a:lnTo>
                    <a:lnTo>
                      <a:pt x="601" y="222"/>
                    </a:lnTo>
                    <a:lnTo>
                      <a:pt x="602" y="222"/>
                    </a:lnTo>
                    <a:lnTo>
                      <a:pt x="604" y="222"/>
                    </a:lnTo>
                    <a:lnTo>
                      <a:pt x="605" y="222"/>
                    </a:lnTo>
                    <a:lnTo>
                      <a:pt x="607" y="222"/>
                    </a:lnTo>
                    <a:lnTo>
                      <a:pt x="609" y="222"/>
                    </a:lnTo>
                    <a:lnTo>
                      <a:pt x="609" y="220"/>
                    </a:lnTo>
                    <a:lnTo>
                      <a:pt x="610" y="220"/>
                    </a:lnTo>
                    <a:lnTo>
                      <a:pt x="610" y="218"/>
                    </a:lnTo>
                    <a:lnTo>
                      <a:pt x="612" y="218"/>
                    </a:lnTo>
                    <a:lnTo>
                      <a:pt x="613" y="218"/>
                    </a:lnTo>
                    <a:lnTo>
                      <a:pt x="613" y="220"/>
                    </a:lnTo>
                    <a:lnTo>
                      <a:pt x="615" y="218"/>
                    </a:lnTo>
                    <a:lnTo>
                      <a:pt x="617" y="217"/>
                    </a:lnTo>
                    <a:lnTo>
                      <a:pt x="618" y="215"/>
                    </a:lnTo>
                    <a:lnTo>
                      <a:pt x="618" y="214"/>
                    </a:lnTo>
                    <a:lnTo>
                      <a:pt x="620" y="214"/>
                    </a:lnTo>
                    <a:lnTo>
                      <a:pt x="620" y="212"/>
                    </a:lnTo>
                    <a:lnTo>
                      <a:pt x="620" y="211"/>
                    </a:lnTo>
                    <a:lnTo>
                      <a:pt x="621" y="211"/>
                    </a:lnTo>
                    <a:lnTo>
                      <a:pt x="621" y="209"/>
                    </a:lnTo>
                    <a:lnTo>
                      <a:pt x="623" y="209"/>
                    </a:lnTo>
                    <a:lnTo>
                      <a:pt x="623" y="207"/>
                    </a:lnTo>
                    <a:lnTo>
                      <a:pt x="625" y="207"/>
                    </a:lnTo>
                    <a:lnTo>
                      <a:pt x="626" y="207"/>
                    </a:lnTo>
                    <a:lnTo>
                      <a:pt x="626" y="206"/>
                    </a:lnTo>
                    <a:lnTo>
                      <a:pt x="628" y="206"/>
                    </a:lnTo>
                    <a:lnTo>
                      <a:pt x="629" y="206"/>
                    </a:lnTo>
                    <a:lnTo>
                      <a:pt x="631" y="206"/>
                    </a:lnTo>
                    <a:lnTo>
                      <a:pt x="631" y="204"/>
                    </a:lnTo>
                    <a:lnTo>
                      <a:pt x="632" y="204"/>
                    </a:lnTo>
                    <a:lnTo>
                      <a:pt x="634" y="203"/>
                    </a:lnTo>
                    <a:lnTo>
                      <a:pt x="636" y="203"/>
                    </a:lnTo>
                    <a:lnTo>
                      <a:pt x="636" y="201"/>
                    </a:lnTo>
                    <a:lnTo>
                      <a:pt x="637" y="203"/>
                    </a:lnTo>
                    <a:lnTo>
                      <a:pt x="639" y="201"/>
                    </a:lnTo>
                    <a:lnTo>
                      <a:pt x="640" y="201"/>
                    </a:lnTo>
                    <a:lnTo>
                      <a:pt x="642" y="201"/>
                    </a:lnTo>
                    <a:lnTo>
                      <a:pt x="644" y="199"/>
                    </a:lnTo>
                    <a:lnTo>
                      <a:pt x="645" y="199"/>
                    </a:lnTo>
                    <a:lnTo>
                      <a:pt x="647" y="199"/>
                    </a:lnTo>
                    <a:lnTo>
                      <a:pt x="648" y="199"/>
                    </a:lnTo>
                    <a:lnTo>
                      <a:pt x="650" y="199"/>
                    </a:lnTo>
                    <a:lnTo>
                      <a:pt x="669" y="199"/>
                    </a:lnTo>
                    <a:lnTo>
                      <a:pt x="670" y="199"/>
                    </a:lnTo>
                    <a:lnTo>
                      <a:pt x="672" y="199"/>
                    </a:lnTo>
                    <a:lnTo>
                      <a:pt x="674" y="199"/>
                    </a:lnTo>
                    <a:lnTo>
                      <a:pt x="674" y="201"/>
                    </a:lnTo>
                    <a:lnTo>
                      <a:pt x="675" y="201"/>
                    </a:lnTo>
                    <a:lnTo>
                      <a:pt x="675" y="203"/>
                    </a:lnTo>
                    <a:lnTo>
                      <a:pt x="677" y="204"/>
                    </a:lnTo>
                    <a:lnTo>
                      <a:pt x="677" y="206"/>
                    </a:lnTo>
                    <a:lnTo>
                      <a:pt x="678" y="206"/>
                    </a:lnTo>
                    <a:lnTo>
                      <a:pt x="678" y="207"/>
                    </a:lnTo>
                    <a:lnTo>
                      <a:pt x="678" y="209"/>
                    </a:lnTo>
                    <a:lnTo>
                      <a:pt x="678" y="211"/>
                    </a:lnTo>
                    <a:lnTo>
                      <a:pt x="678" y="212"/>
                    </a:lnTo>
                    <a:lnTo>
                      <a:pt x="678" y="214"/>
                    </a:lnTo>
                    <a:lnTo>
                      <a:pt x="678" y="215"/>
                    </a:lnTo>
                    <a:lnTo>
                      <a:pt x="678" y="217"/>
                    </a:lnTo>
                    <a:lnTo>
                      <a:pt x="678" y="218"/>
                    </a:lnTo>
                    <a:lnTo>
                      <a:pt x="678" y="220"/>
                    </a:lnTo>
                    <a:lnTo>
                      <a:pt x="680" y="222"/>
                    </a:lnTo>
                    <a:lnTo>
                      <a:pt x="680" y="223"/>
                    </a:lnTo>
                    <a:lnTo>
                      <a:pt x="680" y="225"/>
                    </a:lnTo>
                    <a:lnTo>
                      <a:pt x="680" y="226"/>
                    </a:lnTo>
                    <a:lnTo>
                      <a:pt x="680" y="228"/>
                    </a:lnTo>
                    <a:lnTo>
                      <a:pt x="682" y="230"/>
                    </a:lnTo>
                    <a:lnTo>
                      <a:pt x="682" y="231"/>
                    </a:lnTo>
                    <a:lnTo>
                      <a:pt x="682" y="233"/>
                    </a:lnTo>
                    <a:lnTo>
                      <a:pt x="683" y="233"/>
                    </a:lnTo>
                    <a:lnTo>
                      <a:pt x="685" y="236"/>
                    </a:lnTo>
                    <a:lnTo>
                      <a:pt x="686" y="236"/>
                    </a:lnTo>
                    <a:lnTo>
                      <a:pt x="688" y="236"/>
                    </a:lnTo>
                    <a:lnTo>
                      <a:pt x="688" y="234"/>
                    </a:lnTo>
                    <a:lnTo>
                      <a:pt x="689" y="236"/>
                    </a:lnTo>
                    <a:lnTo>
                      <a:pt x="689" y="237"/>
                    </a:lnTo>
                    <a:lnTo>
                      <a:pt x="691" y="236"/>
                    </a:lnTo>
                    <a:lnTo>
                      <a:pt x="693" y="236"/>
                    </a:lnTo>
                    <a:lnTo>
                      <a:pt x="694" y="236"/>
                    </a:lnTo>
                    <a:lnTo>
                      <a:pt x="696" y="234"/>
                    </a:lnTo>
                    <a:lnTo>
                      <a:pt x="697" y="236"/>
                    </a:lnTo>
                    <a:lnTo>
                      <a:pt x="699" y="236"/>
                    </a:lnTo>
                    <a:lnTo>
                      <a:pt x="699" y="234"/>
                    </a:lnTo>
                    <a:lnTo>
                      <a:pt x="701" y="234"/>
                    </a:lnTo>
                    <a:lnTo>
                      <a:pt x="704" y="233"/>
                    </a:lnTo>
                    <a:lnTo>
                      <a:pt x="705" y="231"/>
                    </a:lnTo>
                    <a:lnTo>
                      <a:pt x="707" y="231"/>
                    </a:lnTo>
                    <a:lnTo>
                      <a:pt x="708" y="231"/>
                    </a:lnTo>
                    <a:lnTo>
                      <a:pt x="710" y="231"/>
                    </a:lnTo>
                    <a:lnTo>
                      <a:pt x="712" y="231"/>
                    </a:lnTo>
                    <a:lnTo>
                      <a:pt x="715" y="231"/>
                    </a:lnTo>
                    <a:lnTo>
                      <a:pt x="716" y="233"/>
                    </a:lnTo>
                    <a:lnTo>
                      <a:pt x="718" y="233"/>
                    </a:lnTo>
                    <a:lnTo>
                      <a:pt x="718" y="234"/>
                    </a:lnTo>
                    <a:lnTo>
                      <a:pt x="720" y="234"/>
                    </a:lnTo>
                    <a:lnTo>
                      <a:pt x="721" y="234"/>
                    </a:lnTo>
                    <a:lnTo>
                      <a:pt x="723" y="234"/>
                    </a:lnTo>
                    <a:lnTo>
                      <a:pt x="724" y="234"/>
                    </a:lnTo>
                    <a:lnTo>
                      <a:pt x="726" y="234"/>
                    </a:lnTo>
                    <a:lnTo>
                      <a:pt x="727" y="234"/>
                    </a:lnTo>
                    <a:lnTo>
                      <a:pt x="729" y="233"/>
                    </a:lnTo>
                    <a:lnTo>
                      <a:pt x="732" y="233"/>
                    </a:lnTo>
                    <a:lnTo>
                      <a:pt x="734" y="233"/>
                    </a:lnTo>
                    <a:lnTo>
                      <a:pt x="735" y="231"/>
                    </a:lnTo>
                    <a:lnTo>
                      <a:pt x="737" y="231"/>
                    </a:lnTo>
                    <a:lnTo>
                      <a:pt x="742" y="231"/>
                    </a:lnTo>
                    <a:lnTo>
                      <a:pt x="740" y="233"/>
                    </a:lnTo>
                    <a:lnTo>
                      <a:pt x="740" y="234"/>
                    </a:lnTo>
                    <a:lnTo>
                      <a:pt x="740" y="236"/>
                    </a:lnTo>
                    <a:lnTo>
                      <a:pt x="740" y="237"/>
                    </a:lnTo>
                    <a:lnTo>
                      <a:pt x="739" y="237"/>
                    </a:lnTo>
                    <a:lnTo>
                      <a:pt x="739" y="239"/>
                    </a:lnTo>
                    <a:lnTo>
                      <a:pt x="739" y="241"/>
                    </a:lnTo>
                    <a:lnTo>
                      <a:pt x="737" y="242"/>
                    </a:lnTo>
                    <a:lnTo>
                      <a:pt x="737" y="244"/>
                    </a:lnTo>
                    <a:lnTo>
                      <a:pt x="737" y="245"/>
                    </a:lnTo>
                    <a:lnTo>
                      <a:pt x="735" y="245"/>
                    </a:lnTo>
                    <a:lnTo>
                      <a:pt x="735" y="247"/>
                    </a:lnTo>
                    <a:lnTo>
                      <a:pt x="735" y="249"/>
                    </a:lnTo>
                    <a:lnTo>
                      <a:pt x="734" y="249"/>
                    </a:lnTo>
                    <a:lnTo>
                      <a:pt x="734" y="250"/>
                    </a:lnTo>
                    <a:lnTo>
                      <a:pt x="732" y="250"/>
                    </a:lnTo>
                    <a:lnTo>
                      <a:pt x="732" y="252"/>
                    </a:lnTo>
                    <a:lnTo>
                      <a:pt x="732" y="253"/>
                    </a:lnTo>
                    <a:lnTo>
                      <a:pt x="731" y="253"/>
                    </a:lnTo>
                    <a:lnTo>
                      <a:pt x="731" y="255"/>
                    </a:lnTo>
                    <a:lnTo>
                      <a:pt x="729" y="256"/>
                    </a:lnTo>
                    <a:lnTo>
                      <a:pt x="729" y="258"/>
                    </a:lnTo>
                    <a:lnTo>
                      <a:pt x="729" y="260"/>
                    </a:lnTo>
                    <a:lnTo>
                      <a:pt x="727" y="260"/>
                    </a:lnTo>
                    <a:lnTo>
                      <a:pt x="727" y="261"/>
                    </a:lnTo>
                    <a:lnTo>
                      <a:pt x="727" y="263"/>
                    </a:lnTo>
                    <a:lnTo>
                      <a:pt x="727" y="264"/>
                    </a:lnTo>
                    <a:lnTo>
                      <a:pt x="726" y="264"/>
                    </a:lnTo>
                    <a:lnTo>
                      <a:pt x="726" y="266"/>
                    </a:lnTo>
                    <a:lnTo>
                      <a:pt x="726" y="268"/>
                    </a:lnTo>
                    <a:lnTo>
                      <a:pt x="724" y="268"/>
                    </a:lnTo>
                    <a:lnTo>
                      <a:pt x="724" y="269"/>
                    </a:lnTo>
                    <a:lnTo>
                      <a:pt x="724" y="271"/>
                    </a:lnTo>
                    <a:lnTo>
                      <a:pt x="723" y="271"/>
                    </a:lnTo>
                    <a:lnTo>
                      <a:pt x="723" y="272"/>
                    </a:lnTo>
                    <a:lnTo>
                      <a:pt x="721" y="272"/>
                    </a:lnTo>
                    <a:lnTo>
                      <a:pt x="721" y="274"/>
                    </a:lnTo>
                    <a:lnTo>
                      <a:pt x="720" y="274"/>
                    </a:lnTo>
                    <a:lnTo>
                      <a:pt x="720" y="275"/>
                    </a:lnTo>
                    <a:lnTo>
                      <a:pt x="718" y="275"/>
                    </a:lnTo>
                    <a:lnTo>
                      <a:pt x="718" y="277"/>
                    </a:lnTo>
                    <a:lnTo>
                      <a:pt x="718" y="279"/>
                    </a:lnTo>
                    <a:lnTo>
                      <a:pt x="716" y="279"/>
                    </a:lnTo>
                    <a:lnTo>
                      <a:pt x="716" y="280"/>
                    </a:lnTo>
                    <a:lnTo>
                      <a:pt x="716" y="282"/>
                    </a:lnTo>
                    <a:lnTo>
                      <a:pt x="716" y="283"/>
                    </a:lnTo>
                    <a:lnTo>
                      <a:pt x="716" y="285"/>
                    </a:lnTo>
                    <a:lnTo>
                      <a:pt x="716" y="287"/>
                    </a:lnTo>
                    <a:lnTo>
                      <a:pt x="716" y="288"/>
                    </a:lnTo>
                    <a:lnTo>
                      <a:pt x="716" y="290"/>
                    </a:lnTo>
                    <a:lnTo>
                      <a:pt x="716" y="291"/>
                    </a:lnTo>
                    <a:lnTo>
                      <a:pt x="716" y="293"/>
                    </a:lnTo>
                    <a:lnTo>
                      <a:pt x="716" y="294"/>
                    </a:lnTo>
                    <a:lnTo>
                      <a:pt x="716" y="296"/>
                    </a:lnTo>
                    <a:lnTo>
                      <a:pt x="716" y="298"/>
                    </a:lnTo>
                    <a:lnTo>
                      <a:pt x="716" y="299"/>
                    </a:lnTo>
                    <a:lnTo>
                      <a:pt x="716" y="301"/>
                    </a:lnTo>
                    <a:lnTo>
                      <a:pt x="716" y="302"/>
                    </a:lnTo>
                    <a:lnTo>
                      <a:pt x="715" y="302"/>
                    </a:lnTo>
                    <a:lnTo>
                      <a:pt x="715" y="304"/>
                    </a:lnTo>
                    <a:lnTo>
                      <a:pt x="715" y="306"/>
                    </a:lnTo>
                    <a:lnTo>
                      <a:pt x="715" y="307"/>
                    </a:lnTo>
                    <a:lnTo>
                      <a:pt x="715" y="309"/>
                    </a:lnTo>
                    <a:lnTo>
                      <a:pt x="715" y="310"/>
                    </a:lnTo>
                    <a:lnTo>
                      <a:pt x="713" y="312"/>
                    </a:lnTo>
                    <a:lnTo>
                      <a:pt x="713" y="313"/>
                    </a:lnTo>
                    <a:lnTo>
                      <a:pt x="712" y="313"/>
                    </a:lnTo>
                    <a:lnTo>
                      <a:pt x="712" y="315"/>
                    </a:lnTo>
                    <a:lnTo>
                      <a:pt x="710" y="315"/>
                    </a:lnTo>
                    <a:lnTo>
                      <a:pt x="710" y="317"/>
                    </a:lnTo>
                    <a:lnTo>
                      <a:pt x="708" y="317"/>
                    </a:lnTo>
                    <a:lnTo>
                      <a:pt x="708" y="318"/>
                    </a:lnTo>
                    <a:lnTo>
                      <a:pt x="707" y="318"/>
                    </a:lnTo>
                    <a:lnTo>
                      <a:pt x="707" y="320"/>
                    </a:lnTo>
                    <a:lnTo>
                      <a:pt x="705" y="320"/>
                    </a:lnTo>
                    <a:lnTo>
                      <a:pt x="705" y="321"/>
                    </a:lnTo>
                    <a:lnTo>
                      <a:pt x="704" y="323"/>
                    </a:lnTo>
                    <a:lnTo>
                      <a:pt x="704" y="325"/>
                    </a:lnTo>
                    <a:lnTo>
                      <a:pt x="702" y="326"/>
                    </a:lnTo>
                    <a:lnTo>
                      <a:pt x="702" y="328"/>
                    </a:lnTo>
                    <a:lnTo>
                      <a:pt x="704" y="328"/>
                    </a:lnTo>
                    <a:lnTo>
                      <a:pt x="704" y="329"/>
                    </a:lnTo>
                    <a:lnTo>
                      <a:pt x="704" y="331"/>
                    </a:lnTo>
                    <a:lnTo>
                      <a:pt x="705" y="331"/>
                    </a:lnTo>
                    <a:lnTo>
                      <a:pt x="705" y="332"/>
                    </a:lnTo>
                    <a:lnTo>
                      <a:pt x="707" y="332"/>
                    </a:lnTo>
                    <a:lnTo>
                      <a:pt x="707" y="334"/>
                    </a:lnTo>
                    <a:lnTo>
                      <a:pt x="708" y="334"/>
                    </a:lnTo>
                    <a:lnTo>
                      <a:pt x="708" y="336"/>
                    </a:lnTo>
                    <a:lnTo>
                      <a:pt x="708" y="337"/>
                    </a:lnTo>
                    <a:lnTo>
                      <a:pt x="710" y="339"/>
                    </a:lnTo>
                    <a:lnTo>
                      <a:pt x="708" y="339"/>
                    </a:lnTo>
                    <a:lnTo>
                      <a:pt x="708" y="340"/>
                    </a:lnTo>
                    <a:lnTo>
                      <a:pt x="707" y="340"/>
                    </a:lnTo>
                    <a:lnTo>
                      <a:pt x="705" y="340"/>
                    </a:lnTo>
                    <a:lnTo>
                      <a:pt x="704" y="340"/>
                    </a:lnTo>
                    <a:lnTo>
                      <a:pt x="702" y="339"/>
                    </a:lnTo>
                    <a:lnTo>
                      <a:pt x="701" y="339"/>
                    </a:lnTo>
                    <a:lnTo>
                      <a:pt x="699" y="339"/>
                    </a:lnTo>
                    <a:lnTo>
                      <a:pt x="697" y="339"/>
                    </a:lnTo>
                    <a:lnTo>
                      <a:pt x="697" y="337"/>
                    </a:lnTo>
                    <a:lnTo>
                      <a:pt x="696" y="337"/>
                    </a:lnTo>
                    <a:lnTo>
                      <a:pt x="694" y="337"/>
                    </a:lnTo>
                    <a:lnTo>
                      <a:pt x="693" y="337"/>
                    </a:lnTo>
                    <a:lnTo>
                      <a:pt x="691" y="337"/>
                    </a:lnTo>
                    <a:lnTo>
                      <a:pt x="691" y="339"/>
                    </a:lnTo>
                    <a:lnTo>
                      <a:pt x="689" y="339"/>
                    </a:lnTo>
                    <a:lnTo>
                      <a:pt x="688" y="339"/>
                    </a:lnTo>
                    <a:lnTo>
                      <a:pt x="688" y="337"/>
                    </a:lnTo>
                    <a:lnTo>
                      <a:pt x="686" y="337"/>
                    </a:lnTo>
                    <a:lnTo>
                      <a:pt x="685" y="337"/>
                    </a:lnTo>
                    <a:lnTo>
                      <a:pt x="685" y="336"/>
                    </a:lnTo>
                    <a:lnTo>
                      <a:pt x="683" y="334"/>
                    </a:lnTo>
                    <a:lnTo>
                      <a:pt x="682" y="334"/>
                    </a:lnTo>
                    <a:lnTo>
                      <a:pt x="680" y="336"/>
                    </a:lnTo>
                    <a:lnTo>
                      <a:pt x="678" y="336"/>
                    </a:lnTo>
                    <a:lnTo>
                      <a:pt x="677" y="336"/>
                    </a:lnTo>
                    <a:lnTo>
                      <a:pt x="675" y="336"/>
                    </a:lnTo>
                    <a:lnTo>
                      <a:pt x="674" y="336"/>
                    </a:lnTo>
                    <a:lnTo>
                      <a:pt x="672" y="334"/>
                    </a:lnTo>
                    <a:lnTo>
                      <a:pt x="670" y="334"/>
                    </a:lnTo>
                    <a:lnTo>
                      <a:pt x="669" y="334"/>
                    </a:lnTo>
                    <a:lnTo>
                      <a:pt x="667" y="334"/>
                    </a:lnTo>
                    <a:lnTo>
                      <a:pt x="666" y="334"/>
                    </a:lnTo>
                    <a:lnTo>
                      <a:pt x="666" y="332"/>
                    </a:lnTo>
                    <a:lnTo>
                      <a:pt x="664" y="332"/>
                    </a:lnTo>
                    <a:lnTo>
                      <a:pt x="663" y="332"/>
                    </a:lnTo>
                    <a:lnTo>
                      <a:pt x="663" y="331"/>
                    </a:lnTo>
                    <a:lnTo>
                      <a:pt x="661" y="331"/>
                    </a:lnTo>
                    <a:lnTo>
                      <a:pt x="659" y="331"/>
                    </a:lnTo>
                    <a:lnTo>
                      <a:pt x="659" y="329"/>
                    </a:lnTo>
                    <a:lnTo>
                      <a:pt x="658" y="329"/>
                    </a:lnTo>
                    <a:lnTo>
                      <a:pt x="656" y="328"/>
                    </a:lnTo>
                    <a:lnTo>
                      <a:pt x="655" y="328"/>
                    </a:lnTo>
                    <a:lnTo>
                      <a:pt x="653" y="326"/>
                    </a:lnTo>
                    <a:lnTo>
                      <a:pt x="651" y="326"/>
                    </a:lnTo>
                    <a:lnTo>
                      <a:pt x="650" y="326"/>
                    </a:lnTo>
                    <a:lnTo>
                      <a:pt x="648" y="326"/>
                    </a:lnTo>
                    <a:lnTo>
                      <a:pt x="647" y="326"/>
                    </a:lnTo>
                    <a:lnTo>
                      <a:pt x="645" y="326"/>
                    </a:lnTo>
                    <a:lnTo>
                      <a:pt x="644" y="326"/>
                    </a:lnTo>
                    <a:lnTo>
                      <a:pt x="642" y="326"/>
                    </a:lnTo>
                    <a:lnTo>
                      <a:pt x="642" y="328"/>
                    </a:lnTo>
                    <a:lnTo>
                      <a:pt x="640" y="328"/>
                    </a:lnTo>
                    <a:lnTo>
                      <a:pt x="640" y="329"/>
                    </a:lnTo>
                    <a:lnTo>
                      <a:pt x="639" y="329"/>
                    </a:lnTo>
                    <a:lnTo>
                      <a:pt x="637" y="331"/>
                    </a:lnTo>
                    <a:lnTo>
                      <a:pt x="636" y="331"/>
                    </a:lnTo>
                    <a:lnTo>
                      <a:pt x="636" y="332"/>
                    </a:lnTo>
                    <a:lnTo>
                      <a:pt x="634" y="332"/>
                    </a:lnTo>
                    <a:lnTo>
                      <a:pt x="632" y="334"/>
                    </a:lnTo>
                    <a:lnTo>
                      <a:pt x="631" y="334"/>
                    </a:lnTo>
                    <a:lnTo>
                      <a:pt x="631" y="336"/>
                    </a:lnTo>
                    <a:lnTo>
                      <a:pt x="629" y="336"/>
                    </a:lnTo>
                    <a:lnTo>
                      <a:pt x="629" y="337"/>
                    </a:lnTo>
                    <a:lnTo>
                      <a:pt x="628" y="339"/>
                    </a:lnTo>
                    <a:lnTo>
                      <a:pt x="628" y="340"/>
                    </a:lnTo>
                    <a:lnTo>
                      <a:pt x="626" y="342"/>
                    </a:lnTo>
                    <a:lnTo>
                      <a:pt x="626" y="344"/>
                    </a:lnTo>
                    <a:lnTo>
                      <a:pt x="626" y="345"/>
                    </a:lnTo>
                    <a:lnTo>
                      <a:pt x="625" y="345"/>
                    </a:lnTo>
                    <a:lnTo>
                      <a:pt x="625" y="347"/>
                    </a:lnTo>
                    <a:lnTo>
                      <a:pt x="623" y="348"/>
                    </a:lnTo>
                    <a:lnTo>
                      <a:pt x="623" y="350"/>
                    </a:lnTo>
                    <a:lnTo>
                      <a:pt x="623" y="352"/>
                    </a:lnTo>
                    <a:lnTo>
                      <a:pt x="621" y="352"/>
                    </a:lnTo>
                    <a:lnTo>
                      <a:pt x="621" y="353"/>
                    </a:lnTo>
                    <a:lnTo>
                      <a:pt x="621" y="355"/>
                    </a:lnTo>
                    <a:lnTo>
                      <a:pt x="620" y="355"/>
                    </a:lnTo>
                    <a:lnTo>
                      <a:pt x="620" y="356"/>
                    </a:lnTo>
                    <a:lnTo>
                      <a:pt x="620" y="358"/>
                    </a:lnTo>
                    <a:lnTo>
                      <a:pt x="620" y="359"/>
                    </a:lnTo>
                    <a:lnTo>
                      <a:pt x="620" y="361"/>
                    </a:lnTo>
                    <a:lnTo>
                      <a:pt x="620" y="363"/>
                    </a:lnTo>
                    <a:lnTo>
                      <a:pt x="621" y="363"/>
                    </a:lnTo>
                    <a:lnTo>
                      <a:pt x="621" y="364"/>
                    </a:lnTo>
                    <a:lnTo>
                      <a:pt x="623" y="364"/>
                    </a:lnTo>
                    <a:lnTo>
                      <a:pt x="625" y="364"/>
                    </a:lnTo>
                    <a:lnTo>
                      <a:pt x="625" y="366"/>
                    </a:lnTo>
                    <a:lnTo>
                      <a:pt x="626" y="366"/>
                    </a:lnTo>
                    <a:lnTo>
                      <a:pt x="628" y="367"/>
                    </a:lnTo>
                    <a:lnTo>
                      <a:pt x="629" y="367"/>
                    </a:lnTo>
                    <a:lnTo>
                      <a:pt x="631" y="369"/>
                    </a:lnTo>
                    <a:lnTo>
                      <a:pt x="632" y="369"/>
                    </a:lnTo>
                    <a:lnTo>
                      <a:pt x="634" y="371"/>
                    </a:lnTo>
                    <a:lnTo>
                      <a:pt x="636" y="371"/>
                    </a:lnTo>
                    <a:lnTo>
                      <a:pt x="637" y="372"/>
                    </a:lnTo>
                    <a:lnTo>
                      <a:pt x="639" y="372"/>
                    </a:lnTo>
                    <a:lnTo>
                      <a:pt x="640" y="374"/>
                    </a:lnTo>
                    <a:lnTo>
                      <a:pt x="642" y="374"/>
                    </a:lnTo>
                    <a:lnTo>
                      <a:pt x="642" y="375"/>
                    </a:lnTo>
                    <a:lnTo>
                      <a:pt x="644" y="375"/>
                    </a:lnTo>
                    <a:lnTo>
                      <a:pt x="645" y="375"/>
                    </a:lnTo>
                    <a:lnTo>
                      <a:pt x="645" y="377"/>
                    </a:lnTo>
                    <a:lnTo>
                      <a:pt x="647" y="377"/>
                    </a:lnTo>
                    <a:lnTo>
                      <a:pt x="648" y="377"/>
                    </a:lnTo>
                    <a:lnTo>
                      <a:pt x="648" y="378"/>
                    </a:lnTo>
                    <a:lnTo>
                      <a:pt x="650" y="378"/>
                    </a:lnTo>
                    <a:lnTo>
                      <a:pt x="651" y="378"/>
                    </a:lnTo>
                    <a:lnTo>
                      <a:pt x="651" y="380"/>
                    </a:lnTo>
                    <a:lnTo>
                      <a:pt x="653" y="380"/>
                    </a:lnTo>
                    <a:lnTo>
                      <a:pt x="655" y="382"/>
                    </a:lnTo>
                    <a:lnTo>
                      <a:pt x="656" y="382"/>
                    </a:lnTo>
                    <a:lnTo>
                      <a:pt x="656" y="383"/>
                    </a:lnTo>
                    <a:lnTo>
                      <a:pt x="658" y="383"/>
                    </a:lnTo>
                    <a:lnTo>
                      <a:pt x="659" y="383"/>
                    </a:lnTo>
                    <a:lnTo>
                      <a:pt x="659" y="385"/>
                    </a:lnTo>
                    <a:lnTo>
                      <a:pt x="661" y="385"/>
                    </a:lnTo>
                    <a:lnTo>
                      <a:pt x="661" y="386"/>
                    </a:lnTo>
                    <a:lnTo>
                      <a:pt x="663" y="386"/>
                    </a:lnTo>
                    <a:lnTo>
                      <a:pt x="664" y="386"/>
                    </a:lnTo>
                    <a:lnTo>
                      <a:pt x="664" y="388"/>
                    </a:lnTo>
                    <a:lnTo>
                      <a:pt x="666" y="388"/>
                    </a:lnTo>
                    <a:lnTo>
                      <a:pt x="666" y="390"/>
                    </a:lnTo>
                    <a:lnTo>
                      <a:pt x="667" y="390"/>
                    </a:lnTo>
                    <a:lnTo>
                      <a:pt x="669" y="391"/>
                    </a:lnTo>
                    <a:lnTo>
                      <a:pt x="669" y="393"/>
                    </a:lnTo>
                    <a:lnTo>
                      <a:pt x="669" y="394"/>
                    </a:lnTo>
                    <a:lnTo>
                      <a:pt x="670" y="396"/>
                    </a:lnTo>
                    <a:lnTo>
                      <a:pt x="670" y="397"/>
                    </a:lnTo>
                    <a:lnTo>
                      <a:pt x="670" y="399"/>
                    </a:lnTo>
                    <a:lnTo>
                      <a:pt x="670" y="401"/>
                    </a:lnTo>
                    <a:lnTo>
                      <a:pt x="670" y="402"/>
                    </a:lnTo>
                    <a:lnTo>
                      <a:pt x="670" y="404"/>
                    </a:lnTo>
                    <a:lnTo>
                      <a:pt x="670" y="405"/>
                    </a:lnTo>
                    <a:lnTo>
                      <a:pt x="670" y="407"/>
                    </a:lnTo>
                    <a:lnTo>
                      <a:pt x="670" y="409"/>
                    </a:lnTo>
                    <a:lnTo>
                      <a:pt x="670" y="410"/>
                    </a:lnTo>
                    <a:lnTo>
                      <a:pt x="670" y="412"/>
                    </a:lnTo>
                    <a:lnTo>
                      <a:pt x="669" y="413"/>
                    </a:lnTo>
                    <a:lnTo>
                      <a:pt x="669" y="415"/>
                    </a:lnTo>
                    <a:lnTo>
                      <a:pt x="667" y="415"/>
                    </a:lnTo>
                    <a:lnTo>
                      <a:pt x="667" y="416"/>
                    </a:lnTo>
                    <a:lnTo>
                      <a:pt x="667" y="418"/>
                    </a:lnTo>
                    <a:lnTo>
                      <a:pt x="666" y="418"/>
                    </a:lnTo>
                    <a:lnTo>
                      <a:pt x="664" y="418"/>
                    </a:lnTo>
                    <a:lnTo>
                      <a:pt x="663" y="418"/>
                    </a:lnTo>
                    <a:lnTo>
                      <a:pt x="661" y="420"/>
                    </a:lnTo>
                    <a:lnTo>
                      <a:pt x="659" y="420"/>
                    </a:lnTo>
                    <a:lnTo>
                      <a:pt x="658" y="420"/>
                    </a:lnTo>
                    <a:lnTo>
                      <a:pt x="658" y="418"/>
                    </a:lnTo>
                    <a:lnTo>
                      <a:pt x="656" y="418"/>
                    </a:lnTo>
                    <a:lnTo>
                      <a:pt x="655" y="418"/>
                    </a:lnTo>
                    <a:lnTo>
                      <a:pt x="653" y="418"/>
                    </a:lnTo>
                    <a:lnTo>
                      <a:pt x="653" y="420"/>
                    </a:lnTo>
                    <a:lnTo>
                      <a:pt x="651" y="420"/>
                    </a:lnTo>
                    <a:lnTo>
                      <a:pt x="651" y="421"/>
                    </a:lnTo>
                    <a:lnTo>
                      <a:pt x="650" y="421"/>
                    </a:lnTo>
                    <a:lnTo>
                      <a:pt x="650" y="423"/>
                    </a:lnTo>
                    <a:lnTo>
                      <a:pt x="648" y="423"/>
                    </a:lnTo>
                    <a:lnTo>
                      <a:pt x="648" y="424"/>
                    </a:lnTo>
                    <a:lnTo>
                      <a:pt x="647" y="424"/>
                    </a:lnTo>
                    <a:lnTo>
                      <a:pt x="647" y="426"/>
                    </a:lnTo>
                    <a:lnTo>
                      <a:pt x="645" y="426"/>
                    </a:lnTo>
                    <a:lnTo>
                      <a:pt x="644" y="428"/>
                    </a:lnTo>
                    <a:lnTo>
                      <a:pt x="642" y="428"/>
                    </a:lnTo>
                    <a:lnTo>
                      <a:pt x="642" y="429"/>
                    </a:lnTo>
                    <a:lnTo>
                      <a:pt x="640" y="429"/>
                    </a:lnTo>
                    <a:lnTo>
                      <a:pt x="639" y="429"/>
                    </a:lnTo>
                    <a:lnTo>
                      <a:pt x="637" y="429"/>
                    </a:lnTo>
                    <a:lnTo>
                      <a:pt x="637" y="431"/>
                    </a:lnTo>
                    <a:lnTo>
                      <a:pt x="636" y="431"/>
                    </a:lnTo>
                    <a:lnTo>
                      <a:pt x="634" y="431"/>
                    </a:lnTo>
                    <a:lnTo>
                      <a:pt x="632" y="431"/>
                    </a:lnTo>
                    <a:lnTo>
                      <a:pt x="631" y="431"/>
                    </a:lnTo>
                    <a:lnTo>
                      <a:pt x="629" y="431"/>
                    </a:lnTo>
                    <a:lnTo>
                      <a:pt x="629" y="429"/>
                    </a:lnTo>
                    <a:lnTo>
                      <a:pt x="628" y="428"/>
                    </a:lnTo>
                    <a:lnTo>
                      <a:pt x="626" y="428"/>
                    </a:lnTo>
                    <a:lnTo>
                      <a:pt x="625" y="426"/>
                    </a:lnTo>
                    <a:lnTo>
                      <a:pt x="625" y="424"/>
                    </a:lnTo>
                    <a:lnTo>
                      <a:pt x="623" y="424"/>
                    </a:lnTo>
                    <a:lnTo>
                      <a:pt x="623" y="423"/>
                    </a:lnTo>
                    <a:lnTo>
                      <a:pt x="621" y="423"/>
                    </a:lnTo>
                    <a:lnTo>
                      <a:pt x="621" y="424"/>
                    </a:lnTo>
                    <a:lnTo>
                      <a:pt x="620" y="424"/>
                    </a:lnTo>
                    <a:lnTo>
                      <a:pt x="620" y="423"/>
                    </a:lnTo>
                    <a:lnTo>
                      <a:pt x="618" y="423"/>
                    </a:lnTo>
                    <a:lnTo>
                      <a:pt x="618" y="421"/>
                    </a:lnTo>
                    <a:lnTo>
                      <a:pt x="617" y="421"/>
                    </a:lnTo>
                    <a:lnTo>
                      <a:pt x="617" y="423"/>
                    </a:lnTo>
                    <a:lnTo>
                      <a:pt x="615" y="423"/>
                    </a:lnTo>
                    <a:lnTo>
                      <a:pt x="615" y="424"/>
                    </a:lnTo>
                    <a:lnTo>
                      <a:pt x="613" y="424"/>
                    </a:lnTo>
                    <a:lnTo>
                      <a:pt x="613" y="426"/>
                    </a:lnTo>
                    <a:lnTo>
                      <a:pt x="612" y="426"/>
                    </a:lnTo>
                    <a:lnTo>
                      <a:pt x="610" y="428"/>
                    </a:lnTo>
                    <a:lnTo>
                      <a:pt x="609" y="428"/>
                    </a:lnTo>
                    <a:lnTo>
                      <a:pt x="609" y="429"/>
                    </a:lnTo>
                    <a:lnTo>
                      <a:pt x="607" y="429"/>
                    </a:lnTo>
                    <a:lnTo>
                      <a:pt x="605" y="429"/>
                    </a:lnTo>
                    <a:lnTo>
                      <a:pt x="605" y="431"/>
                    </a:lnTo>
                    <a:lnTo>
                      <a:pt x="604" y="431"/>
                    </a:lnTo>
                    <a:lnTo>
                      <a:pt x="602" y="431"/>
                    </a:lnTo>
                    <a:lnTo>
                      <a:pt x="601" y="431"/>
                    </a:lnTo>
                    <a:lnTo>
                      <a:pt x="599" y="432"/>
                    </a:lnTo>
                    <a:lnTo>
                      <a:pt x="598" y="432"/>
                    </a:lnTo>
                    <a:lnTo>
                      <a:pt x="596" y="432"/>
                    </a:lnTo>
                    <a:lnTo>
                      <a:pt x="596" y="434"/>
                    </a:lnTo>
                    <a:lnTo>
                      <a:pt x="594" y="435"/>
                    </a:lnTo>
                    <a:lnTo>
                      <a:pt x="594" y="437"/>
                    </a:lnTo>
                    <a:lnTo>
                      <a:pt x="593" y="437"/>
                    </a:lnTo>
                    <a:lnTo>
                      <a:pt x="593" y="439"/>
                    </a:lnTo>
                    <a:lnTo>
                      <a:pt x="593" y="440"/>
                    </a:lnTo>
                    <a:lnTo>
                      <a:pt x="591" y="440"/>
                    </a:lnTo>
                    <a:lnTo>
                      <a:pt x="591" y="442"/>
                    </a:lnTo>
                    <a:lnTo>
                      <a:pt x="579" y="443"/>
                    </a:lnTo>
                    <a:lnTo>
                      <a:pt x="579" y="445"/>
                    </a:lnTo>
                    <a:lnTo>
                      <a:pt x="577" y="445"/>
                    </a:lnTo>
                    <a:lnTo>
                      <a:pt x="577" y="447"/>
                    </a:lnTo>
                    <a:lnTo>
                      <a:pt x="577" y="448"/>
                    </a:lnTo>
                    <a:lnTo>
                      <a:pt x="577" y="450"/>
                    </a:lnTo>
                    <a:lnTo>
                      <a:pt x="577" y="451"/>
                    </a:lnTo>
                    <a:lnTo>
                      <a:pt x="577" y="453"/>
                    </a:lnTo>
                    <a:lnTo>
                      <a:pt x="577" y="454"/>
                    </a:lnTo>
                    <a:lnTo>
                      <a:pt x="577" y="456"/>
                    </a:lnTo>
                    <a:lnTo>
                      <a:pt x="577" y="458"/>
                    </a:lnTo>
                    <a:lnTo>
                      <a:pt x="577" y="459"/>
                    </a:lnTo>
                    <a:lnTo>
                      <a:pt x="577" y="461"/>
                    </a:lnTo>
                    <a:lnTo>
                      <a:pt x="579" y="461"/>
                    </a:lnTo>
                    <a:lnTo>
                      <a:pt x="579" y="462"/>
                    </a:lnTo>
                    <a:lnTo>
                      <a:pt x="580" y="462"/>
                    </a:lnTo>
                    <a:lnTo>
                      <a:pt x="580" y="464"/>
                    </a:lnTo>
                    <a:lnTo>
                      <a:pt x="580" y="466"/>
                    </a:lnTo>
                    <a:lnTo>
                      <a:pt x="580" y="467"/>
                    </a:lnTo>
                    <a:lnTo>
                      <a:pt x="580" y="469"/>
                    </a:lnTo>
                    <a:lnTo>
                      <a:pt x="582" y="470"/>
                    </a:lnTo>
                    <a:lnTo>
                      <a:pt x="582" y="472"/>
                    </a:lnTo>
                    <a:lnTo>
                      <a:pt x="582" y="473"/>
                    </a:lnTo>
                    <a:lnTo>
                      <a:pt x="582" y="475"/>
                    </a:lnTo>
                    <a:lnTo>
                      <a:pt x="582" y="477"/>
                    </a:lnTo>
                    <a:lnTo>
                      <a:pt x="583" y="478"/>
                    </a:lnTo>
                    <a:lnTo>
                      <a:pt x="583" y="480"/>
                    </a:lnTo>
                    <a:lnTo>
                      <a:pt x="583" y="481"/>
                    </a:lnTo>
                    <a:lnTo>
                      <a:pt x="583" y="483"/>
                    </a:lnTo>
                    <a:lnTo>
                      <a:pt x="583" y="485"/>
                    </a:lnTo>
                    <a:lnTo>
                      <a:pt x="585" y="485"/>
                    </a:lnTo>
                    <a:lnTo>
                      <a:pt x="585" y="486"/>
                    </a:lnTo>
                    <a:lnTo>
                      <a:pt x="586" y="486"/>
                    </a:lnTo>
                    <a:lnTo>
                      <a:pt x="586" y="488"/>
                    </a:lnTo>
                    <a:lnTo>
                      <a:pt x="588" y="488"/>
                    </a:lnTo>
                    <a:lnTo>
                      <a:pt x="588" y="489"/>
                    </a:lnTo>
                    <a:lnTo>
                      <a:pt x="586" y="491"/>
                    </a:lnTo>
                    <a:lnTo>
                      <a:pt x="586" y="489"/>
                    </a:lnTo>
                    <a:lnTo>
                      <a:pt x="585" y="491"/>
                    </a:lnTo>
                    <a:lnTo>
                      <a:pt x="585" y="492"/>
                    </a:lnTo>
                    <a:lnTo>
                      <a:pt x="585" y="494"/>
                    </a:lnTo>
                    <a:lnTo>
                      <a:pt x="585" y="496"/>
                    </a:lnTo>
                    <a:lnTo>
                      <a:pt x="585" y="497"/>
                    </a:lnTo>
                    <a:lnTo>
                      <a:pt x="585" y="499"/>
                    </a:lnTo>
                    <a:lnTo>
                      <a:pt x="583" y="499"/>
                    </a:lnTo>
                    <a:lnTo>
                      <a:pt x="583" y="500"/>
                    </a:lnTo>
                    <a:lnTo>
                      <a:pt x="583" y="502"/>
                    </a:lnTo>
                    <a:lnTo>
                      <a:pt x="583" y="504"/>
                    </a:lnTo>
                    <a:lnTo>
                      <a:pt x="582" y="505"/>
                    </a:lnTo>
                    <a:lnTo>
                      <a:pt x="582" y="507"/>
                    </a:lnTo>
                    <a:lnTo>
                      <a:pt x="582" y="508"/>
                    </a:lnTo>
                    <a:lnTo>
                      <a:pt x="580" y="508"/>
                    </a:lnTo>
                    <a:lnTo>
                      <a:pt x="580" y="510"/>
                    </a:lnTo>
                    <a:lnTo>
                      <a:pt x="579" y="511"/>
                    </a:lnTo>
                    <a:lnTo>
                      <a:pt x="579" y="513"/>
                    </a:lnTo>
                    <a:lnTo>
                      <a:pt x="579" y="515"/>
                    </a:lnTo>
                    <a:lnTo>
                      <a:pt x="579" y="516"/>
                    </a:lnTo>
                    <a:lnTo>
                      <a:pt x="579" y="518"/>
                    </a:lnTo>
                    <a:lnTo>
                      <a:pt x="579" y="519"/>
                    </a:lnTo>
                    <a:lnTo>
                      <a:pt x="577" y="521"/>
                    </a:lnTo>
                    <a:lnTo>
                      <a:pt x="575" y="521"/>
                    </a:lnTo>
                    <a:lnTo>
                      <a:pt x="575" y="523"/>
                    </a:lnTo>
                    <a:lnTo>
                      <a:pt x="574" y="523"/>
                    </a:lnTo>
                    <a:lnTo>
                      <a:pt x="572" y="523"/>
                    </a:lnTo>
                    <a:lnTo>
                      <a:pt x="572" y="524"/>
                    </a:lnTo>
                    <a:lnTo>
                      <a:pt x="572" y="526"/>
                    </a:lnTo>
                    <a:lnTo>
                      <a:pt x="574" y="526"/>
                    </a:lnTo>
                    <a:lnTo>
                      <a:pt x="574" y="527"/>
                    </a:lnTo>
                    <a:lnTo>
                      <a:pt x="574" y="529"/>
                    </a:lnTo>
                    <a:lnTo>
                      <a:pt x="574" y="530"/>
                    </a:lnTo>
                    <a:lnTo>
                      <a:pt x="572" y="532"/>
                    </a:lnTo>
                    <a:lnTo>
                      <a:pt x="572" y="534"/>
                    </a:lnTo>
                    <a:lnTo>
                      <a:pt x="572" y="535"/>
                    </a:lnTo>
                    <a:lnTo>
                      <a:pt x="572" y="537"/>
                    </a:lnTo>
                    <a:lnTo>
                      <a:pt x="572" y="538"/>
                    </a:lnTo>
                    <a:lnTo>
                      <a:pt x="571" y="540"/>
                    </a:lnTo>
                    <a:lnTo>
                      <a:pt x="572" y="543"/>
                    </a:lnTo>
                    <a:lnTo>
                      <a:pt x="572" y="545"/>
                    </a:lnTo>
                    <a:lnTo>
                      <a:pt x="571" y="546"/>
                    </a:lnTo>
                    <a:lnTo>
                      <a:pt x="571" y="548"/>
                    </a:lnTo>
                    <a:lnTo>
                      <a:pt x="572" y="548"/>
                    </a:lnTo>
                    <a:lnTo>
                      <a:pt x="572" y="550"/>
                    </a:lnTo>
                    <a:lnTo>
                      <a:pt x="572" y="551"/>
                    </a:lnTo>
                    <a:lnTo>
                      <a:pt x="572" y="553"/>
                    </a:lnTo>
                    <a:lnTo>
                      <a:pt x="572" y="554"/>
                    </a:lnTo>
                    <a:lnTo>
                      <a:pt x="571" y="556"/>
                    </a:lnTo>
                    <a:lnTo>
                      <a:pt x="569" y="556"/>
                    </a:lnTo>
                    <a:lnTo>
                      <a:pt x="569" y="557"/>
                    </a:lnTo>
                    <a:lnTo>
                      <a:pt x="567" y="557"/>
                    </a:lnTo>
                    <a:lnTo>
                      <a:pt x="567" y="559"/>
                    </a:lnTo>
                    <a:lnTo>
                      <a:pt x="566" y="559"/>
                    </a:lnTo>
                    <a:lnTo>
                      <a:pt x="564" y="561"/>
                    </a:lnTo>
                    <a:lnTo>
                      <a:pt x="563" y="561"/>
                    </a:lnTo>
                    <a:lnTo>
                      <a:pt x="561" y="561"/>
                    </a:lnTo>
                    <a:lnTo>
                      <a:pt x="560" y="561"/>
                    </a:lnTo>
                    <a:lnTo>
                      <a:pt x="560" y="562"/>
                    </a:lnTo>
                    <a:lnTo>
                      <a:pt x="558" y="562"/>
                    </a:lnTo>
                    <a:lnTo>
                      <a:pt x="558" y="564"/>
                    </a:lnTo>
                    <a:lnTo>
                      <a:pt x="556" y="565"/>
                    </a:lnTo>
                    <a:lnTo>
                      <a:pt x="556" y="567"/>
                    </a:lnTo>
                    <a:lnTo>
                      <a:pt x="556" y="569"/>
                    </a:lnTo>
                    <a:lnTo>
                      <a:pt x="556" y="570"/>
                    </a:lnTo>
                    <a:lnTo>
                      <a:pt x="556" y="572"/>
                    </a:lnTo>
                    <a:lnTo>
                      <a:pt x="556" y="573"/>
                    </a:lnTo>
                    <a:lnTo>
                      <a:pt x="555" y="573"/>
                    </a:lnTo>
                    <a:lnTo>
                      <a:pt x="555" y="575"/>
                    </a:lnTo>
                    <a:lnTo>
                      <a:pt x="555" y="576"/>
                    </a:lnTo>
                    <a:lnTo>
                      <a:pt x="555" y="578"/>
                    </a:lnTo>
                    <a:lnTo>
                      <a:pt x="555" y="580"/>
                    </a:lnTo>
                    <a:lnTo>
                      <a:pt x="555" y="581"/>
                    </a:lnTo>
                    <a:lnTo>
                      <a:pt x="553" y="581"/>
                    </a:lnTo>
                    <a:lnTo>
                      <a:pt x="553" y="583"/>
                    </a:lnTo>
                    <a:lnTo>
                      <a:pt x="553" y="584"/>
                    </a:lnTo>
                    <a:lnTo>
                      <a:pt x="553" y="586"/>
                    </a:lnTo>
                    <a:lnTo>
                      <a:pt x="552" y="588"/>
                    </a:lnTo>
                    <a:lnTo>
                      <a:pt x="552" y="589"/>
                    </a:lnTo>
                    <a:lnTo>
                      <a:pt x="552" y="591"/>
                    </a:lnTo>
                    <a:lnTo>
                      <a:pt x="552" y="592"/>
                    </a:lnTo>
                    <a:lnTo>
                      <a:pt x="550" y="594"/>
                    </a:lnTo>
                    <a:lnTo>
                      <a:pt x="548" y="594"/>
                    </a:lnTo>
                    <a:lnTo>
                      <a:pt x="548" y="595"/>
                    </a:lnTo>
                    <a:lnTo>
                      <a:pt x="547" y="597"/>
                    </a:lnTo>
                    <a:lnTo>
                      <a:pt x="545" y="597"/>
                    </a:lnTo>
                    <a:lnTo>
                      <a:pt x="544" y="597"/>
                    </a:lnTo>
                    <a:lnTo>
                      <a:pt x="542" y="599"/>
                    </a:lnTo>
                    <a:lnTo>
                      <a:pt x="541" y="599"/>
                    </a:lnTo>
                    <a:lnTo>
                      <a:pt x="539" y="599"/>
                    </a:lnTo>
                    <a:lnTo>
                      <a:pt x="537" y="599"/>
                    </a:lnTo>
                    <a:lnTo>
                      <a:pt x="536" y="599"/>
                    </a:lnTo>
                    <a:lnTo>
                      <a:pt x="534" y="599"/>
                    </a:lnTo>
                    <a:lnTo>
                      <a:pt x="534" y="597"/>
                    </a:lnTo>
                    <a:lnTo>
                      <a:pt x="533" y="597"/>
                    </a:lnTo>
                    <a:lnTo>
                      <a:pt x="531" y="597"/>
                    </a:lnTo>
                    <a:lnTo>
                      <a:pt x="529" y="597"/>
                    </a:lnTo>
                    <a:lnTo>
                      <a:pt x="528" y="597"/>
                    </a:lnTo>
                    <a:lnTo>
                      <a:pt x="528" y="599"/>
                    </a:lnTo>
                    <a:lnTo>
                      <a:pt x="526" y="599"/>
                    </a:lnTo>
                    <a:lnTo>
                      <a:pt x="525" y="600"/>
                    </a:lnTo>
                    <a:lnTo>
                      <a:pt x="523" y="602"/>
                    </a:lnTo>
                    <a:lnTo>
                      <a:pt x="522" y="603"/>
                    </a:lnTo>
                    <a:lnTo>
                      <a:pt x="520" y="605"/>
                    </a:lnTo>
                    <a:lnTo>
                      <a:pt x="518" y="605"/>
                    </a:lnTo>
                    <a:lnTo>
                      <a:pt x="517" y="605"/>
                    </a:lnTo>
                    <a:lnTo>
                      <a:pt x="515" y="605"/>
                    </a:lnTo>
                    <a:lnTo>
                      <a:pt x="514" y="605"/>
                    </a:lnTo>
                    <a:lnTo>
                      <a:pt x="512" y="603"/>
                    </a:lnTo>
                    <a:lnTo>
                      <a:pt x="510" y="603"/>
                    </a:lnTo>
                    <a:lnTo>
                      <a:pt x="509" y="603"/>
                    </a:lnTo>
                    <a:lnTo>
                      <a:pt x="507" y="603"/>
                    </a:lnTo>
                    <a:lnTo>
                      <a:pt x="507" y="602"/>
                    </a:lnTo>
                    <a:lnTo>
                      <a:pt x="506" y="602"/>
                    </a:lnTo>
                    <a:lnTo>
                      <a:pt x="504" y="602"/>
                    </a:lnTo>
                    <a:lnTo>
                      <a:pt x="503" y="602"/>
                    </a:lnTo>
                    <a:lnTo>
                      <a:pt x="501" y="600"/>
                    </a:lnTo>
                    <a:lnTo>
                      <a:pt x="499" y="600"/>
                    </a:lnTo>
                    <a:lnTo>
                      <a:pt x="498" y="600"/>
                    </a:lnTo>
                    <a:lnTo>
                      <a:pt x="496" y="600"/>
                    </a:lnTo>
                    <a:lnTo>
                      <a:pt x="495" y="600"/>
                    </a:lnTo>
                    <a:lnTo>
                      <a:pt x="493" y="600"/>
                    </a:lnTo>
                    <a:lnTo>
                      <a:pt x="491" y="600"/>
                    </a:lnTo>
                    <a:lnTo>
                      <a:pt x="490" y="600"/>
                    </a:lnTo>
                    <a:lnTo>
                      <a:pt x="488" y="600"/>
                    </a:lnTo>
                    <a:lnTo>
                      <a:pt x="487" y="600"/>
                    </a:lnTo>
                    <a:lnTo>
                      <a:pt x="487" y="602"/>
                    </a:lnTo>
                    <a:lnTo>
                      <a:pt x="485" y="602"/>
                    </a:lnTo>
                    <a:lnTo>
                      <a:pt x="485" y="603"/>
                    </a:lnTo>
                    <a:lnTo>
                      <a:pt x="484" y="603"/>
                    </a:lnTo>
                    <a:lnTo>
                      <a:pt x="484" y="605"/>
                    </a:lnTo>
                    <a:lnTo>
                      <a:pt x="482" y="605"/>
                    </a:lnTo>
                    <a:lnTo>
                      <a:pt x="482" y="607"/>
                    </a:lnTo>
                    <a:lnTo>
                      <a:pt x="480" y="608"/>
                    </a:lnTo>
                    <a:lnTo>
                      <a:pt x="480" y="610"/>
                    </a:lnTo>
                    <a:lnTo>
                      <a:pt x="479" y="611"/>
                    </a:lnTo>
                    <a:lnTo>
                      <a:pt x="479" y="613"/>
                    </a:lnTo>
                    <a:lnTo>
                      <a:pt x="479" y="614"/>
                    </a:lnTo>
                    <a:lnTo>
                      <a:pt x="477" y="616"/>
                    </a:lnTo>
                    <a:lnTo>
                      <a:pt x="477" y="618"/>
                    </a:lnTo>
                    <a:lnTo>
                      <a:pt x="477" y="619"/>
                    </a:lnTo>
                    <a:lnTo>
                      <a:pt x="476" y="621"/>
                    </a:lnTo>
                    <a:lnTo>
                      <a:pt x="476" y="622"/>
                    </a:lnTo>
                    <a:lnTo>
                      <a:pt x="476" y="624"/>
                    </a:lnTo>
                    <a:lnTo>
                      <a:pt x="474" y="624"/>
                    </a:lnTo>
                    <a:lnTo>
                      <a:pt x="474" y="626"/>
                    </a:lnTo>
                    <a:lnTo>
                      <a:pt x="472" y="627"/>
                    </a:lnTo>
                    <a:lnTo>
                      <a:pt x="471" y="629"/>
                    </a:lnTo>
                    <a:lnTo>
                      <a:pt x="469" y="630"/>
                    </a:lnTo>
                    <a:lnTo>
                      <a:pt x="468" y="630"/>
                    </a:lnTo>
                    <a:lnTo>
                      <a:pt x="468" y="632"/>
                    </a:lnTo>
                    <a:lnTo>
                      <a:pt x="466" y="632"/>
                    </a:lnTo>
                    <a:lnTo>
                      <a:pt x="466" y="633"/>
                    </a:lnTo>
                    <a:lnTo>
                      <a:pt x="465" y="633"/>
                    </a:lnTo>
                    <a:lnTo>
                      <a:pt x="465" y="635"/>
                    </a:lnTo>
                    <a:lnTo>
                      <a:pt x="465" y="637"/>
                    </a:lnTo>
                    <a:lnTo>
                      <a:pt x="465" y="638"/>
                    </a:lnTo>
                    <a:lnTo>
                      <a:pt x="463" y="638"/>
                    </a:lnTo>
                    <a:lnTo>
                      <a:pt x="463" y="640"/>
                    </a:lnTo>
                    <a:lnTo>
                      <a:pt x="461" y="640"/>
                    </a:lnTo>
                    <a:lnTo>
                      <a:pt x="460" y="640"/>
                    </a:lnTo>
                    <a:lnTo>
                      <a:pt x="458" y="640"/>
                    </a:lnTo>
                    <a:lnTo>
                      <a:pt x="458" y="638"/>
                    </a:lnTo>
                    <a:lnTo>
                      <a:pt x="457" y="638"/>
                    </a:lnTo>
                    <a:lnTo>
                      <a:pt x="455" y="638"/>
                    </a:lnTo>
                    <a:lnTo>
                      <a:pt x="453" y="638"/>
                    </a:lnTo>
                    <a:lnTo>
                      <a:pt x="452" y="638"/>
                    </a:lnTo>
                    <a:lnTo>
                      <a:pt x="450" y="638"/>
                    </a:lnTo>
                    <a:lnTo>
                      <a:pt x="449" y="638"/>
                    </a:lnTo>
                    <a:lnTo>
                      <a:pt x="447" y="638"/>
                    </a:lnTo>
                    <a:lnTo>
                      <a:pt x="447" y="637"/>
                    </a:lnTo>
                    <a:lnTo>
                      <a:pt x="446" y="635"/>
                    </a:lnTo>
                    <a:lnTo>
                      <a:pt x="444" y="635"/>
                    </a:lnTo>
                    <a:lnTo>
                      <a:pt x="442" y="633"/>
                    </a:lnTo>
                    <a:lnTo>
                      <a:pt x="441" y="632"/>
                    </a:lnTo>
                    <a:lnTo>
                      <a:pt x="439" y="630"/>
                    </a:lnTo>
                    <a:lnTo>
                      <a:pt x="438" y="629"/>
                    </a:lnTo>
                    <a:lnTo>
                      <a:pt x="436" y="627"/>
                    </a:lnTo>
                    <a:lnTo>
                      <a:pt x="434" y="627"/>
                    </a:lnTo>
                    <a:lnTo>
                      <a:pt x="434" y="626"/>
                    </a:lnTo>
                    <a:lnTo>
                      <a:pt x="433" y="626"/>
                    </a:lnTo>
                    <a:lnTo>
                      <a:pt x="431" y="624"/>
                    </a:lnTo>
                    <a:lnTo>
                      <a:pt x="430" y="624"/>
                    </a:lnTo>
                    <a:lnTo>
                      <a:pt x="430" y="626"/>
                    </a:lnTo>
                    <a:lnTo>
                      <a:pt x="428" y="626"/>
                    </a:lnTo>
                    <a:lnTo>
                      <a:pt x="427" y="624"/>
                    </a:lnTo>
                    <a:lnTo>
                      <a:pt x="425" y="624"/>
                    </a:lnTo>
                    <a:lnTo>
                      <a:pt x="423" y="624"/>
                    </a:lnTo>
                    <a:lnTo>
                      <a:pt x="422" y="624"/>
                    </a:lnTo>
                    <a:lnTo>
                      <a:pt x="420" y="624"/>
                    </a:lnTo>
                    <a:lnTo>
                      <a:pt x="419" y="622"/>
                    </a:lnTo>
                    <a:lnTo>
                      <a:pt x="417" y="622"/>
                    </a:lnTo>
                    <a:lnTo>
                      <a:pt x="417" y="621"/>
                    </a:lnTo>
                    <a:lnTo>
                      <a:pt x="415" y="621"/>
                    </a:lnTo>
                    <a:lnTo>
                      <a:pt x="415" y="619"/>
                    </a:lnTo>
                    <a:lnTo>
                      <a:pt x="414" y="618"/>
                    </a:lnTo>
                    <a:lnTo>
                      <a:pt x="414" y="616"/>
                    </a:lnTo>
                    <a:lnTo>
                      <a:pt x="412" y="616"/>
                    </a:lnTo>
                    <a:lnTo>
                      <a:pt x="411" y="616"/>
                    </a:lnTo>
                    <a:lnTo>
                      <a:pt x="409" y="616"/>
                    </a:lnTo>
                    <a:lnTo>
                      <a:pt x="407" y="616"/>
                    </a:lnTo>
                    <a:lnTo>
                      <a:pt x="406" y="614"/>
                    </a:lnTo>
                    <a:lnTo>
                      <a:pt x="404" y="614"/>
                    </a:lnTo>
                    <a:lnTo>
                      <a:pt x="403" y="614"/>
                    </a:lnTo>
                    <a:lnTo>
                      <a:pt x="401" y="614"/>
                    </a:lnTo>
                    <a:lnTo>
                      <a:pt x="400" y="614"/>
                    </a:lnTo>
                    <a:lnTo>
                      <a:pt x="400" y="616"/>
                    </a:lnTo>
                    <a:lnTo>
                      <a:pt x="398" y="616"/>
                    </a:lnTo>
                    <a:lnTo>
                      <a:pt x="396" y="616"/>
                    </a:lnTo>
                    <a:lnTo>
                      <a:pt x="396" y="614"/>
                    </a:lnTo>
                    <a:lnTo>
                      <a:pt x="395" y="614"/>
                    </a:lnTo>
                    <a:lnTo>
                      <a:pt x="395" y="613"/>
                    </a:lnTo>
                    <a:lnTo>
                      <a:pt x="395" y="611"/>
                    </a:lnTo>
                    <a:lnTo>
                      <a:pt x="395" y="610"/>
                    </a:lnTo>
                    <a:lnTo>
                      <a:pt x="395" y="608"/>
                    </a:lnTo>
                    <a:lnTo>
                      <a:pt x="395" y="607"/>
                    </a:lnTo>
                    <a:lnTo>
                      <a:pt x="395" y="605"/>
                    </a:lnTo>
                    <a:lnTo>
                      <a:pt x="395" y="603"/>
                    </a:lnTo>
                    <a:lnTo>
                      <a:pt x="395" y="602"/>
                    </a:lnTo>
                    <a:lnTo>
                      <a:pt x="395" y="600"/>
                    </a:lnTo>
                    <a:lnTo>
                      <a:pt x="393" y="600"/>
                    </a:lnTo>
                    <a:lnTo>
                      <a:pt x="392" y="599"/>
                    </a:lnTo>
                    <a:lnTo>
                      <a:pt x="390" y="597"/>
                    </a:lnTo>
                    <a:lnTo>
                      <a:pt x="388" y="597"/>
                    </a:lnTo>
                    <a:lnTo>
                      <a:pt x="388" y="595"/>
                    </a:lnTo>
                    <a:lnTo>
                      <a:pt x="385" y="594"/>
                    </a:lnTo>
                    <a:lnTo>
                      <a:pt x="385" y="592"/>
                    </a:lnTo>
                    <a:lnTo>
                      <a:pt x="384" y="592"/>
                    </a:lnTo>
                    <a:lnTo>
                      <a:pt x="382" y="591"/>
                    </a:lnTo>
                    <a:lnTo>
                      <a:pt x="381" y="589"/>
                    </a:lnTo>
                    <a:lnTo>
                      <a:pt x="379" y="588"/>
                    </a:lnTo>
                    <a:lnTo>
                      <a:pt x="377" y="586"/>
                    </a:lnTo>
                    <a:lnTo>
                      <a:pt x="376" y="584"/>
                    </a:lnTo>
                    <a:lnTo>
                      <a:pt x="374" y="584"/>
                    </a:lnTo>
                    <a:lnTo>
                      <a:pt x="374" y="583"/>
                    </a:lnTo>
                    <a:lnTo>
                      <a:pt x="373" y="583"/>
                    </a:lnTo>
                    <a:lnTo>
                      <a:pt x="373" y="581"/>
                    </a:lnTo>
                    <a:lnTo>
                      <a:pt x="371" y="581"/>
                    </a:lnTo>
                    <a:lnTo>
                      <a:pt x="371" y="580"/>
                    </a:lnTo>
                    <a:lnTo>
                      <a:pt x="365" y="578"/>
                    </a:lnTo>
                    <a:lnTo>
                      <a:pt x="365" y="580"/>
                    </a:lnTo>
                    <a:lnTo>
                      <a:pt x="365" y="581"/>
                    </a:lnTo>
                    <a:lnTo>
                      <a:pt x="363" y="581"/>
                    </a:lnTo>
                    <a:lnTo>
                      <a:pt x="363" y="583"/>
                    </a:lnTo>
                    <a:lnTo>
                      <a:pt x="362" y="583"/>
                    </a:lnTo>
                    <a:lnTo>
                      <a:pt x="362" y="584"/>
                    </a:lnTo>
                    <a:lnTo>
                      <a:pt x="360" y="584"/>
                    </a:lnTo>
                    <a:lnTo>
                      <a:pt x="358" y="584"/>
                    </a:lnTo>
                    <a:lnTo>
                      <a:pt x="357" y="584"/>
                    </a:lnTo>
                    <a:lnTo>
                      <a:pt x="355" y="584"/>
                    </a:lnTo>
                    <a:lnTo>
                      <a:pt x="354" y="586"/>
                    </a:lnTo>
                    <a:lnTo>
                      <a:pt x="352" y="586"/>
                    </a:lnTo>
                    <a:lnTo>
                      <a:pt x="350" y="586"/>
                    </a:lnTo>
                    <a:lnTo>
                      <a:pt x="349" y="586"/>
                    </a:lnTo>
                    <a:lnTo>
                      <a:pt x="347" y="586"/>
                    </a:lnTo>
                    <a:lnTo>
                      <a:pt x="346" y="586"/>
                    </a:lnTo>
                    <a:lnTo>
                      <a:pt x="346" y="584"/>
                    </a:lnTo>
                    <a:lnTo>
                      <a:pt x="344" y="584"/>
                    </a:lnTo>
                    <a:lnTo>
                      <a:pt x="343" y="584"/>
                    </a:lnTo>
                    <a:lnTo>
                      <a:pt x="343" y="583"/>
                    </a:lnTo>
                    <a:lnTo>
                      <a:pt x="341" y="583"/>
                    </a:lnTo>
                    <a:lnTo>
                      <a:pt x="339" y="581"/>
                    </a:lnTo>
                    <a:lnTo>
                      <a:pt x="338" y="581"/>
                    </a:lnTo>
                    <a:lnTo>
                      <a:pt x="338" y="583"/>
                    </a:lnTo>
                    <a:lnTo>
                      <a:pt x="336" y="584"/>
                    </a:lnTo>
                    <a:lnTo>
                      <a:pt x="336" y="586"/>
                    </a:lnTo>
                    <a:lnTo>
                      <a:pt x="336" y="588"/>
                    </a:lnTo>
                    <a:lnTo>
                      <a:pt x="336" y="589"/>
                    </a:lnTo>
                    <a:lnTo>
                      <a:pt x="335" y="589"/>
                    </a:lnTo>
                    <a:lnTo>
                      <a:pt x="335" y="591"/>
                    </a:lnTo>
                    <a:lnTo>
                      <a:pt x="335" y="592"/>
                    </a:lnTo>
                    <a:lnTo>
                      <a:pt x="333" y="594"/>
                    </a:lnTo>
                    <a:lnTo>
                      <a:pt x="331" y="595"/>
                    </a:lnTo>
                    <a:lnTo>
                      <a:pt x="331" y="597"/>
                    </a:lnTo>
                    <a:lnTo>
                      <a:pt x="330" y="597"/>
                    </a:lnTo>
                    <a:lnTo>
                      <a:pt x="330" y="599"/>
                    </a:lnTo>
                    <a:lnTo>
                      <a:pt x="328" y="599"/>
                    </a:lnTo>
                    <a:lnTo>
                      <a:pt x="327" y="599"/>
                    </a:lnTo>
                    <a:lnTo>
                      <a:pt x="327" y="600"/>
                    </a:lnTo>
                    <a:lnTo>
                      <a:pt x="327" y="602"/>
                    </a:lnTo>
                    <a:lnTo>
                      <a:pt x="325" y="602"/>
                    </a:lnTo>
                    <a:lnTo>
                      <a:pt x="324" y="602"/>
                    </a:lnTo>
                    <a:lnTo>
                      <a:pt x="324" y="603"/>
                    </a:lnTo>
                    <a:lnTo>
                      <a:pt x="322" y="603"/>
                    </a:lnTo>
                    <a:lnTo>
                      <a:pt x="320" y="603"/>
                    </a:lnTo>
                    <a:lnTo>
                      <a:pt x="319" y="603"/>
                    </a:lnTo>
                    <a:lnTo>
                      <a:pt x="317" y="603"/>
                    </a:lnTo>
                    <a:lnTo>
                      <a:pt x="317" y="602"/>
                    </a:lnTo>
                    <a:lnTo>
                      <a:pt x="316" y="600"/>
                    </a:lnTo>
                    <a:lnTo>
                      <a:pt x="314" y="600"/>
                    </a:lnTo>
                    <a:lnTo>
                      <a:pt x="312" y="600"/>
                    </a:lnTo>
                    <a:lnTo>
                      <a:pt x="311" y="600"/>
                    </a:lnTo>
                    <a:lnTo>
                      <a:pt x="309" y="600"/>
                    </a:lnTo>
                    <a:lnTo>
                      <a:pt x="309" y="599"/>
                    </a:lnTo>
                    <a:lnTo>
                      <a:pt x="308" y="599"/>
                    </a:lnTo>
                    <a:lnTo>
                      <a:pt x="308" y="600"/>
                    </a:lnTo>
                    <a:lnTo>
                      <a:pt x="308" y="602"/>
                    </a:lnTo>
                    <a:lnTo>
                      <a:pt x="309" y="602"/>
                    </a:lnTo>
                    <a:lnTo>
                      <a:pt x="309" y="603"/>
                    </a:lnTo>
                    <a:lnTo>
                      <a:pt x="309" y="605"/>
                    </a:lnTo>
                    <a:lnTo>
                      <a:pt x="309" y="607"/>
                    </a:lnTo>
                    <a:lnTo>
                      <a:pt x="309" y="608"/>
                    </a:lnTo>
                    <a:lnTo>
                      <a:pt x="308" y="610"/>
                    </a:lnTo>
                    <a:lnTo>
                      <a:pt x="308" y="611"/>
                    </a:lnTo>
                    <a:lnTo>
                      <a:pt x="308" y="613"/>
                    </a:lnTo>
                    <a:lnTo>
                      <a:pt x="308" y="614"/>
                    </a:lnTo>
                    <a:lnTo>
                      <a:pt x="308" y="616"/>
                    </a:lnTo>
                    <a:lnTo>
                      <a:pt x="306" y="618"/>
                    </a:lnTo>
                    <a:lnTo>
                      <a:pt x="306" y="619"/>
                    </a:lnTo>
                    <a:lnTo>
                      <a:pt x="306" y="621"/>
                    </a:lnTo>
                    <a:lnTo>
                      <a:pt x="305" y="621"/>
                    </a:lnTo>
                    <a:lnTo>
                      <a:pt x="305" y="622"/>
                    </a:lnTo>
                    <a:lnTo>
                      <a:pt x="305" y="624"/>
                    </a:lnTo>
                    <a:lnTo>
                      <a:pt x="305" y="626"/>
                    </a:lnTo>
                    <a:lnTo>
                      <a:pt x="303" y="627"/>
                    </a:lnTo>
                    <a:lnTo>
                      <a:pt x="303" y="629"/>
                    </a:lnTo>
                    <a:lnTo>
                      <a:pt x="303" y="630"/>
                    </a:lnTo>
                    <a:lnTo>
                      <a:pt x="303" y="632"/>
                    </a:lnTo>
                    <a:lnTo>
                      <a:pt x="303" y="633"/>
                    </a:lnTo>
                    <a:lnTo>
                      <a:pt x="305" y="633"/>
                    </a:lnTo>
                    <a:lnTo>
                      <a:pt x="306" y="633"/>
                    </a:lnTo>
                    <a:lnTo>
                      <a:pt x="308" y="633"/>
                    </a:lnTo>
                    <a:lnTo>
                      <a:pt x="309" y="633"/>
                    </a:lnTo>
                    <a:lnTo>
                      <a:pt x="311" y="633"/>
                    </a:lnTo>
                    <a:lnTo>
                      <a:pt x="312" y="633"/>
                    </a:lnTo>
                    <a:lnTo>
                      <a:pt x="312" y="632"/>
                    </a:lnTo>
                    <a:lnTo>
                      <a:pt x="314" y="632"/>
                    </a:lnTo>
                    <a:lnTo>
                      <a:pt x="314" y="633"/>
                    </a:lnTo>
                    <a:lnTo>
                      <a:pt x="314" y="635"/>
                    </a:lnTo>
                    <a:lnTo>
                      <a:pt x="312" y="637"/>
                    </a:lnTo>
                    <a:lnTo>
                      <a:pt x="312" y="638"/>
                    </a:lnTo>
                    <a:lnTo>
                      <a:pt x="312" y="640"/>
                    </a:lnTo>
                    <a:lnTo>
                      <a:pt x="312" y="641"/>
                    </a:lnTo>
                    <a:lnTo>
                      <a:pt x="312" y="643"/>
                    </a:lnTo>
                    <a:lnTo>
                      <a:pt x="312" y="645"/>
                    </a:lnTo>
                    <a:lnTo>
                      <a:pt x="312" y="646"/>
                    </a:lnTo>
                    <a:lnTo>
                      <a:pt x="312" y="648"/>
                    </a:lnTo>
                    <a:lnTo>
                      <a:pt x="311" y="648"/>
                    </a:lnTo>
                    <a:lnTo>
                      <a:pt x="311" y="646"/>
                    </a:lnTo>
                    <a:lnTo>
                      <a:pt x="309" y="646"/>
                    </a:lnTo>
                    <a:lnTo>
                      <a:pt x="308" y="646"/>
                    </a:lnTo>
                    <a:lnTo>
                      <a:pt x="306" y="646"/>
                    </a:lnTo>
                    <a:lnTo>
                      <a:pt x="305" y="645"/>
                    </a:lnTo>
                    <a:lnTo>
                      <a:pt x="303" y="645"/>
                    </a:lnTo>
                    <a:lnTo>
                      <a:pt x="301" y="645"/>
                    </a:lnTo>
                    <a:lnTo>
                      <a:pt x="301" y="643"/>
                    </a:lnTo>
                    <a:lnTo>
                      <a:pt x="300" y="643"/>
                    </a:lnTo>
                    <a:lnTo>
                      <a:pt x="298" y="641"/>
                    </a:lnTo>
                    <a:lnTo>
                      <a:pt x="297" y="640"/>
                    </a:lnTo>
                    <a:lnTo>
                      <a:pt x="297" y="638"/>
                    </a:lnTo>
                    <a:lnTo>
                      <a:pt x="295" y="638"/>
                    </a:lnTo>
                    <a:lnTo>
                      <a:pt x="293" y="638"/>
                    </a:lnTo>
                    <a:lnTo>
                      <a:pt x="292" y="637"/>
                    </a:lnTo>
                    <a:lnTo>
                      <a:pt x="290" y="637"/>
                    </a:lnTo>
                    <a:lnTo>
                      <a:pt x="290" y="635"/>
                    </a:lnTo>
                    <a:lnTo>
                      <a:pt x="289" y="635"/>
                    </a:lnTo>
                    <a:lnTo>
                      <a:pt x="287" y="633"/>
                    </a:lnTo>
                    <a:lnTo>
                      <a:pt x="286" y="633"/>
                    </a:lnTo>
                    <a:lnTo>
                      <a:pt x="286" y="632"/>
                    </a:lnTo>
                    <a:lnTo>
                      <a:pt x="284" y="632"/>
                    </a:lnTo>
                    <a:lnTo>
                      <a:pt x="284" y="630"/>
                    </a:lnTo>
                    <a:lnTo>
                      <a:pt x="282" y="630"/>
                    </a:lnTo>
                    <a:lnTo>
                      <a:pt x="281" y="629"/>
                    </a:lnTo>
                    <a:lnTo>
                      <a:pt x="279" y="629"/>
                    </a:lnTo>
                    <a:lnTo>
                      <a:pt x="279" y="627"/>
                    </a:lnTo>
                    <a:lnTo>
                      <a:pt x="278" y="627"/>
                    </a:lnTo>
                    <a:lnTo>
                      <a:pt x="278" y="626"/>
                    </a:lnTo>
                    <a:lnTo>
                      <a:pt x="276" y="626"/>
                    </a:lnTo>
                    <a:lnTo>
                      <a:pt x="274" y="626"/>
                    </a:lnTo>
                    <a:lnTo>
                      <a:pt x="273" y="626"/>
                    </a:lnTo>
                    <a:lnTo>
                      <a:pt x="271" y="624"/>
                    </a:lnTo>
                    <a:lnTo>
                      <a:pt x="270" y="624"/>
                    </a:lnTo>
                    <a:lnTo>
                      <a:pt x="268" y="624"/>
                    </a:lnTo>
                    <a:lnTo>
                      <a:pt x="267" y="624"/>
                    </a:lnTo>
                    <a:lnTo>
                      <a:pt x="267" y="622"/>
                    </a:lnTo>
                    <a:lnTo>
                      <a:pt x="265" y="622"/>
                    </a:lnTo>
                    <a:lnTo>
                      <a:pt x="265" y="621"/>
                    </a:lnTo>
                    <a:lnTo>
                      <a:pt x="263" y="621"/>
                    </a:lnTo>
                    <a:lnTo>
                      <a:pt x="263" y="619"/>
                    </a:lnTo>
                    <a:lnTo>
                      <a:pt x="262" y="619"/>
                    </a:lnTo>
                    <a:lnTo>
                      <a:pt x="262" y="618"/>
                    </a:lnTo>
                    <a:lnTo>
                      <a:pt x="262" y="616"/>
                    </a:lnTo>
                    <a:lnTo>
                      <a:pt x="260" y="614"/>
                    </a:lnTo>
                    <a:lnTo>
                      <a:pt x="262" y="613"/>
                    </a:lnTo>
                    <a:lnTo>
                      <a:pt x="262" y="611"/>
                    </a:lnTo>
                    <a:lnTo>
                      <a:pt x="262" y="610"/>
                    </a:lnTo>
                    <a:lnTo>
                      <a:pt x="263" y="610"/>
                    </a:lnTo>
                    <a:lnTo>
                      <a:pt x="263" y="608"/>
                    </a:lnTo>
                    <a:lnTo>
                      <a:pt x="263" y="607"/>
                    </a:lnTo>
                    <a:lnTo>
                      <a:pt x="263" y="605"/>
                    </a:lnTo>
                    <a:lnTo>
                      <a:pt x="263" y="603"/>
                    </a:lnTo>
                    <a:lnTo>
                      <a:pt x="265" y="602"/>
                    </a:lnTo>
                    <a:lnTo>
                      <a:pt x="265" y="600"/>
                    </a:lnTo>
                    <a:lnTo>
                      <a:pt x="265" y="599"/>
                    </a:lnTo>
                    <a:lnTo>
                      <a:pt x="267" y="599"/>
                    </a:lnTo>
                    <a:lnTo>
                      <a:pt x="267" y="597"/>
                    </a:lnTo>
                    <a:lnTo>
                      <a:pt x="267" y="595"/>
                    </a:lnTo>
                    <a:lnTo>
                      <a:pt x="267" y="594"/>
                    </a:lnTo>
                    <a:lnTo>
                      <a:pt x="267" y="592"/>
                    </a:lnTo>
                    <a:lnTo>
                      <a:pt x="265" y="592"/>
                    </a:lnTo>
                    <a:lnTo>
                      <a:pt x="267" y="591"/>
                    </a:lnTo>
                    <a:lnTo>
                      <a:pt x="267" y="589"/>
                    </a:lnTo>
                    <a:lnTo>
                      <a:pt x="267" y="588"/>
                    </a:lnTo>
                    <a:lnTo>
                      <a:pt x="267" y="586"/>
                    </a:lnTo>
                    <a:lnTo>
                      <a:pt x="265" y="586"/>
                    </a:lnTo>
                    <a:lnTo>
                      <a:pt x="265" y="584"/>
                    </a:lnTo>
                    <a:lnTo>
                      <a:pt x="265" y="583"/>
                    </a:lnTo>
                    <a:lnTo>
                      <a:pt x="265" y="581"/>
                    </a:lnTo>
                    <a:lnTo>
                      <a:pt x="263" y="581"/>
                    </a:lnTo>
                    <a:lnTo>
                      <a:pt x="263" y="580"/>
                    </a:lnTo>
                    <a:lnTo>
                      <a:pt x="263" y="578"/>
                    </a:lnTo>
                    <a:lnTo>
                      <a:pt x="263" y="576"/>
                    </a:lnTo>
                    <a:lnTo>
                      <a:pt x="262" y="575"/>
                    </a:lnTo>
                    <a:lnTo>
                      <a:pt x="262" y="573"/>
                    </a:lnTo>
                    <a:lnTo>
                      <a:pt x="262" y="572"/>
                    </a:lnTo>
                    <a:lnTo>
                      <a:pt x="262" y="570"/>
                    </a:lnTo>
                    <a:lnTo>
                      <a:pt x="262" y="569"/>
                    </a:lnTo>
                    <a:lnTo>
                      <a:pt x="262" y="567"/>
                    </a:lnTo>
                    <a:lnTo>
                      <a:pt x="262" y="565"/>
                    </a:lnTo>
                    <a:lnTo>
                      <a:pt x="260" y="564"/>
                    </a:lnTo>
                    <a:lnTo>
                      <a:pt x="259" y="562"/>
                    </a:lnTo>
                    <a:lnTo>
                      <a:pt x="257" y="562"/>
                    </a:lnTo>
                    <a:lnTo>
                      <a:pt x="255" y="562"/>
                    </a:lnTo>
                    <a:lnTo>
                      <a:pt x="254" y="562"/>
                    </a:lnTo>
                    <a:lnTo>
                      <a:pt x="254" y="561"/>
                    </a:lnTo>
                    <a:lnTo>
                      <a:pt x="252" y="562"/>
                    </a:lnTo>
                    <a:lnTo>
                      <a:pt x="251" y="562"/>
                    </a:lnTo>
                    <a:lnTo>
                      <a:pt x="251" y="561"/>
                    </a:lnTo>
                    <a:lnTo>
                      <a:pt x="249" y="562"/>
                    </a:lnTo>
                    <a:lnTo>
                      <a:pt x="248" y="562"/>
                    </a:lnTo>
                    <a:lnTo>
                      <a:pt x="246" y="562"/>
                    </a:lnTo>
                    <a:lnTo>
                      <a:pt x="246" y="564"/>
                    </a:lnTo>
                    <a:lnTo>
                      <a:pt x="244" y="564"/>
                    </a:lnTo>
                    <a:lnTo>
                      <a:pt x="244" y="565"/>
                    </a:lnTo>
                    <a:lnTo>
                      <a:pt x="243" y="565"/>
                    </a:lnTo>
                    <a:lnTo>
                      <a:pt x="243" y="567"/>
                    </a:lnTo>
                    <a:lnTo>
                      <a:pt x="241" y="567"/>
                    </a:lnTo>
                    <a:lnTo>
                      <a:pt x="240" y="569"/>
                    </a:lnTo>
                    <a:lnTo>
                      <a:pt x="238" y="569"/>
                    </a:lnTo>
                    <a:lnTo>
                      <a:pt x="236" y="569"/>
                    </a:lnTo>
                    <a:lnTo>
                      <a:pt x="235" y="569"/>
                    </a:lnTo>
                    <a:lnTo>
                      <a:pt x="233" y="569"/>
                    </a:lnTo>
                    <a:lnTo>
                      <a:pt x="232" y="569"/>
                    </a:lnTo>
                    <a:lnTo>
                      <a:pt x="230" y="569"/>
                    </a:lnTo>
                    <a:lnTo>
                      <a:pt x="230" y="570"/>
                    </a:lnTo>
                    <a:lnTo>
                      <a:pt x="228" y="570"/>
                    </a:lnTo>
                    <a:lnTo>
                      <a:pt x="228" y="572"/>
                    </a:lnTo>
                    <a:lnTo>
                      <a:pt x="227" y="572"/>
                    </a:lnTo>
                    <a:lnTo>
                      <a:pt x="227" y="573"/>
                    </a:lnTo>
                    <a:lnTo>
                      <a:pt x="227" y="575"/>
                    </a:lnTo>
                    <a:lnTo>
                      <a:pt x="225" y="575"/>
                    </a:lnTo>
                    <a:lnTo>
                      <a:pt x="225" y="576"/>
                    </a:lnTo>
                    <a:lnTo>
                      <a:pt x="224" y="576"/>
                    </a:lnTo>
                    <a:lnTo>
                      <a:pt x="224" y="578"/>
                    </a:lnTo>
                    <a:lnTo>
                      <a:pt x="222" y="578"/>
                    </a:lnTo>
                    <a:lnTo>
                      <a:pt x="222" y="580"/>
                    </a:lnTo>
                    <a:lnTo>
                      <a:pt x="221" y="580"/>
                    </a:lnTo>
                    <a:lnTo>
                      <a:pt x="219" y="580"/>
                    </a:lnTo>
                    <a:lnTo>
                      <a:pt x="219" y="581"/>
                    </a:lnTo>
                    <a:lnTo>
                      <a:pt x="217" y="581"/>
                    </a:lnTo>
                    <a:lnTo>
                      <a:pt x="216" y="581"/>
                    </a:lnTo>
                    <a:lnTo>
                      <a:pt x="214" y="581"/>
                    </a:lnTo>
                    <a:lnTo>
                      <a:pt x="213" y="581"/>
                    </a:lnTo>
                    <a:lnTo>
                      <a:pt x="211" y="583"/>
                    </a:lnTo>
                    <a:lnTo>
                      <a:pt x="211" y="584"/>
                    </a:lnTo>
                    <a:lnTo>
                      <a:pt x="209" y="584"/>
                    </a:lnTo>
                    <a:lnTo>
                      <a:pt x="209" y="586"/>
                    </a:lnTo>
                    <a:lnTo>
                      <a:pt x="208" y="588"/>
                    </a:lnTo>
                    <a:lnTo>
                      <a:pt x="208" y="589"/>
                    </a:lnTo>
                    <a:lnTo>
                      <a:pt x="206" y="589"/>
                    </a:lnTo>
                    <a:lnTo>
                      <a:pt x="206" y="591"/>
                    </a:lnTo>
                    <a:lnTo>
                      <a:pt x="206" y="592"/>
                    </a:lnTo>
                    <a:lnTo>
                      <a:pt x="206" y="594"/>
                    </a:lnTo>
                    <a:lnTo>
                      <a:pt x="206" y="595"/>
                    </a:lnTo>
                    <a:lnTo>
                      <a:pt x="205" y="595"/>
                    </a:lnTo>
                    <a:lnTo>
                      <a:pt x="205" y="597"/>
                    </a:lnTo>
                    <a:lnTo>
                      <a:pt x="205" y="599"/>
                    </a:lnTo>
                    <a:lnTo>
                      <a:pt x="205" y="600"/>
                    </a:lnTo>
                    <a:lnTo>
                      <a:pt x="203" y="600"/>
                    </a:lnTo>
                    <a:lnTo>
                      <a:pt x="203" y="602"/>
                    </a:lnTo>
                    <a:lnTo>
                      <a:pt x="202" y="603"/>
                    </a:lnTo>
                    <a:lnTo>
                      <a:pt x="200" y="603"/>
                    </a:lnTo>
                    <a:lnTo>
                      <a:pt x="200" y="602"/>
                    </a:lnTo>
                    <a:lnTo>
                      <a:pt x="198" y="602"/>
                    </a:lnTo>
                    <a:lnTo>
                      <a:pt x="197" y="602"/>
                    </a:lnTo>
                    <a:lnTo>
                      <a:pt x="197" y="600"/>
                    </a:lnTo>
                    <a:lnTo>
                      <a:pt x="195" y="600"/>
                    </a:lnTo>
                    <a:lnTo>
                      <a:pt x="194" y="600"/>
                    </a:lnTo>
                    <a:lnTo>
                      <a:pt x="192" y="600"/>
                    </a:lnTo>
                    <a:lnTo>
                      <a:pt x="190" y="599"/>
                    </a:lnTo>
                    <a:lnTo>
                      <a:pt x="189" y="599"/>
                    </a:lnTo>
                    <a:lnTo>
                      <a:pt x="187" y="599"/>
                    </a:lnTo>
                    <a:lnTo>
                      <a:pt x="187" y="597"/>
                    </a:lnTo>
                    <a:lnTo>
                      <a:pt x="186" y="597"/>
                    </a:lnTo>
                    <a:lnTo>
                      <a:pt x="184" y="595"/>
                    </a:lnTo>
                    <a:lnTo>
                      <a:pt x="183" y="594"/>
                    </a:lnTo>
                    <a:lnTo>
                      <a:pt x="184" y="594"/>
                    </a:lnTo>
                    <a:lnTo>
                      <a:pt x="184" y="592"/>
                    </a:lnTo>
                    <a:lnTo>
                      <a:pt x="184" y="591"/>
                    </a:lnTo>
                    <a:lnTo>
                      <a:pt x="183" y="591"/>
                    </a:lnTo>
                    <a:lnTo>
                      <a:pt x="183" y="589"/>
                    </a:lnTo>
                    <a:lnTo>
                      <a:pt x="183" y="588"/>
                    </a:lnTo>
                    <a:lnTo>
                      <a:pt x="183" y="586"/>
                    </a:lnTo>
                    <a:lnTo>
                      <a:pt x="181" y="586"/>
                    </a:lnTo>
                    <a:lnTo>
                      <a:pt x="181" y="584"/>
                    </a:lnTo>
                    <a:lnTo>
                      <a:pt x="181" y="583"/>
                    </a:lnTo>
                    <a:lnTo>
                      <a:pt x="183" y="583"/>
                    </a:lnTo>
                    <a:lnTo>
                      <a:pt x="183" y="581"/>
                    </a:lnTo>
                    <a:lnTo>
                      <a:pt x="183" y="580"/>
                    </a:lnTo>
                    <a:lnTo>
                      <a:pt x="183" y="578"/>
                    </a:lnTo>
                    <a:lnTo>
                      <a:pt x="181" y="578"/>
                    </a:lnTo>
                    <a:lnTo>
                      <a:pt x="179" y="578"/>
                    </a:lnTo>
                    <a:lnTo>
                      <a:pt x="179" y="576"/>
                    </a:lnTo>
                    <a:lnTo>
                      <a:pt x="178" y="576"/>
                    </a:lnTo>
                    <a:lnTo>
                      <a:pt x="176" y="576"/>
                    </a:lnTo>
                    <a:lnTo>
                      <a:pt x="175" y="575"/>
                    </a:lnTo>
                    <a:lnTo>
                      <a:pt x="173" y="575"/>
                    </a:lnTo>
                    <a:lnTo>
                      <a:pt x="171" y="575"/>
                    </a:lnTo>
                    <a:lnTo>
                      <a:pt x="170" y="573"/>
                    </a:lnTo>
                    <a:lnTo>
                      <a:pt x="168" y="573"/>
                    </a:lnTo>
                    <a:lnTo>
                      <a:pt x="167" y="573"/>
                    </a:lnTo>
                    <a:lnTo>
                      <a:pt x="167" y="575"/>
                    </a:lnTo>
                    <a:lnTo>
                      <a:pt x="165" y="575"/>
                    </a:lnTo>
                    <a:lnTo>
                      <a:pt x="164" y="575"/>
                    </a:lnTo>
                    <a:lnTo>
                      <a:pt x="162" y="575"/>
                    </a:lnTo>
                    <a:lnTo>
                      <a:pt x="160" y="575"/>
                    </a:lnTo>
                    <a:lnTo>
                      <a:pt x="160" y="576"/>
                    </a:lnTo>
                    <a:lnTo>
                      <a:pt x="159" y="576"/>
                    </a:lnTo>
                    <a:lnTo>
                      <a:pt x="159" y="578"/>
                    </a:lnTo>
                    <a:lnTo>
                      <a:pt x="157" y="578"/>
                    </a:lnTo>
                    <a:lnTo>
                      <a:pt x="156" y="580"/>
                    </a:lnTo>
                    <a:lnTo>
                      <a:pt x="154" y="580"/>
                    </a:lnTo>
                    <a:lnTo>
                      <a:pt x="154" y="581"/>
                    </a:lnTo>
                    <a:lnTo>
                      <a:pt x="152" y="581"/>
                    </a:lnTo>
                    <a:lnTo>
                      <a:pt x="152" y="583"/>
                    </a:lnTo>
                    <a:lnTo>
                      <a:pt x="151" y="584"/>
                    </a:lnTo>
                    <a:lnTo>
                      <a:pt x="149" y="586"/>
                    </a:lnTo>
                    <a:lnTo>
                      <a:pt x="148" y="588"/>
                    </a:lnTo>
                    <a:lnTo>
                      <a:pt x="146" y="586"/>
                    </a:lnTo>
                    <a:lnTo>
                      <a:pt x="145" y="586"/>
                    </a:lnTo>
                    <a:lnTo>
                      <a:pt x="143" y="586"/>
                    </a:lnTo>
                    <a:lnTo>
                      <a:pt x="141" y="586"/>
                    </a:lnTo>
                    <a:lnTo>
                      <a:pt x="141" y="584"/>
                    </a:lnTo>
                    <a:lnTo>
                      <a:pt x="141" y="583"/>
                    </a:lnTo>
                    <a:lnTo>
                      <a:pt x="141" y="581"/>
                    </a:lnTo>
                    <a:lnTo>
                      <a:pt x="141" y="580"/>
                    </a:lnTo>
                    <a:lnTo>
                      <a:pt x="141" y="578"/>
                    </a:lnTo>
                    <a:lnTo>
                      <a:pt x="141" y="576"/>
                    </a:lnTo>
                    <a:lnTo>
                      <a:pt x="141" y="575"/>
                    </a:lnTo>
                    <a:lnTo>
                      <a:pt x="143" y="573"/>
                    </a:lnTo>
                    <a:lnTo>
                      <a:pt x="143" y="572"/>
                    </a:lnTo>
                    <a:lnTo>
                      <a:pt x="145" y="570"/>
                    </a:lnTo>
                    <a:lnTo>
                      <a:pt x="145" y="569"/>
                    </a:lnTo>
                    <a:lnTo>
                      <a:pt x="143" y="569"/>
                    </a:lnTo>
                    <a:lnTo>
                      <a:pt x="141" y="569"/>
                    </a:lnTo>
                    <a:lnTo>
                      <a:pt x="140" y="569"/>
                    </a:lnTo>
                    <a:lnTo>
                      <a:pt x="138" y="569"/>
                    </a:lnTo>
                    <a:lnTo>
                      <a:pt x="138" y="567"/>
                    </a:lnTo>
                    <a:lnTo>
                      <a:pt x="137" y="567"/>
                    </a:lnTo>
                    <a:lnTo>
                      <a:pt x="137" y="565"/>
                    </a:lnTo>
                    <a:lnTo>
                      <a:pt x="135" y="565"/>
                    </a:lnTo>
                    <a:lnTo>
                      <a:pt x="133" y="565"/>
                    </a:lnTo>
                    <a:lnTo>
                      <a:pt x="133" y="564"/>
                    </a:lnTo>
                    <a:lnTo>
                      <a:pt x="132" y="564"/>
                    </a:lnTo>
                    <a:lnTo>
                      <a:pt x="130" y="564"/>
                    </a:lnTo>
                    <a:lnTo>
                      <a:pt x="129" y="564"/>
                    </a:lnTo>
                    <a:lnTo>
                      <a:pt x="129" y="562"/>
                    </a:lnTo>
                    <a:lnTo>
                      <a:pt x="127" y="562"/>
                    </a:lnTo>
                    <a:lnTo>
                      <a:pt x="126" y="562"/>
                    </a:lnTo>
                    <a:lnTo>
                      <a:pt x="124" y="562"/>
                    </a:lnTo>
                    <a:lnTo>
                      <a:pt x="122" y="562"/>
                    </a:lnTo>
                    <a:lnTo>
                      <a:pt x="122" y="561"/>
                    </a:lnTo>
                    <a:lnTo>
                      <a:pt x="121" y="561"/>
                    </a:lnTo>
                    <a:lnTo>
                      <a:pt x="119" y="561"/>
                    </a:lnTo>
                    <a:lnTo>
                      <a:pt x="118" y="561"/>
                    </a:lnTo>
                    <a:lnTo>
                      <a:pt x="116" y="561"/>
                    </a:lnTo>
                    <a:lnTo>
                      <a:pt x="114" y="559"/>
                    </a:lnTo>
                    <a:lnTo>
                      <a:pt x="113" y="559"/>
                    </a:lnTo>
                    <a:lnTo>
                      <a:pt x="111" y="559"/>
                    </a:lnTo>
                    <a:lnTo>
                      <a:pt x="110" y="559"/>
                    </a:lnTo>
                    <a:lnTo>
                      <a:pt x="110" y="561"/>
                    </a:lnTo>
                    <a:lnTo>
                      <a:pt x="108" y="561"/>
                    </a:lnTo>
                    <a:lnTo>
                      <a:pt x="108" y="562"/>
                    </a:lnTo>
                    <a:lnTo>
                      <a:pt x="107" y="562"/>
                    </a:lnTo>
                    <a:lnTo>
                      <a:pt x="105" y="564"/>
                    </a:lnTo>
                    <a:lnTo>
                      <a:pt x="103" y="564"/>
                    </a:lnTo>
                    <a:lnTo>
                      <a:pt x="102" y="564"/>
                    </a:lnTo>
                    <a:lnTo>
                      <a:pt x="102" y="565"/>
                    </a:lnTo>
                    <a:lnTo>
                      <a:pt x="100" y="565"/>
                    </a:lnTo>
                    <a:lnTo>
                      <a:pt x="99" y="565"/>
                    </a:lnTo>
                    <a:lnTo>
                      <a:pt x="97" y="565"/>
                    </a:lnTo>
                    <a:lnTo>
                      <a:pt x="95" y="564"/>
                    </a:lnTo>
                    <a:lnTo>
                      <a:pt x="94" y="562"/>
                    </a:lnTo>
                    <a:lnTo>
                      <a:pt x="92" y="562"/>
                    </a:lnTo>
                    <a:lnTo>
                      <a:pt x="91" y="562"/>
                    </a:lnTo>
                    <a:lnTo>
                      <a:pt x="89" y="562"/>
                    </a:lnTo>
                    <a:lnTo>
                      <a:pt x="89" y="561"/>
                    </a:lnTo>
                    <a:lnTo>
                      <a:pt x="88" y="562"/>
                    </a:lnTo>
                    <a:lnTo>
                      <a:pt x="86" y="561"/>
                    </a:lnTo>
                    <a:lnTo>
                      <a:pt x="84" y="561"/>
                    </a:lnTo>
                    <a:lnTo>
                      <a:pt x="83" y="561"/>
                    </a:lnTo>
                    <a:lnTo>
                      <a:pt x="81" y="561"/>
                    </a:lnTo>
                    <a:lnTo>
                      <a:pt x="80" y="561"/>
                    </a:lnTo>
                    <a:lnTo>
                      <a:pt x="78" y="561"/>
                    </a:lnTo>
                    <a:lnTo>
                      <a:pt x="76" y="561"/>
                    </a:lnTo>
                    <a:lnTo>
                      <a:pt x="75" y="561"/>
                    </a:lnTo>
                    <a:lnTo>
                      <a:pt x="73" y="561"/>
                    </a:lnTo>
                    <a:lnTo>
                      <a:pt x="72" y="562"/>
                    </a:lnTo>
                    <a:lnTo>
                      <a:pt x="70" y="562"/>
                    </a:lnTo>
                    <a:lnTo>
                      <a:pt x="69" y="562"/>
                    </a:lnTo>
                    <a:lnTo>
                      <a:pt x="69" y="564"/>
                    </a:lnTo>
                    <a:lnTo>
                      <a:pt x="67" y="564"/>
                    </a:lnTo>
                    <a:lnTo>
                      <a:pt x="65" y="564"/>
                    </a:lnTo>
                    <a:lnTo>
                      <a:pt x="64" y="564"/>
                    </a:lnTo>
                    <a:lnTo>
                      <a:pt x="62" y="564"/>
                    </a:lnTo>
                    <a:lnTo>
                      <a:pt x="61" y="564"/>
                    </a:lnTo>
                    <a:lnTo>
                      <a:pt x="59" y="564"/>
                    </a:lnTo>
                    <a:lnTo>
                      <a:pt x="57" y="564"/>
                    </a:lnTo>
                    <a:lnTo>
                      <a:pt x="59" y="562"/>
                    </a:lnTo>
                    <a:lnTo>
                      <a:pt x="59" y="561"/>
                    </a:lnTo>
                    <a:lnTo>
                      <a:pt x="59" y="559"/>
                    </a:lnTo>
                    <a:lnTo>
                      <a:pt x="61" y="559"/>
                    </a:lnTo>
                    <a:lnTo>
                      <a:pt x="61" y="557"/>
                    </a:lnTo>
                    <a:lnTo>
                      <a:pt x="62" y="557"/>
                    </a:lnTo>
                    <a:lnTo>
                      <a:pt x="64" y="556"/>
                    </a:lnTo>
                    <a:lnTo>
                      <a:pt x="64" y="554"/>
                    </a:lnTo>
                    <a:lnTo>
                      <a:pt x="64" y="553"/>
                    </a:lnTo>
                    <a:lnTo>
                      <a:pt x="64" y="551"/>
                    </a:lnTo>
                    <a:lnTo>
                      <a:pt x="64" y="550"/>
                    </a:lnTo>
                    <a:lnTo>
                      <a:pt x="62" y="548"/>
                    </a:lnTo>
                    <a:lnTo>
                      <a:pt x="61" y="546"/>
                    </a:lnTo>
                    <a:lnTo>
                      <a:pt x="59" y="545"/>
                    </a:lnTo>
                    <a:lnTo>
                      <a:pt x="59" y="543"/>
                    </a:lnTo>
                    <a:lnTo>
                      <a:pt x="59" y="542"/>
                    </a:lnTo>
                    <a:lnTo>
                      <a:pt x="59" y="540"/>
                    </a:lnTo>
                    <a:lnTo>
                      <a:pt x="61" y="540"/>
                    </a:lnTo>
                    <a:lnTo>
                      <a:pt x="61" y="538"/>
                    </a:lnTo>
                    <a:lnTo>
                      <a:pt x="61" y="537"/>
                    </a:lnTo>
                    <a:lnTo>
                      <a:pt x="62" y="535"/>
                    </a:lnTo>
                    <a:lnTo>
                      <a:pt x="64" y="535"/>
                    </a:lnTo>
                    <a:lnTo>
                      <a:pt x="65" y="534"/>
                    </a:lnTo>
                    <a:lnTo>
                      <a:pt x="65" y="532"/>
                    </a:lnTo>
                    <a:lnTo>
                      <a:pt x="67" y="530"/>
                    </a:lnTo>
                    <a:lnTo>
                      <a:pt x="65" y="530"/>
                    </a:lnTo>
                    <a:lnTo>
                      <a:pt x="67" y="529"/>
                    </a:lnTo>
                    <a:lnTo>
                      <a:pt x="67" y="527"/>
                    </a:lnTo>
                    <a:lnTo>
                      <a:pt x="65" y="527"/>
                    </a:lnTo>
                    <a:lnTo>
                      <a:pt x="65" y="526"/>
                    </a:lnTo>
                    <a:lnTo>
                      <a:pt x="65" y="524"/>
                    </a:lnTo>
                    <a:lnTo>
                      <a:pt x="65" y="523"/>
                    </a:lnTo>
                    <a:lnTo>
                      <a:pt x="65" y="521"/>
                    </a:lnTo>
                    <a:lnTo>
                      <a:pt x="65" y="519"/>
                    </a:lnTo>
                    <a:lnTo>
                      <a:pt x="65" y="518"/>
                    </a:lnTo>
                    <a:lnTo>
                      <a:pt x="65" y="516"/>
                    </a:lnTo>
                    <a:lnTo>
                      <a:pt x="64" y="515"/>
                    </a:lnTo>
                    <a:lnTo>
                      <a:pt x="62" y="515"/>
                    </a:lnTo>
                    <a:lnTo>
                      <a:pt x="62" y="513"/>
                    </a:lnTo>
                    <a:lnTo>
                      <a:pt x="61" y="513"/>
                    </a:lnTo>
                    <a:lnTo>
                      <a:pt x="61" y="511"/>
                    </a:lnTo>
                    <a:lnTo>
                      <a:pt x="59" y="511"/>
                    </a:lnTo>
                    <a:lnTo>
                      <a:pt x="57" y="511"/>
                    </a:lnTo>
                    <a:lnTo>
                      <a:pt x="56" y="511"/>
                    </a:lnTo>
                    <a:lnTo>
                      <a:pt x="56" y="510"/>
                    </a:lnTo>
                    <a:lnTo>
                      <a:pt x="57" y="510"/>
                    </a:lnTo>
                    <a:lnTo>
                      <a:pt x="57" y="508"/>
                    </a:lnTo>
                    <a:lnTo>
                      <a:pt x="59" y="507"/>
                    </a:lnTo>
                    <a:lnTo>
                      <a:pt x="59" y="505"/>
                    </a:lnTo>
                    <a:lnTo>
                      <a:pt x="59" y="504"/>
                    </a:lnTo>
                    <a:lnTo>
                      <a:pt x="61" y="504"/>
                    </a:lnTo>
                    <a:lnTo>
                      <a:pt x="61" y="502"/>
                    </a:lnTo>
                    <a:lnTo>
                      <a:pt x="62" y="500"/>
                    </a:lnTo>
                    <a:lnTo>
                      <a:pt x="64" y="500"/>
                    </a:lnTo>
                    <a:lnTo>
                      <a:pt x="64" y="499"/>
                    </a:lnTo>
                    <a:lnTo>
                      <a:pt x="65" y="499"/>
                    </a:lnTo>
                    <a:lnTo>
                      <a:pt x="65" y="497"/>
                    </a:lnTo>
                    <a:lnTo>
                      <a:pt x="65" y="496"/>
                    </a:lnTo>
                    <a:lnTo>
                      <a:pt x="65" y="494"/>
                    </a:lnTo>
                    <a:lnTo>
                      <a:pt x="65" y="492"/>
                    </a:lnTo>
                    <a:lnTo>
                      <a:pt x="64" y="492"/>
                    </a:lnTo>
                    <a:lnTo>
                      <a:pt x="64" y="491"/>
                    </a:lnTo>
                    <a:lnTo>
                      <a:pt x="64" y="489"/>
                    </a:lnTo>
                    <a:lnTo>
                      <a:pt x="65" y="488"/>
                    </a:lnTo>
                    <a:lnTo>
                      <a:pt x="65" y="486"/>
                    </a:lnTo>
                    <a:lnTo>
                      <a:pt x="65" y="485"/>
                    </a:lnTo>
                    <a:lnTo>
                      <a:pt x="65" y="483"/>
                    </a:lnTo>
                    <a:lnTo>
                      <a:pt x="65" y="481"/>
                    </a:lnTo>
                    <a:lnTo>
                      <a:pt x="67" y="480"/>
                    </a:lnTo>
                    <a:lnTo>
                      <a:pt x="67" y="478"/>
                    </a:lnTo>
                    <a:lnTo>
                      <a:pt x="69" y="478"/>
                    </a:lnTo>
                    <a:lnTo>
                      <a:pt x="69" y="477"/>
                    </a:lnTo>
                    <a:lnTo>
                      <a:pt x="70" y="475"/>
                    </a:lnTo>
                    <a:lnTo>
                      <a:pt x="72" y="473"/>
                    </a:lnTo>
                    <a:lnTo>
                      <a:pt x="72" y="472"/>
                    </a:lnTo>
                    <a:lnTo>
                      <a:pt x="72" y="470"/>
                    </a:lnTo>
                    <a:lnTo>
                      <a:pt x="72" y="469"/>
                    </a:lnTo>
                    <a:lnTo>
                      <a:pt x="70" y="469"/>
                    </a:lnTo>
                    <a:lnTo>
                      <a:pt x="70" y="467"/>
                    </a:lnTo>
                    <a:lnTo>
                      <a:pt x="69" y="467"/>
                    </a:lnTo>
                    <a:lnTo>
                      <a:pt x="67" y="467"/>
                    </a:lnTo>
                    <a:lnTo>
                      <a:pt x="67" y="466"/>
                    </a:lnTo>
                    <a:lnTo>
                      <a:pt x="65" y="466"/>
                    </a:lnTo>
                    <a:lnTo>
                      <a:pt x="64" y="466"/>
                    </a:lnTo>
                    <a:lnTo>
                      <a:pt x="64" y="464"/>
                    </a:lnTo>
                    <a:lnTo>
                      <a:pt x="62" y="464"/>
                    </a:lnTo>
                    <a:lnTo>
                      <a:pt x="61" y="464"/>
                    </a:lnTo>
                    <a:lnTo>
                      <a:pt x="59" y="462"/>
                    </a:lnTo>
                    <a:lnTo>
                      <a:pt x="57" y="462"/>
                    </a:lnTo>
                    <a:lnTo>
                      <a:pt x="56" y="462"/>
                    </a:lnTo>
                    <a:lnTo>
                      <a:pt x="54" y="462"/>
                    </a:lnTo>
                    <a:lnTo>
                      <a:pt x="54" y="461"/>
                    </a:lnTo>
                    <a:lnTo>
                      <a:pt x="53" y="461"/>
                    </a:lnTo>
                    <a:lnTo>
                      <a:pt x="53" y="459"/>
                    </a:lnTo>
                    <a:lnTo>
                      <a:pt x="51" y="458"/>
                    </a:lnTo>
                    <a:lnTo>
                      <a:pt x="50" y="458"/>
                    </a:lnTo>
                    <a:lnTo>
                      <a:pt x="50" y="456"/>
                    </a:lnTo>
                    <a:lnTo>
                      <a:pt x="48" y="456"/>
                    </a:lnTo>
                    <a:lnTo>
                      <a:pt x="48" y="454"/>
                    </a:lnTo>
                    <a:lnTo>
                      <a:pt x="48" y="453"/>
                    </a:lnTo>
                    <a:lnTo>
                      <a:pt x="48" y="451"/>
                    </a:lnTo>
                    <a:lnTo>
                      <a:pt x="46" y="451"/>
                    </a:lnTo>
                    <a:lnTo>
                      <a:pt x="46" y="450"/>
                    </a:lnTo>
                    <a:lnTo>
                      <a:pt x="46" y="448"/>
                    </a:lnTo>
                    <a:lnTo>
                      <a:pt x="45" y="448"/>
                    </a:lnTo>
                    <a:lnTo>
                      <a:pt x="45" y="447"/>
                    </a:lnTo>
                    <a:lnTo>
                      <a:pt x="43" y="445"/>
                    </a:lnTo>
                    <a:lnTo>
                      <a:pt x="43" y="443"/>
                    </a:lnTo>
                    <a:lnTo>
                      <a:pt x="42" y="443"/>
                    </a:lnTo>
                    <a:lnTo>
                      <a:pt x="40" y="443"/>
                    </a:lnTo>
                    <a:lnTo>
                      <a:pt x="40" y="442"/>
                    </a:lnTo>
                    <a:lnTo>
                      <a:pt x="38" y="442"/>
                    </a:lnTo>
                    <a:lnTo>
                      <a:pt x="37" y="440"/>
                    </a:lnTo>
                    <a:lnTo>
                      <a:pt x="37" y="439"/>
                    </a:lnTo>
                    <a:lnTo>
                      <a:pt x="35" y="439"/>
                    </a:lnTo>
                    <a:lnTo>
                      <a:pt x="34" y="437"/>
                    </a:lnTo>
                    <a:lnTo>
                      <a:pt x="34" y="435"/>
                    </a:lnTo>
                    <a:lnTo>
                      <a:pt x="32" y="435"/>
                    </a:lnTo>
                    <a:lnTo>
                      <a:pt x="32" y="434"/>
                    </a:lnTo>
                    <a:lnTo>
                      <a:pt x="30" y="432"/>
                    </a:lnTo>
                    <a:lnTo>
                      <a:pt x="32" y="432"/>
                    </a:lnTo>
                    <a:lnTo>
                      <a:pt x="32" y="431"/>
                    </a:lnTo>
                    <a:lnTo>
                      <a:pt x="34" y="429"/>
                    </a:lnTo>
                    <a:lnTo>
                      <a:pt x="34" y="428"/>
                    </a:lnTo>
                    <a:lnTo>
                      <a:pt x="34" y="426"/>
                    </a:lnTo>
                    <a:lnTo>
                      <a:pt x="34" y="424"/>
                    </a:lnTo>
                    <a:lnTo>
                      <a:pt x="34" y="423"/>
                    </a:lnTo>
                    <a:lnTo>
                      <a:pt x="34" y="421"/>
                    </a:lnTo>
                    <a:lnTo>
                      <a:pt x="34" y="420"/>
                    </a:lnTo>
                    <a:lnTo>
                      <a:pt x="32" y="420"/>
                    </a:lnTo>
                    <a:lnTo>
                      <a:pt x="32" y="418"/>
                    </a:lnTo>
                    <a:lnTo>
                      <a:pt x="30" y="416"/>
                    </a:lnTo>
                    <a:lnTo>
                      <a:pt x="30" y="415"/>
                    </a:lnTo>
                    <a:lnTo>
                      <a:pt x="30" y="413"/>
                    </a:lnTo>
                    <a:lnTo>
                      <a:pt x="29" y="413"/>
                    </a:lnTo>
                    <a:lnTo>
                      <a:pt x="29" y="412"/>
                    </a:lnTo>
                    <a:lnTo>
                      <a:pt x="29" y="410"/>
                    </a:lnTo>
                    <a:lnTo>
                      <a:pt x="29" y="409"/>
                    </a:lnTo>
                    <a:lnTo>
                      <a:pt x="29" y="407"/>
                    </a:lnTo>
                    <a:lnTo>
                      <a:pt x="27" y="407"/>
                    </a:lnTo>
                    <a:lnTo>
                      <a:pt x="27" y="405"/>
                    </a:lnTo>
                    <a:lnTo>
                      <a:pt x="27" y="404"/>
                    </a:lnTo>
                    <a:lnTo>
                      <a:pt x="27" y="402"/>
                    </a:lnTo>
                    <a:lnTo>
                      <a:pt x="27" y="401"/>
                    </a:lnTo>
                    <a:lnTo>
                      <a:pt x="27" y="399"/>
                    </a:lnTo>
                    <a:lnTo>
                      <a:pt x="27" y="397"/>
                    </a:lnTo>
                    <a:lnTo>
                      <a:pt x="29" y="397"/>
                    </a:lnTo>
                    <a:lnTo>
                      <a:pt x="29" y="396"/>
                    </a:lnTo>
                    <a:lnTo>
                      <a:pt x="30" y="396"/>
                    </a:lnTo>
                    <a:lnTo>
                      <a:pt x="32" y="394"/>
                    </a:lnTo>
                    <a:lnTo>
                      <a:pt x="34" y="394"/>
                    </a:lnTo>
                    <a:lnTo>
                      <a:pt x="34" y="393"/>
                    </a:lnTo>
                    <a:lnTo>
                      <a:pt x="35" y="393"/>
                    </a:lnTo>
                    <a:lnTo>
                      <a:pt x="37" y="393"/>
                    </a:lnTo>
                    <a:lnTo>
                      <a:pt x="40" y="386"/>
                    </a:lnTo>
                    <a:lnTo>
                      <a:pt x="48" y="377"/>
                    </a:lnTo>
                    <a:lnTo>
                      <a:pt x="48" y="363"/>
                    </a:lnTo>
                    <a:lnTo>
                      <a:pt x="46" y="352"/>
                    </a:lnTo>
                    <a:lnTo>
                      <a:pt x="40" y="342"/>
                    </a:lnTo>
                    <a:lnTo>
                      <a:pt x="38" y="332"/>
                    </a:lnTo>
                    <a:lnTo>
                      <a:pt x="32" y="325"/>
                    </a:lnTo>
                    <a:lnTo>
                      <a:pt x="24" y="315"/>
                    </a:lnTo>
                    <a:lnTo>
                      <a:pt x="19" y="307"/>
                    </a:lnTo>
                    <a:lnTo>
                      <a:pt x="18" y="301"/>
                    </a:lnTo>
                    <a:lnTo>
                      <a:pt x="18" y="291"/>
                    </a:lnTo>
                    <a:lnTo>
                      <a:pt x="16" y="282"/>
                    </a:lnTo>
                    <a:lnTo>
                      <a:pt x="7" y="271"/>
                    </a:lnTo>
                    <a:lnTo>
                      <a:pt x="0" y="263"/>
                    </a:lnTo>
                    <a:lnTo>
                      <a:pt x="0" y="261"/>
                    </a:lnTo>
                    <a:lnTo>
                      <a:pt x="5" y="258"/>
                    </a:lnTo>
                    <a:lnTo>
                      <a:pt x="4" y="231"/>
                    </a:lnTo>
                    <a:lnTo>
                      <a:pt x="42" y="228"/>
                    </a:lnTo>
                    <a:lnTo>
                      <a:pt x="319" y="0"/>
                    </a:lnTo>
                    <a:close/>
                  </a:path>
                </a:pathLst>
              </a:custGeom>
              <a:solidFill>
                <a:srgbClr val="D3FF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95" name="Freeform 75"/>
              <p:cNvSpPr>
                <a:spLocks/>
              </p:cNvSpPr>
              <p:nvPr/>
            </p:nvSpPr>
            <p:spPr bwMode="auto">
              <a:xfrm>
                <a:off x="2967" y="694"/>
                <a:ext cx="423" cy="561"/>
              </a:xfrm>
              <a:custGeom>
                <a:avLst/>
                <a:gdLst>
                  <a:gd name="T0" fmla="*/ 236 w 423"/>
                  <a:gd name="T1" fmla="*/ 77 h 561"/>
                  <a:gd name="T2" fmla="*/ 212 w 423"/>
                  <a:gd name="T3" fmla="*/ 81 h 561"/>
                  <a:gd name="T4" fmla="*/ 203 w 423"/>
                  <a:gd name="T5" fmla="*/ 100 h 561"/>
                  <a:gd name="T6" fmla="*/ 193 w 423"/>
                  <a:gd name="T7" fmla="*/ 120 h 561"/>
                  <a:gd name="T8" fmla="*/ 199 w 423"/>
                  <a:gd name="T9" fmla="*/ 136 h 561"/>
                  <a:gd name="T10" fmla="*/ 191 w 423"/>
                  <a:gd name="T11" fmla="*/ 153 h 561"/>
                  <a:gd name="T12" fmla="*/ 209 w 423"/>
                  <a:gd name="T13" fmla="*/ 149 h 561"/>
                  <a:gd name="T14" fmla="*/ 228 w 423"/>
                  <a:gd name="T15" fmla="*/ 141 h 561"/>
                  <a:gd name="T16" fmla="*/ 244 w 423"/>
                  <a:gd name="T17" fmla="*/ 141 h 561"/>
                  <a:gd name="T18" fmla="*/ 248 w 423"/>
                  <a:gd name="T19" fmla="*/ 153 h 561"/>
                  <a:gd name="T20" fmla="*/ 263 w 423"/>
                  <a:gd name="T21" fmla="*/ 160 h 561"/>
                  <a:gd name="T22" fmla="*/ 272 w 423"/>
                  <a:gd name="T23" fmla="*/ 168 h 561"/>
                  <a:gd name="T24" fmla="*/ 269 w 423"/>
                  <a:gd name="T25" fmla="*/ 180 h 561"/>
                  <a:gd name="T26" fmla="*/ 255 w 423"/>
                  <a:gd name="T27" fmla="*/ 180 h 561"/>
                  <a:gd name="T28" fmla="*/ 236 w 423"/>
                  <a:gd name="T29" fmla="*/ 166 h 561"/>
                  <a:gd name="T30" fmla="*/ 220 w 423"/>
                  <a:gd name="T31" fmla="*/ 171 h 561"/>
                  <a:gd name="T32" fmla="*/ 215 w 423"/>
                  <a:gd name="T33" fmla="*/ 187 h 561"/>
                  <a:gd name="T34" fmla="*/ 201 w 423"/>
                  <a:gd name="T35" fmla="*/ 180 h 561"/>
                  <a:gd name="T36" fmla="*/ 193 w 423"/>
                  <a:gd name="T37" fmla="*/ 180 h 561"/>
                  <a:gd name="T38" fmla="*/ 185 w 423"/>
                  <a:gd name="T39" fmla="*/ 171 h 561"/>
                  <a:gd name="T40" fmla="*/ 193 w 423"/>
                  <a:gd name="T41" fmla="*/ 188 h 561"/>
                  <a:gd name="T42" fmla="*/ 185 w 423"/>
                  <a:gd name="T43" fmla="*/ 188 h 561"/>
                  <a:gd name="T44" fmla="*/ 166 w 423"/>
                  <a:gd name="T45" fmla="*/ 180 h 561"/>
                  <a:gd name="T46" fmla="*/ 160 w 423"/>
                  <a:gd name="T47" fmla="*/ 184 h 561"/>
                  <a:gd name="T48" fmla="*/ 161 w 423"/>
                  <a:gd name="T49" fmla="*/ 206 h 561"/>
                  <a:gd name="T50" fmla="*/ 185 w 423"/>
                  <a:gd name="T51" fmla="*/ 204 h 561"/>
                  <a:gd name="T52" fmla="*/ 206 w 423"/>
                  <a:gd name="T53" fmla="*/ 215 h 561"/>
                  <a:gd name="T54" fmla="*/ 223 w 423"/>
                  <a:gd name="T55" fmla="*/ 230 h 561"/>
                  <a:gd name="T56" fmla="*/ 248 w 423"/>
                  <a:gd name="T57" fmla="*/ 233 h 561"/>
                  <a:gd name="T58" fmla="*/ 272 w 423"/>
                  <a:gd name="T59" fmla="*/ 226 h 561"/>
                  <a:gd name="T60" fmla="*/ 294 w 423"/>
                  <a:gd name="T61" fmla="*/ 218 h 561"/>
                  <a:gd name="T62" fmla="*/ 310 w 423"/>
                  <a:gd name="T63" fmla="*/ 206 h 561"/>
                  <a:gd name="T64" fmla="*/ 351 w 423"/>
                  <a:gd name="T65" fmla="*/ 199 h 561"/>
                  <a:gd name="T66" fmla="*/ 359 w 423"/>
                  <a:gd name="T67" fmla="*/ 220 h 561"/>
                  <a:gd name="T68" fmla="*/ 374 w 423"/>
                  <a:gd name="T69" fmla="*/ 236 h 561"/>
                  <a:gd name="T70" fmla="*/ 401 w 423"/>
                  <a:gd name="T71" fmla="*/ 234 h 561"/>
                  <a:gd name="T72" fmla="*/ 420 w 423"/>
                  <a:gd name="T73" fmla="*/ 239 h 561"/>
                  <a:gd name="T74" fmla="*/ 410 w 423"/>
                  <a:gd name="T75" fmla="*/ 260 h 561"/>
                  <a:gd name="T76" fmla="*/ 399 w 423"/>
                  <a:gd name="T77" fmla="*/ 275 h 561"/>
                  <a:gd name="T78" fmla="*/ 397 w 423"/>
                  <a:gd name="T79" fmla="*/ 301 h 561"/>
                  <a:gd name="T80" fmla="*/ 388 w 423"/>
                  <a:gd name="T81" fmla="*/ 320 h 561"/>
                  <a:gd name="T82" fmla="*/ 391 w 423"/>
                  <a:gd name="T83" fmla="*/ 339 h 561"/>
                  <a:gd name="T84" fmla="*/ 369 w 423"/>
                  <a:gd name="T85" fmla="*/ 339 h 561"/>
                  <a:gd name="T86" fmla="*/ 347 w 423"/>
                  <a:gd name="T87" fmla="*/ 332 h 561"/>
                  <a:gd name="T88" fmla="*/ 323 w 423"/>
                  <a:gd name="T89" fmla="*/ 326 h 561"/>
                  <a:gd name="T90" fmla="*/ 307 w 423"/>
                  <a:gd name="T91" fmla="*/ 344 h 561"/>
                  <a:gd name="T92" fmla="*/ 302 w 423"/>
                  <a:gd name="T93" fmla="*/ 364 h 561"/>
                  <a:gd name="T94" fmla="*/ 326 w 423"/>
                  <a:gd name="T95" fmla="*/ 375 h 561"/>
                  <a:gd name="T96" fmla="*/ 344 w 423"/>
                  <a:gd name="T97" fmla="*/ 386 h 561"/>
                  <a:gd name="T98" fmla="*/ 351 w 423"/>
                  <a:gd name="T99" fmla="*/ 409 h 561"/>
                  <a:gd name="T100" fmla="*/ 334 w 423"/>
                  <a:gd name="T101" fmla="*/ 418 h 561"/>
                  <a:gd name="T102" fmla="*/ 318 w 423"/>
                  <a:gd name="T103" fmla="*/ 431 h 561"/>
                  <a:gd name="T104" fmla="*/ 299 w 423"/>
                  <a:gd name="T105" fmla="*/ 423 h 561"/>
                  <a:gd name="T106" fmla="*/ 282 w 423"/>
                  <a:gd name="T107" fmla="*/ 431 h 561"/>
                  <a:gd name="T108" fmla="*/ 258 w 423"/>
                  <a:gd name="T109" fmla="*/ 450 h 561"/>
                  <a:gd name="T110" fmla="*/ 263 w 423"/>
                  <a:gd name="T111" fmla="*/ 473 h 561"/>
                  <a:gd name="T112" fmla="*/ 266 w 423"/>
                  <a:gd name="T113" fmla="*/ 492 h 561"/>
                  <a:gd name="T114" fmla="*/ 260 w 423"/>
                  <a:gd name="T115" fmla="*/ 516 h 561"/>
                  <a:gd name="T116" fmla="*/ 253 w 423"/>
                  <a:gd name="T117" fmla="*/ 537 h 561"/>
                  <a:gd name="T118" fmla="*/ 247 w 423"/>
                  <a:gd name="T119" fmla="*/ 55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561">
                    <a:moveTo>
                      <a:pt x="0" y="0"/>
                    </a:moveTo>
                    <a:lnTo>
                      <a:pt x="0" y="5"/>
                    </a:lnTo>
                    <a:lnTo>
                      <a:pt x="138" y="1"/>
                    </a:lnTo>
                    <a:lnTo>
                      <a:pt x="247" y="1"/>
                    </a:lnTo>
                    <a:lnTo>
                      <a:pt x="245" y="90"/>
                    </a:lnTo>
                    <a:lnTo>
                      <a:pt x="244" y="89"/>
                    </a:lnTo>
                    <a:lnTo>
                      <a:pt x="244" y="87"/>
                    </a:lnTo>
                    <a:lnTo>
                      <a:pt x="244" y="85"/>
                    </a:lnTo>
                    <a:lnTo>
                      <a:pt x="244" y="84"/>
                    </a:lnTo>
                    <a:lnTo>
                      <a:pt x="242" y="82"/>
                    </a:lnTo>
                    <a:lnTo>
                      <a:pt x="242" y="81"/>
                    </a:lnTo>
                    <a:lnTo>
                      <a:pt x="242" y="79"/>
                    </a:lnTo>
                    <a:lnTo>
                      <a:pt x="241" y="79"/>
                    </a:lnTo>
                    <a:lnTo>
                      <a:pt x="241" y="77"/>
                    </a:lnTo>
                    <a:lnTo>
                      <a:pt x="239" y="77"/>
                    </a:lnTo>
                    <a:lnTo>
                      <a:pt x="237" y="77"/>
                    </a:lnTo>
                    <a:lnTo>
                      <a:pt x="236" y="77"/>
                    </a:lnTo>
                    <a:lnTo>
                      <a:pt x="234" y="79"/>
                    </a:lnTo>
                    <a:lnTo>
                      <a:pt x="233" y="77"/>
                    </a:lnTo>
                    <a:lnTo>
                      <a:pt x="231" y="77"/>
                    </a:lnTo>
                    <a:lnTo>
                      <a:pt x="229" y="77"/>
                    </a:lnTo>
                    <a:lnTo>
                      <a:pt x="228" y="77"/>
                    </a:lnTo>
                    <a:lnTo>
                      <a:pt x="226" y="77"/>
                    </a:lnTo>
                    <a:lnTo>
                      <a:pt x="225" y="77"/>
                    </a:lnTo>
                    <a:lnTo>
                      <a:pt x="223" y="77"/>
                    </a:lnTo>
                    <a:lnTo>
                      <a:pt x="222" y="77"/>
                    </a:lnTo>
                    <a:lnTo>
                      <a:pt x="220" y="77"/>
                    </a:lnTo>
                    <a:lnTo>
                      <a:pt x="220" y="79"/>
                    </a:lnTo>
                    <a:lnTo>
                      <a:pt x="218" y="79"/>
                    </a:lnTo>
                    <a:lnTo>
                      <a:pt x="217" y="79"/>
                    </a:lnTo>
                    <a:lnTo>
                      <a:pt x="215" y="79"/>
                    </a:lnTo>
                    <a:lnTo>
                      <a:pt x="215" y="81"/>
                    </a:lnTo>
                    <a:lnTo>
                      <a:pt x="214" y="81"/>
                    </a:lnTo>
                    <a:lnTo>
                      <a:pt x="212" y="81"/>
                    </a:lnTo>
                    <a:lnTo>
                      <a:pt x="212" y="82"/>
                    </a:lnTo>
                    <a:lnTo>
                      <a:pt x="210" y="82"/>
                    </a:lnTo>
                    <a:lnTo>
                      <a:pt x="210" y="84"/>
                    </a:lnTo>
                    <a:lnTo>
                      <a:pt x="209" y="84"/>
                    </a:lnTo>
                    <a:lnTo>
                      <a:pt x="209" y="85"/>
                    </a:lnTo>
                    <a:lnTo>
                      <a:pt x="207" y="85"/>
                    </a:lnTo>
                    <a:lnTo>
                      <a:pt x="207" y="87"/>
                    </a:lnTo>
                    <a:lnTo>
                      <a:pt x="207" y="89"/>
                    </a:lnTo>
                    <a:lnTo>
                      <a:pt x="206" y="89"/>
                    </a:lnTo>
                    <a:lnTo>
                      <a:pt x="206" y="90"/>
                    </a:lnTo>
                    <a:lnTo>
                      <a:pt x="206" y="92"/>
                    </a:lnTo>
                    <a:lnTo>
                      <a:pt x="204" y="93"/>
                    </a:lnTo>
                    <a:lnTo>
                      <a:pt x="204" y="95"/>
                    </a:lnTo>
                    <a:lnTo>
                      <a:pt x="204" y="96"/>
                    </a:lnTo>
                    <a:lnTo>
                      <a:pt x="203" y="96"/>
                    </a:lnTo>
                    <a:lnTo>
                      <a:pt x="203" y="98"/>
                    </a:lnTo>
                    <a:lnTo>
                      <a:pt x="203" y="100"/>
                    </a:lnTo>
                    <a:lnTo>
                      <a:pt x="201" y="101"/>
                    </a:lnTo>
                    <a:lnTo>
                      <a:pt x="201" y="103"/>
                    </a:lnTo>
                    <a:lnTo>
                      <a:pt x="201" y="104"/>
                    </a:lnTo>
                    <a:lnTo>
                      <a:pt x="201" y="106"/>
                    </a:lnTo>
                    <a:lnTo>
                      <a:pt x="199" y="106"/>
                    </a:lnTo>
                    <a:lnTo>
                      <a:pt x="199" y="108"/>
                    </a:lnTo>
                    <a:lnTo>
                      <a:pt x="199" y="109"/>
                    </a:lnTo>
                    <a:lnTo>
                      <a:pt x="198" y="109"/>
                    </a:lnTo>
                    <a:lnTo>
                      <a:pt x="198" y="111"/>
                    </a:lnTo>
                    <a:lnTo>
                      <a:pt x="198" y="112"/>
                    </a:lnTo>
                    <a:lnTo>
                      <a:pt x="196" y="112"/>
                    </a:lnTo>
                    <a:lnTo>
                      <a:pt x="196" y="114"/>
                    </a:lnTo>
                    <a:lnTo>
                      <a:pt x="195" y="115"/>
                    </a:lnTo>
                    <a:lnTo>
                      <a:pt x="195" y="117"/>
                    </a:lnTo>
                    <a:lnTo>
                      <a:pt x="193" y="117"/>
                    </a:lnTo>
                    <a:lnTo>
                      <a:pt x="193" y="119"/>
                    </a:lnTo>
                    <a:lnTo>
                      <a:pt x="193" y="120"/>
                    </a:lnTo>
                    <a:lnTo>
                      <a:pt x="193" y="122"/>
                    </a:lnTo>
                    <a:lnTo>
                      <a:pt x="193" y="123"/>
                    </a:lnTo>
                    <a:lnTo>
                      <a:pt x="195" y="123"/>
                    </a:lnTo>
                    <a:lnTo>
                      <a:pt x="195" y="125"/>
                    </a:lnTo>
                    <a:lnTo>
                      <a:pt x="195" y="127"/>
                    </a:lnTo>
                    <a:lnTo>
                      <a:pt x="196" y="127"/>
                    </a:lnTo>
                    <a:lnTo>
                      <a:pt x="198" y="127"/>
                    </a:lnTo>
                    <a:lnTo>
                      <a:pt x="199" y="127"/>
                    </a:lnTo>
                    <a:lnTo>
                      <a:pt x="201" y="127"/>
                    </a:lnTo>
                    <a:lnTo>
                      <a:pt x="201" y="128"/>
                    </a:lnTo>
                    <a:lnTo>
                      <a:pt x="201" y="130"/>
                    </a:lnTo>
                    <a:lnTo>
                      <a:pt x="199" y="130"/>
                    </a:lnTo>
                    <a:lnTo>
                      <a:pt x="201" y="131"/>
                    </a:lnTo>
                    <a:lnTo>
                      <a:pt x="199" y="131"/>
                    </a:lnTo>
                    <a:lnTo>
                      <a:pt x="199" y="133"/>
                    </a:lnTo>
                    <a:lnTo>
                      <a:pt x="199" y="134"/>
                    </a:lnTo>
                    <a:lnTo>
                      <a:pt x="199" y="136"/>
                    </a:lnTo>
                    <a:lnTo>
                      <a:pt x="199" y="138"/>
                    </a:lnTo>
                    <a:lnTo>
                      <a:pt x="199" y="139"/>
                    </a:lnTo>
                    <a:lnTo>
                      <a:pt x="199" y="141"/>
                    </a:lnTo>
                    <a:lnTo>
                      <a:pt x="198" y="141"/>
                    </a:lnTo>
                    <a:lnTo>
                      <a:pt x="198" y="142"/>
                    </a:lnTo>
                    <a:lnTo>
                      <a:pt x="196" y="142"/>
                    </a:lnTo>
                    <a:lnTo>
                      <a:pt x="196" y="144"/>
                    </a:lnTo>
                    <a:lnTo>
                      <a:pt x="195" y="144"/>
                    </a:lnTo>
                    <a:lnTo>
                      <a:pt x="195" y="146"/>
                    </a:lnTo>
                    <a:lnTo>
                      <a:pt x="193" y="146"/>
                    </a:lnTo>
                    <a:lnTo>
                      <a:pt x="191" y="146"/>
                    </a:lnTo>
                    <a:lnTo>
                      <a:pt x="191" y="147"/>
                    </a:lnTo>
                    <a:lnTo>
                      <a:pt x="190" y="149"/>
                    </a:lnTo>
                    <a:lnTo>
                      <a:pt x="190" y="150"/>
                    </a:lnTo>
                    <a:lnTo>
                      <a:pt x="190" y="152"/>
                    </a:lnTo>
                    <a:lnTo>
                      <a:pt x="191" y="152"/>
                    </a:lnTo>
                    <a:lnTo>
                      <a:pt x="191" y="153"/>
                    </a:lnTo>
                    <a:lnTo>
                      <a:pt x="193" y="153"/>
                    </a:lnTo>
                    <a:lnTo>
                      <a:pt x="193" y="155"/>
                    </a:lnTo>
                    <a:lnTo>
                      <a:pt x="195" y="155"/>
                    </a:lnTo>
                    <a:lnTo>
                      <a:pt x="196" y="155"/>
                    </a:lnTo>
                    <a:lnTo>
                      <a:pt x="196" y="157"/>
                    </a:lnTo>
                    <a:lnTo>
                      <a:pt x="198" y="157"/>
                    </a:lnTo>
                    <a:lnTo>
                      <a:pt x="198" y="155"/>
                    </a:lnTo>
                    <a:lnTo>
                      <a:pt x="199" y="155"/>
                    </a:lnTo>
                    <a:lnTo>
                      <a:pt x="201" y="155"/>
                    </a:lnTo>
                    <a:lnTo>
                      <a:pt x="203" y="155"/>
                    </a:lnTo>
                    <a:lnTo>
                      <a:pt x="204" y="155"/>
                    </a:lnTo>
                    <a:lnTo>
                      <a:pt x="204" y="153"/>
                    </a:lnTo>
                    <a:lnTo>
                      <a:pt x="206" y="153"/>
                    </a:lnTo>
                    <a:lnTo>
                      <a:pt x="207" y="152"/>
                    </a:lnTo>
                    <a:lnTo>
                      <a:pt x="207" y="150"/>
                    </a:lnTo>
                    <a:lnTo>
                      <a:pt x="209" y="150"/>
                    </a:lnTo>
                    <a:lnTo>
                      <a:pt x="209" y="149"/>
                    </a:lnTo>
                    <a:lnTo>
                      <a:pt x="210" y="149"/>
                    </a:lnTo>
                    <a:lnTo>
                      <a:pt x="210" y="147"/>
                    </a:lnTo>
                    <a:lnTo>
                      <a:pt x="212" y="147"/>
                    </a:lnTo>
                    <a:lnTo>
                      <a:pt x="214" y="147"/>
                    </a:lnTo>
                    <a:lnTo>
                      <a:pt x="214" y="149"/>
                    </a:lnTo>
                    <a:lnTo>
                      <a:pt x="215" y="147"/>
                    </a:lnTo>
                    <a:lnTo>
                      <a:pt x="217" y="147"/>
                    </a:lnTo>
                    <a:lnTo>
                      <a:pt x="217" y="146"/>
                    </a:lnTo>
                    <a:lnTo>
                      <a:pt x="218" y="146"/>
                    </a:lnTo>
                    <a:lnTo>
                      <a:pt x="218" y="144"/>
                    </a:lnTo>
                    <a:lnTo>
                      <a:pt x="220" y="144"/>
                    </a:lnTo>
                    <a:lnTo>
                      <a:pt x="222" y="144"/>
                    </a:lnTo>
                    <a:lnTo>
                      <a:pt x="223" y="142"/>
                    </a:lnTo>
                    <a:lnTo>
                      <a:pt x="225" y="142"/>
                    </a:lnTo>
                    <a:lnTo>
                      <a:pt x="225" y="141"/>
                    </a:lnTo>
                    <a:lnTo>
                      <a:pt x="226" y="141"/>
                    </a:lnTo>
                    <a:lnTo>
                      <a:pt x="228" y="141"/>
                    </a:lnTo>
                    <a:lnTo>
                      <a:pt x="229" y="141"/>
                    </a:lnTo>
                    <a:lnTo>
                      <a:pt x="231" y="139"/>
                    </a:lnTo>
                    <a:lnTo>
                      <a:pt x="233" y="138"/>
                    </a:lnTo>
                    <a:lnTo>
                      <a:pt x="233" y="139"/>
                    </a:lnTo>
                    <a:lnTo>
                      <a:pt x="234" y="139"/>
                    </a:lnTo>
                    <a:lnTo>
                      <a:pt x="236" y="139"/>
                    </a:lnTo>
                    <a:lnTo>
                      <a:pt x="236" y="138"/>
                    </a:lnTo>
                    <a:lnTo>
                      <a:pt x="237" y="136"/>
                    </a:lnTo>
                    <a:lnTo>
                      <a:pt x="237" y="134"/>
                    </a:lnTo>
                    <a:lnTo>
                      <a:pt x="239" y="134"/>
                    </a:lnTo>
                    <a:lnTo>
                      <a:pt x="241" y="134"/>
                    </a:lnTo>
                    <a:lnTo>
                      <a:pt x="242" y="134"/>
                    </a:lnTo>
                    <a:lnTo>
                      <a:pt x="244" y="134"/>
                    </a:lnTo>
                    <a:lnTo>
                      <a:pt x="244" y="136"/>
                    </a:lnTo>
                    <a:lnTo>
                      <a:pt x="244" y="138"/>
                    </a:lnTo>
                    <a:lnTo>
                      <a:pt x="244" y="139"/>
                    </a:lnTo>
                    <a:lnTo>
                      <a:pt x="244" y="141"/>
                    </a:lnTo>
                    <a:lnTo>
                      <a:pt x="245" y="141"/>
                    </a:lnTo>
                    <a:lnTo>
                      <a:pt x="247" y="141"/>
                    </a:lnTo>
                    <a:lnTo>
                      <a:pt x="248" y="141"/>
                    </a:lnTo>
                    <a:lnTo>
                      <a:pt x="250" y="141"/>
                    </a:lnTo>
                    <a:lnTo>
                      <a:pt x="250" y="142"/>
                    </a:lnTo>
                    <a:lnTo>
                      <a:pt x="252" y="144"/>
                    </a:lnTo>
                    <a:lnTo>
                      <a:pt x="252" y="146"/>
                    </a:lnTo>
                    <a:lnTo>
                      <a:pt x="253" y="146"/>
                    </a:lnTo>
                    <a:lnTo>
                      <a:pt x="255" y="146"/>
                    </a:lnTo>
                    <a:lnTo>
                      <a:pt x="255" y="147"/>
                    </a:lnTo>
                    <a:lnTo>
                      <a:pt x="255" y="149"/>
                    </a:lnTo>
                    <a:lnTo>
                      <a:pt x="255" y="150"/>
                    </a:lnTo>
                    <a:lnTo>
                      <a:pt x="253" y="150"/>
                    </a:lnTo>
                    <a:lnTo>
                      <a:pt x="253" y="152"/>
                    </a:lnTo>
                    <a:lnTo>
                      <a:pt x="252" y="152"/>
                    </a:lnTo>
                    <a:lnTo>
                      <a:pt x="250" y="153"/>
                    </a:lnTo>
                    <a:lnTo>
                      <a:pt x="248" y="153"/>
                    </a:lnTo>
                    <a:lnTo>
                      <a:pt x="248" y="155"/>
                    </a:lnTo>
                    <a:lnTo>
                      <a:pt x="248" y="157"/>
                    </a:lnTo>
                    <a:lnTo>
                      <a:pt x="247" y="157"/>
                    </a:lnTo>
                    <a:lnTo>
                      <a:pt x="247" y="158"/>
                    </a:lnTo>
                    <a:lnTo>
                      <a:pt x="248" y="158"/>
                    </a:lnTo>
                    <a:lnTo>
                      <a:pt x="250" y="157"/>
                    </a:lnTo>
                    <a:lnTo>
                      <a:pt x="252" y="157"/>
                    </a:lnTo>
                    <a:lnTo>
                      <a:pt x="253" y="157"/>
                    </a:lnTo>
                    <a:lnTo>
                      <a:pt x="253" y="158"/>
                    </a:lnTo>
                    <a:lnTo>
                      <a:pt x="255" y="158"/>
                    </a:lnTo>
                    <a:lnTo>
                      <a:pt x="256" y="158"/>
                    </a:lnTo>
                    <a:lnTo>
                      <a:pt x="258" y="158"/>
                    </a:lnTo>
                    <a:lnTo>
                      <a:pt x="260" y="158"/>
                    </a:lnTo>
                    <a:lnTo>
                      <a:pt x="260" y="160"/>
                    </a:lnTo>
                    <a:lnTo>
                      <a:pt x="261" y="161"/>
                    </a:lnTo>
                    <a:lnTo>
                      <a:pt x="263" y="161"/>
                    </a:lnTo>
                    <a:lnTo>
                      <a:pt x="263" y="160"/>
                    </a:lnTo>
                    <a:lnTo>
                      <a:pt x="264" y="160"/>
                    </a:lnTo>
                    <a:lnTo>
                      <a:pt x="264" y="158"/>
                    </a:lnTo>
                    <a:lnTo>
                      <a:pt x="266" y="158"/>
                    </a:lnTo>
                    <a:lnTo>
                      <a:pt x="266" y="160"/>
                    </a:lnTo>
                    <a:lnTo>
                      <a:pt x="267" y="160"/>
                    </a:lnTo>
                    <a:lnTo>
                      <a:pt x="269" y="160"/>
                    </a:lnTo>
                    <a:lnTo>
                      <a:pt x="269" y="161"/>
                    </a:lnTo>
                    <a:lnTo>
                      <a:pt x="271" y="161"/>
                    </a:lnTo>
                    <a:lnTo>
                      <a:pt x="271" y="160"/>
                    </a:lnTo>
                    <a:lnTo>
                      <a:pt x="272" y="160"/>
                    </a:lnTo>
                    <a:lnTo>
                      <a:pt x="272" y="161"/>
                    </a:lnTo>
                    <a:lnTo>
                      <a:pt x="274" y="161"/>
                    </a:lnTo>
                    <a:lnTo>
                      <a:pt x="274" y="163"/>
                    </a:lnTo>
                    <a:lnTo>
                      <a:pt x="272" y="165"/>
                    </a:lnTo>
                    <a:lnTo>
                      <a:pt x="271" y="166"/>
                    </a:lnTo>
                    <a:lnTo>
                      <a:pt x="271" y="168"/>
                    </a:lnTo>
                    <a:lnTo>
                      <a:pt x="272" y="168"/>
                    </a:lnTo>
                    <a:lnTo>
                      <a:pt x="272" y="169"/>
                    </a:lnTo>
                    <a:lnTo>
                      <a:pt x="274" y="169"/>
                    </a:lnTo>
                    <a:lnTo>
                      <a:pt x="275" y="169"/>
                    </a:lnTo>
                    <a:lnTo>
                      <a:pt x="275" y="168"/>
                    </a:lnTo>
                    <a:lnTo>
                      <a:pt x="277" y="169"/>
                    </a:lnTo>
                    <a:lnTo>
                      <a:pt x="279" y="171"/>
                    </a:lnTo>
                    <a:lnTo>
                      <a:pt x="280" y="173"/>
                    </a:lnTo>
                    <a:lnTo>
                      <a:pt x="280" y="174"/>
                    </a:lnTo>
                    <a:lnTo>
                      <a:pt x="280" y="176"/>
                    </a:lnTo>
                    <a:lnTo>
                      <a:pt x="279" y="177"/>
                    </a:lnTo>
                    <a:lnTo>
                      <a:pt x="277" y="177"/>
                    </a:lnTo>
                    <a:lnTo>
                      <a:pt x="275" y="177"/>
                    </a:lnTo>
                    <a:lnTo>
                      <a:pt x="275" y="179"/>
                    </a:lnTo>
                    <a:lnTo>
                      <a:pt x="274" y="179"/>
                    </a:lnTo>
                    <a:lnTo>
                      <a:pt x="272" y="179"/>
                    </a:lnTo>
                    <a:lnTo>
                      <a:pt x="271" y="180"/>
                    </a:lnTo>
                    <a:lnTo>
                      <a:pt x="269" y="180"/>
                    </a:lnTo>
                    <a:lnTo>
                      <a:pt x="267" y="180"/>
                    </a:lnTo>
                    <a:lnTo>
                      <a:pt x="267" y="179"/>
                    </a:lnTo>
                    <a:lnTo>
                      <a:pt x="266" y="179"/>
                    </a:lnTo>
                    <a:lnTo>
                      <a:pt x="266" y="177"/>
                    </a:lnTo>
                    <a:lnTo>
                      <a:pt x="266" y="176"/>
                    </a:lnTo>
                    <a:lnTo>
                      <a:pt x="266" y="174"/>
                    </a:lnTo>
                    <a:lnTo>
                      <a:pt x="264" y="174"/>
                    </a:lnTo>
                    <a:lnTo>
                      <a:pt x="263" y="174"/>
                    </a:lnTo>
                    <a:lnTo>
                      <a:pt x="261" y="174"/>
                    </a:lnTo>
                    <a:lnTo>
                      <a:pt x="260" y="174"/>
                    </a:lnTo>
                    <a:lnTo>
                      <a:pt x="258" y="174"/>
                    </a:lnTo>
                    <a:lnTo>
                      <a:pt x="258" y="176"/>
                    </a:lnTo>
                    <a:lnTo>
                      <a:pt x="258" y="177"/>
                    </a:lnTo>
                    <a:lnTo>
                      <a:pt x="258" y="179"/>
                    </a:lnTo>
                    <a:lnTo>
                      <a:pt x="256" y="179"/>
                    </a:lnTo>
                    <a:lnTo>
                      <a:pt x="256" y="180"/>
                    </a:lnTo>
                    <a:lnTo>
                      <a:pt x="255" y="180"/>
                    </a:lnTo>
                    <a:lnTo>
                      <a:pt x="253" y="180"/>
                    </a:lnTo>
                    <a:lnTo>
                      <a:pt x="252" y="179"/>
                    </a:lnTo>
                    <a:lnTo>
                      <a:pt x="252" y="177"/>
                    </a:lnTo>
                    <a:lnTo>
                      <a:pt x="250" y="176"/>
                    </a:lnTo>
                    <a:lnTo>
                      <a:pt x="248" y="176"/>
                    </a:lnTo>
                    <a:lnTo>
                      <a:pt x="247" y="176"/>
                    </a:lnTo>
                    <a:lnTo>
                      <a:pt x="245" y="176"/>
                    </a:lnTo>
                    <a:lnTo>
                      <a:pt x="244" y="174"/>
                    </a:lnTo>
                    <a:lnTo>
                      <a:pt x="244" y="173"/>
                    </a:lnTo>
                    <a:lnTo>
                      <a:pt x="242" y="173"/>
                    </a:lnTo>
                    <a:lnTo>
                      <a:pt x="242" y="171"/>
                    </a:lnTo>
                    <a:lnTo>
                      <a:pt x="242" y="169"/>
                    </a:lnTo>
                    <a:lnTo>
                      <a:pt x="241" y="169"/>
                    </a:lnTo>
                    <a:lnTo>
                      <a:pt x="241" y="168"/>
                    </a:lnTo>
                    <a:lnTo>
                      <a:pt x="239" y="168"/>
                    </a:lnTo>
                    <a:lnTo>
                      <a:pt x="237" y="168"/>
                    </a:lnTo>
                    <a:lnTo>
                      <a:pt x="236" y="166"/>
                    </a:lnTo>
                    <a:lnTo>
                      <a:pt x="234" y="165"/>
                    </a:lnTo>
                    <a:lnTo>
                      <a:pt x="233" y="163"/>
                    </a:lnTo>
                    <a:lnTo>
                      <a:pt x="231" y="163"/>
                    </a:lnTo>
                    <a:lnTo>
                      <a:pt x="231" y="161"/>
                    </a:lnTo>
                    <a:lnTo>
                      <a:pt x="231" y="163"/>
                    </a:lnTo>
                    <a:lnTo>
                      <a:pt x="229" y="163"/>
                    </a:lnTo>
                    <a:lnTo>
                      <a:pt x="228" y="163"/>
                    </a:lnTo>
                    <a:lnTo>
                      <a:pt x="226" y="163"/>
                    </a:lnTo>
                    <a:lnTo>
                      <a:pt x="225" y="163"/>
                    </a:lnTo>
                    <a:lnTo>
                      <a:pt x="223" y="163"/>
                    </a:lnTo>
                    <a:lnTo>
                      <a:pt x="223" y="165"/>
                    </a:lnTo>
                    <a:lnTo>
                      <a:pt x="222" y="165"/>
                    </a:lnTo>
                    <a:lnTo>
                      <a:pt x="220" y="165"/>
                    </a:lnTo>
                    <a:lnTo>
                      <a:pt x="220" y="166"/>
                    </a:lnTo>
                    <a:lnTo>
                      <a:pt x="220" y="168"/>
                    </a:lnTo>
                    <a:lnTo>
                      <a:pt x="220" y="169"/>
                    </a:lnTo>
                    <a:lnTo>
                      <a:pt x="220" y="171"/>
                    </a:lnTo>
                    <a:lnTo>
                      <a:pt x="220" y="173"/>
                    </a:lnTo>
                    <a:lnTo>
                      <a:pt x="220" y="174"/>
                    </a:lnTo>
                    <a:lnTo>
                      <a:pt x="222" y="176"/>
                    </a:lnTo>
                    <a:lnTo>
                      <a:pt x="222" y="177"/>
                    </a:lnTo>
                    <a:lnTo>
                      <a:pt x="223" y="179"/>
                    </a:lnTo>
                    <a:lnTo>
                      <a:pt x="225" y="180"/>
                    </a:lnTo>
                    <a:lnTo>
                      <a:pt x="225" y="182"/>
                    </a:lnTo>
                    <a:lnTo>
                      <a:pt x="226" y="184"/>
                    </a:lnTo>
                    <a:lnTo>
                      <a:pt x="228" y="185"/>
                    </a:lnTo>
                    <a:lnTo>
                      <a:pt x="226" y="187"/>
                    </a:lnTo>
                    <a:lnTo>
                      <a:pt x="225" y="187"/>
                    </a:lnTo>
                    <a:lnTo>
                      <a:pt x="223" y="187"/>
                    </a:lnTo>
                    <a:lnTo>
                      <a:pt x="222" y="187"/>
                    </a:lnTo>
                    <a:lnTo>
                      <a:pt x="220" y="187"/>
                    </a:lnTo>
                    <a:lnTo>
                      <a:pt x="218" y="188"/>
                    </a:lnTo>
                    <a:lnTo>
                      <a:pt x="217" y="188"/>
                    </a:lnTo>
                    <a:lnTo>
                      <a:pt x="215" y="187"/>
                    </a:lnTo>
                    <a:lnTo>
                      <a:pt x="214" y="185"/>
                    </a:lnTo>
                    <a:lnTo>
                      <a:pt x="214" y="184"/>
                    </a:lnTo>
                    <a:lnTo>
                      <a:pt x="212" y="184"/>
                    </a:lnTo>
                    <a:lnTo>
                      <a:pt x="212" y="182"/>
                    </a:lnTo>
                    <a:lnTo>
                      <a:pt x="210" y="182"/>
                    </a:lnTo>
                    <a:lnTo>
                      <a:pt x="210" y="180"/>
                    </a:lnTo>
                    <a:lnTo>
                      <a:pt x="209" y="180"/>
                    </a:lnTo>
                    <a:lnTo>
                      <a:pt x="209" y="179"/>
                    </a:lnTo>
                    <a:lnTo>
                      <a:pt x="209" y="177"/>
                    </a:lnTo>
                    <a:lnTo>
                      <a:pt x="207" y="177"/>
                    </a:lnTo>
                    <a:lnTo>
                      <a:pt x="206" y="177"/>
                    </a:lnTo>
                    <a:lnTo>
                      <a:pt x="206" y="179"/>
                    </a:lnTo>
                    <a:lnTo>
                      <a:pt x="204" y="180"/>
                    </a:lnTo>
                    <a:lnTo>
                      <a:pt x="204" y="179"/>
                    </a:lnTo>
                    <a:lnTo>
                      <a:pt x="203" y="179"/>
                    </a:lnTo>
                    <a:lnTo>
                      <a:pt x="201" y="179"/>
                    </a:lnTo>
                    <a:lnTo>
                      <a:pt x="201" y="180"/>
                    </a:lnTo>
                    <a:lnTo>
                      <a:pt x="201" y="182"/>
                    </a:lnTo>
                    <a:lnTo>
                      <a:pt x="203" y="182"/>
                    </a:lnTo>
                    <a:lnTo>
                      <a:pt x="203" y="184"/>
                    </a:lnTo>
                    <a:lnTo>
                      <a:pt x="203" y="185"/>
                    </a:lnTo>
                    <a:lnTo>
                      <a:pt x="203" y="187"/>
                    </a:lnTo>
                    <a:lnTo>
                      <a:pt x="203" y="188"/>
                    </a:lnTo>
                    <a:lnTo>
                      <a:pt x="201" y="188"/>
                    </a:lnTo>
                    <a:lnTo>
                      <a:pt x="199" y="188"/>
                    </a:lnTo>
                    <a:lnTo>
                      <a:pt x="198" y="187"/>
                    </a:lnTo>
                    <a:lnTo>
                      <a:pt x="198" y="188"/>
                    </a:lnTo>
                    <a:lnTo>
                      <a:pt x="196" y="188"/>
                    </a:lnTo>
                    <a:lnTo>
                      <a:pt x="196" y="187"/>
                    </a:lnTo>
                    <a:lnTo>
                      <a:pt x="195" y="185"/>
                    </a:lnTo>
                    <a:lnTo>
                      <a:pt x="195" y="184"/>
                    </a:lnTo>
                    <a:lnTo>
                      <a:pt x="195" y="182"/>
                    </a:lnTo>
                    <a:lnTo>
                      <a:pt x="193" y="182"/>
                    </a:lnTo>
                    <a:lnTo>
                      <a:pt x="193" y="180"/>
                    </a:lnTo>
                    <a:lnTo>
                      <a:pt x="191" y="179"/>
                    </a:lnTo>
                    <a:lnTo>
                      <a:pt x="191" y="177"/>
                    </a:lnTo>
                    <a:lnTo>
                      <a:pt x="191" y="176"/>
                    </a:lnTo>
                    <a:lnTo>
                      <a:pt x="193" y="174"/>
                    </a:lnTo>
                    <a:lnTo>
                      <a:pt x="193" y="173"/>
                    </a:lnTo>
                    <a:lnTo>
                      <a:pt x="195" y="173"/>
                    </a:lnTo>
                    <a:lnTo>
                      <a:pt x="193" y="173"/>
                    </a:lnTo>
                    <a:lnTo>
                      <a:pt x="193" y="171"/>
                    </a:lnTo>
                    <a:lnTo>
                      <a:pt x="193" y="169"/>
                    </a:lnTo>
                    <a:lnTo>
                      <a:pt x="191" y="169"/>
                    </a:lnTo>
                    <a:lnTo>
                      <a:pt x="191" y="168"/>
                    </a:lnTo>
                    <a:lnTo>
                      <a:pt x="190" y="168"/>
                    </a:lnTo>
                    <a:lnTo>
                      <a:pt x="188" y="168"/>
                    </a:lnTo>
                    <a:lnTo>
                      <a:pt x="188" y="169"/>
                    </a:lnTo>
                    <a:lnTo>
                      <a:pt x="187" y="169"/>
                    </a:lnTo>
                    <a:lnTo>
                      <a:pt x="185" y="169"/>
                    </a:lnTo>
                    <a:lnTo>
                      <a:pt x="185" y="171"/>
                    </a:lnTo>
                    <a:lnTo>
                      <a:pt x="184" y="171"/>
                    </a:lnTo>
                    <a:lnTo>
                      <a:pt x="185" y="173"/>
                    </a:lnTo>
                    <a:lnTo>
                      <a:pt x="185" y="174"/>
                    </a:lnTo>
                    <a:lnTo>
                      <a:pt x="187" y="174"/>
                    </a:lnTo>
                    <a:lnTo>
                      <a:pt x="187" y="176"/>
                    </a:lnTo>
                    <a:lnTo>
                      <a:pt x="187" y="177"/>
                    </a:lnTo>
                    <a:lnTo>
                      <a:pt x="188" y="177"/>
                    </a:lnTo>
                    <a:lnTo>
                      <a:pt x="188" y="179"/>
                    </a:lnTo>
                    <a:lnTo>
                      <a:pt x="190" y="179"/>
                    </a:lnTo>
                    <a:lnTo>
                      <a:pt x="190" y="180"/>
                    </a:lnTo>
                    <a:lnTo>
                      <a:pt x="190" y="182"/>
                    </a:lnTo>
                    <a:lnTo>
                      <a:pt x="191" y="182"/>
                    </a:lnTo>
                    <a:lnTo>
                      <a:pt x="191" y="184"/>
                    </a:lnTo>
                    <a:lnTo>
                      <a:pt x="191" y="185"/>
                    </a:lnTo>
                    <a:lnTo>
                      <a:pt x="191" y="187"/>
                    </a:lnTo>
                    <a:lnTo>
                      <a:pt x="193" y="187"/>
                    </a:lnTo>
                    <a:lnTo>
                      <a:pt x="193" y="188"/>
                    </a:lnTo>
                    <a:lnTo>
                      <a:pt x="193" y="190"/>
                    </a:lnTo>
                    <a:lnTo>
                      <a:pt x="195" y="190"/>
                    </a:lnTo>
                    <a:lnTo>
                      <a:pt x="195" y="192"/>
                    </a:lnTo>
                    <a:lnTo>
                      <a:pt x="195" y="193"/>
                    </a:lnTo>
                    <a:lnTo>
                      <a:pt x="195" y="195"/>
                    </a:lnTo>
                    <a:lnTo>
                      <a:pt x="195" y="196"/>
                    </a:lnTo>
                    <a:lnTo>
                      <a:pt x="193" y="196"/>
                    </a:lnTo>
                    <a:lnTo>
                      <a:pt x="191" y="196"/>
                    </a:lnTo>
                    <a:lnTo>
                      <a:pt x="191" y="195"/>
                    </a:lnTo>
                    <a:lnTo>
                      <a:pt x="190" y="195"/>
                    </a:lnTo>
                    <a:lnTo>
                      <a:pt x="190" y="193"/>
                    </a:lnTo>
                    <a:lnTo>
                      <a:pt x="190" y="192"/>
                    </a:lnTo>
                    <a:lnTo>
                      <a:pt x="188" y="192"/>
                    </a:lnTo>
                    <a:lnTo>
                      <a:pt x="188" y="190"/>
                    </a:lnTo>
                    <a:lnTo>
                      <a:pt x="187" y="190"/>
                    </a:lnTo>
                    <a:lnTo>
                      <a:pt x="187" y="188"/>
                    </a:lnTo>
                    <a:lnTo>
                      <a:pt x="185" y="188"/>
                    </a:lnTo>
                    <a:lnTo>
                      <a:pt x="185" y="187"/>
                    </a:lnTo>
                    <a:lnTo>
                      <a:pt x="184" y="187"/>
                    </a:lnTo>
                    <a:lnTo>
                      <a:pt x="182" y="187"/>
                    </a:lnTo>
                    <a:lnTo>
                      <a:pt x="180" y="187"/>
                    </a:lnTo>
                    <a:lnTo>
                      <a:pt x="180" y="185"/>
                    </a:lnTo>
                    <a:lnTo>
                      <a:pt x="179" y="185"/>
                    </a:lnTo>
                    <a:lnTo>
                      <a:pt x="179" y="184"/>
                    </a:lnTo>
                    <a:lnTo>
                      <a:pt x="179" y="182"/>
                    </a:lnTo>
                    <a:lnTo>
                      <a:pt x="177" y="182"/>
                    </a:lnTo>
                    <a:lnTo>
                      <a:pt x="177" y="180"/>
                    </a:lnTo>
                    <a:lnTo>
                      <a:pt x="176" y="180"/>
                    </a:lnTo>
                    <a:lnTo>
                      <a:pt x="174" y="179"/>
                    </a:lnTo>
                    <a:lnTo>
                      <a:pt x="172" y="179"/>
                    </a:lnTo>
                    <a:lnTo>
                      <a:pt x="171" y="179"/>
                    </a:lnTo>
                    <a:lnTo>
                      <a:pt x="169" y="180"/>
                    </a:lnTo>
                    <a:lnTo>
                      <a:pt x="168" y="180"/>
                    </a:lnTo>
                    <a:lnTo>
                      <a:pt x="166" y="180"/>
                    </a:lnTo>
                    <a:lnTo>
                      <a:pt x="166" y="179"/>
                    </a:lnTo>
                    <a:lnTo>
                      <a:pt x="165" y="179"/>
                    </a:lnTo>
                    <a:lnTo>
                      <a:pt x="165" y="177"/>
                    </a:lnTo>
                    <a:lnTo>
                      <a:pt x="163" y="177"/>
                    </a:lnTo>
                    <a:lnTo>
                      <a:pt x="163" y="176"/>
                    </a:lnTo>
                    <a:lnTo>
                      <a:pt x="161" y="176"/>
                    </a:lnTo>
                    <a:lnTo>
                      <a:pt x="160" y="176"/>
                    </a:lnTo>
                    <a:lnTo>
                      <a:pt x="160" y="174"/>
                    </a:lnTo>
                    <a:lnTo>
                      <a:pt x="158" y="174"/>
                    </a:lnTo>
                    <a:lnTo>
                      <a:pt x="157" y="176"/>
                    </a:lnTo>
                    <a:lnTo>
                      <a:pt x="157" y="177"/>
                    </a:lnTo>
                    <a:lnTo>
                      <a:pt x="155" y="177"/>
                    </a:lnTo>
                    <a:lnTo>
                      <a:pt x="157" y="179"/>
                    </a:lnTo>
                    <a:lnTo>
                      <a:pt x="157" y="180"/>
                    </a:lnTo>
                    <a:lnTo>
                      <a:pt x="158" y="182"/>
                    </a:lnTo>
                    <a:lnTo>
                      <a:pt x="158" y="184"/>
                    </a:lnTo>
                    <a:lnTo>
                      <a:pt x="160" y="184"/>
                    </a:lnTo>
                    <a:lnTo>
                      <a:pt x="160" y="185"/>
                    </a:lnTo>
                    <a:lnTo>
                      <a:pt x="161" y="187"/>
                    </a:lnTo>
                    <a:lnTo>
                      <a:pt x="160" y="188"/>
                    </a:lnTo>
                    <a:lnTo>
                      <a:pt x="160" y="190"/>
                    </a:lnTo>
                    <a:lnTo>
                      <a:pt x="158" y="190"/>
                    </a:lnTo>
                    <a:lnTo>
                      <a:pt x="158" y="192"/>
                    </a:lnTo>
                    <a:lnTo>
                      <a:pt x="158" y="193"/>
                    </a:lnTo>
                    <a:lnTo>
                      <a:pt x="157" y="193"/>
                    </a:lnTo>
                    <a:lnTo>
                      <a:pt x="157" y="195"/>
                    </a:lnTo>
                    <a:lnTo>
                      <a:pt x="158" y="196"/>
                    </a:lnTo>
                    <a:lnTo>
                      <a:pt x="158" y="198"/>
                    </a:lnTo>
                    <a:lnTo>
                      <a:pt x="158" y="199"/>
                    </a:lnTo>
                    <a:lnTo>
                      <a:pt x="160" y="201"/>
                    </a:lnTo>
                    <a:lnTo>
                      <a:pt x="160" y="203"/>
                    </a:lnTo>
                    <a:lnTo>
                      <a:pt x="160" y="204"/>
                    </a:lnTo>
                    <a:lnTo>
                      <a:pt x="161" y="204"/>
                    </a:lnTo>
                    <a:lnTo>
                      <a:pt x="161" y="206"/>
                    </a:lnTo>
                    <a:lnTo>
                      <a:pt x="163" y="206"/>
                    </a:lnTo>
                    <a:lnTo>
                      <a:pt x="163" y="207"/>
                    </a:lnTo>
                    <a:lnTo>
                      <a:pt x="165" y="207"/>
                    </a:lnTo>
                    <a:lnTo>
                      <a:pt x="166" y="207"/>
                    </a:lnTo>
                    <a:lnTo>
                      <a:pt x="168" y="207"/>
                    </a:lnTo>
                    <a:lnTo>
                      <a:pt x="169" y="207"/>
                    </a:lnTo>
                    <a:lnTo>
                      <a:pt x="171" y="206"/>
                    </a:lnTo>
                    <a:lnTo>
                      <a:pt x="172" y="206"/>
                    </a:lnTo>
                    <a:lnTo>
                      <a:pt x="174" y="206"/>
                    </a:lnTo>
                    <a:lnTo>
                      <a:pt x="176" y="206"/>
                    </a:lnTo>
                    <a:lnTo>
                      <a:pt x="177" y="206"/>
                    </a:lnTo>
                    <a:lnTo>
                      <a:pt x="179" y="206"/>
                    </a:lnTo>
                    <a:lnTo>
                      <a:pt x="180" y="206"/>
                    </a:lnTo>
                    <a:lnTo>
                      <a:pt x="180" y="204"/>
                    </a:lnTo>
                    <a:lnTo>
                      <a:pt x="182" y="204"/>
                    </a:lnTo>
                    <a:lnTo>
                      <a:pt x="184" y="204"/>
                    </a:lnTo>
                    <a:lnTo>
                      <a:pt x="185" y="204"/>
                    </a:lnTo>
                    <a:lnTo>
                      <a:pt x="187" y="204"/>
                    </a:lnTo>
                    <a:lnTo>
                      <a:pt x="187" y="206"/>
                    </a:lnTo>
                    <a:lnTo>
                      <a:pt x="188" y="206"/>
                    </a:lnTo>
                    <a:lnTo>
                      <a:pt x="190" y="206"/>
                    </a:lnTo>
                    <a:lnTo>
                      <a:pt x="191" y="206"/>
                    </a:lnTo>
                    <a:lnTo>
                      <a:pt x="193" y="206"/>
                    </a:lnTo>
                    <a:lnTo>
                      <a:pt x="195" y="207"/>
                    </a:lnTo>
                    <a:lnTo>
                      <a:pt x="196" y="207"/>
                    </a:lnTo>
                    <a:lnTo>
                      <a:pt x="198" y="209"/>
                    </a:lnTo>
                    <a:lnTo>
                      <a:pt x="199" y="209"/>
                    </a:lnTo>
                    <a:lnTo>
                      <a:pt x="199" y="211"/>
                    </a:lnTo>
                    <a:lnTo>
                      <a:pt x="201" y="211"/>
                    </a:lnTo>
                    <a:lnTo>
                      <a:pt x="201" y="212"/>
                    </a:lnTo>
                    <a:lnTo>
                      <a:pt x="203" y="212"/>
                    </a:lnTo>
                    <a:lnTo>
                      <a:pt x="203" y="214"/>
                    </a:lnTo>
                    <a:lnTo>
                      <a:pt x="204" y="215"/>
                    </a:lnTo>
                    <a:lnTo>
                      <a:pt x="206" y="215"/>
                    </a:lnTo>
                    <a:lnTo>
                      <a:pt x="206" y="217"/>
                    </a:lnTo>
                    <a:lnTo>
                      <a:pt x="207" y="217"/>
                    </a:lnTo>
                    <a:lnTo>
                      <a:pt x="207" y="218"/>
                    </a:lnTo>
                    <a:lnTo>
                      <a:pt x="209" y="218"/>
                    </a:lnTo>
                    <a:lnTo>
                      <a:pt x="210" y="220"/>
                    </a:lnTo>
                    <a:lnTo>
                      <a:pt x="212" y="220"/>
                    </a:lnTo>
                    <a:lnTo>
                      <a:pt x="212" y="222"/>
                    </a:lnTo>
                    <a:lnTo>
                      <a:pt x="214" y="222"/>
                    </a:lnTo>
                    <a:lnTo>
                      <a:pt x="214" y="223"/>
                    </a:lnTo>
                    <a:lnTo>
                      <a:pt x="215" y="223"/>
                    </a:lnTo>
                    <a:lnTo>
                      <a:pt x="215" y="225"/>
                    </a:lnTo>
                    <a:lnTo>
                      <a:pt x="217" y="225"/>
                    </a:lnTo>
                    <a:lnTo>
                      <a:pt x="217" y="226"/>
                    </a:lnTo>
                    <a:lnTo>
                      <a:pt x="218" y="226"/>
                    </a:lnTo>
                    <a:lnTo>
                      <a:pt x="220" y="228"/>
                    </a:lnTo>
                    <a:lnTo>
                      <a:pt x="222" y="230"/>
                    </a:lnTo>
                    <a:lnTo>
                      <a:pt x="223" y="230"/>
                    </a:lnTo>
                    <a:lnTo>
                      <a:pt x="225" y="230"/>
                    </a:lnTo>
                    <a:lnTo>
                      <a:pt x="225" y="231"/>
                    </a:lnTo>
                    <a:lnTo>
                      <a:pt x="226" y="231"/>
                    </a:lnTo>
                    <a:lnTo>
                      <a:pt x="228" y="231"/>
                    </a:lnTo>
                    <a:lnTo>
                      <a:pt x="229" y="231"/>
                    </a:lnTo>
                    <a:lnTo>
                      <a:pt x="231" y="231"/>
                    </a:lnTo>
                    <a:lnTo>
                      <a:pt x="233" y="231"/>
                    </a:lnTo>
                    <a:lnTo>
                      <a:pt x="234" y="233"/>
                    </a:lnTo>
                    <a:lnTo>
                      <a:pt x="236" y="233"/>
                    </a:lnTo>
                    <a:lnTo>
                      <a:pt x="237" y="233"/>
                    </a:lnTo>
                    <a:lnTo>
                      <a:pt x="239" y="233"/>
                    </a:lnTo>
                    <a:lnTo>
                      <a:pt x="241" y="233"/>
                    </a:lnTo>
                    <a:lnTo>
                      <a:pt x="242" y="233"/>
                    </a:lnTo>
                    <a:lnTo>
                      <a:pt x="244" y="233"/>
                    </a:lnTo>
                    <a:lnTo>
                      <a:pt x="245" y="233"/>
                    </a:lnTo>
                    <a:lnTo>
                      <a:pt x="247" y="233"/>
                    </a:lnTo>
                    <a:lnTo>
                      <a:pt x="248" y="233"/>
                    </a:lnTo>
                    <a:lnTo>
                      <a:pt x="248" y="231"/>
                    </a:lnTo>
                    <a:lnTo>
                      <a:pt x="250" y="231"/>
                    </a:lnTo>
                    <a:lnTo>
                      <a:pt x="252" y="231"/>
                    </a:lnTo>
                    <a:lnTo>
                      <a:pt x="253" y="231"/>
                    </a:lnTo>
                    <a:lnTo>
                      <a:pt x="255" y="231"/>
                    </a:lnTo>
                    <a:lnTo>
                      <a:pt x="256" y="231"/>
                    </a:lnTo>
                    <a:lnTo>
                      <a:pt x="258" y="230"/>
                    </a:lnTo>
                    <a:lnTo>
                      <a:pt x="260" y="230"/>
                    </a:lnTo>
                    <a:lnTo>
                      <a:pt x="261" y="230"/>
                    </a:lnTo>
                    <a:lnTo>
                      <a:pt x="263" y="230"/>
                    </a:lnTo>
                    <a:lnTo>
                      <a:pt x="264" y="228"/>
                    </a:lnTo>
                    <a:lnTo>
                      <a:pt x="266" y="228"/>
                    </a:lnTo>
                    <a:lnTo>
                      <a:pt x="266" y="226"/>
                    </a:lnTo>
                    <a:lnTo>
                      <a:pt x="267" y="226"/>
                    </a:lnTo>
                    <a:lnTo>
                      <a:pt x="269" y="226"/>
                    </a:lnTo>
                    <a:lnTo>
                      <a:pt x="271" y="226"/>
                    </a:lnTo>
                    <a:lnTo>
                      <a:pt x="272" y="226"/>
                    </a:lnTo>
                    <a:lnTo>
                      <a:pt x="274" y="225"/>
                    </a:lnTo>
                    <a:lnTo>
                      <a:pt x="275" y="225"/>
                    </a:lnTo>
                    <a:lnTo>
                      <a:pt x="277" y="223"/>
                    </a:lnTo>
                    <a:lnTo>
                      <a:pt x="279" y="223"/>
                    </a:lnTo>
                    <a:lnTo>
                      <a:pt x="280" y="223"/>
                    </a:lnTo>
                    <a:lnTo>
                      <a:pt x="280" y="222"/>
                    </a:lnTo>
                    <a:lnTo>
                      <a:pt x="282" y="222"/>
                    </a:lnTo>
                    <a:lnTo>
                      <a:pt x="283" y="222"/>
                    </a:lnTo>
                    <a:lnTo>
                      <a:pt x="285" y="222"/>
                    </a:lnTo>
                    <a:lnTo>
                      <a:pt x="286" y="222"/>
                    </a:lnTo>
                    <a:lnTo>
                      <a:pt x="288" y="222"/>
                    </a:lnTo>
                    <a:lnTo>
                      <a:pt x="290" y="222"/>
                    </a:lnTo>
                    <a:lnTo>
                      <a:pt x="290" y="220"/>
                    </a:lnTo>
                    <a:lnTo>
                      <a:pt x="291" y="220"/>
                    </a:lnTo>
                    <a:lnTo>
                      <a:pt x="291" y="218"/>
                    </a:lnTo>
                    <a:lnTo>
                      <a:pt x="293" y="218"/>
                    </a:lnTo>
                    <a:lnTo>
                      <a:pt x="294" y="218"/>
                    </a:lnTo>
                    <a:lnTo>
                      <a:pt x="294" y="220"/>
                    </a:lnTo>
                    <a:lnTo>
                      <a:pt x="296" y="218"/>
                    </a:lnTo>
                    <a:lnTo>
                      <a:pt x="298" y="217"/>
                    </a:lnTo>
                    <a:lnTo>
                      <a:pt x="299" y="215"/>
                    </a:lnTo>
                    <a:lnTo>
                      <a:pt x="299" y="214"/>
                    </a:lnTo>
                    <a:lnTo>
                      <a:pt x="301" y="214"/>
                    </a:lnTo>
                    <a:lnTo>
                      <a:pt x="301" y="212"/>
                    </a:lnTo>
                    <a:lnTo>
                      <a:pt x="301" y="211"/>
                    </a:lnTo>
                    <a:lnTo>
                      <a:pt x="302" y="211"/>
                    </a:lnTo>
                    <a:lnTo>
                      <a:pt x="302" y="209"/>
                    </a:lnTo>
                    <a:lnTo>
                      <a:pt x="304" y="209"/>
                    </a:lnTo>
                    <a:lnTo>
                      <a:pt x="304" y="207"/>
                    </a:lnTo>
                    <a:lnTo>
                      <a:pt x="306" y="207"/>
                    </a:lnTo>
                    <a:lnTo>
                      <a:pt x="307" y="207"/>
                    </a:lnTo>
                    <a:lnTo>
                      <a:pt x="307" y="206"/>
                    </a:lnTo>
                    <a:lnTo>
                      <a:pt x="309" y="206"/>
                    </a:lnTo>
                    <a:lnTo>
                      <a:pt x="310" y="206"/>
                    </a:lnTo>
                    <a:lnTo>
                      <a:pt x="312" y="206"/>
                    </a:lnTo>
                    <a:lnTo>
                      <a:pt x="312" y="204"/>
                    </a:lnTo>
                    <a:lnTo>
                      <a:pt x="313" y="204"/>
                    </a:lnTo>
                    <a:lnTo>
                      <a:pt x="315" y="203"/>
                    </a:lnTo>
                    <a:lnTo>
                      <a:pt x="317" y="203"/>
                    </a:lnTo>
                    <a:lnTo>
                      <a:pt x="317" y="201"/>
                    </a:lnTo>
                    <a:lnTo>
                      <a:pt x="318" y="203"/>
                    </a:lnTo>
                    <a:lnTo>
                      <a:pt x="320" y="201"/>
                    </a:lnTo>
                    <a:lnTo>
                      <a:pt x="321" y="201"/>
                    </a:lnTo>
                    <a:lnTo>
                      <a:pt x="323" y="201"/>
                    </a:lnTo>
                    <a:lnTo>
                      <a:pt x="325" y="199"/>
                    </a:lnTo>
                    <a:lnTo>
                      <a:pt x="326" y="199"/>
                    </a:lnTo>
                    <a:lnTo>
                      <a:pt x="328" y="199"/>
                    </a:lnTo>
                    <a:lnTo>
                      <a:pt x="329" y="199"/>
                    </a:lnTo>
                    <a:lnTo>
                      <a:pt x="331" y="199"/>
                    </a:lnTo>
                    <a:lnTo>
                      <a:pt x="350" y="199"/>
                    </a:lnTo>
                    <a:lnTo>
                      <a:pt x="351" y="199"/>
                    </a:lnTo>
                    <a:lnTo>
                      <a:pt x="353" y="199"/>
                    </a:lnTo>
                    <a:lnTo>
                      <a:pt x="355" y="199"/>
                    </a:lnTo>
                    <a:lnTo>
                      <a:pt x="355" y="201"/>
                    </a:lnTo>
                    <a:lnTo>
                      <a:pt x="356" y="201"/>
                    </a:lnTo>
                    <a:lnTo>
                      <a:pt x="356" y="203"/>
                    </a:lnTo>
                    <a:lnTo>
                      <a:pt x="358" y="204"/>
                    </a:lnTo>
                    <a:lnTo>
                      <a:pt x="358" y="206"/>
                    </a:lnTo>
                    <a:lnTo>
                      <a:pt x="359" y="206"/>
                    </a:lnTo>
                    <a:lnTo>
                      <a:pt x="359" y="207"/>
                    </a:lnTo>
                    <a:lnTo>
                      <a:pt x="359" y="209"/>
                    </a:lnTo>
                    <a:lnTo>
                      <a:pt x="359" y="211"/>
                    </a:lnTo>
                    <a:lnTo>
                      <a:pt x="359" y="212"/>
                    </a:lnTo>
                    <a:lnTo>
                      <a:pt x="359" y="214"/>
                    </a:lnTo>
                    <a:lnTo>
                      <a:pt x="359" y="215"/>
                    </a:lnTo>
                    <a:lnTo>
                      <a:pt x="359" y="217"/>
                    </a:lnTo>
                    <a:lnTo>
                      <a:pt x="359" y="218"/>
                    </a:lnTo>
                    <a:lnTo>
                      <a:pt x="359" y="220"/>
                    </a:lnTo>
                    <a:lnTo>
                      <a:pt x="361" y="222"/>
                    </a:lnTo>
                    <a:lnTo>
                      <a:pt x="361" y="223"/>
                    </a:lnTo>
                    <a:lnTo>
                      <a:pt x="361" y="225"/>
                    </a:lnTo>
                    <a:lnTo>
                      <a:pt x="361" y="226"/>
                    </a:lnTo>
                    <a:lnTo>
                      <a:pt x="361" y="228"/>
                    </a:lnTo>
                    <a:lnTo>
                      <a:pt x="363" y="230"/>
                    </a:lnTo>
                    <a:lnTo>
                      <a:pt x="363" y="231"/>
                    </a:lnTo>
                    <a:lnTo>
                      <a:pt x="363" y="233"/>
                    </a:lnTo>
                    <a:lnTo>
                      <a:pt x="364" y="233"/>
                    </a:lnTo>
                    <a:lnTo>
                      <a:pt x="366" y="236"/>
                    </a:lnTo>
                    <a:lnTo>
                      <a:pt x="367" y="236"/>
                    </a:lnTo>
                    <a:lnTo>
                      <a:pt x="369" y="236"/>
                    </a:lnTo>
                    <a:lnTo>
                      <a:pt x="369" y="234"/>
                    </a:lnTo>
                    <a:lnTo>
                      <a:pt x="370" y="236"/>
                    </a:lnTo>
                    <a:lnTo>
                      <a:pt x="370" y="237"/>
                    </a:lnTo>
                    <a:lnTo>
                      <a:pt x="372" y="236"/>
                    </a:lnTo>
                    <a:lnTo>
                      <a:pt x="374" y="236"/>
                    </a:lnTo>
                    <a:lnTo>
                      <a:pt x="375" y="236"/>
                    </a:lnTo>
                    <a:lnTo>
                      <a:pt x="377" y="234"/>
                    </a:lnTo>
                    <a:lnTo>
                      <a:pt x="378" y="236"/>
                    </a:lnTo>
                    <a:lnTo>
                      <a:pt x="380" y="236"/>
                    </a:lnTo>
                    <a:lnTo>
                      <a:pt x="380" y="234"/>
                    </a:lnTo>
                    <a:lnTo>
                      <a:pt x="382" y="234"/>
                    </a:lnTo>
                    <a:lnTo>
                      <a:pt x="385" y="233"/>
                    </a:lnTo>
                    <a:lnTo>
                      <a:pt x="386" y="231"/>
                    </a:lnTo>
                    <a:lnTo>
                      <a:pt x="388" y="231"/>
                    </a:lnTo>
                    <a:lnTo>
                      <a:pt x="389" y="231"/>
                    </a:lnTo>
                    <a:lnTo>
                      <a:pt x="391" y="231"/>
                    </a:lnTo>
                    <a:lnTo>
                      <a:pt x="393" y="231"/>
                    </a:lnTo>
                    <a:lnTo>
                      <a:pt x="396" y="231"/>
                    </a:lnTo>
                    <a:lnTo>
                      <a:pt x="397" y="233"/>
                    </a:lnTo>
                    <a:lnTo>
                      <a:pt x="399" y="233"/>
                    </a:lnTo>
                    <a:lnTo>
                      <a:pt x="399" y="234"/>
                    </a:lnTo>
                    <a:lnTo>
                      <a:pt x="401" y="234"/>
                    </a:lnTo>
                    <a:lnTo>
                      <a:pt x="402" y="234"/>
                    </a:lnTo>
                    <a:lnTo>
                      <a:pt x="404" y="234"/>
                    </a:lnTo>
                    <a:lnTo>
                      <a:pt x="405" y="234"/>
                    </a:lnTo>
                    <a:lnTo>
                      <a:pt x="407" y="234"/>
                    </a:lnTo>
                    <a:lnTo>
                      <a:pt x="408" y="234"/>
                    </a:lnTo>
                    <a:lnTo>
                      <a:pt x="410" y="233"/>
                    </a:lnTo>
                    <a:lnTo>
                      <a:pt x="413" y="233"/>
                    </a:lnTo>
                    <a:lnTo>
                      <a:pt x="415" y="233"/>
                    </a:lnTo>
                    <a:lnTo>
                      <a:pt x="416" y="231"/>
                    </a:lnTo>
                    <a:lnTo>
                      <a:pt x="418" y="231"/>
                    </a:lnTo>
                    <a:lnTo>
                      <a:pt x="423" y="231"/>
                    </a:lnTo>
                    <a:lnTo>
                      <a:pt x="421" y="233"/>
                    </a:lnTo>
                    <a:lnTo>
                      <a:pt x="421" y="234"/>
                    </a:lnTo>
                    <a:lnTo>
                      <a:pt x="421" y="236"/>
                    </a:lnTo>
                    <a:lnTo>
                      <a:pt x="421" y="237"/>
                    </a:lnTo>
                    <a:lnTo>
                      <a:pt x="420" y="237"/>
                    </a:lnTo>
                    <a:lnTo>
                      <a:pt x="420" y="239"/>
                    </a:lnTo>
                    <a:lnTo>
                      <a:pt x="420" y="241"/>
                    </a:lnTo>
                    <a:lnTo>
                      <a:pt x="418" y="242"/>
                    </a:lnTo>
                    <a:lnTo>
                      <a:pt x="418" y="244"/>
                    </a:lnTo>
                    <a:lnTo>
                      <a:pt x="418" y="245"/>
                    </a:lnTo>
                    <a:lnTo>
                      <a:pt x="416" y="245"/>
                    </a:lnTo>
                    <a:lnTo>
                      <a:pt x="416" y="247"/>
                    </a:lnTo>
                    <a:lnTo>
                      <a:pt x="416" y="249"/>
                    </a:lnTo>
                    <a:lnTo>
                      <a:pt x="415" y="249"/>
                    </a:lnTo>
                    <a:lnTo>
                      <a:pt x="415" y="250"/>
                    </a:lnTo>
                    <a:lnTo>
                      <a:pt x="413" y="250"/>
                    </a:lnTo>
                    <a:lnTo>
                      <a:pt x="413" y="252"/>
                    </a:lnTo>
                    <a:lnTo>
                      <a:pt x="413" y="253"/>
                    </a:lnTo>
                    <a:lnTo>
                      <a:pt x="412" y="253"/>
                    </a:lnTo>
                    <a:lnTo>
                      <a:pt x="412" y="255"/>
                    </a:lnTo>
                    <a:lnTo>
                      <a:pt x="410" y="256"/>
                    </a:lnTo>
                    <a:lnTo>
                      <a:pt x="410" y="258"/>
                    </a:lnTo>
                    <a:lnTo>
                      <a:pt x="410" y="260"/>
                    </a:lnTo>
                    <a:lnTo>
                      <a:pt x="408" y="260"/>
                    </a:lnTo>
                    <a:lnTo>
                      <a:pt x="408" y="261"/>
                    </a:lnTo>
                    <a:lnTo>
                      <a:pt x="408" y="263"/>
                    </a:lnTo>
                    <a:lnTo>
                      <a:pt x="408" y="264"/>
                    </a:lnTo>
                    <a:lnTo>
                      <a:pt x="407" y="264"/>
                    </a:lnTo>
                    <a:lnTo>
                      <a:pt x="407" y="266"/>
                    </a:lnTo>
                    <a:lnTo>
                      <a:pt x="407" y="268"/>
                    </a:lnTo>
                    <a:lnTo>
                      <a:pt x="405" y="268"/>
                    </a:lnTo>
                    <a:lnTo>
                      <a:pt x="405" y="269"/>
                    </a:lnTo>
                    <a:lnTo>
                      <a:pt x="405" y="271"/>
                    </a:lnTo>
                    <a:lnTo>
                      <a:pt x="404" y="271"/>
                    </a:lnTo>
                    <a:lnTo>
                      <a:pt x="404" y="272"/>
                    </a:lnTo>
                    <a:lnTo>
                      <a:pt x="402" y="272"/>
                    </a:lnTo>
                    <a:lnTo>
                      <a:pt x="402" y="274"/>
                    </a:lnTo>
                    <a:lnTo>
                      <a:pt x="401" y="274"/>
                    </a:lnTo>
                    <a:lnTo>
                      <a:pt x="401" y="275"/>
                    </a:lnTo>
                    <a:lnTo>
                      <a:pt x="399" y="275"/>
                    </a:lnTo>
                    <a:lnTo>
                      <a:pt x="399" y="277"/>
                    </a:lnTo>
                    <a:lnTo>
                      <a:pt x="399" y="279"/>
                    </a:lnTo>
                    <a:lnTo>
                      <a:pt x="397" y="279"/>
                    </a:lnTo>
                    <a:lnTo>
                      <a:pt x="397" y="280"/>
                    </a:lnTo>
                    <a:lnTo>
                      <a:pt x="397" y="282"/>
                    </a:lnTo>
                    <a:lnTo>
                      <a:pt x="397" y="283"/>
                    </a:lnTo>
                    <a:lnTo>
                      <a:pt x="397" y="285"/>
                    </a:lnTo>
                    <a:lnTo>
                      <a:pt x="397" y="287"/>
                    </a:lnTo>
                    <a:lnTo>
                      <a:pt x="397" y="288"/>
                    </a:lnTo>
                    <a:lnTo>
                      <a:pt x="397" y="290"/>
                    </a:lnTo>
                    <a:lnTo>
                      <a:pt x="397" y="291"/>
                    </a:lnTo>
                    <a:lnTo>
                      <a:pt x="397" y="293"/>
                    </a:lnTo>
                    <a:lnTo>
                      <a:pt x="397" y="294"/>
                    </a:lnTo>
                    <a:lnTo>
                      <a:pt x="397" y="296"/>
                    </a:lnTo>
                    <a:lnTo>
                      <a:pt x="397" y="298"/>
                    </a:lnTo>
                    <a:lnTo>
                      <a:pt x="397" y="299"/>
                    </a:lnTo>
                    <a:lnTo>
                      <a:pt x="397" y="301"/>
                    </a:lnTo>
                    <a:lnTo>
                      <a:pt x="397" y="302"/>
                    </a:lnTo>
                    <a:lnTo>
                      <a:pt x="396" y="302"/>
                    </a:lnTo>
                    <a:lnTo>
                      <a:pt x="396" y="304"/>
                    </a:lnTo>
                    <a:lnTo>
                      <a:pt x="396" y="306"/>
                    </a:lnTo>
                    <a:lnTo>
                      <a:pt x="396" y="307"/>
                    </a:lnTo>
                    <a:lnTo>
                      <a:pt x="396" y="309"/>
                    </a:lnTo>
                    <a:lnTo>
                      <a:pt x="396" y="310"/>
                    </a:lnTo>
                    <a:lnTo>
                      <a:pt x="394" y="312"/>
                    </a:lnTo>
                    <a:lnTo>
                      <a:pt x="394" y="313"/>
                    </a:lnTo>
                    <a:lnTo>
                      <a:pt x="393" y="313"/>
                    </a:lnTo>
                    <a:lnTo>
                      <a:pt x="393" y="315"/>
                    </a:lnTo>
                    <a:lnTo>
                      <a:pt x="391" y="315"/>
                    </a:lnTo>
                    <a:lnTo>
                      <a:pt x="391" y="317"/>
                    </a:lnTo>
                    <a:lnTo>
                      <a:pt x="389" y="317"/>
                    </a:lnTo>
                    <a:lnTo>
                      <a:pt x="389" y="318"/>
                    </a:lnTo>
                    <a:lnTo>
                      <a:pt x="388" y="318"/>
                    </a:lnTo>
                    <a:lnTo>
                      <a:pt x="388" y="320"/>
                    </a:lnTo>
                    <a:lnTo>
                      <a:pt x="386" y="320"/>
                    </a:lnTo>
                    <a:lnTo>
                      <a:pt x="386" y="321"/>
                    </a:lnTo>
                    <a:lnTo>
                      <a:pt x="385" y="323"/>
                    </a:lnTo>
                    <a:lnTo>
                      <a:pt x="385" y="325"/>
                    </a:lnTo>
                    <a:lnTo>
                      <a:pt x="383" y="326"/>
                    </a:lnTo>
                    <a:lnTo>
                      <a:pt x="383" y="328"/>
                    </a:lnTo>
                    <a:lnTo>
                      <a:pt x="385" y="328"/>
                    </a:lnTo>
                    <a:lnTo>
                      <a:pt x="385" y="329"/>
                    </a:lnTo>
                    <a:lnTo>
                      <a:pt x="385" y="331"/>
                    </a:lnTo>
                    <a:lnTo>
                      <a:pt x="386" y="331"/>
                    </a:lnTo>
                    <a:lnTo>
                      <a:pt x="386" y="332"/>
                    </a:lnTo>
                    <a:lnTo>
                      <a:pt x="388" y="332"/>
                    </a:lnTo>
                    <a:lnTo>
                      <a:pt x="388" y="334"/>
                    </a:lnTo>
                    <a:lnTo>
                      <a:pt x="389" y="334"/>
                    </a:lnTo>
                    <a:lnTo>
                      <a:pt x="389" y="336"/>
                    </a:lnTo>
                    <a:lnTo>
                      <a:pt x="389" y="337"/>
                    </a:lnTo>
                    <a:lnTo>
                      <a:pt x="391" y="339"/>
                    </a:lnTo>
                    <a:lnTo>
                      <a:pt x="389" y="339"/>
                    </a:lnTo>
                    <a:lnTo>
                      <a:pt x="389" y="340"/>
                    </a:lnTo>
                    <a:lnTo>
                      <a:pt x="388" y="340"/>
                    </a:lnTo>
                    <a:lnTo>
                      <a:pt x="386" y="340"/>
                    </a:lnTo>
                    <a:lnTo>
                      <a:pt x="385" y="340"/>
                    </a:lnTo>
                    <a:lnTo>
                      <a:pt x="383" y="339"/>
                    </a:lnTo>
                    <a:lnTo>
                      <a:pt x="382" y="339"/>
                    </a:lnTo>
                    <a:lnTo>
                      <a:pt x="380" y="339"/>
                    </a:lnTo>
                    <a:lnTo>
                      <a:pt x="378" y="339"/>
                    </a:lnTo>
                    <a:lnTo>
                      <a:pt x="378" y="337"/>
                    </a:lnTo>
                    <a:lnTo>
                      <a:pt x="377" y="337"/>
                    </a:lnTo>
                    <a:lnTo>
                      <a:pt x="375" y="337"/>
                    </a:lnTo>
                    <a:lnTo>
                      <a:pt x="374" y="337"/>
                    </a:lnTo>
                    <a:lnTo>
                      <a:pt x="372" y="337"/>
                    </a:lnTo>
                    <a:lnTo>
                      <a:pt x="372" y="339"/>
                    </a:lnTo>
                    <a:lnTo>
                      <a:pt x="370" y="339"/>
                    </a:lnTo>
                    <a:lnTo>
                      <a:pt x="369" y="339"/>
                    </a:lnTo>
                    <a:lnTo>
                      <a:pt x="369" y="337"/>
                    </a:lnTo>
                    <a:lnTo>
                      <a:pt x="367" y="337"/>
                    </a:lnTo>
                    <a:lnTo>
                      <a:pt x="366" y="337"/>
                    </a:lnTo>
                    <a:lnTo>
                      <a:pt x="366" y="336"/>
                    </a:lnTo>
                    <a:lnTo>
                      <a:pt x="364" y="334"/>
                    </a:lnTo>
                    <a:lnTo>
                      <a:pt x="363" y="334"/>
                    </a:lnTo>
                    <a:lnTo>
                      <a:pt x="361" y="336"/>
                    </a:lnTo>
                    <a:lnTo>
                      <a:pt x="359" y="336"/>
                    </a:lnTo>
                    <a:lnTo>
                      <a:pt x="358" y="336"/>
                    </a:lnTo>
                    <a:lnTo>
                      <a:pt x="356" y="336"/>
                    </a:lnTo>
                    <a:lnTo>
                      <a:pt x="355" y="336"/>
                    </a:lnTo>
                    <a:lnTo>
                      <a:pt x="353" y="334"/>
                    </a:lnTo>
                    <a:lnTo>
                      <a:pt x="351" y="334"/>
                    </a:lnTo>
                    <a:lnTo>
                      <a:pt x="350" y="334"/>
                    </a:lnTo>
                    <a:lnTo>
                      <a:pt x="348" y="334"/>
                    </a:lnTo>
                    <a:lnTo>
                      <a:pt x="347" y="334"/>
                    </a:lnTo>
                    <a:lnTo>
                      <a:pt x="347" y="332"/>
                    </a:lnTo>
                    <a:lnTo>
                      <a:pt x="345" y="332"/>
                    </a:lnTo>
                    <a:lnTo>
                      <a:pt x="344" y="332"/>
                    </a:lnTo>
                    <a:lnTo>
                      <a:pt x="344" y="331"/>
                    </a:lnTo>
                    <a:lnTo>
                      <a:pt x="342" y="331"/>
                    </a:lnTo>
                    <a:lnTo>
                      <a:pt x="340" y="331"/>
                    </a:lnTo>
                    <a:lnTo>
                      <a:pt x="340" y="329"/>
                    </a:lnTo>
                    <a:lnTo>
                      <a:pt x="339" y="329"/>
                    </a:lnTo>
                    <a:lnTo>
                      <a:pt x="337" y="328"/>
                    </a:lnTo>
                    <a:lnTo>
                      <a:pt x="336" y="328"/>
                    </a:lnTo>
                    <a:lnTo>
                      <a:pt x="334" y="326"/>
                    </a:lnTo>
                    <a:lnTo>
                      <a:pt x="332" y="326"/>
                    </a:lnTo>
                    <a:lnTo>
                      <a:pt x="331" y="326"/>
                    </a:lnTo>
                    <a:lnTo>
                      <a:pt x="329" y="326"/>
                    </a:lnTo>
                    <a:lnTo>
                      <a:pt x="328" y="326"/>
                    </a:lnTo>
                    <a:lnTo>
                      <a:pt x="326" y="326"/>
                    </a:lnTo>
                    <a:lnTo>
                      <a:pt x="325" y="326"/>
                    </a:lnTo>
                    <a:lnTo>
                      <a:pt x="323" y="326"/>
                    </a:lnTo>
                    <a:lnTo>
                      <a:pt x="323" y="328"/>
                    </a:lnTo>
                    <a:lnTo>
                      <a:pt x="321" y="328"/>
                    </a:lnTo>
                    <a:lnTo>
                      <a:pt x="321" y="329"/>
                    </a:lnTo>
                    <a:lnTo>
                      <a:pt x="320" y="329"/>
                    </a:lnTo>
                    <a:lnTo>
                      <a:pt x="318" y="331"/>
                    </a:lnTo>
                    <a:lnTo>
                      <a:pt x="317" y="331"/>
                    </a:lnTo>
                    <a:lnTo>
                      <a:pt x="317" y="332"/>
                    </a:lnTo>
                    <a:lnTo>
                      <a:pt x="315" y="332"/>
                    </a:lnTo>
                    <a:lnTo>
                      <a:pt x="313" y="334"/>
                    </a:lnTo>
                    <a:lnTo>
                      <a:pt x="312" y="334"/>
                    </a:lnTo>
                    <a:lnTo>
                      <a:pt x="312" y="336"/>
                    </a:lnTo>
                    <a:lnTo>
                      <a:pt x="310" y="336"/>
                    </a:lnTo>
                    <a:lnTo>
                      <a:pt x="310" y="337"/>
                    </a:lnTo>
                    <a:lnTo>
                      <a:pt x="309" y="339"/>
                    </a:lnTo>
                    <a:lnTo>
                      <a:pt x="309" y="340"/>
                    </a:lnTo>
                    <a:lnTo>
                      <a:pt x="307" y="342"/>
                    </a:lnTo>
                    <a:lnTo>
                      <a:pt x="307" y="344"/>
                    </a:lnTo>
                    <a:lnTo>
                      <a:pt x="307" y="345"/>
                    </a:lnTo>
                    <a:lnTo>
                      <a:pt x="306" y="345"/>
                    </a:lnTo>
                    <a:lnTo>
                      <a:pt x="306" y="347"/>
                    </a:lnTo>
                    <a:lnTo>
                      <a:pt x="304" y="348"/>
                    </a:lnTo>
                    <a:lnTo>
                      <a:pt x="304" y="350"/>
                    </a:lnTo>
                    <a:lnTo>
                      <a:pt x="304" y="352"/>
                    </a:lnTo>
                    <a:lnTo>
                      <a:pt x="302" y="352"/>
                    </a:lnTo>
                    <a:lnTo>
                      <a:pt x="302" y="353"/>
                    </a:lnTo>
                    <a:lnTo>
                      <a:pt x="302" y="355"/>
                    </a:lnTo>
                    <a:lnTo>
                      <a:pt x="301" y="355"/>
                    </a:lnTo>
                    <a:lnTo>
                      <a:pt x="301" y="356"/>
                    </a:lnTo>
                    <a:lnTo>
                      <a:pt x="301" y="358"/>
                    </a:lnTo>
                    <a:lnTo>
                      <a:pt x="301" y="359"/>
                    </a:lnTo>
                    <a:lnTo>
                      <a:pt x="301" y="361"/>
                    </a:lnTo>
                    <a:lnTo>
                      <a:pt x="301" y="363"/>
                    </a:lnTo>
                    <a:lnTo>
                      <a:pt x="302" y="363"/>
                    </a:lnTo>
                    <a:lnTo>
                      <a:pt x="302" y="364"/>
                    </a:lnTo>
                    <a:lnTo>
                      <a:pt x="304" y="364"/>
                    </a:lnTo>
                    <a:lnTo>
                      <a:pt x="306" y="364"/>
                    </a:lnTo>
                    <a:lnTo>
                      <a:pt x="306" y="366"/>
                    </a:lnTo>
                    <a:lnTo>
                      <a:pt x="307" y="366"/>
                    </a:lnTo>
                    <a:lnTo>
                      <a:pt x="309" y="367"/>
                    </a:lnTo>
                    <a:lnTo>
                      <a:pt x="310" y="367"/>
                    </a:lnTo>
                    <a:lnTo>
                      <a:pt x="312" y="369"/>
                    </a:lnTo>
                    <a:lnTo>
                      <a:pt x="313" y="369"/>
                    </a:lnTo>
                    <a:lnTo>
                      <a:pt x="315" y="371"/>
                    </a:lnTo>
                    <a:lnTo>
                      <a:pt x="317" y="371"/>
                    </a:lnTo>
                    <a:lnTo>
                      <a:pt x="318" y="372"/>
                    </a:lnTo>
                    <a:lnTo>
                      <a:pt x="320" y="372"/>
                    </a:lnTo>
                    <a:lnTo>
                      <a:pt x="321" y="374"/>
                    </a:lnTo>
                    <a:lnTo>
                      <a:pt x="323" y="374"/>
                    </a:lnTo>
                    <a:lnTo>
                      <a:pt x="323" y="375"/>
                    </a:lnTo>
                    <a:lnTo>
                      <a:pt x="325" y="375"/>
                    </a:lnTo>
                    <a:lnTo>
                      <a:pt x="326" y="375"/>
                    </a:lnTo>
                    <a:lnTo>
                      <a:pt x="326" y="377"/>
                    </a:lnTo>
                    <a:lnTo>
                      <a:pt x="328" y="377"/>
                    </a:lnTo>
                    <a:lnTo>
                      <a:pt x="329" y="377"/>
                    </a:lnTo>
                    <a:lnTo>
                      <a:pt x="329" y="378"/>
                    </a:lnTo>
                    <a:lnTo>
                      <a:pt x="331" y="378"/>
                    </a:lnTo>
                    <a:lnTo>
                      <a:pt x="332" y="378"/>
                    </a:lnTo>
                    <a:lnTo>
                      <a:pt x="332" y="380"/>
                    </a:lnTo>
                    <a:lnTo>
                      <a:pt x="334" y="380"/>
                    </a:lnTo>
                    <a:lnTo>
                      <a:pt x="336" y="382"/>
                    </a:lnTo>
                    <a:lnTo>
                      <a:pt x="337" y="382"/>
                    </a:lnTo>
                    <a:lnTo>
                      <a:pt x="337" y="383"/>
                    </a:lnTo>
                    <a:lnTo>
                      <a:pt x="339" y="383"/>
                    </a:lnTo>
                    <a:lnTo>
                      <a:pt x="340" y="383"/>
                    </a:lnTo>
                    <a:lnTo>
                      <a:pt x="340" y="385"/>
                    </a:lnTo>
                    <a:lnTo>
                      <a:pt x="342" y="385"/>
                    </a:lnTo>
                    <a:lnTo>
                      <a:pt x="342" y="386"/>
                    </a:lnTo>
                    <a:lnTo>
                      <a:pt x="344" y="386"/>
                    </a:lnTo>
                    <a:lnTo>
                      <a:pt x="345" y="386"/>
                    </a:lnTo>
                    <a:lnTo>
                      <a:pt x="345" y="388"/>
                    </a:lnTo>
                    <a:lnTo>
                      <a:pt x="347" y="388"/>
                    </a:lnTo>
                    <a:lnTo>
                      <a:pt x="347" y="390"/>
                    </a:lnTo>
                    <a:lnTo>
                      <a:pt x="348" y="390"/>
                    </a:lnTo>
                    <a:lnTo>
                      <a:pt x="350" y="391"/>
                    </a:lnTo>
                    <a:lnTo>
                      <a:pt x="350" y="393"/>
                    </a:lnTo>
                    <a:lnTo>
                      <a:pt x="350" y="394"/>
                    </a:lnTo>
                    <a:lnTo>
                      <a:pt x="351" y="396"/>
                    </a:lnTo>
                    <a:lnTo>
                      <a:pt x="351" y="397"/>
                    </a:lnTo>
                    <a:lnTo>
                      <a:pt x="351" y="399"/>
                    </a:lnTo>
                    <a:lnTo>
                      <a:pt x="351" y="401"/>
                    </a:lnTo>
                    <a:lnTo>
                      <a:pt x="351" y="402"/>
                    </a:lnTo>
                    <a:lnTo>
                      <a:pt x="351" y="404"/>
                    </a:lnTo>
                    <a:lnTo>
                      <a:pt x="351" y="405"/>
                    </a:lnTo>
                    <a:lnTo>
                      <a:pt x="351" y="407"/>
                    </a:lnTo>
                    <a:lnTo>
                      <a:pt x="351" y="409"/>
                    </a:lnTo>
                    <a:lnTo>
                      <a:pt x="351" y="410"/>
                    </a:lnTo>
                    <a:lnTo>
                      <a:pt x="351" y="412"/>
                    </a:lnTo>
                    <a:lnTo>
                      <a:pt x="350" y="413"/>
                    </a:lnTo>
                    <a:lnTo>
                      <a:pt x="350" y="415"/>
                    </a:lnTo>
                    <a:lnTo>
                      <a:pt x="348" y="415"/>
                    </a:lnTo>
                    <a:lnTo>
                      <a:pt x="348" y="416"/>
                    </a:lnTo>
                    <a:lnTo>
                      <a:pt x="348" y="418"/>
                    </a:lnTo>
                    <a:lnTo>
                      <a:pt x="347" y="418"/>
                    </a:lnTo>
                    <a:lnTo>
                      <a:pt x="345" y="418"/>
                    </a:lnTo>
                    <a:lnTo>
                      <a:pt x="344" y="418"/>
                    </a:lnTo>
                    <a:lnTo>
                      <a:pt x="342" y="420"/>
                    </a:lnTo>
                    <a:lnTo>
                      <a:pt x="340" y="420"/>
                    </a:lnTo>
                    <a:lnTo>
                      <a:pt x="339" y="420"/>
                    </a:lnTo>
                    <a:lnTo>
                      <a:pt x="339" y="418"/>
                    </a:lnTo>
                    <a:lnTo>
                      <a:pt x="337" y="418"/>
                    </a:lnTo>
                    <a:lnTo>
                      <a:pt x="336" y="418"/>
                    </a:lnTo>
                    <a:lnTo>
                      <a:pt x="334" y="418"/>
                    </a:lnTo>
                    <a:lnTo>
                      <a:pt x="334" y="420"/>
                    </a:lnTo>
                    <a:lnTo>
                      <a:pt x="332" y="420"/>
                    </a:lnTo>
                    <a:lnTo>
                      <a:pt x="332" y="421"/>
                    </a:lnTo>
                    <a:lnTo>
                      <a:pt x="331" y="421"/>
                    </a:lnTo>
                    <a:lnTo>
                      <a:pt x="331" y="423"/>
                    </a:lnTo>
                    <a:lnTo>
                      <a:pt x="329" y="423"/>
                    </a:lnTo>
                    <a:lnTo>
                      <a:pt x="329" y="424"/>
                    </a:lnTo>
                    <a:lnTo>
                      <a:pt x="328" y="424"/>
                    </a:lnTo>
                    <a:lnTo>
                      <a:pt x="328" y="426"/>
                    </a:lnTo>
                    <a:lnTo>
                      <a:pt x="326" y="426"/>
                    </a:lnTo>
                    <a:lnTo>
                      <a:pt x="325" y="428"/>
                    </a:lnTo>
                    <a:lnTo>
                      <a:pt x="323" y="428"/>
                    </a:lnTo>
                    <a:lnTo>
                      <a:pt x="323" y="429"/>
                    </a:lnTo>
                    <a:lnTo>
                      <a:pt x="321" y="429"/>
                    </a:lnTo>
                    <a:lnTo>
                      <a:pt x="320" y="429"/>
                    </a:lnTo>
                    <a:lnTo>
                      <a:pt x="318" y="429"/>
                    </a:lnTo>
                    <a:lnTo>
                      <a:pt x="318" y="431"/>
                    </a:lnTo>
                    <a:lnTo>
                      <a:pt x="317" y="431"/>
                    </a:lnTo>
                    <a:lnTo>
                      <a:pt x="315" y="431"/>
                    </a:lnTo>
                    <a:lnTo>
                      <a:pt x="313" y="431"/>
                    </a:lnTo>
                    <a:lnTo>
                      <a:pt x="312" y="431"/>
                    </a:lnTo>
                    <a:lnTo>
                      <a:pt x="310" y="431"/>
                    </a:lnTo>
                    <a:lnTo>
                      <a:pt x="310" y="429"/>
                    </a:lnTo>
                    <a:lnTo>
                      <a:pt x="309" y="428"/>
                    </a:lnTo>
                    <a:lnTo>
                      <a:pt x="307" y="428"/>
                    </a:lnTo>
                    <a:lnTo>
                      <a:pt x="306" y="426"/>
                    </a:lnTo>
                    <a:lnTo>
                      <a:pt x="306" y="424"/>
                    </a:lnTo>
                    <a:lnTo>
                      <a:pt x="304" y="424"/>
                    </a:lnTo>
                    <a:lnTo>
                      <a:pt x="304" y="423"/>
                    </a:lnTo>
                    <a:lnTo>
                      <a:pt x="302" y="423"/>
                    </a:lnTo>
                    <a:lnTo>
                      <a:pt x="302" y="424"/>
                    </a:lnTo>
                    <a:lnTo>
                      <a:pt x="301" y="424"/>
                    </a:lnTo>
                    <a:lnTo>
                      <a:pt x="301" y="423"/>
                    </a:lnTo>
                    <a:lnTo>
                      <a:pt x="299" y="423"/>
                    </a:lnTo>
                    <a:lnTo>
                      <a:pt x="299" y="421"/>
                    </a:lnTo>
                    <a:lnTo>
                      <a:pt x="298" y="421"/>
                    </a:lnTo>
                    <a:lnTo>
                      <a:pt x="298" y="423"/>
                    </a:lnTo>
                    <a:lnTo>
                      <a:pt x="296" y="423"/>
                    </a:lnTo>
                    <a:lnTo>
                      <a:pt x="296" y="424"/>
                    </a:lnTo>
                    <a:lnTo>
                      <a:pt x="294" y="424"/>
                    </a:lnTo>
                    <a:lnTo>
                      <a:pt x="294" y="426"/>
                    </a:lnTo>
                    <a:lnTo>
                      <a:pt x="293" y="426"/>
                    </a:lnTo>
                    <a:lnTo>
                      <a:pt x="291" y="428"/>
                    </a:lnTo>
                    <a:lnTo>
                      <a:pt x="290" y="428"/>
                    </a:lnTo>
                    <a:lnTo>
                      <a:pt x="290" y="429"/>
                    </a:lnTo>
                    <a:lnTo>
                      <a:pt x="288" y="429"/>
                    </a:lnTo>
                    <a:lnTo>
                      <a:pt x="286" y="429"/>
                    </a:lnTo>
                    <a:lnTo>
                      <a:pt x="286" y="431"/>
                    </a:lnTo>
                    <a:lnTo>
                      <a:pt x="285" y="431"/>
                    </a:lnTo>
                    <a:lnTo>
                      <a:pt x="283" y="431"/>
                    </a:lnTo>
                    <a:lnTo>
                      <a:pt x="282" y="431"/>
                    </a:lnTo>
                    <a:lnTo>
                      <a:pt x="280" y="432"/>
                    </a:lnTo>
                    <a:lnTo>
                      <a:pt x="279" y="432"/>
                    </a:lnTo>
                    <a:lnTo>
                      <a:pt x="277" y="432"/>
                    </a:lnTo>
                    <a:lnTo>
                      <a:pt x="277" y="434"/>
                    </a:lnTo>
                    <a:lnTo>
                      <a:pt x="275" y="435"/>
                    </a:lnTo>
                    <a:lnTo>
                      <a:pt x="275" y="437"/>
                    </a:lnTo>
                    <a:lnTo>
                      <a:pt x="274" y="437"/>
                    </a:lnTo>
                    <a:lnTo>
                      <a:pt x="274" y="439"/>
                    </a:lnTo>
                    <a:lnTo>
                      <a:pt x="274" y="440"/>
                    </a:lnTo>
                    <a:lnTo>
                      <a:pt x="272" y="440"/>
                    </a:lnTo>
                    <a:lnTo>
                      <a:pt x="272" y="442"/>
                    </a:lnTo>
                    <a:lnTo>
                      <a:pt x="260" y="443"/>
                    </a:lnTo>
                    <a:lnTo>
                      <a:pt x="260" y="445"/>
                    </a:lnTo>
                    <a:lnTo>
                      <a:pt x="258" y="445"/>
                    </a:lnTo>
                    <a:lnTo>
                      <a:pt x="258" y="447"/>
                    </a:lnTo>
                    <a:lnTo>
                      <a:pt x="258" y="448"/>
                    </a:lnTo>
                    <a:lnTo>
                      <a:pt x="258" y="450"/>
                    </a:lnTo>
                    <a:lnTo>
                      <a:pt x="258" y="451"/>
                    </a:lnTo>
                    <a:lnTo>
                      <a:pt x="258" y="453"/>
                    </a:lnTo>
                    <a:lnTo>
                      <a:pt x="258" y="454"/>
                    </a:lnTo>
                    <a:lnTo>
                      <a:pt x="258" y="456"/>
                    </a:lnTo>
                    <a:lnTo>
                      <a:pt x="258" y="458"/>
                    </a:lnTo>
                    <a:lnTo>
                      <a:pt x="258" y="459"/>
                    </a:lnTo>
                    <a:lnTo>
                      <a:pt x="258" y="461"/>
                    </a:lnTo>
                    <a:lnTo>
                      <a:pt x="260" y="461"/>
                    </a:lnTo>
                    <a:lnTo>
                      <a:pt x="260" y="462"/>
                    </a:lnTo>
                    <a:lnTo>
                      <a:pt x="261" y="462"/>
                    </a:lnTo>
                    <a:lnTo>
                      <a:pt x="261" y="464"/>
                    </a:lnTo>
                    <a:lnTo>
                      <a:pt x="261" y="466"/>
                    </a:lnTo>
                    <a:lnTo>
                      <a:pt x="261" y="467"/>
                    </a:lnTo>
                    <a:lnTo>
                      <a:pt x="261" y="469"/>
                    </a:lnTo>
                    <a:lnTo>
                      <a:pt x="263" y="470"/>
                    </a:lnTo>
                    <a:lnTo>
                      <a:pt x="263" y="472"/>
                    </a:lnTo>
                    <a:lnTo>
                      <a:pt x="263" y="473"/>
                    </a:lnTo>
                    <a:lnTo>
                      <a:pt x="263" y="475"/>
                    </a:lnTo>
                    <a:lnTo>
                      <a:pt x="263" y="477"/>
                    </a:lnTo>
                    <a:lnTo>
                      <a:pt x="264" y="478"/>
                    </a:lnTo>
                    <a:lnTo>
                      <a:pt x="264" y="480"/>
                    </a:lnTo>
                    <a:lnTo>
                      <a:pt x="264" y="481"/>
                    </a:lnTo>
                    <a:lnTo>
                      <a:pt x="264" y="483"/>
                    </a:lnTo>
                    <a:lnTo>
                      <a:pt x="264" y="485"/>
                    </a:lnTo>
                    <a:lnTo>
                      <a:pt x="266" y="485"/>
                    </a:lnTo>
                    <a:lnTo>
                      <a:pt x="266" y="486"/>
                    </a:lnTo>
                    <a:lnTo>
                      <a:pt x="267" y="486"/>
                    </a:lnTo>
                    <a:lnTo>
                      <a:pt x="267" y="488"/>
                    </a:lnTo>
                    <a:lnTo>
                      <a:pt x="269" y="488"/>
                    </a:lnTo>
                    <a:lnTo>
                      <a:pt x="269" y="489"/>
                    </a:lnTo>
                    <a:lnTo>
                      <a:pt x="267" y="491"/>
                    </a:lnTo>
                    <a:lnTo>
                      <a:pt x="267" y="489"/>
                    </a:lnTo>
                    <a:lnTo>
                      <a:pt x="266" y="491"/>
                    </a:lnTo>
                    <a:lnTo>
                      <a:pt x="266" y="492"/>
                    </a:lnTo>
                    <a:lnTo>
                      <a:pt x="266" y="494"/>
                    </a:lnTo>
                    <a:lnTo>
                      <a:pt x="266" y="496"/>
                    </a:lnTo>
                    <a:lnTo>
                      <a:pt x="266" y="497"/>
                    </a:lnTo>
                    <a:lnTo>
                      <a:pt x="266" y="499"/>
                    </a:lnTo>
                    <a:lnTo>
                      <a:pt x="264" y="499"/>
                    </a:lnTo>
                    <a:lnTo>
                      <a:pt x="264" y="500"/>
                    </a:lnTo>
                    <a:lnTo>
                      <a:pt x="264" y="502"/>
                    </a:lnTo>
                    <a:lnTo>
                      <a:pt x="264" y="504"/>
                    </a:lnTo>
                    <a:lnTo>
                      <a:pt x="263" y="505"/>
                    </a:lnTo>
                    <a:lnTo>
                      <a:pt x="263" y="507"/>
                    </a:lnTo>
                    <a:lnTo>
                      <a:pt x="263" y="508"/>
                    </a:lnTo>
                    <a:lnTo>
                      <a:pt x="261" y="508"/>
                    </a:lnTo>
                    <a:lnTo>
                      <a:pt x="261" y="510"/>
                    </a:lnTo>
                    <a:lnTo>
                      <a:pt x="260" y="511"/>
                    </a:lnTo>
                    <a:lnTo>
                      <a:pt x="260" y="513"/>
                    </a:lnTo>
                    <a:lnTo>
                      <a:pt x="260" y="515"/>
                    </a:lnTo>
                    <a:lnTo>
                      <a:pt x="260" y="516"/>
                    </a:lnTo>
                    <a:lnTo>
                      <a:pt x="260" y="518"/>
                    </a:lnTo>
                    <a:lnTo>
                      <a:pt x="260" y="519"/>
                    </a:lnTo>
                    <a:lnTo>
                      <a:pt x="258" y="521"/>
                    </a:lnTo>
                    <a:lnTo>
                      <a:pt x="256" y="521"/>
                    </a:lnTo>
                    <a:lnTo>
                      <a:pt x="256" y="523"/>
                    </a:lnTo>
                    <a:lnTo>
                      <a:pt x="255" y="523"/>
                    </a:lnTo>
                    <a:lnTo>
                      <a:pt x="253" y="523"/>
                    </a:lnTo>
                    <a:lnTo>
                      <a:pt x="253" y="524"/>
                    </a:lnTo>
                    <a:lnTo>
                      <a:pt x="253" y="526"/>
                    </a:lnTo>
                    <a:lnTo>
                      <a:pt x="255" y="526"/>
                    </a:lnTo>
                    <a:lnTo>
                      <a:pt x="255" y="527"/>
                    </a:lnTo>
                    <a:lnTo>
                      <a:pt x="255" y="529"/>
                    </a:lnTo>
                    <a:lnTo>
                      <a:pt x="255" y="530"/>
                    </a:lnTo>
                    <a:lnTo>
                      <a:pt x="253" y="532"/>
                    </a:lnTo>
                    <a:lnTo>
                      <a:pt x="253" y="534"/>
                    </a:lnTo>
                    <a:lnTo>
                      <a:pt x="253" y="535"/>
                    </a:lnTo>
                    <a:lnTo>
                      <a:pt x="253" y="537"/>
                    </a:lnTo>
                    <a:lnTo>
                      <a:pt x="253" y="538"/>
                    </a:lnTo>
                    <a:lnTo>
                      <a:pt x="252" y="540"/>
                    </a:lnTo>
                    <a:lnTo>
                      <a:pt x="253" y="543"/>
                    </a:lnTo>
                    <a:lnTo>
                      <a:pt x="253" y="545"/>
                    </a:lnTo>
                    <a:lnTo>
                      <a:pt x="252" y="546"/>
                    </a:lnTo>
                    <a:lnTo>
                      <a:pt x="252" y="548"/>
                    </a:lnTo>
                    <a:lnTo>
                      <a:pt x="253" y="548"/>
                    </a:lnTo>
                    <a:lnTo>
                      <a:pt x="253" y="550"/>
                    </a:lnTo>
                    <a:lnTo>
                      <a:pt x="253" y="551"/>
                    </a:lnTo>
                    <a:lnTo>
                      <a:pt x="253" y="553"/>
                    </a:lnTo>
                    <a:lnTo>
                      <a:pt x="253" y="554"/>
                    </a:lnTo>
                    <a:lnTo>
                      <a:pt x="252" y="556"/>
                    </a:lnTo>
                    <a:lnTo>
                      <a:pt x="250" y="556"/>
                    </a:lnTo>
                    <a:lnTo>
                      <a:pt x="250" y="557"/>
                    </a:lnTo>
                    <a:lnTo>
                      <a:pt x="248" y="557"/>
                    </a:lnTo>
                    <a:lnTo>
                      <a:pt x="248" y="559"/>
                    </a:lnTo>
                    <a:lnTo>
                      <a:pt x="247" y="559"/>
                    </a:lnTo>
                    <a:lnTo>
                      <a:pt x="245" y="561"/>
                    </a:lnTo>
                    <a:lnTo>
                      <a:pt x="244" y="561"/>
                    </a:lnTo>
                    <a:lnTo>
                      <a:pt x="242" y="561"/>
                    </a:lnTo>
                    <a:lnTo>
                      <a:pt x="241" y="561"/>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96" name="Freeform 76"/>
              <p:cNvSpPr>
                <a:spLocks/>
              </p:cNvSpPr>
              <p:nvPr/>
            </p:nvSpPr>
            <p:spPr bwMode="auto">
              <a:xfrm>
                <a:off x="2648" y="694"/>
                <a:ext cx="560" cy="648"/>
              </a:xfrm>
              <a:custGeom>
                <a:avLst/>
                <a:gdLst>
                  <a:gd name="T0" fmla="*/ 555 w 560"/>
                  <a:gd name="T1" fmla="*/ 575 h 648"/>
                  <a:gd name="T2" fmla="*/ 552 w 560"/>
                  <a:gd name="T3" fmla="*/ 592 h 648"/>
                  <a:gd name="T4" fmla="*/ 534 w 560"/>
                  <a:gd name="T5" fmla="*/ 599 h 648"/>
                  <a:gd name="T6" fmla="*/ 518 w 560"/>
                  <a:gd name="T7" fmla="*/ 605 h 648"/>
                  <a:gd name="T8" fmla="*/ 501 w 560"/>
                  <a:gd name="T9" fmla="*/ 600 h 648"/>
                  <a:gd name="T10" fmla="*/ 485 w 560"/>
                  <a:gd name="T11" fmla="*/ 603 h 648"/>
                  <a:gd name="T12" fmla="*/ 477 w 560"/>
                  <a:gd name="T13" fmla="*/ 619 h 648"/>
                  <a:gd name="T14" fmla="*/ 466 w 560"/>
                  <a:gd name="T15" fmla="*/ 633 h 648"/>
                  <a:gd name="T16" fmla="*/ 455 w 560"/>
                  <a:gd name="T17" fmla="*/ 638 h 648"/>
                  <a:gd name="T18" fmla="*/ 438 w 560"/>
                  <a:gd name="T19" fmla="*/ 629 h 648"/>
                  <a:gd name="T20" fmla="*/ 422 w 560"/>
                  <a:gd name="T21" fmla="*/ 624 h 648"/>
                  <a:gd name="T22" fmla="*/ 407 w 560"/>
                  <a:gd name="T23" fmla="*/ 616 h 648"/>
                  <a:gd name="T24" fmla="*/ 395 w 560"/>
                  <a:gd name="T25" fmla="*/ 611 h 648"/>
                  <a:gd name="T26" fmla="*/ 388 w 560"/>
                  <a:gd name="T27" fmla="*/ 595 h 648"/>
                  <a:gd name="T28" fmla="*/ 373 w 560"/>
                  <a:gd name="T29" fmla="*/ 581 h 648"/>
                  <a:gd name="T30" fmla="*/ 357 w 560"/>
                  <a:gd name="T31" fmla="*/ 584 h 648"/>
                  <a:gd name="T32" fmla="*/ 341 w 560"/>
                  <a:gd name="T33" fmla="*/ 583 h 648"/>
                  <a:gd name="T34" fmla="*/ 331 w 560"/>
                  <a:gd name="T35" fmla="*/ 595 h 648"/>
                  <a:gd name="T36" fmla="*/ 320 w 560"/>
                  <a:gd name="T37" fmla="*/ 603 h 648"/>
                  <a:gd name="T38" fmla="*/ 308 w 560"/>
                  <a:gd name="T39" fmla="*/ 602 h 648"/>
                  <a:gd name="T40" fmla="*/ 306 w 560"/>
                  <a:gd name="T41" fmla="*/ 619 h 648"/>
                  <a:gd name="T42" fmla="*/ 306 w 560"/>
                  <a:gd name="T43" fmla="*/ 633 h 648"/>
                  <a:gd name="T44" fmla="*/ 312 w 560"/>
                  <a:gd name="T45" fmla="*/ 641 h 648"/>
                  <a:gd name="T46" fmla="*/ 301 w 560"/>
                  <a:gd name="T47" fmla="*/ 645 h 648"/>
                  <a:gd name="T48" fmla="*/ 287 w 560"/>
                  <a:gd name="T49" fmla="*/ 633 h 648"/>
                  <a:gd name="T50" fmla="*/ 274 w 560"/>
                  <a:gd name="T51" fmla="*/ 626 h 648"/>
                  <a:gd name="T52" fmla="*/ 262 w 560"/>
                  <a:gd name="T53" fmla="*/ 618 h 648"/>
                  <a:gd name="T54" fmla="*/ 265 w 560"/>
                  <a:gd name="T55" fmla="*/ 600 h 648"/>
                  <a:gd name="T56" fmla="*/ 265 w 560"/>
                  <a:gd name="T57" fmla="*/ 586 h 648"/>
                  <a:gd name="T58" fmla="*/ 262 w 560"/>
                  <a:gd name="T59" fmla="*/ 569 h 648"/>
                  <a:gd name="T60" fmla="*/ 249 w 560"/>
                  <a:gd name="T61" fmla="*/ 562 h 648"/>
                  <a:gd name="T62" fmla="*/ 235 w 560"/>
                  <a:gd name="T63" fmla="*/ 569 h 648"/>
                  <a:gd name="T64" fmla="*/ 224 w 560"/>
                  <a:gd name="T65" fmla="*/ 576 h 648"/>
                  <a:gd name="T66" fmla="*/ 211 w 560"/>
                  <a:gd name="T67" fmla="*/ 584 h 648"/>
                  <a:gd name="T68" fmla="*/ 205 w 560"/>
                  <a:gd name="T69" fmla="*/ 599 h 648"/>
                  <a:gd name="T70" fmla="*/ 192 w 560"/>
                  <a:gd name="T71" fmla="*/ 600 h 648"/>
                  <a:gd name="T72" fmla="*/ 183 w 560"/>
                  <a:gd name="T73" fmla="*/ 589 h 648"/>
                  <a:gd name="T74" fmla="*/ 179 w 560"/>
                  <a:gd name="T75" fmla="*/ 576 h 648"/>
                  <a:gd name="T76" fmla="*/ 162 w 560"/>
                  <a:gd name="T77" fmla="*/ 575 h 648"/>
                  <a:gd name="T78" fmla="*/ 149 w 560"/>
                  <a:gd name="T79" fmla="*/ 586 h 648"/>
                  <a:gd name="T80" fmla="*/ 141 w 560"/>
                  <a:gd name="T81" fmla="*/ 575 h 648"/>
                  <a:gd name="T82" fmla="*/ 135 w 560"/>
                  <a:gd name="T83" fmla="*/ 565 h 648"/>
                  <a:gd name="T84" fmla="*/ 121 w 560"/>
                  <a:gd name="T85" fmla="*/ 561 h 648"/>
                  <a:gd name="T86" fmla="*/ 105 w 560"/>
                  <a:gd name="T87" fmla="*/ 564 h 648"/>
                  <a:gd name="T88" fmla="*/ 89 w 560"/>
                  <a:gd name="T89" fmla="*/ 561 h 648"/>
                  <a:gd name="T90" fmla="*/ 70 w 560"/>
                  <a:gd name="T91" fmla="*/ 562 h 648"/>
                  <a:gd name="T92" fmla="*/ 59 w 560"/>
                  <a:gd name="T93" fmla="*/ 559 h 648"/>
                  <a:gd name="T94" fmla="*/ 59 w 560"/>
                  <a:gd name="T95" fmla="*/ 543 h 648"/>
                  <a:gd name="T96" fmla="*/ 67 w 560"/>
                  <a:gd name="T97" fmla="*/ 529 h 648"/>
                  <a:gd name="T98" fmla="*/ 62 w 560"/>
                  <a:gd name="T99" fmla="*/ 513 h 648"/>
                  <a:gd name="T100" fmla="*/ 61 w 560"/>
                  <a:gd name="T101" fmla="*/ 504 h 648"/>
                  <a:gd name="T102" fmla="*/ 64 w 560"/>
                  <a:gd name="T103" fmla="*/ 489 h 648"/>
                  <a:gd name="T104" fmla="*/ 72 w 560"/>
                  <a:gd name="T105" fmla="*/ 472 h 648"/>
                  <a:gd name="T106" fmla="*/ 61 w 560"/>
                  <a:gd name="T107" fmla="*/ 464 h 648"/>
                  <a:gd name="T108" fmla="*/ 48 w 560"/>
                  <a:gd name="T109" fmla="*/ 454 h 648"/>
                  <a:gd name="T110" fmla="*/ 40 w 560"/>
                  <a:gd name="T111" fmla="*/ 442 h 648"/>
                  <a:gd name="T112" fmla="*/ 34 w 560"/>
                  <a:gd name="T113" fmla="*/ 429 h 648"/>
                  <a:gd name="T114" fmla="*/ 29 w 560"/>
                  <a:gd name="T115" fmla="*/ 413 h 648"/>
                  <a:gd name="T116" fmla="*/ 29 w 560"/>
                  <a:gd name="T117" fmla="*/ 397 h 648"/>
                  <a:gd name="T118" fmla="*/ 40 w 560"/>
                  <a:gd name="T119" fmla="*/ 342 h 648"/>
                  <a:gd name="T120" fmla="*/ 4 w 560"/>
                  <a:gd name="T121" fmla="*/ 231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0" h="648">
                    <a:moveTo>
                      <a:pt x="560" y="561"/>
                    </a:moveTo>
                    <a:lnTo>
                      <a:pt x="560" y="562"/>
                    </a:lnTo>
                    <a:lnTo>
                      <a:pt x="558" y="562"/>
                    </a:lnTo>
                    <a:lnTo>
                      <a:pt x="558" y="564"/>
                    </a:lnTo>
                    <a:lnTo>
                      <a:pt x="556" y="565"/>
                    </a:lnTo>
                    <a:lnTo>
                      <a:pt x="556" y="567"/>
                    </a:lnTo>
                    <a:lnTo>
                      <a:pt x="556" y="569"/>
                    </a:lnTo>
                    <a:lnTo>
                      <a:pt x="556" y="570"/>
                    </a:lnTo>
                    <a:lnTo>
                      <a:pt x="556" y="572"/>
                    </a:lnTo>
                    <a:lnTo>
                      <a:pt x="556" y="573"/>
                    </a:lnTo>
                    <a:lnTo>
                      <a:pt x="555" y="573"/>
                    </a:lnTo>
                    <a:lnTo>
                      <a:pt x="555" y="575"/>
                    </a:lnTo>
                    <a:lnTo>
                      <a:pt x="555" y="576"/>
                    </a:lnTo>
                    <a:lnTo>
                      <a:pt x="555" y="578"/>
                    </a:lnTo>
                    <a:lnTo>
                      <a:pt x="555" y="580"/>
                    </a:lnTo>
                    <a:lnTo>
                      <a:pt x="555" y="581"/>
                    </a:lnTo>
                    <a:lnTo>
                      <a:pt x="553" y="581"/>
                    </a:lnTo>
                    <a:lnTo>
                      <a:pt x="553" y="583"/>
                    </a:lnTo>
                    <a:lnTo>
                      <a:pt x="553" y="584"/>
                    </a:lnTo>
                    <a:lnTo>
                      <a:pt x="553" y="586"/>
                    </a:lnTo>
                    <a:lnTo>
                      <a:pt x="552" y="588"/>
                    </a:lnTo>
                    <a:lnTo>
                      <a:pt x="552" y="589"/>
                    </a:lnTo>
                    <a:lnTo>
                      <a:pt x="552" y="591"/>
                    </a:lnTo>
                    <a:lnTo>
                      <a:pt x="552" y="592"/>
                    </a:lnTo>
                    <a:lnTo>
                      <a:pt x="550" y="594"/>
                    </a:lnTo>
                    <a:lnTo>
                      <a:pt x="548" y="594"/>
                    </a:lnTo>
                    <a:lnTo>
                      <a:pt x="548" y="595"/>
                    </a:lnTo>
                    <a:lnTo>
                      <a:pt x="547" y="597"/>
                    </a:lnTo>
                    <a:lnTo>
                      <a:pt x="545" y="597"/>
                    </a:lnTo>
                    <a:lnTo>
                      <a:pt x="544" y="597"/>
                    </a:lnTo>
                    <a:lnTo>
                      <a:pt x="542" y="599"/>
                    </a:lnTo>
                    <a:lnTo>
                      <a:pt x="541" y="599"/>
                    </a:lnTo>
                    <a:lnTo>
                      <a:pt x="539" y="599"/>
                    </a:lnTo>
                    <a:lnTo>
                      <a:pt x="537" y="599"/>
                    </a:lnTo>
                    <a:lnTo>
                      <a:pt x="536" y="599"/>
                    </a:lnTo>
                    <a:lnTo>
                      <a:pt x="534" y="599"/>
                    </a:lnTo>
                    <a:lnTo>
                      <a:pt x="534" y="597"/>
                    </a:lnTo>
                    <a:lnTo>
                      <a:pt x="533" y="597"/>
                    </a:lnTo>
                    <a:lnTo>
                      <a:pt x="531" y="597"/>
                    </a:lnTo>
                    <a:lnTo>
                      <a:pt x="529" y="597"/>
                    </a:lnTo>
                    <a:lnTo>
                      <a:pt x="528" y="597"/>
                    </a:lnTo>
                    <a:lnTo>
                      <a:pt x="528" y="599"/>
                    </a:lnTo>
                    <a:lnTo>
                      <a:pt x="526" y="599"/>
                    </a:lnTo>
                    <a:lnTo>
                      <a:pt x="525" y="600"/>
                    </a:lnTo>
                    <a:lnTo>
                      <a:pt x="523" y="602"/>
                    </a:lnTo>
                    <a:lnTo>
                      <a:pt x="522" y="603"/>
                    </a:lnTo>
                    <a:lnTo>
                      <a:pt x="520" y="605"/>
                    </a:lnTo>
                    <a:lnTo>
                      <a:pt x="518" y="605"/>
                    </a:lnTo>
                    <a:lnTo>
                      <a:pt x="517" y="605"/>
                    </a:lnTo>
                    <a:lnTo>
                      <a:pt x="515" y="605"/>
                    </a:lnTo>
                    <a:lnTo>
                      <a:pt x="514" y="605"/>
                    </a:lnTo>
                    <a:lnTo>
                      <a:pt x="512" y="603"/>
                    </a:lnTo>
                    <a:lnTo>
                      <a:pt x="510" y="603"/>
                    </a:lnTo>
                    <a:lnTo>
                      <a:pt x="509" y="603"/>
                    </a:lnTo>
                    <a:lnTo>
                      <a:pt x="507" y="603"/>
                    </a:lnTo>
                    <a:lnTo>
                      <a:pt x="507" y="602"/>
                    </a:lnTo>
                    <a:lnTo>
                      <a:pt x="506" y="602"/>
                    </a:lnTo>
                    <a:lnTo>
                      <a:pt x="504" y="602"/>
                    </a:lnTo>
                    <a:lnTo>
                      <a:pt x="503" y="602"/>
                    </a:lnTo>
                    <a:lnTo>
                      <a:pt x="501" y="600"/>
                    </a:lnTo>
                    <a:lnTo>
                      <a:pt x="499" y="600"/>
                    </a:lnTo>
                    <a:lnTo>
                      <a:pt x="498" y="600"/>
                    </a:lnTo>
                    <a:lnTo>
                      <a:pt x="496" y="600"/>
                    </a:lnTo>
                    <a:lnTo>
                      <a:pt x="495" y="600"/>
                    </a:lnTo>
                    <a:lnTo>
                      <a:pt x="493" y="600"/>
                    </a:lnTo>
                    <a:lnTo>
                      <a:pt x="491" y="600"/>
                    </a:lnTo>
                    <a:lnTo>
                      <a:pt x="490" y="600"/>
                    </a:lnTo>
                    <a:lnTo>
                      <a:pt x="488" y="600"/>
                    </a:lnTo>
                    <a:lnTo>
                      <a:pt x="487" y="600"/>
                    </a:lnTo>
                    <a:lnTo>
                      <a:pt x="487" y="602"/>
                    </a:lnTo>
                    <a:lnTo>
                      <a:pt x="485" y="602"/>
                    </a:lnTo>
                    <a:lnTo>
                      <a:pt x="485" y="603"/>
                    </a:lnTo>
                    <a:lnTo>
                      <a:pt x="484" y="603"/>
                    </a:lnTo>
                    <a:lnTo>
                      <a:pt x="484" y="605"/>
                    </a:lnTo>
                    <a:lnTo>
                      <a:pt x="482" y="605"/>
                    </a:lnTo>
                    <a:lnTo>
                      <a:pt x="482" y="607"/>
                    </a:lnTo>
                    <a:lnTo>
                      <a:pt x="480" y="608"/>
                    </a:lnTo>
                    <a:lnTo>
                      <a:pt x="480" y="610"/>
                    </a:lnTo>
                    <a:lnTo>
                      <a:pt x="479" y="611"/>
                    </a:lnTo>
                    <a:lnTo>
                      <a:pt x="479" y="613"/>
                    </a:lnTo>
                    <a:lnTo>
                      <a:pt x="479" y="614"/>
                    </a:lnTo>
                    <a:lnTo>
                      <a:pt x="477" y="616"/>
                    </a:lnTo>
                    <a:lnTo>
                      <a:pt x="477" y="618"/>
                    </a:lnTo>
                    <a:lnTo>
                      <a:pt x="477" y="619"/>
                    </a:lnTo>
                    <a:lnTo>
                      <a:pt x="476" y="621"/>
                    </a:lnTo>
                    <a:lnTo>
                      <a:pt x="476" y="622"/>
                    </a:lnTo>
                    <a:lnTo>
                      <a:pt x="476" y="624"/>
                    </a:lnTo>
                    <a:lnTo>
                      <a:pt x="474" y="624"/>
                    </a:lnTo>
                    <a:lnTo>
                      <a:pt x="474" y="626"/>
                    </a:lnTo>
                    <a:lnTo>
                      <a:pt x="472" y="627"/>
                    </a:lnTo>
                    <a:lnTo>
                      <a:pt x="471" y="629"/>
                    </a:lnTo>
                    <a:lnTo>
                      <a:pt x="469" y="630"/>
                    </a:lnTo>
                    <a:lnTo>
                      <a:pt x="468" y="630"/>
                    </a:lnTo>
                    <a:lnTo>
                      <a:pt x="468" y="632"/>
                    </a:lnTo>
                    <a:lnTo>
                      <a:pt x="466" y="632"/>
                    </a:lnTo>
                    <a:lnTo>
                      <a:pt x="466" y="633"/>
                    </a:lnTo>
                    <a:lnTo>
                      <a:pt x="465" y="633"/>
                    </a:lnTo>
                    <a:lnTo>
                      <a:pt x="465" y="635"/>
                    </a:lnTo>
                    <a:lnTo>
                      <a:pt x="465" y="637"/>
                    </a:lnTo>
                    <a:lnTo>
                      <a:pt x="465" y="638"/>
                    </a:lnTo>
                    <a:lnTo>
                      <a:pt x="463" y="638"/>
                    </a:lnTo>
                    <a:lnTo>
                      <a:pt x="463" y="640"/>
                    </a:lnTo>
                    <a:lnTo>
                      <a:pt x="461" y="640"/>
                    </a:lnTo>
                    <a:lnTo>
                      <a:pt x="460" y="640"/>
                    </a:lnTo>
                    <a:lnTo>
                      <a:pt x="458" y="640"/>
                    </a:lnTo>
                    <a:lnTo>
                      <a:pt x="458" y="638"/>
                    </a:lnTo>
                    <a:lnTo>
                      <a:pt x="457" y="638"/>
                    </a:lnTo>
                    <a:lnTo>
                      <a:pt x="455" y="638"/>
                    </a:lnTo>
                    <a:lnTo>
                      <a:pt x="453" y="638"/>
                    </a:lnTo>
                    <a:lnTo>
                      <a:pt x="452" y="638"/>
                    </a:lnTo>
                    <a:lnTo>
                      <a:pt x="450" y="638"/>
                    </a:lnTo>
                    <a:lnTo>
                      <a:pt x="449" y="638"/>
                    </a:lnTo>
                    <a:lnTo>
                      <a:pt x="447" y="638"/>
                    </a:lnTo>
                    <a:lnTo>
                      <a:pt x="447" y="637"/>
                    </a:lnTo>
                    <a:lnTo>
                      <a:pt x="446" y="635"/>
                    </a:lnTo>
                    <a:lnTo>
                      <a:pt x="444" y="635"/>
                    </a:lnTo>
                    <a:lnTo>
                      <a:pt x="442" y="633"/>
                    </a:lnTo>
                    <a:lnTo>
                      <a:pt x="441" y="632"/>
                    </a:lnTo>
                    <a:lnTo>
                      <a:pt x="439" y="630"/>
                    </a:lnTo>
                    <a:lnTo>
                      <a:pt x="438" y="629"/>
                    </a:lnTo>
                    <a:lnTo>
                      <a:pt x="436" y="627"/>
                    </a:lnTo>
                    <a:lnTo>
                      <a:pt x="434" y="627"/>
                    </a:lnTo>
                    <a:lnTo>
                      <a:pt x="434" y="626"/>
                    </a:lnTo>
                    <a:lnTo>
                      <a:pt x="433" y="626"/>
                    </a:lnTo>
                    <a:lnTo>
                      <a:pt x="431" y="624"/>
                    </a:lnTo>
                    <a:lnTo>
                      <a:pt x="430" y="624"/>
                    </a:lnTo>
                    <a:lnTo>
                      <a:pt x="430" y="626"/>
                    </a:lnTo>
                    <a:lnTo>
                      <a:pt x="428" y="626"/>
                    </a:lnTo>
                    <a:lnTo>
                      <a:pt x="427" y="624"/>
                    </a:lnTo>
                    <a:lnTo>
                      <a:pt x="425" y="624"/>
                    </a:lnTo>
                    <a:lnTo>
                      <a:pt x="423" y="624"/>
                    </a:lnTo>
                    <a:lnTo>
                      <a:pt x="422" y="624"/>
                    </a:lnTo>
                    <a:lnTo>
                      <a:pt x="420" y="624"/>
                    </a:lnTo>
                    <a:lnTo>
                      <a:pt x="419" y="622"/>
                    </a:lnTo>
                    <a:lnTo>
                      <a:pt x="417" y="622"/>
                    </a:lnTo>
                    <a:lnTo>
                      <a:pt x="417" y="621"/>
                    </a:lnTo>
                    <a:lnTo>
                      <a:pt x="415" y="621"/>
                    </a:lnTo>
                    <a:lnTo>
                      <a:pt x="415" y="619"/>
                    </a:lnTo>
                    <a:lnTo>
                      <a:pt x="414" y="618"/>
                    </a:lnTo>
                    <a:lnTo>
                      <a:pt x="414" y="616"/>
                    </a:lnTo>
                    <a:lnTo>
                      <a:pt x="412" y="616"/>
                    </a:lnTo>
                    <a:lnTo>
                      <a:pt x="411" y="616"/>
                    </a:lnTo>
                    <a:lnTo>
                      <a:pt x="409" y="616"/>
                    </a:lnTo>
                    <a:lnTo>
                      <a:pt x="407" y="616"/>
                    </a:lnTo>
                    <a:lnTo>
                      <a:pt x="406" y="614"/>
                    </a:lnTo>
                    <a:lnTo>
                      <a:pt x="404" y="614"/>
                    </a:lnTo>
                    <a:lnTo>
                      <a:pt x="403" y="614"/>
                    </a:lnTo>
                    <a:lnTo>
                      <a:pt x="401" y="614"/>
                    </a:lnTo>
                    <a:lnTo>
                      <a:pt x="400" y="614"/>
                    </a:lnTo>
                    <a:lnTo>
                      <a:pt x="400" y="616"/>
                    </a:lnTo>
                    <a:lnTo>
                      <a:pt x="398" y="616"/>
                    </a:lnTo>
                    <a:lnTo>
                      <a:pt x="396" y="616"/>
                    </a:lnTo>
                    <a:lnTo>
                      <a:pt x="396" y="614"/>
                    </a:lnTo>
                    <a:lnTo>
                      <a:pt x="395" y="614"/>
                    </a:lnTo>
                    <a:lnTo>
                      <a:pt x="395" y="613"/>
                    </a:lnTo>
                    <a:lnTo>
                      <a:pt x="395" y="611"/>
                    </a:lnTo>
                    <a:lnTo>
                      <a:pt x="395" y="610"/>
                    </a:lnTo>
                    <a:lnTo>
                      <a:pt x="395" y="608"/>
                    </a:lnTo>
                    <a:lnTo>
                      <a:pt x="395" y="607"/>
                    </a:lnTo>
                    <a:lnTo>
                      <a:pt x="395" y="605"/>
                    </a:lnTo>
                    <a:lnTo>
                      <a:pt x="395" y="603"/>
                    </a:lnTo>
                    <a:lnTo>
                      <a:pt x="395" y="602"/>
                    </a:lnTo>
                    <a:lnTo>
                      <a:pt x="395" y="600"/>
                    </a:lnTo>
                    <a:lnTo>
                      <a:pt x="393" y="600"/>
                    </a:lnTo>
                    <a:lnTo>
                      <a:pt x="392" y="599"/>
                    </a:lnTo>
                    <a:lnTo>
                      <a:pt x="390" y="597"/>
                    </a:lnTo>
                    <a:lnTo>
                      <a:pt x="388" y="597"/>
                    </a:lnTo>
                    <a:lnTo>
                      <a:pt x="388" y="595"/>
                    </a:lnTo>
                    <a:lnTo>
                      <a:pt x="385" y="594"/>
                    </a:lnTo>
                    <a:lnTo>
                      <a:pt x="385" y="592"/>
                    </a:lnTo>
                    <a:lnTo>
                      <a:pt x="384" y="592"/>
                    </a:lnTo>
                    <a:lnTo>
                      <a:pt x="382" y="591"/>
                    </a:lnTo>
                    <a:lnTo>
                      <a:pt x="381" y="589"/>
                    </a:lnTo>
                    <a:lnTo>
                      <a:pt x="379" y="588"/>
                    </a:lnTo>
                    <a:lnTo>
                      <a:pt x="377" y="586"/>
                    </a:lnTo>
                    <a:lnTo>
                      <a:pt x="376" y="584"/>
                    </a:lnTo>
                    <a:lnTo>
                      <a:pt x="374" y="584"/>
                    </a:lnTo>
                    <a:lnTo>
                      <a:pt x="374" y="583"/>
                    </a:lnTo>
                    <a:lnTo>
                      <a:pt x="373" y="583"/>
                    </a:lnTo>
                    <a:lnTo>
                      <a:pt x="373" y="581"/>
                    </a:lnTo>
                    <a:lnTo>
                      <a:pt x="371" y="581"/>
                    </a:lnTo>
                    <a:lnTo>
                      <a:pt x="371" y="580"/>
                    </a:lnTo>
                    <a:lnTo>
                      <a:pt x="365" y="578"/>
                    </a:lnTo>
                    <a:lnTo>
                      <a:pt x="365" y="580"/>
                    </a:lnTo>
                    <a:lnTo>
                      <a:pt x="365" y="581"/>
                    </a:lnTo>
                    <a:lnTo>
                      <a:pt x="363" y="581"/>
                    </a:lnTo>
                    <a:lnTo>
                      <a:pt x="363" y="583"/>
                    </a:lnTo>
                    <a:lnTo>
                      <a:pt x="362" y="583"/>
                    </a:lnTo>
                    <a:lnTo>
                      <a:pt x="362" y="584"/>
                    </a:lnTo>
                    <a:lnTo>
                      <a:pt x="360" y="584"/>
                    </a:lnTo>
                    <a:lnTo>
                      <a:pt x="358" y="584"/>
                    </a:lnTo>
                    <a:lnTo>
                      <a:pt x="357" y="584"/>
                    </a:lnTo>
                    <a:lnTo>
                      <a:pt x="355" y="584"/>
                    </a:lnTo>
                    <a:lnTo>
                      <a:pt x="354" y="586"/>
                    </a:lnTo>
                    <a:lnTo>
                      <a:pt x="352" y="586"/>
                    </a:lnTo>
                    <a:lnTo>
                      <a:pt x="350" y="586"/>
                    </a:lnTo>
                    <a:lnTo>
                      <a:pt x="349" y="586"/>
                    </a:lnTo>
                    <a:lnTo>
                      <a:pt x="347" y="586"/>
                    </a:lnTo>
                    <a:lnTo>
                      <a:pt x="346" y="586"/>
                    </a:lnTo>
                    <a:lnTo>
                      <a:pt x="346" y="584"/>
                    </a:lnTo>
                    <a:lnTo>
                      <a:pt x="344" y="584"/>
                    </a:lnTo>
                    <a:lnTo>
                      <a:pt x="343" y="584"/>
                    </a:lnTo>
                    <a:lnTo>
                      <a:pt x="343" y="583"/>
                    </a:lnTo>
                    <a:lnTo>
                      <a:pt x="341" y="583"/>
                    </a:lnTo>
                    <a:lnTo>
                      <a:pt x="339" y="581"/>
                    </a:lnTo>
                    <a:lnTo>
                      <a:pt x="338" y="581"/>
                    </a:lnTo>
                    <a:lnTo>
                      <a:pt x="338" y="583"/>
                    </a:lnTo>
                    <a:lnTo>
                      <a:pt x="336" y="584"/>
                    </a:lnTo>
                    <a:lnTo>
                      <a:pt x="336" y="586"/>
                    </a:lnTo>
                    <a:lnTo>
                      <a:pt x="336" y="588"/>
                    </a:lnTo>
                    <a:lnTo>
                      <a:pt x="336" y="589"/>
                    </a:lnTo>
                    <a:lnTo>
                      <a:pt x="335" y="589"/>
                    </a:lnTo>
                    <a:lnTo>
                      <a:pt x="335" y="591"/>
                    </a:lnTo>
                    <a:lnTo>
                      <a:pt x="335" y="592"/>
                    </a:lnTo>
                    <a:lnTo>
                      <a:pt x="333" y="594"/>
                    </a:lnTo>
                    <a:lnTo>
                      <a:pt x="331" y="595"/>
                    </a:lnTo>
                    <a:lnTo>
                      <a:pt x="331" y="597"/>
                    </a:lnTo>
                    <a:lnTo>
                      <a:pt x="330" y="597"/>
                    </a:lnTo>
                    <a:lnTo>
                      <a:pt x="330" y="599"/>
                    </a:lnTo>
                    <a:lnTo>
                      <a:pt x="328" y="599"/>
                    </a:lnTo>
                    <a:lnTo>
                      <a:pt x="327" y="599"/>
                    </a:lnTo>
                    <a:lnTo>
                      <a:pt x="327" y="600"/>
                    </a:lnTo>
                    <a:lnTo>
                      <a:pt x="327" y="602"/>
                    </a:lnTo>
                    <a:lnTo>
                      <a:pt x="325" y="602"/>
                    </a:lnTo>
                    <a:lnTo>
                      <a:pt x="324" y="602"/>
                    </a:lnTo>
                    <a:lnTo>
                      <a:pt x="324" y="603"/>
                    </a:lnTo>
                    <a:lnTo>
                      <a:pt x="322" y="603"/>
                    </a:lnTo>
                    <a:lnTo>
                      <a:pt x="320" y="603"/>
                    </a:lnTo>
                    <a:lnTo>
                      <a:pt x="319" y="603"/>
                    </a:lnTo>
                    <a:lnTo>
                      <a:pt x="317" y="603"/>
                    </a:lnTo>
                    <a:lnTo>
                      <a:pt x="317" y="602"/>
                    </a:lnTo>
                    <a:lnTo>
                      <a:pt x="316" y="600"/>
                    </a:lnTo>
                    <a:lnTo>
                      <a:pt x="314" y="600"/>
                    </a:lnTo>
                    <a:lnTo>
                      <a:pt x="312" y="600"/>
                    </a:lnTo>
                    <a:lnTo>
                      <a:pt x="311" y="600"/>
                    </a:lnTo>
                    <a:lnTo>
                      <a:pt x="309" y="600"/>
                    </a:lnTo>
                    <a:lnTo>
                      <a:pt x="309" y="599"/>
                    </a:lnTo>
                    <a:lnTo>
                      <a:pt x="308" y="599"/>
                    </a:lnTo>
                    <a:lnTo>
                      <a:pt x="308" y="600"/>
                    </a:lnTo>
                    <a:lnTo>
                      <a:pt x="308" y="602"/>
                    </a:lnTo>
                    <a:lnTo>
                      <a:pt x="309" y="602"/>
                    </a:lnTo>
                    <a:lnTo>
                      <a:pt x="309" y="603"/>
                    </a:lnTo>
                    <a:lnTo>
                      <a:pt x="309" y="605"/>
                    </a:lnTo>
                    <a:lnTo>
                      <a:pt x="309" y="607"/>
                    </a:lnTo>
                    <a:lnTo>
                      <a:pt x="309" y="608"/>
                    </a:lnTo>
                    <a:lnTo>
                      <a:pt x="308" y="610"/>
                    </a:lnTo>
                    <a:lnTo>
                      <a:pt x="308" y="611"/>
                    </a:lnTo>
                    <a:lnTo>
                      <a:pt x="308" y="613"/>
                    </a:lnTo>
                    <a:lnTo>
                      <a:pt x="308" y="614"/>
                    </a:lnTo>
                    <a:lnTo>
                      <a:pt x="308" y="616"/>
                    </a:lnTo>
                    <a:lnTo>
                      <a:pt x="306" y="618"/>
                    </a:lnTo>
                    <a:lnTo>
                      <a:pt x="306" y="619"/>
                    </a:lnTo>
                    <a:lnTo>
                      <a:pt x="306" y="621"/>
                    </a:lnTo>
                    <a:lnTo>
                      <a:pt x="305" y="621"/>
                    </a:lnTo>
                    <a:lnTo>
                      <a:pt x="305" y="622"/>
                    </a:lnTo>
                    <a:lnTo>
                      <a:pt x="305" y="624"/>
                    </a:lnTo>
                    <a:lnTo>
                      <a:pt x="305" y="626"/>
                    </a:lnTo>
                    <a:lnTo>
                      <a:pt x="303" y="627"/>
                    </a:lnTo>
                    <a:lnTo>
                      <a:pt x="303" y="629"/>
                    </a:lnTo>
                    <a:lnTo>
                      <a:pt x="303" y="630"/>
                    </a:lnTo>
                    <a:lnTo>
                      <a:pt x="303" y="632"/>
                    </a:lnTo>
                    <a:lnTo>
                      <a:pt x="303" y="633"/>
                    </a:lnTo>
                    <a:lnTo>
                      <a:pt x="305" y="633"/>
                    </a:lnTo>
                    <a:lnTo>
                      <a:pt x="306" y="633"/>
                    </a:lnTo>
                    <a:lnTo>
                      <a:pt x="308" y="633"/>
                    </a:lnTo>
                    <a:lnTo>
                      <a:pt x="309" y="633"/>
                    </a:lnTo>
                    <a:lnTo>
                      <a:pt x="311" y="633"/>
                    </a:lnTo>
                    <a:lnTo>
                      <a:pt x="312" y="633"/>
                    </a:lnTo>
                    <a:lnTo>
                      <a:pt x="312" y="632"/>
                    </a:lnTo>
                    <a:lnTo>
                      <a:pt x="314" y="632"/>
                    </a:lnTo>
                    <a:lnTo>
                      <a:pt x="314" y="633"/>
                    </a:lnTo>
                    <a:lnTo>
                      <a:pt x="314" y="635"/>
                    </a:lnTo>
                    <a:lnTo>
                      <a:pt x="312" y="637"/>
                    </a:lnTo>
                    <a:lnTo>
                      <a:pt x="312" y="638"/>
                    </a:lnTo>
                    <a:lnTo>
                      <a:pt x="312" y="640"/>
                    </a:lnTo>
                    <a:lnTo>
                      <a:pt x="312" y="641"/>
                    </a:lnTo>
                    <a:lnTo>
                      <a:pt x="312" y="643"/>
                    </a:lnTo>
                    <a:lnTo>
                      <a:pt x="312" y="645"/>
                    </a:lnTo>
                    <a:lnTo>
                      <a:pt x="312" y="646"/>
                    </a:lnTo>
                    <a:lnTo>
                      <a:pt x="312" y="648"/>
                    </a:lnTo>
                    <a:lnTo>
                      <a:pt x="311" y="648"/>
                    </a:lnTo>
                    <a:lnTo>
                      <a:pt x="311" y="646"/>
                    </a:lnTo>
                    <a:lnTo>
                      <a:pt x="309" y="646"/>
                    </a:lnTo>
                    <a:lnTo>
                      <a:pt x="308" y="646"/>
                    </a:lnTo>
                    <a:lnTo>
                      <a:pt x="306" y="646"/>
                    </a:lnTo>
                    <a:lnTo>
                      <a:pt x="305" y="645"/>
                    </a:lnTo>
                    <a:lnTo>
                      <a:pt x="303" y="645"/>
                    </a:lnTo>
                    <a:lnTo>
                      <a:pt x="301" y="645"/>
                    </a:lnTo>
                    <a:lnTo>
                      <a:pt x="301" y="643"/>
                    </a:lnTo>
                    <a:lnTo>
                      <a:pt x="300" y="643"/>
                    </a:lnTo>
                    <a:lnTo>
                      <a:pt x="298" y="641"/>
                    </a:lnTo>
                    <a:lnTo>
                      <a:pt x="297" y="640"/>
                    </a:lnTo>
                    <a:lnTo>
                      <a:pt x="297" y="638"/>
                    </a:lnTo>
                    <a:lnTo>
                      <a:pt x="295" y="638"/>
                    </a:lnTo>
                    <a:lnTo>
                      <a:pt x="293" y="638"/>
                    </a:lnTo>
                    <a:lnTo>
                      <a:pt x="292" y="637"/>
                    </a:lnTo>
                    <a:lnTo>
                      <a:pt x="290" y="637"/>
                    </a:lnTo>
                    <a:lnTo>
                      <a:pt x="290" y="635"/>
                    </a:lnTo>
                    <a:lnTo>
                      <a:pt x="289" y="635"/>
                    </a:lnTo>
                    <a:lnTo>
                      <a:pt x="287" y="633"/>
                    </a:lnTo>
                    <a:lnTo>
                      <a:pt x="286" y="633"/>
                    </a:lnTo>
                    <a:lnTo>
                      <a:pt x="286" y="632"/>
                    </a:lnTo>
                    <a:lnTo>
                      <a:pt x="284" y="632"/>
                    </a:lnTo>
                    <a:lnTo>
                      <a:pt x="284" y="630"/>
                    </a:lnTo>
                    <a:lnTo>
                      <a:pt x="282" y="630"/>
                    </a:lnTo>
                    <a:lnTo>
                      <a:pt x="281" y="629"/>
                    </a:lnTo>
                    <a:lnTo>
                      <a:pt x="279" y="629"/>
                    </a:lnTo>
                    <a:lnTo>
                      <a:pt x="279" y="627"/>
                    </a:lnTo>
                    <a:lnTo>
                      <a:pt x="278" y="627"/>
                    </a:lnTo>
                    <a:lnTo>
                      <a:pt x="278" y="626"/>
                    </a:lnTo>
                    <a:lnTo>
                      <a:pt x="276" y="626"/>
                    </a:lnTo>
                    <a:lnTo>
                      <a:pt x="274" y="626"/>
                    </a:lnTo>
                    <a:lnTo>
                      <a:pt x="273" y="626"/>
                    </a:lnTo>
                    <a:lnTo>
                      <a:pt x="271" y="624"/>
                    </a:lnTo>
                    <a:lnTo>
                      <a:pt x="270" y="624"/>
                    </a:lnTo>
                    <a:lnTo>
                      <a:pt x="268" y="624"/>
                    </a:lnTo>
                    <a:lnTo>
                      <a:pt x="267" y="624"/>
                    </a:lnTo>
                    <a:lnTo>
                      <a:pt x="267" y="622"/>
                    </a:lnTo>
                    <a:lnTo>
                      <a:pt x="265" y="622"/>
                    </a:lnTo>
                    <a:lnTo>
                      <a:pt x="265" y="621"/>
                    </a:lnTo>
                    <a:lnTo>
                      <a:pt x="263" y="621"/>
                    </a:lnTo>
                    <a:lnTo>
                      <a:pt x="263" y="619"/>
                    </a:lnTo>
                    <a:lnTo>
                      <a:pt x="262" y="619"/>
                    </a:lnTo>
                    <a:lnTo>
                      <a:pt x="262" y="618"/>
                    </a:lnTo>
                    <a:lnTo>
                      <a:pt x="262" y="616"/>
                    </a:lnTo>
                    <a:lnTo>
                      <a:pt x="260" y="614"/>
                    </a:lnTo>
                    <a:lnTo>
                      <a:pt x="262" y="613"/>
                    </a:lnTo>
                    <a:lnTo>
                      <a:pt x="262" y="611"/>
                    </a:lnTo>
                    <a:lnTo>
                      <a:pt x="262" y="610"/>
                    </a:lnTo>
                    <a:lnTo>
                      <a:pt x="263" y="610"/>
                    </a:lnTo>
                    <a:lnTo>
                      <a:pt x="263" y="608"/>
                    </a:lnTo>
                    <a:lnTo>
                      <a:pt x="263" y="607"/>
                    </a:lnTo>
                    <a:lnTo>
                      <a:pt x="263" y="605"/>
                    </a:lnTo>
                    <a:lnTo>
                      <a:pt x="263" y="603"/>
                    </a:lnTo>
                    <a:lnTo>
                      <a:pt x="265" y="602"/>
                    </a:lnTo>
                    <a:lnTo>
                      <a:pt x="265" y="600"/>
                    </a:lnTo>
                    <a:lnTo>
                      <a:pt x="265" y="599"/>
                    </a:lnTo>
                    <a:lnTo>
                      <a:pt x="267" y="599"/>
                    </a:lnTo>
                    <a:lnTo>
                      <a:pt x="267" y="597"/>
                    </a:lnTo>
                    <a:lnTo>
                      <a:pt x="267" y="595"/>
                    </a:lnTo>
                    <a:lnTo>
                      <a:pt x="267" y="594"/>
                    </a:lnTo>
                    <a:lnTo>
                      <a:pt x="267" y="592"/>
                    </a:lnTo>
                    <a:lnTo>
                      <a:pt x="265" y="592"/>
                    </a:lnTo>
                    <a:lnTo>
                      <a:pt x="267" y="591"/>
                    </a:lnTo>
                    <a:lnTo>
                      <a:pt x="267" y="589"/>
                    </a:lnTo>
                    <a:lnTo>
                      <a:pt x="267" y="588"/>
                    </a:lnTo>
                    <a:lnTo>
                      <a:pt x="267" y="586"/>
                    </a:lnTo>
                    <a:lnTo>
                      <a:pt x="265" y="586"/>
                    </a:lnTo>
                    <a:lnTo>
                      <a:pt x="265" y="584"/>
                    </a:lnTo>
                    <a:lnTo>
                      <a:pt x="265" y="583"/>
                    </a:lnTo>
                    <a:lnTo>
                      <a:pt x="265" y="581"/>
                    </a:lnTo>
                    <a:lnTo>
                      <a:pt x="263" y="581"/>
                    </a:lnTo>
                    <a:lnTo>
                      <a:pt x="263" y="580"/>
                    </a:lnTo>
                    <a:lnTo>
                      <a:pt x="263" y="578"/>
                    </a:lnTo>
                    <a:lnTo>
                      <a:pt x="263" y="576"/>
                    </a:lnTo>
                    <a:lnTo>
                      <a:pt x="262" y="575"/>
                    </a:lnTo>
                    <a:lnTo>
                      <a:pt x="262" y="573"/>
                    </a:lnTo>
                    <a:lnTo>
                      <a:pt x="262" y="572"/>
                    </a:lnTo>
                    <a:lnTo>
                      <a:pt x="262" y="570"/>
                    </a:lnTo>
                    <a:lnTo>
                      <a:pt x="262" y="569"/>
                    </a:lnTo>
                    <a:lnTo>
                      <a:pt x="262" y="567"/>
                    </a:lnTo>
                    <a:lnTo>
                      <a:pt x="262" y="565"/>
                    </a:lnTo>
                    <a:lnTo>
                      <a:pt x="260" y="564"/>
                    </a:lnTo>
                    <a:lnTo>
                      <a:pt x="259" y="562"/>
                    </a:lnTo>
                    <a:lnTo>
                      <a:pt x="257" y="562"/>
                    </a:lnTo>
                    <a:lnTo>
                      <a:pt x="255" y="562"/>
                    </a:lnTo>
                    <a:lnTo>
                      <a:pt x="254" y="562"/>
                    </a:lnTo>
                    <a:lnTo>
                      <a:pt x="254" y="561"/>
                    </a:lnTo>
                    <a:lnTo>
                      <a:pt x="252" y="562"/>
                    </a:lnTo>
                    <a:lnTo>
                      <a:pt x="251" y="562"/>
                    </a:lnTo>
                    <a:lnTo>
                      <a:pt x="251" y="561"/>
                    </a:lnTo>
                    <a:lnTo>
                      <a:pt x="249" y="562"/>
                    </a:lnTo>
                    <a:lnTo>
                      <a:pt x="248" y="562"/>
                    </a:lnTo>
                    <a:lnTo>
                      <a:pt x="246" y="562"/>
                    </a:lnTo>
                    <a:lnTo>
                      <a:pt x="246" y="564"/>
                    </a:lnTo>
                    <a:lnTo>
                      <a:pt x="244" y="564"/>
                    </a:lnTo>
                    <a:lnTo>
                      <a:pt x="244" y="565"/>
                    </a:lnTo>
                    <a:lnTo>
                      <a:pt x="243" y="565"/>
                    </a:lnTo>
                    <a:lnTo>
                      <a:pt x="243" y="567"/>
                    </a:lnTo>
                    <a:lnTo>
                      <a:pt x="241" y="567"/>
                    </a:lnTo>
                    <a:lnTo>
                      <a:pt x="240" y="569"/>
                    </a:lnTo>
                    <a:lnTo>
                      <a:pt x="238" y="569"/>
                    </a:lnTo>
                    <a:lnTo>
                      <a:pt x="236" y="569"/>
                    </a:lnTo>
                    <a:lnTo>
                      <a:pt x="235" y="569"/>
                    </a:lnTo>
                    <a:lnTo>
                      <a:pt x="233" y="569"/>
                    </a:lnTo>
                    <a:lnTo>
                      <a:pt x="232" y="569"/>
                    </a:lnTo>
                    <a:lnTo>
                      <a:pt x="230" y="569"/>
                    </a:lnTo>
                    <a:lnTo>
                      <a:pt x="230" y="570"/>
                    </a:lnTo>
                    <a:lnTo>
                      <a:pt x="228" y="570"/>
                    </a:lnTo>
                    <a:lnTo>
                      <a:pt x="228" y="572"/>
                    </a:lnTo>
                    <a:lnTo>
                      <a:pt x="227" y="572"/>
                    </a:lnTo>
                    <a:lnTo>
                      <a:pt x="227" y="573"/>
                    </a:lnTo>
                    <a:lnTo>
                      <a:pt x="227" y="575"/>
                    </a:lnTo>
                    <a:lnTo>
                      <a:pt x="225" y="575"/>
                    </a:lnTo>
                    <a:lnTo>
                      <a:pt x="225" y="576"/>
                    </a:lnTo>
                    <a:lnTo>
                      <a:pt x="224" y="576"/>
                    </a:lnTo>
                    <a:lnTo>
                      <a:pt x="224" y="578"/>
                    </a:lnTo>
                    <a:lnTo>
                      <a:pt x="222" y="578"/>
                    </a:lnTo>
                    <a:lnTo>
                      <a:pt x="222" y="580"/>
                    </a:lnTo>
                    <a:lnTo>
                      <a:pt x="221" y="580"/>
                    </a:lnTo>
                    <a:lnTo>
                      <a:pt x="219" y="580"/>
                    </a:lnTo>
                    <a:lnTo>
                      <a:pt x="219" y="581"/>
                    </a:lnTo>
                    <a:lnTo>
                      <a:pt x="217" y="581"/>
                    </a:lnTo>
                    <a:lnTo>
                      <a:pt x="216" y="581"/>
                    </a:lnTo>
                    <a:lnTo>
                      <a:pt x="214" y="581"/>
                    </a:lnTo>
                    <a:lnTo>
                      <a:pt x="213" y="581"/>
                    </a:lnTo>
                    <a:lnTo>
                      <a:pt x="211" y="583"/>
                    </a:lnTo>
                    <a:lnTo>
                      <a:pt x="211" y="584"/>
                    </a:lnTo>
                    <a:lnTo>
                      <a:pt x="209" y="584"/>
                    </a:lnTo>
                    <a:lnTo>
                      <a:pt x="209" y="586"/>
                    </a:lnTo>
                    <a:lnTo>
                      <a:pt x="208" y="588"/>
                    </a:lnTo>
                    <a:lnTo>
                      <a:pt x="208" y="589"/>
                    </a:lnTo>
                    <a:lnTo>
                      <a:pt x="206" y="589"/>
                    </a:lnTo>
                    <a:lnTo>
                      <a:pt x="206" y="591"/>
                    </a:lnTo>
                    <a:lnTo>
                      <a:pt x="206" y="592"/>
                    </a:lnTo>
                    <a:lnTo>
                      <a:pt x="206" y="594"/>
                    </a:lnTo>
                    <a:lnTo>
                      <a:pt x="206" y="595"/>
                    </a:lnTo>
                    <a:lnTo>
                      <a:pt x="205" y="595"/>
                    </a:lnTo>
                    <a:lnTo>
                      <a:pt x="205" y="597"/>
                    </a:lnTo>
                    <a:lnTo>
                      <a:pt x="205" y="599"/>
                    </a:lnTo>
                    <a:lnTo>
                      <a:pt x="205" y="600"/>
                    </a:lnTo>
                    <a:lnTo>
                      <a:pt x="203" y="600"/>
                    </a:lnTo>
                    <a:lnTo>
                      <a:pt x="203" y="602"/>
                    </a:lnTo>
                    <a:lnTo>
                      <a:pt x="202" y="603"/>
                    </a:lnTo>
                    <a:lnTo>
                      <a:pt x="200" y="603"/>
                    </a:lnTo>
                    <a:lnTo>
                      <a:pt x="200" y="602"/>
                    </a:lnTo>
                    <a:lnTo>
                      <a:pt x="198" y="602"/>
                    </a:lnTo>
                    <a:lnTo>
                      <a:pt x="197" y="602"/>
                    </a:lnTo>
                    <a:lnTo>
                      <a:pt x="197" y="600"/>
                    </a:lnTo>
                    <a:lnTo>
                      <a:pt x="195" y="600"/>
                    </a:lnTo>
                    <a:lnTo>
                      <a:pt x="194" y="600"/>
                    </a:lnTo>
                    <a:lnTo>
                      <a:pt x="192" y="600"/>
                    </a:lnTo>
                    <a:lnTo>
                      <a:pt x="190" y="599"/>
                    </a:lnTo>
                    <a:lnTo>
                      <a:pt x="189" y="599"/>
                    </a:lnTo>
                    <a:lnTo>
                      <a:pt x="187" y="599"/>
                    </a:lnTo>
                    <a:lnTo>
                      <a:pt x="187" y="597"/>
                    </a:lnTo>
                    <a:lnTo>
                      <a:pt x="186" y="597"/>
                    </a:lnTo>
                    <a:lnTo>
                      <a:pt x="184" y="595"/>
                    </a:lnTo>
                    <a:lnTo>
                      <a:pt x="183" y="594"/>
                    </a:lnTo>
                    <a:lnTo>
                      <a:pt x="184" y="594"/>
                    </a:lnTo>
                    <a:lnTo>
                      <a:pt x="184" y="592"/>
                    </a:lnTo>
                    <a:lnTo>
                      <a:pt x="184" y="591"/>
                    </a:lnTo>
                    <a:lnTo>
                      <a:pt x="183" y="591"/>
                    </a:lnTo>
                    <a:lnTo>
                      <a:pt x="183" y="589"/>
                    </a:lnTo>
                    <a:lnTo>
                      <a:pt x="183" y="588"/>
                    </a:lnTo>
                    <a:lnTo>
                      <a:pt x="183" y="586"/>
                    </a:lnTo>
                    <a:lnTo>
                      <a:pt x="181" y="586"/>
                    </a:lnTo>
                    <a:lnTo>
                      <a:pt x="181" y="584"/>
                    </a:lnTo>
                    <a:lnTo>
                      <a:pt x="181" y="583"/>
                    </a:lnTo>
                    <a:lnTo>
                      <a:pt x="183" y="583"/>
                    </a:lnTo>
                    <a:lnTo>
                      <a:pt x="183" y="581"/>
                    </a:lnTo>
                    <a:lnTo>
                      <a:pt x="183" y="580"/>
                    </a:lnTo>
                    <a:lnTo>
                      <a:pt x="183" y="578"/>
                    </a:lnTo>
                    <a:lnTo>
                      <a:pt x="181" y="578"/>
                    </a:lnTo>
                    <a:lnTo>
                      <a:pt x="179" y="578"/>
                    </a:lnTo>
                    <a:lnTo>
                      <a:pt x="179" y="576"/>
                    </a:lnTo>
                    <a:lnTo>
                      <a:pt x="178" y="576"/>
                    </a:lnTo>
                    <a:lnTo>
                      <a:pt x="176" y="576"/>
                    </a:lnTo>
                    <a:lnTo>
                      <a:pt x="175" y="575"/>
                    </a:lnTo>
                    <a:lnTo>
                      <a:pt x="173" y="575"/>
                    </a:lnTo>
                    <a:lnTo>
                      <a:pt x="171" y="575"/>
                    </a:lnTo>
                    <a:lnTo>
                      <a:pt x="170" y="573"/>
                    </a:lnTo>
                    <a:lnTo>
                      <a:pt x="168" y="573"/>
                    </a:lnTo>
                    <a:lnTo>
                      <a:pt x="167" y="573"/>
                    </a:lnTo>
                    <a:lnTo>
                      <a:pt x="167" y="575"/>
                    </a:lnTo>
                    <a:lnTo>
                      <a:pt x="165" y="575"/>
                    </a:lnTo>
                    <a:lnTo>
                      <a:pt x="164" y="575"/>
                    </a:lnTo>
                    <a:lnTo>
                      <a:pt x="162" y="575"/>
                    </a:lnTo>
                    <a:lnTo>
                      <a:pt x="160" y="575"/>
                    </a:lnTo>
                    <a:lnTo>
                      <a:pt x="160" y="576"/>
                    </a:lnTo>
                    <a:lnTo>
                      <a:pt x="159" y="576"/>
                    </a:lnTo>
                    <a:lnTo>
                      <a:pt x="159" y="578"/>
                    </a:lnTo>
                    <a:lnTo>
                      <a:pt x="157" y="578"/>
                    </a:lnTo>
                    <a:lnTo>
                      <a:pt x="156" y="580"/>
                    </a:lnTo>
                    <a:lnTo>
                      <a:pt x="154" y="580"/>
                    </a:lnTo>
                    <a:lnTo>
                      <a:pt x="154" y="581"/>
                    </a:lnTo>
                    <a:lnTo>
                      <a:pt x="152" y="581"/>
                    </a:lnTo>
                    <a:lnTo>
                      <a:pt x="152" y="583"/>
                    </a:lnTo>
                    <a:lnTo>
                      <a:pt x="151" y="584"/>
                    </a:lnTo>
                    <a:lnTo>
                      <a:pt x="149" y="586"/>
                    </a:lnTo>
                    <a:lnTo>
                      <a:pt x="148" y="588"/>
                    </a:lnTo>
                    <a:lnTo>
                      <a:pt x="146" y="586"/>
                    </a:lnTo>
                    <a:lnTo>
                      <a:pt x="145" y="586"/>
                    </a:lnTo>
                    <a:lnTo>
                      <a:pt x="143" y="586"/>
                    </a:lnTo>
                    <a:lnTo>
                      <a:pt x="141" y="586"/>
                    </a:lnTo>
                    <a:lnTo>
                      <a:pt x="141" y="584"/>
                    </a:lnTo>
                    <a:lnTo>
                      <a:pt x="141" y="583"/>
                    </a:lnTo>
                    <a:lnTo>
                      <a:pt x="141" y="581"/>
                    </a:lnTo>
                    <a:lnTo>
                      <a:pt x="141" y="580"/>
                    </a:lnTo>
                    <a:lnTo>
                      <a:pt x="141" y="578"/>
                    </a:lnTo>
                    <a:lnTo>
                      <a:pt x="141" y="576"/>
                    </a:lnTo>
                    <a:lnTo>
                      <a:pt x="141" y="575"/>
                    </a:lnTo>
                    <a:lnTo>
                      <a:pt x="143" y="573"/>
                    </a:lnTo>
                    <a:lnTo>
                      <a:pt x="143" y="572"/>
                    </a:lnTo>
                    <a:lnTo>
                      <a:pt x="145" y="570"/>
                    </a:lnTo>
                    <a:lnTo>
                      <a:pt x="145" y="569"/>
                    </a:lnTo>
                    <a:lnTo>
                      <a:pt x="143" y="569"/>
                    </a:lnTo>
                    <a:lnTo>
                      <a:pt x="141" y="569"/>
                    </a:lnTo>
                    <a:lnTo>
                      <a:pt x="140" y="569"/>
                    </a:lnTo>
                    <a:lnTo>
                      <a:pt x="138" y="569"/>
                    </a:lnTo>
                    <a:lnTo>
                      <a:pt x="138" y="567"/>
                    </a:lnTo>
                    <a:lnTo>
                      <a:pt x="137" y="567"/>
                    </a:lnTo>
                    <a:lnTo>
                      <a:pt x="137" y="565"/>
                    </a:lnTo>
                    <a:lnTo>
                      <a:pt x="135" y="565"/>
                    </a:lnTo>
                    <a:lnTo>
                      <a:pt x="133" y="565"/>
                    </a:lnTo>
                    <a:lnTo>
                      <a:pt x="133" y="564"/>
                    </a:lnTo>
                    <a:lnTo>
                      <a:pt x="132" y="564"/>
                    </a:lnTo>
                    <a:lnTo>
                      <a:pt x="130" y="564"/>
                    </a:lnTo>
                    <a:lnTo>
                      <a:pt x="129" y="564"/>
                    </a:lnTo>
                    <a:lnTo>
                      <a:pt x="129" y="562"/>
                    </a:lnTo>
                    <a:lnTo>
                      <a:pt x="127" y="562"/>
                    </a:lnTo>
                    <a:lnTo>
                      <a:pt x="126" y="562"/>
                    </a:lnTo>
                    <a:lnTo>
                      <a:pt x="124" y="562"/>
                    </a:lnTo>
                    <a:lnTo>
                      <a:pt x="122" y="562"/>
                    </a:lnTo>
                    <a:lnTo>
                      <a:pt x="122" y="561"/>
                    </a:lnTo>
                    <a:lnTo>
                      <a:pt x="121" y="561"/>
                    </a:lnTo>
                    <a:lnTo>
                      <a:pt x="119" y="561"/>
                    </a:lnTo>
                    <a:lnTo>
                      <a:pt x="118" y="561"/>
                    </a:lnTo>
                    <a:lnTo>
                      <a:pt x="116" y="561"/>
                    </a:lnTo>
                    <a:lnTo>
                      <a:pt x="114" y="559"/>
                    </a:lnTo>
                    <a:lnTo>
                      <a:pt x="113" y="559"/>
                    </a:lnTo>
                    <a:lnTo>
                      <a:pt x="111" y="559"/>
                    </a:lnTo>
                    <a:lnTo>
                      <a:pt x="110" y="559"/>
                    </a:lnTo>
                    <a:lnTo>
                      <a:pt x="110" y="561"/>
                    </a:lnTo>
                    <a:lnTo>
                      <a:pt x="108" y="561"/>
                    </a:lnTo>
                    <a:lnTo>
                      <a:pt x="108" y="562"/>
                    </a:lnTo>
                    <a:lnTo>
                      <a:pt x="107" y="562"/>
                    </a:lnTo>
                    <a:lnTo>
                      <a:pt x="105" y="564"/>
                    </a:lnTo>
                    <a:lnTo>
                      <a:pt x="103" y="564"/>
                    </a:lnTo>
                    <a:lnTo>
                      <a:pt x="102" y="564"/>
                    </a:lnTo>
                    <a:lnTo>
                      <a:pt x="102" y="565"/>
                    </a:lnTo>
                    <a:lnTo>
                      <a:pt x="100" y="565"/>
                    </a:lnTo>
                    <a:lnTo>
                      <a:pt x="99" y="565"/>
                    </a:lnTo>
                    <a:lnTo>
                      <a:pt x="97" y="565"/>
                    </a:lnTo>
                    <a:lnTo>
                      <a:pt x="95" y="564"/>
                    </a:lnTo>
                    <a:lnTo>
                      <a:pt x="94" y="562"/>
                    </a:lnTo>
                    <a:lnTo>
                      <a:pt x="92" y="562"/>
                    </a:lnTo>
                    <a:lnTo>
                      <a:pt x="91" y="562"/>
                    </a:lnTo>
                    <a:lnTo>
                      <a:pt x="89" y="562"/>
                    </a:lnTo>
                    <a:lnTo>
                      <a:pt x="89" y="561"/>
                    </a:lnTo>
                    <a:lnTo>
                      <a:pt x="88" y="562"/>
                    </a:lnTo>
                    <a:lnTo>
                      <a:pt x="86" y="561"/>
                    </a:lnTo>
                    <a:lnTo>
                      <a:pt x="84" y="561"/>
                    </a:lnTo>
                    <a:lnTo>
                      <a:pt x="83" y="561"/>
                    </a:lnTo>
                    <a:lnTo>
                      <a:pt x="81" y="561"/>
                    </a:lnTo>
                    <a:lnTo>
                      <a:pt x="80" y="561"/>
                    </a:lnTo>
                    <a:lnTo>
                      <a:pt x="78" y="561"/>
                    </a:lnTo>
                    <a:lnTo>
                      <a:pt x="76" y="561"/>
                    </a:lnTo>
                    <a:lnTo>
                      <a:pt x="75" y="561"/>
                    </a:lnTo>
                    <a:lnTo>
                      <a:pt x="73" y="561"/>
                    </a:lnTo>
                    <a:lnTo>
                      <a:pt x="72" y="562"/>
                    </a:lnTo>
                    <a:lnTo>
                      <a:pt x="70" y="562"/>
                    </a:lnTo>
                    <a:lnTo>
                      <a:pt x="69" y="562"/>
                    </a:lnTo>
                    <a:lnTo>
                      <a:pt x="69" y="564"/>
                    </a:lnTo>
                    <a:lnTo>
                      <a:pt x="67" y="564"/>
                    </a:lnTo>
                    <a:lnTo>
                      <a:pt x="65" y="564"/>
                    </a:lnTo>
                    <a:lnTo>
                      <a:pt x="64" y="564"/>
                    </a:lnTo>
                    <a:lnTo>
                      <a:pt x="62" y="564"/>
                    </a:lnTo>
                    <a:lnTo>
                      <a:pt x="61" y="564"/>
                    </a:lnTo>
                    <a:lnTo>
                      <a:pt x="59" y="564"/>
                    </a:lnTo>
                    <a:lnTo>
                      <a:pt x="57" y="564"/>
                    </a:lnTo>
                    <a:lnTo>
                      <a:pt x="59" y="562"/>
                    </a:lnTo>
                    <a:lnTo>
                      <a:pt x="59" y="561"/>
                    </a:lnTo>
                    <a:lnTo>
                      <a:pt x="59" y="559"/>
                    </a:lnTo>
                    <a:lnTo>
                      <a:pt x="61" y="559"/>
                    </a:lnTo>
                    <a:lnTo>
                      <a:pt x="61" y="557"/>
                    </a:lnTo>
                    <a:lnTo>
                      <a:pt x="62" y="557"/>
                    </a:lnTo>
                    <a:lnTo>
                      <a:pt x="64" y="556"/>
                    </a:lnTo>
                    <a:lnTo>
                      <a:pt x="64" y="554"/>
                    </a:lnTo>
                    <a:lnTo>
                      <a:pt x="64" y="553"/>
                    </a:lnTo>
                    <a:lnTo>
                      <a:pt x="64" y="551"/>
                    </a:lnTo>
                    <a:lnTo>
                      <a:pt x="64" y="550"/>
                    </a:lnTo>
                    <a:lnTo>
                      <a:pt x="62" y="548"/>
                    </a:lnTo>
                    <a:lnTo>
                      <a:pt x="61" y="546"/>
                    </a:lnTo>
                    <a:lnTo>
                      <a:pt x="59" y="545"/>
                    </a:lnTo>
                    <a:lnTo>
                      <a:pt x="59" y="543"/>
                    </a:lnTo>
                    <a:lnTo>
                      <a:pt x="59" y="542"/>
                    </a:lnTo>
                    <a:lnTo>
                      <a:pt x="59" y="540"/>
                    </a:lnTo>
                    <a:lnTo>
                      <a:pt x="61" y="540"/>
                    </a:lnTo>
                    <a:lnTo>
                      <a:pt x="61" y="538"/>
                    </a:lnTo>
                    <a:lnTo>
                      <a:pt x="61" y="537"/>
                    </a:lnTo>
                    <a:lnTo>
                      <a:pt x="62" y="535"/>
                    </a:lnTo>
                    <a:lnTo>
                      <a:pt x="64" y="535"/>
                    </a:lnTo>
                    <a:lnTo>
                      <a:pt x="65" y="534"/>
                    </a:lnTo>
                    <a:lnTo>
                      <a:pt x="65" y="532"/>
                    </a:lnTo>
                    <a:lnTo>
                      <a:pt x="67" y="530"/>
                    </a:lnTo>
                    <a:lnTo>
                      <a:pt x="65" y="530"/>
                    </a:lnTo>
                    <a:lnTo>
                      <a:pt x="67" y="529"/>
                    </a:lnTo>
                    <a:lnTo>
                      <a:pt x="67" y="527"/>
                    </a:lnTo>
                    <a:lnTo>
                      <a:pt x="65" y="527"/>
                    </a:lnTo>
                    <a:lnTo>
                      <a:pt x="65" y="526"/>
                    </a:lnTo>
                    <a:lnTo>
                      <a:pt x="65" y="524"/>
                    </a:lnTo>
                    <a:lnTo>
                      <a:pt x="65" y="523"/>
                    </a:lnTo>
                    <a:lnTo>
                      <a:pt x="65" y="521"/>
                    </a:lnTo>
                    <a:lnTo>
                      <a:pt x="65" y="519"/>
                    </a:lnTo>
                    <a:lnTo>
                      <a:pt x="65" y="518"/>
                    </a:lnTo>
                    <a:lnTo>
                      <a:pt x="65" y="516"/>
                    </a:lnTo>
                    <a:lnTo>
                      <a:pt x="64" y="515"/>
                    </a:lnTo>
                    <a:lnTo>
                      <a:pt x="62" y="515"/>
                    </a:lnTo>
                    <a:lnTo>
                      <a:pt x="62" y="513"/>
                    </a:lnTo>
                    <a:lnTo>
                      <a:pt x="61" y="513"/>
                    </a:lnTo>
                    <a:lnTo>
                      <a:pt x="61" y="511"/>
                    </a:lnTo>
                    <a:lnTo>
                      <a:pt x="59" y="511"/>
                    </a:lnTo>
                    <a:lnTo>
                      <a:pt x="57" y="511"/>
                    </a:lnTo>
                    <a:lnTo>
                      <a:pt x="56" y="511"/>
                    </a:lnTo>
                    <a:lnTo>
                      <a:pt x="56" y="510"/>
                    </a:lnTo>
                    <a:lnTo>
                      <a:pt x="57" y="510"/>
                    </a:lnTo>
                    <a:lnTo>
                      <a:pt x="57" y="508"/>
                    </a:lnTo>
                    <a:lnTo>
                      <a:pt x="59" y="507"/>
                    </a:lnTo>
                    <a:lnTo>
                      <a:pt x="59" y="505"/>
                    </a:lnTo>
                    <a:lnTo>
                      <a:pt x="59" y="504"/>
                    </a:lnTo>
                    <a:lnTo>
                      <a:pt x="61" y="504"/>
                    </a:lnTo>
                    <a:lnTo>
                      <a:pt x="61" y="502"/>
                    </a:lnTo>
                    <a:lnTo>
                      <a:pt x="62" y="500"/>
                    </a:lnTo>
                    <a:lnTo>
                      <a:pt x="64" y="500"/>
                    </a:lnTo>
                    <a:lnTo>
                      <a:pt x="64" y="499"/>
                    </a:lnTo>
                    <a:lnTo>
                      <a:pt x="65" y="499"/>
                    </a:lnTo>
                    <a:lnTo>
                      <a:pt x="65" y="497"/>
                    </a:lnTo>
                    <a:lnTo>
                      <a:pt x="65" y="496"/>
                    </a:lnTo>
                    <a:lnTo>
                      <a:pt x="65" y="494"/>
                    </a:lnTo>
                    <a:lnTo>
                      <a:pt x="65" y="492"/>
                    </a:lnTo>
                    <a:lnTo>
                      <a:pt x="64" y="492"/>
                    </a:lnTo>
                    <a:lnTo>
                      <a:pt x="64" y="491"/>
                    </a:lnTo>
                    <a:lnTo>
                      <a:pt x="64" y="489"/>
                    </a:lnTo>
                    <a:lnTo>
                      <a:pt x="65" y="488"/>
                    </a:lnTo>
                    <a:lnTo>
                      <a:pt x="65" y="486"/>
                    </a:lnTo>
                    <a:lnTo>
                      <a:pt x="65" y="485"/>
                    </a:lnTo>
                    <a:lnTo>
                      <a:pt x="65" y="483"/>
                    </a:lnTo>
                    <a:lnTo>
                      <a:pt x="65" y="481"/>
                    </a:lnTo>
                    <a:lnTo>
                      <a:pt x="67" y="480"/>
                    </a:lnTo>
                    <a:lnTo>
                      <a:pt x="67" y="478"/>
                    </a:lnTo>
                    <a:lnTo>
                      <a:pt x="69" y="478"/>
                    </a:lnTo>
                    <a:lnTo>
                      <a:pt x="69" y="477"/>
                    </a:lnTo>
                    <a:lnTo>
                      <a:pt x="70" y="475"/>
                    </a:lnTo>
                    <a:lnTo>
                      <a:pt x="72" y="473"/>
                    </a:lnTo>
                    <a:lnTo>
                      <a:pt x="72" y="472"/>
                    </a:lnTo>
                    <a:lnTo>
                      <a:pt x="72" y="470"/>
                    </a:lnTo>
                    <a:lnTo>
                      <a:pt x="72" y="469"/>
                    </a:lnTo>
                    <a:lnTo>
                      <a:pt x="70" y="469"/>
                    </a:lnTo>
                    <a:lnTo>
                      <a:pt x="70" y="467"/>
                    </a:lnTo>
                    <a:lnTo>
                      <a:pt x="69" y="467"/>
                    </a:lnTo>
                    <a:lnTo>
                      <a:pt x="67" y="467"/>
                    </a:lnTo>
                    <a:lnTo>
                      <a:pt x="67" y="466"/>
                    </a:lnTo>
                    <a:lnTo>
                      <a:pt x="65" y="466"/>
                    </a:lnTo>
                    <a:lnTo>
                      <a:pt x="64" y="466"/>
                    </a:lnTo>
                    <a:lnTo>
                      <a:pt x="64" y="464"/>
                    </a:lnTo>
                    <a:lnTo>
                      <a:pt x="62" y="464"/>
                    </a:lnTo>
                    <a:lnTo>
                      <a:pt x="61" y="464"/>
                    </a:lnTo>
                    <a:lnTo>
                      <a:pt x="59" y="462"/>
                    </a:lnTo>
                    <a:lnTo>
                      <a:pt x="57" y="462"/>
                    </a:lnTo>
                    <a:lnTo>
                      <a:pt x="56" y="462"/>
                    </a:lnTo>
                    <a:lnTo>
                      <a:pt x="54" y="462"/>
                    </a:lnTo>
                    <a:lnTo>
                      <a:pt x="54" y="461"/>
                    </a:lnTo>
                    <a:lnTo>
                      <a:pt x="53" y="461"/>
                    </a:lnTo>
                    <a:lnTo>
                      <a:pt x="53" y="459"/>
                    </a:lnTo>
                    <a:lnTo>
                      <a:pt x="51" y="458"/>
                    </a:lnTo>
                    <a:lnTo>
                      <a:pt x="50" y="458"/>
                    </a:lnTo>
                    <a:lnTo>
                      <a:pt x="50" y="456"/>
                    </a:lnTo>
                    <a:lnTo>
                      <a:pt x="48" y="456"/>
                    </a:lnTo>
                    <a:lnTo>
                      <a:pt x="48" y="454"/>
                    </a:lnTo>
                    <a:lnTo>
                      <a:pt x="48" y="453"/>
                    </a:lnTo>
                    <a:lnTo>
                      <a:pt x="48" y="451"/>
                    </a:lnTo>
                    <a:lnTo>
                      <a:pt x="46" y="451"/>
                    </a:lnTo>
                    <a:lnTo>
                      <a:pt x="46" y="450"/>
                    </a:lnTo>
                    <a:lnTo>
                      <a:pt x="46" y="448"/>
                    </a:lnTo>
                    <a:lnTo>
                      <a:pt x="45" y="448"/>
                    </a:lnTo>
                    <a:lnTo>
                      <a:pt x="45" y="447"/>
                    </a:lnTo>
                    <a:lnTo>
                      <a:pt x="43" y="445"/>
                    </a:lnTo>
                    <a:lnTo>
                      <a:pt x="43" y="443"/>
                    </a:lnTo>
                    <a:lnTo>
                      <a:pt x="42" y="443"/>
                    </a:lnTo>
                    <a:lnTo>
                      <a:pt x="40" y="443"/>
                    </a:lnTo>
                    <a:lnTo>
                      <a:pt x="40" y="442"/>
                    </a:lnTo>
                    <a:lnTo>
                      <a:pt x="38" y="442"/>
                    </a:lnTo>
                    <a:lnTo>
                      <a:pt x="37" y="440"/>
                    </a:lnTo>
                    <a:lnTo>
                      <a:pt x="37" y="439"/>
                    </a:lnTo>
                    <a:lnTo>
                      <a:pt x="35" y="439"/>
                    </a:lnTo>
                    <a:lnTo>
                      <a:pt x="34" y="437"/>
                    </a:lnTo>
                    <a:lnTo>
                      <a:pt x="34" y="435"/>
                    </a:lnTo>
                    <a:lnTo>
                      <a:pt x="32" y="435"/>
                    </a:lnTo>
                    <a:lnTo>
                      <a:pt x="32" y="434"/>
                    </a:lnTo>
                    <a:lnTo>
                      <a:pt x="30" y="432"/>
                    </a:lnTo>
                    <a:lnTo>
                      <a:pt x="32" y="432"/>
                    </a:lnTo>
                    <a:lnTo>
                      <a:pt x="32" y="431"/>
                    </a:lnTo>
                    <a:lnTo>
                      <a:pt x="34" y="429"/>
                    </a:lnTo>
                    <a:lnTo>
                      <a:pt x="34" y="428"/>
                    </a:lnTo>
                    <a:lnTo>
                      <a:pt x="34" y="426"/>
                    </a:lnTo>
                    <a:lnTo>
                      <a:pt x="34" y="424"/>
                    </a:lnTo>
                    <a:lnTo>
                      <a:pt x="34" y="423"/>
                    </a:lnTo>
                    <a:lnTo>
                      <a:pt x="34" y="421"/>
                    </a:lnTo>
                    <a:lnTo>
                      <a:pt x="34" y="420"/>
                    </a:lnTo>
                    <a:lnTo>
                      <a:pt x="32" y="420"/>
                    </a:lnTo>
                    <a:lnTo>
                      <a:pt x="32" y="418"/>
                    </a:lnTo>
                    <a:lnTo>
                      <a:pt x="30" y="416"/>
                    </a:lnTo>
                    <a:lnTo>
                      <a:pt x="30" y="415"/>
                    </a:lnTo>
                    <a:lnTo>
                      <a:pt x="30" y="413"/>
                    </a:lnTo>
                    <a:lnTo>
                      <a:pt x="29" y="413"/>
                    </a:lnTo>
                    <a:lnTo>
                      <a:pt x="29" y="412"/>
                    </a:lnTo>
                    <a:lnTo>
                      <a:pt x="29" y="410"/>
                    </a:lnTo>
                    <a:lnTo>
                      <a:pt x="29" y="409"/>
                    </a:lnTo>
                    <a:lnTo>
                      <a:pt x="29" y="407"/>
                    </a:lnTo>
                    <a:lnTo>
                      <a:pt x="27" y="407"/>
                    </a:lnTo>
                    <a:lnTo>
                      <a:pt x="27" y="405"/>
                    </a:lnTo>
                    <a:lnTo>
                      <a:pt x="27" y="404"/>
                    </a:lnTo>
                    <a:lnTo>
                      <a:pt x="27" y="402"/>
                    </a:lnTo>
                    <a:lnTo>
                      <a:pt x="27" y="401"/>
                    </a:lnTo>
                    <a:lnTo>
                      <a:pt x="27" y="399"/>
                    </a:lnTo>
                    <a:lnTo>
                      <a:pt x="27" y="397"/>
                    </a:lnTo>
                    <a:lnTo>
                      <a:pt x="29" y="397"/>
                    </a:lnTo>
                    <a:lnTo>
                      <a:pt x="29" y="396"/>
                    </a:lnTo>
                    <a:lnTo>
                      <a:pt x="30" y="396"/>
                    </a:lnTo>
                    <a:lnTo>
                      <a:pt x="32" y="394"/>
                    </a:lnTo>
                    <a:lnTo>
                      <a:pt x="34" y="394"/>
                    </a:lnTo>
                    <a:lnTo>
                      <a:pt x="34" y="393"/>
                    </a:lnTo>
                    <a:lnTo>
                      <a:pt x="35" y="393"/>
                    </a:lnTo>
                    <a:lnTo>
                      <a:pt x="37" y="393"/>
                    </a:lnTo>
                    <a:lnTo>
                      <a:pt x="40" y="386"/>
                    </a:lnTo>
                    <a:lnTo>
                      <a:pt x="48" y="377"/>
                    </a:lnTo>
                    <a:lnTo>
                      <a:pt x="48" y="363"/>
                    </a:lnTo>
                    <a:lnTo>
                      <a:pt x="46" y="352"/>
                    </a:lnTo>
                    <a:lnTo>
                      <a:pt x="40" y="342"/>
                    </a:lnTo>
                    <a:lnTo>
                      <a:pt x="38" y="332"/>
                    </a:lnTo>
                    <a:lnTo>
                      <a:pt x="32" y="325"/>
                    </a:lnTo>
                    <a:lnTo>
                      <a:pt x="24" y="315"/>
                    </a:lnTo>
                    <a:lnTo>
                      <a:pt x="19" y="307"/>
                    </a:lnTo>
                    <a:lnTo>
                      <a:pt x="18" y="301"/>
                    </a:lnTo>
                    <a:lnTo>
                      <a:pt x="18" y="291"/>
                    </a:lnTo>
                    <a:lnTo>
                      <a:pt x="16" y="282"/>
                    </a:lnTo>
                    <a:lnTo>
                      <a:pt x="7" y="271"/>
                    </a:lnTo>
                    <a:lnTo>
                      <a:pt x="0" y="263"/>
                    </a:lnTo>
                    <a:lnTo>
                      <a:pt x="0" y="261"/>
                    </a:lnTo>
                    <a:lnTo>
                      <a:pt x="5" y="258"/>
                    </a:lnTo>
                    <a:lnTo>
                      <a:pt x="4" y="231"/>
                    </a:lnTo>
                    <a:lnTo>
                      <a:pt x="42" y="228"/>
                    </a:lnTo>
                    <a:lnTo>
                      <a:pt x="319"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97" name="Freeform 77"/>
              <p:cNvSpPr>
                <a:spLocks noEditPoints="1"/>
              </p:cNvSpPr>
              <p:nvPr/>
            </p:nvSpPr>
            <p:spPr bwMode="auto">
              <a:xfrm>
                <a:off x="4621" y="2118"/>
                <a:ext cx="687" cy="860"/>
              </a:xfrm>
              <a:custGeom>
                <a:avLst/>
                <a:gdLst>
                  <a:gd name="T0" fmla="*/ 624 w 687"/>
                  <a:gd name="T1" fmla="*/ 717 h 860"/>
                  <a:gd name="T2" fmla="*/ 651 w 687"/>
                  <a:gd name="T3" fmla="*/ 697 h 860"/>
                  <a:gd name="T4" fmla="*/ 644 w 687"/>
                  <a:gd name="T5" fmla="*/ 692 h 860"/>
                  <a:gd name="T6" fmla="*/ 654 w 687"/>
                  <a:gd name="T7" fmla="*/ 679 h 860"/>
                  <a:gd name="T8" fmla="*/ 684 w 687"/>
                  <a:gd name="T9" fmla="*/ 615 h 860"/>
                  <a:gd name="T10" fmla="*/ 665 w 687"/>
                  <a:gd name="T11" fmla="*/ 667 h 860"/>
                  <a:gd name="T12" fmla="*/ 633 w 687"/>
                  <a:gd name="T13" fmla="*/ 684 h 860"/>
                  <a:gd name="T14" fmla="*/ 590 w 687"/>
                  <a:gd name="T15" fmla="*/ 691 h 860"/>
                  <a:gd name="T16" fmla="*/ 613 w 687"/>
                  <a:gd name="T17" fmla="*/ 660 h 860"/>
                  <a:gd name="T18" fmla="*/ 641 w 687"/>
                  <a:gd name="T19" fmla="*/ 637 h 860"/>
                  <a:gd name="T20" fmla="*/ 649 w 687"/>
                  <a:gd name="T21" fmla="*/ 624 h 860"/>
                  <a:gd name="T22" fmla="*/ 676 w 687"/>
                  <a:gd name="T23" fmla="*/ 592 h 860"/>
                  <a:gd name="T24" fmla="*/ 525 w 687"/>
                  <a:gd name="T25" fmla="*/ 505 h 860"/>
                  <a:gd name="T26" fmla="*/ 506 w 687"/>
                  <a:gd name="T27" fmla="*/ 480 h 860"/>
                  <a:gd name="T28" fmla="*/ 384 w 687"/>
                  <a:gd name="T29" fmla="*/ 201 h 860"/>
                  <a:gd name="T30" fmla="*/ 131 w 687"/>
                  <a:gd name="T31" fmla="*/ 16 h 860"/>
                  <a:gd name="T32" fmla="*/ 177 w 687"/>
                  <a:gd name="T33" fmla="*/ 39 h 860"/>
                  <a:gd name="T34" fmla="*/ 228 w 687"/>
                  <a:gd name="T35" fmla="*/ 52 h 860"/>
                  <a:gd name="T36" fmla="*/ 280 w 687"/>
                  <a:gd name="T37" fmla="*/ 36 h 860"/>
                  <a:gd name="T38" fmla="*/ 321 w 687"/>
                  <a:gd name="T39" fmla="*/ 54 h 860"/>
                  <a:gd name="T40" fmla="*/ 340 w 687"/>
                  <a:gd name="T41" fmla="*/ 97 h 860"/>
                  <a:gd name="T42" fmla="*/ 343 w 687"/>
                  <a:gd name="T43" fmla="*/ 136 h 860"/>
                  <a:gd name="T44" fmla="*/ 343 w 687"/>
                  <a:gd name="T45" fmla="*/ 179 h 860"/>
                  <a:gd name="T46" fmla="*/ 367 w 687"/>
                  <a:gd name="T47" fmla="*/ 195 h 860"/>
                  <a:gd name="T48" fmla="*/ 397 w 687"/>
                  <a:gd name="T49" fmla="*/ 199 h 860"/>
                  <a:gd name="T50" fmla="*/ 413 w 687"/>
                  <a:gd name="T51" fmla="*/ 211 h 860"/>
                  <a:gd name="T52" fmla="*/ 416 w 687"/>
                  <a:gd name="T53" fmla="*/ 247 h 860"/>
                  <a:gd name="T54" fmla="*/ 394 w 687"/>
                  <a:gd name="T55" fmla="*/ 302 h 860"/>
                  <a:gd name="T56" fmla="*/ 422 w 687"/>
                  <a:gd name="T57" fmla="*/ 344 h 860"/>
                  <a:gd name="T58" fmla="*/ 413 w 687"/>
                  <a:gd name="T59" fmla="*/ 388 h 860"/>
                  <a:gd name="T60" fmla="*/ 460 w 687"/>
                  <a:gd name="T61" fmla="*/ 371 h 860"/>
                  <a:gd name="T62" fmla="*/ 511 w 687"/>
                  <a:gd name="T63" fmla="*/ 364 h 860"/>
                  <a:gd name="T64" fmla="*/ 524 w 687"/>
                  <a:gd name="T65" fmla="*/ 409 h 860"/>
                  <a:gd name="T66" fmla="*/ 532 w 687"/>
                  <a:gd name="T67" fmla="*/ 445 h 860"/>
                  <a:gd name="T68" fmla="*/ 517 w 687"/>
                  <a:gd name="T69" fmla="*/ 464 h 860"/>
                  <a:gd name="T70" fmla="*/ 505 w 687"/>
                  <a:gd name="T71" fmla="*/ 491 h 860"/>
                  <a:gd name="T72" fmla="*/ 489 w 687"/>
                  <a:gd name="T73" fmla="*/ 537 h 860"/>
                  <a:gd name="T74" fmla="*/ 489 w 687"/>
                  <a:gd name="T75" fmla="*/ 592 h 860"/>
                  <a:gd name="T76" fmla="*/ 506 w 687"/>
                  <a:gd name="T77" fmla="*/ 621 h 860"/>
                  <a:gd name="T78" fmla="*/ 535 w 687"/>
                  <a:gd name="T79" fmla="*/ 648 h 860"/>
                  <a:gd name="T80" fmla="*/ 533 w 687"/>
                  <a:gd name="T81" fmla="*/ 692 h 860"/>
                  <a:gd name="T82" fmla="*/ 519 w 687"/>
                  <a:gd name="T83" fmla="*/ 740 h 860"/>
                  <a:gd name="T84" fmla="*/ 502 w 687"/>
                  <a:gd name="T85" fmla="*/ 784 h 860"/>
                  <a:gd name="T86" fmla="*/ 481 w 687"/>
                  <a:gd name="T87" fmla="*/ 800 h 860"/>
                  <a:gd name="T88" fmla="*/ 288 w 687"/>
                  <a:gd name="T89" fmla="*/ 820 h 860"/>
                  <a:gd name="T90" fmla="*/ 247 w 687"/>
                  <a:gd name="T91" fmla="*/ 860 h 860"/>
                  <a:gd name="T92" fmla="*/ 224 w 687"/>
                  <a:gd name="T93" fmla="*/ 811 h 860"/>
                  <a:gd name="T94" fmla="*/ 175 w 687"/>
                  <a:gd name="T95" fmla="*/ 767 h 860"/>
                  <a:gd name="T96" fmla="*/ 106 w 687"/>
                  <a:gd name="T97" fmla="*/ 738 h 860"/>
                  <a:gd name="T98" fmla="*/ 22 w 687"/>
                  <a:gd name="T99" fmla="*/ 605 h 860"/>
                  <a:gd name="T100" fmla="*/ 128 w 687"/>
                  <a:gd name="T101" fmla="*/ 553 h 860"/>
                  <a:gd name="T102" fmla="*/ 180 w 687"/>
                  <a:gd name="T103" fmla="*/ 519 h 860"/>
                  <a:gd name="T104" fmla="*/ 167 w 687"/>
                  <a:gd name="T105" fmla="*/ 459 h 860"/>
                  <a:gd name="T106" fmla="*/ 205 w 687"/>
                  <a:gd name="T107" fmla="*/ 436 h 860"/>
                  <a:gd name="T108" fmla="*/ 234 w 687"/>
                  <a:gd name="T109" fmla="*/ 385 h 860"/>
                  <a:gd name="T110" fmla="*/ 185 w 687"/>
                  <a:gd name="T111" fmla="*/ 356 h 860"/>
                  <a:gd name="T112" fmla="*/ 167 w 687"/>
                  <a:gd name="T113" fmla="*/ 288 h 860"/>
                  <a:gd name="T114" fmla="*/ 126 w 687"/>
                  <a:gd name="T115" fmla="*/ 277 h 860"/>
                  <a:gd name="T116" fmla="*/ 71 w 687"/>
                  <a:gd name="T117" fmla="*/ 253 h 860"/>
                  <a:gd name="T118" fmla="*/ 79 w 687"/>
                  <a:gd name="T119" fmla="*/ 122 h 860"/>
                  <a:gd name="T120" fmla="*/ 47 w 687"/>
                  <a:gd name="T121" fmla="*/ 89 h 860"/>
                  <a:gd name="T122" fmla="*/ 20 w 687"/>
                  <a:gd name="T123" fmla="*/ 32 h 860"/>
                  <a:gd name="T124" fmla="*/ 36 w 687"/>
                  <a:gd name="T125" fmla="*/ 5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7" h="860">
                    <a:moveTo>
                      <a:pt x="578" y="822"/>
                    </a:moveTo>
                    <a:lnTo>
                      <a:pt x="579" y="822"/>
                    </a:lnTo>
                    <a:lnTo>
                      <a:pt x="579" y="824"/>
                    </a:lnTo>
                    <a:lnTo>
                      <a:pt x="578" y="824"/>
                    </a:lnTo>
                    <a:lnTo>
                      <a:pt x="578" y="822"/>
                    </a:lnTo>
                    <a:close/>
                    <a:moveTo>
                      <a:pt x="532" y="797"/>
                    </a:moveTo>
                    <a:lnTo>
                      <a:pt x="533" y="797"/>
                    </a:lnTo>
                    <a:lnTo>
                      <a:pt x="532" y="797"/>
                    </a:lnTo>
                    <a:lnTo>
                      <a:pt x="533" y="797"/>
                    </a:lnTo>
                    <a:lnTo>
                      <a:pt x="533" y="798"/>
                    </a:lnTo>
                    <a:lnTo>
                      <a:pt x="532" y="798"/>
                    </a:lnTo>
                    <a:lnTo>
                      <a:pt x="532" y="797"/>
                    </a:lnTo>
                    <a:close/>
                    <a:moveTo>
                      <a:pt x="503" y="792"/>
                    </a:moveTo>
                    <a:lnTo>
                      <a:pt x="503" y="793"/>
                    </a:lnTo>
                    <a:lnTo>
                      <a:pt x="505" y="793"/>
                    </a:lnTo>
                    <a:lnTo>
                      <a:pt x="505" y="795"/>
                    </a:lnTo>
                    <a:lnTo>
                      <a:pt x="503" y="795"/>
                    </a:lnTo>
                    <a:lnTo>
                      <a:pt x="503" y="793"/>
                    </a:lnTo>
                    <a:lnTo>
                      <a:pt x="503" y="792"/>
                    </a:lnTo>
                    <a:close/>
                    <a:moveTo>
                      <a:pt x="505" y="790"/>
                    </a:moveTo>
                    <a:lnTo>
                      <a:pt x="503" y="790"/>
                    </a:lnTo>
                    <a:lnTo>
                      <a:pt x="505" y="790"/>
                    </a:lnTo>
                    <a:close/>
                    <a:moveTo>
                      <a:pt x="584" y="789"/>
                    </a:moveTo>
                    <a:lnTo>
                      <a:pt x="582" y="789"/>
                    </a:lnTo>
                    <a:lnTo>
                      <a:pt x="584" y="789"/>
                    </a:lnTo>
                    <a:close/>
                    <a:moveTo>
                      <a:pt x="624" y="713"/>
                    </a:moveTo>
                    <a:lnTo>
                      <a:pt x="624" y="714"/>
                    </a:lnTo>
                    <a:lnTo>
                      <a:pt x="625" y="714"/>
                    </a:lnTo>
                    <a:lnTo>
                      <a:pt x="627" y="714"/>
                    </a:lnTo>
                    <a:lnTo>
                      <a:pt x="628" y="714"/>
                    </a:lnTo>
                    <a:lnTo>
                      <a:pt x="630" y="714"/>
                    </a:lnTo>
                    <a:lnTo>
                      <a:pt x="632" y="714"/>
                    </a:lnTo>
                    <a:lnTo>
                      <a:pt x="633" y="714"/>
                    </a:lnTo>
                    <a:lnTo>
                      <a:pt x="633" y="716"/>
                    </a:lnTo>
                    <a:lnTo>
                      <a:pt x="633" y="717"/>
                    </a:lnTo>
                    <a:lnTo>
                      <a:pt x="632" y="717"/>
                    </a:lnTo>
                    <a:lnTo>
                      <a:pt x="630" y="717"/>
                    </a:lnTo>
                    <a:lnTo>
                      <a:pt x="630" y="719"/>
                    </a:lnTo>
                    <a:lnTo>
                      <a:pt x="628" y="719"/>
                    </a:lnTo>
                    <a:lnTo>
                      <a:pt x="628" y="721"/>
                    </a:lnTo>
                    <a:lnTo>
                      <a:pt x="627" y="721"/>
                    </a:lnTo>
                    <a:lnTo>
                      <a:pt x="627" y="722"/>
                    </a:lnTo>
                    <a:lnTo>
                      <a:pt x="625" y="722"/>
                    </a:lnTo>
                    <a:lnTo>
                      <a:pt x="625" y="721"/>
                    </a:lnTo>
                    <a:lnTo>
                      <a:pt x="625" y="719"/>
                    </a:lnTo>
                    <a:lnTo>
                      <a:pt x="624" y="719"/>
                    </a:lnTo>
                    <a:lnTo>
                      <a:pt x="624" y="717"/>
                    </a:lnTo>
                    <a:lnTo>
                      <a:pt x="624" y="716"/>
                    </a:lnTo>
                    <a:lnTo>
                      <a:pt x="625" y="716"/>
                    </a:lnTo>
                    <a:lnTo>
                      <a:pt x="624" y="716"/>
                    </a:lnTo>
                    <a:lnTo>
                      <a:pt x="624" y="714"/>
                    </a:lnTo>
                    <a:lnTo>
                      <a:pt x="624" y="713"/>
                    </a:lnTo>
                    <a:close/>
                    <a:moveTo>
                      <a:pt x="639" y="710"/>
                    </a:moveTo>
                    <a:lnTo>
                      <a:pt x="641" y="710"/>
                    </a:lnTo>
                    <a:lnTo>
                      <a:pt x="639" y="710"/>
                    </a:lnTo>
                    <a:close/>
                    <a:moveTo>
                      <a:pt x="635" y="692"/>
                    </a:moveTo>
                    <a:lnTo>
                      <a:pt x="633" y="692"/>
                    </a:lnTo>
                    <a:lnTo>
                      <a:pt x="635" y="692"/>
                    </a:lnTo>
                    <a:lnTo>
                      <a:pt x="635" y="691"/>
                    </a:lnTo>
                    <a:lnTo>
                      <a:pt x="635" y="692"/>
                    </a:lnTo>
                    <a:close/>
                    <a:moveTo>
                      <a:pt x="638" y="689"/>
                    </a:moveTo>
                    <a:lnTo>
                      <a:pt x="639" y="689"/>
                    </a:lnTo>
                    <a:lnTo>
                      <a:pt x="641" y="689"/>
                    </a:lnTo>
                    <a:lnTo>
                      <a:pt x="641" y="691"/>
                    </a:lnTo>
                    <a:lnTo>
                      <a:pt x="639" y="691"/>
                    </a:lnTo>
                    <a:lnTo>
                      <a:pt x="639" y="692"/>
                    </a:lnTo>
                    <a:lnTo>
                      <a:pt x="639" y="694"/>
                    </a:lnTo>
                    <a:lnTo>
                      <a:pt x="638" y="694"/>
                    </a:lnTo>
                    <a:lnTo>
                      <a:pt x="636" y="694"/>
                    </a:lnTo>
                    <a:lnTo>
                      <a:pt x="636" y="692"/>
                    </a:lnTo>
                    <a:lnTo>
                      <a:pt x="636" y="691"/>
                    </a:lnTo>
                    <a:lnTo>
                      <a:pt x="638" y="691"/>
                    </a:lnTo>
                    <a:lnTo>
                      <a:pt x="638" y="689"/>
                    </a:lnTo>
                    <a:close/>
                    <a:moveTo>
                      <a:pt x="652" y="686"/>
                    </a:moveTo>
                    <a:lnTo>
                      <a:pt x="652" y="687"/>
                    </a:lnTo>
                    <a:lnTo>
                      <a:pt x="652" y="689"/>
                    </a:lnTo>
                    <a:lnTo>
                      <a:pt x="651" y="689"/>
                    </a:lnTo>
                    <a:lnTo>
                      <a:pt x="652" y="689"/>
                    </a:lnTo>
                    <a:lnTo>
                      <a:pt x="652" y="687"/>
                    </a:lnTo>
                    <a:lnTo>
                      <a:pt x="652" y="689"/>
                    </a:lnTo>
                    <a:lnTo>
                      <a:pt x="652" y="687"/>
                    </a:lnTo>
                    <a:lnTo>
                      <a:pt x="652" y="686"/>
                    </a:lnTo>
                    <a:lnTo>
                      <a:pt x="654" y="686"/>
                    </a:lnTo>
                    <a:lnTo>
                      <a:pt x="654" y="687"/>
                    </a:lnTo>
                    <a:lnTo>
                      <a:pt x="655" y="687"/>
                    </a:lnTo>
                    <a:lnTo>
                      <a:pt x="655" y="689"/>
                    </a:lnTo>
                    <a:lnTo>
                      <a:pt x="655" y="691"/>
                    </a:lnTo>
                    <a:lnTo>
                      <a:pt x="655" y="692"/>
                    </a:lnTo>
                    <a:lnTo>
                      <a:pt x="654" y="692"/>
                    </a:lnTo>
                    <a:lnTo>
                      <a:pt x="654" y="694"/>
                    </a:lnTo>
                    <a:lnTo>
                      <a:pt x="654" y="695"/>
                    </a:lnTo>
                    <a:lnTo>
                      <a:pt x="652" y="695"/>
                    </a:lnTo>
                    <a:lnTo>
                      <a:pt x="652" y="697"/>
                    </a:lnTo>
                    <a:lnTo>
                      <a:pt x="651" y="697"/>
                    </a:lnTo>
                    <a:lnTo>
                      <a:pt x="651" y="698"/>
                    </a:lnTo>
                    <a:lnTo>
                      <a:pt x="649" y="698"/>
                    </a:lnTo>
                    <a:lnTo>
                      <a:pt x="649" y="700"/>
                    </a:lnTo>
                    <a:lnTo>
                      <a:pt x="649" y="702"/>
                    </a:lnTo>
                    <a:lnTo>
                      <a:pt x="647" y="702"/>
                    </a:lnTo>
                    <a:lnTo>
                      <a:pt x="647" y="703"/>
                    </a:lnTo>
                    <a:lnTo>
                      <a:pt x="646" y="703"/>
                    </a:lnTo>
                    <a:lnTo>
                      <a:pt x="647" y="703"/>
                    </a:lnTo>
                    <a:lnTo>
                      <a:pt x="647" y="705"/>
                    </a:lnTo>
                    <a:lnTo>
                      <a:pt x="646" y="705"/>
                    </a:lnTo>
                    <a:lnTo>
                      <a:pt x="646" y="706"/>
                    </a:lnTo>
                    <a:lnTo>
                      <a:pt x="644" y="706"/>
                    </a:lnTo>
                    <a:lnTo>
                      <a:pt x="644" y="708"/>
                    </a:lnTo>
                    <a:lnTo>
                      <a:pt x="644" y="706"/>
                    </a:lnTo>
                    <a:lnTo>
                      <a:pt x="643" y="706"/>
                    </a:lnTo>
                    <a:lnTo>
                      <a:pt x="643" y="708"/>
                    </a:lnTo>
                    <a:lnTo>
                      <a:pt x="643" y="706"/>
                    </a:lnTo>
                    <a:lnTo>
                      <a:pt x="643" y="708"/>
                    </a:lnTo>
                    <a:lnTo>
                      <a:pt x="641" y="708"/>
                    </a:lnTo>
                    <a:lnTo>
                      <a:pt x="641" y="710"/>
                    </a:lnTo>
                    <a:lnTo>
                      <a:pt x="639" y="710"/>
                    </a:lnTo>
                    <a:lnTo>
                      <a:pt x="639" y="708"/>
                    </a:lnTo>
                    <a:lnTo>
                      <a:pt x="638" y="708"/>
                    </a:lnTo>
                    <a:lnTo>
                      <a:pt x="638" y="706"/>
                    </a:lnTo>
                    <a:lnTo>
                      <a:pt x="636" y="706"/>
                    </a:lnTo>
                    <a:lnTo>
                      <a:pt x="636" y="705"/>
                    </a:lnTo>
                    <a:lnTo>
                      <a:pt x="636" y="703"/>
                    </a:lnTo>
                    <a:lnTo>
                      <a:pt x="635" y="703"/>
                    </a:lnTo>
                    <a:lnTo>
                      <a:pt x="635" y="705"/>
                    </a:lnTo>
                    <a:lnTo>
                      <a:pt x="635" y="703"/>
                    </a:lnTo>
                    <a:lnTo>
                      <a:pt x="636" y="703"/>
                    </a:lnTo>
                    <a:lnTo>
                      <a:pt x="636" y="705"/>
                    </a:lnTo>
                    <a:lnTo>
                      <a:pt x="638" y="705"/>
                    </a:lnTo>
                    <a:lnTo>
                      <a:pt x="638" y="703"/>
                    </a:lnTo>
                    <a:lnTo>
                      <a:pt x="638" y="702"/>
                    </a:lnTo>
                    <a:lnTo>
                      <a:pt x="638" y="700"/>
                    </a:lnTo>
                    <a:lnTo>
                      <a:pt x="638" y="698"/>
                    </a:lnTo>
                    <a:lnTo>
                      <a:pt x="638" y="697"/>
                    </a:lnTo>
                    <a:lnTo>
                      <a:pt x="638" y="695"/>
                    </a:lnTo>
                    <a:lnTo>
                      <a:pt x="639" y="695"/>
                    </a:lnTo>
                    <a:lnTo>
                      <a:pt x="639" y="694"/>
                    </a:lnTo>
                    <a:lnTo>
                      <a:pt x="641" y="694"/>
                    </a:lnTo>
                    <a:lnTo>
                      <a:pt x="641" y="692"/>
                    </a:lnTo>
                    <a:lnTo>
                      <a:pt x="641" y="691"/>
                    </a:lnTo>
                    <a:lnTo>
                      <a:pt x="643" y="691"/>
                    </a:lnTo>
                    <a:lnTo>
                      <a:pt x="643" y="692"/>
                    </a:lnTo>
                    <a:lnTo>
                      <a:pt x="644" y="692"/>
                    </a:lnTo>
                    <a:lnTo>
                      <a:pt x="644" y="694"/>
                    </a:lnTo>
                    <a:lnTo>
                      <a:pt x="646" y="694"/>
                    </a:lnTo>
                    <a:lnTo>
                      <a:pt x="646" y="695"/>
                    </a:lnTo>
                    <a:lnTo>
                      <a:pt x="646" y="694"/>
                    </a:lnTo>
                    <a:lnTo>
                      <a:pt x="647" y="694"/>
                    </a:lnTo>
                    <a:lnTo>
                      <a:pt x="649" y="694"/>
                    </a:lnTo>
                    <a:lnTo>
                      <a:pt x="649" y="692"/>
                    </a:lnTo>
                    <a:lnTo>
                      <a:pt x="651" y="692"/>
                    </a:lnTo>
                    <a:lnTo>
                      <a:pt x="651" y="691"/>
                    </a:lnTo>
                    <a:lnTo>
                      <a:pt x="651" y="689"/>
                    </a:lnTo>
                    <a:lnTo>
                      <a:pt x="651" y="687"/>
                    </a:lnTo>
                    <a:lnTo>
                      <a:pt x="651" y="686"/>
                    </a:lnTo>
                    <a:lnTo>
                      <a:pt x="652" y="686"/>
                    </a:lnTo>
                    <a:close/>
                    <a:moveTo>
                      <a:pt x="587" y="679"/>
                    </a:moveTo>
                    <a:lnTo>
                      <a:pt x="587" y="681"/>
                    </a:lnTo>
                    <a:lnTo>
                      <a:pt x="587" y="679"/>
                    </a:lnTo>
                    <a:lnTo>
                      <a:pt x="586" y="679"/>
                    </a:lnTo>
                    <a:lnTo>
                      <a:pt x="587" y="679"/>
                    </a:lnTo>
                    <a:close/>
                    <a:moveTo>
                      <a:pt x="559" y="679"/>
                    </a:moveTo>
                    <a:lnTo>
                      <a:pt x="560" y="679"/>
                    </a:lnTo>
                    <a:lnTo>
                      <a:pt x="562" y="679"/>
                    </a:lnTo>
                    <a:lnTo>
                      <a:pt x="562" y="681"/>
                    </a:lnTo>
                    <a:lnTo>
                      <a:pt x="563" y="681"/>
                    </a:lnTo>
                    <a:lnTo>
                      <a:pt x="565" y="681"/>
                    </a:lnTo>
                    <a:lnTo>
                      <a:pt x="563" y="681"/>
                    </a:lnTo>
                    <a:lnTo>
                      <a:pt x="562" y="681"/>
                    </a:lnTo>
                    <a:lnTo>
                      <a:pt x="560" y="681"/>
                    </a:lnTo>
                    <a:lnTo>
                      <a:pt x="559" y="681"/>
                    </a:lnTo>
                    <a:lnTo>
                      <a:pt x="559" y="679"/>
                    </a:lnTo>
                    <a:lnTo>
                      <a:pt x="557" y="679"/>
                    </a:lnTo>
                    <a:lnTo>
                      <a:pt x="556" y="679"/>
                    </a:lnTo>
                    <a:lnTo>
                      <a:pt x="557" y="679"/>
                    </a:lnTo>
                    <a:lnTo>
                      <a:pt x="559" y="679"/>
                    </a:lnTo>
                    <a:close/>
                    <a:moveTo>
                      <a:pt x="657" y="675"/>
                    </a:moveTo>
                    <a:lnTo>
                      <a:pt x="657" y="676"/>
                    </a:lnTo>
                    <a:lnTo>
                      <a:pt x="657" y="678"/>
                    </a:lnTo>
                    <a:lnTo>
                      <a:pt x="658" y="678"/>
                    </a:lnTo>
                    <a:lnTo>
                      <a:pt x="657" y="678"/>
                    </a:lnTo>
                    <a:lnTo>
                      <a:pt x="657" y="679"/>
                    </a:lnTo>
                    <a:lnTo>
                      <a:pt x="655" y="679"/>
                    </a:lnTo>
                    <a:lnTo>
                      <a:pt x="654" y="679"/>
                    </a:lnTo>
                    <a:lnTo>
                      <a:pt x="652" y="679"/>
                    </a:lnTo>
                    <a:lnTo>
                      <a:pt x="652" y="678"/>
                    </a:lnTo>
                    <a:lnTo>
                      <a:pt x="652" y="676"/>
                    </a:lnTo>
                    <a:lnTo>
                      <a:pt x="654" y="676"/>
                    </a:lnTo>
                    <a:lnTo>
                      <a:pt x="654" y="678"/>
                    </a:lnTo>
                    <a:lnTo>
                      <a:pt x="654" y="679"/>
                    </a:lnTo>
                    <a:lnTo>
                      <a:pt x="654" y="678"/>
                    </a:lnTo>
                    <a:lnTo>
                      <a:pt x="655" y="678"/>
                    </a:lnTo>
                    <a:lnTo>
                      <a:pt x="655" y="676"/>
                    </a:lnTo>
                    <a:lnTo>
                      <a:pt x="655" y="675"/>
                    </a:lnTo>
                    <a:lnTo>
                      <a:pt x="657" y="675"/>
                    </a:lnTo>
                    <a:close/>
                    <a:moveTo>
                      <a:pt x="663" y="613"/>
                    </a:moveTo>
                    <a:lnTo>
                      <a:pt x="663" y="615"/>
                    </a:lnTo>
                    <a:lnTo>
                      <a:pt x="662" y="615"/>
                    </a:lnTo>
                    <a:lnTo>
                      <a:pt x="663" y="615"/>
                    </a:lnTo>
                    <a:lnTo>
                      <a:pt x="663" y="613"/>
                    </a:lnTo>
                    <a:close/>
                    <a:moveTo>
                      <a:pt x="679" y="588"/>
                    </a:moveTo>
                    <a:lnTo>
                      <a:pt x="679" y="589"/>
                    </a:lnTo>
                    <a:lnTo>
                      <a:pt x="677" y="589"/>
                    </a:lnTo>
                    <a:lnTo>
                      <a:pt x="677" y="591"/>
                    </a:lnTo>
                    <a:lnTo>
                      <a:pt x="677" y="589"/>
                    </a:lnTo>
                    <a:lnTo>
                      <a:pt x="677" y="591"/>
                    </a:lnTo>
                    <a:lnTo>
                      <a:pt x="677" y="589"/>
                    </a:lnTo>
                    <a:lnTo>
                      <a:pt x="677" y="588"/>
                    </a:lnTo>
                    <a:lnTo>
                      <a:pt x="679" y="588"/>
                    </a:lnTo>
                    <a:close/>
                    <a:moveTo>
                      <a:pt x="684" y="581"/>
                    </a:moveTo>
                    <a:lnTo>
                      <a:pt x="685" y="581"/>
                    </a:lnTo>
                    <a:lnTo>
                      <a:pt x="687" y="581"/>
                    </a:lnTo>
                    <a:lnTo>
                      <a:pt x="687" y="583"/>
                    </a:lnTo>
                    <a:lnTo>
                      <a:pt x="687" y="584"/>
                    </a:lnTo>
                    <a:lnTo>
                      <a:pt x="687" y="586"/>
                    </a:lnTo>
                    <a:lnTo>
                      <a:pt x="687" y="588"/>
                    </a:lnTo>
                    <a:lnTo>
                      <a:pt x="687" y="589"/>
                    </a:lnTo>
                    <a:lnTo>
                      <a:pt x="687" y="591"/>
                    </a:lnTo>
                    <a:lnTo>
                      <a:pt x="687" y="592"/>
                    </a:lnTo>
                    <a:lnTo>
                      <a:pt x="687" y="594"/>
                    </a:lnTo>
                    <a:lnTo>
                      <a:pt x="687" y="595"/>
                    </a:lnTo>
                    <a:lnTo>
                      <a:pt x="687" y="597"/>
                    </a:lnTo>
                    <a:lnTo>
                      <a:pt x="685" y="597"/>
                    </a:lnTo>
                    <a:lnTo>
                      <a:pt x="687" y="597"/>
                    </a:lnTo>
                    <a:lnTo>
                      <a:pt x="685" y="597"/>
                    </a:lnTo>
                    <a:lnTo>
                      <a:pt x="685" y="599"/>
                    </a:lnTo>
                    <a:lnTo>
                      <a:pt x="685" y="600"/>
                    </a:lnTo>
                    <a:lnTo>
                      <a:pt x="685" y="602"/>
                    </a:lnTo>
                    <a:lnTo>
                      <a:pt x="685" y="603"/>
                    </a:lnTo>
                    <a:lnTo>
                      <a:pt x="685" y="605"/>
                    </a:lnTo>
                    <a:lnTo>
                      <a:pt x="685" y="607"/>
                    </a:lnTo>
                    <a:lnTo>
                      <a:pt x="685" y="608"/>
                    </a:lnTo>
                    <a:lnTo>
                      <a:pt x="685" y="610"/>
                    </a:lnTo>
                    <a:lnTo>
                      <a:pt x="684" y="610"/>
                    </a:lnTo>
                    <a:lnTo>
                      <a:pt x="684" y="611"/>
                    </a:lnTo>
                    <a:lnTo>
                      <a:pt x="684" y="613"/>
                    </a:lnTo>
                    <a:lnTo>
                      <a:pt x="684" y="615"/>
                    </a:lnTo>
                    <a:lnTo>
                      <a:pt x="684" y="616"/>
                    </a:lnTo>
                    <a:lnTo>
                      <a:pt x="684" y="618"/>
                    </a:lnTo>
                    <a:lnTo>
                      <a:pt x="682" y="618"/>
                    </a:lnTo>
                    <a:lnTo>
                      <a:pt x="682" y="619"/>
                    </a:lnTo>
                    <a:lnTo>
                      <a:pt x="682" y="621"/>
                    </a:lnTo>
                    <a:lnTo>
                      <a:pt x="682" y="622"/>
                    </a:lnTo>
                    <a:lnTo>
                      <a:pt x="682" y="624"/>
                    </a:lnTo>
                    <a:lnTo>
                      <a:pt x="681" y="624"/>
                    </a:lnTo>
                    <a:lnTo>
                      <a:pt x="681" y="626"/>
                    </a:lnTo>
                    <a:lnTo>
                      <a:pt x="681" y="627"/>
                    </a:lnTo>
                    <a:lnTo>
                      <a:pt x="681" y="629"/>
                    </a:lnTo>
                    <a:lnTo>
                      <a:pt x="679" y="629"/>
                    </a:lnTo>
                    <a:lnTo>
                      <a:pt x="679" y="630"/>
                    </a:lnTo>
                    <a:lnTo>
                      <a:pt x="679" y="632"/>
                    </a:lnTo>
                    <a:lnTo>
                      <a:pt x="679" y="634"/>
                    </a:lnTo>
                    <a:lnTo>
                      <a:pt x="679" y="635"/>
                    </a:lnTo>
                    <a:lnTo>
                      <a:pt x="677" y="635"/>
                    </a:lnTo>
                    <a:lnTo>
                      <a:pt x="677" y="637"/>
                    </a:lnTo>
                    <a:lnTo>
                      <a:pt x="677" y="638"/>
                    </a:lnTo>
                    <a:lnTo>
                      <a:pt x="676" y="638"/>
                    </a:lnTo>
                    <a:lnTo>
                      <a:pt x="676" y="640"/>
                    </a:lnTo>
                    <a:lnTo>
                      <a:pt x="676" y="641"/>
                    </a:lnTo>
                    <a:lnTo>
                      <a:pt x="674" y="641"/>
                    </a:lnTo>
                    <a:lnTo>
                      <a:pt x="674" y="643"/>
                    </a:lnTo>
                    <a:lnTo>
                      <a:pt x="674" y="645"/>
                    </a:lnTo>
                    <a:lnTo>
                      <a:pt x="673" y="645"/>
                    </a:lnTo>
                    <a:lnTo>
                      <a:pt x="673" y="646"/>
                    </a:lnTo>
                    <a:lnTo>
                      <a:pt x="671" y="646"/>
                    </a:lnTo>
                    <a:lnTo>
                      <a:pt x="671" y="648"/>
                    </a:lnTo>
                    <a:lnTo>
                      <a:pt x="670" y="648"/>
                    </a:lnTo>
                    <a:lnTo>
                      <a:pt x="668" y="648"/>
                    </a:lnTo>
                    <a:lnTo>
                      <a:pt x="668" y="649"/>
                    </a:lnTo>
                    <a:lnTo>
                      <a:pt x="668" y="651"/>
                    </a:lnTo>
                    <a:lnTo>
                      <a:pt x="668" y="653"/>
                    </a:lnTo>
                    <a:lnTo>
                      <a:pt x="668" y="654"/>
                    </a:lnTo>
                    <a:lnTo>
                      <a:pt x="670" y="654"/>
                    </a:lnTo>
                    <a:lnTo>
                      <a:pt x="670" y="656"/>
                    </a:lnTo>
                    <a:lnTo>
                      <a:pt x="670" y="657"/>
                    </a:lnTo>
                    <a:lnTo>
                      <a:pt x="670" y="659"/>
                    </a:lnTo>
                    <a:lnTo>
                      <a:pt x="668" y="659"/>
                    </a:lnTo>
                    <a:lnTo>
                      <a:pt x="668" y="660"/>
                    </a:lnTo>
                    <a:lnTo>
                      <a:pt x="668" y="662"/>
                    </a:lnTo>
                    <a:lnTo>
                      <a:pt x="666" y="662"/>
                    </a:lnTo>
                    <a:lnTo>
                      <a:pt x="666" y="664"/>
                    </a:lnTo>
                    <a:lnTo>
                      <a:pt x="666" y="665"/>
                    </a:lnTo>
                    <a:lnTo>
                      <a:pt x="665" y="665"/>
                    </a:lnTo>
                    <a:lnTo>
                      <a:pt x="665" y="667"/>
                    </a:lnTo>
                    <a:lnTo>
                      <a:pt x="665" y="668"/>
                    </a:lnTo>
                    <a:lnTo>
                      <a:pt x="663" y="668"/>
                    </a:lnTo>
                    <a:lnTo>
                      <a:pt x="663" y="670"/>
                    </a:lnTo>
                    <a:lnTo>
                      <a:pt x="662" y="670"/>
                    </a:lnTo>
                    <a:lnTo>
                      <a:pt x="662" y="672"/>
                    </a:lnTo>
                    <a:lnTo>
                      <a:pt x="660" y="672"/>
                    </a:lnTo>
                    <a:lnTo>
                      <a:pt x="660" y="670"/>
                    </a:lnTo>
                    <a:lnTo>
                      <a:pt x="660" y="672"/>
                    </a:lnTo>
                    <a:lnTo>
                      <a:pt x="658" y="672"/>
                    </a:lnTo>
                    <a:lnTo>
                      <a:pt x="657" y="672"/>
                    </a:lnTo>
                    <a:lnTo>
                      <a:pt x="657" y="673"/>
                    </a:lnTo>
                    <a:lnTo>
                      <a:pt x="657" y="672"/>
                    </a:lnTo>
                    <a:lnTo>
                      <a:pt x="655" y="672"/>
                    </a:lnTo>
                    <a:lnTo>
                      <a:pt x="654" y="672"/>
                    </a:lnTo>
                    <a:lnTo>
                      <a:pt x="654" y="670"/>
                    </a:lnTo>
                    <a:lnTo>
                      <a:pt x="652" y="670"/>
                    </a:lnTo>
                    <a:lnTo>
                      <a:pt x="652" y="668"/>
                    </a:lnTo>
                    <a:lnTo>
                      <a:pt x="651" y="668"/>
                    </a:lnTo>
                    <a:lnTo>
                      <a:pt x="651" y="667"/>
                    </a:lnTo>
                    <a:lnTo>
                      <a:pt x="649" y="667"/>
                    </a:lnTo>
                    <a:lnTo>
                      <a:pt x="647" y="667"/>
                    </a:lnTo>
                    <a:lnTo>
                      <a:pt x="646" y="667"/>
                    </a:lnTo>
                    <a:lnTo>
                      <a:pt x="646" y="668"/>
                    </a:lnTo>
                    <a:lnTo>
                      <a:pt x="644" y="668"/>
                    </a:lnTo>
                    <a:lnTo>
                      <a:pt x="643" y="668"/>
                    </a:lnTo>
                    <a:lnTo>
                      <a:pt x="641" y="668"/>
                    </a:lnTo>
                    <a:lnTo>
                      <a:pt x="641" y="670"/>
                    </a:lnTo>
                    <a:lnTo>
                      <a:pt x="639" y="670"/>
                    </a:lnTo>
                    <a:lnTo>
                      <a:pt x="639" y="672"/>
                    </a:lnTo>
                    <a:lnTo>
                      <a:pt x="638" y="672"/>
                    </a:lnTo>
                    <a:lnTo>
                      <a:pt x="636" y="672"/>
                    </a:lnTo>
                    <a:lnTo>
                      <a:pt x="636" y="673"/>
                    </a:lnTo>
                    <a:lnTo>
                      <a:pt x="635" y="673"/>
                    </a:lnTo>
                    <a:lnTo>
                      <a:pt x="635" y="675"/>
                    </a:lnTo>
                    <a:lnTo>
                      <a:pt x="635" y="676"/>
                    </a:lnTo>
                    <a:lnTo>
                      <a:pt x="633" y="676"/>
                    </a:lnTo>
                    <a:lnTo>
                      <a:pt x="632" y="676"/>
                    </a:lnTo>
                    <a:lnTo>
                      <a:pt x="632" y="678"/>
                    </a:lnTo>
                    <a:lnTo>
                      <a:pt x="630" y="678"/>
                    </a:lnTo>
                    <a:lnTo>
                      <a:pt x="630" y="679"/>
                    </a:lnTo>
                    <a:lnTo>
                      <a:pt x="630" y="681"/>
                    </a:lnTo>
                    <a:lnTo>
                      <a:pt x="628" y="681"/>
                    </a:lnTo>
                    <a:lnTo>
                      <a:pt x="628" y="683"/>
                    </a:lnTo>
                    <a:lnTo>
                      <a:pt x="630" y="683"/>
                    </a:lnTo>
                    <a:lnTo>
                      <a:pt x="630" y="684"/>
                    </a:lnTo>
                    <a:lnTo>
                      <a:pt x="632" y="684"/>
                    </a:lnTo>
                    <a:lnTo>
                      <a:pt x="633" y="684"/>
                    </a:lnTo>
                    <a:lnTo>
                      <a:pt x="633" y="686"/>
                    </a:lnTo>
                    <a:lnTo>
                      <a:pt x="635" y="686"/>
                    </a:lnTo>
                    <a:lnTo>
                      <a:pt x="635" y="687"/>
                    </a:lnTo>
                    <a:lnTo>
                      <a:pt x="635" y="689"/>
                    </a:lnTo>
                    <a:lnTo>
                      <a:pt x="635" y="691"/>
                    </a:lnTo>
                    <a:lnTo>
                      <a:pt x="633" y="691"/>
                    </a:lnTo>
                    <a:lnTo>
                      <a:pt x="633" y="692"/>
                    </a:lnTo>
                    <a:lnTo>
                      <a:pt x="632" y="692"/>
                    </a:lnTo>
                    <a:lnTo>
                      <a:pt x="630" y="692"/>
                    </a:lnTo>
                    <a:lnTo>
                      <a:pt x="628" y="692"/>
                    </a:lnTo>
                    <a:lnTo>
                      <a:pt x="627" y="692"/>
                    </a:lnTo>
                    <a:lnTo>
                      <a:pt x="627" y="694"/>
                    </a:lnTo>
                    <a:lnTo>
                      <a:pt x="625" y="694"/>
                    </a:lnTo>
                    <a:lnTo>
                      <a:pt x="624" y="694"/>
                    </a:lnTo>
                    <a:lnTo>
                      <a:pt x="622" y="694"/>
                    </a:lnTo>
                    <a:lnTo>
                      <a:pt x="622" y="695"/>
                    </a:lnTo>
                    <a:lnTo>
                      <a:pt x="620" y="695"/>
                    </a:lnTo>
                    <a:lnTo>
                      <a:pt x="619" y="695"/>
                    </a:lnTo>
                    <a:lnTo>
                      <a:pt x="619" y="697"/>
                    </a:lnTo>
                    <a:lnTo>
                      <a:pt x="617" y="697"/>
                    </a:lnTo>
                    <a:lnTo>
                      <a:pt x="616" y="697"/>
                    </a:lnTo>
                    <a:lnTo>
                      <a:pt x="614" y="697"/>
                    </a:lnTo>
                    <a:lnTo>
                      <a:pt x="613" y="697"/>
                    </a:lnTo>
                    <a:lnTo>
                      <a:pt x="611" y="697"/>
                    </a:lnTo>
                    <a:lnTo>
                      <a:pt x="609" y="697"/>
                    </a:lnTo>
                    <a:lnTo>
                      <a:pt x="608" y="697"/>
                    </a:lnTo>
                    <a:lnTo>
                      <a:pt x="606" y="697"/>
                    </a:lnTo>
                    <a:lnTo>
                      <a:pt x="606" y="695"/>
                    </a:lnTo>
                    <a:lnTo>
                      <a:pt x="606" y="697"/>
                    </a:lnTo>
                    <a:lnTo>
                      <a:pt x="606" y="695"/>
                    </a:lnTo>
                    <a:lnTo>
                      <a:pt x="605" y="695"/>
                    </a:lnTo>
                    <a:lnTo>
                      <a:pt x="605" y="697"/>
                    </a:lnTo>
                    <a:lnTo>
                      <a:pt x="603" y="697"/>
                    </a:lnTo>
                    <a:lnTo>
                      <a:pt x="603" y="695"/>
                    </a:lnTo>
                    <a:lnTo>
                      <a:pt x="603" y="697"/>
                    </a:lnTo>
                    <a:lnTo>
                      <a:pt x="601" y="697"/>
                    </a:lnTo>
                    <a:lnTo>
                      <a:pt x="600" y="697"/>
                    </a:lnTo>
                    <a:lnTo>
                      <a:pt x="600" y="695"/>
                    </a:lnTo>
                    <a:lnTo>
                      <a:pt x="598" y="695"/>
                    </a:lnTo>
                    <a:lnTo>
                      <a:pt x="597" y="695"/>
                    </a:lnTo>
                    <a:lnTo>
                      <a:pt x="597" y="694"/>
                    </a:lnTo>
                    <a:lnTo>
                      <a:pt x="595" y="694"/>
                    </a:lnTo>
                    <a:lnTo>
                      <a:pt x="594" y="694"/>
                    </a:lnTo>
                    <a:lnTo>
                      <a:pt x="594" y="692"/>
                    </a:lnTo>
                    <a:lnTo>
                      <a:pt x="592" y="692"/>
                    </a:lnTo>
                    <a:lnTo>
                      <a:pt x="592" y="691"/>
                    </a:lnTo>
                    <a:lnTo>
                      <a:pt x="590" y="691"/>
                    </a:lnTo>
                    <a:lnTo>
                      <a:pt x="590" y="689"/>
                    </a:lnTo>
                    <a:lnTo>
                      <a:pt x="590" y="687"/>
                    </a:lnTo>
                    <a:lnTo>
                      <a:pt x="589" y="687"/>
                    </a:lnTo>
                    <a:lnTo>
                      <a:pt x="589" y="686"/>
                    </a:lnTo>
                    <a:lnTo>
                      <a:pt x="587" y="686"/>
                    </a:lnTo>
                    <a:lnTo>
                      <a:pt x="587" y="684"/>
                    </a:lnTo>
                    <a:lnTo>
                      <a:pt x="586" y="684"/>
                    </a:lnTo>
                    <a:lnTo>
                      <a:pt x="586" y="683"/>
                    </a:lnTo>
                    <a:lnTo>
                      <a:pt x="584" y="683"/>
                    </a:lnTo>
                    <a:lnTo>
                      <a:pt x="582" y="683"/>
                    </a:lnTo>
                    <a:lnTo>
                      <a:pt x="582" y="681"/>
                    </a:lnTo>
                    <a:lnTo>
                      <a:pt x="582" y="679"/>
                    </a:lnTo>
                    <a:lnTo>
                      <a:pt x="584" y="679"/>
                    </a:lnTo>
                    <a:lnTo>
                      <a:pt x="584" y="681"/>
                    </a:lnTo>
                    <a:lnTo>
                      <a:pt x="586" y="681"/>
                    </a:lnTo>
                    <a:lnTo>
                      <a:pt x="586" y="679"/>
                    </a:lnTo>
                    <a:lnTo>
                      <a:pt x="586" y="681"/>
                    </a:lnTo>
                    <a:lnTo>
                      <a:pt x="587" y="681"/>
                    </a:lnTo>
                    <a:lnTo>
                      <a:pt x="589" y="681"/>
                    </a:lnTo>
                    <a:lnTo>
                      <a:pt x="590" y="681"/>
                    </a:lnTo>
                    <a:lnTo>
                      <a:pt x="590" y="679"/>
                    </a:lnTo>
                    <a:lnTo>
                      <a:pt x="590" y="678"/>
                    </a:lnTo>
                    <a:lnTo>
                      <a:pt x="592" y="678"/>
                    </a:lnTo>
                    <a:lnTo>
                      <a:pt x="592" y="676"/>
                    </a:lnTo>
                    <a:lnTo>
                      <a:pt x="594" y="676"/>
                    </a:lnTo>
                    <a:lnTo>
                      <a:pt x="594" y="675"/>
                    </a:lnTo>
                    <a:lnTo>
                      <a:pt x="595" y="675"/>
                    </a:lnTo>
                    <a:lnTo>
                      <a:pt x="597" y="675"/>
                    </a:lnTo>
                    <a:lnTo>
                      <a:pt x="598" y="675"/>
                    </a:lnTo>
                    <a:lnTo>
                      <a:pt x="598" y="673"/>
                    </a:lnTo>
                    <a:lnTo>
                      <a:pt x="600" y="673"/>
                    </a:lnTo>
                    <a:lnTo>
                      <a:pt x="601" y="673"/>
                    </a:lnTo>
                    <a:lnTo>
                      <a:pt x="601" y="672"/>
                    </a:lnTo>
                    <a:lnTo>
                      <a:pt x="603" y="672"/>
                    </a:lnTo>
                    <a:lnTo>
                      <a:pt x="605" y="672"/>
                    </a:lnTo>
                    <a:lnTo>
                      <a:pt x="605" y="670"/>
                    </a:lnTo>
                    <a:lnTo>
                      <a:pt x="606" y="670"/>
                    </a:lnTo>
                    <a:lnTo>
                      <a:pt x="606" y="668"/>
                    </a:lnTo>
                    <a:lnTo>
                      <a:pt x="608" y="668"/>
                    </a:lnTo>
                    <a:lnTo>
                      <a:pt x="608" y="667"/>
                    </a:lnTo>
                    <a:lnTo>
                      <a:pt x="609" y="667"/>
                    </a:lnTo>
                    <a:lnTo>
                      <a:pt x="609" y="665"/>
                    </a:lnTo>
                    <a:lnTo>
                      <a:pt x="609" y="664"/>
                    </a:lnTo>
                    <a:lnTo>
                      <a:pt x="611" y="664"/>
                    </a:lnTo>
                    <a:lnTo>
                      <a:pt x="611" y="662"/>
                    </a:lnTo>
                    <a:lnTo>
                      <a:pt x="613" y="662"/>
                    </a:lnTo>
                    <a:lnTo>
                      <a:pt x="613" y="660"/>
                    </a:lnTo>
                    <a:lnTo>
                      <a:pt x="614" y="660"/>
                    </a:lnTo>
                    <a:lnTo>
                      <a:pt x="614" y="659"/>
                    </a:lnTo>
                    <a:lnTo>
                      <a:pt x="616" y="659"/>
                    </a:lnTo>
                    <a:lnTo>
                      <a:pt x="616" y="657"/>
                    </a:lnTo>
                    <a:lnTo>
                      <a:pt x="616" y="656"/>
                    </a:lnTo>
                    <a:lnTo>
                      <a:pt x="617" y="656"/>
                    </a:lnTo>
                    <a:lnTo>
                      <a:pt x="617" y="654"/>
                    </a:lnTo>
                    <a:lnTo>
                      <a:pt x="617" y="653"/>
                    </a:lnTo>
                    <a:lnTo>
                      <a:pt x="619" y="653"/>
                    </a:lnTo>
                    <a:lnTo>
                      <a:pt x="620" y="653"/>
                    </a:lnTo>
                    <a:lnTo>
                      <a:pt x="620" y="651"/>
                    </a:lnTo>
                    <a:lnTo>
                      <a:pt x="622" y="651"/>
                    </a:lnTo>
                    <a:lnTo>
                      <a:pt x="622" y="649"/>
                    </a:lnTo>
                    <a:lnTo>
                      <a:pt x="624" y="649"/>
                    </a:lnTo>
                    <a:lnTo>
                      <a:pt x="624" y="648"/>
                    </a:lnTo>
                    <a:lnTo>
                      <a:pt x="624" y="646"/>
                    </a:lnTo>
                    <a:lnTo>
                      <a:pt x="625" y="646"/>
                    </a:lnTo>
                    <a:lnTo>
                      <a:pt x="624" y="646"/>
                    </a:lnTo>
                    <a:lnTo>
                      <a:pt x="624" y="645"/>
                    </a:lnTo>
                    <a:lnTo>
                      <a:pt x="624" y="643"/>
                    </a:lnTo>
                    <a:lnTo>
                      <a:pt x="624" y="645"/>
                    </a:lnTo>
                    <a:lnTo>
                      <a:pt x="622" y="645"/>
                    </a:lnTo>
                    <a:lnTo>
                      <a:pt x="622" y="646"/>
                    </a:lnTo>
                    <a:lnTo>
                      <a:pt x="620" y="646"/>
                    </a:lnTo>
                    <a:lnTo>
                      <a:pt x="620" y="645"/>
                    </a:lnTo>
                    <a:lnTo>
                      <a:pt x="620" y="643"/>
                    </a:lnTo>
                    <a:lnTo>
                      <a:pt x="620" y="641"/>
                    </a:lnTo>
                    <a:lnTo>
                      <a:pt x="622" y="641"/>
                    </a:lnTo>
                    <a:lnTo>
                      <a:pt x="620" y="641"/>
                    </a:lnTo>
                    <a:lnTo>
                      <a:pt x="622" y="641"/>
                    </a:lnTo>
                    <a:lnTo>
                      <a:pt x="620" y="641"/>
                    </a:lnTo>
                    <a:lnTo>
                      <a:pt x="620" y="640"/>
                    </a:lnTo>
                    <a:lnTo>
                      <a:pt x="622" y="640"/>
                    </a:lnTo>
                    <a:lnTo>
                      <a:pt x="622" y="638"/>
                    </a:lnTo>
                    <a:lnTo>
                      <a:pt x="624" y="638"/>
                    </a:lnTo>
                    <a:lnTo>
                      <a:pt x="625" y="638"/>
                    </a:lnTo>
                    <a:lnTo>
                      <a:pt x="627" y="638"/>
                    </a:lnTo>
                    <a:lnTo>
                      <a:pt x="628" y="638"/>
                    </a:lnTo>
                    <a:lnTo>
                      <a:pt x="630" y="638"/>
                    </a:lnTo>
                    <a:lnTo>
                      <a:pt x="632" y="638"/>
                    </a:lnTo>
                    <a:lnTo>
                      <a:pt x="633" y="638"/>
                    </a:lnTo>
                    <a:lnTo>
                      <a:pt x="635" y="638"/>
                    </a:lnTo>
                    <a:lnTo>
                      <a:pt x="636" y="638"/>
                    </a:lnTo>
                    <a:lnTo>
                      <a:pt x="638" y="638"/>
                    </a:lnTo>
                    <a:lnTo>
                      <a:pt x="638" y="637"/>
                    </a:lnTo>
                    <a:lnTo>
                      <a:pt x="639" y="637"/>
                    </a:lnTo>
                    <a:lnTo>
                      <a:pt x="641" y="637"/>
                    </a:lnTo>
                    <a:lnTo>
                      <a:pt x="641" y="635"/>
                    </a:lnTo>
                    <a:lnTo>
                      <a:pt x="643" y="635"/>
                    </a:lnTo>
                    <a:lnTo>
                      <a:pt x="644" y="635"/>
                    </a:lnTo>
                    <a:lnTo>
                      <a:pt x="646" y="635"/>
                    </a:lnTo>
                    <a:lnTo>
                      <a:pt x="646" y="634"/>
                    </a:lnTo>
                    <a:lnTo>
                      <a:pt x="647" y="634"/>
                    </a:lnTo>
                    <a:lnTo>
                      <a:pt x="649" y="634"/>
                    </a:lnTo>
                    <a:lnTo>
                      <a:pt x="649" y="632"/>
                    </a:lnTo>
                    <a:lnTo>
                      <a:pt x="651" y="632"/>
                    </a:lnTo>
                    <a:lnTo>
                      <a:pt x="651" y="630"/>
                    </a:lnTo>
                    <a:lnTo>
                      <a:pt x="652" y="630"/>
                    </a:lnTo>
                    <a:lnTo>
                      <a:pt x="654" y="630"/>
                    </a:lnTo>
                    <a:lnTo>
                      <a:pt x="655" y="630"/>
                    </a:lnTo>
                    <a:lnTo>
                      <a:pt x="655" y="629"/>
                    </a:lnTo>
                    <a:lnTo>
                      <a:pt x="657" y="629"/>
                    </a:lnTo>
                    <a:lnTo>
                      <a:pt x="657" y="630"/>
                    </a:lnTo>
                    <a:lnTo>
                      <a:pt x="657" y="629"/>
                    </a:lnTo>
                    <a:lnTo>
                      <a:pt x="655" y="629"/>
                    </a:lnTo>
                    <a:lnTo>
                      <a:pt x="655" y="630"/>
                    </a:lnTo>
                    <a:lnTo>
                      <a:pt x="655" y="629"/>
                    </a:lnTo>
                    <a:lnTo>
                      <a:pt x="655" y="627"/>
                    </a:lnTo>
                    <a:lnTo>
                      <a:pt x="655" y="626"/>
                    </a:lnTo>
                    <a:lnTo>
                      <a:pt x="657" y="626"/>
                    </a:lnTo>
                    <a:lnTo>
                      <a:pt x="655" y="626"/>
                    </a:lnTo>
                    <a:lnTo>
                      <a:pt x="655" y="627"/>
                    </a:lnTo>
                    <a:lnTo>
                      <a:pt x="654" y="627"/>
                    </a:lnTo>
                    <a:lnTo>
                      <a:pt x="654" y="629"/>
                    </a:lnTo>
                    <a:lnTo>
                      <a:pt x="652" y="629"/>
                    </a:lnTo>
                    <a:lnTo>
                      <a:pt x="651" y="629"/>
                    </a:lnTo>
                    <a:lnTo>
                      <a:pt x="649" y="629"/>
                    </a:lnTo>
                    <a:lnTo>
                      <a:pt x="647" y="629"/>
                    </a:lnTo>
                    <a:lnTo>
                      <a:pt x="646" y="629"/>
                    </a:lnTo>
                    <a:lnTo>
                      <a:pt x="647" y="629"/>
                    </a:lnTo>
                    <a:lnTo>
                      <a:pt x="647" y="627"/>
                    </a:lnTo>
                    <a:lnTo>
                      <a:pt x="646" y="627"/>
                    </a:lnTo>
                    <a:lnTo>
                      <a:pt x="644" y="627"/>
                    </a:lnTo>
                    <a:lnTo>
                      <a:pt x="644" y="629"/>
                    </a:lnTo>
                    <a:lnTo>
                      <a:pt x="643" y="629"/>
                    </a:lnTo>
                    <a:lnTo>
                      <a:pt x="641" y="629"/>
                    </a:lnTo>
                    <a:lnTo>
                      <a:pt x="643" y="629"/>
                    </a:lnTo>
                    <a:lnTo>
                      <a:pt x="643" y="627"/>
                    </a:lnTo>
                    <a:lnTo>
                      <a:pt x="644" y="627"/>
                    </a:lnTo>
                    <a:lnTo>
                      <a:pt x="644" y="626"/>
                    </a:lnTo>
                    <a:lnTo>
                      <a:pt x="646" y="626"/>
                    </a:lnTo>
                    <a:lnTo>
                      <a:pt x="647" y="626"/>
                    </a:lnTo>
                    <a:lnTo>
                      <a:pt x="647" y="624"/>
                    </a:lnTo>
                    <a:lnTo>
                      <a:pt x="649" y="624"/>
                    </a:lnTo>
                    <a:lnTo>
                      <a:pt x="651" y="624"/>
                    </a:lnTo>
                    <a:lnTo>
                      <a:pt x="651" y="622"/>
                    </a:lnTo>
                    <a:lnTo>
                      <a:pt x="652" y="622"/>
                    </a:lnTo>
                    <a:lnTo>
                      <a:pt x="652" y="621"/>
                    </a:lnTo>
                    <a:lnTo>
                      <a:pt x="652" y="619"/>
                    </a:lnTo>
                    <a:lnTo>
                      <a:pt x="651" y="619"/>
                    </a:lnTo>
                    <a:lnTo>
                      <a:pt x="652" y="619"/>
                    </a:lnTo>
                    <a:lnTo>
                      <a:pt x="654" y="619"/>
                    </a:lnTo>
                    <a:lnTo>
                      <a:pt x="654" y="618"/>
                    </a:lnTo>
                    <a:lnTo>
                      <a:pt x="655" y="618"/>
                    </a:lnTo>
                    <a:lnTo>
                      <a:pt x="657" y="618"/>
                    </a:lnTo>
                    <a:lnTo>
                      <a:pt x="658" y="618"/>
                    </a:lnTo>
                    <a:lnTo>
                      <a:pt x="658" y="616"/>
                    </a:lnTo>
                    <a:lnTo>
                      <a:pt x="660" y="616"/>
                    </a:lnTo>
                    <a:lnTo>
                      <a:pt x="662" y="616"/>
                    </a:lnTo>
                    <a:lnTo>
                      <a:pt x="663" y="616"/>
                    </a:lnTo>
                    <a:lnTo>
                      <a:pt x="663" y="618"/>
                    </a:lnTo>
                    <a:lnTo>
                      <a:pt x="663" y="616"/>
                    </a:lnTo>
                    <a:lnTo>
                      <a:pt x="663" y="618"/>
                    </a:lnTo>
                    <a:lnTo>
                      <a:pt x="665" y="618"/>
                    </a:lnTo>
                    <a:lnTo>
                      <a:pt x="665" y="616"/>
                    </a:lnTo>
                    <a:lnTo>
                      <a:pt x="663" y="616"/>
                    </a:lnTo>
                    <a:lnTo>
                      <a:pt x="663" y="615"/>
                    </a:lnTo>
                    <a:lnTo>
                      <a:pt x="665" y="615"/>
                    </a:lnTo>
                    <a:lnTo>
                      <a:pt x="665" y="613"/>
                    </a:lnTo>
                    <a:lnTo>
                      <a:pt x="665" y="611"/>
                    </a:lnTo>
                    <a:lnTo>
                      <a:pt x="666" y="611"/>
                    </a:lnTo>
                    <a:lnTo>
                      <a:pt x="666" y="610"/>
                    </a:lnTo>
                    <a:lnTo>
                      <a:pt x="666" y="608"/>
                    </a:lnTo>
                    <a:lnTo>
                      <a:pt x="666" y="607"/>
                    </a:lnTo>
                    <a:lnTo>
                      <a:pt x="668" y="607"/>
                    </a:lnTo>
                    <a:lnTo>
                      <a:pt x="668" y="605"/>
                    </a:lnTo>
                    <a:lnTo>
                      <a:pt x="670" y="605"/>
                    </a:lnTo>
                    <a:lnTo>
                      <a:pt x="671" y="605"/>
                    </a:lnTo>
                    <a:lnTo>
                      <a:pt x="671" y="603"/>
                    </a:lnTo>
                    <a:lnTo>
                      <a:pt x="671" y="602"/>
                    </a:lnTo>
                    <a:lnTo>
                      <a:pt x="673" y="602"/>
                    </a:lnTo>
                    <a:lnTo>
                      <a:pt x="673" y="600"/>
                    </a:lnTo>
                    <a:lnTo>
                      <a:pt x="673" y="599"/>
                    </a:lnTo>
                    <a:lnTo>
                      <a:pt x="674" y="599"/>
                    </a:lnTo>
                    <a:lnTo>
                      <a:pt x="674" y="597"/>
                    </a:lnTo>
                    <a:lnTo>
                      <a:pt x="673" y="597"/>
                    </a:lnTo>
                    <a:lnTo>
                      <a:pt x="673" y="595"/>
                    </a:lnTo>
                    <a:lnTo>
                      <a:pt x="674" y="595"/>
                    </a:lnTo>
                    <a:lnTo>
                      <a:pt x="674" y="594"/>
                    </a:lnTo>
                    <a:lnTo>
                      <a:pt x="676" y="594"/>
                    </a:lnTo>
                    <a:lnTo>
                      <a:pt x="676" y="592"/>
                    </a:lnTo>
                    <a:lnTo>
                      <a:pt x="677" y="592"/>
                    </a:lnTo>
                    <a:lnTo>
                      <a:pt x="677" y="591"/>
                    </a:lnTo>
                    <a:lnTo>
                      <a:pt x="679" y="591"/>
                    </a:lnTo>
                    <a:lnTo>
                      <a:pt x="681" y="591"/>
                    </a:lnTo>
                    <a:lnTo>
                      <a:pt x="681" y="589"/>
                    </a:lnTo>
                    <a:lnTo>
                      <a:pt x="681" y="588"/>
                    </a:lnTo>
                    <a:lnTo>
                      <a:pt x="681" y="586"/>
                    </a:lnTo>
                    <a:lnTo>
                      <a:pt x="682" y="586"/>
                    </a:lnTo>
                    <a:lnTo>
                      <a:pt x="682" y="584"/>
                    </a:lnTo>
                    <a:lnTo>
                      <a:pt x="682" y="583"/>
                    </a:lnTo>
                    <a:lnTo>
                      <a:pt x="682" y="581"/>
                    </a:lnTo>
                    <a:lnTo>
                      <a:pt x="684" y="581"/>
                    </a:lnTo>
                    <a:close/>
                    <a:moveTo>
                      <a:pt x="613" y="573"/>
                    </a:moveTo>
                    <a:lnTo>
                      <a:pt x="614" y="573"/>
                    </a:lnTo>
                    <a:lnTo>
                      <a:pt x="614" y="575"/>
                    </a:lnTo>
                    <a:lnTo>
                      <a:pt x="613" y="575"/>
                    </a:lnTo>
                    <a:lnTo>
                      <a:pt x="613" y="573"/>
                    </a:lnTo>
                    <a:close/>
                    <a:moveTo>
                      <a:pt x="521" y="546"/>
                    </a:moveTo>
                    <a:lnTo>
                      <a:pt x="521" y="548"/>
                    </a:lnTo>
                    <a:lnTo>
                      <a:pt x="522" y="548"/>
                    </a:lnTo>
                    <a:lnTo>
                      <a:pt x="522" y="550"/>
                    </a:lnTo>
                    <a:lnTo>
                      <a:pt x="522" y="551"/>
                    </a:lnTo>
                    <a:lnTo>
                      <a:pt x="522" y="553"/>
                    </a:lnTo>
                    <a:lnTo>
                      <a:pt x="521" y="553"/>
                    </a:lnTo>
                    <a:lnTo>
                      <a:pt x="519" y="553"/>
                    </a:lnTo>
                    <a:lnTo>
                      <a:pt x="519" y="551"/>
                    </a:lnTo>
                    <a:lnTo>
                      <a:pt x="517" y="551"/>
                    </a:lnTo>
                    <a:lnTo>
                      <a:pt x="517" y="550"/>
                    </a:lnTo>
                    <a:lnTo>
                      <a:pt x="517" y="548"/>
                    </a:lnTo>
                    <a:lnTo>
                      <a:pt x="519" y="548"/>
                    </a:lnTo>
                    <a:lnTo>
                      <a:pt x="519" y="546"/>
                    </a:lnTo>
                    <a:lnTo>
                      <a:pt x="521" y="546"/>
                    </a:lnTo>
                    <a:close/>
                    <a:moveTo>
                      <a:pt x="524" y="540"/>
                    </a:moveTo>
                    <a:lnTo>
                      <a:pt x="524" y="542"/>
                    </a:lnTo>
                    <a:lnTo>
                      <a:pt x="524" y="540"/>
                    </a:lnTo>
                    <a:close/>
                    <a:moveTo>
                      <a:pt x="502" y="507"/>
                    </a:moveTo>
                    <a:lnTo>
                      <a:pt x="503" y="507"/>
                    </a:lnTo>
                    <a:lnTo>
                      <a:pt x="503" y="508"/>
                    </a:lnTo>
                    <a:lnTo>
                      <a:pt x="503" y="507"/>
                    </a:lnTo>
                    <a:lnTo>
                      <a:pt x="502" y="507"/>
                    </a:lnTo>
                    <a:close/>
                    <a:moveTo>
                      <a:pt x="532" y="505"/>
                    </a:moveTo>
                    <a:lnTo>
                      <a:pt x="532" y="507"/>
                    </a:lnTo>
                    <a:lnTo>
                      <a:pt x="532" y="505"/>
                    </a:lnTo>
                    <a:close/>
                    <a:moveTo>
                      <a:pt x="524" y="502"/>
                    </a:moveTo>
                    <a:lnTo>
                      <a:pt x="524" y="504"/>
                    </a:lnTo>
                    <a:lnTo>
                      <a:pt x="525" y="504"/>
                    </a:lnTo>
                    <a:lnTo>
                      <a:pt x="525" y="505"/>
                    </a:lnTo>
                    <a:lnTo>
                      <a:pt x="525" y="507"/>
                    </a:lnTo>
                    <a:lnTo>
                      <a:pt x="525" y="505"/>
                    </a:lnTo>
                    <a:lnTo>
                      <a:pt x="525" y="507"/>
                    </a:lnTo>
                    <a:lnTo>
                      <a:pt x="527" y="507"/>
                    </a:lnTo>
                    <a:lnTo>
                      <a:pt x="527" y="508"/>
                    </a:lnTo>
                    <a:lnTo>
                      <a:pt x="527" y="510"/>
                    </a:lnTo>
                    <a:lnTo>
                      <a:pt x="527" y="512"/>
                    </a:lnTo>
                    <a:lnTo>
                      <a:pt x="525" y="512"/>
                    </a:lnTo>
                    <a:lnTo>
                      <a:pt x="525" y="510"/>
                    </a:lnTo>
                    <a:lnTo>
                      <a:pt x="524" y="510"/>
                    </a:lnTo>
                    <a:lnTo>
                      <a:pt x="524" y="512"/>
                    </a:lnTo>
                    <a:lnTo>
                      <a:pt x="522" y="512"/>
                    </a:lnTo>
                    <a:lnTo>
                      <a:pt x="522" y="510"/>
                    </a:lnTo>
                    <a:lnTo>
                      <a:pt x="521" y="510"/>
                    </a:lnTo>
                    <a:lnTo>
                      <a:pt x="522" y="510"/>
                    </a:lnTo>
                    <a:lnTo>
                      <a:pt x="521" y="510"/>
                    </a:lnTo>
                    <a:lnTo>
                      <a:pt x="521" y="508"/>
                    </a:lnTo>
                    <a:lnTo>
                      <a:pt x="519" y="508"/>
                    </a:lnTo>
                    <a:lnTo>
                      <a:pt x="519" y="510"/>
                    </a:lnTo>
                    <a:lnTo>
                      <a:pt x="517" y="510"/>
                    </a:lnTo>
                    <a:lnTo>
                      <a:pt x="517" y="508"/>
                    </a:lnTo>
                    <a:lnTo>
                      <a:pt x="516" y="508"/>
                    </a:lnTo>
                    <a:lnTo>
                      <a:pt x="514" y="508"/>
                    </a:lnTo>
                    <a:lnTo>
                      <a:pt x="513" y="508"/>
                    </a:lnTo>
                    <a:lnTo>
                      <a:pt x="513" y="507"/>
                    </a:lnTo>
                    <a:lnTo>
                      <a:pt x="514" y="507"/>
                    </a:lnTo>
                    <a:lnTo>
                      <a:pt x="516" y="507"/>
                    </a:lnTo>
                    <a:lnTo>
                      <a:pt x="516" y="505"/>
                    </a:lnTo>
                    <a:lnTo>
                      <a:pt x="517" y="505"/>
                    </a:lnTo>
                    <a:lnTo>
                      <a:pt x="519" y="505"/>
                    </a:lnTo>
                    <a:lnTo>
                      <a:pt x="519" y="504"/>
                    </a:lnTo>
                    <a:lnTo>
                      <a:pt x="521" y="504"/>
                    </a:lnTo>
                    <a:lnTo>
                      <a:pt x="521" y="502"/>
                    </a:lnTo>
                    <a:lnTo>
                      <a:pt x="522" y="502"/>
                    </a:lnTo>
                    <a:lnTo>
                      <a:pt x="522" y="504"/>
                    </a:lnTo>
                    <a:lnTo>
                      <a:pt x="524" y="504"/>
                    </a:lnTo>
                    <a:lnTo>
                      <a:pt x="524" y="502"/>
                    </a:lnTo>
                    <a:close/>
                    <a:moveTo>
                      <a:pt x="546" y="481"/>
                    </a:moveTo>
                    <a:lnTo>
                      <a:pt x="548" y="481"/>
                    </a:lnTo>
                    <a:lnTo>
                      <a:pt x="548" y="483"/>
                    </a:lnTo>
                    <a:lnTo>
                      <a:pt x="546" y="483"/>
                    </a:lnTo>
                    <a:lnTo>
                      <a:pt x="546" y="481"/>
                    </a:lnTo>
                    <a:close/>
                    <a:moveTo>
                      <a:pt x="506" y="477"/>
                    </a:moveTo>
                    <a:lnTo>
                      <a:pt x="506" y="478"/>
                    </a:lnTo>
                    <a:lnTo>
                      <a:pt x="506" y="480"/>
                    </a:lnTo>
                    <a:lnTo>
                      <a:pt x="505" y="480"/>
                    </a:lnTo>
                    <a:lnTo>
                      <a:pt x="506" y="480"/>
                    </a:lnTo>
                    <a:lnTo>
                      <a:pt x="506" y="478"/>
                    </a:lnTo>
                    <a:lnTo>
                      <a:pt x="505" y="478"/>
                    </a:lnTo>
                    <a:lnTo>
                      <a:pt x="506" y="478"/>
                    </a:lnTo>
                    <a:lnTo>
                      <a:pt x="506" y="477"/>
                    </a:lnTo>
                    <a:close/>
                    <a:moveTo>
                      <a:pt x="508" y="477"/>
                    </a:moveTo>
                    <a:lnTo>
                      <a:pt x="508" y="478"/>
                    </a:lnTo>
                    <a:lnTo>
                      <a:pt x="510" y="478"/>
                    </a:lnTo>
                    <a:lnTo>
                      <a:pt x="510" y="480"/>
                    </a:lnTo>
                    <a:lnTo>
                      <a:pt x="508" y="480"/>
                    </a:lnTo>
                    <a:lnTo>
                      <a:pt x="506" y="480"/>
                    </a:lnTo>
                    <a:lnTo>
                      <a:pt x="506" y="478"/>
                    </a:lnTo>
                    <a:lnTo>
                      <a:pt x="508" y="478"/>
                    </a:lnTo>
                    <a:lnTo>
                      <a:pt x="508" y="477"/>
                    </a:lnTo>
                    <a:close/>
                    <a:moveTo>
                      <a:pt x="517" y="464"/>
                    </a:moveTo>
                    <a:lnTo>
                      <a:pt x="517" y="466"/>
                    </a:lnTo>
                    <a:lnTo>
                      <a:pt x="517" y="464"/>
                    </a:lnTo>
                    <a:lnTo>
                      <a:pt x="516" y="464"/>
                    </a:lnTo>
                    <a:lnTo>
                      <a:pt x="517" y="464"/>
                    </a:lnTo>
                    <a:close/>
                    <a:moveTo>
                      <a:pt x="548" y="458"/>
                    </a:moveTo>
                    <a:lnTo>
                      <a:pt x="549" y="458"/>
                    </a:lnTo>
                    <a:lnTo>
                      <a:pt x="548" y="458"/>
                    </a:lnTo>
                    <a:close/>
                    <a:moveTo>
                      <a:pt x="391" y="203"/>
                    </a:moveTo>
                    <a:lnTo>
                      <a:pt x="392" y="203"/>
                    </a:lnTo>
                    <a:lnTo>
                      <a:pt x="392" y="204"/>
                    </a:lnTo>
                    <a:lnTo>
                      <a:pt x="391" y="204"/>
                    </a:lnTo>
                    <a:lnTo>
                      <a:pt x="391" y="203"/>
                    </a:lnTo>
                    <a:close/>
                    <a:moveTo>
                      <a:pt x="388" y="203"/>
                    </a:moveTo>
                    <a:lnTo>
                      <a:pt x="386" y="203"/>
                    </a:lnTo>
                    <a:lnTo>
                      <a:pt x="388" y="203"/>
                    </a:lnTo>
                    <a:lnTo>
                      <a:pt x="388" y="201"/>
                    </a:lnTo>
                    <a:lnTo>
                      <a:pt x="388" y="203"/>
                    </a:lnTo>
                    <a:close/>
                    <a:moveTo>
                      <a:pt x="392" y="199"/>
                    </a:moveTo>
                    <a:lnTo>
                      <a:pt x="394" y="199"/>
                    </a:lnTo>
                    <a:lnTo>
                      <a:pt x="394" y="201"/>
                    </a:lnTo>
                    <a:lnTo>
                      <a:pt x="394" y="203"/>
                    </a:lnTo>
                    <a:lnTo>
                      <a:pt x="394" y="204"/>
                    </a:lnTo>
                    <a:lnTo>
                      <a:pt x="392" y="204"/>
                    </a:lnTo>
                    <a:lnTo>
                      <a:pt x="392" y="203"/>
                    </a:lnTo>
                    <a:lnTo>
                      <a:pt x="391" y="203"/>
                    </a:lnTo>
                    <a:lnTo>
                      <a:pt x="391" y="201"/>
                    </a:lnTo>
                    <a:lnTo>
                      <a:pt x="392" y="201"/>
                    </a:lnTo>
                    <a:lnTo>
                      <a:pt x="392" y="199"/>
                    </a:lnTo>
                    <a:close/>
                    <a:moveTo>
                      <a:pt x="383" y="199"/>
                    </a:moveTo>
                    <a:lnTo>
                      <a:pt x="384" y="199"/>
                    </a:lnTo>
                    <a:lnTo>
                      <a:pt x="386" y="199"/>
                    </a:lnTo>
                    <a:lnTo>
                      <a:pt x="384" y="199"/>
                    </a:lnTo>
                    <a:lnTo>
                      <a:pt x="384" y="201"/>
                    </a:lnTo>
                    <a:lnTo>
                      <a:pt x="383" y="201"/>
                    </a:lnTo>
                    <a:lnTo>
                      <a:pt x="383" y="199"/>
                    </a:lnTo>
                    <a:close/>
                    <a:moveTo>
                      <a:pt x="343" y="174"/>
                    </a:moveTo>
                    <a:lnTo>
                      <a:pt x="345" y="174"/>
                    </a:lnTo>
                    <a:lnTo>
                      <a:pt x="345" y="176"/>
                    </a:lnTo>
                    <a:lnTo>
                      <a:pt x="343" y="176"/>
                    </a:lnTo>
                    <a:lnTo>
                      <a:pt x="343" y="174"/>
                    </a:lnTo>
                    <a:close/>
                    <a:moveTo>
                      <a:pt x="91" y="1"/>
                    </a:moveTo>
                    <a:lnTo>
                      <a:pt x="93" y="1"/>
                    </a:lnTo>
                    <a:lnTo>
                      <a:pt x="95" y="1"/>
                    </a:lnTo>
                    <a:lnTo>
                      <a:pt x="96" y="1"/>
                    </a:lnTo>
                    <a:lnTo>
                      <a:pt x="96" y="3"/>
                    </a:lnTo>
                    <a:lnTo>
                      <a:pt x="98" y="3"/>
                    </a:lnTo>
                    <a:lnTo>
                      <a:pt x="99" y="3"/>
                    </a:lnTo>
                    <a:lnTo>
                      <a:pt x="101" y="3"/>
                    </a:lnTo>
                    <a:lnTo>
                      <a:pt x="102" y="3"/>
                    </a:lnTo>
                    <a:lnTo>
                      <a:pt x="104" y="3"/>
                    </a:lnTo>
                    <a:lnTo>
                      <a:pt x="106" y="3"/>
                    </a:lnTo>
                    <a:lnTo>
                      <a:pt x="107" y="3"/>
                    </a:lnTo>
                    <a:lnTo>
                      <a:pt x="107" y="5"/>
                    </a:lnTo>
                    <a:lnTo>
                      <a:pt x="109" y="5"/>
                    </a:lnTo>
                    <a:lnTo>
                      <a:pt x="110" y="5"/>
                    </a:lnTo>
                    <a:lnTo>
                      <a:pt x="110" y="3"/>
                    </a:lnTo>
                    <a:lnTo>
                      <a:pt x="112" y="1"/>
                    </a:lnTo>
                    <a:lnTo>
                      <a:pt x="114" y="1"/>
                    </a:lnTo>
                    <a:lnTo>
                      <a:pt x="115" y="1"/>
                    </a:lnTo>
                    <a:lnTo>
                      <a:pt x="117" y="1"/>
                    </a:lnTo>
                    <a:lnTo>
                      <a:pt x="117" y="3"/>
                    </a:lnTo>
                    <a:lnTo>
                      <a:pt x="118" y="3"/>
                    </a:lnTo>
                    <a:lnTo>
                      <a:pt x="120" y="3"/>
                    </a:lnTo>
                    <a:lnTo>
                      <a:pt x="121" y="3"/>
                    </a:lnTo>
                    <a:lnTo>
                      <a:pt x="123" y="5"/>
                    </a:lnTo>
                    <a:lnTo>
                      <a:pt x="121" y="5"/>
                    </a:lnTo>
                    <a:lnTo>
                      <a:pt x="121" y="6"/>
                    </a:lnTo>
                    <a:lnTo>
                      <a:pt x="123" y="6"/>
                    </a:lnTo>
                    <a:lnTo>
                      <a:pt x="125" y="8"/>
                    </a:lnTo>
                    <a:lnTo>
                      <a:pt x="126" y="6"/>
                    </a:lnTo>
                    <a:lnTo>
                      <a:pt x="126" y="8"/>
                    </a:lnTo>
                    <a:lnTo>
                      <a:pt x="128" y="8"/>
                    </a:lnTo>
                    <a:lnTo>
                      <a:pt x="129" y="8"/>
                    </a:lnTo>
                    <a:lnTo>
                      <a:pt x="131" y="8"/>
                    </a:lnTo>
                    <a:lnTo>
                      <a:pt x="131" y="9"/>
                    </a:lnTo>
                    <a:lnTo>
                      <a:pt x="133" y="9"/>
                    </a:lnTo>
                    <a:lnTo>
                      <a:pt x="133" y="11"/>
                    </a:lnTo>
                    <a:lnTo>
                      <a:pt x="131" y="13"/>
                    </a:lnTo>
                    <a:lnTo>
                      <a:pt x="131" y="14"/>
                    </a:lnTo>
                    <a:lnTo>
                      <a:pt x="131" y="16"/>
                    </a:lnTo>
                    <a:lnTo>
                      <a:pt x="133" y="14"/>
                    </a:lnTo>
                    <a:lnTo>
                      <a:pt x="134" y="14"/>
                    </a:lnTo>
                    <a:lnTo>
                      <a:pt x="134" y="16"/>
                    </a:lnTo>
                    <a:lnTo>
                      <a:pt x="136" y="14"/>
                    </a:lnTo>
                    <a:lnTo>
                      <a:pt x="137" y="14"/>
                    </a:lnTo>
                    <a:lnTo>
                      <a:pt x="137" y="16"/>
                    </a:lnTo>
                    <a:lnTo>
                      <a:pt x="137" y="17"/>
                    </a:lnTo>
                    <a:lnTo>
                      <a:pt x="139" y="17"/>
                    </a:lnTo>
                    <a:lnTo>
                      <a:pt x="139" y="19"/>
                    </a:lnTo>
                    <a:lnTo>
                      <a:pt x="140" y="19"/>
                    </a:lnTo>
                    <a:lnTo>
                      <a:pt x="140" y="20"/>
                    </a:lnTo>
                    <a:lnTo>
                      <a:pt x="140" y="22"/>
                    </a:lnTo>
                    <a:lnTo>
                      <a:pt x="140" y="24"/>
                    </a:lnTo>
                    <a:lnTo>
                      <a:pt x="142" y="24"/>
                    </a:lnTo>
                    <a:lnTo>
                      <a:pt x="144" y="22"/>
                    </a:lnTo>
                    <a:lnTo>
                      <a:pt x="144" y="24"/>
                    </a:lnTo>
                    <a:lnTo>
                      <a:pt x="145" y="24"/>
                    </a:lnTo>
                    <a:lnTo>
                      <a:pt x="145" y="25"/>
                    </a:lnTo>
                    <a:lnTo>
                      <a:pt x="147" y="25"/>
                    </a:lnTo>
                    <a:lnTo>
                      <a:pt x="147" y="27"/>
                    </a:lnTo>
                    <a:lnTo>
                      <a:pt x="148" y="27"/>
                    </a:lnTo>
                    <a:lnTo>
                      <a:pt x="150" y="27"/>
                    </a:lnTo>
                    <a:lnTo>
                      <a:pt x="150" y="28"/>
                    </a:lnTo>
                    <a:lnTo>
                      <a:pt x="152" y="28"/>
                    </a:lnTo>
                    <a:lnTo>
                      <a:pt x="153" y="28"/>
                    </a:lnTo>
                    <a:lnTo>
                      <a:pt x="155" y="27"/>
                    </a:lnTo>
                    <a:lnTo>
                      <a:pt x="156" y="27"/>
                    </a:lnTo>
                    <a:lnTo>
                      <a:pt x="158" y="27"/>
                    </a:lnTo>
                    <a:lnTo>
                      <a:pt x="160" y="25"/>
                    </a:lnTo>
                    <a:lnTo>
                      <a:pt x="160" y="27"/>
                    </a:lnTo>
                    <a:lnTo>
                      <a:pt x="161" y="27"/>
                    </a:lnTo>
                    <a:lnTo>
                      <a:pt x="163" y="27"/>
                    </a:lnTo>
                    <a:lnTo>
                      <a:pt x="164" y="27"/>
                    </a:lnTo>
                    <a:lnTo>
                      <a:pt x="164" y="28"/>
                    </a:lnTo>
                    <a:lnTo>
                      <a:pt x="166" y="28"/>
                    </a:lnTo>
                    <a:lnTo>
                      <a:pt x="167" y="30"/>
                    </a:lnTo>
                    <a:lnTo>
                      <a:pt x="169" y="28"/>
                    </a:lnTo>
                    <a:lnTo>
                      <a:pt x="171" y="30"/>
                    </a:lnTo>
                    <a:lnTo>
                      <a:pt x="172" y="32"/>
                    </a:lnTo>
                    <a:lnTo>
                      <a:pt x="172" y="33"/>
                    </a:lnTo>
                    <a:lnTo>
                      <a:pt x="174" y="33"/>
                    </a:lnTo>
                    <a:lnTo>
                      <a:pt x="174" y="35"/>
                    </a:lnTo>
                    <a:lnTo>
                      <a:pt x="174" y="36"/>
                    </a:lnTo>
                    <a:lnTo>
                      <a:pt x="175" y="36"/>
                    </a:lnTo>
                    <a:lnTo>
                      <a:pt x="175" y="38"/>
                    </a:lnTo>
                    <a:lnTo>
                      <a:pt x="177" y="38"/>
                    </a:lnTo>
                    <a:lnTo>
                      <a:pt x="177" y="39"/>
                    </a:lnTo>
                    <a:lnTo>
                      <a:pt x="179" y="39"/>
                    </a:lnTo>
                    <a:lnTo>
                      <a:pt x="179" y="41"/>
                    </a:lnTo>
                    <a:lnTo>
                      <a:pt x="179" y="43"/>
                    </a:lnTo>
                    <a:lnTo>
                      <a:pt x="179" y="44"/>
                    </a:lnTo>
                    <a:lnTo>
                      <a:pt x="179" y="46"/>
                    </a:lnTo>
                    <a:lnTo>
                      <a:pt x="180" y="47"/>
                    </a:lnTo>
                    <a:lnTo>
                      <a:pt x="182" y="47"/>
                    </a:lnTo>
                    <a:lnTo>
                      <a:pt x="183" y="47"/>
                    </a:lnTo>
                    <a:lnTo>
                      <a:pt x="185" y="46"/>
                    </a:lnTo>
                    <a:lnTo>
                      <a:pt x="186" y="46"/>
                    </a:lnTo>
                    <a:lnTo>
                      <a:pt x="188" y="46"/>
                    </a:lnTo>
                    <a:lnTo>
                      <a:pt x="190" y="46"/>
                    </a:lnTo>
                    <a:lnTo>
                      <a:pt x="191" y="46"/>
                    </a:lnTo>
                    <a:lnTo>
                      <a:pt x="193" y="46"/>
                    </a:lnTo>
                    <a:lnTo>
                      <a:pt x="194" y="44"/>
                    </a:lnTo>
                    <a:lnTo>
                      <a:pt x="196" y="44"/>
                    </a:lnTo>
                    <a:lnTo>
                      <a:pt x="198" y="44"/>
                    </a:lnTo>
                    <a:lnTo>
                      <a:pt x="199" y="44"/>
                    </a:lnTo>
                    <a:lnTo>
                      <a:pt x="201" y="46"/>
                    </a:lnTo>
                    <a:lnTo>
                      <a:pt x="201" y="47"/>
                    </a:lnTo>
                    <a:lnTo>
                      <a:pt x="202" y="49"/>
                    </a:lnTo>
                    <a:lnTo>
                      <a:pt x="202" y="51"/>
                    </a:lnTo>
                    <a:lnTo>
                      <a:pt x="204" y="51"/>
                    </a:lnTo>
                    <a:lnTo>
                      <a:pt x="204" y="52"/>
                    </a:lnTo>
                    <a:lnTo>
                      <a:pt x="204" y="54"/>
                    </a:lnTo>
                    <a:lnTo>
                      <a:pt x="205" y="54"/>
                    </a:lnTo>
                    <a:lnTo>
                      <a:pt x="205" y="55"/>
                    </a:lnTo>
                    <a:lnTo>
                      <a:pt x="207" y="55"/>
                    </a:lnTo>
                    <a:lnTo>
                      <a:pt x="209" y="55"/>
                    </a:lnTo>
                    <a:lnTo>
                      <a:pt x="210" y="55"/>
                    </a:lnTo>
                    <a:lnTo>
                      <a:pt x="210" y="54"/>
                    </a:lnTo>
                    <a:lnTo>
                      <a:pt x="212" y="54"/>
                    </a:lnTo>
                    <a:lnTo>
                      <a:pt x="213" y="55"/>
                    </a:lnTo>
                    <a:lnTo>
                      <a:pt x="215" y="57"/>
                    </a:lnTo>
                    <a:lnTo>
                      <a:pt x="217" y="57"/>
                    </a:lnTo>
                    <a:lnTo>
                      <a:pt x="218" y="57"/>
                    </a:lnTo>
                    <a:lnTo>
                      <a:pt x="218" y="55"/>
                    </a:lnTo>
                    <a:lnTo>
                      <a:pt x="220" y="55"/>
                    </a:lnTo>
                    <a:lnTo>
                      <a:pt x="220" y="54"/>
                    </a:lnTo>
                    <a:lnTo>
                      <a:pt x="221" y="54"/>
                    </a:lnTo>
                    <a:lnTo>
                      <a:pt x="221" y="52"/>
                    </a:lnTo>
                    <a:lnTo>
                      <a:pt x="223" y="52"/>
                    </a:lnTo>
                    <a:lnTo>
                      <a:pt x="223" y="51"/>
                    </a:lnTo>
                    <a:lnTo>
                      <a:pt x="224" y="51"/>
                    </a:lnTo>
                    <a:lnTo>
                      <a:pt x="226" y="51"/>
                    </a:lnTo>
                    <a:lnTo>
                      <a:pt x="226" y="52"/>
                    </a:lnTo>
                    <a:lnTo>
                      <a:pt x="228" y="52"/>
                    </a:lnTo>
                    <a:lnTo>
                      <a:pt x="229" y="52"/>
                    </a:lnTo>
                    <a:lnTo>
                      <a:pt x="229" y="54"/>
                    </a:lnTo>
                    <a:lnTo>
                      <a:pt x="231" y="54"/>
                    </a:lnTo>
                    <a:lnTo>
                      <a:pt x="232" y="54"/>
                    </a:lnTo>
                    <a:lnTo>
                      <a:pt x="234" y="54"/>
                    </a:lnTo>
                    <a:lnTo>
                      <a:pt x="236" y="55"/>
                    </a:lnTo>
                    <a:lnTo>
                      <a:pt x="236" y="54"/>
                    </a:lnTo>
                    <a:lnTo>
                      <a:pt x="237" y="54"/>
                    </a:lnTo>
                    <a:lnTo>
                      <a:pt x="239" y="54"/>
                    </a:lnTo>
                    <a:lnTo>
                      <a:pt x="240" y="54"/>
                    </a:lnTo>
                    <a:lnTo>
                      <a:pt x="240" y="52"/>
                    </a:lnTo>
                    <a:lnTo>
                      <a:pt x="242" y="52"/>
                    </a:lnTo>
                    <a:lnTo>
                      <a:pt x="242" y="51"/>
                    </a:lnTo>
                    <a:lnTo>
                      <a:pt x="243" y="51"/>
                    </a:lnTo>
                    <a:lnTo>
                      <a:pt x="245" y="51"/>
                    </a:lnTo>
                    <a:lnTo>
                      <a:pt x="245" y="52"/>
                    </a:lnTo>
                    <a:lnTo>
                      <a:pt x="247" y="52"/>
                    </a:lnTo>
                    <a:lnTo>
                      <a:pt x="248" y="54"/>
                    </a:lnTo>
                    <a:lnTo>
                      <a:pt x="248" y="55"/>
                    </a:lnTo>
                    <a:lnTo>
                      <a:pt x="248" y="57"/>
                    </a:lnTo>
                    <a:lnTo>
                      <a:pt x="250" y="55"/>
                    </a:lnTo>
                    <a:lnTo>
                      <a:pt x="251" y="55"/>
                    </a:lnTo>
                    <a:lnTo>
                      <a:pt x="253" y="54"/>
                    </a:lnTo>
                    <a:lnTo>
                      <a:pt x="253" y="52"/>
                    </a:lnTo>
                    <a:lnTo>
                      <a:pt x="255" y="52"/>
                    </a:lnTo>
                    <a:lnTo>
                      <a:pt x="255" y="51"/>
                    </a:lnTo>
                    <a:lnTo>
                      <a:pt x="256" y="51"/>
                    </a:lnTo>
                    <a:lnTo>
                      <a:pt x="258" y="49"/>
                    </a:lnTo>
                    <a:lnTo>
                      <a:pt x="259" y="47"/>
                    </a:lnTo>
                    <a:lnTo>
                      <a:pt x="259" y="46"/>
                    </a:lnTo>
                    <a:lnTo>
                      <a:pt x="261" y="46"/>
                    </a:lnTo>
                    <a:lnTo>
                      <a:pt x="262" y="46"/>
                    </a:lnTo>
                    <a:lnTo>
                      <a:pt x="264" y="46"/>
                    </a:lnTo>
                    <a:lnTo>
                      <a:pt x="266" y="46"/>
                    </a:lnTo>
                    <a:lnTo>
                      <a:pt x="266" y="47"/>
                    </a:lnTo>
                    <a:lnTo>
                      <a:pt x="267" y="47"/>
                    </a:lnTo>
                    <a:lnTo>
                      <a:pt x="269" y="47"/>
                    </a:lnTo>
                    <a:lnTo>
                      <a:pt x="270" y="46"/>
                    </a:lnTo>
                    <a:lnTo>
                      <a:pt x="272" y="46"/>
                    </a:lnTo>
                    <a:lnTo>
                      <a:pt x="274" y="44"/>
                    </a:lnTo>
                    <a:lnTo>
                      <a:pt x="274" y="43"/>
                    </a:lnTo>
                    <a:lnTo>
                      <a:pt x="275" y="41"/>
                    </a:lnTo>
                    <a:lnTo>
                      <a:pt x="275" y="39"/>
                    </a:lnTo>
                    <a:lnTo>
                      <a:pt x="277" y="38"/>
                    </a:lnTo>
                    <a:lnTo>
                      <a:pt x="278" y="38"/>
                    </a:lnTo>
                    <a:lnTo>
                      <a:pt x="280" y="38"/>
                    </a:lnTo>
                    <a:lnTo>
                      <a:pt x="280" y="36"/>
                    </a:lnTo>
                    <a:lnTo>
                      <a:pt x="281" y="36"/>
                    </a:lnTo>
                    <a:lnTo>
                      <a:pt x="283" y="36"/>
                    </a:lnTo>
                    <a:lnTo>
                      <a:pt x="285" y="36"/>
                    </a:lnTo>
                    <a:lnTo>
                      <a:pt x="286" y="38"/>
                    </a:lnTo>
                    <a:lnTo>
                      <a:pt x="288" y="38"/>
                    </a:lnTo>
                    <a:lnTo>
                      <a:pt x="289" y="39"/>
                    </a:lnTo>
                    <a:lnTo>
                      <a:pt x="291" y="38"/>
                    </a:lnTo>
                    <a:lnTo>
                      <a:pt x="293" y="38"/>
                    </a:lnTo>
                    <a:lnTo>
                      <a:pt x="294" y="36"/>
                    </a:lnTo>
                    <a:lnTo>
                      <a:pt x="296" y="35"/>
                    </a:lnTo>
                    <a:lnTo>
                      <a:pt x="296" y="33"/>
                    </a:lnTo>
                    <a:lnTo>
                      <a:pt x="297" y="33"/>
                    </a:lnTo>
                    <a:lnTo>
                      <a:pt x="297" y="32"/>
                    </a:lnTo>
                    <a:lnTo>
                      <a:pt x="299" y="32"/>
                    </a:lnTo>
                    <a:lnTo>
                      <a:pt x="300" y="32"/>
                    </a:lnTo>
                    <a:lnTo>
                      <a:pt x="302" y="32"/>
                    </a:lnTo>
                    <a:lnTo>
                      <a:pt x="302" y="33"/>
                    </a:lnTo>
                    <a:lnTo>
                      <a:pt x="304" y="33"/>
                    </a:lnTo>
                    <a:lnTo>
                      <a:pt x="305" y="33"/>
                    </a:lnTo>
                    <a:lnTo>
                      <a:pt x="307" y="33"/>
                    </a:lnTo>
                    <a:lnTo>
                      <a:pt x="308" y="33"/>
                    </a:lnTo>
                    <a:lnTo>
                      <a:pt x="310" y="33"/>
                    </a:lnTo>
                    <a:lnTo>
                      <a:pt x="312" y="33"/>
                    </a:lnTo>
                    <a:lnTo>
                      <a:pt x="313" y="33"/>
                    </a:lnTo>
                    <a:lnTo>
                      <a:pt x="315" y="33"/>
                    </a:lnTo>
                    <a:lnTo>
                      <a:pt x="315" y="35"/>
                    </a:lnTo>
                    <a:lnTo>
                      <a:pt x="316" y="35"/>
                    </a:lnTo>
                    <a:lnTo>
                      <a:pt x="318" y="36"/>
                    </a:lnTo>
                    <a:lnTo>
                      <a:pt x="319" y="36"/>
                    </a:lnTo>
                    <a:lnTo>
                      <a:pt x="321" y="36"/>
                    </a:lnTo>
                    <a:lnTo>
                      <a:pt x="323" y="36"/>
                    </a:lnTo>
                    <a:lnTo>
                      <a:pt x="324" y="36"/>
                    </a:lnTo>
                    <a:lnTo>
                      <a:pt x="326" y="36"/>
                    </a:lnTo>
                    <a:lnTo>
                      <a:pt x="326" y="38"/>
                    </a:lnTo>
                    <a:lnTo>
                      <a:pt x="326" y="39"/>
                    </a:lnTo>
                    <a:lnTo>
                      <a:pt x="326" y="41"/>
                    </a:lnTo>
                    <a:lnTo>
                      <a:pt x="326" y="43"/>
                    </a:lnTo>
                    <a:lnTo>
                      <a:pt x="324" y="43"/>
                    </a:lnTo>
                    <a:lnTo>
                      <a:pt x="324" y="44"/>
                    </a:lnTo>
                    <a:lnTo>
                      <a:pt x="324" y="46"/>
                    </a:lnTo>
                    <a:lnTo>
                      <a:pt x="323" y="46"/>
                    </a:lnTo>
                    <a:lnTo>
                      <a:pt x="323" y="47"/>
                    </a:lnTo>
                    <a:lnTo>
                      <a:pt x="323" y="49"/>
                    </a:lnTo>
                    <a:lnTo>
                      <a:pt x="323" y="51"/>
                    </a:lnTo>
                    <a:lnTo>
                      <a:pt x="321" y="51"/>
                    </a:lnTo>
                    <a:lnTo>
                      <a:pt x="321" y="52"/>
                    </a:lnTo>
                    <a:lnTo>
                      <a:pt x="321" y="54"/>
                    </a:lnTo>
                    <a:lnTo>
                      <a:pt x="319" y="54"/>
                    </a:lnTo>
                    <a:lnTo>
                      <a:pt x="319" y="55"/>
                    </a:lnTo>
                    <a:lnTo>
                      <a:pt x="319" y="57"/>
                    </a:lnTo>
                    <a:lnTo>
                      <a:pt x="319" y="59"/>
                    </a:lnTo>
                    <a:lnTo>
                      <a:pt x="319" y="60"/>
                    </a:lnTo>
                    <a:lnTo>
                      <a:pt x="319" y="62"/>
                    </a:lnTo>
                    <a:lnTo>
                      <a:pt x="319" y="63"/>
                    </a:lnTo>
                    <a:lnTo>
                      <a:pt x="319" y="65"/>
                    </a:lnTo>
                    <a:lnTo>
                      <a:pt x="319" y="66"/>
                    </a:lnTo>
                    <a:lnTo>
                      <a:pt x="321" y="66"/>
                    </a:lnTo>
                    <a:lnTo>
                      <a:pt x="321" y="68"/>
                    </a:lnTo>
                    <a:lnTo>
                      <a:pt x="323" y="68"/>
                    </a:lnTo>
                    <a:lnTo>
                      <a:pt x="323" y="70"/>
                    </a:lnTo>
                    <a:lnTo>
                      <a:pt x="323" y="71"/>
                    </a:lnTo>
                    <a:lnTo>
                      <a:pt x="323" y="73"/>
                    </a:lnTo>
                    <a:lnTo>
                      <a:pt x="324" y="73"/>
                    </a:lnTo>
                    <a:lnTo>
                      <a:pt x="324" y="74"/>
                    </a:lnTo>
                    <a:lnTo>
                      <a:pt x="324" y="76"/>
                    </a:lnTo>
                    <a:lnTo>
                      <a:pt x="324" y="78"/>
                    </a:lnTo>
                    <a:lnTo>
                      <a:pt x="326" y="78"/>
                    </a:lnTo>
                    <a:lnTo>
                      <a:pt x="326" y="79"/>
                    </a:lnTo>
                    <a:lnTo>
                      <a:pt x="327" y="79"/>
                    </a:lnTo>
                    <a:lnTo>
                      <a:pt x="327" y="81"/>
                    </a:lnTo>
                    <a:lnTo>
                      <a:pt x="329" y="81"/>
                    </a:lnTo>
                    <a:lnTo>
                      <a:pt x="327" y="81"/>
                    </a:lnTo>
                    <a:lnTo>
                      <a:pt x="329" y="81"/>
                    </a:lnTo>
                    <a:lnTo>
                      <a:pt x="329" y="82"/>
                    </a:lnTo>
                    <a:lnTo>
                      <a:pt x="331" y="82"/>
                    </a:lnTo>
                    <a:lnTo>
                      <a:pt x="331" y="84"/>
                    </a:lnTo>
                    <a:lnTo>
                      <a:pt x="332" y="84"/>
                    </a:lnTo>
                    <a:lnTo>
                      <a:pt x="332" y="85"/>
                    </a:lnTo>
                    <a:lnTo>
                      <a:pt x="332" y="87"/>
                    </a:lnTo>
                    <a:lnTo>
                      <a:pt x="331" y="87"/>
                    </a:lnTo>
                    <a:lnTo>
                      <a:pt x="331" y="89"/>
                    </a:lnTo>
                    <a:lnTo>
                      <a:pt x="332" y="89"/>
                    </a:lnTo>
                    <a:lnTo>
                      <a:pt x="332" y="87"/>
                    </a:lnTo>
                    <a:lnTo>
                      <a:pt x="334" y="87"/>
                    </a:lnTo>
                    <a:lnTo>
                      <a:pt x="334" y="89"/>
                    </a:lnTo>
                    <a:lnTo>
                      <a:pt x="335" y="89"/>
                    </a:lnTo>
                    <a:lnTo>
                      <a:pt x="335" y="90"/>
                    </a:lnTo>
                    <a:lnTo>
                      <a:pt x="335" y="92"/>
                    </a:lnTo>
                    <a:lnTo>
                      <a:pt x="337" y="92"/>
                    </a:lnTo>
                    <a:lnTo>
                      <a:pt x="337" y="93"/>
                    </a:lnTo>
                    <a:lnTo>
                      <a:pt x="339" y="93"/>
                    </a:lnTo>
                    <a:lnTo>
                      <a:pt x="339" y="95"/>
                    </a:lnTo>
                    <a:lnTo>
                      <a:pt x="339" y="97"/>
                    </a:lnTo>
                    <a:lnTo>
                      <a:pt x="340" y="97"/>
                    </a:lnTo>
                    <a:lnTo>
                      <a:pt x="340" y="98"/>
                    </a:lnTo>
                    <a:lnTo>
                      <a:pt x="340" y="100"/>
                    </a:lnTo>
                    <a:lnTo>
                      <a:pt x="342" y="100"/>
                    </a:lnTo>
                    <a:lnTo>
                      <a:pt x="343" y="100"/>
                    </a:lnTo>
                    <a:lnTo>
                      <a:pt x="343" y="101"/>
                    </a:lnTo>
                    <a:lnTo>
                      <a:pt x="345" y="101"/>
                    </a:lnTo>
                    <a:lnTo>
                      <a:pt x="345" y="103"/>
                    </a:lnTo>
                    <a:lnTo>
                      <a:pt x="343" y="103"/>
                    </a:lnTo>
                    <a:lnTo>
                      <a:pt x="345" y="103"/>
                    </a:lnTo>
                    <a:lnTo>
                      <a:pt x="346" y="103"/>
                    </a:lnTo>
                    <a:lnTo>
                      <a:pt x="346" y="101"/>
                    </a:lnTo>
                    <a:lnTo>
                      <a:pt x="345" y="101"/>
                    </a:lnTo>
                    <a:lnTo>
                      <a:pt x="345" y="100"/>
                    </a:lnTo>
                    <a:lnTo>
                      <a:pt x="346" y="100"/>
                    </a:lnTo>
                    <a:lnTo>
                      <a:pt x="346" y="101"/>
                    </a:lnTo>
                    <a:lnTo>
                      <a:pt x="346" y="103"/>
                    </a:lnTo>
                    <a:lnTo>
                      <a:pt x="346" y="104"/>
                    </a:lnTo>
                    <a:lnTo>
                      <a:pt x="346" y="106"/>
                    </a:lnTo>
                    <a:lnTo>
                      <a:pt x="348" y="106"/>
                    </a:lnTo>
                    <a:lnTo>
                      <a:pt x="346" y="106"/>
                    </a:lnTo>
                    <a:lnTo>
                      <a:pt x="346" y="108"/>
                    </a:lnTo>
                    <a:lnTo>
                      <a:pt x="346" y="109"/>
                    </a:lnTo>
                    <a:lnTo>
                      <a:pt x="346" y="111"/>
                    </a:lnTo>
                    <a:lnTo>
                      <a:pt x="346" y="112"/>
                    </a:lnTo>
                    <a:lnTo>
                      <a:pt x="346" y="114"/>
                    </a:lnTo>
                    <a:lnTo>
                      <a:pt x="346" y="116"/>
                    </a:lnTo>
                    <a:lnTo>
                      <a:pt x="346" y="117"/>
                    </a:lnTo>
                    <a:lnTo>
                      <a:pt x="346" y="119"/>
                    </a:lnTo>
                    <a:lnTo>
                      <a:pt x="348" y="119"/>
                    </a:lnTo>
                    <a:lnTo>
                      <a:pt x="348" y="120"/>
                    </a:lnTo>
                    <a:lnTo>
                      <a:pt x="348" y="122"/>
                    </a:lnTo>
                    <a:lnTo>
                      <a:pt x="346" y="122"/>
                    </a:lnTo>
                    <a:lnTo>
                      <a:pt x="348" y="122"/>
                    </a:lnTo>
                    <a:lnTo>
                      <a:pt x="346" y="122"/>
                    </a:lnTo>
                    <a:lnTo>
                      <a:pt x="346" y="123"/>
                    </a:lnTo>
                    <a:lnTo>
                      <a:pt x="346" y="125"/>
                    </a:lnTo>
                    <a:lnTo>
                      <a:pt x="345" y="125"/>
                    </a:lnTo>
                    <a:lnTo>
                      <a:pt x="345" y="127"/>
                    </a:lnTo>
                    <a:lnTo>
                      <a:pt x="345" y="128"/>
                    </a:lnTo>
                    <a:lnTo>
                      <a:pt x="343" y="128"/>
                    </a:lnTo>
                    <a:lnTo>
                      <a:pt x="343" y="130"/>
                    </a:lnTo>
                    <a:lnTo>
                      <a:pt x="343" y="128"/>
                    </a:lnTo>
                    <a:lnTo>
                      <a:pt x="343" y="130"/>
                    </a:lnTo>
                    <a:lnTo>
                      <a:pt x="343" y="131"/>
                    </a:lnTo>
                    <a:lnTo>
                      <a:pt x="343" y="133"/>
                    </a:lnTo>
                    <a:lnTo>
                      <a:pt x="343" y="135"/>
                    </a:lnTo>
                    <a:lnTo>
                      <a:pt x="343" y="136"/>
                    </a:lnTo>
                    <a:lnTo>
                      <a:pt x="343" y="138"/>
                    </a:lnTo>
                    <a:lnTo>
                      <a:pt x="342" y="138"/>
                    </a:lnTo>
                    <a:lnTo>
                      <a:pt x="342" y="139"/>
                    </a:lnTo>
                    <a:lnTo>
                      <a:pt x="342" y="141"/>
                    </a:lnTo>
                    <a:lnTo>
                      <a:pt x="342" y="142"/>
                    </a:lnTo>
                    <a:lnTo>
                      <a:pt x="340" y="142"/>
                    </a:lnTo>
                    <a:lnTo>
                      <a:pt x="340" y="144"/>
                    </a:lnTo>
                    <a:lnTo>
                      <a:pt x="340" y="146"/>
                    </a:lnTo>
                    <a:lnTo>
                      <a:pt x="340" y="147"/>
                    </a:lnTo>
                    <a:lnTo>
                      <a:pt x="340" y="149"/>
                    </a:lnTo>
                    <a:lnTo>
                      <a:pt x="340" y="150"/>
                    </a:lnTo>
                    <a:lnTo>
                      <a:pt x="340" y="152"/>
                    </a:lnTo>
                    <a:lnTo>
                      <a:pt x="340" y="154"/>
                    </a:lnTo>
                    <a:lnTo>
                      <a:pt x="340" y="155"/>
                    </a:lnTo>
                    <a:lnTo>
                      <a:pt x="340" y="157"/>
                    </a:lnTo>
                    <a:lnTo>
                      <a:pt x="340" y="158"/>
                    </a:lnTo>
                    <a:lnTo>
                      <a:pt x="340" y="160"/>
                    </a:lnTo>
                    <a:lnTo>
                      <a:pt x="342" y="160"/>
                    </a:lnTo>
                    <a:lnTo>
                      <a:pt x="342" y="161"/>
                    </a:lnTo>
                    <a:lnTo>
                      <a:pt x="342" y="163"/>
                    </a:lnTo>
                    <a:lnTo>
                      <a:pt x="343" y="163"/>
                    </a:lnTo>
                    <a:lnTo>
                      <a:pt x="343" y="165"/>
                    </a:lnTo>
                    <a:lnTo>
                      <a:pt x="345" y="165"/>
                    </a:lnTo>
                    <a:lnTo>
                      <a:pt x="345" y="166"/>
                    </a:lnTo>
                    <a:lnTo>
                      <a:pt x="345" y="168"/>
                    </a:lnTo>
                    <a:lnTo>
                      <a:pt x="346" y="168"/>
                    </a:lnTo>
                    <a:lnTo>
                      <a:pt x="348" y="168"/>
                    </a:lnTo>
                    <a:lnTo>
                      <a:pt x="348" y="169"/>
                    </a:lnTo>
                    <a:lnTo>
                      <a:pt x="348" y="171"/>
                    </a:lnTo>
                    <a:lnTo>
                      <a:pt x="346" y="171"/>
                    </a:lnTo>
                    <a:lnTo>
                      <a:pt x="345" y="171"/>
                    </a:lnTo>
                    <a:lnTo>
                      <a:pt x="345" y="173"/>
                    </a:lnTo>
                    <a:lnTo>
                      <a:pt x="343" y="173"/>
                    </a:lnTo>
                    <a:lnTo>
                      <a:pt x="343" y="174"/>
                    </a:lnTo>
                    <a:lnTo>
                      <a:pt x="343" y="176"/>
                    </a:lnTo>
                    <a:lnTo>
                      <a:pt x="345" y="176"/>
                    </a:lnTo>
                    <a:lnTo>
                      <a:pt x="345" y="177"/>
                    </a:lnTo>
                    <a:lnTo>
                      <a:pt x="346" y="177"/>
                    </a:lnTo>
                    <a:lnTo>
                      <a:pt x="348" y="177"/>
                    </a:lnTo>
                    <a:lnTo>
                      <a:pt x="348" y="179"/>
                    </a:lnTo>
                    <a:lnTo>
                      <a:pt x="346" y="179"/>
                    </a:lnTo>
                    <a:lnTo>
                      <a:pt x="346" y="180"/>
                    </a:lnTo>
                    <a:lnTo>
                      <a:pt x="345" y="180"/>
                    </a:lnTo>
                    <a:lnTo>
                      <a:pt x="343" y="180"/>
                    </a:lnTo>
                    <a:lnTo>
                      <a:pt x="343" y="179"/>
                    </a:lnTo>
                    <a:lnTo>
                      <a:pt x="345" y="179"/>
                    </a:lnTo>
                    <a:lnTo>
                      <a:pt x="343" y="179"/>
                    </a:lnTo>
                    <a:lnTo>
                      <a:pt x="343" y="177"/>
                    </a:lnTo>
                    <a:lnTo>
                      <a:pt x="343" y="179"/>
                    </a:lnTo>
                    <a:lnTo>
                      <a:pt x="343" y="180"/>
                    </a:lnTo>
                    <a:lnTo>
                      <a:pt x="345" y="180"/>
                    </a:lnTo>
                    <a:lnTo>
                      <a:pt x="346" y="180"/>
                    </a:lnTo>
                    <a:lnTo>
                      <a:pt x="346" y="179"/>
                    </a:lnTo>
                    <a:lnTo>
                      <a:pt x="348" y="179"/>
                    </a:lnTo>
                    <a:lnTo>
                      <a:pt x="350" y="179"/>
                    </a:lnTo>
                    <a:lnTo>
                      <a:pt x="350" y="177"/>
                    </a:lnTo>
                    <a:lnTo>
                      <a:pt x="348" y="177"/>
                    </a:lnTo>
                    <a:lnTo>
                      <a:pt x="348" y="176"/>
                    </a:lnTo>
                    <a:lnTo>
                      <a:pt x="346" y="176"/>
                    </a:lnTo>
                    <a:lnTo>
                      <a:pt x="345" y="176"/>
                    </a:lnTo>
                    <a:lnTo>
                      <a:pt x="345" y="174"/>
                    </a:lnTo>
                    <a:lnTo>
                      <a:pt x="346" y="174"/>
                    </a:lnTo>
                    <a:lnTo>
                      <a:pt x="346" y="173"/>
                    </a:lnTo>
                    <a:lnTo>
                      <a:pt x="348" y="173"/>
                    </a:lnTo>
                    <a:lnTo>
                      <a:pt x="350" y="173"/>
                    </a:lnTo>
                    <a:lnTo>
                      <a:pt x="350" y="174"/>
                    </a:lnTo>
                    <a:lnTo>
                      <a:pt x="351" y="174"/>
                    </a:lnTo>
                    <a:lnTo>
                      <a:pt x="350" y="174"/>
                    </a:lnTo>
                    <a:lnTo>
                      <a:pt x="350" y="176"/>
                    </a:lnTo>
                    <a:lnTo>
                      <a:pt x="351" y="176"/>
                    </a:lnTo>
                    <a:lnTo>
                      <a:pt x="351" y="177"/>
                    </a:lnTo>
                    <a:lnTo>
                      <a:pt x="353" y="177"/>
                    </a:lnTo>
                    <a:lnTo>
                      <a:pt x="353" y="179"/>
                    </a:lnTo>
                    <a:lnTo>
                      <a:pt x="354" y="179"/>
                    </a:lnTo>
                    <a:lnTo>
                      <a:pt x="356" y="179"/>
                    </a:lnTo>
                    <a:lnTo>
                      <a:pt x="356" y="180"/>
                    </a:lnTo>
                    <a:lnTo>
                      <a:pt x="358" y="180"/>
                    </a:lnTo>
                    <a:lnTo>
                      <a:pt x="359" y="180"/>
                    </a:lnTo>
                    <a:lnTo>
                      <a:pt x="359" y="182"/>
                    </a:lnTo>
                    <a:lnTo>
                      <a:pt x="359" y="184"/>
                    </a:lnTo>
                    <a:lnTo>
                      <a:pt x="359" y="185"/>
                    </a:lnTo>
                    <a:lnTo>
                      <a:pt x="359" y="187"/>
                    </a:lnTo>
                    <a:lnTo>
                      <a:pt x="361" y="187"/>
                    </a:lnTo>
                    <a:lnTo>
                      <a:pt x="359" y="187"/>
                    </a:lnTo>
                    <a:lnTo>
                      <a:pt x="359" y="188"/>
                    </a:lnTo>
                    <a:lnTo>
                      <a:pt x="361" y="188"/>
                    </a:lnTo>
                    <a:lnTo>
                      <a:pt x="361" y="190"/>
                    </a:lnTo>
                    <a:lnTo>
                      <a:pt x="362" y="190"/>
                    </a:lnTo>
                    <a:lnTo>
                      <a:pt x="362" y="192"/>
                    </a:lnTo>
                    <a:lnTo>
                      <a:pt x="362" y="193"/>
                    </a:lnTo>
                    <a:lnTo>
                      <a:pt x="364" y="193"/>
                    </a:lnTo>
                    <a:lnTo>
                      <a:pt x="364" y="195"/>
                    </a:lnTo>
                    <a:lnTo>
                      <a:pt x="365" y="195"/>
                    </a:lnTo>
                    <a:lnTo>
                      <a:pt x="367" y="195"/>
                    </a:lnTo>
                    <a:lnTo>
                      <a:pt x="367" y="196"/>
                    </a:lnTo>
                    <a:lnTo>
                      <a:pt x="369" y="196"/>
                    </a:lnTo>
                    <a:lnTo>
                      <a:pt x="370" y="196"/>
                    </a:lnTo>
                    <a:lnTo>
                      <a:pt x="372" y="196"/>
                    </a:lnTo>
                    <a:lnTo>
                      <a:pt x="372" y="198"/>
                    </a:lnTo>
                    <a:lnTo>
                      <a:pt x="373" y="198"/>
                    </a:lnTo>
                    <a:lnTo>
                      <a:pt x="373" y="196"/>
                    </a:lnTo>
                    <a:lnTo>
                      <a:pt x="375" y="196"/>
                    </a:lnTo>
                    <a:lnTo>
                      <a:pt x="377" y="196"/>
                    </a:lnTo>
                    <a:lnTo>
                      <a:pt x="378" y="196"/>
                    </a:lnTo>
                    <a:lnTo>
                      <a:pt x="380" y="196"/>
                    </a:lnTo>
                    <a:lnTo>
                      <a:pt x="380" y="198"/>
                    </a:lnTo>
                    <a:lnTo>
                      <a:pt x="380" y="199"/>
                    </a:lnTo>
                    <a:lnTo>
                      <a:pt x="380" y="201"/>
                    </a:lnTo>
                    <a:lnTo>
                      <a:pt x="381" y="201"/>
                    </a:lnTo>
                    <a:lnTo>
                      <a:pt x="381" y="203"/>
                    </a:lnTo>
                    <a:lnTo>
                      <a:pt x="383" y="203"/>
                    </a:lnTo>
                    <a:lnTo>
                      <a:pt x="384" y="203"/>
                    </a:lnTo>
                    <a:lnTo>
                      <a:pt x="384" y="204"/>
                    </a:lnTo>
                    <a:lnTo>
                      <a:pt x="388" y="204"/>
                    </a:lnTo>
                    <a:lnTo>
                      <a:pt x="388" y="203"/>
                    </a:lnTo>
                    <a:lnTo>
                      <a:pt x="389" y="203"/>
                    </a:lnTo>
                    <a:lnTo>
                      <a:pt x="391" y="203"/>
                    </a:lnTo>
                    <a:lnTo>
                      <a:pt x="391" y="204"/>
                    </a:lnTo>
                    <a:lnTo>
                      <a:pt x="392" y="204"/>
                    </a:lnTo>
                    <a:lnTo>
                      <a:pt x="394" y="204"/>
                    </a:lnTo>
                    <a:lnTo>
                      <a:pt x="394" y="206"/>
                    </a:lnTo>
                    <a:lnTo>
                      <a:pt x="396" y="206"/>
                    </a:lnTo>
                    <a:lnTo>
                      <a:pt x="396" y="207"/>
                    </a:lnTo>
                    <a:lnTo>
                      <a:pt x="397" y="207"/>
                    </a:lnTo>
                    <a:lnTo>
                      <a:pt x="397" y="209"/>
                    </a:lnTo>
                    <a:lnTo>
                      <a:pt x="399" y="209"/>
                    </a:lnTo>
                    <a:lnTo>
                      <a:pt x="400" y="209"/>
                    </a:lnTo>
                    <a:lnTo>
                      <a:pt x="402" y="209"/>
                    </a:lnTo>
                    <a:lnTo>
                      <a:pt x="402" y="207"/>
                    </a:lnTo>
                    <a:lnTo>
                      <a:pt x="403" y="207"/>
                    </a:lnTo>
                    <a:lnTo>
                      <a:pt x="403" y="206"/>
                    </a:lnTo>
                    <a:lnTo>
                      <a:pt x="402" y="206"/>
                    </a:lnTo>
                    <a:lnTo>
                      <a:pt x="403" y="206"/>
                    </a:lnTo>
                    <a:lnTo>
                      <a:pt x="403" y="204"/>
                    </a:lnTo>
                    <a:lnTo>
                      <a:pt x="403" y="203"/>
                    </a:lnTo>
                    <a:lnTo>
                      <a:pt x="403" y="201"/>
                    </a:lnTo>
                    <a:lnTo>
                      <a:pt x="402" y="201"/>
                    </a:lnTo>
                    <a:lnTo>
                      <a:pt x="400" y="201"/>
                    </a:lnTo>
                    <a:lnTo>
                      <a:pt x="399" y="201"/>
                    </a:lnTo>
                    <a:lnTo>
                      <a:pt x="399" y="199"/>
                    </a:lnTo>
                    <a:lnTo>
                      <a:pt x="397" y="199"/>
                    </a:lnTo>
                    <a:lnTo>
                      <a:pt x="396" y="199"/>
                    </a:lnTo>
                    <a:lnTo>
                      <a:pt x="396" y="201"/>
                    </a:lnTo>
                    <a:lnTo>
                      <a:pt x="396" y="199"/>
                    </a:lnTo>
                    <a:lnTo>
                      <a:pt x="394" y="199"/>
                    </a:lnTo>
                    <a:lnTo>
                      <a:pt x="392" y="199"/>
                    </a:lnTo>
                    <a:lnTo>
                      <a:pt x="392" y="198"/>
                    </a:lnTo>
                    <a:lnTo>
                      <a:pt x="392" y="199"/>
                    </a:lnTo>
                    <a:lnTo>
                      <a:pt x="391" y="199"/>
                    </a:lnTo>
                    <a:lnTo>
                      <a:pt x="391" y="198"/>
                    </a:lnTo>
                    <a:lnTo>
                      <a:pt x="389" y="198"/>
                    </a:lnTo>
                    <a:lnTo>
                      <a:pt x="388" y="198"/>
                    </a:lnTo>
                    <a:lnTo>
                      <a:pt x="386" y="198"/>
                    </a:lnTo>
                    <a:lnTo>
                      <a:pt x="386" y="196"/>
                    </a:lnTo>
                    <a:lnTo>
                      <a:pt x="384" y="196"/>
                    </a:lnTo>
                    <a:lnTo>
                      <a:pt x="386" y="196"/>
                    </a:lnTo>
                    <a:lnTo>
                      <a:pt x="388" y="196"/>
                    </a:lnTo>
                    <a:lnTo>
                      <a:pt x="389" y="196"/>
                    </a:lnTo>
                    <a:lnTo>
                      <a:pt x="389" y="198"/>
                    </a:lnTo>
                    <a:lnTo>
                      <a:pt x="391" y="198"/>
                    </a:lnTo>
                    <a:lnTo>
                      <a:pt x="392" y="198"/>
                    </a:lnTo>
                    <a:lnTo>
                      <a:pt x="394" y="198"/>
                    </a:lnTo>
                    <a:lnTo>
                      <a:pt x="396" y="198"/>
                    </a:lnTo>
                    <a:lnTo>
                      <a:pt x="397" y="198"/>
                    </a:lnTo>
                    <a:lnTo>
                      <a:pt x="397" y="199"/>
                    </a:lnTo>
                    <a:lnTo>
                      <a:pt x="399" y="199"/>
                    </a:lnTo>
                    <a:lnTo>
                      <a:pt x="400" y="199"/>
                    </a:lnTo>
                    <a:lnTo>
                      <a:pt x="402" y="199"/>
                    </a:lnTo>
                    <a:lnTo>
                      <a:pt x="402" y="201"/>
                    </a:lnTo>
                    <a:lnTo>
                      <a:pt x="403" y="201"/>
                    </a:lnTo>
                    <a:lnTo>
                      <a:pt x="403" y="203"/>
                    </a:lnTo>
                    <a:lnTo>
                      <a:pt x="405" y="203"/>
                    </a:lnTo>
                    <a:lnTo>
                      <a:pt x="407" y="203"/>
                    </a:lnTo>
                    <a:lnTo>
                      <a:pt x="407" y="204"/>
                    </a:lnTo>
                    <a:lnTo>
                      <a:pt x="407" y="206"/>
                    </a:lnTo>
                    <a:lnTo>
                      <a:pt x="408" y="206"/>
                    </a:lnTo>
                    <a:lnTo>
                      <a:pt x="408" y="207"/>
                    </a:lnTo>
                    <a:lnTo>
                      <a:pt x="408" y="206"/>
                    </a:lnTo>
                    <a:lnTo>
                      <a:pt x="408" y="207"/>
                    </a:lnTo>
                    <a:lnTo>
                      <a:pt x="410" y="207"/>
                    </a:lnTo>
                    <a:lnTo>
                      <a:pt x="410" y="209"/>
                    </a:lnTo>
                    <a:lnTo>
                      <a:pt x="411" y="209"/>
                    </a:lnTo>
                    <a:lnTo>
                      <a:pt x="413" y="209"/>
                    </a:lnTo>
                    <a:lnTo>
                      <a:pt x="413" y="211"/>
                    </a:lnTo>
                    <a:lnTo>
                      <a:pt x="413" y="212"/>
                    </a:lnTo>
                    <a:lnTo>
                      <a:pt x="415" y="212"/>
                    </a:lnTo>
                    <a:lnTo>
                      <a:pt x="413" y="212"/>
                    </a:lnTo>
                    <a:lnTo>
                      <a:pt x="413" y="211"/>
                    </a:lnTo>
                    <a:lnTo>
                      <a:pt x="415" y="211"/>
                    </a:lnTo>
                    <a:lnTo>
                      <a:pt x="415" y="212"/>
                    </a:lnTo>
                    <a:lnTo>
                      <a:pt x="416" y="212"/>
                    </a:lnTo>
                    <a:lnTo>
                      <a:pt x="416" y="214"/>
                    </a:lnTo>
                    <a:lnTo>
                      <a:pt x="418" y="214"/>
                    </a:lnTo>
                    <a:lnTo>
                      <a:pt x="418" y="215"/>
                    </a:lnTo>
                    <a:lnTo>
                      <a:pt x="418" y="217"/>
                    </a:lnTo>
                    <a:lnTo>
                      <a:pt x="419" y="217"/>
                    </a:lnTo>
                    <a:lnTo>
                      <a:pt x="419" y="218"/>
                    </a:lnTo>
                    <a:lnTo>
                      <a:pt x="419" y="220"/>
                    </a:lnTo>
                    <a:lnTo>
                      <a:pt x="421" y="220"/>
                    </a:lnTo>
                    <a:lnTo>
                      <a:pt x="421" y="222"/>
                    </a:lnTo>
                    <a:lnTo>
                      <a:pt x="422" y="222"/>
                    </a:lnTo>
                    <a:lnTo>
                      <a:pt x="422" y="223"/>
                    </a:lnTo>
                    <a:lnTo>
                      <a:pt x="422" y="225"/>
                    </a:lnTo>
                    <a:lnTo>
                      <a:pt x="424" y="225"/>
                    </a:lnTo>
                    <a:lnTo>
                      <a:pt x="426" y="225"/>
                    </a:lnTo>
                    <a:lnTo>
                      <a:pt x="426" y="226"/>
                    </a:lnTo>
                    <a:lnTo>
                      <a:pt x="427" y="226"/>
                    </a:lnTo>
                    <a:lnTo>
                      <a:pt x="427" y="228"/>
                    </a:lnTo>
                    <a:lnTo>
                      <a:pt x="427" y="230"/>
                    </a:lnTo>
                    <a:lnTo>
                      <a:pt x="427" y="231"/>
                    </a:lnTo>
                    <a:lnTo>
                      <a:pt x="429" y="231"/>
                    </a:lnTo>
                    <a:lnTo>
                      <a:pt x="430" y="231"/>
                    </a:lnTo>
                    <a:lnTo>
                      <a:pt x="430" y="233"/>
                    </a:lnTo>
                    <a:lnTo>
                      <a:pt x="430" y="234"/>
                    </a:lnTo>
                    <a:lnTo>
                      <a:pt x="429" y="234"/>
                    </a:lnTo>
                    <a:lnTo>
                      <a:pt x="429" y="236"/>
                    </a:lnTo>
                    <a:lnTo>
                      <a:pt x="427" y="236"/>
                    </a:lnTo>
                    <a:lnTo>
                      <a:pt x="427" y="234"/>
                    </a:lnTo>
                    <a:lnTo>
                      <a:pt x="426" y="236"/>
                    </a:lnTo>
                    <a:lnTo>
                      <a:pt x="426" y="238"/>
                    </a:lnTo>
                    <a:lnTo>
                      <a:pt x="426" y="239"/>
                    </a:lnTo>
                    <a:lnTo>
                      <a:pt x="424" y="239"/>
                    </a:lnTo>
                    <a:lnTo>
                      <a:pt x="424" y="241"/>
                    </a:lnTo>
                    <a:lnTo>
                      <a:pt x="422" y="241"/>
                    </a:lnTo>
                    <a:lnTo>
                      <a:pt x="422" y="242"/>
                    </a:lnTo>
                    <a:lnTo>
                      <a:pt x="421" y="242"/>
                    </a:lnTo>
                    <a:lnTo>
                      <a:pt x="421" y="241"/>
                    </a:lnTo>
                    <a:lnTo>
                      <a:pt x="419" y="241"/>
                    </a:lnTo>
                    <a:lnTo>
                      <a:pt x="419" y="242"/>
                    </a:lnTo>
                    <a:lnTo>
                      <a:pt x="419" y="244"/>
                    </a:lnTo>
                    <a:lnTo>
                      <a:pt x="418" y="242"/>
                    </a:lnTo>
                    <a:lnTo>
                      <a:pt x="418" y="244"/>
                    </a:lnTo>
                    <a:lnTo>
                      <a:pt x="418" y="245"/>
                    </a:lnTo>
                    <a:lnTo>
                      <a:pt x="416" y="245"/>
                    </a:lnTo>
                    <a:lnTo>
                      <a:pt x="416" y="247"/>
                    </a:lnTo>
                    <a:lnTo>
                      <a:pt x="416" y="249"/>
                    </a:lnTo>
                    <a:lnTo>
                      <a:pt x="416" y="250"/>
                    </a:lnTo>
                    <a:lnTo>
                      <a:pt x="416" y="252"/>
                    </a:lnTo>
                    <a:lnTo>
                      <a:pt x="415" y="252"/>
                    </a:lnTo>
                    <a:lnTo>
                      <a:pt x="415" y="253"/>
                    </a:lnTo>
                    <a:lnTo>
                      <a:pt x="415" y="255"/>
                    </a:lnTo>
                    <a:lnTo>
                      <a:pt x="415" y="257"/>
                    </a:lnTo>
                    <a:lnTo>
                      <a:pt x="415" y="258"/>
                    </a:lnTo>
                    <a:lnTo>
                      <a:pt x="413" y="260"/>
                    </a:lnTo>
                    <a:lnTo>
                      <a:pt x="413" y="261"/>
                    </a:lnTo>
                    <a:lnTo>
                      <a:pt x="413" y="263"/>
                    </a:lnTo>
                    <a:lnTo>
                      <a:pt x="411" y="264"/>
                    </a:lnTo>
                    <a:lnTo>
                      <a:pt x="411" y="266"/>
                    </a:lnTo>
                    <a:lnTo>
                      <a:pt x="411" y="268"/>
                    </a:lnTo>
                    <a:lnTo>
                      <a:pt x="411" y="269"/>
                    </a:lnTo>
                    <a:lnTo>
                      <a:pt x="410" y="271"/>
                    </a:lnTo>
                    <a:lnTo>
                      <a:pt x="411" y="271"/>
                    </a:lnTo>
                    <a:lnTo>
                      <a:pt x="411" y="272"/>
                    </a:lnTo>
                    <a:lnTo>
                      <a:pt x="411" y="274"/>
                    </a:lnTo>
                    <a:lnTo>
                      <a:pt x="410" y="276"/>
                    </a:lnTo>
                    <a:lnTo>
                      <a:pt x="411" y="276"/>
                    </a:lnTo>
                    <a:lnTo>
                      <a:pt x="411" y="277"/>
                    </a:lnTo>
                    <a:lnTo>
                      <a:pt x="411" y="279"/>
                    </a:lnTo>
                    <a:lnTo>
                      <a:pt x="410" y="279"/>
                    </a:lnTo>
                    <a:lnTo>
                      <a:pt x="410" y="280"/>
                    </a:lnTo>
                    <a:lnTo>
                      <a:pt x="411" y="282"/>
                    </a:lnTo>
                    <a:lnTo>
                      <a:pt x="410" y="282"/>
                    </a:lnTo>
                    <a:lnTo>
                      <a:pt x="408" y="283"/>
                    </a:lnTo>
                    <a:lnTo>
                      <a:pt x="408" y="285"/>
                    </a:lnTo>
                    <a:lnTo>
                      <a:pt x="407" y="287"/>
                    </a:lnTo>
                    <a:lnTo>
                      <a:pt x="407" y="288"/>
                    </a:lnTo>
                    <a:lnTo>
                      <a:pt x="405" y="288"/>
                    </a:lnTo>
                    <a:lnTo>
                      <a:pt x="405" y="290"/>
                    </a:lnTo>
                    <a:lnTo>
                      <a:pt x="403" y="290"/>
                    </a:lnTo>
                    <a:lnTo>
                      <a:pt x="403" y="291"/>
                    </a:lnTo>
                    <a:lnTo>
                      <a:pt x="402" y="291"/>
                    </a:lnTo>
                    <a:lnTo>
                      <a:pt x="402" y="293"/>
                    </a:lnTo>
                    <a:lnTo>
                      <a:pt x="400" y="293"/>
                    </a:lnTo>
                    <a:lnTo>
                      <a:pt x="400" y="295"/>
                    </a:lnTo>
                    <a:lnTo>
                      <a:pt x="400" y="296"/>
                    </a:lnTo>
                    <a:lnTo>
                      <a:pt x="400" y="298"/>
                    </a:lnTo>
                    <a:lnTo>
                      <a:pt x="399" y="299"/>
                    </a:lnTo>
                    <a:lnTo>
                      <a:pt x="397" y="299"/>
                    </a:lnTo>
                    <a:lnTo>
                      <a:pt x="396" y="301"/>
                    </a:lnTo>
                    <a:lnTo>
                      <a:pt x="394" y="301"/>
                    </a:lnTo>
                    <a:lnTo>
                      <a:pt x="396" y="302"/>
                    </a:lnTo>
                    <a:lnTo>
                      <a:pt x="394" y="302"/>
                    </a:lnTo>
                    <a:lnTo>
                      <a:pt x="394" y="304"/>
                    </a:lnTo>
                    <a:lnTo>
                      <a:pt x="396" y="304"/>
                    </a:lnTo>
                    <a:lnTo>
                      <a:pt x="397" y="304"/>
                    </a:lnTo>
                    <a:lnTo>
                      <a:pt x="399" y="304"/>
                    </a:lnTo>
                    <a:lnTo>
                      <a:pt x="400" y="306"/>
                    </a:lnTo>
                    <a:lnTo>
                      <a:pt x="400" y="304"/>
                    </a:lnTo>
                    <a:lnTo>
                      <a:pt x="402" y="304"/>
                    </a:lnTo>
                    <a:lnTo>
                      <a:pt x="403" y="304"/>
                    </a:lnTo>
                    <a:lnTo>
                      <a:pt x="405" y="304"/>
                    </a:lnTo>
                    <a:lnTo>
                      <a:pt x="407" y="304"/>
                    </a:lnTo>
                    <a:lnTo>
                      <a:pt x="408" y="304"/>
                    </a:lnTo>
                    <a:lnTo>
                      <a:pt x="410" y="304"/>
                    </a:lnTo>
                    <a:lnTo>
                      <a:pt x="410" y="306"/>
                    </a:lnTo>
                    <a:lnTo>
                      <a:pt x="410" y="307"/>
                    </a:lnTo>
                    <a:lnTo>
                      <a:pt x="410" y="309"/>
                    </a:lnTo>
                    <a:lnTo>
                      <a:pt x="410" y="310"/>
                    </a:lnTo>
                    <a:lnTo>
                      <a:pt x="411" y="310"/>
                    </a:lnTo>
                    <a:lnTo>
                      <a:pt x="411" y="312"/>
                    </a:lnTo>
                    <a:lnTo>
                      <a:pt x="411" y="314"/>
                    </a:lnTo>
                    <a:lnTo>
                      <a:pt x="410" y="315"/>
                    </a:lnTo>
                    <a:lnTo>
                      <a:pt x="408" y="317"/>
                    </a:lnTo>
                    <a:lnTo>
                      <a:pt x="408" y="318"/>
                    </a:lnTo>
                    <a:lnTo>
                      <a:pt x="408" y="320"/>
                    </a:lnTo>
                    <a:lnTo>
                      <a:pt x="410" y="320"/>
                    </a:lnTo>
                    <a:lnTo>
                      <a:pt x="410" y="321"/>
                    </a:lnTo>
                    <a:lnTo>
                      <a:pt x="410" y="323"/>
                    </a:lnTo>
                    <a:lnTo>
                      <a:pt x="411" y="323"/>
                    </a:lnTo>
                    <a:lnTo>
                      <a:pt x="411" y="325"/>
                    </a:lnTo>
                    <a:lnTo>
                      <a:pt x="413" y="325"/>
                    </a:lnTo>
                    <a:lnTo>
                      <a:pt x="413" y="326"/>
                    </a:lnTo>
                    <a:lnTo>
                      <a:pt x="413" y="328"/>
                    </a:lnTo>
                    <a:lnTo>
                      <a:pt x="415" y="328"/>
                    </a:lnTo>
                    <a:lnTo>
                      <a:pt x="415" y="329"/>
                    </a:lnTo>
                    <a:lnTo>
                      <a:pt x="416" y="331"/>
                    </a:lnTo>
                    <a:lnTo>
                      <a:pt x="418" y="331"/>
                    </a:lnTo>
                    <a:lnTo>
                      <a:pt x="419" y="331"/>
                    </a:lnTo>
                    <a:lnTo>
                      <a:pt x="419" y="333"/>
                    </a:lnTo>
                    <a:lnTo>
                      <a:pt x="421" y="333"/>
                    </a:lnTo>
                    <a:lnTo>
                      <a:pt x="422" y="333"/>
                    </a:lnTo>
                    <a:lnTo>
                      <a:pt x="422" y="334"/>
                    </a:lnTo>
                    <a:lnTo>
                      <a:pt x="422" y="336"/>
                    </a:lnTo>
                    <a:lnTo>
                      <a:pt x="421" y="336"/>
                    </a:lnTo>
                    <a:lnTo>
                      <a:pt x="421" y="337"/>
                    </a:lnTo>
                    <a:lnTo>
                      <a:pt x="421" y="339"/>
                    </a:lnTo>
                    <a:lnTo>
                      <a:pt x="421" y="340"/>
                    </a:lnTo>
                    <a:lnTo>
                      <a:pt x="421" y="342"/>
                    </a:lnTo>
                    <a:lnTo>
                      <a:pt x="422" y="344"/>
                    </a:lnTo>
                    <a:lnTo>
                      <a:pt x="424" y="344"/>
                    </a:lnTo>
                    <a:lnTo>
                      <a:pt x="426" y="344"/>
                    </a:lnTo>
                    <a:lnTo>
                      <a:pt x="426" y="345"/>
                    </a:lnTo>
                    <a:lnTo>
                      <a:pt x="427" y="345"/>
                    </a:lnTo>
                    <a:lnTo>
                      <a:pt x="427" y="347"/>
                    </a:lnTo>
                    <a:lnTo>
                      <a:pt x="426" y="347"/>
                    </a:lnTo>
                    <a:lnTo>
                      <a:pt x="424" y="348"/>
                    </a:lnTo>
                    <a:lnTo>
                      <a:pt x="422" y="350"/>
                    </a:lnTo>
                    <a:lnTo>
                      <a:pt x="421" y="352"/>
                    </a:lnTo>
                    <a:lnTo>
                      <a:pt x="419" y="352"/>
                    </a:lnTo>
                    <a:lnTo>
                      <a:pt x="419" y="353"/>
                    </a:lnTo>
                    <a:lnTo>
                      <a:pt x="418" y="355"/>
                    </a:lnTo>
                    <a:lnTo>
                      <a:pt x="416" y="355"/>
                    </a:lnTo>
                    <a:lnTo>
                      <a:pt x="415" y="356"/>
                    </a:lnTo>
                    <a:lnTo>
                      <a:pt x="413" y="356"/>
                    </a:lnTo>
                    <a:lnTo>
                      <a:pt x="413" y="358"/>
                    </a:lnTo>
                    <a:lnTo>
                      <a:pt x="411" y="358"/>
                    </a:lnTo>
                    <a:lnTo>
                      <a:pt x="411" y="359"/>
                    </a:lnTo>
                    <a:lnTo>
                      <a:pt x="411" y="361"/>
                    </a:lnTo>
                    <a:lnTo>
                      <a:pt x="411" y="363"/>
                    </a:lnTo>
                    <a:lnTo>
                      <a:pt x="411" y="364"/>
                    </a:lnTo>
                    <a:lnTo>
                      <a:pt x="411" y="366"/>
                    </a:lnTo>
                    <a:lnTo>
                      <a:pt x="411" y="367"/>
                    </a:lnTo>
                    <a:lnTo>
                      <a:pt x="410" y="369"/>
                    </a:lnTo>
                    <a:lnTo>
                      <a:pt x="410" y="371"/>
                    </a:lnTo>
                    <a:lnTo>
                      <a:pt x="408" y="371"/>
                    </a:lnTo>
                    <a:lnTo>
                      <a:pt x="408" y="372"/>
                    </a:lnTo>
                    <a:lnTo>
                      <a:pt x="407" y="374"/>
                    </a:lnTo>
                    <a:lnTo>
                      <a:pt x="405" y="375"/>
                    </a:lnTo>
                    <a:lnTo>
                      <a:pt x="403" y="377"/>
                    </a:lnTo>
                    <a:lnTo>
                      <a:pt x="403" y="378"/>
                    </a:lnTo>
                    <a:lnTo>
                      <a:pt x="402" y="380"/>
                    </a:lnTo>
                    <a:lnTo>
                      <a:pt x="400" y="382"/>
                    </a:lnTo>
                    <a:lnTo>
                      <a:pt x="400" y="383"/>
                    </a:lnTo>
                    <a:lnTo>
                      <a:pt x="400" y="385"/>
                    </a:lnTo>
                    <a:lnTo>
                      <a:pt x="400" y="386"/>
                    </a:lnTo>
                    <a:lnTo>
                      <a:pt x="402" y="388"/>
                    </a:lnTo>
                    <a:lnTo>
                      <a:pt x="403" y="388"/>
                    </a:lnTo>
                    <a:lnTo>
                      <a:pt x="405" y="388"/>
                    </a:lnTo>
                    <a:lnTo>
                      <a:pt x="405" y="386"/>
                    </a:lnTo>
                    <a:lnTo>
                      <a:pt x="408" y="386"/>
                    </a:lnTo>
                    <a:lnTo>
                      <a:pt x="408" y="385"/>
                    </a:lnTo>
                    <a:lnTo>
                      <a:pt x="410" y="385"/>
                    </a:lnTo>
                    <a:lnTo>
                      <a:pt x="411" y="383"/>
                    </a:lnTo>
                    <a:lnTo>
                      <a:pt x="411" y="386"/>
                    </a:lnTo>
                    <a:lnTo>
                      <a:pt x="413" y="386"/>
                    </a:lnTo>
                    <a:lnTo>
                      <a:pt x="413" y="388"/>
                    </a:lnTo>
                    <a:lnTo>
                      <a:pt x="415" y="390"/>
                    </a:lnTo>
                    <a:lnTo>
                      <a:pt x="415" y="391"/>
                    </a:lnTo>
                    <a:lnTo>
                      <a:pt x="416" y="393"/>
                    </a:lnTo>
                    <a:lnTo>
                      <a:pt x="418" y="394"/>
                    </a:lnTo>
                    <a:lnTo>
                      <a:pt x="419" y="393"/>
                    </a:lnTo>
                    <a:lnTo>
                      <a:pt x="421" y="393"/>
                    </a:lnTo>
                    <a:lnTo>
                      <a:pt x="422" y="391"/>
                    </a:lnTo>
                    <a:lnTo>
                      <a:pt x="424" y="390"/>
                    </a:lnTo>
                    <a:lnTo>
                      <a:pt x="424" y="388"/>
                    </a:lnTo>
                    <a:lnTo>
                      <a:pt x="426" y="388"/>
                    </a:lnTo>
                    <a:lnTo>
                      <a:pt x="426" y="386"/>
                    </a:lnTo>
                    <a:lnTo>
                      <a:pt x="426" y="385"/>
                    </a:lnTo>
                    <a:lnTo>
                      <a:pt x="426" y="383"/>
                    </a:lnTo>
                    <a:lnTo>
                      <a:pt x="427" y="382"/>
                    </a:lnTo>
                    <a:lnTo>
                      <a:pt x="429" y="382"/>
                    </a:lnTo>
                    <a:lnTo>
                      <a:pt x="429" y="380"/>
                    </a:lnTo>
                    <a:lnTo>
                      <a:pt x="429" y="378"/>
                    </a:lnTo>
                    <a:lnTo>
                      <a:pt x="430" y="378"/>
                    </a:lnTo>
                    <a:lnTo>
                      <a:pt x="430" y="377"/>
                    </a:lnTo>
                    <a:lnTo>
                      <a:pt x="430" y="375"/>
                    </a:lnTo>
                    <a:lnTo>
                      <a:pt x="432" y="375"/>
                    </a:lnTo>
                    <a:lnTo>
                      <a:pt x="434" y="375"/>
                    </a:lnTo>
                    <a:lnTo>
                      <a:pt x="435" y="375"/>
                    </a:lnTo>
                    <a:lnTo>
                      <a:pt x="437" y="374"/>
                    </a:lnTo>
                    <a:lnTo>
                      <a:pt x="438" y="374"/>
                    </a:lnTo>
                    <a:lnTo>
                      <a:pt x="438" y="375"/>
                    </a:lnTo>
                    <a:lnTo>
                      <a:pt x="438" y="377"/>
                    </a:lnTo>
                    <a:lnTo>
                      <a:pt x="440" y="377"/>
                    </a:lnTo>
                    <a:lnTo>
                      <a:pt x="440" y="378"/>
                    </a:lnTo>
                    <a:lnTo>
                      <a:pt x="441" y="380"/>
                    </a:lnTo>
                    <a:lnTo>
                      <a:pt x="443" y="380"/>
                    </a:lnTo>
                    <a:lnTo>
                      <a:pt x="445" y="380"/>
                    </a:lnTo>
                    <a:lnTo>
                      <a:pt x="445" y="378"/>
                    </a:lnTo>
                    <a:lnTo>
                      <a:pt x="446" y="378"/>
                    </a:lnTo>
                    <a:lnTo>
                      <a:pt x="448" y="378"/>
                    </a:lnTo>
                    <a:lnTo>
                      <a:pt x="449" y="377"/>
                    </a:lnTo>
                    <a:lnTo>
                      <a:pt x="451" y="375"/>
                    </a:lnTo>
                    <a:lnTo>
                      <a:pt x="453" y="374"/>
                    </a:lnTo>
                    <a:lnTo>
                      <a:pt x="453" y="372"/>
                    </a:lnTo>
                    <a:lnTo>
                      <a:pt x="453" y="371"/>
                    </a:lnTo>
                    <a:lnTo>
                      <a:pt x="453" y="369"/>
                    </a:lnTo>
                    <a:lnTo>
                      <a:pt x="453" y="367"/>
                    </a:lnTo>
                    <a:lnTo>
                      <a:pt x="454" y="367"/>
                    </a:lnTo>
                    <a:lnTo>
                      <a:pt x="456" y="367"/>
                    </a:lnTo>
                    <a:lnTo>
                      <a:pt x="457" y="369"/>
                    </a:lnTo>
                    <a:lnTo>
                      <a:pt x="459" y="369"/>
                    </a:lnTo>
                    <a:lnTo>
                      <a:pt x="460" y="371"/>
                    </a:lnTo>
                    <a:lnTo>
                      <a:pt x="462" y="371"/>
                    </a:lnTo>
                    <a:lnTo>
                      <a:pt x="464" y="371"/>
                    </a:lnTo>
                    <a:lnTo>
                      <a:pt x="464" y="369"/>
                    </a:lnTo>
                    <a:lnTo>
                      <a:pt x="464" y="367"/>
                    </a:lnTo>
                    <a:lnTo>
                      <a:pt x="464" y="366"/>
                    </a:lnTo>
                    <a:lnTo>
                      <a:pt x="465" y="364"/>
                    </a:lnTo>
                    <a:lnTo>
                      <a:pt x="467" y="364"/>
                    </a:lnTo>
                    <a:lnTo>
                      <a:pt x="467" y="363"/>
                    </a:lnTo>
                    <a:lnTo>
                      <a:pt x="468" y="361"/>
                    </a:lnTo>
                    <a:lnTo>
                      <a:pt x="468" y="359"/>
                    </a:lnTo>
                    <a:lnTo>
                      <a:pt x="468" y="358"/>
                    </a:lnTo>
                    <a:lnTo>
                      <a:pt x="470" y="358"/>
                    </a:lnTo>
                    <a:lnTo>
                      <a:pt x="472" y="356"/>
                    </a:lnTo>
                    <a:lnTo>
                      <a:pt x="473" y="356"/>
                    </a:lnTo>
                    <a:lnTo>
                      <a:pt x="475" y="356"/>
                    </a:lnTo>
                    <a:lnTo>
                      <a:pt x="476" y="355"/>
                    </a:lnTo>
                    <a:lnTo>
                      <a:pt x="478" y="355"/>
                    </a:lnTo>
                    <a:lnTo>
                      <a:pt x="479" y="355"/>
                    </a:lnTo>
                    <a:lnTo>
                      <a:pt x="481" y="355"/>
                    </a:lnTo>
                    <a:lnTo>
                      <a:pt x="481" y="356"/>
                    </a:lnTo>
                    <a:lnTo>
                      <a:pt x="481" y="358"/>
                    </a:lnTo>
                    <a:lnTo>
                      <a:pt x="481" y="359"/>
                    </a:lnTo>
                    <a:lnTo>
                      <a:pt x="483" y="358"/>
                    </a:lnTo>
                    <a:lnTo>
                      <a:pt x="484" y="358"/>
                    </a:lnTo>
                    <a:lnTo>
                      <a:pt x="486" y="358"/>
                    </a:lnTo>
                    <a:lnTo>
                      <a:pt x="486" y="356"/>
                    </a:lnTo>
                    <a:lnTo>
                      <a:pt x="487" y="356"/>
                    </a:lnTo>
                    <a:lnTo>
                      <a:pt x="489" y="356"/>
                    </a:lnTo>
                    <a:lnTo>
                      <a:pt x="491" y="356"/>
                    </a:lnTo>
                    <a:lnTo>
                      <a:pt x="492" y="356"/>
                    </a:lnTo>
                    <a:lnTo>
                      <a:pt x="492" y="358"/>
                    </a:lnTo>
                    <a:lnTo>
                      <a:pt x="494" y="358"/>
                    </a:lnTo>
                    <a:lnTo>
                      <a:pt x="494" y="356"/>
                    </a:lnTo>
                    <a:lnTo>
                      <a:pt x="495" y="356"/>
                    </a:lnTo>
                    <a:lnTo>
                      <a:pt x="497" y="356"/>
                    </a:lnTo>
                    <a:lnTo>
                      <a:pt x="498" y="356"/>
                    </a:lnTo>
                    <a:lnTo>
                      <a:pt x="500" y="358"/>
                    </a:lnTo>
                    <a:lnTo>
                      <a:pt x="502" y="358"/>
                    </a:lnTo>
                    <a:lnTo>
                      <a:pt x="503" y="358"/>
                    </a:lnTo>
                    <a:lnTo>
                      <a:pt x="505" y="358"/>
                    </a:lnTo>
                    <a:lnTo>
                      <a:pt x="506" y="358"/>
                    </a:lnTo>
                    <a:lnTo>
                      <a:pt x="506" y="359"/>
                    </a:lnTo>
                    <a:lnTo>
                      <a:pt x="508" y="359"/>
                    </a:lnTo>
                    <a:lnTo>
                      <a:pt x="508" y="361"/>
                    </a:lnTo>
                    <a:lnTo>
                      <a:pt x="510" y="363"/>
                    </a:lnTo>
                    <a:lnTo>
                      <a:pt x="511" y="363"/>
                    </a:lnTo>
                    <a:lnTo>
                      <a:pt x="511" y="364"/>
                    </a:lnTo>
                    <a:lnTo>
                      <a:pt x="513" y="364"/>
                    </a:lnTo>
                    <a:lnTo>
                      <a:pt x="514" y="364"/>
                    </a:lnTo>
                    <a:lnTo>
                      <a:pt x="516" y="364"/>
                    </a:lnTo>
                    <a:lnTo>
                      <a:pt x="517" y="363"/>
                    </a:lnTo>
                    <a:lnTo>
                      <a:pt x="517" y="364"/>
                    </a:lnTo>
                    <a:lnTo>
                      <a:pt x="517" y="366"/>
                    </a:lnTo>
                    <a:lnTo>
                      <a:pt x="517" y="367"/>
                    </a:lnTo>
                    <a:lnTo>
                      <a:pt x="517" y="369"/>
                    </a:lnTo>
                    <a:lnTo>
                      <a:pt x="517" y="371"/>
                    </a:lnTo>
                    <a:lnTo>
                      <a:pt x="516" y="372"/>
                    </a:lnTo>
                    <a:lnTo>
                      <a:pt x="516" y="374"/>
                    </a:lnTo>
                    <a:lnTo>
                      <a:pt x="516" y="375"/>
                    </a:lnTo>
                    <a:lnTo>
                      <a:pt x="517" y="375"/>
                    </a:lnTo>
                    <a:lnTo>
                      <a:pt x="519" y="375"/>
                    </a:lnTo>
                    <a:lnTo>
                      <a:pt x="519" y="377"/>
                    </a:lnTo>
                    <a:lnTo>
                      <a:pt x="521" y="377"/>
                    </a:lnTo>
                    <a:lnTo>
                      <a:pt x="522" y="377"/>
                    </a:lnTo>
                    <a:lnTo>
                      <a:pt x="522" y="378"/>
                    </a:lnTo>
                    <a:lnTo>
                      <a:pt x="522" y="380"/>
                    </a:lnTo>
                    <a:lnTo>
                      <a:pt x="522" y="382"/>
                    </a:lnTo>
                    <a:lnTo>
                      <a:pt x="522" y="383"/>
                    </a:lnTo>
                    <a:lnTo>
                      <a:pt x="524" y="383"/>
                    </a:lnTo>
                    <a:lnTo>
                      <a:pt x="525" y="383"/>
                    </a:lnTo>
                    <a:lnTo>
                      <a:pt x="527" y="383"/>
                    </a:lnTo>
                    <a:lnTo>
                      <a:pt x="527" y="385"/>
                    </a:lnTo>
                    <a:lnTo>
                      <a:pt x="527" y="386"/>
                    </a:lnTo>
                    <a:lnTo>
                      <a:pt x="525" y="388"/>
                    </a:lnTo>
                    <a:lnTo>
                      <a:pt x="527" y="388"/>
                    </a:lnTo>
                    <a:lnTo>
                      <a:pt x="527" y="390"/>
                    </a:lnTo>
                    <a:lnTo>
                      <a:pt x="525" y="390"/>
                    </a:lnTo>
                    <a:lnTo>
                      <a:pt x="525" y="391"/>
                    </a:lnTo>
                    <a:lnTo>
                      <a:pt x="525" y="393"/>
                    </a:lnTo>
                    <a:lnTo>
                      <a:pt x="527" y="393"/>
                    </a:lnTo>
                    <a:lnTo>
                      <a:pt x="527" y="394"/>
                    </a:lnTo>
                    <a:lnTo>
                      <a:pt x="527" y="396"/>
                    </a:lnTo>
                    <a:lnTo>
                      <a:pt x="529" y="397"/>
                    </a:lnTo>
                    <a:lnTo>
                      <a:pt x="527" y="397"/>
                    </a:lnTo>
                    <a:lnTo>
                      <a:pt x="527" y="399"/>
                    </a:lnTo>
                    <a:lnTo>
                      <a:pt x="529" y="401"/>
                    </a:lnTo>
                    <a:lnTo>
                      <a:pt x="527" y="401"/>
                    </a:lnTo>
                    <a:lnTo>
                      <a:pt x="527" y="402"/>
                    </a:lnTo>
                    <a:lnTo>
                      <a:pt x="525" y="404"/>
                    </a:lnTo>
                    <a:lnTo>
                      <a:pt x="524" y="404"/>
                    </a:lnTo>
                    <a:lnTo>
                      <a:pt x="524" y="405"/>
                    </a:lnTo>
                    <a:lnTo>
                      <a:pt x="522" y="407"/>
                    </a:lnTo>
                    <a:lnTo>
                      <a:pt x="524" y="407"/>
                    </a:lnTo>
                    <a:lnTo>
                      <a:pt x="524" y="409"/>
                    </a:lnTo>
                    <a:lnTo>
                      <a:pt x="524" y="410"/>
                    </a:lnTo>
                    <a:lnTo>
                      <a:pt x="525" y="410"/>
                    </a:lnTo>
                    <a:lnTo>
                      <a:pt x="525" y="412"/>
                    </a:lnTo>
                    <a:lnTo>
                      <a:pt x="527" y="413"/>
                    </a:lnTo>
                    <a:lnTo>
                      <a:pt x="527" y="415"/>
                    </a:lnTo>
                    <a:lnTo>
                      <a:pt x="525" y="415"/>
                    </a:lnTo>
                    <a:lnTo>
                      <a:pt x="525" y="416"/>
                    </a:lnTo>
                    <a:lnTo>
                      <a:pt x="524" y="416"/>
                    </a:lnTo>
                    <a:lnTo>
                      <a:pt x="524" y="418"/>
                    </a:lnTo>
                    <a:lnTo>
                      <a:pt x="522" y="418"/>
                    </a:lnTo>
                    <a:lnTo>
                      <a:pt x="522" y="420"/>
                    </a:lnTo>
                    <a:lnTo>
                      <a:pt x="522" y="421"/>
                    </a:lnTo>
                    <a:lnTo>
                      <a:pt x="522" y="423"/>
                    </a:lnTo>
                    <a:lnTo>
                      <a:pt x="522" y="424"/>
                    </a:lnTo>
                    <a:lnTo>
                      <a:pt x="522" y="426"/>
                    </a:lnTo>
                    <a:lnTo>
                      <a:pt x="522" y="428"/>
                    </a:lnTo>
                    <a:lnTo>
                      <a:pt x="522" y="429"/>
                    </a:lnTo>
                    <a:lnTo>
                      <a:pt x="524" y="429"/>
                    </a:lnTo>
                    <a:lnTo>
                      <a:pt x="525" y="429"/>
                    </a:lnTo>
                    <a:lnTo>
                      <a:pt x="525" y="428"/>
                    </a:lnTo>
                    <a:lnTo>
                      <a:pt x="527" y="428"/>
                    </a:lnTo>
                    <a:lnTo>
                      <a:pt x="527" y="426"/>
                    </a:lnTo>
                    <a:lnTo>
                      <a:pt x="527" y="424"/>
                    </a:lnTo>
                    <a:lnTo>
                      <a:pt x="529" y="424"/>
                    </a:lnTo>
                    <a:lnTo>
                      <a:pt x="530" y="424"/>
                    </a:lnTo>
                    <a:lnTo>
                      <a:pt x="530" y="426"/>
                    </a:lnTo>
                    <a:lnTo>
                      <a:pt x="530" y="428"/>
                    </a:lnTo>
                    <a:lnTo>
                      <a:pt x="530" y="429"/>
                    </a:lnTo>
                    <a:lnTo>
                      <a:pt x="532" y="429"/>
                    </a:lnTo>
                    <a:lnTo>
                      <a:pt x="532" y="431"/>
                    </a:lnTo>
                    <a:lnTo>
                      <a:pt x="532" y="432"/>
                    </a:lnTo>
                    <a:lnTo>
                      <a:pt x="533" y="432"/>
                    </a:lnTo>
                    <a:lnTo>
                      <a:pt x="532" y="432"/>
                    </a:lnTo>
                    <a:lnTo>
                      <a:pt x="533" y="432"/>
                    </a:lnTo>
                    <a:lnTo>
                      <a:pt x="535" y="432"/>
                    </a:lnTo>
                    <a:lnTo>
                      <a:pt x="535" y="434"/>
                    </a:lnTo>
                    <a:lnTo>
                      <a:pt x="535" y="436"/>
                    </a:lnTo>
                    <a:lnTo>
                      <a:pt x="533" y="436"/>
                    </a:lnTo>
                    <a:lnTo>
                      <a:pt x="533" y="437"/>
                    </a:lnTo>
                    <a:lnTo>
                      <a:pt x="533" y="439"/>
                    </a:lnTo>
                    <a:lnTo>
                      <a:pt x="532" y="439"/>
                    </a:lnTo>
                    <a:lnTo>
                      <a:pt x="532" y="440"/>
                    </a:lnTo>
                    <a:lnTo>
                      <a:pt x="532" y="442"/>
                    </a:lnTo>
                    <a:lnTo>
                      <a:pt x="532" y="443"/>
                    </a:lnTo>
                    <a:lnTo>
                      <a:pt x="532" y="445"/>
                    </a:lnTo>
                    <a:lnTo>
                      <a:pt x="530" y="445"/>
                    </a:lnTo>
                    <a:lnTo>
                      <a:pt x="532" y="445"/>
                    </a:lnTo>
                    <a:lnTo>
                      <a:pt x="530" y="445"/>
                    </a:lnTo>
                    <a:lnTo>
                      <a:pt x="532" y="445"/>
                    </a:lnTo>
                    <a:lnTo>
                      <a:pt x="532" y="447"/>
                    </a:lnTo>
                    <a:lnTo>
                      <a:pt x="530" y="447"/>
                    </a:lnTo>
                    <a:lnTo>
                      <a:pt x="532" y="447"/>
                    </a:lnTo>
                    <a:lnTo>
                      <a:pt x="530" y="447"/>
                    </a:lnTo>
                    <a:lnTo>
                      <a:pt x="530" y="448"/>
                    </a:lnTo>
                    <a:lnTo>
                      <a:pt x="530" y="450"/>
                    </a:lnTo>
                    <a:lnTo>
                      <a:pt x="530" y="451"/>
                    </a:lnTo>
                    <a:lnTo>
                      <a:pt x="530" y="453"/>
                    </a:lnTo>
                    <a:lnTo>
                      <a:pt x="529" y="453"/>
                    </a:lnTo>
                    <a:lnTo>
                      <a:pt x="529" y="455"/>
                    </a:lnTo>
                    <a:lnTo>
                      <a:pt x="529" y="456"/>
                    </a:lnTo>
                    <a:lnTo>
                      <a:pt x="527" y="456"/>
                    </a:lnTo>
                    <a:lnTo>
                      <a:pt x="525" y="456"/>
                    </a:lnTo>
                    <a:lnTo>
                      <a:pt x="525" y="455"/>
                    </a:lnTo>
                    <a:lnTo>
                      <a:pt x="527" y="455"/>
                    </a:lnTo>
                    <a:lnTo>
                      <a:pt x="527" y="453"/>
                    </a:lnTo>
                    <a:lnTo>
                      <a:pt x="527" y="451"/>
                    </a:lnTo>
                    <a:lnTo>
                      <a:pt x="527" y="450"/>
                    </a:lnTo>
                    <a:lnTo>
                      <a:pt x="527" y="448"/>
                    </a:lnTo>
                    <a:lnTo>
                      <a:pt x="527" y="450"/>
                    </a:lnTo>
                    <a:lnTo>
                      <a:pt x="525" y="450"/>
                    </a:lnTo>
                    <a:lnTo>
                      <a:pt x="527" y="450"/>
                    </a:lnTo>
                    <a:lnTo>
                      <a:pt x="527" y="451"/>
                    </a:lnTo>
                    <a:lnTo>
                      <a:pt x="527" y="453"/>
                    </a:lnTo>
                    <a:lnTo>
                      <a:pt x="525" y="453"/>
                    </a:lnTo>
                    <a:lnTo>
                      <a:pt x="525" y="455"/>
                    </a:lnTo>
                    <a:lnTo>
                      <a:pt x="525" y="453"/>
                    </a:lnTo>
                    <a:lnTo>
                      <a:pt x="524" y="453"/>
                    </a:lnTo>
                    <a:lnTo>
                      <a:pt x="522" y="453"/>
                    </a:lnTo>
                    <a:lnTo>
                      <a:pt x="521" y="453"/>
                    </a:lnTo>
                    <a:lnTo>
                      <a:pt x="522" y="453"/>
                    </a:lnTo>
                    <a:lnTo>
                      <a:pt x="524" y="453"/>
                    </a:lnTo>
                    <a:lnTo>
                      <a:pt x="524" y="455"/>
                    </a:lnTo>
                    <a:lnTo>
                      <a:pt x="525" y="455"/>
                    </a:lnTo>
                    <a:lnTo>
                      <a:pt x="525" y="456"/>
                    </a:lnTo>
                    <a:lnTo>
                      <a:pt x="524" y="456"/>
                    </a:lnTo>
                    <a:lnTo>
                      <a:pt x="524" y="458"/>
                    </a:lnTo>
                    <a:lnTo>
                      <a:pt x="522" y="458"/>
                    </a:lnTo>
                    <a:lnTo>
                      <a:pt x="522" y="459"/>
                    </a:lnTo>
                    <a:lnTo>
                      <a:pt x="521" y="459"/>
                    </a:lnTo>
                    <a:lnTo>
                      <a:pt x="521" y="461"/>
                    </a:lnTo>
                    <a:lnTo>
                      <a:pt x="519" y="461"/>
                    </a:lnTo>
                    <a:lnTo>
                      <a:pt x="519" y="462"/>
                    </a:lnTo>
                    <a:lnTo>
                      <a:pt x="517" y="462"/>
                    </a:lnTo>
                    <a:lnTo>
                      <a:pt x="517" y="464"/>
                    </a:lnTo>
                    <a:lnTo>
                      <a:pt x="516" y="464"/>
                    </a:lnTo>
                    <a:lnTo>
                      <a:pt x="514" y="464"/>
                    </a:lnTo>
                    <a:lnTo>
                      <a:pt x="514" y="466"/>
                    </a:lnTo>
                    <a:lnTo>
                      <a:pt x="513" y="466"/>
                    </a:lnTo>
                    <a:lnTo>
                      <a:pt x="514" y="466"/>
                    </a:lnTo>
                    <a:lnTo>
                      <a:pt x="514" y="467"/>
                    </a:lnTo>
                    <a:lnTo>
                      <a:pt x="513" y="467"/>
                    </a:lnTo>
                    <a:lnTo>
                      <a:pt x="513" y="469"/>
                    </a:lnTo>
                    <a:lnTo>
                      <a:pt x="511" y="469"/>
                    </a:lnTo>
                    <a:lnTo>
                      <a:pt x="513" y="469"/>
                    </a:lnTo>
                    <a:lnTo>
                      <a:pt x="514" y="469"/>
                    </a:lnTo>
                    <a:lnTo>
                      <a:pt x="514" y="467"/>
                    </a:lnTo>
                    <a:lnTo>
                      <a:pt x="514" y="469"/>
                    </a:lnTo>
                    <a:lnTo>
                      <a:pt x="514" y="470"/>
                    </a:lnTo>
                    <a:lnTo>
                      <a:pt x="513" y="470"/>
                    </a:lnTo>
                    <a:lnTo>
                      <a:pt x="513" y="472"/>
                    </a:lnTo>
                    <a:lnTo>
                      <a:pt x="513" y="474"/>
                    </a:lnTo>
                    <a:lnTo>
                      <a:pt x="511" y="474"/>
                    </a:lnTo>
                    <a:lnTo>
                      <a:pt x="511" y="475"/>
                    </a:lnTo>
                    <a:lnTo>
                      <a:pt x="511" y="477"/>
                    </a:lnTo>
                    <a:lnTo>
                      <a:pt x="510" y="477"/>
                    </a:lnTo>
                    <a:lnTo>
                      <a:pt x="508" y="477"/>
                    </a:lnTo>
                    <a:lnTo>
                      <a:pt x="506" y="477"/>
                    </a:lnTo>
                    <a:lnTo>
                      <a:pt x="506" y="478"/>
                    </a:lnTo>
                    <a:lnTo>
                      <a:pt x="505" y="478"/>
                    </a:lnTo>
                    <a:lnTo>
                      <a:pt x="505" y="480"/>
                    </a:lnTo>
                    <a:lnTo>
                      <a:pt x="505" y="481"/>
                    </a:lnTo>
                    <a:lnTo>
                      <a:pt x="505" y="483"/>
                    </a:lnTo>
                    <a:lnTo>
                      <a:pt x="505" y="481"/>
                    </a:lnTo>
                    <a:lnTo>
                      <a:pt x="505" y="483"/>
                    </a:lnTo>
                    <a:lnTo>
                      <a:pt x="505" y="485"/>
                    </a:lnTo>
                    <a:lnTo>
                      <a:pt x="505" y="483"/>
                    </a:lnTo>
                    <a:lnTo>
                      <a:pt x="506" y="483"/>
                    </a:lnTo>
                    <a:lnTo>
                      <a:pt x="506" y="481"/>
                    </a:lnTo>
                    <a:lnTo>
                      <a:pt x="506" y="480"/>
                    </a:lnTo>
                    <a:lnTo>
                      <a:pt x="508" y="480"/>
                    </a:lnTo>
                    <a:lnTo>
                      <a:pt x="508" y="481"/>
                    </a:lnTo>
                    <a:lnTo>
                      <a:pt x="508" y="483"/>
                    </a:lnTo>
                    <a:lnTo>
                      <a:pt x="508" y="485"/>
                    </a:lnTo>
                    <a:lnTo>
                      <a:pt x="508" y="486"/>
                    </a:lnTo>
                    <a:lnTo>
                      <a:pt x="506" y="486"/>
                    </a:lnTo>
                    <a:lnTo>
                      <a:pt x="506" y="488"/>
                    </a:lnTo>
                    <a:lnTo>
                      <a:pt x="506" y="489"/>
                    </a:lnTo>
                    <a:lnTo>
                      <a:pt x="506" y="491"/>
                    </a:lnTo>
                    <a:lnTo>
                      <a:pt x="505" y="491"/>
                    </a:lnTo>
                    <a:lnTo>
                      <a:pt x="506" y="491"/>
                    </a:lnTo>
                    <a:lnTo>
                      <a:pt x="505" y="491"/>
                    </a:lnTo>
                    <a:lnTo>
                      <a:pt x="505" y="493"/>
                    </a:lnTo>
                    <a:lnTo>
                      <a:pt x="505" y="494"/>
                    </a:lnTo>
                    <a:lnTo>
                      <a:pt x="505" y="496"/>
                    </a:lnTo>
                    <a:lnTo>
                      <a:pt x="505" y="497"/>
                    </a:lnTo>
                    <a:lnTo>
                      <a:pt x="505" y="499"/>
                    </a:lnTo>
                    <a:lnTo>
                      <a:pt x="505" y="500"/>
                    </a:lnTo>
                    <a:lnTo>
                      <a:pt x="506" y="500"/>
                    </a:lnTo>
                    <a:lnTo>
                      <a:pt x="506" y="502"/>
                    </a:lnTo>
                    <a:lnTo>
                      <a:pt x="506" y="504"/>
                    </a:lnTo>
                    <a:lnTo>
                      <a:pt x="505" y="504"/>
                    </a:lnTo>
                    <a:lnTo>
                      <a:pt x="505" y="505"/>
                    </a:lnTo>
                    <a:lnTo>
                      <a:pt x="505" y="507"/>
                    </a:lnTo>
                    <a:lnTo>
                      <a:pt x="503" y="507"/>
                    </a:lnTo>
                    <a:lnTo>
                      <a:pt x="503" y="505"/>
                    </a:lnTo>
                    <a:lnTo>
                      <a:pt x="502" y="505"/>
                    </a:lnTo>
                    <a:lnTo>
                      <a:pt x="502" y="507"/>
                    </a:lnTo>
                    <a:lnTo>
                      <a:pt x="500" y="507"/>
                    </a:lnTo>
                    <a:lnTo>
                      <a:pt x="500" y="508"/>
                    </a:lnTo>
                    <a:lnTo>
                      <a:pt x="500" y="507"/>
                    </a:lnTo>
                    <a:lnTo>
                      <a:pt x="502" y="507"/>
                    </a:lnTo>
                    <a:lnTo>
                      <a:pt x="502" y="508"/>
                    </a:lnTo>
                    <a:lnTo>
                      <a:pt x="500" y="508"/>
                    </a:lnTo>
                    <a:lnTo>
                      <a:pt x="500" y="510"/>
                    </a:lnTo>
                    <a:lnTo>
                      <a:pt x="498" y="510"/>
                    </a:lnTo>
                    <a:lnTo>
                      <a:pt x="498" y="512"/>
                    </a:lnTo>
                    <a:lnTo>
                      <a:pt x="497" y="512"/>
                    </a:lnTo>
                    <a:lnTo>
                      <a:pt x="497" y="513"/>
                    </a:lnTo>
                    <a:lnTo>
                      <a:pt x="495" y="513"/>
                    </a:lnTo>
                    <a:lnTo>
                      <a:pt x="495" y="515"/>
                    </a:lnTo>
                    <a:lnTo>
                      <a:pt x="495" y="516"/>
                    </a:lnTo>
                    <a:lnTo>
                      <a:pt x="494" y="516"/>
                    </a:lnTo>
                    <a:lnTo>
                      <a:pt x="494" y="518"/>
                    </a:lnTo>
                    <a:lnTo>
                      <a:pt x="494" y="519"/>
                    </a:lnTo>
                    <a:lnTo>
                      <a:pt x="492" y="519"/>
                    </a:lnTo>
                    <a:lnTo>
                      <a:pt x="492" y="521"/>
                    </a:lnTo>
                    <a:lnTo>
                      <a:pt x="492" y="523"/>
                    </a:lnTo>
                    <a:lnTo>
                      <a:pt x="491" y="523"/>
                    </a:lnTo>
                    <a:lnTo>
                      <a:pt x="491" y="524"/>
                    </a:lnTo>
                    <a:lnTo>
                      <a:pt x="491" y="526"/>
                    </a:lnTo>
                    <a:lnTo>
                      <a:pt x="491" y="527"/>
                    </a:lnTo>
                    <a:lnTo>
                      <a:pt x="491" y="529"/>
                    </a:lnTo>
                    <a:lnTo>
                      <a:pt x="489" y="529"/>
                    </a:lnTo>
                    <a:lnTo>
                      <a:pt x="489" y="531"/>
                    </a:lnTo>
                    <a:lnTo>
                      <a:pt x="489" y="532"/>
                    </a:lnTo>
                    <a:lnTo>
                      <a:pt x="489" y="534"/>
                    </a:lnTo>
                    <a:lnTo>
                      <a:pt x="489" y="535"/>
                    </a:lnTo>
                    <a:lnTo>
                      <a:pt x="489" y="537"/>
                    </a:lnTo>
                    <a:lnTo>
                      <a:pt x="489" y="538"/>
                    </a:lnTo>
                    <a:lnTo>
                      <a:pt x="487" y="538"/>
                    </a:lnTo>
                    <a:lnTo>
                      <a:pt x="487" y="540"/>
                    </a:lnTo>
                    <a:lnTo>
                      <a:pt x="489" y="540"/>
                    </a:lnTo>
                    <a:lnTo>
                      <a:pt x="487" y="540"/>
                    </a:lnTo>
                    <a:lnTo>
                      <a:pt x="487" y="542"/>
                    </a:lnTo>
                    <a:lnTo>
                      <a:pt x="487" y="543"/>
                    </a:lnTo>
                    <a:lnTo>
                      <a:pt x="487" y="545"/>
                    </a:lnTo>
                    <a:lnTo>
                      <a:pt x="487" y="546"/>
                    </a:lnTo>
                    <a:lnTo>
                      <a:pt x="487" y="548"/>
                    </a:lnTo>
                    <a:lnTo>
                      <a:pt x="486" y="548"/>
                    </a:lnTo>
                    <a:lnTo>
                      <a:pt x="486" y="550"/>
                    </a:lnTo>
                    <a:lnTo>
                      <a:pt x="486" y="551"/>
                    </a:lnTo>
                    <a:lnTo>
                      <a:pt x="486" y="553"/>
                    </a:lnTo>
                    <a:lnTo>
                      <a:pt x="484" y="553"/>
                    </a:lnTo>
                    <a:lnTo>
                      <a:pt x="484" y="554"/>
                    </a:lnTo>
                    <a:lnTo>
                      <a:pt x="484" y="556"/>
                    </a:lnTo>
                    <a:lnTo>
                      <a:pt x="483" y="556"/>
                    </a:lnTo>
                    <a:lnTo>
                      <a:pt x="483" y="557"/>
                    </a:lnTo>
                    <a:lnTo>
                      <a:pt x="483" y="559"/>
                    </a:lnTo>
                    <a:lnTo>
                      <a:pt x="483" y="561"/>
                    </a:lnTo>
                    <a:lnTo>
                      <a:pt x="481" y="561"/>
                    </a:lnTo>
                    <a:lnTo>
                      <a:pt x="481" y="562"/>
                    </a:lnTo>
                    <a:lnTo>
                      <a:pt x="481" y="564"/>
                    </a:lnTo>
                    <a:lnTo>
                      <a:pt x="481" y="565"/>
                    </a:lnTo>
                    <a:lnTo>
                      <a:pt x="481" y="567"/>
                    </a:lnTo>
                    <a:lnTo>
                      <a:pt x="481" y="569"/>
                    </a:lnTo>
                    <a:lnTo>
                      <a:pt x="481" y="570"/>
                    </a:lnTo>
                    <a:lnTo>
                      <a:pt x="481" y="572"/>
                    </a:lnTo>
                    <a:lnTo>
                      <a:pt x="481" y="573"/>
                    </a:lnTo>
                    <a:lnTo>
                      <a:pt x="481" y="575"/>
                    </a:lnTo>
                    <a:lnTo>
                      <a:pt x="481" y="576"/>
                    </a:lnTo>
                    <a:lnTo>
                      <a:pt x="481" y="578"/>
                    </a:lnTo>
                    <a:lnTo>
                      <a:pt x="483" y="578"/>
                    </a:lnTo>
                    <a:lnTo>
                      <a:pt x="483" y="580"/>
                    </a:lnTo>
                    <a:lnTo>
                      <a:pt x="483" y="581"/>
                    </a:lnTo>
                    <a:lnTo>
                      <a:pt x="483" y="583"/>
                    </a:lnTo>
                    <a:lnTo>
                      <a:pt x="484" y="583"/>
                    </a:lnTo>
                    <a:lnTo>
                      <a:pt x="484" y="584"/>
                    </a:lnTo>
                    <a:lnTo>
                      <a:pt x="484" y="586"/>
                    </a:lnTo>
                    <a:lnTo>
                      <a:pt x="486" y="586"/>
                    </a:lnTo>
                    <a:lnTo>
                      <a:pt x="486" y="588"/>
                    </a:lnTo>
                    <a:lnTo>
                      <a:pt x="487" y="588"/>
                    </a:lnTo>
                    <a:lnTo>
                      <a:pt x="487" y="589"/>
                    </a:lnTo>
                    <a:lnTo>
                      <a:pt x="489" y="589"/>
                    </a:lnTo>
                    <a:lnTo>
                      <a:pt x="489" y="591"/>
                    </a:lnTo>
                    <a:lnTo>
                      <a:pt x="489" y="592"/>
                    </a:lnTo>
                    <a:lnTo>
                      <a:pt x="491" y="592"/>
                    </a:lnTo>
                    <a:lnTo>
                      <a:pt x="489" y="592"/>
                    </a:lnTo>
                    <a:lnTo>
                      <a:pt x="489" y="594"/>
                    </a:lnTo>
                    <a:lnTo>
                      <a:pt x="489" y="595"/>
                    </a:lnTo>
                    <a:lnTo>
                      <a:pt x="489" y="597"/>
                    </a:lnTo>
                    <a:lnTo>
                      <a:pt x="487" y="597"/>
                    </a:lnTo>
                    <a:lnTo>
                      <a:pt x="487" y="599"/>
                    </a:lnTo>
                    <a:lnTo>
                      <a:pt x="487" y="600"/>
                    </a:lnTo>
                    <a:lnTo>
                      <a:pt x="486" y="600"/>
                    </a:lnTo>
                    <a:lnTo>
                      <a:pt x="486" y="602"/>
                    </a:lnTo>
                    <a:lnTo>
                      <a:pt x="486" y="603"/>
                    </a:lnTo>
                    <a:lnTo>
                      <a:pt x="486" y="605"/>
                    </a:lnTo>
                    <a:lnTo>
                      <a:pt x="486" y="607"/>
                    </a:lnTo>
                    <a:lnTo>
                      <a:pt x="486" y="608"/>
                    </a:lnTo>
                    <a:lnTo>
                      <a:pt x="487" y="608"/>
                    </a:lnTo>
                    <a:lnTo>
                      <a:pt x="487" y="610"/>
                    </a:lnTo>
                    <a:lnTo>
                      <a:pt x="489" y="610"/>
                    </a:lnTo>
                    <a:lnTo>
                      <a:pt x="489" y="611"/>
                    </a:lnTo>
                    <a:lnTo>
                      <a:pt x="489" y="613"/>
                    </a:lnTo>
                    <a:lnTo>
                      <a:pt x="491" y="613"/>
                    </a:lnTo>
                    <a:lnTo>
                      <a:pt x="491" y="615"/>
                    </a:lnTo>
                    <a:lnTo>
                      <a:pt x="491" y="616"/>
                    </a:lnTo>
                    <a:lnTo>
                      <a:pt x="492" y="616"/>
                    </a:lnTo>
                    <a:lnTo>
                      <a:pt x="492" y="618"/>
                    </a:lnTo>
                    <a:lnTo>
                      <a:pt x="492" y="619"/>
                    </a:lnTo>
                    <a:lnTo>
                      <a:pt x="494" y="619"/>
                    </a:lnTo>
                    <a:lnTo>
                      <a:pt x="495" y="619"/>
                    </a:lnTo>
                    <a:lnTo>
                      <a:pt x="495" y="618"/>
                    </a:lnTo>
                    <a:lnTo>
                      <a:pt x="495" y="616"/>
                    </a:lnTo>
                    <a:lnTo>
                      <a:pt x="495" y="615"/>
                    </a:lnTo>
                    <a:lnTo>
                      <a:pt x="495" y="613"/>
                    </a:lnTo>
                    <a:lnTo>
                      <a:pt x="495" y="611"/>
                    </a:lnTo>
                    <a:lnTo>
                      <a:pt x="497" y="611"/>
                    </a:lnTo>
                    <a:lnTo>
                      <a:pt x="497" y="610"/>
                    </a:lnTo>
                    <a:lnTo>
                      <a:pt x="498" y="610"/>
                    </a:lnTo>
                    <a:lnTo>
                      <a:pt x="498" y="611"/>
                    </a:lnTo>
                    <a:lnTo>
                      <a:pt x="500" y="611"/>
                    </a:lnTo>
                    <a:lnTo>
                      <a:pt x="500" y="613"/>
                    </a:lnTo>
                    <a:lnTo>
                      <a:pt x="502" y="613"/>
                    </a:lnTo>
                    <a:lnTo>
                      <a:pt x="503" y="613"/>
                    </a:lnTo>
                    <a:lnTo>
                      <a:pt x="503" y="615"/>
                    </a:lnTo>
                    <a:lnTo>
                      <a:pt x="503" y="616"/>
                    </a:lnTo>
                    <a:lnTo>
                      <a:pt x="505" y="616"/>
                    </a:lnTo>
                    <a:lnTo>
                      <a:pt x="505" y="618"/>
                    </a:lnTo>
                    <a:lnTo>
                      <a:pt x="506" y="618"/>
                    </a:lnTo>
                    <a:lnTo>
                      <a:pt x="506" y="619"/>
                    </a:lnTo>
                    <a:lnTo>
                      <a:pt x="506" y="621"/>
                    </a:lnTo>
                    <a:lnTo>
                      <a:pt x="506" y="622"/>
                    </a:lnTo>
                    <a:lnTo>
                      <a:pt x="506" y="624"/>
                    </a:lnTo>
                    <a:lnTo>
                      <a:pt x="508" y="624"/>
                    </a:lnTo>
                    <a:lnTo>
                      <a:pt x="510" y="624"/>
                    </a:lnTo>
                    <a:lnTo>
                      <a:pt x="510" y="622"/>
                    </a:lnTo>
                    <a:lnTo>
                      <a:pt x="511" y="622"/>
                    </a:lnTo>
                    <a:lnTo>
                      <a:pt x="511" y="624"/>
                    </a:lnTo>
                    <a:lnTo>
                      <a:pt x="513" y="624"/>
                    </a:lnTo>
                    <a:lnTo>
                      <a:pt x="514" y="624"/>
                    </a:lnTo>
                    <a:lnTo>
                      <a:pt x="516" y="624"/>
                    </a:lnTo>
                    <a:lnTo>
                      <a:pt x="516" y="626"/>
                    </a:lnTo>
                    <a:lnTo>
                      <a:pt x="517" y="626"/>
                    </a:lnTo>
                    <a:lnTo>
                      <a:pt x="519" y="626"/>
                    </a:lnTo>
                    <a:lnTo>
                      <a:pt x="519" y="627"/>
                    </a:lnTo>
                    <a:lnTo>
                      <a:pt x="521" y="627"/>
                    </a:lnTo>
                    <a:lnTo>
                      <a:pt x="521" y="629"/>
                    </a:lnTo>
                    <a:lnTo>
                      <a:pt x="522" y="629"/>
                    </a:lnTo>
                    <a:lnTo>
                      <a:pt x="522" y="630"/>
                    </a:lnTo>
                    <a:lnTo>
                      <a:pt x="524" y="630"/>
                    </a:lnTo>
                    <a:lnTo>
                      <a:pt x="522" y="630"/>
                    </a:lnTo>
                    <a:lnTo>
                      <a:pt x="522" y="632"/>
                    </a:lnTo>
                    <a:lnTo>
                      <a:pt x="524" y="632"/>
                    </a:lnTo>
                    <a:lnTo>
                      <a:pt x="524" y="634"/>
                    </a:lnTo>
                    <a:lnTo>
                      <a:pt x="525" y="634"/>
                    </a:lnTo>
                    <a:lnTo>
                      <a:pt x="527" y="634"/>
                    </a:lnTo>
                    <a:lnTo>
                      <a:pt x="527" y="635"/>
                    </a:lnTo>
                    <a:lnTo>
                      <a:pt x="529" y="635"/>
                    </a:lnTo>
                    <a:lnTo>
                      <a:pt x="530" y="635"/>
                    </a:lnTo>
                    <a:lnTo>
                      <a:pt x="530" y="637"/>
                    </a:lnTo>
                    <a:lnTo>
                      <a:pt x="532" y="637"/>
                    </a:lnTo>
                    <a:lnTo>
                      <a:pt x="533" y="637"/>
                    </a:lnTo>
                    <a:lnTo>
                      <a:pt x="532" y="637"/>
                    </a:lnTo>
                    <a:lnTo>
                      <a:pt x="533" y="637"/>
                    </a:lnTo>
                    <a:lnTo>
                      <a:pt x="533" y="638"/>
                    </a:lnTo>
                    <a:lnTo>
                      <a:pt x="532" y="638"/>
                    </a:lnTo>
                    <a:lnTo>
                      <a:pt x="533" y="638"/>
                    </a:lnTo>
                    <a:lnTo>
                      <a:pt x="535" y="638"/>
                    </a:lnTo>
                    <a:lnTo>
                      <a:pt x="535" y="637"/>
                    </a:lnTo>
                    <a:lnTo>
                      <a:pt x="537" y="637"/>
                    </a:lnTo>
                    <a:lnTo>
                      <a:pt x="537" y="638"/>
                    </a:lnTo>
                    <a:lnTo>
                      <a:pt x="537" y="640"/>
                    </a:lnTo>
                    <a:lnTo>
                      <a:pt x="537" y="641"/>
                    </a:lnTo>
                    <a:lnTo>
                      <a:pt x="537" y="643"/>
                    </a:lnTo>
                    <a:lnTo>
                      <a:pt x="537" y="645"/>
                    </a:lnTo>
                    <a:lnTo>
                      <a:pt x="535" y="645"/>
                    </a:lnTo>
                    <a:lnTo>
                      <a:pt x="535" y="646"/>
                    </a:lnTo>
                    <a:lnTo>
                      <a:pt x="535" y="648"/>
                    </a:lnTo>
                    <a:lnTo>
                      <a:pt x="537" y="648"/>
                    </a:lnTo>
                    <a:lnTo>
                      <a:pt x="537" y="649"/>
                    </a:lnTo>
                    <a:lnTo>
                      <a:pt x="535" y="649"/>
                    </a:lnTo>
                    <a:lnTo>
                      <a:pt x="535" y="651"/>
                    </a:lnTo>
                    <a:lnTo>
                      <a:pt x="533" y="651"/>
                    </a:lnTo>
                    <a:lnTo>
                      <a:pt x="533" y="653"/>
                    </a:lnTo>
                    <a:lnTo>
                      <a:pt x="533" y="654"/>
                    </a:lnTo>
                    <a:lnTo>
                      <a:pt x="533" y="656"/>
                    </a:lnTo>
                    <a:lnTo>
                      <a:pt x="533" y="657"/>
                    </a:lnTo>
                    <a:lnTo>
                      <a:pt x="532" y="657"/>
                    </a:lnTo>
                    <a:lnTo>
                      <a:pt x="532" y="659"/>
                    </a:lnTo>
                    <a:lnTo>
                      <a:pt x="532" y="660"/>
                    </a:lnTo>
                    <a:lnTo>
                      <a:pt x="530" y="660"/>
                    </a:lnTo>
                    <a:lnTo>
                      <a:pt x="530" y="662"/>
                    </a:lnTo>
                    <a:lnTo>
                      <a:pt x="530" y="664"/>
                    </a:lnTo>
                    <a:lnTo>
                      <a:pt x="529" y="664"/>
                    </a:lnTo>
                    <a:lnTo>
                      <a:pt x="529" y="665"/>
                    </a:lnTo>
                    <a:lnTo>
                      <a:pt x="529" y="667"/>
                    </a:lnTo>
                    <a:lnTo>
                      <a:pt x="527" y="667"/>
                    </a:lnTo>
                    <a:lnTo>
                      <a:pt x="525" y="667"/>
                    </a:lnTo>
                    <a:lnTo>
                      <a:pt x="525" y="668"/>
                    </a:lnTo>
                    <a:lnTo>
                      <a:pt x="527" y="668"/>
                    </a:lnTo>
                    <a:lnTo>
                      <a:pt x="525" y="668"/>
                    </a:lnTo>
                    <a:lnTo>
                      <a:pt x="525" y="670"/>
                    </a:lnTo>
                    <a:lnTo>
                      <a:pt x="527" y="670"/>
                    </a:lnTo>
                    <a:lnTo>
                      <a:pt x="527" y="672"/>
                    </a:lnTo>
                    <a:lnTo>
                      <a:pt x="527" y="673"/>
                    </a:lnTo>
                    <a:lnTo>
                      <a:pt x="527" y="675"/>
                    </a:lnTo>
                    <a:lnTo>
                      <a:pt x="527" y="676"/>
                    </a:lnTo>
                    <a:lnTo>
                      <a:pt x="529" y="676"/>
                    </a:lnTo>
                    <a:lnTo>
                      <a:pt x="529" y="678"/>
                    </a:lnTo>
                    <a:lnTo>
                      <a:pt x="530" y="678"/>
                    </a:lnTo>
                    <a:lnTo>
                      <a:pt x="530" y="679"/>
                    </a:lnTo>
                    <a:lnTo>
                      <a:pt x="530" y="681"/>
                    </a:lnTo>
                    <a:lnTo>
                      <a:pt x="532" y="681"/>
                    </a:lnTo>
                    <a:lnTo>
                      <a:pt x="532" y="683"/>
                    </a:lnTo>
                    <a:lnTo>
                      <a:pt x="532" y="684"/>
                    </a:lnTo>
                    <a:lnTo>
                      <a:pt x="532" y="686"/>
                    </a:lnTo>
                    <a:lnTo>
                      <a:pt x="532" y="687"/>
                    </a:lnTo>
                    <a:lnTo>
                      <a:pt x="530" y="687"/>
                    </a:lnTo>
                    <a:lnTo>
                      <a:pt x="532" y="687"/>
                    </a:lnTo>
                    <a:lnTo>
                      <a:pt x="532" y="689"/>
                    </a:lnTo>
                    <a:lnTo>
                      <a:pt x="532" y="691"/>
                    </a:lnTo>
                    <a:lnTo>
                      <a:pt x="533" y="691"/>
                    </a:lnTo>
                    <a:lnTo>
                      <a:pt x="532" y="691"/>
                    </a:lnTo>
                    <a:lnTo>
                      <a:pt x="532" y="692"/>
                    </a:lnTo>
                    <a:lnTo>
                      <a:pt x="533" y="692"/>
                    </a:lnTo>
                    <a:lnTo>
                      <a:pt x="533" y="694"/>
                    </a:lnTo>
                    <a:lnTo>
                      <a:pt x="535" y="694"/>
                    </a:lnTo>
                    <a:lnTo>
                      <a:pt x="537" y="694"/>
                    </a:lnTo>
                    <a:lnTo>
                      <a:pt x="537" y="695"/>
                    </a:lnTo>
                    <a:lnTo>
                      <a:pt x="537" y="697"/>
                    </a:lnTo>
                    <a:lnTo>
                      <a:pt x="538" y="697"/>
                    </a:lnTo>
                    <a:lnTo>
                      <a:pt x="538" y="698"/>
                    </a:lnTo>
                    <a:lnTo>
                      <a:pt x="537" y="698"/>
                    </a:lnTo>
                    <a:lnTo>
                      <a:pt x="538" y="698"/>
                    </a:lnTo>
                    <a:lnTo>
                      <a:pt x="537" y="698"/>
                    </a:lnTo>
                    <a:lnTo>
                      <a:pt x="537" y="700"/>
                    </a:lnTo>
                    <a:lnTo>
                      <a:pt x="537" y="702"/>
                    </a:lnTo>
                    <a:lnTo>
                      <a:pt x="537" y="703"/>
                    </a:lnTo>
                    <a:lnTo>
                      <a:pt x="535" y="703"/>
                    </a:lnTo>
                    <a:lnTo>
                      <a:pt x="535" y="705"/>
                    </a:lnTo>
                    <a:lnTo>
                      <a:pt x="535" y="706"/>
                    </a:lnTo>
                    <a:lnTo>
                      <a:pt x="535" y="708"/>
                    </a:lnTo>
                    <a:lnTo>
                      <a:pt x="533" y="708"/>
                    </a:lnTo>
                    <a:lnTo>
                      <a:pt x="533" y="710"/>
                    </a:lnTo>
                    <a:lnTo>
                      <a:pt x="532" y="710"/>
                    </a:lnTo>
                    <a:lnTo>
                      <a:pt x="532" y="711"/>
                    </a:lnTo>
                    <a:lnTo>
                      <a:pt x="532" y="713"/>
                    </a:lnTo>
                    <a:lnTo>
                      <a:pt x="532" y="714"/>
                    </a:lnTo>
                    <a:lnTo>
                      <a:pt x="530" y="714"/>
                    </a:lnTo>
                    <a:lnTo>
                      <a:pt x="530" y="716"/>
                    </a:lnTo>
                    <a:lnTo>
                      <a:pt x="530" y="717"/>
                    </a:lnTo>
                    <a:lnTo>
                      <a:pt x="530" y="719"/>
                    </a:lnTo>
                    <a:lnTo>
                      <a:pt x="529" y="719"/>
                    </a:lnTo>
                    <a:lnTo>
                      <a:pt x="529" y="721"/>
                    </a:lnTo>
                    <a:lnTo>
                      <a:pt x="529" y="722"/>
                    </a:lnTo>
                    <a:lnTo>
                      <a:pt x="529" y="724"/>
                    </a:lnTo>
                    <a:lnTo>
                      <a:pt x="529" y="725"/>
                    </a:lnTo>
                    <a:lnTo>
                      <a:pt x="527" y="725"/>
                    </a:lnTo>
                    <a:lnTo>
                      <a:pt x="527" y="727"/>
                    </a:lnTo>
                    <a:lnTo>
                      <a:pt x="525" y="727"/>
                    </a:lnTo>
                    <a:lnTo>
                      <a:pt x="525" y="729"/>
                    </a:lnTo>
                    <a:lnTo>
                      <a:pt x="525" y="730"/>
                    </a:lnTo>
                    <a:lnTo>
                      <a:pt x="525" y="732"/>
                    </a:lnTo>
                    <a:lnTo>
                      <a:pt x="524" y="732"/>
                    </a:lnTo>
                    <a:lnTo>
                      <a:pt x="524" y="733"/>
                    </a:lnTo>
                    <a:lnTo>
                      <a:pt x="522" y="733"/>
                    </a:lnTo>
                    <a:lnTo>
                      <a:pt x="521" y="733"/>
                    </a:lnTo>
                    <a:lnTo>
                      <a:pt x="521" y="735"/>
                    </a:lnTo>
                    <a:lnTo>
                      <a:pt x="521" y="736"/>
                    </a:lnTo>
                    <a:lnTo>
                      <a:pt x="519" y="736"/>
                    </a:lnTo>
                    <a:lnTo>
                      <a:pt x="519" y="738"/>
                    </a:lnTo>
                    <a:lnTo>
                      <a:pt x="519" y="740"/>
                    </a:lnTo>
                    <a:lnTo>
                      <a:pt x="517" y="740"/>
                    </a:lnTo>
                    <a:lnTo>
                      <a:pt x="517" y="741"/>
                    </a:lnTo>
                    <a:lnTo>
                      <a:pt x="517" y="743"/>
                    </a:lnTo>
                    <a:lnTo>
                      <a:pt x="517" y="744"/>
                    </a:lnTo>
                    <a:lnTo>
                      <a:pt x="516" y="744"/>
                    </a:lnTo>
                    <a:lnTo>
                      <a:pt x="516" y="746"/>
                    </a:lnTo>
                    <a:lnTo>
                      <a:pt x="514" y="746"/>
                    </a:lnTo>
                    <a:lnTo>
                      <a:pt x="514" y="748"/>
                    </a:lnTo>
                    <a:lnTo>
                      <a:pt x="513" y="748"/>
                    </a:lnTo>
                    <a:lnTo>
                      <a:pt x="514" y="748"/>
                    </a:lnTo>
                    <a:lnTo>
                      <a:pt x="514" y="749"/>
                    </a:lnTo>
                    <a:lnTo>
                      <a:pt x="513" y="749"/>
                    </a:lnTo>
                    <a:lnTo>
                      <a:pt x="513" y="751"/>
                    </a:lnTo>
                    <a:lnTo>
                      <a:pt x="513" y="752"/>
                    </a:lnTo>
                    <a:lnTo>
                      <a:pt x="511" y="752"/>
                    </a:lnTo>
                    <a:lnTo>
                      <a:pt x="511" y="754"/>
                    </a:lnTo>
                    <a:lnTo>
                      <a:pt x="511" y="755"/>
                    </a:lnTo>
                    <a:lnTo>
                      <a:pt x="511" y="757"/>
                    </a:lnTo>
                    <a:lnTo>
                      <a:pt x="511" y="759"/>
                    </a:lnTo>
                    <a:lnTo>
                      <a:pt x="511" y="760"/>
                    </a:lnTo>
                    <a:lnTo>
                      <a:pt x="510" y="760"/>
                    </a:lnTo>
                    <a:lnTo>
                      <a:pt x="510" y="762"/>
                    </a:lnTo>
                    <a:lnTo>
                      <a:pt x="510" y="763"/>
                    </a:lnTo>
                    <a:lnTo>
                      <a:pt x="510" y="765"/>
                    </a:lnTo>
                    <a:lnTo>
                      <a:pt x="508" y="765"/>
                    </a:lnTo>
                    <a:lnTo>
                      <a:pt x="508" y="767"/>
                    </a:lnTo>
                    <a:lnTo>
                      <a:pt x="508" y="768"/>
                    </a:lnTo>
                    <a:lnTo>
                      <a:pt x="506" y="768"/>
                    </a:lnTo>
                    <a:lnTo>
                      <a:pt x="506" y="770"/>
                    </a:lnTo>
                    <a:lnTo>
                      <a:pt x="506" y="771"/>
                    </a:lnTo>
                    <a:lnTo>
                      <a:pt x="505" y="771"/>
                    </a:lnTo>
                    <a:lnTo>
                      <a:pt x="505" y="770"/>
                    </a:lnTo>
                    <a:lnTo>
                      <a:pt x="505" y="771"/>
                    </a:lnTo>
                    <a:lnTo>
                      <a:pt x="503" y="771"/>
                    </a:lnTo>
                    <a:lnTo>
                      <a:pt x="503" y="773"/>
                    </a:lnTo>
                    <a:lnTo>
                      <a:pt x="503" y="774"/>
                    </a:lnTo>
                    <a:lnTo>
                      <a:pt x="503" y="776"/>
                    </a:lnTo>
                    <a:lnTo>
                      <a:pt x="503" y="778"/>
                    </a:lnTo>
                    <a:lnTo>
                      <a:pt x="503" y="779"/>
                    </a:lnTo>
                    <a:lnTo>
                      <a:pt x="502" y="779"/>
                    </a:lnTo>
                    <a:lnTo>
                      <a:pt x="500" y="779"/>
                    </a:lnTo>
                    <a:lnTo>
                      <a:pt x="500" y="781"/>
                    </a:lnTo>
                    <a:lnTo>
                      <a:pt x="500" y="779"/>
                    </a:lnTo>
                    <a:lnTo>
                      <a:pt x="500" y="781"/>
                    </a:lnTo>
                    <a:lnTo>
                      <a:pt x="502" y="781"/>
                    </a:lnTo>
                    <a:lnTo>
                      <a:pt x="502" y="782"/>
                    </a:lnTo>
                    <a:lnTo>
                      <a:pt x="502" y="784"/>
                    </a:lnTo>
                    <a:lnTo>
                      <a:pt x="503" y="784"/>
                    </a:lnTo>
                    <a:lnTo>
                      <a:pt x="503" y="786"/>
                    </a:lnTo>
                    <a:lnTo>
                      <a:pt x="505" y="786"/>
                    </a:lnTo>
                    <a:lnTo>
                      <a:pt x="505" y="787"/>
                    </a:lnTo>
                    <a:lnTo>
                      <a:pt x="505" y="789"/>
                    </a:lnTo>
                    <a:lnTo>
                      <a:pt x="503" y="789"/>
                    </a:lnTo>
                    <a:lnTo>
                      <a:pt x="503" y="790"/>
                    </a:lnTo>
                    <a:lnTo>
                      <a:pt x="502" y="790"/>
                    </a:lnTo>
                    <a:lnTo>
                      <a:pt x="502" y="792"/>
                    </a:lnTo>
                    <a:lnTo>
                      <a:pt x="503" y="792"/>
                    </a:lnTo>
                    <a:lnTo>
                      <a:pt x="503" y="793"/>
                    </a:lnTo>
                    <a:lnTo>
                      <a:pt x="503" y="795"/>
                    </a:lnTo>
                    <a:lnTo>
                      <a:pt x="502" y="795"/>
                    </a:lnTo>
                    <a:lnTo>
                      <a:pt x="500" y="795"/>
                    </a:lnTo>
                    <a:lnTo>
                      <a:pt x="500" y="793"/>
                    </a:lnTo>
                    <a:lnTo>
                      <a:pt x="500" y="795"/>
                    </a:lnTo>
                    <a:lnTo>
                      <a:pt x="498" y="795"/>
                    </a:lnTo>
                    <a:lnTo>
                      <a:pt x="498" y="793"/>
                    </a:lnTo>
                    <a:lnTo>
                      <a:pt x="497" y="793"/>
                    </a:lnTo>
                    <a:lnTo>
                      <a:pt x="497" y="792"/>
                    </a:lnTo>
                    <a:lnTo>
                      <a:pt x="495" y="792"/>
                    </a:lnTo>
                    <a:lnTo>
                      <a:pt x="495" y="793"/>
                    </a:lnTo>
                    <a:lnTo>
                      <a:pt x="497" y="793"/>
                    </a:lnTo>
                    <a:lnTo>
                      <a:pt x="497" y="795"/>
                    </a:lnTo>
                    <a:lnTo>
                      <a:pt x="495" y="795"/>
                    </a:lnTo>
                    <a:lnTo>
                      <a:pt x="494" y="795"/>
                    </a:lnTo>
                    <a:lnTo>
                      <a:pt x="492" y="795"/>
                    </a:lnTo>
                    <a:lnTo>
                      <a:pt x="492" y="797"/>
                    </a:lnTo>
                    <a:lnTo>
                      <a:pt x="491" y="797"/>
                    </a:lnTo>
                    <a:lnTo>
                      <a:pt x="489" y="797"/>
                    </a:lnTo>
                    <a:lnTo>
                      <a:pt x="489" y="795"/>
                    </a:lnTo>
                    <a:lnTo>
                      <a:pt x="487" y="795"/>
                    </a:lnTo>
                    <a:lnTo>
                      <a:pt x="486" y="795"/>
                    </a:lnTo>
                    <a:lnTo>
                      <a:pt x="486" y="797"/>
                    </a:lnTo>
                    <a:lnTo>
                      <a:pt x="487" y="797"/>
                    </a:lnTo>
                    <a:lnTo>
                      <a:pt x="489" y="797"/>
                    </a:lnTo>
                    <a:lnTo>
                      <a:pt x="489" y="798"/>
                    </a:lnTo>
                    <a:lnTo>
                      <a:pt x="487" y="798"/>
                    </a:lnTo>
                    <a:lnTo>
                      <a:pt x="487" y="797"/>
                    </a:lnTo>
                    <a:lnTo>
                      <a:pt x="486" y="797"/>
                    </a:lnTo>
                    <a:lnTo>
                      <a:pt x="486" y="798"/>
                    </a:lnTo>
                    <a:lnTo>
                      <a:pt x="484" y="798"/>
                    </a:lnTo>
                    <a:lnTo>
                      <a:pt x="484" y="800"/>
                    </a:lnTo>
                    <a:lnTo>
                      <a:pt x="483" y="800"/>
                    </a:lnTo>
                    <a:lnTo>
                      <a:pt x="483" y="798"/>
                    </a:lnTo>
                    <a:lnTo>
                      <a:pt x="481" y="798"/>
                    </a:lnTo>
                    <a:lnTo>
                      <a:pt x="481" y="800"/>
                    </a:lnTo>
                    <a:lnTo>
                      <a:pt x="479" y="800"/>
                    </a:lnTo>
                    <a:lnTo>
                      <a:pt x="478" y="800"/>
                    </a:lnTo>
                    <a:lnTo>
                      <a:pt x="476" y="798"/>
                    </a:lnTo>
                    <a:lnTo>
                      <a:pt x="476" y="795"/>
                    </a:lnTo>
                    <a:lnTo>
                      <a:pt x="475" y="792"/>
                    </a:lnTo>
                    <a:lnTo>
                      <a:pt x="472" y="790"/>
                    </a:lnTo>
                    <a:lnTo>
                      <a:pt x="470" y="789"/>
                    </a:lnTo>
                    <a:lnTo>
                      <a:pt x="467" y="789"/>
                    </a:lnTo>
                    <a:lnTo>
                      <a:pt x="460" y="789"/>
                    </a:lnTo>
                    <a:lnTo>
                      <a:pt x="435" y="793"/>
                    </a:lnTo>
                    <a:lnTo>
                      <a:pt x="434" y="793"/>
                    </a:lnTo>
                    <a:lnTo>
                      <a:pt x="419" y="797"/>
                    </a:lnTo>
                    <a:lnTo>
                      <a:pt x="413" y="798"/>
                    </a:lnTo>
                    <a:lnTo>
                      <a:pt x="405" y="800"/>
                    </a:lnTo>
                    <a:lnTo>
                      <a:pt x="392" y="803"/>
                    </a:lnTo>
                    <a:lnTo>
                      <a:pt x="386" y="805"/>
                    </a:lnTo>
                    <a:lnTo>
                      <a:pt x="378" y="808"/>
                    </a:lnTo>
                    <a:lnTo>
                      <a:pt x="364" y="813"/>
                    </a:lnTo>
                    <a:lnTo>
                      <a:pt x="353" y="816"/>
                    </a:lnTo>
                    <a:lnTo>
                      <a:pt x="346" y="817"/>
                    </a:lnTo>
                    <a:lnTo>
                      <a:pt x="343" y="819"/>
                    </a:lnTo>
                    <a:lnTo>
                      <a:pt x="340" y="819"/>
                    </a:lnTo>
                    <a:lnTo>
                      <a:pt x="327" y="822"/>
                    </a:lnTo>
                    <a:lnTo>
                      <a:pt x="319" y="820"/>
                    </a:lnTo>
                    <a:lnTo>
                      <a:pt x="319" y="819"/>
                    </a:lnTo>
                    <a:lnTo>
                      <a:pt x="318" y="814"/>
                    </a:lnTo>
                    <a:lnTo>
                      <a:pt x="316" y="814"/>
                    </a:lnTo>
                    <a:lnTo>
                      <a:pt x="315" y="814"/>
                    </a:lnTo>
                    <a:lnTo>
                      <a:pt x="313" y="814"/>
                    </a:lnTo>
                    <a:lnTo>
                      <a:pt x="312" y="814"/>
                    </a:lnTo>
                    <a:lnTo>
                      <a:pt x="312" y="816"/>
                    </a:lnTo>
                    <a:lnTo>
                      <a:pt x="310" y="816"/>
                    </a:lnTo>
                    <a:lnTo>
                      <a:pt x="308" y="816"/>
                    </a:lnTo>
                    <a:lnTo>
                      <a:pt x="307" y="816"/>
                    </a:lnTo>
                    <a:lnTo>
                      <a:pt x="305" y="816"/>
                    </a:lnTo>
                    <a:lnTo>
                      <a:pt x="304" y="814"/>
                    </a:lnTo>
                    <a:lnTo>
                      <a:pt x="302" y="814"/>
                    </a:lnTo>
                    <a:lnTo>
                      <a:pt x="300" y="814"/>
                    </a:lnTo>
                    <a:lnTo>
                      <a:pt x="299" y="814"/>
                    </a:lnTo>
                    <a:lnTo>
                      <a:pt x="297" y="814"/>
                    </a:lnTo>
                    <a:lnTo>
                      <a:pt x="297" y="816"/>
                    </a:lnTo>
                    <a:lnTo>
                      <a:pt x="296" y="816"/>
                    </a:lnTo>
                    <a:lnTo>
                      <a:pt x="294" y="816"/>
                    </a:lnTo>
                    <a:lnTo>
                      <a:pt x="293" y="817"/>
                    </a:lnTo>
                    <a:lnTo>
                      <a:pt x="291" y="817"/>
                    </a:lnTo>
                    <a:lnTo>
                      <a:pt x="289" y="819"/>
                    </a:lnTo>
                    <a:lnTo>
                      <a:pt x="288" y="820"/>
                    </a:lnTo>
                    <a:lnTo>
                      <a:pt x="286" y="822"/>
                    </a:lnTo>
                    <a:lnTo>
                      <a:pt x="285" y="822"/>
                    </a:lnTo>
                    <a:lnTo>
                      <a:pt x="285" y="824"/>
                    </a:lnTo>
                    <a:lnTo>
                      <a:pt x="283" y="824"/>
                    </a:lnTo>
                    <a:lnTo>
                      <a:pt x="283" y="825"/>
                    </a:lnTo>
                    <a:lnTo>
                      <a:pt x="283" y="827"/>
                    </a:lnTo>
                    <a:lnTo>
                      <a:pt x="283" y="828"/>
                    </a:lnTo>
                    <a:lnTo>
                      <a:pt x="281" y="828"/>
                    </a:lnTo>
                    <a:lnTo>
                      <a:pt x="281" y="830"/>
                    </a:lnTo>
                    <a:lnTo>
                      <a:pt x="281" y="832"/>
                    </a:lnTo>
                    <a:lnTo>
                      <a:pt x="281" y="833"/>
                    </a:lnTo>
                    <a:lnTo>
                      <a:pt x="281" y="835"/>
                    </a:lnTo>
                    <a:lnTo>
                      <a:pt x="281" y="836"/>
                    </a:lnTo>
                    <a:lnTo>
                      <a:pt x="281" y="838"/>
                    </a:lnTo>
                    <a:lnTo>
                      <a:pt x="280" y="839"/>
                    </a:lnTo>
                    <a:lnTo>
                      <a:pt x="278" y="841"/>
                    </a:lnTo>
                    <a:lnTo>
                      <a:pt x="278" y="843"/>
                    </a:lnTo>
                    <a:lnTo>
                      <a:pt x="277" y="843"/>
                    </a:lnTo>
                    <a:lnTo>
                      <a:pt x="277" y="844"/>
                    </a:lnTo>
                    <a:lnTo>
                      <a:pt x="277" y="846"/>
                    </a:lnTo>
                    <a:lnTo>
                      <a:pt x="275" y="846"/>
                    </a:lnTo>
                    <a:lnTo>
                      <a:pt x="275" y="847"/>
                    </a:lnTo>
                    <a:lnTo>
                      <a:pt x="275" y="849"/>
                    </a:lnTo>
                    <a:lnTo>
                      <a:pt x="274" y="851"/>
                    </a:lnTo>
                    <a:lnTo>
                      <a:pt x="274" y="852"/>
                    </a:lnTo>
                    <a:lnTo>
                      <a:pt x="274" y="854"/>
                    </a:lnTo>
                    <a:lnTo>
                      <a:pt x="272" y="854"/>
                    </a:lnTo>
                    <a:lnTo>
                      <a:pt x="272" y="855"/>
                    </a:lnTo>
                    <a:lnTo>
                      <a:pt x="270" y="855"/>
                    </a:lnTo>
                    <a:lnTo>
                      <a:pt x="270" y="857"/>
                    </a:lnTo>
                    <a:lnTo>
                      <a:pt x="269" y="857"/>
                    </a:lnTo>
                    <a:lnTo>
                      <a:pt x="269" y="858"/>
                    </a:lnTo>
                    <a:lnTo>
                      <a:pt x="267" y="858"/>
                    </a:lnTo>
                    <a:lnTo>
                      <a:pt x="266" y="858"/>
                    </a:lnTo>
                    <a:lnTo>
                      <a:pt x="264" y="858"/>
                    </a:lnTo>
                    <a:lnTo>
                      <a:pt x="262" y="858"/>
                    </a:lnTo>
                    <a:lnTo>
                      <a:pt x="261" y="858"/>
                    </a:lnTo>
                    <a:lnTo>
                      <a:pt x="259" y="858"/>
                    </a:lnTo>
                    <a:lnTo>
                      <a:pt x="258" y="858"/>
                    </a:lnTo>
                    <a:lnTo>
                      <a:pt x="256" y="858"/>
                    </a:lnTo>
                    <a:lnTo>
                      <a:pt x="255" y="858"/>
                    </a:lnTo>
                    <a:lnTo>
                      <a:pt x="253" y="858"/>
                    </a:lnTo>
                    <a:lnTo>
                      <a:pt x="253" y="860"/>
                    </a:lnTo>
                    <a:lnTo>
                      <a:pt x="251" y="860"/>
                    </a:lnTo>
                    <a:lnTo>
                      <a:pt x="250" y="860"/>
                    </a:lnTo>
                    <a:lnTo>
                      <a:pt x="248" y="860"/>
                    </a:lnTo>
                    <a:lnTo>
                      <a:pt x="247" y="860"/>
                    </a:lnTo>
                    <a:lnTo>
                      <a:pt x="247" y="858"/>
                    </a:lnTo>
                    <a:lnTo>
                      <a:pt x="245" y="858"/>
                    </a:lnTo>
                    <a:lnTo>
                      <a:pt x="243" y="858"/>
                    </a:lnTo>
                    <a:lnTo>
                      <a:pt x="242" y="860"/>
                    </a:lnTo>
                    <a:lnTo>
                      <a:pt x="240" y="860"/>
                    </a:lnTo>
                    <a:lnTo>
                      <a:pt x="240" y="858"/>
                    </a:lnTo>
                    <a:lnTo>
                      <a:pt x="239" y="858"/>
                    </a:lnTo>
                    <a:lnTo>
                      <a:pt x="237" y="858"/>
                    </a:lnTo>
                    <a:lnTo>
                      <a:pt x="236" y="857"/>
                    </a:lnTo>
                    <a:lnTo>
                      <a:pt x="234" y="857"/>
                    </a:lnTo>
                    <a:lnTo>
                      <a:pt x="234" y="855"/>
                    </a:lnTo>
                    <a:lnTo>
                      <a:pt x="234" y="854"/>
                    </a:lnTo>
                    <a:lnTo>
                      <a:pt x="234" y="852"/>
                    </a:lnTo>
                    <a:lnTo>
                      <a:pt x="236" y="851"/>
                    </a:lnTo>
                    <a:lnTo>
                      <a:pt x="236" y="849"/>
                    </a:lnTo>
                    <a:lnTo>
                      <a:pt x="236" y="847"/>
                    </a:lnTo>
                    <a:lnTo>
                      <a:pt x="236" y="846"/>
                    </a:lnTo>
                    <a:lnTo>
                      <a:pt x="237" y="844"/>
                    </a:lnTo>
                    <a:lnTo>
                      <a:pt x="237" y="843"/>
                    </a:lnTo>
                    <a:lnTo>
                      <a:pt x="239" y="843"/>
                    </a:lnTo>
                    <a:lnTo>
                      <a:pt x="239" y="841"/>
                    </a:lnTo>
                    <a:lnTo>
                      <a:pt x="239" y="839"/>
                    </a:lnTo>
                    <a:lnTo>
                      <a:pt x="239" y="838"/>
                    </a:lnTo>
                    <a:lnTo>
                      <a:pt x="237" y="836"/>
                    </a:lnTo>
                    <a:lnTo>
                      <a:pt x="237" y="835"/>
                    </a:lnTo>
                    <a:lnTo>
                      <a:pt x="237" y="833"/>
                    </a:lnTo>
                    <a:lnTo>
                      <a:pt x="236" y="832"/>
                    </a:lnTo>
                    <a:lnTo>
                      <a:pt x="236" y="830"/>
                    </a:lnTo>
                    <a:lnTo>
                      <a:pt x="236" y="828"/>
                    </a:lnTo>
                    <a:lnTo>
                      <a:pt x="234" y="827"/>
                    </a:lnTo>
                    <a:lnTo>
                      <a:pt x="234" y="825"/>
                    </a:lnTo>
                    <a:lnTo>
                      <a:pt x="234" y="824"/>
                    </a:lnTo>
                    <a:lnTo>
                      <a:pt x="234" y="822"/>
                    </a:lnTo>
                    <a:lnTo>
                      <a:pt x="232" y="822"/>
                    </a:lnTo>
                    <a:lnTo>
                      <a:pt x="232" y="820"/>
                    </a:lnTo>
                    <a:lnTo>
                      <a:pt x="232" y="819"/>
                    </a:lnTo>
                    <a:lnTo>
                      <a:pt x="232" y="817"/>
                    </a:lnTo>
                    <a:lnTo>
                      <a:pt x="232" y="816"/>
                    </a:lnTo>
                    <a:lnTo>
                      <a:pt x="232" y="814"/>
                    </a:lnTo>
                    <a:lnTo>
                      <a:pt x="232" y="813"/>
                    </a:lnTo>
                    <a:lnTo>
                      <a:pt x="231" y="814"/>
                    </a:lnTo>
                    <a:lnTo>
                      <a:pt x="231" y="813"/>
                    </a:lnTo>
                    <a:lnTo>
                      <a:pt x="229" y="813"/>
                    </a:lnTo>
                    <a:lnTo>
                      <a:pt x="228" y="813"/>
                    </a:lnTo>
                    <a:lnTo>
                      <a:pt x="226" y="813"/>
                    </a:lnTo>
                    <a:lnTo>
                      <a:pt x="226" y="811"/>
                    </a:lnTo>
                    <a:lnTo>
                      <a:pt x="224" y="811"/>
                    </a:lnTo>
                    <a:lnTo>
                      <a:pt x="224" y="809"/>
                    </a:lnTo>
                    <a:lnTo>
                      <a:pt x="223" y="809"/>
                    </a:lnTo>
                    <a:lnTo>
                      <a:pt x="223" y="808"/>
                    </a:lnTo>
                    <a:lnTo>
                      <a:pt x="223" y="806"/>
                    </a:lnTo>
                    <a:lnTo>
                      <a:pt x="221" y="806"/>
                    </a:lnTo>
                    <a:lnTo>
                      <a:pt x="221" y="805"/>
                    </a:lnTo>
                    <a:lnTo>
                      <a:pt x="220" y="805"/>
                    </a:lnTo>
                    <a:lnTo>
                      <a:pt x="218" y="803"/>
                    </a:lnTo>
                    <a:lnTo>
                      <a:pt x="217" y="801"/>
                    </a:lnTo>
                    <a:lnTo>
                      <a:pt x="215" y="801"/>
                    </a:lnTo>
                    <a:lnTo>
                      <a:pt x="215" y="800"/>
                    </a:lnTo>
                    <a:lnTo>
                      <a:pt x="213" y="800"/>
                    </a:lnTo>
                    <a:lnTo>
                      <a:pt x="212" y="798"/>
                    </a:lnTo>
                    <a:lnTo>
                      <a:pt x="210" y="797"/>
                    </a:lnTo>
                    <a:lnTo>
                      <a:pt x="209" y="795"/>
                    </a:lnTo>
                    <a:lnTo>
                      <a:pt x="207" y="793"/>
                    </a:lnTo>
                    <a:lnTo>
                      <a:pt x="205" y="792"/>
                    </a:lnTo>
                    <a:lnTo>
                      <a:pt x="204" y="790"/>
                    </a:lnTo>
                    <a:lnTo>
                      <a:pt x="202" y="790"/>
                    </a:lnTo>
                    <a:lnTo>
                      <a:pt x="201" y="790"/>
                    </a:lnTo>
                    <a:lnTo>
                      <a:pt x="199" y="790"/>
                    </a:lnTo>
                    <a:lnTo>
                      <a:pt x="199" y="789"/>
                    </a:lnTo>
                    <a:lnTo>
                      <a:pt x="198" y="789"/>
                    </a:lnTo>
                    <a:lnTo>
                      <a:pt x="196" y="787"/>
                    </a:lnTo>
                    <a:lnTo>
                      <a:pt x="194" y="787"/>
                    </a:lnTo>
                    <a:lnTo>
                      <a:pt x="194" y="786"/>
                    </a:lnTo>
                    <a:lnTo>
                      <a:pt x="193" y="786"/>
                    </a:lnTo>
                    <a:lnTo>
                      <a:pt x="191" y="786"/>
                    </a:lnTo>
                    <a:lnTo>
                      <a:pt x="191" y="784"/>
                    </a:lnTo>
                    <a:lnTo>
                      <a:pt x="190" y="784"/>
                    </a:lnTo>
                    <a:lnTo>
                      <a:pt x="190" y="782"/>
                    </a:lnTo>
                    <a:lnTo>
                      <a:pt x="188" y="782"/>
                    </a:lnTo>
                    <a:lnTo>
                      <a:pt x="188" y="781"/>
                    </a:lnTo>
                    <a:lnTo>
                      <a:pt x="186" y="779"/>
                    </a:lnTo>
                    <a:lnTo>
                      <a:pt x="185" y="779"/>
                    </a:lnTo>
                    <a:lnTo>
                      <a:pt x="185" y="778"/>
                    </a:lnTo>
                    <a:lnTo>
                      <a:pt x="185" y="776"/>
                    </a:lnTo>
                    <a:lnTo>
                      <a:pt x="183" y="776"/>
                    </a:lnTo>
                    <a:lnTo>
                      <a:pt x="183" y="774"/>
                    </a:lnTo>
                    <a:lnTo>
                      <a:pt x="182" y="774"/>
                    </a:lnTo>
                    <a:lnTo>
                      <a:pt x="182" y="773"/>
                    </a:lnTo>
                    <a:lnTo>
                      <a:pt x="180" y="773"/>
                    </a:lnTo>
                    <a:lnTo>
                      <a:pt x="180" y="771"/>
                    </a:lnTo>
                    <a:lnTo>
                      <a:pt x="179" y="771"/>
                    </a:lnTo>
                    <a:lnTo>
                      <a:pt x="179" y="770"/>
                    </a:lnTo>
                    <a:lnTo>
                      <a:pt x="177" y="768"/>
                    </a:lnTo>
                    <a:lnTo>
                      <a:pt x="175" y="767"/>
                    </a:lnTo>
                    <a:lnTo>
                      <a:pt x="174" y="767"/>
                    </a:lnTo>
                    <a:lnTo>
                      <a:pt x="174" y="765"/>
                    </a:lnTo>
                    <a:lnTo>
                      <a:pt x="172" y="765"/>
                    </a:lnTo>
                    <a:lnTo>
                      <a:pt x="171" y="763"/>
                    </a:lnTo>
                    <a:lnTo>
                      <a:pt x="169" y="763"/>
                    </a:lnTo>
                    <a:lnTo>
                      <a:pt x="169" y="762"/>
                    </a:lnTo>
                    <a:lnTo>
                      <a:pt x="167" y="762"/>
                    </a:lnTo>
                    <a:lnTo>
                      <a:pt x="167" y="760"/>
                    </a:lnTo>
                    <a:lnTo>
                      <a:pt x="166" y="760"/>
                    </a:lnTo>
                    <a:lnTo>
                      <a:pt x="164" y="759"/>
                    </a:lnTo>
                    <a:lnTo>
                      <a:pt x="163" y="757"/>
                    </a:lnTo>
                    <a:lnTo>
                      <a:pt x="161" y="755"/>
                    </a:lnTo>
                    <a:lnTo>
                      <a:pt x="160" y="755"/>
                    </a:lnTo>
                    <a:lnTo>
                      <a:pt x="160" y="754"/>
                    </a:lnTo>
                    <a:lnTo>
                      <a:pt x="158" y="754"/>
                    </a:lnTo>
                    <a:lnTo>
                      <a:pt x="158" y="752"/>
                    </a:lnTo>
                    <a:lnTo>
                      <a:pt x="156" y="752"/>
                    </a:lnTo>
                    <a:lnTo>
                      <a:pt x="155" y="751"/>
                    </a:lnTo>
                    <a:lnTo>
                      <a:pt x="153" y="751"/>
                    </a:lnTo>
                    <a:lnTo>
                      <a:pt x="153" y="749"/>
                    </a:lnTo>
                    <a:lnTo>
                      <a:pt x="152" y="749"/>
                    </a:lnTo>
                    <a:lnTo>
                      <a:pt x="150" y="748"/>
                    </a:lnTo>
                    <a:lnTo>
                      <a:pt x="148" y="748"/>
                    </a:lnTo>
                    <a:lnTo>
                      <a:pt x="147" y="748"/>
                    </a:lnTo>
                    <a:lnTo>
                      <a:pt x="145" y="748"/>
                    </a:lnTo>
                    <a:lnTo>
                      <a:pt x="144" y="748"/>
                    </a:lnTo>
                    <a:lnTo>
                      <a:pt x="144" y="746"/>
                    </a:lnTo>
                    <a:lnTo>
                      <a:pt x="142" y="746"/>
                    </a:lnTo>
                    <a:lnTo>
                      <a:pt x="140" y="746"/>
                    </a:lnTo>
                    <a:lnTo>
                      <a:pt x="139" y="746"/>
                    </a:lnTo>
                    <a:lnTo>
                      <a:pt x="137" y="744"/>
                    </a:lnTo>
                    <a:lnTo>
                      <a:pt x="136" y="744"/>
                    </a:lnTo>
                    <a:lnTo>
                      <a:pt x="134" y="744"/>
                    </a:lnTo>
                    <a:lnTo>
                      <a:pt x="133" y="744"/>
                    </a:lnTo>
                    <a:lnTo>
                      <a:pt x="131" y="744"/>
                    </a:lnTo>
                    <a:lnTo>
                      <a:pt x="129" y="744"/>
                    </a:lnTo>
                    <a:lnTo>
                      <a:pt x="128" y="744"/>
                    </a:lnTo>
                    <a:lnTo>
                      <a:pt x="126" y="743"/>
                    </a:lnTo>
                    <a:lnTo>
                      <a:pt x="125" y="743"/>
                    </a:lnTo>
                    <a:lnTo>
                      <a:pt x="123" y="741"/>
                    </a:lnTo>
                    <a:lnTo>
                      <a:pt x="121" y="741"/>
                    </a:lnTo>
                    <a:lnTo>
                      <a:pt x="118" y="741"/>
                    </a:lnTo>
                    <a:lnTo>
                      <a:pt x="115" y="741"/>
                    </a:lnTo>
                    <a:lnTo>
                      <a:pt x="114" y="740"/>
                    </a:lnTo>
                    <a:lnTo>
                      <a:pt x="112" y="740"/>
                    </a:lnTo>
                    <a:lnTo>
                      <a:pt x="109" y="740"/>
                    </a:lnTo>
                    <a:lnTo>
                      <a:pt x="106" y="738"/>
                    </a:lnTo>
                    <a:lnTo>
                      <a:pt x="102" y="738"/>
                    </a:lnTo>
                    <a:lnTo>
                      <a:pt x="99" y="736"/>
                    </a:lnTo>
                    <a:lnTo>
                      <a:pt x="98" y="736"/>
                    </a:lnTo>
                    <a:lnTo>
                      <a:pt x="95" y="735"/>
                    </a:lnTo>
                    <a:lnTo>
                      <a:pt x="93" y="735"/>
                    </a:lnTo>
                    <a:lnTo>
                      <a:pt x="91" y="735"/>
                    </a:lnTo>
                    <a:lnTo>
                      <a:pt x="90" y="735"/>
                    </a:lnTo>
                    <a:lnTo>
                      <a:pt x="88" y="735"/>
                    </a:lnTo>
                    <a:lnTo>
                      <a:pt x="88" y="733"/>
                    </a:lnTo>
                    <a:lnTo>
                      <a:pt x="87" y="733"/>
                    </a:lnTo>
                    <a:lnTo>
                      <a:pt x="85" y="733"/>
                    </a:lnTo>
                    <a:lnTo>
                      <a:pt x="83" y="733"/>
                    </a:lnTo>
                    <a:lnTo>
                      <a:pt x="82" y="732"/>
                    </a:lnTo>
                    <a:lnTo>
                      <a:pt x="79" y="730"/>
                    </a:lnTo>
                    <a:lnTo>
                      <a:pt x="77" y="730"/>
                    </a:lnTo>
                    <a:lnTo>
                      <a:pt x="76" y="730"/>
                    </a:lnTo>
                    <a:lnTo>
                      <a:pt x="74" y="729"/>
                    </a:lnTo>
                    <a:lnTo>
                      <a:pt x="72" y="729"/>
                    </a:lnTo>
                    <a:lnTo>
                      <a:pt x="71" y="727"/>
                    </a:lnTo>
                    <a:lnTo>
                      <a:pt x="69" y="725"/>
                    </a:lnTo>
                    <a:lnTo>
                      <a:pt x="68" y="725"/>
                    </a:lnTo>
                    <a:lnTo>
                      <a:pt x="66" y="725"/>
                    </a:lnTo>
                    <a:lnTo>
                      <a:pt x="63" y="724"/>
                    </a:lnTo>
                    <a:lnTo>
                      <a:pt x="58" y="722"/>
                    </a:lnTo>
                    <a:lnTo>
                      <a:pt x="52" y="717"/>
                    </a:lnTo>
                    <a:lnTo>
                      <a:pt x="47" y="714"/>
                    </a:lnTo>
                    <a:lnTo>
                      <a:pt x="39" y="708"/>
                    </a:lnTo>
                    <a:lnTo>
                      <a:pt x="34" y="705"/>
                    </a:lnTo>
                    <a:lnTo>
                      <a:pt x="30" y="698"/>
                    </a:lnTo>
                    <a:lnTo>
                      <a:pt x="22" y="694"/>
                    </a:lnTo>
                    <a:lnTo>
                      <a:pt x="19" y="691"/>
                    </a:lnTo>
                    <a:lnTo>
                      <a:pt x="14" y="686"/>
                    </a:lnTo>
                    <a:lnTo>
                      <a:pt x="6" y="683"/>
                    </a:lnTo>
                    <a:lnTo>
                      <a:pt x="4" y="681"/>
                    </a:lnTo>
                    <a:lnTo>
                      <a:pt x="3" y="681"/>
                    </a:lnTo>
                    <a:lnTo>
                      <a:pt x="1" y="678"/>
                    </a:lnTo>
                    <a:lnTo>
                      <a:pt x="0" y="676"/>
                    </a:lnTo>
                    <a:lnTo>
                      <a:pt x="1" y="673"/>
                    </a:lnTo>
                    <a:lnTo>
                      <a:pt x="3" y="665"/>
                    </a:lnTo>
                    <a:lnTo>
                      <a:pt x="3" y="660"/>
                    </a:lnTo>
                    <a:lnTo>
                      <a:pt x="6" y="659"/>
                    </a:lnTo>
                    <a:lnTo>
                      <a:pt x="6" y="656"/>
                    </a:lnTo>
                    <a:lnTo>
                      <a:pt x="7" y="654"/>
                    </a:lnTo>
                    <a:lnTo>
                      <a:pt x="22" y="613"/>
                    </a:lnTo>
                    <a:lnTo>
                      <a:pt x="22" y="610"/>
                    </a:lnTo>
                    <a:lnTo>
                      <a:pt x="22" y="608"/>
                    </a:lnTo>
                    <a:lnTo>
                      <a:pt x="22" y="605"/>
                    </a:lnTo>
                    <a:lnTo>
                      <a:pt x="22" y="602"/>
                    </a:lnTo>
                    <a:lnTo>
                      <a:pt x="22" y="599"/>
                    </a:lnTo>
                    <a:lnTo>
                      <a:pt x="22" y="597"/>
                    </a:lnTo>
                    <a:lnTo>
                      <a:pt x="23" y="592"/>
                    </a:lnTo>
                    <a:lnTo>
                      <a:pt x="23" y="588"/>
                    </a:lnTo>
                    <a:lnTo>
                      <a:pt x="23" y="581"/>
                    </a:lnTo>
                    <a:lnTo>
                      <a:pt x="23" y="576"/>
                    </a:lnTo>
                    <a:lnTo>
                      <a:pt x="26" y="573"/>
                    </a:lnTo>
                    <a:lnTo>
                      <a:pt x="28" y="570"/>
                    </a:lnTo>
                    <a:lnTo>
                      <a:pt x="31" y="567"/>
                    </a:lnTo>
                    <a:lnTo>
                      <a:pt x="36" y="565"/>
                    </a:lnTo>
                    <a:lnTo>
                      <a:pt x="42" y="564"/>
                    </a:lnTo>
                    <a:lnTo>
                      <a:pt x="47" y="562"/>
                    </a:lnTo>
                    <a:lnTo>
                      <a:pt x="66" y="556"/>
                    </a:lnTo>
                    <a:lnTo>
                      <a:pt x="69" y="556"/>
                    </a:lnTo>
                    <a:lnTo>
                      <a:pt x="69" y="557"/>
                    </a:lnTo>
                    <a:lnTo>
                      <a:pt x="71" y="557"/>
                    </a:lnTo>
                    <a:lnTo>
                      <a:pt x="72" y="556"/>
                    </a:lnTo>
                    <a:lnTo>
                      <a:pt x="74" y="556"/>
                    </a:lnTo>
                    <a:lnTo>
                      <a:pt x="77" y="556"/>
                    </a:lnTo>
                    <a:lnTo>
                      <a:pt x="83" y="557"/>
                    </a:lnTo>
                    <a:lnTo>
                      <a:pt x="85" y="556"/>
                    </a:lnTo>
                    <a:lnTo>
                      <a:pt x="87" y="556"/>
                    </a:lnTo>
                    <a:lnTo>
                      <a:pt x="88" y="556"/>
                    </a:lnTo>
                    <a:lnTo>
                      <a:pt x="90" y="556"/>
                    </a:lnTo>
                    <a:lnTo>
                      <a:pt x="90" y="557"/>
                    </a:lnTo>
                    <a:lnTo>
                      <a:pt x="91" y="559"/>
                    </a:lnTo>
                    <a:lnTo>
                      <a:pt x="93" y="561"/>
                    </a:lnTo>
                    <a:lnTo>
                      <a:pt x="98" y="561"/>
                    </a:lnTo>
                    <a:lnTo>
                      <a:pt x="99" y="561"/>
                    </a:lnTo>
                    <a:lnTo>
                      <a:pt x="102" y="559"/>
                    </a:lnTo>
                    <a:lnTo>
                      <a:pt x="104" y="561"/>
                    </a:lnTo>
                    <a:lnTo>
                      <a:pt x="106" y="561"/>
                    </a:lnTo>
                    <a:lnTo>
                      <a:pt x="107" y="561"/>
                    </a:lnTo>
                    <a:lnTo>
                      <a:pt x="109" y="559"/>
                    </a:lnTo>
                    <a:lnTo>
                      <a:pt x="110" y="559"/>
                    </a:lnTo>
                    <a:lnTo>
                      <a:pt x="110" y="557"/>
                    </a:lnTo>
                    <a:lnTo>
                      <a:pt x="112" y="557"/>
                    </a:lnTo>
                    <a:lnTo>
                      <a:pt x="115" y="557"/>
                    </a:lnTo>
                    <a:lnTo>
                      <a:pt x="117" y="557"/>
                    </a:lnTo>
                    <a:lnTo>
                      <a:pt x="118" y="556"/>
                    </a:lnTo>
                    <a:lnTo>
                      <a:pt x="120" y="556"/>
                    </a:lnTo>
                    <a:lnTo>
                      <a:pt x="121" y="556"/>
                    </a:lnTo>
                    <a:lnTo>
                      <a:pt x="123" y="556"/>
                    </a:lnTo>
                    <a:lnTo>
                      <a:pt x="125" y="554"/>
                    </a:lnTo>
                    <a:lnTo>
                      <a:pt x="126" y="554"/>
                    </a:lnTo>
                    <a:lnTo>
                      <a:pt x="128" y="553"/>
                    </a:lnTo>
                    <a:lnTo>
                      <a:pt x="131" y="551"/>
                    </a:lnTo>
                    <a:lnTo>
                      <a:pt x="134" y="551"/>
                    </a:lnTo>
                    <a:lnTo>
                      <a:pt x="136" y="551"/>
                    </a:lnTo>
                    <a:lnTo>
                      <a:pt x="137" y="551"/>
                    </a:lnTo>
                    <a:lnTo>
                      <a:pt x="139" y="551"/>
                    </a:lnTo>
                    <a:lnTo>
                      <a:pt x="140" y="551"/>
                    </a:lnTo>
                    <a:lnTo>
                      <a:pt x="142" y="550"/>
                    </a:lnTo>
                    <a:lnTo>
                      <a:pt x="144" y="550"/>
                    </a:lnTo>
                    <a:lnTo>
                      <a:pt x="145" y="550"/>
                    </a:lnTo>
                    <a:lnTo>
                      <a:pt x="147" y="550"/>
                    </a:lnTo>
                    <a:lnTo>
                      <a:pt x="148" y="550"/>
                    </a:lnTo>
                    <a:lnTo>
                      <a:pt x="152" y="551"/>
                    </a:lnTo>
                    <a:lnTo>
                      <a:pt x="153" y="550"/>
                    </a:lnTo>
                    <a:lnTo>
                      <a:pt x="155" y="550"/>
                    </a:lnTo>
                    <a:lnTo>
                      <a:pt x="160" y="548"/>
                    </a:lnTo>
                    <a:lnTo>
                      <a:pt x="164" y="546"/>
                    </a:lnTo>
                    <a:lnTo>
                      <a:pt x="166" y="546"/>
                    </a:lnTo>
                    <a:lnTo>
                      <a:pt x="167" y="546"/>
                    </a:lnTo>
                    <a:lnTo>
                      <a:pt x="169" y="546"/>
                    </a:lnTo>
                    <a:lnTo>
                      <a:pt x="174" y="546"/>
                    </a:lnTo>
                    <a:lnTo>
                      <a:pt x="175" y="546"/>
                    </a:lnTo>
                    <a:lnTo>
                      <a:pt x="179" y="545"/>
                    </a:lnTo>
                    <a:lnTo>
                      <a:pt x="182" y="545"/>
                    </a:lnTo>
                    <a:lnTo>
                      <a:pt x="183" y="545"/>
                    </a:lnTo>
                    <a:lnTo>
                      <a:pt x="185" y="545"/>
                    </a:lnTo>
                    <a:lnTo>
                      <a:pt x="186" y="545"/>
                    </a:lnTo>
                    <a:lnTo>
                      <a:pt x="188" y="546"/>
                    </a:lnTo>
                    <a:lnTo>
                      <a:pt x="188" y="545"/>
                    </a:lnTo>
                    <a:lnTo>
                      <a:pt x="188" y="543"/>
                    </a:lnTo>
                    <a:lnTo>
                      <a:pt x="188" y="542"/>
                    </a:lnTo>
                    <a:lnTo>
                      <a:pt x="188" y="540"/>
                    </a:lnTo>
                    <a:lnTo>
                      <a:pt x="188" y="538"/>
                    </a:lnTo>
                    <a:lnTo>
                      <a:pt x="188" y="537"/>
                    </a:lnTo>
                    <a:lnTo>
                      <a:pt x="188" y="535"/>
                    </a:lnTo>
                    <a:lnTo>
                      <a:pt x="186" y="534"/>
                    </a:lnTo>
                    <a:lnTo>
                      <a:pt x="186" y="532"/>
                    </a:lnTo>
                    <a:lnTo>
                      <a:pt x="185" y="532"/>
                    </a:lnTo>
                    <a:lnTo>
                      <a:pt x="185" y="531"/>
                    </a:lnTo>
                    <a:lnTo>
                      <a:pt x="185" y="529"/>
                    </a:lnTo>
                    <a:lnTo>
                      <a:pt x="183" y="529"/>
                    </a:lnTo>
                    <a:lnTo>
                      <a:pt x="183" y="527"/>
                    </a:lnTo>
                    <a:lnTo>
                      <a:pt x="183" y="526"/>
                    </a:lnTo>
                    <a:lnTo>
                      <a:pt x="182" y="526"/>
                    </a:lnTo>
                    <a:lnTo>
                      <a:pt x="182" y="524"/>
                    </a:lnTo>
                    <a:lnTo>
                      <a:pt x="182" y="523"/>
                    </a:lnTo>
                    <a:lnTo>
                      <a:pt x="180" y="521"/>
                    </a:lnTo>
                    <a:lnTo>
                      <a:pt x="180" y="519"/>
                    </a:lnTo>
                    <a:lnTo>
                      <a:pt x="179" y="519"/>
                    </a:lnTo>
                    <a:lnTo>
                      <a:pt x="179" y="518"/>
                    </a:lnTo>
                    <a:lnTo>
                      <a:pt x="179" y="516"/>
                    </a:lnTo>
                    <a:lnTo>
                      <a:pt x="177" y="515"/>
                    </a:lnTo>
                    <a:lnTo>
                      <a:pt x="177" y="513"/>
                    </a:lnTo>
                    <a:lnTo>
                      <a:pt x="175" y="512"/>
                    </a:lnTo>
                    <a:lnTo>
                      <a:pt x="175" y="510"/>
                    </a:lnTo>
                    <a:lnTo>
                      <a:pt x="175" y="508"/>
                    </a:lnTo>
                    <a:lnTo>
                      <a:pt x="175" y="507"/>
                    </a:lnTo>
                    <a:lnTo>
                      <a:pt x="174" y="507"/>
                    </a:lnTo>
                    <a:lnTo>
                      <a:pt x="174" y="505"/>
                    </a:lnTo>
                    <a:lnTo>
                      <a:pt x="174" y="504"/>
                    </a:lnTo>
                    <a:lnTo>
                      <a:pt x="174" y="502"/>
                    </a:lnTo>
                    <a:lnTo>
                      <a:pt x="172" y="502"/>
                    </a:lnTo>
                    <a:lnTo>
                      <a:pt x="172" y="500"/>
                    </a:lnTo>
                    <a:lnTo>
                      <a:pt x="172" y="499"/>
                    </a:lnTo>
                    <a:lnTo>
                      <a:pt x="172" y="497"/>
                    </a:lnTo>
                    <a:lnTo>
                      <a:pt x="172" y="496"/>
                    </a:lnTo>
                    <a:lnTo>
                      <a:pt x="171" y="496"/>
                    </a:lnTo>
                    <a:lnTo>
                      <a:pt x="171" y="494"/>
                    </a:lnTo>
                    <a:lnTo>
                      <a:pt x="171" y="493"/>
                    </a:lnTo>
                    <a:lnTo>
                      <a:pt x="171" y="491"/>
                    </a:lnTo>
                    <a:lnTo>
                      <a:pt x="169" y="491"/>
                    </a:lnTo>
                    <a:lnTo>
                      <a:pt x="169" y="489"/>
                    </a:lnTo>
                    <a:lnTo>
                      <a:pt x="167" y="488"/>
                    </a:lnTo>
                    <a:lnTo>
                      <a:pt x="167" y="486"/>
                    </a:lnTo>
                    <a:lnTo>
                      <a:pt x="167" y="485"/>
                    </a:lnTo>
                    <a:lnTo>
                      <a:pt x="166" y="485"/>
                    </a:lnTo>
                    <a:lnTo>
                      <a:pt x="166" y="483"/>
                    </a:lnTo>
                    <a:lnTo>
                      <a:pt x="166" y="481"/>
                    </a:lnTo>
                    <a:lnTo>
                      <a:pt x="166" y="480"/>
                    </a:lnTo>
                    <a:lnTo>
                      <a:pt x="164" y="480"/>
                    </a:lnTo>
                    <a:lnTo>
                      <a:pt x="164" y="478"/>
                    </a:lnTo>
                    <a:lnTo>
                      <a:pt x="164" y="477"/>
                    </a:lnTo>
                    <a:lnTo>
                      <a:pt x="163" y="475"/>
                    </a:lnTo>
                    <a:lnTo>
                      <a:pt x="163" y="474"/>
                    </a:lnTo>
                    <a:lnTo>
                      <a:pt x="163" y="472"/>
                    </a:lnTo>
                    <a:lnTo>
                      <a:pt x="163" y="470"/>
                    </a:lnTo>
                    <a:lnTo>
                      <a:pt x="163" y="469"/>
                    </a:lnTo>
                    <a:lnTo>
                      <a:pt x="163" y="467"/>
                    </a:lnTo>
                    <a:lnTo>
                      <a:pt x="163" y="466"/>
                    </a:lnTo>
                    <a:lnTo>
                      <a:pt x="163" y="464"/>
                    </a:lnTo>
                    <a:lnTo>
                      <a:pt x="164" y="462"/>
                    </a:lnTo>
                    <a:lnTo>
                      <a:pt x="164" y="461"/>
                    </a:lnTo>
                    <a:lnTo>
                      <a:pt x="166" y="461"/>
                    </a:lnTo>
                    <a:lnTo>
                      <a:pt x="167" y="461"/>
                    </a:lnTo>
                    <a:lnTo>
                      <a:pt x="167" y="459"/>
                    </a:lnTo>
                    <a:lnTo>
                      <a:pt x="167" y="458"/>
                    </a:lnTo>
                    <a:lnTo>
                      <a:pt x="169" y="456"/>
                    </a:lnTo>
                    <a:lnTo>
                      <a:pt x="169" y="455"/>
                    </a:lnTo>
                    <a:lnTo>
                      <a:pt x="171" y="455"/>
                    </a:lnTo>
                    <a:lnTo>
                      <a:pt x="172" y="455"/>
                    </a:lnTo>
                    <a:lnTo>
                      <a:pt x="172" y="453"/>
                    </a:lnTo>
                    <a:lnTo>
                      <a:pt x="174" y="451"/>
                    </a:lnTo>
                    <a:lnTo>
                      <a:pt x="174" y="450"/>
                    </a:lnTo>
                    <a:lnTo>
                      <a:pt x="175" y="450"/>
                    </a:lnTo>
                    <a:lnTo>
                      <a:pt x="175" y="448"/>
                    </a:lnTo>
                    <a:lnTo>
                      <a:pt x="175" y="447"/>
                    </a:lnTo>
                    <a:lnTo>
                      <a:pt x="177" y="447"/>
                    </a:lnTo>
                    <a:lnTo>
                      <a:pt x="177" y="445"/>
                    </a:lnTo>
                    <a:lnTo>
                      <a:pt x="179" y="445"/>
                    </a:lnTo>
                    <a:lnTo>
                      <a:pt x="179" y="443"/>
                    </a:lnTo>
                    <a:lnTo>
                      <a:pt x="177" y="443"/>
                    </a:lnTo>
                    <a:lnTo>
                      <a:pt x="179" y="442"/>
                    </a:lnTo>
                    <a:lnTo>
                      <a:pt x="179" y="443"/>
                    </a:lnTo>
                    <a:lnTo>
                      <a:pt x="180" y="443"/>
                    </a:lnTo>
                    <a:lnTo>
                      <a:pt x="182" y="443"/>
                    </a:lnTo>
                    <a:lnTo>
                      <a:pt x="182" y="442"/>
                    </a:lnTo>
                    <a:lnTo>
                      <a:pt x="182" y="440"/>
                    </a:lnTo>
                    <a:lnTo>
                      <a:pt x="183" y="440"/>
                    </a:lnTo>
                    <a:lnTo>
                      <a:pt x="183" y="439"/>
                    </a:lnTo>
                    <a:lnTo>
                      <a:pt x="185" y="440"/>
                    </a:lnTo>
                    <a:lnTo>
                      <a:pt x="186" y="439"/>
                    </a:lnTo>
                    <a:lnTo>
                      <a:pt x="188" y="439"/>
                    </a:lnTo>
                    <a:lnTo>
                      <a:pt x="188" y="437"/>
                    </a:lnTo>
                    <a:lnTo>
                      <a:pt x="190" y="436"/>
                    </a:lnTo>
                    <a:lnTo>
                      <a:pt x="188" y="436"/>
                    </a:lnTo>
                    <a:lnTo>
                      <a:pt x="190" y="436"/>
                    </a:lnTo>
                    <a:lnTo>
                      <a:pt x="191" y="434"/>
                    </a:lnTo>
                    <a:lnTo>
                      <a:pt x="191" y="432"/>
                    </a:lnTo>
                    <a:lnTo>
                      <a:pt x="193" y="432"/>
                    </a:lnTo>
                    <a:lnTo>
                      <a:pt x="193" y="434"/>
                    </a:lnTo>
                    <a:lnTo>
                      <a:pt x="194" y="432"/>
                    </a:lnTo>
                    <a:lnTo>
                      <a:pt x="196" y="434"/>
                    </a:lnTo>
                    <a:lnTo>
                      <a:pt x="194" y="434"/>
                    </a:lnTo>
                    <a:lnTo>
                      <a:pt x="194" y="436"/>
                    </a:lnTo>
                    <a:lnTo>
                      <a:pt x="196" y="437"/>
                    </a:lnTo>
                    <a:lnTo>
                      <a:pt x="198" y="437"/>
                    </a:lnTo>
                    <a:lnTo>
                      <a:pt x="198" y="436"/>
                    </a:lnTo>
                    <a:lnTo>
                      <a:pt x="199" y="436"/>
                    </a:lnTo>
                    <a:lnTo>
                      <a:pt x="201" y="436"/>
                    </a:lnTo>
                    <a:lnTo>
                      <a:pt x="202" y="436"/>
                    </a:lnTo>
                    <a:lnTo>
                      <a:pt x="204" y="436"/>
                    </a:lnTo>
                    <a:lnTo>
                      <a:pt x="205" y="436"/>
                    </a:lnTo>
                    <a:lnTo>
                      <a:pt x="207" y="434"/>
                    </a:lnTo>
                    <a:lnTo>
                      <a:pt x="209" y="432"/>
                    </a:lnTo>
                    <a:lnTo>
                      <a:pt x="209" y="431"/>
                    </a:lnTo>
                    <a:lnTo>
                      <a:pt x="209" y="429"/>
                    </a:lnTo>
                    <a:lnTo>
                      <a:pt x="210" y="429"/>
                    </a:lnTo>
                    <a:lnTo>
                      <a:pt x="210" y="428"/>
                    </a:lnTo>
                    <a:lnTo>
                      <a:pt x="210" y="426"/>
                    </a:lnTo>
                    <a:lnTo>
                      <a:pt x="209" y="424"/>
                    </a:lnTo>
                    <a:lnTo>
                      <a:pt x="210" y="423"/>
                    </a:lnTo>
                    <a:lnTo>
                      <a:pt x="212" y="423"/>
                    </a:lnTo>
                    <a:lnTo>
                      <a:pt x="213" y="423"/>
                    </a:lnTo>
                    <a:lnTo>
                      <a:pt x="213" y="421"/>
                    </a:lnTo>
                    <a:lnTo>
                      <a:pt x="213" y="420"/>
                    </a:lnTo>
                    <a:lnTo>
                      <a:pt x="213" y="418"/>
                    </a:lnTo>
                    <a:lnTo>
                      <a:pt x="215" y="418"/>
                    </a:lnTo>
                    <a:lnTo>
                      <a:pt x="215" y="416"/>
                    </a:lnTo>
                    <a:lnTo>
                      <a:pt x="215" y="415"/>
                    </a:lnTo>
                    <a:lnTo>
                      <a:pt x="217" y="413"/>
                    </a:lnTo>
                    <a:lnTo>
                      <a:pt x="218" y="413"/>
                    </a:lnTo>
                    <a:lnTo>
                      <a:pt x="220" y="413"/>
                    </a:lnTo>
                    <a:lnTo>
                      <a:pt x="220" y="412"/>
                    </a:lnTo>
                    <a:lnTo>
                      <a:pt x="221" y="412"/>
                    </a:lnTo>
                    <a:lnTo>
                      <a:pt x="221" y="410"/>
                    </a:lnTo>
                    <a:lnTo>
                      <a:pt x="223" y="410"/>
                    </a:lnTo>
                    <a:lnTo>
                      <a:pt x="223" y="409"/>
                    </a:lnTo>
                    <a:lnTo>
                      <a:pt x="223" y="407"/>
                    </a:lnTo>
                    <a:lnTo>
                      <a:pt x="223" y="405"/>
                    </a:lnTo>
                    <a:lnTo>
                      <a:pt x="223" y="404"/>
                    </a:lnTo>
                    <a:lnTo>
                      <a:pt x="224" y="402"/>
                    </a:lnTo>
                    <a:lnTo>
                      <a:pt x="226" y="402"/>
                    </a:lnTo>
                    <a:lnTo>
                      <a:pt x="226" y="401"/>
                    </a:lnTo>
                    <a:lnTo>
                      <a:pt x="226" y="399"/>
                    </a:lnTo>
                    <a:lnTo>
                      <a:pt x="228" y="399"/>
                    </a:lnTo>
                    <a:lnTo>
                      <a:pt x="229" y="397"/>
                    </a:lnTo>
                    <a:lnTo>
                      <a:pt x="228" y="396"/>
                    </a:lnTo>
                    <a:lnTo>
                      <a:pt x="228" y="394"/>
                    </a:lnTo>
                    <a:lnTo>
                      <a:pt x="229" y="394"/>
                    </a:lnTo>
                    <a:lnTo>
                      <a:pt x="229" y="393"/>
                    </a:lnTo>
                    <a:lnTo>
                      <a:pt x="229" y="391"/>
                    </a:lnTo>
                    <a:lnTo>
                      <a:pt x="231" y="391"/>
                    </a:lnTo>
                    <a:lnTo>
                      <a:pt x="232" y="391"/>
                    </a:lnTo>
                    <a:lnTo>
                      <a:pt x="234" y="391"/>
                    </a:lnTo>
                    <a:lnTo>
                      <a:pt x="232" y="390"/>
                    </a:lnTo>
                    <a:lnTo>
                      <a:pt x="234" y="390"/>
                    </a:lnTo>
                    <a:lnTo>
                      <a:pt x="232" y="388"/>
                    </a:lnTo>
                    <a:lnTo>
                      <a:pt x="234" y="386"/>
                    </a:lnTo>
                    <a:lnTo>
                      <a:pt x="234" y="385"/>
                    </a:lnTo>
                    <a:lnTo>
                      <a:pt x="232" y="385"/>
                    </a:lnTo>
                    <a:lnTo>
                      <a:pt x="232" y="383"/>
                    </a:lnTo>
                    <a:lnTo>
                      <a:pt x="231" y="383"/>
                    </a:lnTo>
                    <a:lnTo>
                      <a:pt x="229" y="383"/>
                    </a:lnTo>
                    <a:lnTo>
                      <a:pt x="229" y="382"/>
                    </a:lnTo>
                    <a:lnTo>
                      <a:pt x="229" y="380"/>
                    </a:lnTo>
                    <a:lnTo>
                      <a:pt x="229" y="378"/>
                    </a:lnTo>
                    <a:lnTo>
                      <a:pt x="229" y="377"/>
                    </a:lnTo>
                    <a:lnTo>
                      <a:pt x="229" y="375"/>
                    </a:lnTo>
                    <a:lnTo>
                      <a:pt x="229" y="374"/>
                    </a:lnTo>
                    <a:lnTo>
                      <a:pt x="228" y="372"/>
                    </a:lnTo>
                    <a:lnTo>
                      <a:pt x="228" y="371"/>
                    </a:lnTo>
                    <a:lnTo>
                      <a:pt x="228" y="369"/>
                    </a:lnTo>
                    <a:lnTo>
                      <a:pt x="228" y="367"/>
                    </a:lnTo>
                    <a:lnTo>
                      <a:pt x="228" y="366"/>
                    </a:lnTo>
                    <a:lnTo>
                      <a:pt x="228" y="364"/>
                    </a:lnTo>
                    <a:lnTo>
                      <a:pt x="226" y="364"/>
                    </a:lnTo>
                    <a:lnTo>
                      <a:pt x="226" y="363"/>
                    </a:lnTo>
                    <a:lnTo>
                      <a:pt x="224" y="363"/>
                    </a:lnTo>
                    <a:lnTo>
                      <a:pt x="223" y="363"/>
                    </a:lnTo>
                    <a:lnTo>
                      <a:pt x="221" y="363"/>
                    </a:lnTo>
                    <a:lnTo>
                      <a:pt x="220" y="363"/>
                    </a:lnTo>
                    <a:lnTo>
                      <a:pt x="218" y="363"/>
                    </a:lnTo>
                    <a:lnTo>
                      <a:pt x="217" y="363"/>
                    </a:lnTo>
                    <a:lnTo>
                      <a:pt x="217" y="364"/>
                    </a:lnTo>
                    <a:lnTo>
                      <a:pt x="215" y="364"/>
                    </a:lnTo>
                    <a:lnTo>
                      <a:pt x="213" y="364"/>
                    </a:lnTo>
                    <a:lnTo>
                      <a:pt x="213" y="363"/>
                    </a:lnTo>
                    <a:lnTo>
                      <a:pt x="212" y="363"/>
                    </a:lnTo>
                    <a:lnTo>
                      <a:pt x="212" y="361"/>
                    </a:lnTo>
                    <a:lnTo>
                      <a:pt x="210" y="361"/>
                    </a:lnTo>
                    <a:lnTo>
                      <a:pt x="210" y="359"/>
                    </a:lnTo>
                    <a:lnTo>
                      <a:pt x="209" y="358"/>
                    </a:lnTo>
                    <a:lnTo>
                      <a:pt x="207" y="358"/>
                    </a:lnTo>
                    <a:lnTo>
                      <a:pt x="202" y="359"/>
                    </a:lnTo>
                    <a:lnTo>
                      <a:pt x="201" y="359"/>
                    </a:lnTo>
                    <a:lnTo>
                      <a:pt x="199" y="359"/>
                    </a:lnTo>
                    <a:lnTo>
                      <a:pt x="198" y="361"/>
                    </a:lnTo>
                    <a:lnTo>
                      <a:pt x="194" y="363"/>
                    </a:lnTo>
                    <a:lnTo>
                      <a:pt x="193" y="364"/>
                    </a:lnTo>
                    <a:lnTo>
                      <a:pt x="191" y="364"/>
                    </a:lnTo>
                    <a:lnTo>
                      <a:pt x="190" y="363"/>
                    </a:lnTo>
                    <a:lnTo>
                      <a:pt x="190" y="361"/>
                    </a:lnTo>
                    <a:lnTo>
                      <a:pt x="188" y="359"/>
                    </a:lnTo>
                    <a:lnTo>
                      <a:pt x="186" y="359"/>
                    </a:lnTo>
                    <a:lnTo>
                      <a:pt x="186" y="358"/>
                    </a:lnTo>
                    <a:lnTo>
                      <a:pt x="185" y="356"/>
                    </a:lnTo>
                    <a:lnTo>
                      <a:pt x="182" y="355"/>
                    </a:lnTo>
                    <a:lnTo>
                      <a:pt x="182" y="353"/>
                    </a:lnTo>
                    <a:lnTo>
                      <a:pt x="180" y="353"/>
                    </a:lnTo>
                    <a:lnTo>
                      <a:pt x="179" y="353"/>
                    </a:lnTo>
                    <a:lnTo>
                      <a:pt x="177" y="355"/>
                    </a:lnTo>
                    <a:lnTo>
                      <a:pt x="175" y="355"/>
                    </a:lnTo>
                    <a:lnTo>
                      <a:pt x="172" y="355"/>
                    </a:lnTo>
                    <a:lnTo>
                      <a:pt x="169" y="353"/>
                    </a:lnTo>
                    <a:lnTo>
                      <a:pt x="164" y="353"/>
                    </a:lnTo>
                    <a:lnTo>
                      <a:pt x="164" y="352"/>
                    </a:lnTo>
                    <a:lnTo>
                      <a:pt x="164" y="348"/>
                    </a:lnTo>
                    <a:lnTo>
                      <a:pt x="164" y="345"/>
                    </a:lnTo>
                    <a:lnTo>
                      <a:pt x="164" y="344"/>
                    </a:lnTo>
                    <a:lnTo>
                      <a:pt x="163" y="342"/>
                    </a:lnTo>
                    <a:lnTo>
                      <a:pt x="163" y="340"/>
                    </a:lnTo>
                    <a:lnTo>
                      <a:pt x="161" y="340"/>
                    </a:lnTo>
                    <a:lnTo>
                      <a:pt x="160" y="340"/>
                    </a:lnTo>
                    <a:lnTo>
                      <a:pt x="160" y="339"/>
                    </a:lnTo>
                    <a:lnTo>
                      <a:pt x="160" y="337"/>
                    </a:lnTo>
                    <a:lnTo>
                      <a:pt x="160" y="336"/>
                    </a:lnTo>
                    <a:lnTo>
                      <a:pt x="160" y="334"/>
                    </a:lnTo>
                    <a:lnTo>
                      <a:pt x="160" y="333"/>
                    </a:lnTo>
                    <a:lnTo>
                      <a:pt x="160" y="328"/>
                    </a:lnTo>
                    <a:lnTo>
                      <a:pt x="160" y="326"/>
                    </a:lnTo>
                    <a:lnTo>
                      <a:pt x="160" y="321"/>
                    </a:lnTo>
                    <a:lnTo>
                      <a:pt x="160" y="320"/>
                    </a:lnTo>
                    <a:lnTo>
                      <a:pt x="160" y="318"/>
                    </a:lnTo>
                    <a:lnTo>
                      <a:pt x="160" y="317"/>
                    </a:lnTo>
                    <a:lnTo>
                      <a:pt x="160" y="315"/>
                    </a:lnTo>
                    <a:lnTo>
                      <a:pt x="160" y="314"/>
                    </a:lnTo>
                    <a:lnTo>
                      <a:pt x="163" y="315"/>
                    </a:lnTo>
                    <a:lnTo>
                      <a:pt x="164" y="315"/>
                    </a:lnTo>
                    <a:lnTo>
                      <a:pt x="166" y="314"/>
                    </a:lnTo>
                    <a:lnTo>
                      <a:pt x="167" y="314"/>
                    </a:lnTo>
                    <a:lnTo>
                      <a:pt x="169" y="314"/>
                    </a:lnTo>
                    <a:lnTo>
                      <a:pt x="171" y="312"/>
                    </a:lnTo>
                    <a:lnTo>
                      <a:pt x="172" y="312"/>
                    </a:lnTo>
                    <a:lnTo>
                      <a:pt x="172" y="310"/>
                    </a:lnTo>
                    <a:lnTo>
                      <a:pt x="172" y="307"/>
                    </a:lnTo>
                    <a:lnTo>
                      <a:pt x="172" y="306"/>
                    </a:lnTo>
                    <a:lnTo>
                      <a:pt x="172" y="304"/>
                    </a:lnTo>
                    <a:lnTo>
                      <a:pt x="171" y="299"/>
                    </a:lnTo>
                    <a:lnTo>
                      <a:pt x="169" y="296"/>
                    </a:lnTo>
                    <a:lnTo>
                      <a:pt x="169" y="293"/>
                    </a:lnTo>
                    <a:lnTo>
                      <a:pt x="167" y="291"/>
                    </a:lnTo>
                    <a:lnTo>
                      <a:pt x="167" y="290"/>
                    </a:lnTo>
                    <a:lnTo>
                      <a:pt x="167" y="288"/>
                    </a:lnTo>
                    <a:lnTo>
                      <a:pt x="167" y="285"/>
                    </a:lnTo>
                    <a:lnTo>
                      <a:pt x="167" y="283"/>
                    </a:lnTo>
                    <a:lnTo>
                      <a:pt x="167" y="282"/>
                    </a:lnTo>
                    <a:lnTo>
                      <a:pt x="167" y="280"/>
                    </a:lnTo>
                    <a:lnTo>
                      <a:pt x="167" y="279"/>
                    </a:lnTo>
                    <a:lnTo>
                      <a:pt x="166" y="279"/>
                    </a:lnTo>
                    <a:lnTo>
                      <a:pt x="166" y="277"/>
                    </a:lnTo>
                    <a:lnTo>
                      <a:pt x="166" y="274"/>
                    </a:lnTo>
                    <a:lnTo>
                      <a:pt x="166" y="272"/>
                    </a:lnTo>
                    <a:lnTo>
                      <a:pt x="164" y="272"/>
                    </a:lnTo>
                    <a:lnTo>
                      <a:pt x="164" y="271"/>
                    </a:lnTo>
                    <a:lnTo>
                      <a:pt x="164" y="272"/>
                    </a:lnTo>
                    <a:lnTo>
                      <a:pt x="163" y="272"/>
                    </a:lnTo>
                    <a:lnTo>
                      <a:pt x="161" y="272"/>
                    </a:lnTo>
                    <a:lnTo>
                      <a:pt x="160" y="272"/>
                    </a:lnTo>
                    <a:lnTo>
                      <a:pt x="158" y="272"/>
                    </a:lnTo>
                    <a:lnTo>
                      <a:pt x="156" y="272"/>
                    </a:lnTo>
                    <a:lnTo>
                      <a:pt x="156" y="274"/>
                    </a:lnTo>
                    <a:lnTo>
                      <a:pt x="155" y="274"/>
                    </a:lnTo>
                    <a:lnTo>
                      <a:pt x="155" y="272"/>
                    </a:lnTo>
                    <a:lnTo>
                      <a:pt x="153" y="272"/>
                    </a:lnTo>
                    <a:lnTo>
                      <a:pt x="153" y="271"/>
                    </a:lnTo>
                    <a:lnTo>
                      <a:pt x="152" y="272"/>
                    </a:lnTo>
                    <a:lnTo>
                      <a:pt x="152" y="274"/>
                    </a:lnTo>
                    <a:lnTo>
                      <a:pt x="150" y="274"/>
                    </a:lnTo>
                    <a:lnTo>
                      <a:pt x="150" y="276"/>
                    </a:lnTo>
                    <a:lnTo>
                      <a:pt x="148" y="276"/>
                    </a:lnTo>
                    <a:lnTo>
                      <a:pt x="148" y="277"/>
                    </a:lnTo>
                    <a:lnTo>
                      <a:pt x="147" y="277"/>
                    </a:lnTo>
                    <a:lnTo>
                      <a:pt x="145" y="277"/>
                    </a:lnTo>
                    <a:lnTo>
                      <a:pt x="144" y="277"/>
                    </a:lnTo>
                    <a:lnTo>
                      <a:pt x="144" y="276"/>
                    </a:lnTo>
                    <a:lnTo>
                      <a:pt x="144" y="277"/>
                    </a:lnTo>
                    <a:lnTo>
                      <a:pt x="142" y="277"/>
                    </a:lnTo>
                    <a:lnTo>
                      <a:pt x="142" y="276"/>
                    </a:lnTo>
                    <a:lnTo>
                      <a:pt x="142" y="277"/>
                    </a:lnTo>
                    <a:lnTo>
                      <a:pt x="140" y="277"/>
                    </a:lnTo>
                    <a:lnTo>
                      <a:pt x="139" y="277"/>
                    </a:lnTo>
                    <a:lnTo>
                      <a:pt x="139" y="279"/>
                    </a:lnTo>
                    <a:lnTo>
                      <a:pt x="137" y="279"/>
                    </a:lnTo>
                    <a:lnTo>
                      <a:pt x="136" y="279"/>
                    </a:lnTo>
                    <a:lnTo>
                      <a:pt x="134" y="279"/>
                    </a:lnTo>
                    <a:lnTo>
                      <a:pt x="133" y="277"/>
                    </a:lnTo>
                    <a:lnTo>
                      <a:pt x="131" y="277"/>
                    </a:lnTo>
                    <a:lnTo>
                      <a:pt x="129" y="277"/>
                    </a:lnTo>
                    <a:lnTo>
                      <a:pt x="128" y="277"/>
                    </a:lnTo>
                    <a:lnTo>
                      <a:pt x="126" y="277"/>
                    </a:lnTo>
                    <a:lnTo>
                      <a:pt x="126" y="276"/>
                    </a:lnTo>
                    <a:lnTo>
                      <a:pt x="125" y="276"/>
                    </a:lnTo>
                    <a:lnTo>
                      <a:pt x="123" y="276"/>
                    </a:lnTo>
                    <a:lnTo>
                      <a:pt x="121" y="276"/>
                    </a:lnTo>
                    <a:lnTo>
                      <a:pt x="121" y="274"/>
                    </a:lnTo>
                    <a:lnTo>
                      <a:pt x="120" y="274"/>
                    </a:lnTo>
                    <a:lnTo>
                      <a:pt x="118" y="274"/>
                    </a:lnTo>
                    <a:lnTo>
                      <a:pt x="118" y="272"/>
                    </a:lnTo>
                    <a:lnTo>
                      <a:pt x="115" y="271"/>
                    </a:lnTo>
                    <a:lnTo>
                      <a:pt x="114" y="271"/>
                    </a:lnTo>
                    <a:lnTo>
                      <a:pt x="112" y="271"/>
                    </a:lnTo>
                    <a:lnTo>
                      <a:pt x="112" y="269"/>
                    </a:lnTo>
                    <a:lnTo>
                      <a:pt x="110" y="269"/>
                    </a:lnTo>
                    <a:lnTo>
                      <a:pt x="109" y="269"/>
                    </a:lnTo>
                    <a:lnTo>
                      <a:pt x="109" y="268"/>
                    </a:lnTo>
                    <a:lnTo>
                      <a:pt x="107" y="268"/>
                    </a:lnTo>
                    <a:lnTo>
                      <a:pt x="107" y="266"/>
                    </a:lnTo>
                    <a:lnTo>
                      <a:pt x="106" y="268"/>
                    </a:lnTo>
                    <a:lnTo>
                      <a:pt x="106" y="266"/>
                    </a:lnTo>
                    <a:lnTo>
                      <a:pt x="104" y="266"/>
                    </a:lnTo>
                    <a:lnTo>
                      <a:pt x="102" y="266"/>
                    </a:lnTo>
                    <a:lnTo>
                      <a:pt x="101" y="264"/>
                    </a:lnTo>
                    <a:lnTo>
                      <a:pt x="99" y="264"/>
                    </a:lnTo>
                    <a:lnTo>
                      <a:pt x="98" y="264"/>
                    </a:lnTo>
                    <a:lnTo>
                      <a:pt x="93" y="264"/>
                    </a:lnTo>
                    <a:lnTo>
                      <a:pt x="91" y="264"/>
                    </a:lnTo>
                    <a:lnTo>
                      <a:pt x="91" y="263"/>
                    </a:lnTo>
                    <a:lnTo>
                      <a:pt x="90" y="263"/>
                    </a:lnTo>
                    <a:lnTo>
                      <a:pt x="90" y="261"/>
                    </a:lnTo>
                    <a:lnTo>
                      <a:pt x="88" y="261"/>
                    </a:lnTo>
                    <a:lnTo>
                      <a:pt x="88" y="260"/>
                    </a:lnTo>
                    <a:lnTo>
                      <a:pt x="87" y="258"/>
                    </a:lnTo>
                    <a:lnTo>
                      <a:pt x="85" y="258"/>
                    </a:lnTo>
                    <a:lnTo>
                      <a:pt x="83" y="258"/>
                    </a:lnTo>
                    <a:lnTo>
                      <a:pt x="82" y="258"/>
                    </a:lnTo>
                    <a:lnTo>
                      <a:pt x="82" y="260"/>
                    </a:lnTo>
                    <a:lnTo>
                      <a:pt x="80" y="260"/>
                    </a:lnTo>
                    <a:lnTo>
                      <a:pt x="79" y="260"/>
                    </a:lnTo>
                    <a:lnTo>
                      <a:pt x="79" y="261"/>
                    </a:lnTo>
                    <a:lnTo>
                      <a:pt x="77" y="261"/>
                    </a:lnTo>
                    <a:lnTo>
                      <a:pt x="76" y="261"/>
                    </a:lnTo>
                    <a:lnTo>
                      <a:pt x="76" y="257"/>
                    </a:lnTo>
                    <a:lnTo>
                      <a:pt x="74" y="257"/>
                    </a:lnTo>
                    <a:lnTo>
                      <a:pt x="74" y="255"/>
                    </a:lnTo>
                    <a:lnTo>
                      <a:pt x="72" y="255"/>
                    </a:lnTo>
                    <a:lnTo>
                      <a:pt x="71" y="255"/>
                    </a:lnTo>
                    <a:lnTo>
                      <a:pt x="71" y="253"/>
                    </a:lnTo>
                    <a:lnTo>
                      <a:pt x="72" y="253"/>
                    </a:lnTo>
                    <a:lnTo>
                      <a:pt x="72" y="252"/>
                    </a:lnTo>
                    <a:lnTo>
                      <a:pt x="71" y="252"/>
                    </a:lnTo>
                    <a:lnTo>
                      <a:pt x="71" y="250"/>
                    </a:lnTo>
                    <a:lnTo>
                      <a:pt x="71" y="249"/>
                    </a:lnTo>
                    <a:lnTo>
                      <a:pt x="72" y="249"/>
                    </a:lnTo>
                    <a:lnTo>
                      <a:pt x="71" y="249"/>
                    </a:lnTo>
                    <a:lnTo>
                      <a:pt x="69" y="249"/>
                    </a:lnTo>
                    <a:lnTo>
                      <a:pt x="69" y="247"/>
                    </a:lnTo>
                    <a:lnTo>
                      <a:pt x="69" y="245"/>
                    </a:lnTo>
                    <a:lnTo>
                      <a:pt x="68" y="245"/>
                    </a:lnTo>
                    <a:lnTo>
                      <a:pt x="66" y="245"/>
                    </a:lnTo>
                    <a:lnTo>
                      <a:pt x="64" y="244"/>
                    </a:lnTo>
                    <a:lnTo>
                      <a:pt x="66" y="244"/>
                    </a:lnTo>
                    <a:lnTo>
                      <a:pt x="66" y="242"/>
                    </a:lnTo>
                    <a:lnTo>
                      <a:pt x="64" y="242"/>
                    </a:lnTo>
                    <a:lnTo>
                      <a:pt x="64" y="241"/>
                    </a:lnTo>
                    <a:lnTo>
                      <a:pt x="64" y="239"/>
                    </a:lnTo>
                    <a:lnTo>
                      <a:pt x="63" y="239"/>
                    </a:lnTo>
                    <a:lnTo>
                      <a:pt x="64" y="239"/>
                    </a:lnTo>
                    <a:lnTo>
                      <a:pt x="66" y="239"/>
                    </a:lnTo>
                    <a:lnTo>
                      <a:pt x="64" y="239"/>
                    </a:lnTo>
                    <a:lnTo>
                      <a:pt x="64" y="238"/>
                    </a:lnTo>
                    <a:lnTo>
                      <a:pt x="63" y="238"/>
                    </a:lnTo>
                    <a:lnTo>
                      <a:pt x="66" y="233"/>
                    </a:lnTo>
                    <a:lnTo>
                      <a:pt x="66" y="231"/>
                    </a:lnTo>
                    <a:lnTo>
                      <a:pt x="66" y="230"/>
                    </a:lnTo>
                    <a:lnTo>
                      <a:pt x="66" y="228"/>
                    </a:lnTo>
                    <a:lnTo>
                      <a:pt x="66" y="226"/>
                    </a:lnTo>
                    <a:lnTo>
                      <a:pt x="68" y="226"/>
                    </a:lnTo>
                    <a:lnTo>
                      <a:pt x="69" y="226"/>
                    </a:lnTo>
                    <a:lnTo>
                      <a:pt x="71" y="226"/>
                    </a:lnTo>
                    <a:lnTo>
                      <a:pt x="72" y="226"/>
                    </a:lnTo>
                    <a:lnTo>
                      <a:pt x="76" y="217"/>
                    </a:lnTo>
                    <a:lnTo>
                      <a:pt x="79" y="199"/>
                    </a:lnTo>
                    <a:lnTo>
                      <a:pt x="83" y="182"/>
                    </a:lnTo>
                    <a:lnTo>
                      <a:pt x="83" y="176"/>
                    </a:lnTo>
                    <a:lnTo>
                      <a:pt x="85" y="163"/>
                    </a:lnTo>
                    <a:lnTo>
                      <a:pt x="85" y="154"/>
                    </a:lnTo>
                    <a:lnTo>
                      <a:pt x="85" y="144"/>
                    </a:lnTo>
                    <a:lnTo>
                      <a:pt x="83" y="133"/>
                    </a:lnTo>
                    <a:lnTo>
                      <a:pt x="83" y="127"/>
                    </a:lnTo>
                    <a:lnTo>
                      <a:pt x="83" y="123"/>
                    </a:lnTo>
                    <a:lnTo>
                      <a:pt x="82" y="123"/>
                    </a:lnTo>
                    <a:lnTo>
                      <a:pt x="80" y="123"/>
                    </a:lnTo>
                    <a:lnTo>
                      <a:pt x="79" y="123"/>
                    </a:lnTo>
                    <a:lnTo>
                      <a:pt x="79" y="122"/>
                    </a:lnTo>
                    <a:lnTo>
                      <a:pt x="77" y="122"/>
                    </a:lnTo>
                    <a:lnTo>
                      <a:pt x="76" y="122"/>
                    </a:lnTo>
                    <a:lnTo>
                      <a:pt x="74" y="122"/>
                    </a:lnTo>
                    <a:lnTo>
                      <a:pt x="74" y="120"/>
                    </a:lnTo>
                    <a:lnTo>
                      <a:pt x="72" y="120"/>
                    </a:lnTo>
                    <a:lnTo>
                      <a:pt x="71" y="120"/>
                    </a:lnTo>
                    <a:lnTo>
                      <a:pt x="71" y="119"/>
                    </a:lnTo>
                    <a:lnTo>
                      <a:pt x="69" y="117"/>
                    </a:lnTo>
                    <a:lnTo>
                      <a:pt x="69" y="116"/>
                    </a:lnTo>
                    <a:lnTo>
                      <a:pt x="71" y="116"/>
                    </a:lnTo>
                    <a:lnTo>
                      <a:pt x="72" y="116"/>
                    </a:lnTo>
                    <a:lnTo>
                      <a:pt x="74" y="116"/>
                    </a:lnTo>
                    <a:lnTo>
                      <a:pt x="74" y="117"/>
                    </a:lnTo>
                    <a:lnTo>
                      <a:pt x="76" y="117"/>
                    </a:lnTo>
                    <a:lnTo>
                      <a:pt x="77" y="116"/>
                    </a:lnTo>
                    <a:lnTo>
                      <a:pt x="77" y="114"/>
                    </a:lnTo>
                    <a:lnTo>
                      <a:pt x="76" y="114"/>
                    </a:lnTo>
                    <a:lnTo>
                      <a:pt x="74" y="114"/>
                    </a:lnTo>
                    <a:lnTo>
                      <a:pt x="72" y="114"/>
                    </a:lnTo>
                    <a:lnTo>
                      <a:pt x="71" y="114"/>
                    </a:lnTo>
                    <a:lnTo>
                      <a:pt x="69" y="114"/>
                    </a:lnTo>
                    <a:lnTo>
                      <a:pt x="68" y="114"/>
                    </a:lnTo>
                    <a:lnTo>
                      <a:pt x="66" y="114"/>
                    </a:lnTo>
                    <a:lnTo>
                      <a:pt x="64" y="114"/>
                    </a:lnTo>
                    <a:lnTo>
                      <a:pt x="63" y="114"/>
                    </a:lnTo>
                    <a:lnTo>
                      <a:pt x="61" y="112"/>
                    </a:lnTo>
                    <a:lnTo>
                      <a:pt x="60" y="112"/>
                    </a:lnTo>
                    <a:lnTo>
                      <a:pt x="60" y="111"/>
                    </a:lnTo>
                    <a:lnTo>
                      <a:pt x="58" y="109"/>
                    </a:lnTo>
                    <a:lnTo>
                      <a:pt x="58" y="108"/>
                    </a:lnTo>
                    <a:lnTo>
                      <a:pt x="58" y="106"/>
                    </a:lnTo>
                    <a:lnTo>
                      <a:pt x="57" y="106"/>
                    </a:lnTo>
                    <a:lnTo>
                      <a:pt x="57" y="104"/>
                    </a:lnTo>
                    <a:lnTo>
                      <a:pt x="57" y="103"/>
                    </a:lnTo>
                    <a:lnTo>
                      <a:pt x="55" y="101"/>
                    </a:lnTo>
                    <a:lnTo>
                      <a:pt x="55" y="100"/>
                    </a:lnTo>
                    <a:lnTo>
                      <a:pt x="53" y="100"/>
                    </a:lnTo>
                    <a:lnTo>
                      <a:pt x="53" y="98"/>
                    </a:lnTo>
                    <a:lnTo>
                      <a:pt x="53" y="97"/>
                    </a:lnTo>
                    <a:lnTo>
                      <a:pt x="52" y="97"/>
                    </a:lnTo>
                    <a:lnTo>
                      <a:pt x="52" y="95"/>
                    </a:lnTo>
                    <a:lnTo>
                      <a:pt x="52" y="93"/>
                    </a:lnTo>
                    <a:lnTo>
                      <a:pt x="50" y="93"/>
                    </a:lnTo>
                    <a:lnTo>
                      <a:pt x="50" y="92"/>
                    </a:lnTo>
                    <a:lnTo>
                      <a:pt x="49" y="92"/>
                    </a:lnTo>
                    <a:lnTo>
                      <a:pt x="49" y="90"/>
                    </a:lnTo>
                    <a:lnTo>
                      <a:pt x="47" y="89"/>
                    </a:lnTo>
                    <a:lnTo>
                      <a:pt x="45" y="87"/>
                    </a:lnTo>
                    <a:lnTo>
                      <a:pt x="44" y="85"/>
                    </a:lnTo>
                    <a:lnTo>
                      <a:pt x="44" y="84"/>
                    </a:lnTo>
                    <a:lnTo>
                      <a:pt x="42" y="84"/>
                    </a:lnTo>
                    <a:lnTo>
                      <a:pt x="42" y="82"/>
                    </a:lnTo>
                    <a:lnTo>
                      <a:pt x="42" y="81"/>
                    </a:lnTo>
                    <a:lnTo>
                      <a:pt x="42" y="79"/>
                    </a:lnTo>
                    <a:lnTo>
                      <a:pt x="41" y="79"/>
                    </a:lnTo>
                    <a:lnTo>
                      <a:pt x="39" y="79"/>
                    </a:lnTo>
                    <a:lnTo>
                      <a:pt x="38" y="78"/>
                    </a:lnTo>
                    <a:lnTo>
                      <a:pt x="38" y="76"/>
                    </a:lnTo>
                    <a:lnTo>
                      <a:pt x="38" y="74"/>
                    </a:lnTo>
                    <a:lnTo>
                      <a:pt x="38" y="73"/>
                    </a:lnTo>
                    <a:lnTo>
                      <a:pt x="39" y="71"/>
                    </a:lnTo>
                    <a:lnTo>
                      <a:pt x="38" y="70"/>
                    </a:lnTo>
                    <a:lnTo>
                      <a:pt x="36" y="68"/>
                    </a:lnTo>
                    <a:lnTo>
                      <a:pt x="34" y="66"/>
                    </a:lnTo>
                    <a:lnTo>
                      <a:pt x="33" y="66"/>
                    </a:lnTo>
                    <a:lnTo>
                      <a:pt x="33" y="65"/>
                    </a:lnTo>
                    <a:lnTo>
                      <a:pt x="31" y="65"/>
                    </a:lnTo>
                    <a:lnTo>
                      <a:pt x="31" y="63"/>
                    </a:lnTo>
                    <a:lnTo>
                      <a:pt x="30" y="62"/>
                    </a:lnTo>
                    <a:lnTo>
                      <a:pt x="28" y="60"/>
                    </a:lnTo>
                    <a:lnTo>
                      <a:pt x="30" y="60"/>
                    </a:lnTo>
                    <a:lnTo>
                      <a:pt x="28" y="59"/>
                    </a:lnTo>
                    <a:lnTo>
                      <a:pt x="28" y="57"/>
                    </a:lnTo>
                    <a:lnTo>
                      <a:pt x="28" y="55"/>
                    </a:lnTo>
                    <a:lnTo>
                      <a:pt x="28" y="54"/>
                    </a:lnTo>
                    <a:lnTo>
                      <a:pt x="28" y="52"/>
                    </a:lnTo>
                    <a:lnTo>
                      <a:pt x="28" y="51"/>
                    </a:lnTo>
                    <a:lnTo>
                      <a:pt x="28" y="49"/>
                    </a:lnTo>
                    <a:lnTo>
                      <a:pt x="28" y="47"/>
                    </a:lnTo>
                    <a:lnTo>
                      <a:pt x="28" y="46"/>
                    </a:lnTo>
                    <a:lnTo>
                      <a:pt x="28" y="44"/>
                    </a:lnTo>
                    <a:lnTo>
                      <a:pt x="28" y="43"/>
                    </a:lnTo>
                    <a:lnTo>
                      <a:pt x="28" y="41"/>
                    </a:lnTo>
                    <a:lnTo>
                      <a:pt x="28" y="39"/>
                    </a:lnTo>
                    <a:lnTo>
                      <a:pt x="26" y="39"/>
                    </a:lnTo>
                    <a:lnTo>
                      <a:pt x="26" y="38"/>
                    </a:lnTo>
                    <a:lnTo>
                      <a:pt x="25" y="38"/>
                    </a:lnTo>
                    <a:lnTo>
                      <a:pt x="23" y="38"/>
                    </a:lnTo>
                    <a:lnTo>
                      <a:pt x="23" y="36"/>
                    </a:lnTo>
                    <a:lnTo>
                      <a:pt x="23" y="35"/>
                    </a:lnTo>
                    <a:lnTo>
                      <a:pt x="23" y="33"/>
                    </a:lnTo>
                    <a:lnTo>
                      <a:pt x="22" y="33"/>
                    </a:lnTo>
                    <a:lnTo>
                      <a:pt x="22" y="32"/>
                    </a:lnTo>
                    <a:lnTo>
                      <a:pt x="20" y="32"/>
                    </a:lnTo>
                    <a:lnTo>
                      <a:pt x="20" y="30"/>
                    </a:lnTo>
                    <a:lnTo>
                      <a:pt x="19" y="30"/>
                    </a:lnTo>
                    <a:lnTo>
                      <a:pt x="19" y="28"/>
                    </a:lnTo>
                    <a:lnTo>
                      <a:pt x="17" y="28"/>
                    </a:lnTo>
                    <a:lnTo>
                      <a:pt x="19" y="27"/>
                    </a:lnTo>
                    <a:lnTo>
                      <a:pt x="17" y="27"/>
                    </a:lnTo>
                    <a:lnTo>
                      <a:pt x="15" y="27"/>
                    </a:lnTo>
                    <a:lnTo>
                      <a:pt x="15" y="25"/>
                    </a:lnTo>
                    <a:lnTo>
                      <a:pt x="15" y="24"/>
                    </a:lnTo>
                    <a:lnTo>
                      <a:pt x="14" y="24"/>
                    </a:lnTo>
                    <a:lnTo>
                      <a:pt x="12" y="24"/>
                    </a:lnTo>
                    <a:lnTo>
                      <a:pt x="12" y="22"/>
                    </a:lnTo>
                    <a:lnTo>
                      <a:pt x="11" y="22"/>
                    </a:lnTo>
                    <a:lnTo>
                      <a:pt x="11" y="20"/>
                    </a:lnTo>
                    <a:lnTo>
                      <a:pt x="9" y="20"/>
                    </a:lnTo>
                    <a:lnTo>
                      <a:pt x="7" y="19"/>
                    </a:lnTo>
                    <a:lnTo>
                      <a:pt x="7" y="17"/>
                    </a:lnTo>
                    <a:lnTo>
                      <a:pt x="7" y="16"/>
                    </a:lnTo>
                    <a:lnTo>
                      <a:pt x="6" y="16"/>
                    </a:lnTo>
                    <a:lnTo>
                      <a:pt x="4" y="16"/>
                    </a:lnTo>
                    <a:lnTo>
                      <a:pt x="3" y="16"/>
                    </a:lnTo>
                    <a:lnTo>
                      <a:pt x="3" y="14"/>
                    </a:lnTo>
                    <a:lnTo>
                      <a:pt x="3" y="13"/>
                    </a:lnTo>
                    <a:lnTo>
                      <a:pt x="4" y="13"/>
                    </a:lnTo>
                    <a:lnTo>
                      <a:pt x="6" y="13"/>
                    </a:lnTo>
                    <a:lnTo>
                      <a:pt x="7" y="13"/>
                    </a:lnTo>
                    <a:lnTo>
                      <a:pt x="9" y="13"/>
                    </a:lnTo>
                    <a:lnTo>
                      <a:pt x="11" y="13"/>
                    </a:lnTo>
                    <a:lnTo>
                      <a:pt x="12" y="11"/>
                    </a:lnTo>
                    <a:lnTo>
                      <a:pt x="14" y="11"/>
                    </a:lnTo>
                    <a:lnTo>
                      <a:pt x="15" y="11"/>
                    </a:lnTo>
                    <a:lnTo>
                      <a:pt x="17" y="11"/>
                    </a:lnTo>
                    <a:lnTo>
                      <a:pt x="17" y="9"/>
                    </a:lnTo>
                    <a:lnTo>
                      <a:pt x="19" y="9"/>
                    </a:lnTo>
                    <a:lnTo>
                      <a:pt x="20" y="9"/>
                    </a:lnTo>
                    <a:lnTo>
                      <a:pt x="22" y="9"/>
                    </a:lnTo>
                    <a:lnTo>
                      <a:pt x="23" y="9"/>
                    </a:lnTo>
                    <a:lnTo>
                      <a:pt x="23" y="8"/>
                    </a:lnTo>
                    <a:lnTo>
                      <a:pt x="25" y="8"/>
                    </a:lnTo>
                    <a:lnTo>
                      <a:pt x="26" y="8"/>
                    </a:lnTo>
                    <a:lnTo>
                      <a:pt x="28" y="8"/>
                    </a:lnTo>
                    <a:lnTo>
                      <a:pt x="30" y="8"/>
                    </a:lnTo>
                    <a:lnTo>
                      <a:pt x="30" y="6"/>
                    </a:lnTo>
                    <a:lnTo>
                      <a:pt x="31" y="6"/>
                    </a:lnTo>
                    <a:lnTo>
                      <a:pt x="33" y="6"/>
                    </a:lnTo>
                    <a:lnTo>
                      <a:pt x="34" y="6"/>
                    </a:lnTo>
                    <a:lnTo>
                      <a:pt x="36" y="5"/>
                    </a:lnTo>
                    <a:lnTo>
                      <a:pt x="38" y="5"/>
                    </a:lnTo>
                    <a:lnTo>
                      <a:pt x="39" y="5"/>
                    </a:lnTo>
                    <a:lnTo>
                      <a:pt x="41" y="5"/>
                    </a:lnTo>
                    <a:lnTo>
                      <a:pt x="42" y="3"/>
                    </a:lnTo>
                    <a:lnTo>
                      <a:pt x="44" y="3"/>
                    </a:lnTo>
                    <a:lnTo>
                      <a:pt x="45" y="3"/>
                    </a:lnTo>
                    <a:lnTo>
                      <a:pt x="47" y="3"/>
                    </a:lnTo>
                    <a:lnTo>
                      <a:pt x="49" y="1"/>
                    </a:lnTo>
                    <a:lnTo>
                      <a:pt x="50" y="1"/>
                    </a:lnTo>
                    <a:lnTo>
                      <a:pt x="52" y="1"/>
                    </a:lnTo>
                    <a:lnTo>
                      <a:pt x="53" y="0"/>
                    </a:lnTo>
                    <a:lnTo>
                      <a:pt x="55" y="0"/>
                    </a:lnTo>
                    <a:lnTo>
                      <a:pt x="57" y="0"/>
                    </a:lnTo>
                    <a:lnTo>
                      <a:pt x="58" y="0"/>
                    </a:lnTo>
                    <a:lnTo>
                      <a:pt x="58" y="1"/>
                    </a:lnTo>
                    <a:lnTo>
                      <a:pt x="60" y="1"/>
                    </a:lnTo>
                    <a:lnTo>
                      <a:pt x="61" y="1"/>
                    </a:lnTo>
                    <a:lnTo>
                      <a:pt x="61" y="3"/>
                    </a:lnTo>
                    <a:lnTo>
                      <a:pt x="63" y="3"/>
                    </a:lnTo>
                    <a:lnTo>
                      <a:pt x="63" y="5"/>
                    </a:lnTo>
                    <a:lnTo>
                      <a:pt x="64" y="5"/>
                    </a:lnTo>
                    <a:lnTo>
                      <a:pt x="64" y="6"/>
                    </a:lnTo>
                    <a:lnTo>
                      <a:pt x="64" y="8"/>
                    </a:lnTo>
                    <a:lnTo>
                      <a:pt x="66" y="8"/>
                    </a:lnTo>
                    <a:lnTo>
                      <a:pt x="68" y="8"/>
                    </a:lnTo>
                    <a:lnTo>
                      <a:pt x="69" y="8"/>
                    </a:lnTo>
                    <a:lnTo>
                      <a:pt x="69" y="6"/>
                    </a:lnTo>
                    <a:lnTo>
                      <a:pt x="71" y="6"/>
                    </a:lnTo>
                    <a:lnTo>
                      <a:pt x="72" y="6"/>
                    </a:lnTo>
                    <a:lnTo>
                      <a:pt x="72" y="5"/>
                    </a:lnTo>
                    <a:lnTo>
                      <a:pt x="74" y="5"/>
                    </a:lnTo>
                    <a:lnTo>
                      <a:pt x="76" y="5"/>
                    </a:lnTo>
                    <a:lnTo>
                      <a:pt x="76" y="3"/>
                    </a:lnTo>
                    <a:lnTo>
                      <a:pt x="77" y="3"/>
                    </a:lnTo>
                    <a:lnTo>
                      <a:pt x="79" y="3"/>
                    </a:lnTo>
                    <a:lnTo>
                      <a:pt x="80" y="3"/>
                    </a:lnTo>
                    <a:lnTo>
                      <a:pt x="82" y="5"/>
                    </a:lnTo>
                    <a:lnTo>
                      <a:pt x="83" y="5"/>
                    </a:lnTo>
                    <a:lnTo>
                      <a:pt x="85" y="5"/>
                    </a:lnTo>
                    <a:lnTo>
                      <a:pt x="87" y="5"/>
                    </a:lnTo>
                    <a:lnTo>
                      <a:pt x="87" y="3"/>
                    </a:lnTo>
                    <a:lnTo>
                      <a:pt x="88" y="1"/>
                    </a:lnTo>
                    <a:lnTo>
                      <a:pt x="90" y="0"/>
                    </a:lnTo>
                    <a:lnTo>
                      <a:pt x="91" y="0"/>
                    </a:lnTo>
                    <a:lnTo>
                      <a:pt x="91" y="1"/>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98" name="Rectangle 78"/>
              <p:cNvSpPr>
                <a:spLocks noChangeArrowheads="1"/>
              </p:cNvSpPr>
              <p:nvPr/>
            </p:nvSpPr>
            <p:spPr bwMode="auto">
              <a:xfrm>
                <a:off x="5199" y="2940"/>
                <a:ext cx="1" cy="2"/>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99" name="Freeform 79"/>
              <p:cNvSpPr>
                <a:spLocks/>
              </p:cNvSpPr>
              <p:nvPr/>
            </p:nvSpPr>
            <p:spPr bwMode="auto">
              <a:xfrm>
                <a:off x="5153" y="2915"/>
                <a:ext cx="1" cy="1"/>
              </a:xfrm>
              <a:custGeom>
                <a:avLst/>
                <a:gdLst>
                  <a:gd name="T0" fmla="*/ 0 w 1"/>
                  <a:gd name="T1" fmla="*/ 0 h 1"/>
                  <a:gd name="T2" fmla="*/ 1 w 1"/>
                  <a:gd name="T3" fmla="*/ 0 h 1"/>
                  <a:gd name="T4" fmla="*/ 0 w 1"/>
                  <a:gd name="T5" fmla="*/ 0 h 1"/>
                  <a:gd name="T6" fmla="*/ 1 w 1"/>
                  <a:gd name="T7" fmla="*/ 0 h 1"/>
                  <a:gd name="T8" fmla="*/ 1 w 1"/>
                  <a:gd name="T9" fmla="*/ 1 h 1"/>
                  <a:gd name="T10" fmla="*/ 0 w 1"/>
                  <a:gd name="T11" fmla="*/ 1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lnTo>
                      <a:pt x="1" y="0"/>
                    </a:lnTo>
                    <a:lnTo>
                      <a:pt x="0" y="0"/>
                    </a:lnTo>
                    <a:lnTo>
                      <a:pt x="1" y="0"/>
                    </a:lnTo>
                    <a:lnTo>
                      <a:pt x="1" y="1"/>
                    </a:lnTo>
                    <a:lnTo>
                      <a:pt x="0" y="1"/>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00" name="Freeform 80"/>
              <p:cNvSpPr>
                <a:spLocks/>
              </p:cNvSpPr>
              <p:nvPr/>
            </p:nvSpPr>
            <p:spPr bwMode="auto">
              <a:xfrm>
                <a:off x="5124" y="2910"/>
                <a:ext cx="2" cy="3"/>
              </a:xfrm>
              <a:custGeom>
                <a:avLst/>
                <a:gdLst>
                  <a:gd name="T0" fmla="*/ 0 w 2"/>
                  <a:gd name="T1" fmla="*/ 0 h 3"/>
                  <a:gd name="T2" fmla="*/ 0 w 2"/>
                  <a:gd name="T3" fmla="*/ 1 h 3"/>
                  <a:gd name="T4" fmla="*/ 2 w 2"/>
                  <a:gd name="T5" fmla="*/ 1 h 3"/>
                  <a:gd name="T6" fmla="*/ 2 w 2"/>
                  <a:gd name="T7" fmla="*/ 3 h 3"/>
                  <a:gd name="T8" fmla="*/ 0 w 2"/>
                  <a:gd name="T9" fmla="*/ 3 h 3"/>
                  <a:gd name="T10" fmla="*/ 0 w 2"/>
                  <a:gd name="T11" fmla="*/ 1 h 3"/>
                  <a:gd name="T12" fmla="*/ 0 w 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0"/>
                    </a:moveTo>
                    <a:lnTo>
                      <a:pt x="0" y="1"/>
                    </a:lnTo>
                    <a:lnTo>
                      <a:pt x="2" y="1"/>
                    </a:lnTo>
                    <a:lnTo>
                      <a:pt x="2" y="3"/>
                    </a:lnTo>
                    <a:lnTo>
                      <a:pt x="0" y="3"/>
                    </a:lnTo>
                    <a:lnTo>
                      <a:pt x="0" y="1"/>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01" name="Freeform 81"/>
              <p:cNvSpPr>
                <a:spLocks/>
              </p:cNvSpPr>
              <p:nvPr/>
            </p:nvSpPr>
            <p:spPr bwMode="auto">
              <a:xfrm>
                <a:off x="5124" y="2908"/>
                <a:ext cx="2"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02" name="Freeform 82"/>
              <p:cNvSpPr>
                <a:spLocks/>
              </p:cNvSpPr>
              <p:nvPr/>
            </p:nvSpPr>
            <p:spPr bwMode="auto">
              <a:xfrm>
                <a:off x="5203" y="2907"/>
                <a:ext cx="2"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03" name="Freeform 83"/>
              <p:cNvSpPr>
                <a:spLocks/>
              </p:cNvSpPr>
              <p:nvPr/>
            </p:nvSpPr>
            <p:spPr bwMode="auto">
              <a:xfrm>
                <a:off x="5245" y="2831"/>
                <a:ext cx="9" cy="9"/>
              </a:xfrm>
              <a:custGeom>
                <a:avLst/>
                <a:gdLst>
                  <a:gd name="T0" fmla="*/ 0 w 9"/>
                  <a:gd name="T1" fmla="*/ 0 h 9"/>
                  <a:gd name="T2" fmla="*/ 0 w 9"/>
                  <a:gd name="T3" fmla="*/ 1 h 9"/>
                  <a:gd name="T4" fmla="*/ 1 w 9"/>
                  <a:gd name="T5" fmla="*/ 1 h 9"/>
                  <a:gd name="T6" fmla="*/ 3 w 9"/>
                  <a:gd name="T7" fmla="*/ 1 h 9"/>
                  <a:gd name="T8" fmla="*/ 4 w 9"/>
                  <a:gd name="T9" fmla="*/ 1 h 9"/>
                  <a:gd name="T10" fmla="*/ 6 w 9"/>
                  <a:gd name="T11" fmla="*/ 1 h 9"/>
                  <a:gd name="T12" fmla="*/ 8 w 9"/>
                  <a:gd name="T13" fmla="*/ 1 h 9"/>
                  <a:gd name="T14" fmla="*/ 9 w 9"/>
                  <a:gd name="T15" fmla="*/ 1 h 9"/>
                  <a:gd name="T16" fmla="*/ 9 w 9"/>
                  <a:gd name="T17" fmla="*/ 3 h 9"/>
                  <a:gd name="T18" fmla="*/ 9 w 9"/>
                  <a:gd name="T19" fmla="*/ 4 h 9"/>
                  <a:gd name="T20" fmla="*/ 8 w 9"/>
                  <a:gd name="T21" fmla="*/ 4 h 9"/>
                  <a:gd name="T22" fmla="*/ 6 w 9"/>
                  <a:gd name="T23" fmla="*/ 4 h 9"/>
                  <a:gd name="T24" fmla="*/ 6 w 9"/>
                  <a:gd name="T25" fmla="*/ 6 h 9"/>
                  <a:gd name="T26" fmla="*/ 4 w 9"/>
                  <a:gd name="T27" fmla="*/ 6 h 9"/>
                  <a:gd name="T28" fmla="*/ 4 w 9"/>
                  <a:gd name="T29" fmla="*/ 8 h 9"/>
                  <a:gd name="T30" fmla="*/ 3 w 9"/>
                  <a:gd name="T31" fmla="*/ 8 h 9"/>
                  <a:gd name="T32" fmla="*/ 3 w 9"/>
                  <a:gd name="T33" fmla="*/ 9 h 9"/>
                  <a:gd name="T34" fmla="*/ 1 w 9"/>
                  <a:gd name="T35" fmla="*/ 9 h 9"/>
                  <a:gd name="T36" fmla="*/ 1 w 9"/>
                  <a:gd name="T37" fmla="*/ 8 h 9"/>
                  <a:gd name="T38" fmla="*/ 1 w 9"/>
                  <a:gd name="T39" fmla="*/ 6 h 9"/>
                  <a:gd name="T40" fmla="*/ 0 w 9"/>
                  <a:gd name="T41" fmla="*/ 6 h 9"/>
                  <a:gd name="T42" fmla="*/ 0 w 9"/>
                  <a:gd name="T43" fmla="*/ 4 h 9"/>
                  <a:gd name="T44" fmla="*/ 0 w 9"/>
                  <a:gd name="T45" fmla="*/ 3 h 9"/>
                  <a:gd name="T46" fmla="*/ 1 w 9"/>
                  <a:gd name="T47" fmla="*/ 3 h 9"/>
                  <a:gd name="T48" fmla="*/ 0 w 9"/>
                  <a:gd name="T49" fmla="*/ 3 h 9"/>
                  <a:gd name="T50" fmla="*/ 0 w 9"/>
                  <a:gd name="T51" fmla="*/ 1 h 9"/>
                  <a:gd name="T52" fmla="*/ 0 w 9"/>
                  <a:gd name="T5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 h="9">
                    <a:moveTo>
                      <a:pt x="0" y="0"/>
                    </a:moveTo>
                    <a:lnTo>
                      <a:pt x="0" y="1"/>
                    </a:lnTo>
                    <a:lnTo>
                      <a:pt x="1" y="1"/>
                    </a:lnTo>
                    <a:lnTo>
                      <a:pt x="3" y="1"/>
                    </a:lnTo>
                    <a:lnTo>
                      <a:pt x="4" y="1"/>
                    </a:lnTo>
                    <a:lnTo>
                      <a:pt x="6" y="1"/>
                    </a:lnTo>
                    <a:lnTo>
                      <a:pt x="8" y="1"/>
                    </a:lnTo>
                    <a:lnTo>
                      <a:pt x="9" y="1"/>
                    </a:lnTo>
                    <a:lnTo>
                      <a:pt x="9" y="3"/>
                    </a:lnTo>
                    <a:lnTo>
                      <a:pt x="9" y="4"/>
                    </a:lnTo>
                    <a:lnTo>
                      <a:pt x="8" y="4"/>
                    </a:lnTo>
                    <a:lnTo>
                      <a:pt x="6" y="4"/>
                    </a:lnTo>
                    <a:lnTo>
                      <a:pt x="6" y="6"/>
                    </a:lnTo>
                    <a:lnTo>
                      <a:pt x="4" y="6"/>
                    </a:lnTo>
                    <a:lnTo>
                      <a:pt x="4" y="8"/>
                    </a:lnTo>
                    <a:lnTo>
                      <a:pt x="3" y="8"/>
                    </a:lnTo>
                    <a:lnTo>
                      <a:pt x="3" y="9"/>
                    </a:lnTo>
                    <a:lnTo>
                      <a:pt x="1" y="9"/>
                    </a:lnTo>
                    <a:lnTo>
                      <a:pt x="1" y="8"/>
                    </a:lnTo>
                    <a:lnTo>
                      <a:pt x="1" y="6"/>
                    </a:lnTo>
                    <a:lnTo>
                      <a:pt x="0" y="6"/>
                    </a:lnTo>
                    <a:lnTo>
                      <a:pt x="0" y="4"/>
                    </a:lnTo>
                    <a:lnTo>
                      <a:pt x="0" y="3"/>
                    </a:lnTo>
                    <a:lnTo>
                      <a:pt x="1" y="3"/>
                    </a:lnTo>
                    <a:lnTo>
                      <a:pt x="0" y="3"/>
                    </a:lnTo>
                    <a:lnTo>
                      <a:pt x="0" y="1"/>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04" name="Freeform 84"/>
              <p:cNvSpPr>
                <a:spLocks/>
              </p:cNvSpPr>
              <p:nvPr/>
            </p:nvSpPr>
            <p:spPr bwMode="auto">
              <a:xfrm>
                <a:off x="5260" y="2828"/>
                <a:ext cx="2"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05" name="Freeform 85"/>
              <p:cNvSpPr>
                <a:spLocks/>
              </p:cNvSpPr>
              <p:nvPr/>
            </p:nvSpPr>
            <p:spPr bwMode="auto">
              <a:xfrm>
                <a:off x="5254" y="2809"/>
                <a:ext cx="2" cy="1"/>
              </a:xfrm>
              <a:custGeom>
                <a:avLst/>
                <a:gdLst>
                  <a:gd name="T0" fmla="*/ 2 w 2"/>
                  <a:gd name="T1" fmla="*/ 1 h 1"/>
                  <a:gd name="T2" fmla="*/ 0 w 2"/>
                  <a:gd name="T3" fmla="*/ 1 h 1"/>
                  <a:gd name="T4" fmla="*/ 2 w 2"/>
                  <a:gd name="T5" fmla="*/ 1 h 1"/>
                  <a:gd name="T6" fmla="*/ 2 w 2"/>
                  <a:gd name="T7" fmla="*/ 0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lnTo>
                      <a:pt x="0" y="1"/>
                    </a:lnTo>
                    <a:lnTo>
                      <a:pt x="2" y="1"/>
                    </a:lnTo>
                    <a:lnTo>
                      <a:pt x="2" y="0"/>
                    </a:lnTo>
                    <a:lnTo>
                      <a:pt x="2" y="1"/>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06" name="Freeform 86"/>
              <p:cNvSpPr>
                <a:spLocks/>
              </p:cNvSpPr>
              <p:nvPr/>
            </p:nvSpPr>
            <p:spPr bwMode="auto">
              <a:xfrm>
                <a:off x="5257" y="2807"/>
                <a:ext cx="5" cy="5"/>
              </a:xfrm>
              <a:custGeom>
                <a:avLst/>
                <a:gdLst>
                  <a:gd name="T0" fmla="*/ 2 w 5"/>
                  <a:gd name="T1" fmla="*/ 0 h 5"/>
                  <a:gd name="T2" fmla="*/ 3 w 5"/>
                  <a:gd name="T3" fmla="*/ 0 h 5"/>
                  <a:gd name="T4" fmla="*/ 5 w 5"/>
                  <a:gd name="T5" fmla="*/ 0 h 5"/>
                  <a:gd name="T6" fmla="*/ 5 w 5"/>
                  <a:gd name="T7" fmla="*/ 2 h 5"/>
                  <a:gd name="T8" fmla="*/ 3 w 5"/>
                  <a:gd name="T9" fmla="*/ 2 h 5"/>
                  <a:gd name="T10" fmla="*/ 3 w 5"/>
                  <a:gd name="T11" fmla="*/ 3 h 5"/>
                  <a:gd name="T12" fmla="*/ 3 w 5"/>
                  <a:gd name="T13" fmla="*/ 5 h 5"/>
                  <a:gd name="T14" fmla="*/ 2 w 5"/>
                  <a:gd name="T15" fmla="*/ 5 h 5"/>
                  <a:gd name="T16" fmla="*/ 0 w 5"/>
                  <a:gd name="T17" fmla="*/ 5 h 5"/>
                  <a:gd name="T18" fmla="*/ 0 w 5"/>
                  <a:gd name="T19" fmla="*/ 3 h 5"/>
                  <a:gd name="T20" fmla="*/ 0 w 5"/>
                  <a:gd name="T21" fmla="*/ 2 h 5"/>
                  <a:gd name="T22" fmla="*/ 2 w 5"/>
                  <a:gd name="T23" fmla="*/ 2 h 5"/>
                  <a:gd name="T24" fmla="*/ 2 w 5"/>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2" y="0"/>
                    </a:moveTo>
                    <a:lnTo>
                      <a:pt x="3" y="0"/>
                    </a:lnTo>
                    <a:lnTo>
                      <a:pt x="5" y="0"/>
                    </a:lnTo>
                    <a:lnTo>
                      <a:pt x="5" y="2"/>
                    </a:lnTo>
                    <a:lnTo>
                      <a:pt x="3" y="2"/>
                    </a:lnTo>
                    <a:lnTo>
                      <a:pt x="3" y="3"/>
                    </a:lnTo>
                    <a:lnTo>
                      <a:pt x="3" y="5"/>
                    </a:lnTo>
                    <a:lnTo>
                      <a:pt x="2" y="5"/>
                    </a:lnTo>
                    <a:lnTo>
                      <a:pt x="0" y="5"/>
                    </a:lnTo>
                    <a:lnTo>
                      <a:pt x="0" y="3"/>
                    </a:lnTo>
                    <a:lnTo>
                      <a:pt x="0" y="2"/>
                    </a:lnTo>
                    <a:lnTo>
                      <a:pt x="2" y="2"/>
                    </a:lnTo>
                    <a:lnTo>
                      <a:pt x="2"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07" name="Freeform 87"/>
              <p:cNvSpPr>
                <a:spLocks/>
              </p:cNvSpPr>
              <p:nvPr/>
            </p:nvSpPr>
            <p:spPr bwMode="auto">
              <a:xfrm>
                <a:off x="5256" y="2804"/>
                <a:ext cx="20" cy="24"/>
              </a:xfrm>
              <a:custGeom>
                <a:avLst/>
                <a:gdLst>
                  <a:gd name="T0" fmla="*/ 17 w 20"/>
                  <a:gd name="T1" fmla="*/ 1 h 24"/>
                  <a:gd name="T2" fmla="*/ 16 w 20"/>
                  <a:gd name="T3" fmla="*/ 3 h 24"/>
                  <a:gd name="T4" fmla="*/ 17 w 20"/>
                  <a:gd name="T5" fmla="*/ 1 h 24"/>
                  <a:gd name="T6" fmla="*/ 17 w 20"/>
                  <a:gd name="T7" fmla="*/ 1 h 24"/>
                  <a:gd name="T8" fmla="*/ 19 w 20"/>
                  <a:gd name="T9" fmla="*/ 0 h 24"/>
                  <a:gd name="T10" fmla="*/ 20 w 20"/>
                  <a:gd name="T11" fmla="*/ 1 h 24"/>
                  <a:gd name="T12" fmla="*/ 20 w 20"/>
                  <a:gd name="T13" fmla="*/ 5 h 24"/>
                  <a:gd name="T14" fmla="*/ 19 w 20"/>
                  <a:gd name="T15" fmla="*/ 6 h 24"/>
                  <a:gd name="T16" fmla="*/ 19 w 20"/>
                  <a:gd name="T17" fmla="*/ 9 h 24"/>
                  <a:gd name="T18" fmla="*/ 17 w 20"/>
                  <a:gd name="T19" fmla="*/ 11 h 24"/>
                  <a:gd name="T20" fmla="*/ 16 w 20"/>
                  <a:gd name="T21" fmla="*/ 12 h 24"/>
                  <a:gd name="T22" fmla="*/ 14 w 20"/>
                  <a:gd name="T23" fmla="*/ 14 h 24"/>
                  <a:gd name="T24" fmla="*/ 12 w 20"/>
                  <a:gd name="T25" fmla="*/ 16 h 24"/>
                  <a:gd name="T26" fmla="*/ 11 w 20"/>
                  <a:gd name="T27" fmla="*/ 17 h 24"/>
                  <a:gd name="T28" fmla="*/ 12 w 20"/>
                  <a:gd name="T29" fmla="*/ 19 h 24"/>
                  <a:gd name="T30" fmla="*/ 11 w 20"/>
                  <a:gd name="T31" fmla="*/ 20 h 24"/>
                  <a:gd name="T32" fmla="*/ 9 w 20"/>
                  <a:gd name="T33" fmla="*/ 22 h 24"/>
                  <a:gd name="T34" fmla="*/ 8 w 20"/>
                  <a:gd name="T35" fmla="*/ 20 h 24"/>
                  <a:gd name="T36" fmla="*/ 8 w 20"/>
                  <a:gd name="T37" fmla="*/ 20 h 24"/>
                  <a:gd name="T38" fmla="*/ 6 w 20"/>
                  <a:gd name="T39" fmla="*/ 22 h 24"/>
                  <a:gd name="T40" fmla="*/ 4 w 20"/>
                  <a:gd name="T41" fmla="*/ 24 h 24"/>
                  <a:gd name="T42" fmla="*/ 3 w 20"/>
                  <a:gd name="T43" fmla="*/ 22 h 24"/>
                  <a:gd name="T44" fmla="*/ 1 w 20"/>
                  <a:gd name="T45" fmla="*/ 20 h 24"/>
                  <a:gd name="T46" fmla="*/ 1 w 20"/>
                  <a:gd name="T47" fmla="*/ 17 h 24"/>
                  <a:gd name="T48" fmla="*/ 0 w 20"/>
                  <a:gd name="T49" fmla="*/ 19 h 24"/>
                  <a:gd name="T50" fmla="*/ 1 w 20"/>
                  <a:gd name="T51" fmla="*/ 17 h 24"/>
                  <a:gd name="T52" fmla="*/ 3 w 20"/>
                  <a:gd name="T53" fmla="*/ 19 h 24"/>
                  <a:gd name="T54" fmla="*/ 3 w 20"/>
                  <a:gd name="T55" fmla="*/ 16 h 24"/>
                  <a:gd name="T56" fmla="*/ 3 w 20"/>
                  <a:gd name="T57" fmla="*/ 12 h 24"/>
                  <a:gd name="T58" fmla="*/ 3 w 20"/>
                  <a:gd name="T59" fmla="*/ 9 h 24"/>
                  <a:gd name="T60" fmla="*/ 4 w 20"/>
                  <a:gd name="T61" fmla="*/ 8 h 24"/>
                  <a:gd name="T62" fmla="*/ 6 w 20"/>
                  <a:gd name="T63" fmla="*/ 6 h 24"/>
                  <a:gd name="T64" fmla="*/ 8 w 20"/>
                  <a:gd name="T65" fmla="*/ 5 h 24"/>
                  <a:gd name="T66" fmla="*/ 9 w 20"/>
                  <a:gd name="T67" fmla="*/ 6 h 24"/>
                  <a:gd name="T68" fmla="*/ 11 w 20"/>
                  <a:gd name="T69" fmla="*/ 8 h 24"/>
                  <a:gd name="T70" fmla="*/ 11 w 20"/>
                  <a:gd name="T71" fmla="*/ 8 h 24"/>
                  <a:gd name="T72" fmla="*/ 14 w 20"/>
                  <a:gd name="T73" fmla="*/ 8 h 24"/>
                  <a:gd name="T74" fmla="*/ 16 w 20"/>
                  <a:gd name="T75" fmla="*/ 6 h 24"/>
                  <a:gd name="T76" fmla="*/ 16 w 20"/>
                  <a:gd name="T77" fmla="*/ 3 h 24"/>
                  <a:gd name="T78" fmla="*/ 16 w 20"/>
                  <a:gd name="T7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24">
                    <a:moveTo>
                      <a:pt x="17" y="0"/>
                    </a:moveTo>
                    <a:lnTo>
                      <a:pt x="17" y="1"/>
                    </a:lnTo>
                    <a:lnTo>
                      <a:pt x="17" y="3"/>
                    </a:lnTo>
                    <a:lnTo>
                      <a:pt x="16" y="3"/>
                    </a:lnTo>
                    <a:lnTo>
                      <a:pt x="17" y="3"/>
                    </a:lnTo>
                    <a:lnTo>
                      <a:pt x="17" y="1"/>
                    </a:lnTo>
                    <a:lnTo>
                      <a:pt x="17" y="3"/>
                    </a:lnTo>
                    <a:lnTo>
                      <a:pt x="17" y="1"/>
                    </a:lnTo>
                    <a:lnTo>
                      <a:pt x="17" y="0"/>
                    </a:lnTo>
                    <a:lnTo>
                      <a:pt x="19" y="0"/>
                    </a:lnTo>
                    <a:lnTo>
                      <a:pt x="19" y="1"/>
                    </a:lnTo>
                    <a:lnTo>
                      <a:pt x="20" y="1"/>
                    </a:lnTo>
                    <a:lnTo>
                      <a:pt x="20" y="3"/>
                    </a:lnTo>
                    <a:lnTo>
                      <a:pt x="20" y="5"/>
                    </a:lnTo>
                    <a:lnTo>
                      <a:pt x="20" y="6"/>
                    </a:lnTo>
                    <a:lnTo>
                      <a:pt x="19" y="6"/>
                    </a:lnTo>
                    <a:lnTo>
                      <a:pt x="19" y="8"/>
                    </a:lnTo>
                    <a:lnTo>
                      <a:pt x="19" y="9"/>
                    </a:lnTo>
                    <a:lnTo>
                      <a:pt x="17" y="9"/>
                    </a:lnTo>
                    <a:lnTo>
                      <a:pt x="17" y="11"/>
                    </a:lnTo>
                    <a:lnTo>
                      <a:pt x="16" y="11"/>
                    </a:lnTo>
                    <a:lnTo>
                      <a:pt x="16" y="12"/>
                    </a:lnTo>
                    <a:lnTo>
                      <a:pt x="14" y="12"/>
                    </a:lnTo>
                    <a:lnTo>
                      <a:pt x="14" y="14"/>
                    </a:lnTo>
                    <a:lnTo>
                      <a:pt x="14" y="16"/>
                    </a:lnTo>
                    <a:lnTo>
                      <a:pt x="12" y="16"/>
                    </a:lnTo>
                    <a:lnTo>
                      <a:pt x="12" y="17"/>
                    </a:lnTo>
                    <a:lnTo>
                      <a:pt x="11" y="17"/>
                    </a:lnTo>
                    <a:lnTo>
                      <a:pt x="12" y="17"/>
                    </a:lnTo>
                    <a:lnTo>
                      <a:pt x="12" y="19"/>
                    </a:lnTo>
                    <a:lnTo>
                      <a:pt x="11" y="19"/>
                    </a:lnTo>
                    <a:lnTo>
                      <a:pt x="11" y="20"/>
                    </a:lnTo>
                    <a:lnTo>
                      <a:pt x="9" y="20"/>
                    </a:lnTo>
                    <a:lnTo>
                      <a:pt x="9" y="22"/>
                    </a:lnTo>
                    <a:lnTo>
                      <a:pt x="9" y="20"/>
                    </a:lnTo>
                    <a:lnTo>
                      <a:pt x="8" y="20"/>
                    </a:lnTo>
                    <a:lnTo>
                      <a:pt x="8" y="22"/>
                    </a:lnTo>
                    <a:lnTo>
                      <a:pt x="8" y="20"/>
                    </a:lnTo>
                    <a:lnTo>
                      <a:pt x="8" y="22"/>
                    </a:lnTo>
                    <a:lnTo>
                      <a:pt x="6" y="22"/>
                    </a:lnTo>
                    <a:lnTo>
                      <a:pt x="6" y="24"/>
                    </a:lnTo>
                    <a:lnTo>
                      <a:pt x="4" y="24"/>
                    </a:lnTo>
                    <a:lnTo>
                      <a:pt x="4" y="22"/>
                    </a:lnTo>
                    <a:lnTo>
                      <a:pt x="3" y="22"/>
                    </a:lnTo>
                    <a:lnTo>
                      <a:pt x="3" y="20"/>
                    </a:lnTo>
                    <a:lnTo>
                      <a:pt x="1" y="20"/>
                    </a:lnTo>
                    <a:lnTo>
                      <a:pt x="1" y="19"/>
                    </a:lnTo>
                    <a:lnTo>
                      <a:pt x="1" y="17"/>
                    </a:lnTo>
                    <a:lnTo>
                      <a:pt x="0" y="17"/>
                    </a:lnTo>
                    <a:lnTo>
                      <a:pt x="0" y="19"/>
                    </a:lnTo>
                    <a:lnTo>
                      <a:pt x="0" y="17"/>
                    </a:lnTo>
                    <a:lnTo>
                      <a:pt x="1" y="17"/>
                    </a:lnTo>
                    <a:lnTo>
                      <a:pt x="1" y="19"/>
                    </a:lnTo>
                    <a:lnTo>
                      <a:pt x="3" y="19"/>
                    </a:lnTo>
                    <a:lnTo>
                      <a:pt x="3" y="17"/>
                    </a:lnTo>
                    <a:lnTo>
                      <a:pt x="3" y="16"/>
                    </a:lnTo>
                    <a:lnTo>
                      <a:pt x="3" y="14"/>
                    </a:lnTo>
                    <a:lnTo>
                      <a:pt x="3" y="12"/>
                    </a:lnTo>
                    <a:lnTo>
                      <a:pt x="3" y="11"/>
                    </a:lnTo>
                    <a:lnTo>
                      <a:pt x="3" y="9"/>
                    </a:lnTo>
                    <a:lnTo>
                      <a:pt x="4" y="9"/>
                    </a:lnTo>
                    <a:lnTo>
                      <a:pt x="4" y="8"/>
                    </a:lnTo>
                    <a:lnTo>
                      <a:pt x="6" y="8"/>
                    </a:lnTo>
                    <a:lnTo>
                      <a:pt x="6" y="6"/>
                    </a:lnTo>
                    <a:lnTo>
                      <a:pt x="6" y="5"/>
                    </a:lnTo>
                    <a:lnTo>
                      <a:pt x="8" y="5"/>
                    </a:lnTo>
                    <a:lnTo>
                      <a:pt x="8" y="6"/>
                    </a:lnTo>
                    <a:lnTo>
                      <a:pt x="9" y="6"/>
                    </a:lnTo>
                    <a:lnTo>
                      <a:pt x="9" y="8"/>
                    </a:lnTo>
                    <a:lnTo>
                      <a:pt x="11" y="8"/>
                    </a:lnTo>
                    <a:lnTo>
                      <a:pt x="11" y="9"/>
                    </a:lnTo>
                    <a:lnTo>
                      <a:pt x="11" y="8"/>
                    </a:lnTo>
                    <a:lnTo>
                      <a:pt x="12" y="8"/>
                    </a:lnTo>
                    <a:lnTo>
                      <a:pt x="14" y="8"/>
                    </a:lnTo>
                    <a:lnTo>
                      <a:pt x="14" y="6"/>
                    </a:lnTo>
                    <a:lnTo>
                      <a:pt x="16" y="6"/>
                    </a:lnTo>
                    <a:lnTo>
                      <a:pt x="16" y="5"/>
                    </a:lnTo>
                    <a:lnTo>
                      <a:pt x="16" y="3"/>
                    </a:lnTo>
                    <a:lnTo>
                      <a:pt x="16" y="1"/>
                    </a:lnTo>
                    <a:lnTo>
                      <a:pt x="16" y="0"/>
                    </a:lnTo>
                    <a:lnTo>
                      <a:pt x="17"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08" name="Freeform 88"/>
              <p:cNvSpPr>
                <a:spLocks/>
              </p:cNvSpPr>
              <p:nvPr/>
            </p:nvSpPr>
            <p:spPr bwMode="auto">
              <a:xfrm>
                <a:off x="5207" y="2797"/>
                <a:ext cx="1" cy="2"/>
              </a:xfrm>
              <a:custGeom>
                <a:avLst/>
                <a:gdLst>
                  <a:gd name="T0" fmla="*/ 1 w 1"/>
                  <a:gd name="T1" fmla="*/ 0 h 2"/>
                  <a:gd name="T2" fmla="*/ 1 w 1"/>
                  <a:gd name="T3" fmla="*/ 2 h 2"/>
                  <a:gd name="T4" fmla="*/ 1 w 1"/>
                  <a:gd name="T5" fmla="*/ 0 h 2"/>
                  <a:gd name="T6" fmla="*/ 0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lnTo>
                      <a:pt x="1" y="2"/>
                    </a:lnTo>
                    <a:lnTo>
                      <a:pt x="1" y="0"/>
                    </a:lnTo>
                    <a:lnTo>
                      <a:pt x="0" y="0"/>
                    </a:lnTo>
                    <a:lnTo>
                      <a:pt x="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09" name="Freeform 89"/>
              <p:cNvSpPr>
                <a:spLocks/>
              </p:cNvSpPr>
              <p:nvPr/>
            </p:nvSpPr>
            <p:spPr bwMode="auto">
              <a:xfrm>
                <a:off x="5177" y="2797"/>
                <a:ext cx="9" cy="2"/>
              </a:xfrm>
              <a:custGeom>
                <a:avLst/>
                <a:gdLst>
                  <a:gd name="T0" fmla="*/ 3 w 9"/>
                  <a:gd name="T1" fmla="*/ 0 h 2"/>
                  <a:gd name="T2" fmla="*/ 4 w 9"/>
                  <a:gd name="T3" fmla="*/ 0 h 2"/>
                  <a:gd name="T4" fmla="*/ 6 w 9"/>
                  <a:gd name="T5" fmla="*/ 0 h 2"/>
                  <a:gd name="T6" fmla="*/ 6 w 9"/>
                  <a:gd name="T7" fmla="*/ 2 h 2"/>
                  <a:gd name="T8" fmla="*/ 7 w 9"/>
                  <a:gd name="T9" fmla="*/ 2 h 2"/>
                  <a:gd name="T10" fmla="*/ 9 w 9"/>
                  <a:gd name="T11" fmla="*/ 2 h 2"/>
                  <a:gd name="T12" fmla="*/ 7 w 9"/>
                  <a:gd name="T13" fmla="*/ 2 h 2"/>
                  <a:gd name="T14" fmla="*/ 6 w 9"/>
                  <a:gd name="T15" fmla="*/ 2 h 2"/>
                  <a:gd name="T16" fmla="*/ 4 w 9"/>
                  <a:gd name="T17" fmla="*/ 2 h 2"/>
                  <a:gd name="T18" fmla="*/ 3 w 9"/>
                  <a:gd name="T19" fmla="*/ 2 h 2"/>
                  <a:gd name="T20" fmla="*/ 3 w 9"/>
                  <a:gd name="T21" fmla="*/ 0 h 2"/>
                  <a:gd name="T22" fmla="*/ 1 w 9"/>
                  <a:gd name="T23" fmla="*/ 0 h 2"/>
                  <a:gd name="T24" fmla="*/ 0 w 9"/>
                  <a:gd name="T25" fmla="*/ 0 h 2"/>
                  <a:gd name="T26" fmla="*/ 1 w 9"/>
                  <a:gd name="T27" fmla="*/ 0 h 2"/>
                  <a:gd name="T28" fmla="*/ 3 w 9"/>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2">
                    <a:moveTo>
                      <a:pt x="3" y="0"/>
                    </a:moveTo>
                    <a:lnTo>
                      <a:pt x="4" y="0"/>
                    </a:lnTo>
                    <a:lnTo>
                      <a:pt x="6" y="0"/>
                    </a:lnTo>
                    <a:lnTo>
                      <a:pt x="6" y="2"/>
                    </a:lnTo>
                    <a:lnTo>
                      <a:pt x="7" y="2"/>
                    </a:lnTo>
                    <a:lnTo>
                      <a:pt x="9" y="2"/>
                    </a:lnTo>
                    <a:lnTo>
                      <a:pt x="7" y="2"/>
                    </a:lnTo>
                    <a:lnTo>
                      <a:pt x="6" y="2"/>
                    </a:lnTo>
                    <a:lnTo>
                      <a:pt x="4" y="2"/>
                    </a:lnTo>
                    <a:lnTo>
                      <a:pt x="3" y="2"/>
                    </a:lnTo>
                    <a:lnTo>
                      <a:pt x="3" y="0"/>
                    </a:lnTo>
                    <a:lnTo>
                      <a:pt x="1" y="0"/>
                    </a:lnTo>
                    <a:lnTo>
                      <a:pt x="0" y="0"/>
                    </a:lnTo>
                    <a:lnTo>
                      <a:pt x="1" y="0"/>
                    </a:lnTo>
                    <a:lnTo>
                      <a:pt x="3"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10" name="Freeform 90"/>
              <p:cNvSpPr>
                <a:spLocks/>
              </p:cNvSpPr>
              <p:nvPr/>
            </p:nvSpPr>
            <p:spPr bwMode="auto">
              <a:xfrm>
                <a:off x="5273" y="2793"/>
                <a:ext cx="6" cy="4"/>
              </a:xfrm>
              <a:custGeom>
                <a:avLst/>
                <a:gdLst>
                  <a:gd name="T0" fmla="*/ 5 w 6"/>
                  <a:gd name="T1" fmla="*/ 0 h 4"/>
                  <a:gd name="T2" fmla="*/ 5 w 6"/>
                  <a:gd name="T3" fmla="*/ 1 h 4"/>
                  <a:gd name="T4" fmla="*/ 5 w 6"/>
                  <a:gd name="T5" fmla="*/ 3 h 4"/>
                  <a:gd name="T6" fmla="*/ 6 w 6"/>
                  <a:gd name="T7" fmla="*/ 3 h 4"/>
                  <a:gd name="T8" fmla="*/ 5 w 6"/>
                  <a:gd name="T9" fmla="*/ 3 h 4"/>
                  <a:gd name="T10" fmla="*/ 5 w 6"/>
                  <a:gd name="T11" fmla="*/ 4 h 4"/>
                  <a:gd name="T12" fmla="*/ 3 w 6"/>
                  <a:gd name="T13" fmla="*/ 4 h 4"/>
                  <a:gd name="T14" fmla="*/ 2 w 6"/>
                  <a:gd name="T15" fmla="*/ 4 h 4"/>
                  <a:gd name="T16" fmla="*/ 0 w 6"/>
                  <a:gd name="T17" fmla="*/ 4 h 4"/>
                  <a:gd name="T18" fmla="*/ 0 w 6"/>
                  <a:gd name="T19" fmla="*/ 3 h 4"/>
                  <a:gd name="T20" fmla="*/ 0 w 6"/>
                  <a:gd name="T21" fmla="*/ 1 h 4"/>
                  <a:gd name="T22" fmla="*/ 2 w 6"/>
                  <a:gd name="T23" fmla="*/ 1 h 4"/>
                  <a:gd name="T24" fmla="*/ 2 w 6"/>
                  <a:gd name="T25" fmla="*/ 3 h 4"/>
                  <a:gd name="T26" fmla="*/ 2 w 6"/>
                  <a:gd name="T27" fmla="*/ 4 h 4"/>
                  <a:gd name="T28" fmla="*/ 2 w 6"/>
                  <a:gd name="T29" fmla="*/ 3 h 4"/>
                  <a:gd name="T30" fmla="*/ 3 w 6"/>
                  <a:gd name="T31" fmla="*/ 3 h 4"/>
                  <a:gd name="T32" fmla="*/ 3 w 6"/>
                  <a:gd name="T33" fmla="*/ 1 h 4"/>
                  <a:gd name="T34" fmla="*/ 3 w 6"/>
                  <a:gd name="T35" fmla="*/ 0 h 4"/>
                  <a:gd name="T36" fmla="*/ 5 w 6"/>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4">
                    <a:moveTo>
                      <a:pt x="5" y="0"/>
                    </a:moveTo>
                    <a:lnTo>
                      <a:pt x="5" y="1"/>
                    </a:lnTo>
                    <a:lnTo>
                      <a:pt x="5" y="3"/>
                    </a:lnTo>
                    <a:lnTo>
                      <a:pt x="6" y="3"/>
                    </a:lnTo>
                    <a:lnTo>
                      <a:pt x="5" y="3"/>
                    </a:lnTo>
                    <a:lnTo>
                      <a:pt x="5" y="4"/>
                    </a:lnTo>
                    <a:lnTo>
                      <a:pt x="3" y="4"/>
                    </a:lnTo>
                    <a:lnTo>
                      <a:pt x="2" y="4"/>
                    </a:lnTo>
                    <a:lnTo>
                      <a:pt x="0" y="4"/>
                    </a:lnTo>
                    <a:lnTo>
                      <a:pt x="0" y="3"/>
                    </a:lnTo>
                    <a:lnTo>
                      <a:pt x="0" y="1"/>
                    </a:lnTo>
                    <a:lnTo>
                      <a:pt x="2" y="1"/>
                    </a:lnTo>
                    <a:lnTo>
                      <a:pt x="2" y="3"/>
                    </a:lnTo>
                    <a:lnTo>
                      <a:pt x="2" y="4"/>
                    </a:lnTo>
                    <a:lnTo>
                      <a:pt x="2" y="3"/>
                    </a:lnTo>
                    <a:lnTo>
                      <a:pt x="3" y="3"/>
                    </a:lnTo>
                    <a:lnTo>
                      <a:pt x="3" y="1"/>
                    </a:lnTo>
                    <a:lnTo>
                      <a:pt x="3" y="0"/>
                    </a:lnTo>
                    <a:lnTo>
                      <a:pt x="5"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11" name="Freeform 91"/>
              <p:cNvSpPr>
                <a:spLocks/>
              </p:cNvSpPr>
              <p:nvPr/>
            </p:nvSpPr>
            <p:spPr bwMode="auto">
              <a:xfrm>
                <a:off x="5283" y="2731"/>
                <a:ext cx="1" cy="2"/>
              </a:xfrm>
              <a:custGeom>
                <a:avLst/>
                <a:gdLst>
                  <a:gd name="T0" fmla="*/ 1 w 1"/>
                  <a:gd name="T1" fmla="*/ 0 h 2"/>
                  <a:gd name="T2" fmla="*/ 1 w 1"/>
                  <a:gd name="T3" fmla="*/ 2 h 2"/>
                  <a:gd name="T4" fmla="*/ 0 w 1"/>
                  <a:gd name="T5" fmla="*/ 2 h 2"/>
                  <a:gd name="T6" fmla="*/ 1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lnTo>
                      <a:pt x="1" y="2"/>
                    </a:lnTo>
                    <a:lnTo>
                      <a:pt x="0" y="2"/>
                    </a:lnTo>
                    <a:lnTo>
                      <a:pt x="1" y="2"/>
                    </a:lnTo>
                    <a:lnTo>
                      <a:pt x="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12" name="Freeform 92"/>
              <p:cNvSpPr>
                <a:spLocks/>
              </p:cNvSpPr>
              <p:nvPr/>
            </p:nvSpPr>
            <p:spPr bwMode="auto">
              <a:xfrm>
                <a:off x="5298" y="2706"/>
                <a:ext cx="2" cy="3"/>
              </a:xfrm>
              <a:custGeom>
                <a:avLst/>
                <a:gdLst>
                  <a:gd name="T0" fmla="*/ 2 w 2"/>
                  <a:gd name="T1" fmla="*/ 0 h 3"/>
                  <a:gd name="T2" fmla="*/ 2 w 2"/>
                  <a:gd name="T3" fmla="*/ 1 h 3"/>
                  <a:gd name="T4" fmla="*/ 0 w 2"/>
                  <a:gd name="T5" fmla="*/ 1 h 3"/>
                  <a:gd name="T6" fmla="*/ 0 w 2"/>
                  <a:gd name="T7" fmla="*/ 3 h 3"/>
                  <a:gd name="T8" fmla="*/ 0 w 2"/>
                  <a:gd name="T9" fmla="*/ 1 h 3"/>
                  <a:gd name="T10" fmla="*/ 0 w 2"/>
                  <a:gd name="T11" fmla="*/ 3 h 3"/>
                  <a:gd name="T12" fmla="*/ 0 w 2"/>
                  <a:gd name="T13" fmla="*/ 1 h 3"/>
                  <a:gd name="T14" fmla="*/ 0 w 2"/>
                  <a:gd name="T15" fmla="*/ 0 h 3"/>
                  <a:gd name="T16" fmla="*/ 2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2" y="0"/>
                    </a:moveTo>
                    <a:lnTo>
                      <a:pt x="2" y="1"/>
                    </a:lnTo>
                    <a:lnTo>
                      <a:pt x="0" y="1"/>
                    </a:lnTo>
                    <a:lnTo>
                      <a:pt x="0" y="3"/>
                    </a:lnTo>
                    <a:lnTo>
                      <a:pt x="0" y="1"/>
                    </a:lnTo>
                    <a:lnTo>
                      <a:pt x="0" y="3"/>
                    </a:lnTo>
                    <a:lnTo>
                      <a:pt x="0" y="1"/>
                    </a:lnTo>
                    <a:lnTo>
                      <a:pt x="0" y="0"/>
                    </a:lnTo>
                    <a:lnTo>
                      <a:pt x="2"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13" name="Freeform 93"/>
              <p:cNvSpPr>
                <a:spLocks/>
              </p:cNvSpPr>
              <p:nvPr/>
            </p:nvSpPr>
            <p:spPr bwMode="auto">
              <a:xfrm>
                <a:off x="5203" y="2699"/>
                <a:ext cx="105" cy="116"/>
              </a:xfrm>
              <a:custGeom>
                <a:avLst/>
                <a:gdLst>
                  <a:gd name="T0" fmla="*/ 105 w 105"/>
                  <a:gd name="T1" fmla="*/ 5 h 116"/>
                  <a:gd name="T2" fmla="*/ 105 w 105"/>
                  <a:gd name="T3" fmla="*/ 14 h 116"/>
                  <a:gd name="T4" fmla="*/ 103 w 105"/>
                  <a:gd name="T5" fmla="*/ 19 h 116"/>
                  <a:gd name="T6" fmla="*/ 103 w 105"/>
                  <a:gd name="T7" fmla="*/ 29 h 116"/>
                  <a:gd name="T8" fmla="*/ 102 w 105"/>
                  <a:gd name="T9" fmla="*/ 37 h 116"/>
                  <a:gd name="T10" fmla="*/ 99 w 105"/>
                  <a:gd name="T11" fmla="*/ 43 h 116"/>
                  <a:gd name="T12" fmla="*/ 97 w 105"/>
                  <a:gd name="T13" fmla="*/ 51 h 116"/>
                  <a:gd name="T14" fmla="*/ 94 w 105"/>
                  <a:gd name="T15" fmla="*/ 57 h 116"/>
                  <a:gd name="T16" fmla="*/ 91 w 105"/>
                  <a:gd name="T17" fmla="*/ 64 h 116"/>
                  <a:gd name="T18" fmla="*/ 86 w 105"/>
                  <a:gd name="T19" fmla="*/ 68 h 116"/>
                  <a:gd name="T20" fmla="*/ 88 w 105"/>
                  <a:gd name="T21" fmla="*/ 76 h 116"/>
                  <a:gd name="T22" fmla="*/ 84 w 105"/>
                  <a:gd name="T23" fmla="*/ 83 h 116"/>
                  <a:gd name="T24" fmla="*/ 81 w 105"/>
                  <a:gd name="T25" fmla="*/ 89 h 116"/>
                  <a:gd name="T26" fmla="*/ 76 w 105"/>
                  <a:gd name="T27" fmla="*/ 91 h 116"/>
                  <a:gd name="T28" fmla="*/ 72 w 105"/>
                  <a:gd name="T29" fmla="*/ 89 h 116"/>
                  <a:gd name="T30" fmla="*/ 65 w 105"/>
                  <a:gd name="T31" fmla="*/ 86 h 116"/>
                  <a:gd name="T32" fmla="*/ 59 w 105"/>
                  <a:gd name="T33" fmla="*/ 89 h 116"/>
                  <a:gd name="T34" fmla="*/ 53 w 105"/>
                  <a:gd name="T35" fmla="*/ 92 h 116"/>
                  <a:gd name="T36" fmla="*/ 48 w 105"/>
                  <a:gd name="T37" fmla="*/ 97 h 116"/>
                  <a:gd name="T38" fmla="*/ 48 w 105"/>
                  <a:gd name="T39" fmla="*/ 103 h 116"/>
                  <a:gd name="T40" fmla="*/ 53 w 105"/>
                  <a:gd name="T41" fmla="*/ 108 h 116"/>
                  <a:gd name="T42" fmla="*/ 46 w 105"/>
                  <a:gd name="T43" fmla="*/ 111 h 116"/>
                  <a:gd name="T44" fmla="*/ 40 w 105"/>
                  <a:gd name="T45" fmla="*/ 114 h 116"/>
                  <a:gd name="T46" fmla="*/ 32 w 105"/>
                  <a:gd name="T47" fmla="*/ 116 h 116"/>
                  <a:gd name="T48" fmla="*/ 24 w 105"/>
                  <a:gd name="T49" fmla="*/ 114 h 116"/>
                  <a:gd name="T50" fmla="*/ 21 w 105"/>
                  <a:gd name="T51" fmla="*/ 114 h 116"/>
                  <a:gd name="T52" fmla="*/ 15 w 105"/>
                  <a:gd name="T53" fmla="*/ 114 h 116"/>
                  <a:gd name="T54" fmla="*/ 10 w 105"/>
                  <a:gd name="T55" fmla="*/ 110 h 116"/>
                  <a:gd name="T56" fmla="*/ 5 w 105"/>
                  <a:gd name="T57" fmla="*/ 105 h 116"/>
                  <a:gd name="T58" fmla="*/ 0 w 105"/>
                  <a:gd name="T59" fmla="*/ 100 h 116"/>
                  <a:gd name="T60" fmla="*/ 4 w 105"/>
                  <a:gd name="T61" fmla="*/ 100 h 116"/>
                  <a:gd name="T62" fmla="*/ 10 w 105"/>
                  <a:gd name="T63" fmla="*/ 97 h 116"/>
                  <a:gd name="T64" fmla="*/ 16 w 105"/>
                  <a:gd name="T65" fmla="*/ 94 h 116"/>
                  <a:gd name="T66" fmla="*/ 23 w 105"/>
                  <a:gd name="T67" fmla="*/ 91 h 116"/>
                  <a:gd name="T68" fmla="*/ 27 w 105"/>
                  <a:gd name="T69" fmla="*/ 86 h 116"/>
                  <a:gd name="T70" fmla="*/ 31 w 105"/>
                  <a:gd name="T71" fmla="*/ 79 h 116"/>
                  <a:gd name="T72" fmla="*/ 35 w 105"/>
                  <a:gd name="T73" fmla="*/ 75 h 116"/>
                  <a:gd name="T74" fmla="*/ 40 w 105"/>
                  <a:gd name="T75" fmla="*/ 70 h 116"/>
                  <a:gd name="T76" fmla="*/ 42 w 105"/>
                  <a:gd name="T77" fmla="*/ 65 h 116"/>
                  <a:gd name="T78" fmla="*/ 38 w 105"/>
                  <a:gd name="T79" fmla="*/ 65 h 116"/>
                  <a:gd name="T80" fmla="*/ 40 w 105"/>
                  <a:gd name="T81" fmla="*/ 60 h 116"/>
                  <a:gd name="T82" fmla="*/ 43 w 105"/>
                  <a:gd name="T83" fmla="*/ 57 h 116"/>
                  <a:gd name="T84" fmla="*/ 53 w 105"/>
                  <a:gd name="T85" fmla="*/ 57 h 116"/>
                  <a:gd name="T86" fmla="*/ 59 w 105"/>
                  <a:gd name="T87" fmla="*/ 54 h 116"/>
                  <a:gd name="T88" fmla="*/ 67 w 105"/>
                  <a:gd name="T89" fmla="*/ 53 h 116"/>
                  <a:gd name="T90" fmla="*/ 73 w 105"/>
                  <a:gd name="T91" fmla="*/ 49 h 116"/>
                  <a:gd name="T92" fmla="*/ 73 w 105"/>
                  <a:gd name="T93" fmla="*/ 49 h 116"/>
                  <a:gd name="T94" fmla="*/ 73 w 105"/>
                  <a:gd name="T95" fmla="*/ 46 h 116"/>
                  <a:gd name="T96" fmla="*/ 65 w 105"/>
                  <a:gd name="T97" fmla="*/ 48 h 116"/>
                  <a:gd name="T98" fmla="*/ 62 w 105"/>
                  <a:gd name="T99" fmla="*/ 48 h 116"/>
                  <a:gd name="T100" fmla="*/ 62 w 105"/>
                  <a:gd name="T101" fmla="*/ 45 h 116"/>
                  <a:gd name="T102" fmla="*/ 69 w 105"/>
                  <a:gd name="T103" fmla="*/ 41 h 116"/>
                  <a:gd name="T104" fmla="*/ 72 w 105"/>
                  <a:gd name="T105" fmla="*/ 38 h 116"/>
                  <a:gd name="T106" fmla="*/ 78 w 105"/>
                  <a:gd name="T107" fmla="*/ 35 h 116"/>
                  <a:gd name="T108" fmla="*/ 83 w 105"/>
                  <a:gd name="T109" fmla="*/ 37 h 116"/>
                  <a:gd name="T110" fmla="*/ 83 w 105"/>
                  <a:gd name="T111" fmla="*/ 30 h 116"/>
                  <a:gd name="T112" fmla="*/ 86 w 105"/>
                  <a:gd name="T113" fmla="*/ 24 h 116"/>
                  <a:gd name="T114" fmla="*/ 91 w 105"/>
                  <a:gd name="T115" fmla="*/ 19 h 116"/>
                  <a:gd name="T116" fmla="*/ 92 w 105"/>
                  <a:gd name="T117" fmla="*/ 14 h 116"/>
                  <a:gd name="T118" fmla="*/ 97 w 105"/>
                  <a:gd name="T119" fmla="*/ 10 h 116"/>
                  <a:gd name="T120" fmla="*/ 100 w 105"/>
                  <a:gd name="T121" fmla="*/ 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116">
                    <a:moveTo>
                      <a:pt x="102" y="0"/>
                    </a:moveTo>
                    <a:lnTo>
                      <a:pt x="103" y="0"/>
                    </a:lnTo>
                    <a:lnTo>
                      <a:pt x="105" y="0"/>
                    </a:lnTo>
                    <a:lnTo>
                      <a:pt x="105" y="2"/>
                    </a:lnTo>
                    <a:lnTo>
                      <a:pt x="105" y="3"/>
                    </a:lnTo>
                    <a:lnTo>
                      <a:pt x="105" y="5"/>
                    </a:lnTo>
                    <a:lnTo>
                      <a:pt x="105" y="7"/>
                    </a:lnTo>
                    <a:lnTo>
                      <a:pt x="105" y="8"/>
                    </a:lnTo>
                    <a:lnTo>
                      <a:pt x="105" y="10"/>
                    </a:lnTo>
                    <a:lnTo>
                      <a:pt x="105" y="11"/>
                    </a:lnTo>
                    <a:lnTo>
                      <a:pt x="105" y="13"/>
                    </a:lnTo>
                    <a:lnTo>
                      <a:pt x="105" y="14"/>
                    </a:lnTo>
                    <a:lnTo>
                      <a:pt x="105" y="16"/>
                    </a:lnTo>
                    <a:lnTo>
                      <a:pt x="103" y="16"/>
                    </a:lnTo>
                    <a:lnTo>
                      <a:pt x="105" y="16"/>
                    </a:lnTo>
                    <a:lnTo>
                      <a:pt x="103" y="16"/>
                    </a:lnTo>
                    <a:lnTo>
                      <a:pt x="103" y="18"/>
                    </a:lnTo>
                    <a:lnTo>
                      <a:pt x="103" y="19"/>
                    </a:lnTo>
                    <a:lnTo>
                      <a:pt x="103" y="21"/>
                    </a:lnTo>
                    <a:lnTo>
                      <a:pt x="103" y="22"/>
                    </a:lnTo>
                    <a:lnTo>
                      <a:pt x="103" y="24"/>
                    </a:lnTo>
                    <a:lnTo>
                      <a:pt x="103" y="26"/>
                    </a:lnTo>
                    <a:lnTo>
                      <a:pt x="103" y="27"/>
                    </a:lnTo>
                    <a:lnTo>
                      <a:pt x="103" y="29"/>
                    </a:lnTo>
                    <a:lnTo>
                      <a:pt x="102" y="29"/>
                    </a:lnTo>
                    <a:lnTo>
                      <a:pt x="102" y="30"/>
                    </a:lnTo>
                    <a:lnTo>
                      <a:pt x="102" y="32"/>
                    </a:lnTo>
                    <a:lnTo>
                      <a:pt x="102" y="34"/>
                    </a:lnTo>
                    <a:lnTo>
                      <a:pt x="102" y="35"/>
                    </a:lnTo>
                    <a:lnTo>
                      <a:pt x="102" y="37"/>
                    </a:lnTo>
                    <a:lnTo>
                      <a:pt x="100" y="37"/>
                    </a:lnTo>
                    <a:lnTo>
                      <a:pt x="100" y="38"/>
                    </a:lnTo>
                    <a:lnTo>
                      <a:pt x="100" y="40"/>
                    </a:lnTo>
                    <a:lnTo>
                      <a:pt x="100" y="41"/>
                    </a:lnTo>
                    <a:lnTo>
                      <a:pt x="100" y="43"/>
                    </a:lnTo>
                    <a:lnTo>
                      <a:pt x="99" y="43"/>
                    </a:lnTo>
                    <a:lnTo>
                      <a:pt x="99" y="45"/>
                    </a:lnTo>
                    <a:lnTo>
                      <a:pt x="99" y="46"/>
                    </a:lnTo>
                    <a:lnTo>
                      <a:pt x="99" y="48"/>
                    </a:lnTo>
                    <a:lnTo>
                      <a:pt x="97" y="48"/>
                    </a:lnTo>
                    <a:lnTo>
                      <a:pt x="97" y="49"/>
                    </a:lnTo>
                    <a:lnTo>
                      <a:pt x="97" y="51"/>
                    </a:lnTo>
                    <a:lnTo>
                      <a:pt x="97" y="53"/>
                    </a:lnTo>
                    <a:lnTo>
                      <a:pt x="97" y="54"/>
                    </a:lnTo>
                    <a:lnTo>
                      <a:pt x="95" y="54"/>
                    </a:lnTo>
                    <a:lnTo>
                      <a:pt x="95" y="56"/>
                    </a:lnTo>
                    <a:lnTo>
                      <a:pt x="95" y="57"/>
                    </a:lnTo>
                    <a:lnTo>
                      <a:pt x="94" y="57"/>
                    </a:lnTo>
                    <a:lnTo>
                      <a:pt x="94" y="59"/>
                    </a:lnTo>
                    <a:lnTo>
                      <a:pt x="94" y="60"/>
                    </a:lnTo>
                    <a:lnTo>
                      <a:pt x="92" y="60"/>
                    </a:lnTo>
                    <a:lnTo>
                      <a:pt x="92" y="62"/>
                    </a:lnTo>
                    <a:lnTo>
                      <a:pt x="92" y="64"/>
                    </a:lnTo>
                    <a:lnTo>
                      <a:pt x="91" y="64"/>
                    </a:lnTo>
                    <a:lnTo>
                      <a:pt x="91" y="65"/>
                    </a:lnTo>
                    <a:lnTo>
                      <a:pt x="89" y="65"/>
                    </a:lnTo>
                    <a:lnTo>
                      <a:pt x="89" y="67"/>
                    </a:lnTo>
                    <a:lnTo>
                      <a:pt x="88" y="67"/>
                    </a:lnTo>
                    <a:lnTo>
                      <a:pt x="86" y="67"/>
                    </a:lnTo>
                    <a:lnTo>
                      <a:pt x="86" y="68"/>
                    </a:lnTo>
                    <a:lnTo>
                      <a:pt x="86" y="70"/>
                    </a:lnTo>
                    <a:lnTo>
                      <a:pt x="86" y="72"/>
                    </a:lnTo>
                    <a:lnTo>
                      <a:pt x="86" y="73"/>
                    </a:lnTo>
                    <a:lnTo>
                      <a:pt x="88" y="73"/>
                    </a:lnTo>
                    <a:lnTo>
                      <a:pt x="88" y="75"/>
                    </a:lnTo>
                    <a:lnTo>
                      <a:pt x="88" y="76"/>
                    </a:lnTo>
                    <a:lnTo>
                      <a:pt x="88" y="78"/>
                    </a:lnTo>
                    <a:lnTo>
                      <a:pt x="86" y="78"/>
                    </a:lnTo>
                    <a:lnTo>
                      <a:pt x="86" y="79"/>
                    </a:lnTo>
                    <a:lnTo>
                      <a:pt x="86" y="81"/>
                    </a:lnTo>
                    <a:lnTo>
                      <a:pt x="84" y="81"/>
                    </a:lnTo>
                    <a:lnTo>
                      <a:pt x="84" y="83"/>
                    </a:lnTo>
                    <a:lnTo>
                      <a:pt x="84" y="84"/>
                    </a:lnTo>
                    <a:lnTo>
                      <a:pt x="83" y="84"/>
                    </a:lnTo>
                    <a:lnTo>
                      <a:pt x="83" y="86"/>
                    </a:lnTo>
                    <a:lnTo>
                      <a:pt x="83" y="87"/>
                    </a:lnTo>
                    <a:lnTo>
                      <a:pt x="81" y="87"/>
                    </a:lnTo>
                    <a:lnTo>
                      <a:pt x="81" y="89"/>
                    </a:lnTo>
                    <a:lnTo>
                      <a:pt x="80" y="89"/>
                    </a:lnTo>
                    <a:lnTo>
                      <a:pt x="80" y="91"/>
                    </a:lnTo>
                    <a:lnTo>
                      <a:pt x="78" y="91"/>
                    </a:lnTo>
                    <a:lnTo>
                      <a:pt x="78" y="89"/>
                    </a:lnTo>
                    <a:lnTo>
                      <a:pt x="78" y="91"/>
                    </a:lnTo>
                    <a:lnTo>
                      <a:pt x="76" y="91"/>
                    </a:lnTo>
                    <a:lnTo>
                      <a:pt x="75" y="91"/>
                    </a:lnTo>
                    <a:lnTo>
                      <a:pt x="75" y="92"/>
                    </a:lnTo>
                    <a:lnTo>
                      <a:pt x="75" y="91"/>
                    </a:lnTo>
                    <a:lnTo>
                      <a:pt x="73" y="91"/>
                    </a:lnTo>
                    <a:lnTo>
                      <a:pt x="72" y="91"/>
                    </a:lnTo>
                    <a:lnTo>
                      <a:pt x="72" y="89"/>
                    </a:lnTo>
                    <a:lnTo>
                      <a:pt x="70" y="89"/>
                    </a:lnTo>
                    <a:lnTo>
                      <a:pt x="70" y="87"/>
                    </a:lnTo>
                    <a:lnTo>
                      <a:pt x="69" y="87"/>
                    </a:lnTo>
                    <a:lnTo>
                      <a:pt x="69" y="86"/>
                    </a:lnTo>
                    <a:lnTo>
                      <a:pt x="67" y="86"/>
                    </a:lnTo>
                    <a:lnTo>
                      <a:pt x="65" y="86"/>
                    </a:lnTo>
                    <a:lnTo>
                      <a:pt x="64" y="86"/>
                    </a:lnTo>
                    <a:lnTo>
                      <a:pt x="64" y="87"/>
                    </a:lnTo>
                    <a:lnTo>
                      <a:pt x="62" y="87"/>
                    </a:lnTo>
                    <a:lnTo>
                      <a:pt x="61" y="87"/>
                    </a:lnTo>
                    <a:lnTo>
                      <a:pt x="59" y="87"/>
                    </a:lnTo>
                    <a:lnTo>
                      <a:pt x="59" y="89"/>
                    </a:lnTo>
                    <a:lnTo>
                      <a:pt x="57" y="89"/>
                    </a:lnTo>
                    <a:lnTo>
                      <a:pt x="57" y="91"/>
                    </a:lnTo>
                    <a:lnTo>
                      <a:pt x="56" y="91"/>
                    </a:lnTo>
                    <a:lnTo>
                      <a:pt x="54" y="91"/>
                    </a:lnTo>
                    <a:lnTo>
                      <a:pt x="54" y="92"/>
                    </a:lnTo>
                    <a:lnTo>
                      <a:pt x="53" y="92"/>
                    </a:lnTo>
                    <a:lnTo>
                      <a:pt x="53" y="94"/>
                    </a:lnTo>
                    <a:lnTo>
                      <a:pt x="53" y="95"/>
                    </a:lnTo>
                    <a:lnTo>
                      <a:pt x="51" y="95"/>
                    </a:lnTo>
                    <a:lnTo>
                      <a:pt x="50" y="95"/>
                    </a:lnTo>
                    <a:lnTo>
                      <a:pt x="50" y="97"/>
                    </a:lnTo>
                    <a:lnTo>
                      <a:pt x="48" y="97"/>
                    </a:lnTo>
                    <a:lnTo>
                      <a:pt x="48" y="98"/>
                    </a:lnTo>
                    <a:lnTo>
                      <a:pt x="48" y="100"/>
                    </a:lnTo>
                    <a:lnTo>
                      <a:pt x="46" y="100"/>
                    </a:lnTo>
                    <a:lnTo>
                      <a:pt x="46" y="102"/>
                    </a:lnTo>
                    <a:lnTo>
                      <a:pt x="48" y="102"/>
                    </a:lnTo>
                    <a:lnTo>
                      <a:pt x="48" y="103"/>
                    </a:lnTo>
                    <a:lnTo>
                      <a:pt x="50" y="103"/>
                    </a:lnTo>
                    <a:lnTo>
                      <a:pt x="51" y="103"/>
                    </a:lnTo>
                    <a:lnTo>
                      <a:pt x="51" y="105"/>
                    </a:lnTo>
                    <a:lnTo>
                      <a:pt x="53" y="105"/>
                    </a:lnTo>
                    <a:lnTo>
                      <a:pt x="53" y="106"/>
                    </a:lnTo>
                    <a:lnTo>
                      <a:pt x="53" y="108"/>
                    </a:lnTo>
                    <a:lnTo>
                      <a:pt x="53" y="110"/>
                    </a:lnTo>
                    <a:lnTo>
                      <a:pt x="51" y="110"/>
                    </a:lnTo>
                    <a:lnTo>
                      <a:pt x="51" y="111"/>
                    </a:lnTo>
                    <a:lnTo>
                      <a:pt x="50" y="111"/>
                    </a:lnTo>
                    <a:lnTo>
                      <a:pt x="48" y="111"/>
                    </a:lnTo>
                    <a:lnTo>
                      <a:pt x="46" y="111"/>
                    </a:lnTo>
                    <a:lnTo>
                      <a:pt x="45" y="111"/>
                    </a:lnTo>
                    <a:lnTo>
                      <a:pt x="45" y="113"/>
                    </a:lnTo>
                    <a:lnTo>
                      <a:pt x="43" y="113"/>
                    </a:lnTo>
                    <a:lnTo>
                      <a:pt x="42" y="113"/>
                    </a:lnTo>
                    <a:lnTo>
                      <a:pt x="40" y="113"/>
                    </a:lnTo>
                    <a:lnTo>
                      <a:pt x="40" y="114"/>
                    </a:lnTo>
                    <a:lnTo>
                      <a:pt x="38" y="114"/>
                    </a:lnTo>
                    <a:lnTo>
                      <a:pt x="37" y="114"/>
                    </a:lnTo>
                    <a:lnTo>
                      <a:pt x="37" y="116"/>
                    </a:lnTo>
                    <a:lnTo>
                      <a:pt x="35" y="116"/>
                    </a:lnTo>
                    <a:lnTo>
                      <a:pt x="34" y="116"/>
                    </a:lnTo>
                    <a:lnTo>
                      <a:pt x="32" y="116"/>
                    </a:lnTo>
                    <a:lnTo>
                      <a:pt x="31" y="116"/>
                    </a:lnTo>
                    <a:lnTo>
                      <a:pt x="29" y="116"/>
                    </a:lnTo>
                    <a:lnTo>
                      <a:pt x="27" y="116"/>
                    </a:lnTo>
                    <a:lnTo>
                      <a:pt x="26" y="116"/>
                    </a:lnTo>
                    <a:lnTo>
                      <a:pt x="24" y="116"/>
                    </a:lnTo>
                    <a:lnTo>
                      <a:pt x="24" y="114"/>
                    </a:lnTo>
                    <a:lnTo>
                      <a:pt x="24" y="116"/>
                    </a:lnTo>
                    <a:lnTo>
                      <a:pt x="24" y="114"/>
                    </a:lnTo>
                    <a:lnTo>
                      <a:pt x="23" y="114"/>
                    </a:lnTo>
                    <a:lnTo>
                      <a:pt x="23" y="116"/>
                    </a:lnTo>
                    <a:lnTo>
                      <a:pt x="21" y="116"/>
                    </a:lnTo>
                    <a:lnTo>
                      <a:pt x="21" y="114"/>
                    </a:lnTo>
                    <a:lnTo>
                      <a:pt x="21" y="116"/>
                    </a:lnTo>
                    <a:lnTo>
                      <a:pt x="19" y="116"/>
                    </a:lnTo>
                    <a:lnTo>
                      <a:pt x="18" y="116"/>
                    </a:lnTo>
                    <a:lnTo>
                      <a:pt x="18" y="114"/>
                    </a:lnTo>
                    <a:lnTo>
                      <a:pt x="16" y="114"/>
                    </a:lnTo>
                    <a:lnTo>
                      <a:pt x="15" y="114"/>
                    </a:lnTo>
                    <a:lnTo>
                      <a:pt x="15" y="113"/>
                    </a:lnTo>
                    <a:lnTo>
                      <a:pt x="13" y="113"/>
                    </a:lnTo>
                    <a:lnTo>
                      <a:pt x="12" y="113"/>
                    </a:lnTo>
                    <a:lnTo>
                      <a:pt x="12" y="111"/>
                    </a:lnTo>
                    <a:lnTo>
                      <a:pt x="10" y="111"/>
                    </a:lnTo>
                    <a:lnTo>
                      <a:pt x="10" y="110"/>
                    </a:lnTo>
                    <a:lnTo>
                      <a:pt x="8" y="110"/>
                    </a:lnTo>
                    <a:lnTo>
                      <a:pt x="8" y="108"/>
                    </a:lnTo>
                    <a:lnTo>
                      <a:pt x="8" y="106"/>
                    </a:lnTo>
                    <a:lnTo>
                      <a:pt x="7" y="106"/>
                    </a:lnTo>
                    <a:lnTo>
                      <a:pt x="7" y="105"/>
                    </a:lnTo>
                    <a:lnTo>
                      <a:pt x="5" y="105"/>
                    </a:lnTo>
                    <a:lnTo>
                      <a:pt x="5" y="103"/>
                    </a:lnTo>
                    <a:lnTo>
                      <a:pt x="4" y="103"/>
                    </a:lnTo>
                    <a:lnTo>
                      <a:pt x="4" y="102"/>
                    </a:lnTo>
                    <a:lnTo>
                      <a:pt x="2" y="102"/>
                    </a:lnTo>
                    <a:lnTo>
                      <a:pt x="0" y="102"/>
                    </a:lnTo>
                    <a:lnTo>
                      <a:pt x="0" y="100"/>
                    </a:lnTo>
                    <a:lnTo>
                      <a:pt x="0" y="98"/>
                    </a:lnTo>
                    <a:lnTo>
                      <a:pt x="2" y="98"/>
                    </a:lnTo>
                    <a:lnTo>
                      <a:pt x="2" y="100"/>
                    </a:lnTo>
                    <a:lnTo>
                      <a:pt x="4" y="100"/>
                    </a:lnTo>
                    <a:lnTo>
                      <a:pt x="4" y="98"/>
                    </a:lnTo>
                    <a:lnTo>
                      <a:pt x="4" y="100"/>
                    </a:lnTo>
                    <a:lnTo>
                      <a:pt x="5" y="100"/>
                    </a:lnTo>
                    <a:lnTo>
                      <a:pt x="7" y="100"/>
                    </a:lnTo>
                    <a:lnTo>
                      <a:pt x="8" y="100"/>
                    </a:lnTo>
                    <a:lnTo>
                      <a:pt x="8" y="98"/>
                    </a:lnTo>
                    <a:lnTo>
                      <a:pt x="8" y="97"/>
                    </a:lnTo>
                    <a:lnTo>
                      <a:pt x="10" y="97"/>
                    </a:lnTo>
                    <a:lnTo>
                      <a:pt x="10" y="95"/>
                    </a:lnTo>
                    <a:lnTo>
                      <a:pt x="12" y="95"/>
                    </a:lnTo>
                    <a:lnTo>
                      <a:pt x="12" y="94"/>
                    </a:lnTo>
                    <a:lnTo>
                      <a:pt x="13" y="94"/>
                    </a:lnTo>
                    <a:lnTo>
                      <a:pt x="15" y="94"/>
                    </a:lnTo>
                    <a:lnTo>
                      <a:pt x="16" y="94"/>
                    </a:lnTo>
                    <a:lnTo>
                      <a:pt x="16" y="92"/>
                    </a:lnTo>
                    <a:lnTo>
                      <a:pt x="18" y="92"/>
                    </a:lnTo>
                    <a:lnTo>
                      <a:pt x="19" y="92"/>
                    </a:lnTo>
                    <a:lnTo>
                      <a:pt x="19" y="91"/>
                    </a:lnTo>
                    <a:lnTo>
                      <a:pt x="21" y="91"/>
                    </a:lnTo>
                    <a:lnTo>
                      <a:pt x="23" y="91"/>
                    </a:lnTo>
                    <a:lnTo>
                      <a:pt x="23" y="89"/>
                    </a:lnTo>
                    <a:lnTo>
                      <a:pt x="24" y="89"/>
                    </a:lnTo>
                    <a:lnTo>
                      <a:pt x="24" y="87"/>
                    </a:lnTo>
                    <a:lnTo>
                      <a:pt x="26" y="87"/>
                    </a:lnTo>
                    <a:lnTo>
                      <a:pt x="26" y="86"/>
                    </a:lnTo>
                    <a:lnTo>
                      <a:pt x="27" y="86"/>
                    </a:lnTo>
                    <a:lnTo>
                      <a:pt x="27" y="84"/>
                    </a:lnTo>
                    <a:lnTo>
                      <a:pt x="27" y="83"/>
                    </a:lnTo>
                    <a:lnTo>
                      <a:pt x="29" y="83"/>
                    </a:lnTo>
                    <a:lnTo>
                      <a:pt x="29" y="81"/>
                    </a:lnTo>
                    <a:lnTo>
                      <a:pt x="31" y="81"/>
                    </a:lnTo>
                    <a:lnTo>
                      <a:pt x="31" y="79"/>
                    </a:lnTo>
                    <a:lnTo>
                      <a:pt x="32" y="79"/>
                    </a:lnTo>
                    <a:lnTo>
                      <a:pt x="32" y="78"/>
                    </a:lnTo>
                    <a:lnTo>
                      <a:pt x="34" y="78"/>
                    </a:lnTo>
                    <a:lnTo>
                      <a:pt x="34" y="76"/>
                    </a:lnTo>
                    <a:lnTo>
                      <a:pt x="34" y="75"/>
                    </a:lnTo>
                    <a:lnTo>
                      <a:pt x="35" y="75"/>
                    </a:lnTo>
                    <a:lnTo>
                      <a:pt x="35" y="73"/>
                    </a:lnTo>
                    <a:lnTo>
                      <a:pt x="35" y="72"/>
                    </a:lnTo>
                    <a:lnTo>
                      <a:pt x="37" y="72"/>
                    </a:lnTo>
                    <a:lnTo>
                      <a:pt x="38" y="72"/>
                    </a:lnTo>
                    <a:lnTo>
                      <a:pt x="38" y="70"/>
                    </a:lnTo>
                    <a:lnTo>
                      <a:pt x="40" y="70"/>
                    </a:lnTo>
                    <a:lnTo>
                      <a:pt x="40" y="68"/>
                    </a:lnTo>
                    <a:lnTo>
                      <a:pt x="42" y="68"/>
                    </a:lnTo>
                    <a:lnTo>
                      <a:pt x="42" y="67"/>
                    </a:lnTo>
                    <a:lnTo>
                      <a:pt x="42" y="65"/>
                    </a:lnTo>
                    <a:lnTo>
                      <a:pt x="43" y="65"/>
                    </a:lnTo>
                    <a:lnTo>
                      <a:pt x="42" y="65"/>
                    </a:lnTo>
                    <a:lnTo>
                      <a:pt x="42" y="64"/>
                    </a:lnTo>
                    <a:lnTo>
                      <a:pt x="42" y="62"/>
                    </a:lnTo>
                    <a:lnTo>
                      <a:pt x="42" y="64"/>
                    </a:lnTo>
                    <a:lnTo>
                      <a:pt x="40" y="64"/>
                    </a:lnTo>
                    <a:lnTo>
                      <a:pt x="40" y="65"/>
                    </a:lnTo>
                    <a:lnTo>
                      <a:pt x="38" y="65"/>
                    </a:lnTo>
                    <a:lnTo>
                      <a:pt x="38" y="64"/>
                    </a:lnTo>
                    <a:lnTo>
                      <a:pt x="38" y="62"/>
                    </a:lnTo>
                    <a:lnTo>
                      <a:pt x="38" y="60"/>
                    </a:lnTo>
                    <a:lnTo>
                      <a:pt x="40" y="60"/>
                    </a:lnTo>
                    <a:lnTo>
                      <a:pt x="38" y="60"/>
                    </a:lnTo>
                    <a:lnTo>
                      <a:pt x="40" y="60"/>
                    </a:lnTo>
                    <a:lnTo>
                      <a:pt x="38" y="60"/>
                    </a:lnTo>
                    <a:lnTo>
                      <a:pt x="38" y="59"/>
                    </a:lnTo>
                    <a:lnTo>
                      <a:pt x="40" y="59"/>
                    </a:lnTo>
                    <a:lnTo>
                      <a:pt x="40" y="57"/>
                    </a:lnTo>
                    <a:lnTo>
                      <a:pt x="42" y="57"/>
                    </a:lnTo>
                    <a:lnTo>
                      <a:pt x="43" y="57"/>
                    </a:lnTo>
                    <a:lnTo>
                      <a:pt x="45" y="57"/>
                    </a:lnTo>
                    <a:lnTo>
                      <a:pt x="46" y="57"/>
                    </a:lnTo>
                    <a:lnTo>
                      <a:pt x="48" y="57"/>
                    </a:lnTo>
                    <a:lnTo>
                      <a:pt x="50" y="57"/>
                    </a:lnTo>
                    <a:lnTo>
                      <a:pt x="51" y="57"/>
                    </a:lnTo>
                    <a:lnTo>
                      <a:pt x="53" y="57"/>
                    </a:lnTo>
                    <a:lnTo>
                      <a:pt x="54" y="57"/>
                    </a:lnTo>
                    <a:lnTo>
                      <a:pt x="56" y="57"/>
                    </a:lnTo>
                    <a:lnTo>
                      <a:pt x="56" y="56"/>
                    </a:lnTo>
                    <a:lnTo>
                      <a:pt x="57" y="56"/>
                    </a:lnTo>
                    <a:lnTo>
                      <a:pt x="59" y="56"/>
                    </a:lnTo>
                    <a:lnTo>
                      <a:pt x="59" y="54"/>
                    </a:lnTo>
                    <a:lnTo>
                      <a:pt x="61" y="54"/>
                    </a:lnTo>
                    <a:lnTo>
                      <a:pt x="62" y="54"/>
                    </a:lnTo>
                    <a:lnTo>
                      <a:pt x="64" y="54"/>
                    </a:lnTo>
                    <a:lnTo>
                      <a:pt x="64" y="53"/>
                    </a:lnTo>
                    <a:lnTo>
                      <a:pt x="65" y="53"/>
                    </a:lnTo>
                    <a:lnTo>
                      <a:pt x="67" y="53"/>
                    </a:lnTo>
                    <a:lnTo>
                      <a:pt x="67" y="51"/>
                    </a:lnTo>
                    <a:lnTo>
                      <a:pt x="69" y="51"/>
                    </a:lnTo>
                    <a:lnTo>
                      <a:pt x="69" y="49"/>
                    </a:lnTo>
                    <a:lnTo>
                      <a:pt x="70" y="49"/>
                    </a:lnTo>
                    <a:lnTo>
                      <a:pt x="72" y="49"/>
                    </a:lnTo>
                    <a:lnTo>
                      <a:pt x="73" y="49"/>
                    </a:lnTo>
                    <a:lnTo>
                      <a:pt x="73" y="48"/>
                    </a:lnTo>
                    <a:lnTo>
                      <a:pt x="75" y="48"/>
                    </a:lnTo>
                    <a:lnTo>
                      <a:pt x="75" y="49"/>
                    </a:lnTo>
                    <a:lnTo>
                      <a:pt x="75" y="48"/>
                    </a:lnTo>
                    <a:lnTo>
                      <a:pt x="73" y="48"/>
                    </a:lnTo>
                    <a:lnTo>
                      <a:pt x="73" y="49"/>
                    </a:lnTo>
                    <a:lnTo>
                      <a:pt x="73" y="48"/>
                    </a:lnTo>
                    <a:lnTo>
                      <a:pt x="73" y="46"/>
                    </a:lnTo>
                    <a:lnTo>
                      <a:pt x="73" y="45"/>
                    </a:lnTo>
                    <a:lnTo>
                      <a:pt x="75" y="45"/>
                    </a:lnTo>
                    <a:lnTo>
                      <a:pt x="73" y="45"/>
                    </a:lnTo>
                    <a:lnTo>
                      <a:pt x="73" y="46"/>
                    </a:lnTo>
                    <a:lnTo>
                      <a:pt x="72" y="46"/>
                    </a:lnTo>
                    <a:lnTo>
                      <a:pt x="72" y="48"/>
                    </a:lnTo>
                    <a:lnTo>
                      <a:pt x="70" y="48"/>
                    </a:lnTo>
                    <a:lnTo>
                      <a:pt x="69" y="48"/>
                    </a:lnTo>
                    <a:lnTo>
                      <a:pt x="67" y="48"/>
                    </a:lnTo>
                    <a:lnTo>
                      <a:pt x="65" y="48"/>
                    </a:lnTo>
                    <a:lnTo>
                      <a:pt x="64" y="48"/>
                    </a:lnTo>
                    <a:lnTo>
                      <a:pt x="65" y="48"/>
                    </a:lnTo>
                    <a:lnTo>
                      <a:pt x="65" y="46"/>
                    </a:lnTo>
                    <a:lnTo>
                      <a:pt x="64" y="46"/>
                    </a:lnTo>
                    <a:lnTo>
                      <a:pt x="62" y="46"/>
                    </a:lnTo>
                    <a:lnTo>
                      <a:pt x="62" y="48"/>
                    </a:lnTo>
                    <a:lnTo>
                      <a:pt x="61" y="48"/>
                    </a:lnTo>
                    <a:lnTo>
                      <a:pt x="59" y="48"/>
                    </a:lnTo>
                    <a:lnTo>
                      <a:pt x="61" y="48"/>
                    </a:lnTo>
                    <a:lnTo>
                      <a:pt x="61" y="46"/>
                    </a:lnTo>
                    <a:lnTo>
                      <a:pt x="62" y="46"/>
                    </a:lnTo>
                    <a:lnTo>
                      <a:pt x="62" y="45"/>
                    </a:lnTo>
                    <a:lnTo>
                      <a:pt x="64" y="45"/>
                    </a:lnTo>
                    <a:lnTo>
                      <a:pt x="65" y="45"/>
                    </a:lnTo>
                    <a:lnTo>
                      <a:pt x="65" y="43"/>
                    </a:lnTo>
                    <a:lnTo>
                      <a:pt x="67" y="43"/>
                    </a:lnTo>
                    <a:lnTo>
                      <a:pt x="69" y="43"/>
                    </a:lnTo>
                    <a:lnTo>
                      <a:pt x="69" y="41"/>
                    </a:lnTo>
                    <a:lnTo>
                      <a:pt x="70" y="41"/>
                    </a:lnTo>
                    <a:lnTo>
                      <a:pt x="70" y="40"/>
                    </a:lnTo>
                    <a:lnTo>
                      <a:pt x="70" y="38"/>
                    </a:lnTo>
                    <a:lnTo>
                      <a:pt x="69" y="38"/>
                    </a:lnTo>
                    <a:lnTo>
                      <a:pt x="70" y="38"/>
                    </a:lnTo>
                    <a:lnTo>
                      <a:pt x="72" y="38"/>
                    </a:lnTo>
                    <a:lnTo>
                      <a:pt x="72" y="37"/>
                    </a:lnTo>
                    <a:lnTo>
                      <a:pt x="73" y="37"/>
                    </a:lnTo>
                    <a:lnTo>
                      <a:pt x="75" y="37"/>
                    </a:lnTo>
                    <a:lnTo>
                      <a:pt x="76" y="37"/>
                    </a:lnTo>
                    <a:lnTo>
                      <a:pt x="76" y="35"/>
                    </a:lnTo>
                    <a:lnTo>
                      <a:pt x="78" y="35"/>
                    </a:lnTo>
                    <a:lnTo>
                      <a:pt x="80" y="35"/>
                    </a:lnTo>
                    <a:lnTo>
                      <a:pt x="81" y="35"/>
                    </a:lnTo>
                    <a:lnTo>
                      <a:pt x="81" y="37"/>
                    </a:lnTo>
                    <a:lnTo>
                      <a:pt x="81" y="35"/>
                    </a:lnTo>
                    <a:lnTo>
                      <a:pt x="81" y="37"/>
                    </a:lnTo>
                    <a:lnTo>
                      <a:pt x="83" y="37"/>
                    </a:lnTo>
                    <a:lnTo>
                      <a:pt x="83" y="35"/>
                    </a:lnTo>
                    <a:lnTo>
                      <a:pt x="81" y="35"/>
                    </a:lnTo>
                    <a:lnTo>
                      <a:pt x="81" y="34"/>
                    </a:lnTo>
                    <a:lnTo>
                      <a:pt x="83" y="34"/>
                    </a:lnTo>
                    <a:lnTo>
                      <a:pt x="83" y="32"/>
                    </a:lnTo>
                    <a:lnTo>
                      <a:pt x="83" y="30"/>
                    </a:lnTo>
                    <a:lnTo>
                      <a:pt x="84" y="30"/>
                    </a:lnTo>
                    <a:lnTo>
                      <a:pt x="84" y="29"/>
                    </a:lnTo>
                    <a:lnTo>
                      <a:pt x="84" y="27"/>
                    </a:lnTo>
                    <a:lnTo>
                      <a:pt x="84" y="26"/>
                    </a:lnTo>
                    <a:lnTo>
                      <a:pt x="86" y="26"/>
                    </a:lnTo>
                    <a:lnTo>
                      <a:pt x="86" y="24"/>
                    </a:lnTo>
                    <a:lnTo>
                      <a:pt x="88" y="24"/>
                    </a:lnTo>
                    <a:lnTo>
                      <a:pt x="89" y="24"/>
                    </a:lnTo>
                    <a:lnTo>
                      <a:pt x="89" y="22"/>
                    </a:lnTo>
                    <a:lnTo>
                      <a:pt x="89" y="21"/>
                    </a:lnTo>
                    <a:lnTo>
                      <a:pt x="91" y="21"/>
                    </a:lnTo>
                    <a:lnTo>
                      <a:pt x="91" y="19"/>
                    </a:lnTo>
                    <a:lnTo>
                      <a:pt x="91" y="18"/>
                    </a:lnTo>
                    <a:lnTo>
                      <a:pt x="92" y="18"/>
                    </a:lnTo>
                    <a:lnTo>
                      <a:pt x="92" y="16"/>
                    </a:lnTo>
                    <a:lnTo>
                      <a:pt x="91" y="16"/>
                    </a:lnTo>
                    <a:lnTo>
                      <a:pt x="91" y="14"/>
                    </a:lnTo>
                    <a:lnTo>
                      <a:pt x="92" y="14"/>
                    </a:lnTo>
                    <a:lnTo>
                      <a:pt x="92" y="13"/>
                    </a:lnTo>
                    <a:lnTo>
                      <a:pt x="94" y="13"/>
                    </a:lnTo>
                    <a:lnTo>
                      <a:pt x="94" y="11"/>
                    </a:lnTo>
                    <a:lnTo>
                      <a:pt x="95" y="11"/>
                    </a:lnTo>
                    <a:lnTo>
                      <a:pt x="95" y="10"/>
                    </a:lnTo>
                    <a:lnTo>
                      <a:pt x="97" y="10"/>
                    </a:lnTo>
                    <a:lnTo>
                      <a:pt x="99" y="10"/>
                    </a:lnTo>
                    <a:lnTo>
                      <a:pt x="99" y="8"/>
                    </a:lnTo>
                    <a:lnTo>
                      <a:pt x="99" y="7"/>
                    </a:lnTo>
                    <a:lnTo>
                      <a:pt x="99" y="5"/>
                    </a:lnTo>
                    <a:lnTo>
                      <a:pt x="100" y="5"/>
                    </a:lnTo>
                    <a:lnTo>
                      <a:pt x="100" y="3"/>
                    </a:lnTo>
                    <a:lnTo>
                      <a:pt x="100" y="2"/>
                    </a:lnTo>
                    <a:lnTo>
                      <a:pt x="100" y="0"/>
                    </a:lnTo>
                    <a:lnTo>
                      <a:pt x="102"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14" name="Rectangle 94"/>
              <p:cNvSpPr>
                <a:spLocks noChangeArrowheads="1"/>
              </p:cNvSpPr>
              <p:nvPr/>
            </p:nvSpPr>
            <p:spPr bwMode="auto">
              <a:xfrm>
                <a:off x="5234" y="2691"/>
                <a:ext cx="1" cy="2"/>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15" name="Freeform 95"/>
              <p:cNvSpPr>
                <a:spLocks/>
              </p:cNvSpPr>
              <p:nvPr/>
            </p:nvSpPr>
            <p:spPr bwMode="auto">
              <a:xfrm>
                <a:off x="5138" y="2664"/>
                <a:ext cx="5" cy="7"/>
              </a:xfrm>
              <a:custGeom>
                <a:avLst/>
                <a:gdLst>
                  <a:gd name="T0" fmla="*/ 4 w 5"/>
                  <a:gd name="T1" fmla="*/ 0 h 7"/>
                  <a:gd name="T2" fmla="*/ 4 w 5"/>
                  <a:gd name="T3" fmla="*/ 2 h 7"/>
                  <a:gd name="T4" fmla="*/ 5 w 5"/>
                  <a:gd name="T5" fmla="*/ 2 h 7"/>
                  <a:gd name="T6" fmla="*/ 5 w 5"/>
                  <a:gd name="T7" fmla="*/ 4 h 7"/>
                  <a:gd name="T8" fmla="*/ 5 w 5"/>
                  <a:gd name="T9" fmla="*/ 5 h 7"/>
                  <a:gd name="T10" fmla="*/ 5 w 5"/>
                  <a:gd name="T11" fmla="*/ 7 h 7"/>
                  <a:gd name="T12" fmla="*/ 4 w 5"/>
                  <a:gd name="T13" fmla="*/ 7 h 7"/>
                  <a:gd name="T14" fmla="*/ 2 w 5"/>
                  <a:gd name="T15" fmla="*/ 7 h 7"/>
                  <a:gd name="T16" fmla="*/ 2 w 5"/>
                  <a:gd name="T17" fmla="*/ 5 h 7"/>
                  <a:gd name="T18" fmla="*/ 0 w 5"/>
                  <a:gd name="T19" fmla="*/ 5 h 7"/>
                  <a:gd name="T20" fmla="*/ 0 w 5"/>
                  <a:gd name="T21" fmla="*/ 4 h 7"/>
                  <a:gd name="T22" fmla="*/ 0 w 5"/>
                  <a:gd name="T23" fmla="*/ 2 h 7"/>
                  <a:gd name="T24" fmla="*/ 2 w 5"/>
                  <a:gd name="T25" fmla="*/ 2 h 7"/>
                  <a:gd name="T26" fmla="*/ 2 w 5"/>
                  <a:gd name="T27" fmla="*/ 0 h 7"/>
                  <a:gd name="T28" fmla="*/ 4 w 5"/>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7">
                    <a:moveTo>
                      <a:pt x="4" y="0"/>
                    </a:moveTo>
                    <a:lnTo>
                      <a:pt x="4" y="2"/>
                    </a:lnTo>
                    <a:lnTo>
                      <a:pt x="5" y="2"/>
                    </a:lnTo>
                    <a:lnTo>
                      <a:pt x="5" y="4"/>
                    </a:lnTo>
                    <a:lnTo>
                      <a:pt x="5" y="5"/>
                    </a:lnTo>
                    <a:lnTo>
                      <a:pt x="5" y="7"/>
                    </a:lnTo>
                    <a:lnTo>
                      <a:pt x="4" y="7"/>
                    </a:lnTo>
                    <a:lnTo>
                      <a:pt x="2" y="7"/>
                    </a:lnTo>
                    <a:lnTo>
                      <a:pt x="2" y="5"/>
                    </a:lnTo>
                    <a:lnTo>
                      <a:pt x="0" y="5"/>
                    </a:lnTo>
                    <a:lnTo>
                      <a:pt x="0" y="4"/>
                    </a:lnTo>
                    <a:lnTo>
                      <a:pt x="0" y="2"/>
                    </a:lnTo>
                    <a:lnTo>
                      <a:pt x="2" y="2"/>
                    </a:lnTo>
                    <a:lnTo>
                      <a:pt x="2" y="0"/>
                    </a:lnTo>
                    <a:lnTo>
                      <a:pt x="4"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16" name="Freeform 96"/>
              <p:cNvSpPr>
                <a:spLocks/>
              </p:cNvSpPr>
              <p:nvPr/>
            </p:nvSpPr>
            <p:spPr bwMode="auto">
              <a:xfrm>
                <a:off x="5145" y="2658"/>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17" name="Freeform 97"/>
              <p:cNvSpPr>
                <a:spLocks/>
              </p:cNvSpPr>
              <p:nvPr/>
            </p:nvSpPr>
            <p:spPr bwMode="auto">
              <a:xfrm>
                <a:off x="5123" y="2625"/>
                <a:ext cx="1" cy="1"/>
              </a:xfrm>
              <a:custGeom>
                <a:avLst/>
                <a:gdLst>
                  <a:gd name="T0" fmla="*/ 0 w 1"/>
                  <a:gd name="T1" fmla="*/ 0 h 1"/>
                  <a:gd name="T2" fmla="*/ 1 w 1"/>
                  <a:gd name="T3" fmla="*/ 0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1" y="0"/>
                    </a:lnTo>
                    <a:lnTo>
                      <a:pt x="1" y="1"/>
                    </a:lnTo>
                    <a:lnTo>
                      <a:pt x="1" y="0"/>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18" name="Freeform 98"/>
              <p:cNvSpPr>
                <a:spLocks/>
              </p:cNvSpPr>
              <p:nvPr/>
            </p:nvSpPr>
            <p:spPr bwMode="auto">
              <a:xfrm>
                <a:off x="5153" y="2623"/>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19" name="Freeform 99"/>
              <p:cNvSpPr>
                <a:spLocks/>
              </p:cNvSpPr>
              <p:nvPr/>
            </p:nvSpPr>
            <p:spPr bwMode="auto">
              <a:xfrm>
                <a:off x="5134" y="2620"/>
                <a:ext cx="14" cy="10"/>
              </a:xfrm>
              <a:custGeom>
                <a:avLst/>
                <a:gdLst>
                  <a:gd name="T0" fmla="*/ 11 w 14"/>
                  <a:gd name="T1" fmla="*/ 0 h 10"/>
                  <a:gd name="T2" fmla="*/ 11 w 14"/>
                  <a:gd name="T3" fmla="*/ 2 h 10"/>
                  <a:gd name="T4" fmla="*/ 12 w 14"/>
                  <a:gd name="T5" fmla="*/ 2 h 10"/>
                  <a:gd name="T6" fmla="*/ 12 w 14"/>
                  <a:gd name="T7" fmla="*/ 3 h 10"/>
                  <a:gd name="T8" fmla="*/ 12 w 14"/>
                  <a:gd name="T9" fmla="*/ 5 h 10"/>
                  <a:gd name="T10" fmla="*/ 12 w 14"/>
                  <a:gd name="T11" fmla="*/ 3 h 10"/>
                  <a:gd name="T12" fmla="*/ 12 w 14"/>
                  <a:gd name="T13" fmla="*/ 5 h 10"/>
                  <a:gd name="T14" fmla="*/ 14 w 14"/>
                  <a:gd name="T15" fmla="*/ 5 h 10"/>
                  <a:gd name="T16" fmla="*/ 14 w 14"/>
                  <a:gd name="T17" fmla="*/ 6 h 10"/>
                  <a:gd name="T18" fmla="*/ 14 w 14"/>
                  <a:gd name="T19" fmla="*/ 8 h 10"/>
                  <a:gd name="T20" fmla="*/ 14 w 14"/>
                  <a:gd name="T21" fmla="*/ 10 h 10"/>
                  <a:gd name="T22" fmla="*/ 12 w 14"/>
                  <a:gd name="T23" fmla="*/ 10 h 10"/>
                  <a:gd name="T24" fmla="*/ 12 w 14"/>
                  <a:gd name="T25" fmla="*/ 8 h 10"/>
                  <a:gd name="T26" fmla="*/ 11 w 14"/>
                  <a:gd name="T27" fmla="*/ 8 h 10"/>
                  <a:gd name="T28" fmla="*/ 11 w 14"/>
                  <a:gd name="T29" fmla="*/ 10 h 10"/>
                  <a:gd name="T30" fmla="*/ 9 w 14"/>
                  <a:gd name="T31" fmla="*/ 10 h 10"/>
                  <a:gd name="T32" fmla="*/ 9 w 14"/>
                  <a:gd name="T33" fmla="*/ 8 h 10"/>
                  <a:gd name="T34" fmla="*/ 8 w 14"/>
                  <a:gd name="T35" fmla="*/ 8 h 10"/>
                  <a:gd name="T36" fmla="*/ 9 w 14"/>
                  <a:gd name="T37" fmla="*/ 8 h 10"/>
                  <a:gd name="T38" fmla="*/ 8 w 14"/>
                  <a:gd name="T39" fmla="*/ 8 h 10"/>
                  <a:gd name="T40" fmla="*/ 8 w 14"/>
                  <a:gd name="T41" fmla="*/ 6 h 10"/>
                  <a:gd name="T42" fmla="*/ 6 w 14"/>
                  <a:gd name="T43" fmla="*/ 6 h 10"/>
                  <a:gd name="T44" fmla="*/ 6 w 14"/>
                  <a:gd name="T45" fmla="*/ 8 h 10"/>
                  <a:gd name="T46" fmla="*/ 4 w 14"/>
                  <a:gd name="T47" fmla="*/ 8 h 10"/>
                  <a:gd name="T48" fmla="*/ 4 w 14"/>
                  <a:gd name="T49" fmla="*/ 6 h 10"/>
                  <a:gd name="T50" fmla="*/ 3 w 14"/>
                  <a:gd name="T51" fmla="*/ 6 h 10"/>
                  <a:gd name="T52" fmla="*/ 1 w 14"/>
                  <a:gd name="T53" fmla="*/ 6 h 10"/>
                  <a:gd name="T54" fmla="*/ 0 w 14"/>
                  <a:gd name="T55" fmla="*/ 6 h 10"/>
                  <a:gd name="T56" fmla="*/ 0 w 14"/>
                  <a:gd name="T57" fmla="*/ 5 h 10"/>
                  <a:gd name="T58" fmla="*/ 1 w 14"/>
                  <a:gd name="T59" fmla="*/ 5 h 10"/>
                  <a:gd name="T60" fmla="*/ 3 w 14"/>
                  <a:gd name="T61" fmla="*/ 5 h 10"/>
                  <a:gd name="T62" fmla="*/ 3 w 14"/>
                  <a:gd name="T63" fmla="*/ 3 h 10"/>
                  <a:gd name="T64" fmla="*/ 4 w 14"/>
                  <a:gd name="T65" fmla="*/ 3 h 10"/>
                  <a:gd name="T66" fmla="*/ 6 w 14"/>
                  <a:gd name="T67" fmla="*/ 3 h 10"/>
                  <a:gd name="T68" fmla="*/ 6 w 14"/>
                  <a:gd name="T69" fmla="*/ 2 h 10"/>
                  <a:gd name="T70" fmla="*/ 8 w 14"/>
                  <a:gd name="T71" fmla="*/ 2 h 10"/>
                  <a:gd name="T72" fmla="*/ 8 w 14"/>
                  <a:gd name="T73" fmla="*/ 0 h 10"/>
                  <a:gd name="T74" fmla="*/ 9 w 14"/>
                  <a:gd name="T75" fmla="*/ 0 h 10"/>
                  <a:gd name="T76" fmla="*/ 9 w 14"/>
                  <a:gd name="T77" fmla="*/ 2 h 10"/>
                  <a:gd name="T78" fmla="*/ 11 w 14"/>
                  <a:gd name="T79" fmla="*/ 2 h 10"/>
                  <a:gd name="T80" fmla="*/ 11 w 14"/>
                  <a:gd name="T8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10">
                    <a:moveTo>
                      <a:pt x="11" y="0"/>
                    </a:moveTo>
                    <a:lnTo>
                      <a:pt x="11" y="2"/>
                    </a:lnTo>
                    <a:lnTo>
                      <a:pt x="12" y="2"/>
                    </a:lnTo>
                    <a:lnTo>
                      <a:pt x="12" y="3"/>
                    </a:lnTo>
                    <a:lnTo>
                      <a:pt x="12" y="5"/>
                    </a:lnTo>
                    <a:lnTo>
                      <a:pt x="12" y="3"/>
                    </a:lnTo>
                    <a:lnTo>
                      <a:pt x="12" y="5"/>
                    </a:lnTo>
                    <a:lnTo>
                      <a:pt x="14" y="5"/>
                    </a:lnTo>
                    <a:lnTo>
                      <a:pt x="14" y="6"/>
                    </a:lnTo>
                    <a:lnTo>
                      <a:pt x="14" y="8"/>
                    </a:lnTo>
                    <a:lnTo>
                      <a:pt x="14" y="10"/>
                    </a:lnTo>
                    <a:lnTo>
                      <a:pt x="12" y="10"/>
                    </a:lnTo>
                    <a:lnTo>
                      <a:pt x="12" y="8"/>
                    </a:lnTo>
                    <a:lnTo>
                      <a:pt x="11" y="8"/>
                    </a:lnTo>
                    <a:lnTo>
                      <a:pt x="11" y="10"/>
                    </a:lnTo>
                    <a:lnTo>
                      <a:pt x="9" y="10"/>
                    </a:lnTo>
                    <a:lnTo>
                      <a:pt x="9" y="8"/>
                    </a:lnTo>
                    <a:lnTo>
                      <a:pt x="8" y="8"/>
                    </a:lnTo>
                    <a:lnTo>
                      <a:pt x="9" y="8"/>
                    </a:lnTo>
                    <a:lnTo>
                      <a:pt x="8" y="8"/>
                    </a:lnTo>
                    <a:lnTo>
                      <a:pt x="8" y="6"/>
                    </a:lnTo>
                    <a:lnTo>
                      <a:pt x="6" y="6"/>
                    </a:lnTo>
                    <a:lnTo>
                      <a:pt x="6" y="8"/>
                    </a:lnTo>
                    <a:lnTo>
                      <a:pt x="4" y="8"/>
                    </a:lnTo>
                    <a:lnTo>
                      <a:pt x="4" y="6"/>
                    </a:lnTo>
                    <a:lnTo>
                      <a:pt x="3" y="6"/>
                    </a:lnTo>
                    <a:lnTo>
                      <a:pt x="1" y="6"/>
                    </a:lnTo>
                    <a:lnTo>
                      <a:pt x="0" y="6"/>
                    </a:lnTo>
                    <a:lnTo>
                      <a:pt x="0" y="5"/>
                    </a:lnTo>
                    <a:lnTo>
                      <a:pt x="1" y="5"/>
                    </a:lnTo>
                    <a:lnTo>
                      <a:pt x="3" y="5"/>
                    </a:lnTo>
                    <a:lnTo>
                      <a:pt x="3" y="3"/>
                    </a:lnTo>
                    <a:lnTo>
                      <a:pt x="4" y="3"/>
                    </a:lnTo>
                    <a:lnTo>
                      <a:pt x="6" y="3"/>
                    </a:lnTo>
                    <a:lnTo>
                      <a:pt x="6" y="2"/>
                    </a:lnTo>
                    <a:lnTo>
                      <a:pt x="8" y="2"/>
                    </a:lnTo>
                    <a:lnTo>
                      <a:pt x="8" y="0"/>
                    </a:lnTo>
                    <a:lnTo>
                      <a:pt x="9" y="0"/>
                    </a:lnTo>
                    <a:lnTo>
                      <a:pt x="9" y="2"/>
                    </a:lnTo>
                    <a:lnTo>
                      <a:pt x="11" y="2"/>
                    </a:lnTo>
                    <a:lnTo>
                      <a:pt x="1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20" name="Rectangle 100"/>
              <p:cNvSpPr>
                <a:spLocks noChangeArrowheads="1"/>
              </p:cNvSpPr>
              <p:nvPr/>
            </p:nvSpPr>
            <p:spPr bwMode="auto">
              <a:xfrm>
                <a:off x="5167" y="2599"/>
                <a:ext cx="2" cy="2"/>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21" name="Freeform 101"/>
              <p:cNvSpPr>
                <a:spLocks/>
              </p:cNvSpPr>
              <p:nvPr/>
            </p:nvSpPr>
            <p:spPr bwMode="auto">
              <a:xfrm>
                <a:off x="5126" y="2595"/>
                <a:ext cx="1" cy="3"/>
              </a:xfrm>
              <a:custGeom>
                <a:avLst/>
                <a:gdLst>
                  <a:gd name="T0" fmla="*/ 1 w 1"/>
                  <a:gd name="T1" fmla="*/ 0 h 3"/>
                  <a:gd name="T2" fmla="*/ 1 w 1"/>
                  <a:gd name="T3" fmla="*/ 1 h 3"/>
                  <a:gd name="T4" fmla="*/ 1 w 1"/>
                  <a:gd name="T5" fmla="*/ 3 h 3"/>
                  <a:gd name="T6" fmla="*/ 0 w 1"/>
                  <a:gd name="T7" fmla="*/ 3 h 3"/>
                  <a:gd name="T8" fmla="*/ 1 w 1"/>
                  <a:gd name="T9" fmla="*/ 3 h 3"/>
                  <a:gd name="T10" fmla="*/ 1 w 1"/>
                  <a:gd name="T11" fmla="*/ 1 h 3"/>
                  <a:gd name="T12" fmla="*/ 0 w 1"/>
                  <a:gd name="T13" fmla="*/ 1 h 3"/>
                  <a:gd name="T14" fmla="*/ 1 w 1"/>
                  <a:gd name="T15" fmla="*/ 1 h 3"/>
                  <a:gd name="T16" fmla="*/ 1 w 1"/>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1" y="0"/>
                    </a:moveTo>
                    <a:lnTo>
                      <a:pt x="1" y="1"/>
                    </a:lnTo>
                    <a:lnTo>
                      <a:pt x="1" y="3"/>
                    </a:lnTo>
                    <a:lnTo>
                      <a:pt x="0" y="3"/>
                    </a:lnTo>
                    <a:lnTo>
                      <a:pt x="1" y="3"/>
                    </a:lnTo>
                    <a:lnTo>
                      <a:pt x="1" y="1"/>
                    </a:lnTo>
                    <a:lnTo>
                      <a:pt x="0" y="1"/>
                    </a:lnTo>
                    <a:lnTo>
                      <a:pt x="1" y="1"/>
                    </a:lnTo>
                    <a:lnTo>
                      <a:pt x="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22" name="Freeform 102"/>
              <p:cNvSpPr>
                <a:spLocks/>
              </p:cNvSpPr>
              <p:nvPr/>
            </p:nvSpPr>
            <p:spPr bwMode="auto">
              <a:xfrm>
                <a:off x="5127" y="2595"/>
                <a:ext cx="4" cy="3"/>
              </a:xfrm>
              <a:custGeom>
                <a:avLst/>
                <a:gdLst>
                  <a:gd name="T0" fmla="*/ 2 w 4"/>
                  <a:gd name="T1" fmla="*/ 0 h 3"/>
                  <a:gd name="T2" fmla="*/ 2 w 4"/>
                  <a:gd name="T3" fmla="*/ 1 h 3"/>
                  <a:gd name="T4" fmla="*/ 4 w 4"/>
                  <a:gd name="T5" fmla="*/ 1 h 3"/>
                  <a:gd name="T6" fmla="*/ 4 w 4"/>
                  <a:gd name="T7" fmla="*/ 3 h 3"/>
                  <a:gd name="T8" fmla="*/ 2 w 4"/>
                  <a:gd name="T9" fmla="*/ 3 h 3"/>
                  <a:gd name="T10" fmla="*/ 0 w 4"/>
                  <a:gd name="T11" fmla="*/ 3 h 3"/>
                  <a:gd name="T12" fmla="*/ 0 w 4"/>
                  <a:gd name="T13" fmla="*/ 1 h 3"/>
                  <a:gd name="T14" fmla="*/ 2 w 4"/>
                  <a:gd name="T15" fmla="*/ 1 h 3"/>
                  <a:gd name="T16" fmla="*/ 2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2" y="0"/>
                    </a:moveTo>
                    <a:lnTo>
                      <a:pt x="2" y="1"/>
                    </a:lnTo>
                    <a:lnTo>
                      <a:pt x="4" y="1"/>
                    </a:lnTo>
                    <a:lnTo>
                      <a:pt x="4" y="3"/>
                    </a:lnTo>
                    <a:lnTo>
                      <a:pt x="2" y="3"/>
                    </a:lnTo>
                    <a:lnTo>
                      <a:pt x="0" y="3"/>
                    </a:lnTo>
                    <a:lnTo>
                      <a:pt x="0" y="1"/>
                    </a:lnTo>
                    <a:lnTo>
                      <a:pt x="2" y="1"/>
                    </a:lnTo>
                    <a:lnTo>
                      <a:pt x="2"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23" name="Freeform 103"/>
              <p:cNvSpPr>
                <a:spLocks/>
              </p:cNvSpPr>
              <p:nvPr/>
            </p:nvSpPr>
            <p:spPr bwMode="auto">
              <a:xfrm>
                <a:off x="5137" y="2582"/>
                <a:ext cx="1" cy="2"/>
              </a:xfrm>
              <a:custGeom>
                <a:avLst/>
                <a:gdLst>
                  <a:gd name="T0" fmla="*/ 1 w 1"/>
                  <a:gd name="T1" fmla="*/ 0 h 2"/>
                  <a:gd name="T2" fmla="*/ 1 w 1"/>
                  <a:gd name="T3" fmla="*/ 2 h 2"/>
                  <a:gd name="T4" fmla="*/ 1 w 1"/>
                  <a:gd name="T5" fmla="*/ 0 h 2"/>
                  <a:gd name="T6" fmla="*/ 0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lnTo>
                      <a:pt x="1" y="2"/>
                    </a:lnTo>
                    <a:lnTo>
                      <a:pt x="1" y="0"/>
                    </a:lnTo>
                    <a:lnTo>
                      <a:pt x="0" y="0"/>
                    </a:lnTo>
                    <a:lnTo>
                      <a:pt x="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24" name="Freeform 104"/>
              <p:cNvSpPr>
                <a:spLocks/>
              </p:cNvSpPr>
              <p:nvPr/>
            </p:nvSpPr>
            <p:spPr bwMode="auto">
              <a:xfrm>
                <a:off x="5169" y="2576"/>
                <a:ext cx="1"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25" name="Rectangle 105"/>
              <p:cNvSpPr>
                <a:spLocks noChangeArrowheads="1"/>
              </p:cNvSpPr>
              <p:nvPr/>
            </p:nvSpPr>
            <p:spPr bwMode="auto">
              <a:xfrm>
                <a:off x="5012" y="2321"/>
                <a:ext cx="1" cy="1"/>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26" name="Freeform 106"/>
              <p:cNvSpPr>
                <a:spLocks/>
              </p:cNvSpPr>
              <p:nvPr/>
            </p:nvSpPr>
            <p:spPr bwMode="auto">
              <a:xfrm>
                <a:off x="5007" y="2319"/>
                <a:ext cx="2" cy="2"/>
              </a:xfrm>
              <a:custGeom>
                <a:avLst/>
                <a:gdLst>
                  <a:gd name="T0" fmla="*/ 2 w 2"/>
                  <a:gd name="T1" fmla="*/ 2 h 2"/>
                  <a:gd name="T2" fmla="*/ 0 w 2"/>
                  <a:gd name="T3" fmla="*/ 2 h 2"/>
                  <a:gd name="T4" fmla="*/ 2 w 2"/>
                  <a:gd name="T5" fmla="*/ 2 h 2"/>
                  <a:gd name="T6" fmla="*/ 2 w 2"/>
                  <a:gd name="T7" fmla="*/ 0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lnTo>
                      <a:pt x="0" y="2"/>
                    </a:lnTo>
                    <a:lnTo>
                      <a:pt x="2" y="2"/>
                    </a:lnTo>
                    <a:lnTo>
                      <a:pt x="2" y="0"/>
                    </a:lnTo>
                    <a:lnTo>
                      <a:pt x="2" y="2"/>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27" name="Freeform 107"/>
              <p:cNvSpPr>
                <a:spLocks/>
              </p:cNvSpPr>
              <p:nvPr/>
            </p:nvSpPr>
            <p:spPr bwMode="auto">
              <a:xfrm>
                <a:off x="5012" y="2317"/>
                <a:ext cx="3" cy="5"/>
              </a:xfrm>
              <a:custGeom>
                <a:avLst/>
                <a:gdLst>
                  <a:gd name="T0" fmla="*/ 1 w 3"/>
                  <a:gd name="T1" fmla="*/ 0 h 5"/>
                  <a:gd name="T2" fmla="*/ 3 w 3"/>
                  <a:gd name="T3" fmla="*/ 0 h 5"/>
                  <a:gd name="T4" fmla="*/ 3 w 3"/>
                  <a:gd name="T5" fmla="*/ 2 h 5"/>
                  <a:gd name="T6" fmla="*/ 3 w 3"/>
                  <a:gd name="T7" fmla="*/ 4 h 5"/>
                  <a:gd name="T8" fmla="*/ 3 w 3"/>
                  <a:gd name="T9" fmla="*/ 5 h 5"/>
                  <a:gd name="T10" fmla="*/ 1 w 3"/>
                  <a:gd name="T11" fmla="*/ 5 h 5"/>
                  <a:gd name="T12" fmla="*/ 1 w 3"/>
                  <a:gd name="T13" fmla="*/ 4 h 5"/>
                  <a:gd name="T14" fmla="*/ 0 w 3"/>
                  <a:gd name="T15" fmla="*/ 4 h 5"/>
                  <a:gd name="T16" fmla="*/ 0 w 3"/>
                  <a:gd name="T17" fmla="*/ 2 h 5"/>
                  <a:gd name="T18" fmla="*/ 1 w 3"/>
                  <a:gd name="T19" fmla="*/ 2 h 5"/>
                  <a:gd name="T20" fmla="*/ 1 w 3"/>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5">
                    <a:moveTo>
                      <a:pt x="1" y="0"/>
                    </a:moveTo>
                    <a:lnTo>
                      <a:pt x="3" y="0"/>
                    </a:lnTo>
                    <a:lnTo>
                      <a:pt x="3" y="2"/>
                    </a:lnTo>
                    <a:lnTo>
                      <a:pt x="3" y="4"/>
                    </a:lnTo>
                    <a:lnTo>
                      <a:pt x="3" y="5"/>
                    </a:lnTo>
                    <a:lnTo>
                      <a:pt x="1" y="5"/>
                    </a:lnTo>
                    <a:lnTo>
                      <a:pt x="1" y="4"/>
                    </a:lnTo>
                    <a:lnTo>
                      <a:pt x="0" y="4"/>
                    </a:lnTo>
                    <a:lnTo>
                      <a:pt x="0" y="2"/>
                    </a:lnTo>
                    <a:lnTo>
                      <a:pt x="1" y="2"/>
                    </a:lnTo>
                    <a:lnTo>
                      <a:pt x="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28" name="Freeform 108"/>
              <p:cNvSpPr>
                <a:spLocks/>
              </p:cNvSpPr>
              <p:nvPr/>
            </p:nvSpPr>
            <p:spPr bwMode="auto">
              <a:xfrm>
                <a:off x="5004" y="2317"/>
                <a:ext cx="3" cy="2"/>
              </a:xfrm>
              <a:custGeom>
                <a:avLst/>
                <a:gdLst>
                  <a:gd name="T0" fmla="*/ 0 w 3"/>
                  <a:gd name="T1" fmla="*/ 0 h 2"/>
                  <a:gd name="T2" fmla="*/ 1 w 3"/>
                  <a:gd name="T3" fmla="*/ 0 h 2"/>
                  <a:gd name="T4" fmla="*/ 3 w 3"/>
                  <a:gd name="T5" fmla="*/ 0 h 2"/>
                  <a:gd name="T6" fmla="*/ 1 w 3"/>
                  <a:gd name="T7" fmla="*/ 0 h 2"/>
                  <a:gd name="T8" fmla="*/ 1 w 3"/>
                  <a:gd name="T9" fmla="*/ 2 h 2"/>
                  <a:gd name="T10" fmla="*/ 0 w 3"/>
                  <a:gd name="T11" fmla="*/ 2 h 2"/>
                  <a:gd name="T12" fmla="*/ 0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0"/>
                    </a:moveTo>
                    <a:lnTo>
                      <a:pt x="1" y="0"/>
                    </a:lnTo>
                    <a:lnTo>
                      <a:pt x="3" y="0"/>
                    </a:lnTo>
                    <a:lnTo>
                      <a:pt x="1" y="0"/>
                    </a:lnTo>
                    <a:lnTo>
                      <a:pt x="1" y="2"/>
                    </a:lnTo>
                    <a:lnTo>
                      <a:pt x="0" y="2"/>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29" name="Rectangle 109"/>
              <p:cNvSpPr>
                <a:spLocks noChangeArrowheads="1"/>
              </p:cNvSpPr>
              <p:nvPr/>
            </p:nvSpPr>
            <p:spPr bwMode="auto">
              <a:xfrm>
                <a:off x="4964" y="2292"/>
                <a:ext cx="2" cy="2"/>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30" name="Freeform 110"/>
              <p:cNvSpPr>
                <a:spLocks/>
              </p:cNvSpPr>
              <p:nvPr/>
            </p:nvSpPr>
            <p:spPr bwMode="auto">
              <a:xfrm>
                <a:off x="4712" y="2119"/>
                <a:ext cx="444" cy="531"/>
              </a:xfrm>
              <a:custGeom>
                <a:avLst/>
                <a:gdLst>
                  <a:gd name="T0" fmla="*/ 21 w 444"/>
                  <a:gd name="T1" fmla="*/ 0 h 531"/>
                  <a:gd name="T2" fmla="*/ 40 w 444"/>
                  <a:gd name="T3" fmla="*/ 7 h 531"/>
                  <a:gd name="T4" fmla="*/ 49 w 444"/>
                  <a:gd name="T5" fmla="*/ 19 h 531"/>
                  <a:gd name="T6" fmla="*/ 67 w 444"/>
                  <a:gd name="T7" fmla="*/ 26 h 531"/>
                  <a:gd name="T8" fmla="*/ 84 w 444"/>
                  <a:gd name="T9" fmla="*/ 37 h 531"/>
                  <a:gd name="T10" fmla="*/ 103 w 444"/>
                  <a:gd name="T11" fmla="*/ 43 h 531"/>
                  <a:gd name="T12" fmla="*/ 121 w 444"/>
                  <a:gd name="T13" fmla="*/ 53 h 531"/>
                  <a:gd name="T14" fmla="*/ 138 w 444"/>
                  <a:gd name="T15" fmla="*/ 53 h 531"/>
                  <a:gd name="T16" fmla="*/ 157 w 444"/>
                  <a:gd name="T17" fmla="*/ 54 h 531"/>
                  <a:gd name="T18" fmla="*/ 176 w 444"/>
                  <a:gd name="T19" fmla="*/ 46 h 531"/>
                  <a:gd name="T20" fmla="*/ 198 w 444"/>
                  <a:gd name="T21" fmla="*/ 38 h 531"/>
                  <a:gd name="T22" fmla="*/ 221 w 444"/>
                  <a:gd name="T23" fmla="*/ 32 h 531"/>
                  <a:gd name="T24" fmla="*/ 233 w 444"/>
                  <a:gd name="T25" fmla="*/ 45 h 531"/>
                  <a:gd name="T26" fmla="*/ 230 w 444"/>
                  <a:gd name="T27" fmla="*/ 65 h 531"/>
                  <a:gd name="T28" fmla="*/ 238 w 444"/>
                  <a:gd name="T29" fmla="*/ 81 h 531"/>
                  <a:gd name="T30" fmla="*/ 248 w 444"/>
                  <a:gd name="T31" fmla="*/ 92 h 531"/>
                  <a:gd name="T32" fmla="*/ 255 w 444"/>
                  <a:gd name="T33" fmla="*/ 99 h 531"/>
                  <a:gd name="T34" fmla="*/ 257 w 444"/>
                  <a:gd name="T35" fmla="*/ 121 h 531"/>
                  <a:gd name="T36" fmla="*/ 252 w 444"/>
                  <a:gd name="T37" fmla="*/ 137 h 531"/>
                  <a:gd name="T38" fmla="*/ 251 w 444"/>
                  <a:gd name="T39" fmla="*/ 159 h 531"/>
                  <a:gd name="T40" fmla="*/ 252 w 444"/>
                  <a:gd name="T41" fmla="*/ 175 h 531"/>
                  <a:gd name="T42" fmla="*/ 255 w 444"/>
                  <a:gd name="T43" fmla="*/ 179 h 531"/>
                  <a:gd name="T44" fmla="*/ 259 w 444"/>
                  <a:gd name="T45" fmla="*/ 175 h 531"/>
                  <a:gd name="T46" fmla="*/ 270 w 444"/>
                  <a:gd name="T47" fmla="*/ 187 h 531"/>
                  <a:gd name="T48" fmla="*/ 286 w 444"/>
                  <a:gd name="T49" fmla="*/ 195 h 531"/>
                  <a:gd name="T50" fmla="*/ 303 w 444"/>
                  <a:gd name="T51" fmla="*/ 203 h 531"/>
                  <a:gd name="T52" fmla="*/ 311 w 444"/>
                  <a:gd name="T53" fmla="*/ 200 h 531"/>
                  <a:gd name="T54" fmla="*/ 295 w 444"/>
                  <a:gd name="T55" fmla="*/ 195 h 531"/>
                  <a:gd name="T56" fmla="*/ 312 w 444"/>
                  <a:gd name="T57" fmla="*/ 202 h 531"/>
                  <a:gd name="T58" fmla="*/ 322 w 444"/>
                  <a:gd name="T59" fmla="*/ 210 h 531"/>
                  <a:gd name="T60" fmla="*/ 335 w 444"/>
                  <a:gd name="T61" fmla="*/ 224 h 531"/>
                  <a:gd name="T62" fmla="*/ 333 w 444"/>
                  <a:gd name="T63" fmla="*/ 238 h 531"/>
                  <a:gd name="T64" fmla="*/ 324 w 444"/>
                  <a:gd name="T65" fmla="*/ 251 h 531"/>
                  <a:gd name="T66" fmla="*/ 320 w 444"/>
                  <a:gd name="T67" fmla="*/ 275 h 531"/>
                  <a:gd name="T68" fmla="*/ 309 w 444"/>
                  <a:gd name="T69" fmla="*/ 292 h 531"/>
                  <a:gd name="T70" fmla="*/ 312 w 444"/>
                  <a:gd name="T71" fmla="*/ 303 h 531"/>
                  <a:gd name="T72" fmla="*/ 319 w 444"/>
                  <a:gd name="T73" fmla="*/ 320 h 531"/>
                  <a:gd name="T74" fmla="*/ 330 w 444"/>
                  <a:gd name="T75" fmla="*/ 335 h 531"/>
                  <a:gd name="T76" fmla="*/ 327 w 444"/>
                  <a:gd name="T77" fmla="*/ 354 h 531"/>
                  <a:gd name="T78" fmla="*/ 314 w 444"/>
                  <a:gd name="T79" fmla="*/ 374 h 531"/>
                  <a:gd name="T80" fmla="*/ 322 w 444"/>
                  <a:gd name="T81" fmla="*/ 385 h 531"/>
                  <a:gd name="T82" fmla="*/ 338 w 444"/>
                  <a:gd name="T83" fmla="*/ 379 h 531"/>
                  <a:gd name="T84" fmla="*/ 354 w 444"/>
                  <a:gd name="T85" fmla="*/ 377 h 531"/>
                  <a:gd name="T86" fmla="*/ 373 w 444"/>
                  <a:gd name="T87" fmla="*/ 368 h 531"/>
                  <a:gd name="T88" fmla="*/ 390 w 444"/>
                  <a:gd name="T89" fmla="*/ 355 h 531"/>
                  <a:gd name="T90" fmla="*/ 409 w 444"/>
                  <a:gd name="T91" fmla="*/ 357 h 531"/>
                  <a:gd name="T92" fmla="*/ 426 w 444"/>
                  <a:gd name="T93" fmla="*/ 366 h 531"/>
                  <a:gd name="T94" fmla="*/ 436 w 444"/>
                  <a:gd name="T95" fmla="*/ 382 h 531"/>
                  <a:gd name="T96" fmla="*/ 436 w 444"/>
                  <a:gd name="T97" fmla="*/ 401 h 531"/>
                  <a:gd name="T98" fmla="*/ 431 w 444"/>
                  <a:gd name="T99" fmla="*/ 419 h 531"/>
                  <a:gd name="T100" fmla="*/ 439 w 444"/>
                  <a:gd name="T101" fmla="*/ 428 h 531"/>
                  <a:gd name="T102" fmla="*/ 441 w 444"/>
                  <a:gd name="T103" fmla="*/ 444 h 531"/>
                  <a:gd name="T104" fmla="*/ 434 w 444"/>
                  <a:gd name="T105" fmla="*/ 455 h 531"/>
                  <a:gd name="T106" fmla="*/ 430 w 444"/>
                  <a:gd name="T107" fmla="*/ 452 h 531"/>
                  <a:gd name="T108" fmla="*/ 423 w 444"/>
                  <a:gd name="T109" fmla="*/ 463 h 531"/>
                  <a:gd name="T110" fmla="*/ 420 w 444"/>
                  <a:gd name="T111" fmla="*/ 474 h 531"/>
                  <a:gd name="T112" fmla="*/ 417 w 444"/>
                  <a:gd name="T113" fmla="*/ 479 h 531"/>
                  <a:gd name="T114" fmla="*/ 414 w 444"/>
                  <a:gd name="T115" fmla="*/ 499 h 531"/>
                  <a:gd name="T116" fmla="*/ 409 w 444"/>
                  <a:gd name="T117" fmla="*/ 509 h 531"/>
                  <a:gd name="T118" fmla="*/ 400 w 444"/>
                  <a:gd name="T119" fmla="*/ 526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4" h="531">
                    <a:moveTo>
                      <a:pt x="0" y="0"/>
                    </a:moveTo>
                    <a:lnTo>
                      <a:pt x="2" y="0"/>
                    </a:lnTo>
                    <a:lnTo>
                      <a:pt x="4" y="0"/>
                    </a:lnTo>
                    <a:lnTo>
                      <a:pt x="5" y="0"/>
                    </a:lnTo>
                    <a:lnTo>
                      <a:pt x="5" y="2"/>
                    </a:lnTo>
                    <a:lnTo>
                      <a:pt x="7" y="2"/>
                    </a:lnTo>
                    <a:lnTo>
                      <a:pt x="8" y="2"/>
                    </a:lnTo>
                    <a:lnTo>
                      <a:pt x="10" y="2"/>
                    </a:lnTo>
                    <a:lnTo>
                      <a:pt x="11" y="2"/>
                    </a:lnTo>
                    <a:lnTo>
                      <a:pt x="13" y="2"/>
                    </a:lnTo>
                    <a:lnTo>
                      <a:pt x="15" y="2"/>
                    </a:lnTo>
                    <a:lnTo>
                      <a:pt x="16" y="2"/>
                    </a:lnTo>
                    <a:lnTo>
                      <a:pt x="16" y="4"/>
                    </a:lnTo>
                    <a:lnTo>
                      <a:pt x="18" y="4"/>
                    </a:lnTo>
                    <a:lnTo>
                      <a:pt x="19" y="4"/>
                    </a:lnTo>
                    <a:lnTo>
                      <a:pt x="19" y="2"/>
                    </a:lnTo>
                    <a:lnTo>
                      <a:pt x="21" y="0"/>
                    </a:lnTo>
                    <a:lnTo>
                      <a:pt x="23" y="0"/>
                    </a:lnTo>
                    <a:lnTo>
                      <a:pt x="24" y="0"/>
                    </a:lnTo>
                    <a:lnTo>
                      <a:pt x="26" y="0"/>
                    </a:lnTo>
                    <a:lnTo>
                      <a:pt x="26" y="2"/>
                    </a:lnTo>
                    <a:lnTo>
                      <a:pt x="27" y="2"/>
                    </a:lnTo>
                    <a:lnTo>
                      <a:pt x="29" y="2"/>
                    </a:lnTo>
                    <a:lnTo>
                      <a:pt x="30" y="2"/>
                    </a:lnTo>
                    <a:lnTo>
                      <a:pt x="32" y="4"/>
                    </a:lnTo>
                    <a:lnTo>
                      <a:pt x="30" y="4"/>
                    </a:lnTo>
                    <a:lnTo>
                      <a:pt x="30" y="5"/>
                    </a:lnTo>
                    <a:lnTo>
                      <a:pt x="32" y="5"/>
                    </a:lnTo>
                    <a:lnTo>
                      <a:pt x="34" y="7"/>
                    </a:lnTo>
                    <a:lnTo>
                      <a:pt x="35" y="5"/>
                    </a:lnTo>
                    <a:lnTo>
                      <a:pt x="35" y="7"/>
                    </a:lnTo>
                    <a:lnTo>
                      <a:pt x="37" y="7"/>
                    </a:lnTo>
                    <a:lnTo>
                      <a:pt x="38" y="7"/>
                    </a:lnTo>
                    <a:lnTo>
                      <a:pt x="40" y="7"/>
                    </a:lnTo>
                    <a:lnTo>
                      <a:pt x="40" y="8"/>
                    </a:lnTo>
                    <a:lnTo>
                      <a:pt x="42" y="8"/>
                    </a:lnTo>
                    <a:lnTo>
                      <a:pt x="42" y="10"/>
                    </a:lnTo>
                    <a:lnTo>
                      <a:pt x="40" y="12"/>
                    </a:lnTo>
                    <a:lnTo>
                      <a:pt x="40" y="13"/>
                    </a:lnTo>
                    <a:lnTo>
                      <a:pt x="40" y="15"/>
                    </a:lnTo>
                    <a:lnTo>
                      <a:pt x="42" y="13"/>
                    </a:lnTo>
                    <a:lnTo>
                      <a:pt x="43" y="13"/>
                    </a:lnTo>
                    <a:lnTo>
                      <a:pt x="43" y="15"/>
                    </a:lnTo>
                    <a:lnTo>
                      <a:pt x="45" y="13"/>
                    </a:lnTo>
                    <a:lnTo>
                      <a:pt x="46" y="13"/>
                    </a:lnTo>
                    <a:lnTo>
                      <a:pt x="46" y="15"/>
                    </a:lnTo>
                    <a:lnTo>
                      <a:pt x="46" y="16"/>
                    </a:lnTo>
                    <a:lnTo>
                      <a:pt x="48" y="16"/>
                    </a:lnTo>
                    <a:lnTo>
                      <a:pt x="48" y="18"/>
                    </a:lnTo>
                    <a:lnTo>
                      <a:pt x="49" y="18"/>
                    </a:lnTo>
                    <a:lnTo>
                      <a:pt x="49" y="19"/>
                    </a:lnTo>
                    <a:lnTo>
                      <a:pt x="49" y="21"/>
                    </a:lnTo>
                    <a:lnTo>
                      <a:pt x="49" y="23"/>
                    </a:lnTo>
                    <a:lnTo>
                      <a:pt x="51" y="23"/>
                    </a:lnTo>
                    <a:lnTo>
                      <a:pt x="53" y="21"/>
                    </a:lnTo>
                    <a:lnTo>
                      <a:pt x="53" y="23"/>
                    </a:lnTo>
                    <a:lnTo>
                      <a:pt x="54" y="23"/>
                    </a:lnTo>
                    <a:lnTo>
                      <a:pt x="54" y="24"/>
                    </a:lnTo>
                    <a:lnTo>
                      <a:pt x="56" y="24"/>
                    </a:lnTo>
                    <a:lnTo>
                      <a:pt x="56" y="26"/>
                    </a:lnTo>
                    <a:lnTo>
                      <a:pt x="57" y="26"/>
                    </a:lnTo>
                    <a:lnTo>
                      <a:pt x="59" y="26"/>
                    </a:lnTo>
                    <a:lnTo>
                      <a:pt x="59" y="27"/>
                    </a:lnTo>
                    <a:lnTo>
                      <a:pt x="61" y="27"/>
                    </a:lnTo>
                    <a:lnTo>
                      <a:pt x="62" y="27"/>
                    </a:lnTo>
                    <a:lnTo>
                      <a:pt x="64" y="26"/>
                    </a:lnTo>
                    <a:lnTo>
                      <a:pt x="65" y="26"/>
                    </a:lnTo>
                    <a:lnTo>
                      <a:pt x="67" y="26"/>
                    </a:lnTo>
                    <a:lnTo>
                      <a:pt x="69" y="24"/>
                    </a:lnTo>
                    <a:lnTo>
                      <a:pt x="69" y="26"/>
                    </a:lnTo>
                    <a:lnTo>
                      <a:pt x="70" y="26"/>
                    </a:lnTo>
                    <a:lnTo>
                      <a:pt x="72" y="26"/>
                    </a:lnTo>
                    <a:lnTo>
                      <a:pt x="73" y="26"/>
                    </a:lnTo>
                    <a:lnTo>
                      <a:pt x="73" y="27"/>
                    </a:lnTo>
                    <a:lnTo>
                      <a:pt x="75" y="27"/>
                    </a:lnTo>
                    <a:lnTo>
                      <a:pt x="76" y="29"/>
                    </a:lnTo>
                    <a:lnTo>
                      <a:pt x="78" y="27"/>
                    </a:lnTo>
                    <a:lnTo>
                      <a:pt x="80" y="29"/>
                    </a:lnTo>
                    <a:lnTo>
                      <a:pt x="81" y="31"/>
                    </a:lnTo>
                    <a:lnTo>
                      <a:pt x="81" y="32"/>
                    </a:lnTo>
                    <a:lnTo>
                      <a:pt x="83" y="32"/>
                    </a:lnTo>
                    <a:lnTo>
                      <a:pt x="83" y="34"/>
                    </a:lnTo>
                    <a:lnTo>
                      <a:pt x="83" y="35"/>
                    </a:lnTo>
                    <a:lnTo>
                      <a:pt x="84" y="35"/>
                    </a:lnTo>
                    <a:lnTo>
                      <a:pt x="84" y="37"/>
                    </a:lnTo>
                    <a:lnTo>
                      <a:pt x="86" y="37"/>
                    </a:lnTo>
                    <a:lnTo>
                      <a:pt x="86" y="38"/>
                    </a:lnTo>
                    <a:lnTo>
                      <a:pt x="88" y="38"/>
                    </a:lnTo>
                    <a:lnTo>
                      <a:pt x="88" y="40"/>
                    </a:lnTo>
                    <a:lnTo>
                      <a:pt x="88" y="42"/>
                    </a:lnTo>
                    <a:lnTo>
                      <a:pt x="88" y="43"/>
                    </a:lnTo>
                    <a:lnTo>
                      <a:pt x="88" y="45"/>
                    </a:lnTo>
                    <a:lnTo>
                      <a:pt x="89" y="46"/>
                    </a:lnTo>
                    <a:lnTo>
                      <a:pt x="91" y="46"/>
                    </a:lnTo>
                    <a:lnTo>
                      <a:pt x="92" y="46"/>
                    </a:lnTo>
                    <a:lnTo>
                      <a:pt x="94" y="45"/>
                    </a:lnTo>
                    <a:lnTo>
                      <a:pt x="95" y="45"/>
                    </a:lnTo>
                    <a:lnTo>
                      <a:pt x="97" y="45"/>
                    </a:lnTo>
                    <a:lnTo>
                      <a:pt x="99" y="45"/>
                    </a:lnTo>
                    <a:lnTo>
                      <a:pt x="100" y="45"/>
                    </a:lnTo>
                    <a:lnTo>
                      <a:pt x="102" y="45"/>
                    </a:lnTo>
                    <a:lnTo>
                      <a:pt x="103" y="43"/>
                    </a:lnTo>
                    <a:lnTo>
                      <a:pt x="105" y="43"/>
                    </a:lnTo>
                    <a:lnTo>
                      <a:pt x="107" y="43"/>
                    </a:lnTo>
                    <a:lnTo>
                      <a:pt x="108" y="43"/>
                    </a:lnTo>
                    <a:lnTo>
                      <a:pt x="110" y="45"/>
                    </a:lnTo>
                    <a:lnTo>
                      <a:pt x="110" y="46"/>
                    </a:lnTo>
                    <a:lnTo>
                      <a:pt x="111" y="48"/>
                    </a:lnTo>
                    <a:lnTo>
                      <a:pt x="111" y="50"/>
                    </a:lnTo>
                    <a:lnTo>
                      <a:pt x="113" y="50"/>
                    </a:lnTo>
                    <a:lnTo>
                      <a:pt x="113" y="51"/>
                    </a:lnTo>
                    <a:lnTo>
                      <a:pt x="113" y="53"/>
                    </a:lnTo>
                    <a:lnTo>
                      <a:pt x="114" y="53"/>
                    </a:lnTo>
                    <a:lnTo>
                      <a:pt x="114" y="54"/>
                    </a:lnTo>
                    <a:lnTo>
                      <a:pt x="116" y="54"/>
                    </a:lnTo>
                    <a:lnTo>
                      <a:pt x="118" y="54"/>
                    </a:lnTo>
                    <a:lnTo>
                      <a:pt x="119" y="54"/>
                    </a:lnTo>
                    <a:lnTo>
                      <a:pt x="119" y="53"/>
                    </a:lnTo>
                    <a:lnTo>
                      <a:pt x="121" y="53"/>
                    </a:lnTo>
                    <a:lnTo>
                      <a:pt x="122" y="54"/>
                    </a:lnTo>
                    <a:lnTo>
                      <a:pt x="124" y="56"/>
                    </a:lnTo>
                    <a:lnTo>
                      <a:pt x="126" y="56"/>
                    </a:lnTo>
                    <a:lnTo>
                      <a:pt x="127" y="56"/>
                    </a:lnTo>
                    <a:lnTo>
                      <a:pt x="127" y="54"/>
                    </a:lnTo>
                    <a:lnTo>
                      <a:pt x="129" y="54"/>
                    </a:lnTo>
                    <a:lnTo>
                      <a:pt x="129" y="53"/>
                    </a:lnTo>
                    <a:lnTo>
                      <a:pt x="130" y="53"/>
                    </a:lnTo>
                    <a:lnTo>
                      <a:pt x="130" y="51"/>
                    </a:lnTo>
                    <a:lnTo>
                      <a:pt x="132" y="51"/>
                    </a:lnTo>
                    <a:lnTo>
                      <a:pt x="132" y="50"/>
                    </a:lnTo>
                    <a:lnTo>
                      <a:pt x="133" y="50"/>
                    </a:lnTo>
                    <a:lnTo>
                      <a:pt x="135" y="50"/>
                    </a:lnTo>
                    <a:lnTo>
                      <a:pt x="135" y="51"/>
                    </a:lnTo>
                    <a:lnTo>
                      <a:pt x="137" y="51"/>
                    </a:lnTo>
                    <a:lnTo>
                      <a:pt x="138" y="51"/>
                    </a:lnTo>
                    <a:lnTo>
                      <a:pt x="138" y="53"/>
                    </a:lnTo>
                    <a:lnTo>
                      <a:pt x="140" y="53"/>
                    </a:lnTo>
                    <a:lnTo>
                      <a:pt x="141" y="53"/>
                    </a:lnTo>
                    <a:lnTo>
                      <a:pt x="143" y="53"/>
                    </a:lnTo>
                    <a:lnTo>
                      <a:pt x="145" y="54"/>
                    </a:lnTo>
                    <a:lnTo>
                      <a:pt x="145" y="53"/>
                    </a:lnTo>
                    <a:lnTo>
                      <a:pt x="146" y="53"/>
                    </a:lnTo>
                    <a:lnTo>
                      <a:pt x="148" y="53"/>
                    </a:lnTo>
                    <a:lnTo>
                      <a:pt x="149" y="53"/>
                    </a:lnTo>
                    <a:lnTo>
                      <a:pt x="149" y="51"/>
                    </a:lnTo>
                    <a:lnTo>
                      <a:pt x="151" y="51"/>
                    </a:lnTo>
                    <a:lnTo>
                      <a:pt x="151" y="50"/>
                    </a:lnTo>
                    <a:lnTo>
                      <a:pt x="152" y="50"/>
                    </a:lnTo>
                    <a:lnTo>
                      <a:pt x="154" y="50"/>
                    </a:lnTo>
                    <a:lnTo>
                      <a:pt x="154" y="51"/>
                    </a:lnTo>
                    <a:lnTo>
                      <a:pt x="156" y="51"/>
                    </a:lnTo>
                    <a:lnTo>
                      <a:pt x="157" y="53"/>
                    </a:lnTo>
                    <a:lnTo>
                      <a:pt x="157" y="54"/>
                    </a:lnTo>
                    <a:lnTo>
                      <a:pt x="157" y="56"/>
                    </a:lnTo>
                    <a:lnTo>
                      <a:pt x="159" y="54"/>
                    </a:lnTo>
                    <a:lnTo>
                      <a:pt x="160" y="54"/>
                    </a:lnTo>
                    <a:lnTo>
                      <a:pt x="162" y="53"/>
                    </a:lnTo>
                    <a:lnTo>
                      <a:pt x="162" y="51"/>
                    </a:lnTo>
                    <a:lnTo>
                      <a:pt x="164" y="51"/>
                    </a:lnTo>
                    <a:lnTo>
                      <a:pt x="164" y="50"/>
                    </a:lnTo>
                    <a:lnTo>
                      <a:pt x="165" y="50"/>
                    </a:lnTo>
                    <a:lnTo>
                      <a:pt x="167" y="48"/>
                    </a:lnTo>
                    <a:lnTo>
                      <a:pt x="168" y="46"/>
                    </a:lnTo>
                    <a:lnTo>
                      <a:pt x="168" y="45"/>
                    </a:lnTo>
                    <a:lnTo>
                      <a:pt x="170" y="45"/>
                    </a:lnTo>
                    <a:lnTo>
                      <a:pt x="171" y="45"/>
                    </a:lnTo>
                    <a:lnTo>
                      <a:pt x="173" y="45"/>
                    </a:lnTo>
                    <a:lnTo>
                      <a:pt x="175" y="45"/>
                    </a:lnTo>
                    <a:lnTo>
                      <a:pt x="175" y="46"/>
                    </a:lnTo>
                    <a:lnTo>
                      <a:pt x="176" y="46"/>
                    </a:lnTo>
                    <a:lnTo>
                      <a:pt x="178" y="46"/>
                    </a:lnTo>
                    <a:lnTo>
                      <a:pt x="179" y="45"/>
                    </a:lnTo>
                    <a:lnTo>
                      <a:pt x="181" y="45"/>
                    </a:lnTo>
                    <a:lnTo>
                      <a:pt x="183" y="43"/>
                    </a:lnTo>
                    <a:lnTo>
                      <a:pt x="183" y="42"/>
                    </a:lnTo>
                    <a:lnTo>
                      <a:pt x="184" y="40"/>
                    </a:lnTo>
                    <a:lnTo>
                      <a:pt x="184" y="38"/>
                    </a:lnTo>
                    <a:lnTo>
                      <a:pt x="186" y="37"/>
                    </a:lnTo>
                    <a:lnTo>
                      <a:pt x="187" y="37"/>
                    </a:lnTo>
                    <a:lnTo>
                      <a:pt x="189" y="37"/>
                    </a:lnTo>
                    <a:lnTo>
                      <a:pt x="189" y="35"/>
                    </a:lnTo>
                    <a:lnTo>
                      <a:pt x="190" y="35"/>
                    </a:lnTo>
                    <a:lnTo>
                      <a:pt x="192" y="35"/>
                    </a:lnTo>
                    <a:lnTo>
                      <a:pt x="194" y="35"/>
                    </a:lnTo>
                    <a:lnTo>
                      <a:pt x="195" y="37"/>
                    </a:lnTo>
                    <a:lnTo>
                      <a:pt x="197" y="37"/>
                    </a:lnTo>
                    <a:lnTo>
                      <a:pt x="198" y="38"/>
                    </a:lnTo>
                    <a:lnTo>
                      <a:pt x="200" y="37"/>
                    </a:lnTo>
                    <a:lnTo>
                      <a:pt x="202" y="37"/>
                    </a:lnTo>
                    <a:lnTo>
                      <a:pt x="203" y="35"/>
                    </a:lnTo>
                    <a:lnTo>
                      <a:pt x="205" y="34"/>
                    </a:lnTo>
                    <a:lnTo>
                      <a:pt x="205" y="32"/>
                    </a:lnTo>
                    <a:lnTo>
                      <a:pt x="206" y="32"/>
                    </a:lnTo>
                    <a:lnTo>
                      <a:pt x="206" y="31"/>
                    </a:lnTo>
                    <a:lnTo>
                      <a:pt x="208" y="31"/>
                    </a:lnTo>
                    <a:lnTo>
                      <a:pt x="209" y="31"/>
                    </a:lnTo>
                    <a:lnTo>
                      <a:pt x="211" y="31"/>
                    </a:lnTo>
                    <a:lnTo>
                      <a:pt x="211" y="32"/>
                    </a:lnTo>
                    <a:lnTo>
                      <a:pt x="213" y="32"/>
                    </a:lnTo>
                    <a:lnTo>
                      <a:pt x="214" y="32"/>
                    </a:lnTo>
                    <a:lnTo>
                      <a:pt x="216" y="32"/>
                    </a:lnTo>
                    <a:lnTo>
                      <a:pt x="217" y="32"/>
                    </a:lnTo>
                    <a:lnTo>
                      <a:pt x="219" y="32"/>
                    </a:lnTo>
                    <a:lnTo>
                      <a:pt x="221" y="32"/>
                    </a:lnTo>
                    <a:lnTo>
                      <a:pt x="222" y="32"/>
                    </a:lnTo>
                    <a:lnTo>
                      <a:pt x="224" y="32"/>
                    </a:lnTo>
                    <a:lnTo>
                      <a:pt x="224" y="34"/>
                    </a:lnTo>
                    <a:lnTo>
                      <a:pt x="225" y="34"/>
                    </a:lnTo>
                    <a:lnTo>
                      <a:pt x="227" y="35"/>
                    </a:lnTo>
                    <a:lnTo>
                      <a:pt x="228" y="35"/>
                    </a:lnTo>
                    <a:lnTo>
                      <a:pt x="230" y="35"/>
                    </a:lnTo>
                    <a:lnTo>
                      <a:pt x="232" y="35"/>
                    </a:lnTo>
                    <a:lnTo>
                      <a:pt x="233" y="35"/>
                    </a:lnTo>
                    <a:lnTo>
                      <a:pt x="235" y="35"/>
                    </a:lnTo>
                    <a:lnTo>
                      <a:pt x="235" y="37"/>
                    </a:lnTo>
                    <a:lnTo>
                      <a:pt x="235" y="38"/>
                    </a:lnTo>
                    <a:lnTo>
                      <a:pt x="235" y="40"/>
                    </a:lnTo>
                    <a:lnTo>
                      <a:pt x="235" y="42"/>
                    </a:lnTo>
                    <a:lnTo>
                      <a:pt x="233" y="42"/>
                    </a:lnTo>
                    <a:lnTo>
                      <a:pt x="233" y="43"/>
                    </a:lnTo>
                    <a:lnTo>
                      <a:pt x="233" y="45"/>
                    </a:lnTo>
                    <a:lnTo>
                      <a:pt x="232" y="45"/>
                    </a:lnTo>
                    <a:lnTo>
                      <a:pt x="232" y="46"/>
                    </a:lnTo>
                    <a:lnTo>
                      <a:pt x="232" y="48"/>
                    </a:lnTo>
                    <a:lnTo>
                      <a:pt x="232" y="50"/>
                    </a:lnTo>
                    <a:lnTo>
                      <a:pt x="230" y="50"/>
                    </a:lnTo>
                    <a:lnTo>
                      <a:pt x="230" y="51"/>
                    </a:lnTo>
                    <a:lnTo>
                      <a:pt x="230" y="53"/>
                    </a:lnTo>
                    <a:lnTo>
                      <a:pt x="228" y="53"/>
                    </a:lnTo>
                    <a:lnTo>
                      <a:pt x="228" y="54"/>
                    </a:lnTo>
                    <a:lnTo>
                      <a:pt x="228" y="56"/>
                    </a:lnTo>
                    <a:lnTo>
                      <a:pt x="228" y="58"/>
                    </a:lnTo>
                    <a:lnTo>
                      <a:pt x="228" y="59"/>
                    </a:lnTo>
                    <a:lnTo>
                      <a:pt x="228" y="61"/>
                    </a:lnTo>
                    <a:lnTo>
                      <a:pt x="228" y="62"/>
                    </a:lnTo>
                    <a:lnTo>
                      <a:pt x="228" y="64"/>
                    </a:lnTo>
                    <a:lnTo>
                      <a:pt x="228" y="65"/>
                    </a:lnTo>
                    <a:lnTo>
                      <a:pt x="230" y="65"/>
                    </a:lnTo>
                    <a:lnTo>
                      <a:pt x="230" y="67"/>
                    </a:lnTo>
                    <a:lnTo>
                      <a:pt x="232" y="67"/>
                    </a:lnTo>
                    <a:lnTo>
                      <a:pt x="232" y="69"/>
                    </a:lnTo>
                    <a:lnTo>
                      <a:pt x="232" y="70"/>
                    </a:lnTo>
                    <a:lnTo>
                      <a:pt x="232" y="72"/>
                    </a:lnTo>
                    <a:lnTo>
                      <a:pt x="233" y="72"/>
                    </a:lnTo>
                    <a:lnTo>
                      <a:pt x="233" y="73"/>
                    </a:lnTo>
                    <a:lnTo>
                      <a:pt x="233" y="75"/>
                    </a:lnTo>
                    <a:lnTo>
                      <a:pt x="233" y="77"/>
                    </a:lnTo>
                    <a:lnTo>
                      <a:pt x="235" y="77"/>
                    </a:lnTo>
                    <a:lnTo>
                      <a:pt x="235" y="78"/>
                    </a:lnTo>
                    <a:lnTo>
                      <a:pt x="236" y="78"/>
                    </a:lnTo>
                    <a:lnTo>
                      <a:pt x="236" y="80"/>
                    </a:lnTo>
                    <a:lnTo>
                      <a:pt x="238" y="80"/>
                    </a:lnTo>
                    <a:lnTo>
                      <a:pt x="236" y="80"/>
                    </a:lnTo>
                    <a:lnTo>
                      <a:pt x="238" y="80"/>
                    </a:lnTo>
                    <a:lnTo>
                      <a:pt x="238" y="81"/>
                    </a:lnTo>
                    <a:lnTo>
                      <a:pt x="240" y="81"/>
                    </a:lnTo>
                    <a:lnTo>
                      <a:pt x="240" y="83"/>
                    </a:lnTo>
                    <a:lnTo>
                      <a:pt x="241" y="83"/>
                    </a:lnTo>
                    <a:lnTo>
                      <a:pt x="241" y="84"/>
                    </a:lnTo>
                    <a:lnTo>
                      <a:pt x="241" y="86"/>
                    </a:lnTo>
                    <a:lnTo>
                      <a:pt x="240" y="86"/>
                    </a:lnTo>
                    <a:lnTo>
                      <a:pt x="240" y="88"/>
                    </a:lnTo>
                    <a:lnTo>
                      <a:pt x="241" y="88"/>
                    </a:lnTo>
                    <a:lnTo>
                      <a:pt x="241" y="86"/>
                    </a:lnTo>
                    <a:lnTo>
                      <a:pt x="243" y="86"/>
                    </a:lnTo>
                    <a:lnTo>
                      <a:pt x="243" y="88"/>
                    </a:lnTo>
                    <a:lnTo>
                      <a:pt x="244" y="88"/>
                    </a:lnTo>
                    <a:lnTo>
                      <a:pt x="244" y="89"/>
                    </a:lnTo>
                    <a:lnTo>
                      <a:pt x="244" y="91"/>
                    </a:lnTo>
                    <a:lnTo>
                      <a:pt x="246" y="91"/>
                    </a:lnTo>
                    <a:lnTo>
                      <a:pt x="246" y="92"/>
                    </a:lnTo>
                    <a:lnTo>
                      <a:pt x="248" y="92"/>
                    </a:lnTo>
                    <a:lnTo>
                      <a:pt x="248" y="94"/>
                    </a:lnTo>
                    <a:lnTo>
                      <a:pt x="248" y="96"/>
                    </a:lnTo>
                    <a:lnTo>
                      <a:pt x="249" y="96"/>
                    </a:lnTo>
                    <a:lnTo>
                      <a:pt x="249" y="97"/>
                    </a:lnTo>
                    <a:lnTo>
                      <a:pt x="249" y="99"/>
                    </a:lnTo>
                    <a:lnTo>
                      <a:pt x="251" y="99"/>
                    </a:lnTo>
                    <a:lnTo>
                      <a:pt x="252" y="99"/>
                    </a:lnTo>
                    <a:lnTo>
                      <a:pt x="252" y="100"/>
                    </a:lnTo>
                    <a:lnTo>
                      <a:pt x="254" y="100"/>
                    </a:lnTo>
                    <a:lnTo>
                      <a:pt x="254" y="102"/>
                    </a:lnTo>
                    <a:lnTo>
                      <a:pt x="252" y="102"/>
                    </a:lnTo>
                    <a:lnTo>
                      <a:pt x="254" y="102"/>
                    </a:lnTo>
                    <a:lnTo>
                      <a:pt x="255" y="102"/>
                    </a:lnTo>
                    <a:lnTo>
                      <a:pt x="255" y="100"/>
                    </a:lnTo>
                    <a:lnTo>
                      <a:pt x="254" y="100"/>
                    </a:lnTo>
                    <a:lnTo>
                      <a:pt x="254" y="99"/>
                    </a:lnTo>
                    <a:lnTo>
                      <a:pt x="255" y="99"/>
                    </a:lnTo>
                    <a:lnTo>
                      <a:pt x="255" y="100"/>
                    </a:lnTo>
                    <a:lnTo>
                      <a:pt x="255" y="102"/>
                    </a:lnTo>
                    <a:lnTo>
                      <a:pt x="255" y="103"/>
                    </a:lnTo>
                    <a:lnTo>
                      <a:pt x="255" y="105"/>
                    </a:lnTo>
                    <a:lnTo>
                      <a:pt x="257" y="105"/>
                    </a:lnTo>
                    <a:lnTo>
                      <a:pt x="255" y="105"/>
                    </a:lnTo>
                    <a:lnTo>
                      <a:pt x="255" y="107"/>
                    </a:lnTo>
                    <a:lnTo>
                      <a:pt x="255" y="108"/>
                    </a:lnTo>
                    <a:lnTo>
                      <a:pt x="255" y="110"/>
                    </a:lnTo>
                    <a:lnTo>
                      <a:pt x="255" y="111"/>
                    </a:lnTo>
                    <a:lnTo>
                      <a:pt x="255" y="113"/>
                    </a:lnTo>
                    <a:lnTo>
                      <a:pt x="255" y="115"/>
                    </a:lnTo>
                    <a:lnTo>
                      <a:pt x="255" y="116"/>
                    </a:lnTo>
                    <a:lnTo>
                      <a:pt x="255" y="118"/>
                    </a:lnTo>
                    <a:lnTo>
                      <a:pt x="257" y="118"/>
                    </a:lnTo>
                    <a:lnTo>
                      <a:pt x="257" y="119"/>
                    </a:lnTo>
                    <a:lnTo>
                      <a:pt x="257" y="121"/>
                    </a:lnTo>
                    <a:lnTo>
                      <a:pt x="255" y="121"/>
                    </a:lnTo>
                    <a:lnTo>
                      <a:pt x="257" y="121"/>
                    </a:lnTo>
                    <a:lnTo>
                      <a:pt x="255" y="121"/>
                    </a:lnTo>
                    <a:lnTo>
                      <a:pt x="255" y="122"/>
                    </a:lnTo>
                    <a:lnTo>
                      <a:pt x="255" y="124"/>
                    </a:lnTo>
                    <a:lnTo>
                      <a:pt x="254" y="124"/>
                    </a:lnTo>
                    <a:lnTo>
                      <a:pt x="254" y="126"/>
                    </a:lnTo>
                    <a:lnTo>
                      <a:pt x="254" y="127"/>
                    </a:lnTo>
                    <a:lnTo>
                      <a:pt x="252" y="127"/>
                    </a:lnTo>
                    <a:lnTo>
                      <a:pt x="252" y="129"/>
                    </a:lnTo>
                    <a:lnTo>
                      <a:pt x="252" y="127"/>
                    </a:lnTo>
                    <a:lnTo>
                      <a:pt x="252" y="129"/>
                    </a:lnTo>
                    <a:lnTo>
                      <a:pt x="252" y="130"/>
                    </a:lnTo>
                    <a:lnTo>
                      <a:pt x="252" y="132"/>
                    </a:lnTo>
                    <a:lnTo>
                      <a:pt x="252" y="134"/>
                    </a:lnTo>
                    <a:lnTo>
                      <a:pt x="252" y="135"/>
                    </a:lnTo>
                    <a:lnTo>
                      <a:pt x="252" y="137"/>
                    </a:lnTo>
                    <a:lnTo>
                      <a:pt x="251" y="137"/>
                    </a:lnTo>
                    <a:lnTo>
                      <a:pt x="251" y="138"/>
                    </a:lnTo>
                    <a:lnTo>
                      <a:pt x="251" y="140"/>
                    </a:lnTo>
                    <a:lnTo>
                      <a:pt x="251" y="141"/>
                    </a:lnTo>
                    <a:lnTo>
                      <a:pt x="249" y="141"/>
                    </a:lnTo>
                    <a:lnTo>
                      <a:pt x="249" y="143"/>
                    </a:lnTo>
                    <a:lnTo>
                      <a:pt x="249" y="145"/>
                    </a:lnTo>
                    <a:lnTo>
                      <a:pt x="249" y="146"/>
                    </a:lnTo>
                    <a:lnTo>
                      <a:pt x="249" y="148"/>
                    </a:lnTo>
                    <a:lnTo>
                      <a:pt x="249" y="149"/>
                    </a:lnTo>
                    <a:lnTo>
                      <a:pt x="249" y="151"/>
                    </a:lnTo>
                    <a:lnTo>
                      <a:pt x="249" y="153"/>
                    </a:lnTo>
                    <a:lnTo>
                      <a:pt x="249" y="154"/>
                    </a:lnTo>
                    <a:lnTo>
                      <a:pt x="249" y="156"/>
                    </a:lnTo>
                    <a:lnTo>
                      <a:pt x="249" y="157"/>
                    </a:lnTo>
                    <a:lnTo>
                      <a:pt x="249" y="159"/>
                    </a:lnTo>
                    <a:lnTo>
                      <a:pt x="251" y="159"/>
                    </a:lnTo>
                    <a:lnTo>
                      <a:pt x="251" y="160"/>
                    </a:lnTo>
                    <a:lnTo>
                      <a:pt x="251" y="162"/>
                    </a:lnTo>
                    <a:lnTo>
                      <a:pt x="252" y="162"/>
                    </a:lnTo>
                    <a:lnTo>
                      <a:pt x="252" y="164"/>
                    </a:lnTo>
                    <a:lnTo>
                      <a:pt x="254" y="164"/>
                    </a:lnTo>
                    <a:lnTo>
                      <a:pt x="254" y="165"/>
                    </a:lnTo>
                    <a:lnTo>
                      <a:pt x="254" y="167"/>
                    </a:lnTo>
                    <a:lnTo>
                      <a:pt x="255" y="167"/>
                    </a:lnTo>
                    <a:lnTo>
                      <a:pt x="257" y="167"/>
                    </a:lnTo>
                    <a:lnTo>
                      <a:pt x="257" y="168"/>
                    </a:lnTo>
                    <a:lnTo>
                      <a:pt x="257" y="170"/>
                    </a:lnTo>
                    <a:lnTo>
                      <a:pt x="255" y="170"/>
                    </a:lnTo>
                    <a:lnTo>
                      <a:pt x="254" y="170"/>
                    </a:lnTo>
                    <a:lnTo>
                      <a:pt x="254" y="172"/>
                    </a:lnTo>
                    <a:lnTo>
                      <a:pt x="252" y="172"/>
                    </a:lnTo>
                    <a:lnTo>
                      <a:pt x="252" y="173"/>
                    </a:lnTo>
                    <a:lnTo>
                      <a:pt x="252" y="175"/>
                    </a:lnTo>
                    <a:lnTo>
                      <a:pt x="254" y="175"/>
                    </a:lnTo>
                    <a:lnTo>
                      <a:pt x="254" y="176"/>
                    </a:lnTo>
                    <a:lnTo>
                      <a:pt x="255" y="176"/>
                    </a:lnTo>
                    <a:lnTo>
                      <a:pt x="257" y="176"/>
                    </a:lnTo>
                    <a:lnTo>
                      <a:pt x="257" y="178"/>
                    </a:lnTo>
                    <a:lnTo>
                      <a:pt x="255" y="178"/>
                    </a:lnTo>
                    <a:lnTo>
                      <a:pt x="255" y="179"/>
                    </a:lnTo>
                    <a:lnTo>
                      <a:pt x="254" y="179"/>
                    </a:lnTo>
                    <a:lnTo>
                      <a:pt x="252" y="179"/>
                    </a:lnTo>
                    <a:lnTo>
                      <a:pt x="252" y="178"/>
                    </a:lnTo>
                    <a:lnTo>
                      <a:pt x="254" y="178"/>
                    </a:lnTo>
                    <a:lnTo>
                      <a:pt x="252" y="178"/>
                    </a:lnTo>
                    <a:lnTo>
                      <a:pt x="252" y="176"/>
                    </a:lnTo>
                    <a:lnTo>
                      <a:pt x="252" y="178"/>
                    </a:lnTo>
                    <a:lnTo>
                      <a:pt x="252" y="179"/>
                    </a:lnTo>
                    <a:lnTo>
                      <a:pt x="254" y="179"/>
                    </a:lnTo>
                    <a:lnTo>
                      <a:pt x="255" y="179"/>
                    </a:lnTo>
                    <a:lnTo>
                      <a:pt x="255" y="178"/>
                    </a:lnTo>
                    <a:lnTo>
                      <a:pt x="257" y="178"/>
                    </a:lnTo>
                    <a:lnTo>
                      <a:pt x="259" y="178"/>
                    </a:lnTo>
                    <a:lnTo>
                      <a:pt x="259" y="176"/>
                    </a:lnTo>
                    <a:lnTo>
                      <a:pt x="257" y="176"/>
                    </a:lnTo>
                    <a:lnTo>
                      <a:pt x="257" y="175"/>
                    </a:lnTo>
                    <a:lnTo>
                      <a:pt x="255" y="175"/>
                    </a:lnTo>
                    <a:lnTo>
                      <a:pt x="254" y="175"/>
                    </a:lnTo>
                    <a:lnTo>
                      <a:pt x="254" y="173"/>
                    </a:lnTo>
                    <a:lnTo>
                      <a:pt x="255" y="173"/>
                    </a:lnTo>
                    <a:lnTo>
                      <a:pt x="255" y="172"/>
                    </a:lnTo>
                    <a:lnTo>
                      <a:pt x="257" y="172"/>
                    </a:lnTo>
                    <a:lnTo>
                      <a:pt x="259" y="172"/>
                    </a:lnTo>
                    <a:lnTo>
                      <a:pt x="259" y="173"/>
                    </a:lnTo>
                    <a:lnTo>
                      <a:pt x="260" y="173"/>
                    </a:lnTo>
                    <a:lnTo>
                      <a:pt x="259" y="173"/>
                    </a:lnTo>
                    <a:lnTo>
                      <a:pt x="259" y="175"/>
                    </a:lnTo>
                    <a:lnTo>
                      <a:pt x="260" y="175"/>
                    </a:lnTo>
                    <a:lnTo>
                      <a:pt x="260" y="176"/>
                    </a:lnTo>
                    <a:lnTo>
                      <a:pt x="262" y="176"/>
                    </a:lnTo>
                    <a:lnTo>
                      <a:pt x="262" y="178"/>
                    </a:lnTo>
                    <a:lnTo>
                      <a:pt x="263" y="178"/>
                    </a:lnTo>
                    <a:lnTo>
                      <a:pt x="265" y="178"/>
                    </a:lnTo>
                    <a:lnTo>
                      <a:pt x="265" y="179"/>
                    </a:lnTo>
                    <a:lnTo>
                      <a:pt x="267" y="179"/>
                    </a:lnTo>
                    <a:lnTo>
                      <a:pt x="268" y="179"/>
                    </a:lnTo>
                    <a:lnTo>
                      <a:pt x="268" y="181"/>
                    </a:lnTo>
                    <a:lnTo>
                      <a:pt x="268" y="183"/>
                    </a:lnTo>
                    <a:lnTo>
                      <a:pt x="268" y="184"/>
                    </a:lnTo>
                    <a:lnTo>
                      <a:pt x="268" y="186"/>
                    </a:lnTo>
                    <a:lnTo>
                      <a:pt x="270" y="186"/>
                    </a:lnTo>
                    <a:lnTo>
                      <a:pt x="268" y="186"/>
                    </a:lnTo>
                    <a:lnTo>
                      <a:pt x="268" y="187"/>
                    </a:lnTo>
                    <a:lnTo>
                      <a:pt x="270" y="187"/>
                    </a:lnTo>
                    <a:lnTo>
                      <a:pt x="270" y="189"/>
                    </a:lnTo>
                    <a:lnTo>
                      <a:pt x="271" y="189"/>
                    </a:lnTo>
                    <a:lnTo>
                      <a:pt x="271" y="191"/>
                    </a:lnTo>
                    <a:lnTo>
                      <a:pt x="271" y="192"/>
                    </a:lnTo>
                    <a:lnTo>
                      <a:pt x="273" y="192"/>
                    </a:lnTo>
                    <a:lnTo>
                      <a:pt x="273" y="194"/>
                    </a:lnTo>
                    <a:lnTo>
                      <a:pt x="274" y="194"/>
                    </a:lnTo>
                    <a:lnTo>
                      <a:pt x="276" y="194"/>
                    </a:lnTo>
                    <a:lnTo>
                      <a:pt x="276" y="195"/>
                    </a:lnTo>
                    <a:lnTo>
                      <a:pt x="278" y="195"/>
                    </a:lnTo>
                    <a:lnTo>
                      <a:pt x="279" y="195"/>
                    </a:lnTo>
                    <a:lnTo>
                      <a:pt x="281" y="195"/>
                    </a:lnTo>
                    <a:lnTo>
                      <a:pt x="281" y="197"/>
                    </a:lnTo>
                    <a:lnTo>
                      <a:pt x="282" y="197"/>
                    </a:lnTo>
                    <a:lnTo>
                      <a:pt x="282" y="195"/>
                    </a:lnTo>
                    <a:lnTo>
                      <a:pt x="284" y="195"/>
                    </a:lnTo>
                    <a:lnTo>
                      <a:pt x="286" y="195"/>
                    </a:lnTo>
                    <a:lnTo>
                      <a:pt x="287" y="195"/>
                    </a:lnTo>
                    <a:lnTo>
                      <a:pt x="289" y="195"/>
                    </a:lnTo>
                    <a:lnTo>
                      <a:pt x="289" y="197"/>
                    </a:lnTo>
                    <a:lnTo>
                      <a:pt x="289" y="198"/>
                    </a:lnTo>
                    <a:lnTo>
                      <a:pt x="289" y="200"/>
                    </a:lnTo>
                    <a:lnTo>
                      <a:pt x="290" y="200"/>
                    </a:lnTo>
                    <a:lnTo>
                      <a:pt x="290" y="202"/>
                    </a:lnTo>
                    <a:lnTo>
                      <a:pt x="292" y="202"/>
                    </a:lnTo>
                    <a:lnTo>
                      <a:pt x="293" y="202"/>
                    </a:lnTo>
                    <a:lnTo>
                      <a:pt x="293" y="203"/>
                    </a:lnTo>
                    <a:lnTo>
                      <a:pt x="297" y="203"/>
                    </a:lnTo>
                    <a:lnTo>
                      <a:pt x="297" y="202"/>
                    </a:lnTo>
                    <a:lnTo>
                      <a:pt x="298" y="202"/>
                    </a:lnTo>
                    <a:lnTo>
                      <a:pt x="300" y="202"/>
                    </a:lnTo>
                    <a:lnTo>
                      <a:pt x="300" y="203"/>
                    </a:lnTo>
                    <a:lnTo>
                      <a:pt x="301" y="203"/>
                    </a:lnTo>
                    <a:lnTo>
                      <a:pt x="303" y="203"/>
                    </a:lnTo>
                    <a:lnTo>
                      <a:pt x="303" y="205"/>
                    </a:lnTo>
                    <a:lnTo>
                      <a:pt x="305" y="205"/>
                    </a:lnTo>
                    <a:lnTo>
                      <a:pt x="305" y="206"/>
                    </a:lnTo>
                    <a:lnTo>
                      <a:pt x="306" y="206"/>
                    </a:lnTo>
                    <a:lnTo>
                      <a:pt x="306" y="208"/>
                    </a:lnTo>
                    <a:lnTo>
                      <a:pt x="308" y="208"/>
                    </a:lnTo>
                    <a:lnTo>
                      <a:pt x="309" y="208"/>
                    </a:lnTo>
                    <a:lnTo>
                      <a:pt x="311" y="208"/>
                    </a:lnTo>
                    <a:lnTo>
                      <a:pt x="311" y="206"/>
                    </a:lnTo>
                    <a:lnTo>
                      <a:pt x="312" y="206"/>
                    </a:lnTo>
                    <a:lnTo>
                      <a:pt x="312" y="205"/>
                    </a:lnTo>
                    <a:lnTo>
                      <a:pt x="311" y="205"/>
                    </a:lnTo>
                    <a:lnTo>
                      <a:pt x="312" y="205"/>
                    </a:lnTo>
                    <a:lnTo>
                      <a:pt x="312" y="203"/>
                    </a:lnTo>
                    <a:lnTo>
                      <a:pt x="312" y="202"/>
                    </a:lnTo>
                    <a:lnTo>
                      <a:pt x="312" y="200"/>
                    </a:lnTo>
                    <a:lnTo>
                      <a:pt x="311" y="200"/>
                    </a:lnTo>
                    <a:lnTo>
                      <a:pt x="309" y="200"/>
                    </a:lnTo>
                    <a:lnTo>
                      <a:pt x="308" y="200"/>
                    </a:lnTo>
                    <a:lnTo>
                      <a:pt x="308" y="198"/>
                    </a:lnTo>
                    <a:lnTo>
                      <a:pt x="306" y="198"/>
                    </a:lnTo>
                    <a:lnTo>
                      <a:pt x="305" y="198"/>
                    </a:lnTo>
                    <a:lnTo>
                      <a:pt x="305" y="200"/>
                    </a:lnTo>
                    <a:lnTo>
                      <a:pt x="305" y="198"/>
                    </a:lnTo>
                    <a:lnTo>
                      <a:pt x="303" y="198"/>
                    </a:lnTo>
                    <a:lnTo>
                      <a:pt x="301" y="198"/>
                    </a:lnTo>
                    <a:lnTo>
                      <a:pt x="301" y="197"/>
                    </a:lnTo>
                    <a:lnTo>
                      <a:pt x="301" y="198"/>
                    </a:lnTo>
                    <a:lnTo>
                      <a:pt x="300" y="198"/>
                    </a:lnTo>
                    <a:lnTo>
                      <a:pt x="300" y="197"/>
                    </a:lnTo>
                    <a:lnTo>
                      <a:pt x="298" y="197"/>
                    </a:lnTo>
                    <a:lnTo>
                      <a:pt x="297" y="197"/>
                    </a:lnTo>
                    <a:lnTo>
                      <a:pt x="295" y="197"/>
                    </a:lnTo>
                    <a:lnTo>
                      <a:pt x="295" y="195"/>
                    </a:lnTo>
                    <a:lnTo>
                      <a:pt x="293" y="195"/>
                    </a:lnTo>
                    <a:lnTo>
                      <a:pt x="295" y="195"/>
                    </a:lnTo>
                    <a:lnTo>
                      <a:pt x="297" y="195"/>
                    </a:lnTo>
                    <a:lnTo>
                      <a:pt x="298" y="195"/>
                    </a:lnTo>
                    <a:lnTo>
                      <a:pt x="298" y="197"/>
                    </a:lnTo>
                    <a:lnTo>
                      <a:pt x="300" y="197"/>
                    </a:lnTo>
                    <a:lnTo>
                      <a:pt x="301" y="197"/>
                    </a:lnTo>
                    <a:lnTo>
                      <a:pt x="303" y="197"/>
                    </a:lnTo>
                    <a:lnTo>
                      <a:pt x="305" y="197"/>
                    </a:lnTo>
                    <a:lnTo>
                      <a:pt x="306" y="197"/>
                    </a:lnTo>
                    <a:lnTo>
                      <a:pt x="306" y="198"/>
                    </a:lnTo>
                    <a:lnTo>
                      <a:pt x="308" y="198"/>
                    </a:lnTo>
                    <a:lnTo>
                      <a:pt x="309" y="198"/>
                    </a:lnTo>
                    <a:lnTo>
                      <a:pt x="311" y="198"/>
                    </a:lnTo>
                    <a:lnTo>
                      <a:pt x="311" y="200"/>
                    </a:lnTo>
                    <a:lnTo>
                      <a:pt x="312" y="200"/>
                    </a:lnTo>
                    <a:lnTo>
                      <a:pt x="312" y="202"/>
                    </a:lnTo>
                    <a:lnTo>
                      <a:pt x="314" y="202"/>
                    </a:lnTo>
                    <a:lnTo>
                      <a:pt x="316" y="202"/>
                    </a:lnTo>
                    <a:lnTo>
                      <a:pt x="316" y="203"/>
                    </a:lnTo>
                    <a:lnTo>
                      <a:pt x="316" y="205"/>
                    </a:lnTo>
                    <a:lnTo>
                      <a:pt x="317" y="205"/>
                    </a:lnTo>
                    <a:lnTo>
                      <a:pt x="317" y="206"/>
                    </a:lnTo>
                    <a:lnTo>
                      <a:pt x="317" y="205"/>
                    </a:lnTo>
                    <a:lnTo>
                      <a:pt x="317" y="206"/>
                    </a:lnTo>
                    <a:lnTo>
                      <a:pt x="319" y="206"/>
                    </a:lnTo>
                    <a:lnTo>
                      <a:pt x="319" y="208"/>
                    </a:lnTo>
                    <a:lnTo>
                      <a:pt x="320" y="208"/>
                    </a:lnTo>
                    <a:lnTo>
                      <a:pt x="322" y="208"/>
                    </a:lnTo>
                    <a:lnTo>
                      <a:pt x="322" y="210"/>
                    </a:lnTo>
                    <a:lnTo>
                      <a:pt x="322" y="211"/>
                    </a:lnTo>
                    <a:lnTo>
                      <a:pt x="324" y="211"/>
                    </a:lnTo>
                    <a:lnTo>
                      <a:pt x="322" y="211"/>
                    </a:lnTo>
                    <a:lnTo>
                      <a:pt x="322" y="210"/>
                    </a:lnTo>
                    <a:lnTo>
                      <a:pt x="324" y="210"/>
                    </a:lnTo>
                    <a:lnTo>
                      <a:pt x="324" y="211"/>
                    </a:lnTo>
                    <a:lnTo>
                      <a:pt x="325" y="211"/>
                    </a:lnTo>
                    <a:lnTo>
                      <a:pt x="325" y="213"/>
                    </a:lnTo>
                    <a:lnTo>
                      <a:pt x="327" y="213"/>
                    </a:lnTo>
                    <a:lnTo>
                      <a:pt x="327" y="214"/>
                    </a:lnTo>
                    <a:lnTo>
                      <a:pt x="327" y="216"/>
                    </a:lnTo>
                    <a:lnTo>
                      <a:pt x="328" y="216"/>
                    </a:lnTo>
                    <a:lnTo>
                      <a:pt x="328" y="217"/>
                    </a:lnTo>
                    <a:lnTo>
                      <a:pt x="328" y="219"/>
                    </a:lnTo>
                    <a:lnTo>
                      <a:pt x="330" y="219"/>
                    </a:lnTo>
                    <a:lnTo>
                      <a:pt x="330" y="221"/>
                    </a:lnTo>
                    <a:lnTo>
                      <a:pt x="331" y="221"/>
                    </a:lnTo>
                    <a:lnTo>
                      <a:pt x="331" y="222"/>
                    </a:lnTo>
                    <a:lnTo>
                      <a:pt x="331" y="224"/>
                    </a:lnTo>
                    <a:lnTo>
                      <a:pt x="333" y="224"/>
                    </a:lnTo>
                    <a:lnTo>
                      <a:pt x="335" y="224"/>
                    </a:lnTo>
                    <a:lnTo>
                      <a:pt x="335" y="225"/>
                    </a:lnTo>
                    <a:lnTo>
                      <a:pt x="336" y="225"/>
                    </a:lnTo>
                    <a:lnTo>
                      <a:pt x="336" y="227"/>
                    </a:lnTo>
                    <a:lnTo>
                      <a:pt x="336" y="229"/>
                    </a:lnTo>
                    <a:lnTo>
                      <a:pt x="336" y="230"/>
                    </a:lnTo>
                    <a:lnTo>
                      <a:pt x="338" y="230"/>
                    </a:lnTo>
                    <a:lnTo>
                      <a:pt x="339" y="230"/>
                    </a:lnTo>
                    <a:lnTo>
                      <a:pt x="339" y="232"/>
                    </a:lnTo>
                    <a:lnTo>
                      <a:pt x="339" y="233"/>
                    </a:lnTo>
                    <a:lnTo>
                      <a:pt x="338" y="233"/>
                    </a:lnTo>
                    <a:lnTo>
                      <a:pt x="338" y="235"/>
                    </a:lnTo>
                    <a:lnTo>
                      <a:pt x="336" y="235"/>
                    </a:lnTo>
                    <a:lnTo>
                      <a:pt x="336" y="233"/>
                    </a:lnTo>
                    <a:lnTo>
                      <a:pt x="335" y="235"/>
                    </a:lnTo>
                    <a:lnTo>
                      <a:pt x="335" y="237"/>
                    </a:lnTo>
                    <a:lnTo>
                      <a:pt x="335" y="238"/>
                    </a:lnTo>
                    <a:lnTo>
                      <a:pt x="333" y="238"/>
                    </a:lnTo>
                    <a:lnTo>
                      <a:pt x="333" y="240"/>
                    </a:lnTo>
                    <a:lnTo>
                      <a:pt x="331" y="240"/>
                    </a:lnTo>
                    <a:lnTo>
                      <a:pt x="331" y="241"/>
                    </a:lnTo>
                    <a:lnTo>
                      <a:pt x="330" y="241"/>
                    </a:lnTo>
                    <a:lnTo>
                      <a:pt x="330" y="240"/>
                    </a:lnTo>
                    <a:lnTo>
                      <a:pt x="328" y="240"/>
                    </a:lnTo>
                    <a:lnTo>
                      <a:pt x="328" y="241"/>
                    </a:lnTo>
                    <a:lnTo>
                      <a:pt x="328" y="243"/>
                    </a:lnTo>
                    <a:lnTo>
                      <a:pt x="327" y="241"/>
                    </a:lnTo>
                    <a:lnTo>
                      <a:pt x="327" y="243"/>
                    </a:lnTo>
                    <a:lnTo>
                      <a:pt x="327" y="244"/>
                    </a:lnTo>
                    <a:lnTo>
                      <a:pt x="325" y="244"/>
                    </a:lnTo>
                    <a:lnTo>
                      <a:pt x="325" y="246"/>
                    </a:lnTo>
                    <a:lnTo>
                      <a:pt x="325" y="248"/>
                    </a:lnTo>
                    <a:lnTo>
                      <a:pt x="325" y="249"/>
                    </a:lnTo>
                    <a:lnTo>
                      <a:pt x="325" y="251"/>
                    </a:lnTo>
                    <a:lnTo>
                      <a:pt x="324" y="251"/>
                    </a:lnTo>
                    <a:lnTo>
                      <a:pt x="324" y="252"/>
                    </a:lnTo>
                    <a:lnTo>
                      <a:pt x="324" y="254"/>
                    </a:lnTo>
                    <a:lnTo>
                      <a:pt x="324" y="256"/>
                    </a:lnTo>
                    <a:lnTo>
                      <a:pt x="324" y="257"/>
                    </a:lnTo>
                    <a:lnTo>
                      <a:pt x="322" y="259"/>
                    </a:lnTo>
                    <a:lnTo>
                      <a:pt x="322" y="260"/>
                    </a:lnTo>
                    <a:lnTo>
                      <a:pt x="322" y="262"/>
                    </a:lnTo>
                    <a:lnTo>
                      <a:pt x="320" y="263"/>
                    </a:lnTo>
                    <a:lnTo>
                      <a:pt x="320" y="265"/>
                    </a:lnTo>
                    <a:lnTo>
                      <a:pt x="320" y="267"/>
                    </a:lnTo>
                    <a:lnTo>
                      <a:pt x="320" y="268"/>
                    </a:lnTo>
                    <a:lnTo>
                      <a:pt x="319" y="270"/>
                    </a:lnTo>
                    <a:lnTo>
                      <a:pt x="320" y="270"/>
                    </a:lnTo>
                    <a:lnTo>
                      <a:pt x="320" y="271"/>
                    </a:lnTo>
                    <a:lnTo>
                      <a:pt x="320" y="273"/>
                    </a:lnTo>
                    <a:lnTo>
                      <a:pt x="319" y="275"/>
                    </a:lnTo>
                    <a:lnTo>
                      <a:pt x="320" y="275"/>
                    </a:lnTo>
                    <a:lnTo>
                      <a:pt x="320" y="276"/>
                    </a:lnTo>
                    <a:lnTo>
                      <a:pt x="320" y="278"/>
                    </a:lnTo>
                    <a:lnTo>
                      <a:pt x="319" y="278"/>
                    </a:lnTo>
                    <a:lnTo>
                      <a:pt x="319" y="279"/>
                    </a:lnTo>
                    <a:lnTo>
                      <a:pt x="320" y="281"/>
                    </a:lnTo>
                    <a:lnTo>
                      <a:pt x="319" y="281"/>
                    </a:lnTo>
                    <a:lnTo>
                      <a:pt x="317" y="282"/>
                    </a:lnTo>
                    <a:lnTo>
                      <a:pt x="317" y="284"/>
                    </a:lnTo>
                    <a:lnTo>
                      <a:pt x="316" y="286"/>
                    </a:lnTo>
                    <a:lnTo>
                      <a:pt x="316" y="287"/>
                    </a:lnTo>
                    <a:lnTo>
                      <a:pt x="314" y="287"/>
                    </a:lnTo>
                    <a:lnTo>
                      <a:pt x="314" y="289"/>
                    </a:lnTo>
                    <a:lnTo>
                      <a:pt x="312" y="289"/>
                    </a:lnTo>
                    <a:lnTo>
                      <a:pt x="312" y="290"/>
                    </a:lnTo>
                    <a:lnTo>
                      <a:pt x="311" y="290"/>
                    </a:lnTo>
                    <a:lnTo>
                      <a:pt x="311" y="292"/>
                    </a:lnTo>
                    <a:lnTo>
                      <a:pt x="309" y="292"/>
                    </a:lnTo>
                    <a:lnTo>
                      <a:pt x="309" y="294"/>
                    </a:lnTo>
                    <a:lnTo>
                      <a:pt x="309" y="295"/>
                    </a:lnTo>
                    <a:lnTo>
                      <a:pt x="309" y="297"/>
                    </a:lnTo>
                    <a:lnTo>
                      <a:pt x="308" y="298"/>
                    </a:lnTo>
                    <a:lnTo>
                      <a:pt x="306" y="298"/>
                    </a:lnTo>
                    <a:lnTo>
                      <a:pt x="305" y="300"/>
                    </a:lnTo>
                    <a:lnTo>
                      <a:pt x="303" y="300"/>
                    </a:lnTo>
                    <a:lnTo>
                      <a:pt x="305" y="301"/>
                    </a:lnTo>
                    <a:lnTo>
                      <a:pt x="303" y="301"/>
                    </a:lnTo>
                    <a:lnTo>
                      <a:pt x="303" y="303"/>
                    </a:lnTo>
                    <a:lnTo>
                      <a:pt x="305" y="303"/>
                    </a:lnTo>
                    <a:lnTo>
                      <a:pt x="306" y="303"/>
                    </a:lnTo>
                    <a:lnTo>
                      <a:pt x="308" y="303"/>
                    </a:lnTo>
                    <a:lnTo>
                      <a:pt x="309" y="305"/>
                    </a:lnTo>
                    <a:lnTo>
                      <a:pt x="309" y="303"/>
                    </a:lnTo>
                    <a:lnTo>
                      <a:pt x="311" y="303"/>
                    </a:lnTo>
                    <a:lnTo>
                      <a:pt x="312" y="303"/>
                    </a:lnTo>
                    <a:lnTo>
                      <a:pt x="314" y="303"/>
                    </a:lnTo>
                    <a:lnTo>
                      <a:pt x="316" y="303"/>
                    </a:lnTo>
                    <a:lnTo>
                      <a:pt x="317" y="303"/>
                    </a:lnTo>
                    <a:lnTo>
                      <a:pt x="319" y="303"/>
                    </a:lnTo>
                    <a:lnTo>
                      <a:pt x="319" y="305"/>
                    </a:lnTo>
                    <a:lnTo>
                      <a:pt x="319" y="306"/>
                    </a:lnTo>
                    <a:lnTo>
                      <a:pt x="319" y="308"/>
                    </a:lnTo>
                    <a:lnTo>
                      <a:pt x="319" y="309"/>
                    </a:lnTo>
                    <a:lnTo>
                      <a:pt x="320" y="309"/>
                    </a:lnTo>
                    <a:lnTo>
                      <a:pt x="320" y="311"/>
                    </a:lnTo>
                    <a:lnTo>
                      <a:pt x="320" y="313"/>
                    </a:lnTo>
                    <a:lnTo>
                      <a:pt x="319" y="314"/>
                    </a:lnTo>
                    <a:lnTo>
                      <a:pt x="317" y="316"/>
                    </a:lnTo>
                    <a:lnTo>
                      <a:pt x="317" y="317"/>
                    </a:lnTo>
                    <a:lnTo>
                      <a:pt x="317" y="319"/>
                    </a:lnTo>
                    <a:lnTo>
                      <a:pt x="319" y="319"/>
                    </a:lnTo>
                    <a:lnTo>
                      <a:pt x="319" y="320"/>
                    </a:lnTo>
                    <a:lnTo>
                      <a:pt x="319" y="322"/>
                    </a:lnTo>
                    <a:lnTo>
                      <a:pt x="320" y="322"/>
                    </a:lnTo>
                    <a:lnTo>
                      <a:pt x="320" y="324"/>
                    </a:lnTo>
                    <a:lnTo>
                      <a:pt x="322" y="324"/>
                    </a:lnTo>
                    <a:lnTo>
                      <a:pt x="322" y="325"/>
                    </a:lnTo>
                    <a:lnTo>
                      <a:pt x="322" y="327"/>
                    </a:lnTo>
                    <a:lnTo>
                      <a:pt x="324" y="327"/>
                    </a:lnTo>
                    <a:lnTo>
                      <a:pt x="324" y="328"/>
                    </a:lnTo>
                    <a:lnTo>
                      <a:pt x="325" y="330"/>
                    </a:lnTo>
                    <a:lnTo>
                      <a:pt x="327" y="330"/>
                    </a:lnTo>
                    <a:lnTo>
                      <a:pt x="328" y="330"/>
                    </a:lnTo>
                    <a:lnTo>
                      <a:pt x="328" y="332"/>
                    </a:lnTo>
                    <a:lnTo>
                      <a:pt x="330" y="332"/>
                    </a:lnTo>
                    <a:lnTo>
                      <a:pt x="331" y="332"/>
                    </a:lnTo>
                    <a:lnTo>
                      <a:pt x="331" y="333"/>
                    </a:lnTo>
                    <a:lnTo>
                      <a:pt x="331" y="335"/>
                    </a:lnTo>
                    <a:lnTo>
                      <a:pt x="330" y="335"/>
                    </a:lnTo>
                    <a:lnTo>
                      <a:pt x="330" y="336"/>
                    </a:lnTo>
                    <a:lnTo>
                      <a:pt x="330" y="338"/>
                    </a:lnTo>
                    <a:lnTo>
                      <a:pt x="330" y="339"/>
                    </a:lnTo>
                    <a:lnTo>
                      <a:pt x="330" y="341"/>
                    </a:lnTo>
                    <a:lnTo>
                      <a:pt x="331" y="343"/>
                    </a:lnTo>
                    <a:lnTo>
                      <a:pt x="333" y="343"/>
                    </a:lnTo>
                    <a:lnTo>
                      <a:pt x="335" y="343"/>
                    </a:lnTo>
                    <a:lnTo>
                      <a:pt x="335" y="344"/>
                    </a:lnTo>
                    <a:lnTo>
                      <a:pt x="336" y="344"/>
                    </a:lnTo>
                    <a:lnTo>
                      <a:pt x="336" y="346"/>
                    </a:lnTo>
                    <a:lnTo>
                      <a:pt x="335" y="346"/>
                    </a:lnTo>
                    <a:lnTo>
                      <a:pt x="333" y="347"/>
                    </a:lnTo>
                    <a:lnTo>
                      <a:pt x="331" y="349"/>
                    </a:lnTo>
                    <a:lnTo>
                      <a:pt x="330" y="351"/>
                    </a:lnTo>
                    <a:lnTo>
                      <a:pt x="328" y="351"/>
                    </a:lnTo>
                    <a:lnTo>
                      <a:pt x="328" y="352"/>
                    </a:lnTo>
                    <a:lnTo>
                      <a:pt x="327" y="354"/>
                    </a:lnTo>
                    <a:lnTo>
                      <a:pt x="325" y="354"/>
                    </a:lnTo>
                    <a:lnTo>
                      <a:pt x="324" y="355"/>
                    </a:lnTo>
                    <a:lnTo>
                      <a:pt x="322" y="355"/>
                    </a:lnTo>
                    <a:lnTo>
                      <a:pt x="322" y="357"/>
                    </a:lnTo>
                    <a:lnTo>
                      <a:pt x="320" y="357"/>
                    </a:lnTo>
                    <a:lnTo>
                      <a:pt x="320" y="358"/>
                    </a:lnTo>
                    <a:lnTo>
                      <a:pt x="320" y="360"/>
                    </a:lnTo>
                    <a:lnTo>
                      <a:pt x="320" y="362"/>
                    </a:lnTo>
                    <a:lnTo>
                      <a:pt x="320" y="363"/>
                    </a:lnTo>
                    <a:lnTo>
                      <a:pt x="320" y="365"/>
                    </a:lnTo>
                    <a:lnTo>
                      <a:pt x="320" y="366"/>
                    </a:lnTo>
                    <a:lnTo>
                      <a:pt x="319" y="368"/>
                    </a:lnTo>
                    <a:lnTo>
                      <a:pt x="319" y="370"/>
                    </a:lnTo>
                    <a:lnTo>
                      <a:pt x="317" y="370"/>
                    </a:lnTo>
                    <a:lnTo>
                      <a:pt x="317" y="371"/>
                    </a:lnTo>
                    <a:lnTo>
                      <a:pt x="316" y="373"/>
                    </a:lnTo>
                    <a:lnTo>
                      <a:pt x="314" y="374"/>
                    </a:lnTo>
                    <a:lnTo>
                      <a:pt x="312" y="376"/>
                    </a:lnTo>
                    <a:lnTo>
                      <a:pt x="312" y="377"/>
                    </a:lnTo>
                    <a:lnTo>
                      <a:pt x="311" y="379"/>
                    </a:lnTo>
                    <a:lnTo>
                      <a:pt x="309" y="381"/>
                    </a:lnTo>
                    <a:lnTo>
                      <a:pt x="309" y="382"/>
                    </a:lnTo>
                    <a:lnTo>
                      <a:pt x="309" y="384"/>
                    </a:lnTo>
                    <a:lnTo>
                      <a:pt x="309" y="385"/>
                    </a:lnTo>
                    <a:lnTo>
                      <a:pt x="311" y="387"/>
                    </a:lnTo>
                    <a:lnTo>
                      <a:pt x="312" y="387"/>
                    </a:lnTo>
                    <a:lnTo>
                      <a:pt x="314" y="387"/>
                    </a:lnTo>
                    <a:lnTo>
                      <a:pt x="314" y="385"/>
                    </a:lnTo>
                    <a:lnTo>
                      <a:pt x="317" y="385"/>
                    </a:lnTo>
                    <a:lnTo>
                      <a:pt x="317" y="384"/>
                    </a:lnTo>
                    <a:lnTo>
                      <a:pt x="319" y="384"/>
                    </a:lnTo>
                    <a:lnTo>
                      <a:pt x="320" y="382"/>
                    </a:lnTo>
                    <a:lnTo>
                      <a:pt x="320" y="385"/>
                    </a:lnTo>
                    <a:lnTo>
                      <a:pt x="322" y="385"/>
                    </a:lnTo>
                    <a:lnTo>
                      <a:pt x="322" y="387"/>
                    </a:lnTo>
                    <a:lnTo>
                      <a:pt x="324" y="389"/>
                    </a:lnTo>
                    <a:lnTo>
                      <a:pt x="324" y="390"/>
                    </a:lnTo>
                    <a:lnTo>
                      <a:pt x="325" y="392"/>
                    </a:lnTo>
                    <a:lnTo>
                      <a:pt x="327" y="393"/>
                    </a:lnTo>
                    <a:lnTo>
                      <a:pt x="328" y="392"/>
                    </a:lnTo>
                    <a:lnTo>
                      <a:pt x="330" y="392"/>
                    </a:lnTo>
                    <a:lnTo>
                      <a:pt x="331" y="390"/>
                    </a:lnTo>
                    <a:lnTo>
                      <a:pt x="333" y="389"/>
                    </a:lnTo>
                    <a:lnTo>
                      <a:pt x="333" y="387"/>
                    </a:lnTo>
                    <a:lnTo>
                      <a:pt x="335" y="387"/>
                    </a:lnTo>
                    <a:lnTo>
                      <a:pt x="335" y="385"/>
                    </a:lnTo>
                    <a:lnTo>
                      <a:pt x="335" y="384"/>
                    </a:lnTo>
                    <a:lnTo>
                      <a:pt x="335" y="382"/>
                    </a:lnTo>
                    <a:lnTo>
                      <a:pt x="336" y="381"/>
                    </a:lnTo>
                    <a:lnTo>
                      <a:pt x="338" y="381"/>
                    </a:lnTo>
                    <a:lnTo>
                      <a:pt x="338" y="379"/>
                    </a:lnTo>
                    <a:lnTo>
                      <a:pt x="338" y="377"/>
                    </a:lnTo>
                    <a:lnTo>
                      <a:pt x="339" y="377"/>
                    </a:lnTo>
                    <a:lnTo>
                      <a:pt x="339" y="376"/>
                    </a:lnTo>
                    <a:lnTo>
                      <a:pt x="339" y="374"/>
                    </a:lnTo>
                    <a:lnTo>
                      <a:pt x="341" y="374"/>
                    </a:lnTo>
                    <a:lnTo>
                      <a:pt x="343" y="374"/>
                    </a:lnTo>
                    <a:lnTo>
                      <a:pt x="344" y="374"/>
                    </a:lnTo>
                    <a:lnTo>
                      <a:pt x="346" y="373"/>
                    </a:lnTo>
                    <a:lnTo>
                      <a:pt x="347" y="373"/>
                    </a:lnTo>
                    <a:lnTo>
                      <a:pt x="347" y="374"/>
                    </a:lnTo>
                    <a:lnTo>
                      <a:pt x="347" y="376"/>
                    </a:lnTo>
                    <a:lnTo>
                      <a:pt x="349" y="376"/>
                    </a:lnTo>
                    <a:lnTo>
                      <a:pt x="349" y="377"/>
                    </a:lnTo>
                    <a:lnTo>
                      <a:pt x="350" y="379"/>
                    </a:lnTo>
                    <a:lnTo>
                      <a:pt x="352" y="379"/>
                    </a:lnTo>
                    <a:lnTo>
                      <a:pt x="354" y="379"/>
                    </a:lnTo>
                    <a:lnTo>
                      <a:pt x="354" y="377"/>
                    </a:lnTo>
                    <a:lnTo>
                      <a:pt x="355" y="377"/>
                    </a:lnTo>
                    <a:lnTo>
                      <a:pt x="357" y="377"/>
                    </a:lnTo>
                    <a:lnTo>
                      <a:pt x="358" y="376"/>
                    </a:lnTo>
                    <a:lnTo>
                      <a:pt x="360" y="374"/>
                    </a:lnTo>
                    <a:lnTo>
                      <a:pt x="362" y="373"/>
                    </a:lnTo>
                    <a:lnTo>
                      <a:pt x="362" y="371"/>
                    </a:lnTo>
                    <a:lnTo>
                      <a:pt x="362" y="370"/>
                    </a:lnTo>
                    <a:lnTo>
                      <a:pt x="362" y="368"/>
                    </a:lnTo>
                    <a:lnTo>
                      <a:pt x="362" y="366"/>
                    </a:lnTo>
                    <a:lnTo>
                      <a:pt x="363" y="366"/>
                    </a:lnTo>
                    <a:lnTo>
                      <a:pt x="365" y="366"/>
                    </a:lnTo>
                    <a:lnTo>
                      <a:pt x="366" y="368"/>
                    </a:lnTo>
                    <a:lnTo>
                      <a:pt x="368" y="368"/>
                    </a:lnTo>
                    <a:lnTo>
                      <a:pt x="369" y="370"/>
                    </a:lnTo>
                    <a:lnTo>
                      <a:pt x="371" y="370"/>
                    </a:lnTo>
                    <a:lnTo>
                      <a:pt x="373" y="370"/>
                    </a:lnTo>
                    <a:lnTo>
                      <a:pt x="373" y="368"/>
                    </a:lnTo>
                    <a:lnTo>
                      <a:pt x="373" y="366"/>
                    </a:lnTo>
                    <a:lnTo>
                      <a:pt x="373" y="365"/>
                    </a:lnTo>
                    <a:lnTo>
                      <a:pt x="374" y="363"/>
                    </a:lnTo>
                    <a:lnTo>
                      <a:pt x="376" y="363"/>
                    </a:lnTo>
                    <a:lnTo>
                      <a:pt x="376" y="362"/>
                    </a:lnTo>
                    <a:lnTo>
                      <a:pt x="377" y="360"/>
                    </a:lnTo>
                    <a:lnTo>
                      <a:pt x="377" y="358"/>
                    </a:lnTo>
                    <a:lnTo>
                      <a:pt x="377" y="357"/>
                    </a:lnTo>
                    <a:lnTo>
                      <a:pt x="379" y="357"/>
                    </a:lnTo>
                    <a:lnTo>
                      <a:pt x="381" y="355"/>
                    </a:lnTo>
                    <a:lnTo>
                      <a:pt x="382" y="355"/>
                    </a:lnTo>
                    <a:lnTo>
                      <a:pt x="384" y="355"/>
                    </a:lnTo>
                    <a:lnTo>
                      <a:pt x="385" y="354"/>
                    </a:lnTo>
                    <a:lnTo>
                      <a:pt x="387" y="354"/>
                    </a:lnTo>
                    <a:lnTo>
                      <a:pt x="388" y="354"/>
                    </a:lnTo>
                    <a:lnTo>
                      <a:pt x="390" y="354"/>
                    </a:lnTo>
                    <a:lnTo>
                      <a:pt x="390" y="355"/>
                    </a:lnTo>
                    <a:lnTo>
                      <a:pt x="390" y="357"/>
                    </a:lnTo>
                    <a:lnTo>
                      <a:pt x="390" y="358"/>
                    </a:lnTo>
                    <a:lnTo>
                      <a:pt x="392" y="357"/>
                    </a:lnTo>
                    <a:lnTo>
                      <a:pt x="393" y="357"/>
                    </a:lnTo>
                    <a:lnTo>
                      <a:pt x="395" y="357"/>
                    </a:lnTo>
                    <a:lnTo>
                      <a:pt x="395" y="355"/>
                    </a:lnTo>
                    <a:lnTo>
                      <a:pt x="396" y="355"/>
                    </a:lnTo>
                    <a:lnTo>
                      <a:pt x="398" y="355"/>
                    </a:lnTo>
                    <a:lnTo>
                      <a:pt x="400" y="355"/>
                    </a:lnTo>
                    <a:lnTo>
                      <a:pt x="401" y="355"/>
                    </a:lnTo>
                    <a:lnTo>
                      <a:pt x="401" y="357"/>
                    </a:lnTo>
                    <a:lnTo>
                      <a:pt x="403" y="357"/>
                    </a:lnTo>
                    <a:lnTo>
                      <a:pt x="403" y="355"/>
                    </a:lnTo>
                    <a:lnTo>
                      <a:pt x="404" y="355"/>
                    </a:lnTo>
                    <a:lnTo>
                      <a:pt x="406" y="355"/>
                    </a:lnTo>
                    <a:lnTo>
                      <a:pt x="407" y="355"/>
                    </a:lnTo>
                    <a:lnTo>
                      <a:pt x="409" y="357"/>
                    </a:lnTo>
                    <a:lnTo>
                      <a:pt x="411" y="357"/>
                    </a:lnTo>
                    <a:lnTo>
                      <a:pt x="412" y="357"/>
                    </a:lnTo>
                    <a:lnTo>
                      <a:pt x="414" y="357"/>
                    </a:lnTo>
                    <a:lnTo>
                      <a:pt x="415" y="357"/>
                    </a:lnTo>
                    <a:lnTo>
                      <a:pt x="415" y="358"/>
                    </a:lnTo>
                    <a:lnTo>
                      <a:pt x="417" y="358"/>
                    </a:lnTo>
                    <a:lnTo>
                      <a:pt x="417" y="360"/>
                    </a:lnTo>
                    <a:lnTo>
                      <a:pt x="419" y="362"/>
                    </a:lnTo>
                    <a:lnTo>
                      <a:pt x="420" y="362"/>
                    </a:lnTo>
                    <a:lnTo>
                      <a:pt x="420" y="363"/>
                    </a:lnTo>
                    <a:lnTo>
                      <a:pt x="422" y="363"/>
                    </a:lnTo>
                    <a:lnTo>
                      <a:pt x="423" y="363"/>
                    </a:lnTo>
                    <a:lnTo>
                      <a:pt x="425" y="363"/>
                    </a:lnTo>
                    <a:lnTo>
                      <a:pt x="426" y="362"/>
                    </a:lnTo>
                    <a:lnTo>
                      <a:pt x="426" y="363"/>
                    </a:lnTo>
                    <a:lnTo>
                      <a:pt x="426" y="365"/>
                    </a:lnTo>
                    <a:lnTo>
                      <a:pt x="426" y="366"/>
                    </a:lnTo>
                    <a:lnTo>
                      <a:pt x="426" y="368"/>
                    </a:lnTo>
                    <a:lnTo>
                      <a:pt x="426" y="370"/>
                    </a:lnTo>
                    <a:lnTo>
                      <a:pt x="425" y="371"/>
                    </a:lnTo>
                    <a:lnTo>
                      <a:pt x="425" y="373"/>
                    </a:lnTo>
                    <a:lnTo>
                      <a:pt x="425" y="374"/>
                    </a:lnTo>
                    <a:lnTo>
                      <a:pt x="426" y="374"/>
                    </a:lnTo>
                    <a:lnTo>
                      <a:pt x="428" y="374"/>
                    </a:lnTo>
                    <a:lnTo>
                      <a:pt x="428" y="376"/>
                    </a:lnTo>
                    <a:lnTo>
                      <a:pt x="430" y="376"/>
                    </a:lnTo>
                    <a:lnTo>
                      <a:pt x="431" y="376"/>
                    </a:lnTo>
                    <a:lnTo>
                      <a:pt x="431" y="377"/>
                    </a:lnTo>
                    <a:lnTo>
                      <a:pt x="431" y="379"/>
                    </a:lnTo>
                    <a:lnTo>
                      <a:pt x="431" y="381"/>
                    </a:lnTo>
                    <a:lnTo>
                      <a:pt x="431" y="382"/>
                    </a:lnTo>
                    <a:lnTo>
                      <a:pt x="433" y="382"/>
                    </a:lnTo>
                    <a:lnTo>
                      <a:pt x="434" y="382"/>
                    </a:lnTo>
                    <a:lnTo>
                      <a:pt x="436" y="382"/>
                    </a:lnTo>
                    <a:lnTo>
                      <a:pt x="436" y="384"/>
                    </a:lnTo>
                    <a:lnTo>
                      <a:pt x="436" y="385"/>
                    </a:lnTo>
                    <a:lnTo>
                      <a:pt x="434" y="387"/>
                    </a:lnTo>
                    <a:lnTo>
                      <a:pt x="436" y="387"/>
                    </a:lnTo>
                    <a:lnTo>
                      <a:pt x="436" y="389"/>
                    </a:lnTo>
                    <a:lnTo>
                      <a:pt x="434" y="389"/>
                    </a:lnTo>
                    <a:lnTo>
                      <a:pt x="434" y="390"/>
                    </a:lnTo>
                    <a:lnTo>
                      <a:pt x="434" y="392"/>
                    </a:lnTo>
                    <a:lnTo>
                      <a:pt x="436" y="392"/>
                    </a:lnTo>
                    <a:lnTo>
                      <a:pt x="436" y="393"/>
                    </a:lnTo>
                    <a:lnTo>
                      <a:pt x="436" y="395"/>
                    </a:lnTo>
                    <a:lnTo>
                      <a:pt x="438" y="396"/>
                    </a:lnTo>
                    <a:lnTo>
                      <a:pt x="436" y="396"/>
                    </a:lnTo>
                    <a:lnTo>
                      <a:pt x="436" y="398"/>
                    </a:lnTo>
                    <a:lnTo>
                      <a:pt x="438" y="400"/>
                    </a:lnTo>
                    <a:lnTo>
                      <a:pt x="436" y="400"/>
                    </a:lnTo>
                    <a:lnTo>
                      <a:pt x="436" y="401"/>
                    </a:lnTo>
                    <a:lnTo>
                      <a:pt x="434" y="403"/>
                    </a:lnTo>
                    <a:lnTo>
                      <a:pt x="433" y="403"/>
                    </a:lnTo>
                    <a:lnTo>
                      <a:pt x="433" y="404"/>
                    </a:lnTo>
                    <a:lnTo>
                      <a:pt x="431" y="406"/>
                    </a:lnTo>
                    <a:lnTo>
                      <a:pt x="433" y="406"/>
                    </a:lnTo>
                    <a:lnTo>
                      <a:pt x="433" y="408"/>
                    </a:lnTo>
                    <a:lnTo>
                      <a:pt x="433" y="409"/>
                    </a:lnTo>
                    <a:lnTo>
                      <a:pt x="434" y="409"/>
                    </a:lnTo>
                    <a:lnTo>
                      <a:pt x="434" y="411"/>
                    </a:lnTo>
                    <a:lnTo>
                      <a:pt x="436" y="412"/>
                    </a:lnTo>
                    <a:lnTo>
                      <a:pt x="436" y="414"/>
                    </a:lnTo>
                    <a:lnTo>
                      <a:pt x="434" y="414"/>
                    </a:lnTo>
                    <a:lnTo>
                      <a:pt x="434" y="415"/>
                    </a:lnTo>
                    <a:lnTo>
                      <a:pt x="433" y="415"/>
                    </a:lnTo>
                    <a:lnTo>
                      <a:pt x="433" y="417"/>
                    </a:lnTo>
                    <a:lnTo>
                      <a:pt x="431" y="417"/>
                    </a:lnTo>
                    <a:lnTo>
                      <a:pt x="431" y="419"/>
                    </a:lnTo>
                    <a:lnTo>
                      <a:pt x="431" y="420"/>
                    </a:lnTo>
                    <a:lnTo>
                      <a:pt x="431" y="422"/>
                    </a:lnTo>
                    <a:lnTo>
                      <a:pt x="431" y="423"/>
                    </a:lnTo>
                    <a:lnTo>
                      <a:pt x="431" y="425"/>
                    </a:lnTo>
                    <a:lnTo>
                      <a:pt x="431" y="427"/>
                    </a:lnTo>
                    <a:lnTo>
                      <a:pt x="431" y="428"/>
                    </a:lnTo>
                    <a:lnTo>
                      <a:pt x="433" y="428"/>
                    </a:lnTo>
                    <a:lnTo>
                      <a:pt x="434" y="428"/>
                    </a:lnTo>
                    <a:lnTo>
                      <a:pt x="434" y="427"/>
                    </a:lnTo>
                    <a:lnTo>
                      <a:pt x="436" y="427"/>
                    </a:lnTo>
                    <a:lnTo>
                      <a:pt x="436" y="425"/>
                    </a:lnTo>
                    <a:lnTo>
                      <a:pt x="436" y="423"/>
                    </a:lnTo>
                    <a:lnTo>
                      <a:pt x="438" y="423"/>
                    </a:lnTo>
                    <a:lnTo>
                      <a:pt x="439" y="423"/>
                    </a:lnTo>
                    <a:lnTo>
                      <a:pt x="439" y="425"/>
                    </a:lnTo>
                    <a:lnTo>
                      <a:pt x="439" y="427"/>
                    </a:lnTo>
                    <a:lnTo>
                      <a:pt x="439" y="428"/>
                    </a:lnTo>
                    <a:lnTo>
                      <a:pt x="441" y="428"/>
                    </a:lnTo>
                    <a:lnTo>
                      <a:pt x="441" y="430"/>
                    </a:lnTo>
                    <a:lnTo>
                      <a:pt x="441" y="431"/>
                    </a:lnTo>
                    <a:lnTo>
                      <a:pt x="442" y="431"/>
                    </a:lnTo>
                    <a:lnTo>
                      <a:pt x="441" y="431"/>
                    </a:lnTo>
                    <a:lnTo>
                      <a:pt x="442" y="431"/>
                    </a:lnTo>
                    <a:lnTo>
                      <a:pt x="444" y="431"/>
                    </a:lnTo>
                    <a:lnTo>
                      <a:pt x="444" y="433"/>
                    </a:lnTo>
                    <a:lnTo>
                      <a:pt x="444" y="435"/>
                    </a:lnTo>
                    <a:lnTo>
                      <a:pt x="442" y="435"/>
                    </a:lnTo>
                    <a:lnTo>
                      <a:pt x="442" y="436"/>
                    </a:lnTo>
                    <a:lnTo>
                      <a:pt x="442" y="438"/>
                    </a:lnTo>
                    <a:lnTo>
                      <a:pt x="441" y="438"/>
                    </a:lnTo>
                    <a:lnTo>
                      <a:pt x="441" y="439"/>
                    </a:lnTo>
                    <a:lnTo>
                      <a:pt x="441" y="441"/>
                    </a:lnTo>
                    <a:lnTo>
                      <a:pt x="441" y="442"/>
                    </a:lnTo>
                    <a:lnTo>
                      <a:pt x="441" y="444"/>
                    </a:lnTo>
                    <a:lnTo>
                      <a:pt x="439" y="444"/>
                    </a:lnTo>
                    <a:lnTo>
                      <a:pt x="441" y="444"/>
                    </a:lnTo>
                    <a:lnTo>
                      <a:pt x="439" y="444"/>
                    </a:lnTo>
                    <a:lnTo>
                      <a:pt x="441" y="444"/>
                    </a:lnTo>
                    <a:lnTo>
                      <a:pt x="441" y="446"/>
                    </a:lnTo>
                    <a:lnTo>
                      <a:pt x="439" y="446"/>
                    </a:lnTo>
                    <a:lnTo>
                      <a:pt x="441" y="446"/>
                    </a:lnTo>
                    <a:lnTo>
                      <a:pt x="439" y="446"/>
                    </a:lnTo>
                    <a:lnTo>
                      <a:pt x="439" y="447"/>
                    </a:lnTo>
                    <a:lnTo>
                      <a:pt x="439" y="449"/>
                    </a:lnTo>
                    <a:lnTo>
                      <a:pt x="439" y="450"/>
                    </a:lnTo>
                    <a:lnTo>
                      <a:pt x="439" y="452"/>
                    </a:lnTo>
                    <a:lnTo>
                      <a:pt x="438" y="452"/>
                    </a:lnTo>
                    <a:lnTo>
                      <a:pt x="438" y="454"/>
                    </a:lnTo>
                    <a:lnTo>
                      <a:pt x="438" y="455"/>
                    </a:lnTo>
                    <a:lnTo>
                      <a:pt x="436" y="455"/>
                    </a:lnTo>
                    <a:lnTo>
                      <a:pt x="434" y="455"/>
                    </a:lnTo>
                    <a:lnTo>
                      <a:pt x="434" y="454"/>
                    </a:lnTo>
                    <a:lnTo>
                      <a:pt x="436" y="454"/>
                    </a:lnTo>
                    <a:lnTo>
                      <a:pt x="436" y="452"/>
                    </a:lnTo>
                    <a:lnTo>
                      <a:pt x="436" y="450"/>
                    </a:lnTo>
                    <a:lnTo>
                      <a:pt x="436" y="449"/>
                    </a:lnTo>
                    <a:lnTo>
                      <a:pt x="436" y="447"/>
                    </a:lnTo>
                    <a:lnTo>
                      <a:pt x="436" y="449"/>
                    </a:lnTo>
                    <a:lnTo>
                      <a:pt x="434" y="449"/>
                    </a:lnTo>
                    <a:lnTo>
                      <a:pt x="436" y="449"/>
                    </a:lnTo>
                    <a:lnTo>
                      <a:pt x="436" y="450"/>
                    </a:lnTo>
                    <a:lnTo>
                      <a:pt x="436" y="452"/>
                    </a:lnTo>
                    <a:lnTo>
                      <a:pt x="434" y="452"/>
                    </a:lnTo>
                    <a:lnTo>
                      <a:pt x="434" y="454"/>
                    </a:lnTo>
                    <a:lnTo>
                      <a:pt x="434" y="452"/>
                    </a:lnTo>
                    <a:lnTo>
                      <a:pt x="433" y="452"/>
                    </a:lnTo>
                    <a:lnTo>
                      <a:pt x="431" y="452"/>
                    </a:lnTo>
                    <a:lnTo>
                      <a:pt x="430" y="452"/>
                    </a:lnTo>
                    <a:lnTo>
                      <a:pt x="431" y="452"/>
                    </a:lnTo>
                    <a:lnTo>
                      <a:pt x="433" y="452"/>
                    </a:lnTo>
                    <a:lnTo>
                      <a:pt x="433" y="454"/>
                    </a:lnTo>
                    <a:lnTo>
                      <a:pt x="434" y="454"/>
                    </a:lnTo>
                    <a:lnTo>
                      <a:pt x="434" y="455"/>
                    </a:lnTo>
                    <a:lnTo>
                      <a:pt x="433" y="455"/>
                    </a:lnTo>
                    <a:lnTo>
                      <a:pt x="433" y="457"/>
                    </a:lnTo>
                    <a:lnTo>
                      <a:pt x="431" y="457"/>
                    </a:lnTo>
                    <a:lnTo>
                      <a:pt x="431" y="458"/>
                    </a:lnTo>
                    <a:lnTo>
                      <a:pt x="430" y="458"/>
                    </a:lnTo>
                    <a:lnTo>
                      <a:pt x="430" y="460"/>
                    </a:lnTo>
                    <a:lnTo>
                      <a:pt x="428" y="460"/>
                    </a:lnTo>
                    <a:lnTo>
                      <a:pt x="428" y="461"/>
                    </a:lnTo>
                    <a:lnTo>
                      <a:pt x="426" y="461"/>
                    </a:lnTo>
                    <a:lnTo>
                      <a:pt x="426" y="463"/>
                    </a:lnTo>
                    <a:lnTo>
                      <a:pt x="425" y="463"/>
                    </a:lnTo>
                    <a:lnTo>
                      <a:pt x="423" y="463"/>
                    </a:lnTo>
                    <a:lnTo>
                      <a:pt x="423" y="465"/>
                    </a:lnTo>
                    <a:lnTo>
                      <a:pt x="422" y="465"/>
                    </a:lnTo>
                    <a:lnTo>
                      <a:pt x="423" y="465"/>
                    </a:lnTo>
                    <a:lnTo>
                      <a:pt x="423" y="466"/>
                    </a:lnTo>
                    <a:lnTo>
                      <a:pt x="422" y="466"/>
                    </a:lnTo>
                    <a:lnTo>
                      <a:pt x="422" y="468"/>
                    </a:lnTo>
                    <a:lnTo>
                      <a:pt x="420" y="468"/>
                    </a:lnTo>
                    <a:lnTo>
                      <a:pt x="422" y="468"/>
                    </a:lnTo>
                    <a:lnTo>
                      <a:pt x="423" y="468"/>
                    </a:lnTo>
                    <a:lnTo>
                      <a:pt x="423" y="466"/>
                    </a:lnTo>
                    <a:lnTo>
                      <a:pt x="423" y="468"/>
                    </a:lnTo>
                    <a:lnTo>
                      <a:pt x="423" y="469"/>
                    </a:lnTo>
                    <a:lnTo>
                      <a:pt x="422" y="469"/>
                    </a:lnTo>
                    <a:lnTo>
                      <a:pt x="422" y="471"/>
                    </a:lnTo>
                    <a:lnTo>
                      <a:pt x="422" y="473"/>
                    </a:lnTo>
                    <a:lnTo>
                      <a:pt x="420" y="473"/>
                    </a:lnTo>
                    <a:lnTo>
                      <a:pt x="420" y="474"/>
                    </a:lnTo>
                    <a:lnTo>
                      <a:pt x="420" y="476"/>
                    </a:lnTo>
                    <a:lnTo>
                      <a:pt x="419" y="476"/>
                    </a:lnTo>
                    <a:lnTo>
                      <a:pt x="417" y="476"/>
                    </a:lnTo>
                    <a:lnTo>
                      <a:pt x="415" y="476"/>
                    </a:lnTo>
                    <a:lnTo>
                      <a:pt x="415" y="477"/>
                    </a:lnTo>
                    <a:lnTo>
                      <a:pt x="414" y="477"/>
                    </a:lnTo>
                    <a:lnTo>
                      <a:pt x="414" y="479"/>
                    </a:lnTo>
                    <a:lnTo>
                      <a:pt x="414" y="480"/>
                    </a:lnTo>
                    <a:lnTo>
                      <a:pt x="414" y="482"/>
                    </a:lnTo>
                    <a:lnTo>
                      <a:pt x="414" y="480"/>
                    </a:lnTo>
                    <a:lnTo>
                      <a:pt x="414" y="482"/>
                    </a:lnTo>
                    <a:lnTo>
                      <a:pt x="414" y="484"/>
                    </a:lnTo>
                    <a:lnTo>
                      <a:pt x="414" y="482"/>
                    </a:lnTo>
                    <a:lnTo>
                      <a:pt x="415" y="482"/>
                    </a:lnTo>
                    <a:lnTo>
                      <a:pt x="415" y="480"/>
                    </a:lnTo>
                    <a:lnTo>
                      <a:pt x="415" y="479"/>
                    </a:lnTo>
                    <a:lnTo>
                      <a:pt x="417" y="479"/>
                    </a:lnTo>
                    <a:lnTo>
                      <a:pt x="417" y="480"/>
                    </a:lnTo>
                    <a:lnTo>
                      <a:pt x="417" y="482"/>
                    </a:lnTo>
                    <a:lnTo>
                      <a:pt x="417" y="484"/>
                    </a:lnTo>
                    <a:lnTo>
                      <a:pt x="417" y="485"/>
                    </a:lnTo>
                    <a:lnTo>
                      <a:pt x="415" y="485"/>
                    </a:lnTo>
                    <a:lnTo>
                      <a:pt x="415" y="487"/>
                    </a:lnTo>
                    <a:lnTo>
                      <a:pt x="415" y="488"/>
                    </a:lnTo>
                    <a:lnTo>
                      <a:pt x="415" y="490"/>
                    </a:lnTo>
                    <a:lnTo>
                      <a:pt x="414" y="490"/>
                    </a:lnTo>
                    <a:lnTo>
                      <a:pt x="415" y="490"/>
                    </a:lnTo>
                    <a:lnTo>
                      <a:pt x="414" y="490"/>
                    </a:lnTo>
                    <a:lnTo>
                      <a:pt x="414" y="492"/>
                    </a:lnTo>
                    <a:lnTo>
                      <a:pt x="414" y="493"/>
                    </a:lnTo>
                    <a:lnTo>
                      <a:pt x="414" y="495"/>
                    </a:lnTo>
                    <a:lnTo>
                      <a:pt x="414" y="496"/>
                    </a:lnTo>
                    <a:lnTo>
                      <a:pt x="414" y="498"/>
                    </a:lnTo>
                    <a:lnTo>
                      <a:pt x="414" y="499"/>
                    </a:lnTo>
                    <a:lnTo>
                      <a:pt x="415" y="499"/>
                    </a:lnTo>
                    <a:lnTo>
                      <a:pt x="415" y="501"/>
                    </a:lnTo>
                    <a:lnTo>
                      <a:pt x="415" y="503"/>
                    </a:lnTo>
                    <a:lnTo>
                      <a:pt x="414" y="503"/>
                    </a:lnTo>
                    <a:lnTo>
                      <a:pt x="414" y="504"/>
                    </a:lnTo>
                    <a:lnTo>
                      <a:pt x="414" y="506"/>
                    </a:lnTo>
                    <a:lnTo>
                      <a:pt x="412" y="506"/>
                    </a:lnTo>
                    <a:lnTo>
                      <a:pt x="412" y="504"/>
                    </a:lnTo>
                    <a:lnTo>
                      <a:pt x="411" y="504"/>
                    </a:lnTo>
                    <a:lnTo>
                      <a:pt x="411" y="506"/>
                    </a:lnTo>
                    <a:lnTo>
                      <a:pt x="409" y="506"/>
                    </a:lnTo>
                    <a:lnTo>
                      <a:pt x="409" y="507"/>
                    </a:lnTo>
                    <a:lnTo>
                      <a:pt x="409" y="506"/>
                    </a:lnTo>
                    <a:lnTo>
                      <a:pt x="411" y="506"/>
                    </a:lnTo>
                    <a:lnTo>
                      <a:pt x="411" y="507"/>
                    </a:lnTo>
                    <a:lnTo>
                      <a:pt x="409" y="507"/>
                    </a:lnTo>
                    <a:lnTo>
                      <a:pt x="409" y="509"/>
                    </a:lnTo>
                    <a:lnTo>
                      <a:pt x="407" y="509"/>
                    </a:lnTo>
                    <a:lnTo>
                      <a:pt x="407" y="511"/>
                    </a:lnTo>
                    <a:lnTo>
                      <a:pt x="406" y="511"/>
                    </a:lnTo>
                    <a:lnTo>
                      <a:pt x="406" y="512"/>
                    </a:lnTo>
                    <a:lnTo>
                      <a:pt x="404" y="512"/>
                    </a:lnTo>
                    <a:lnTo>
                      <a:pt x="404" y="514"/>
                    </a:lnTo>
                    <a:lnTo>
                      <a:pt x="404" y="515"/>
                    </a:lnTo>
                    <a:lnTo>
                      <a:pt x="403" y="515"/>
                    </a:lnTo>
                    <a:lnTo>
                      <a:pt x="403" y="517"/>
                    </a:lnTo>
                    <a:lnTo>
                      <a:pt x="403" y="518"/>
                    </a:lnTo>
                    <a:lnTo>
                      <a:pt x="401" y="518"/>
                    </a:lnTo>
                    <a:lnTo>
                      <a:pt x="401" y="520"/>
                    </a:lnTo>
                    <a:lnTo>
                      <a:pt x="401" y="522"/>
                    </a:lnTo>
                    <a:lnTo>
                      <a:pt x="400" y="522"/>
                    </a:lnTo>
                    <a:lnTo>
                      <a:pt x="400" y="523"/>
                    </a:lnTo>
                    <a:lnTo>
                      <a:pt x="400" y="525"/>
                    </a:lnTo>
                    <a:lnTo>
                      <a:pt x="400" y="526"/>
                    </a:lnTo>
                    <a:lnTo>
                      <a:pt x="400" y="528"/>
                    </a:lnTo>
                    <a:lnTo>
                      <a:pt x="398" y="528"/>
                    </a:lnTo>
                    <a:lnTo>
                      <a:pt x="398" y="530"/>
                    </a:lnTo>
                    <a:lnTo>
                      <a:pt x="398" y="531"/>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31" name="Freeform 111"/>
              <p:cNvSpPr>
                <a:spLocks/>
              </p:cNvSpPr>
              <p:nvPr/>
            </p:nvSpPr>
            <p:spPr bwMode="auto">
              <a:xfrm>
                <a:off x="4621" y="2376"/>
                <a:ext cx="538" cy="602"/>
              </a:xfrm>
              <a:custGeom>
                <a:avLst/>
                <a:gdLst>
                  <a:gd name="T0" fmla="*/ 486 w 538"/>
                  <a:gd name="T1" fmla="*/ 293 h 602"/>
                  <a:gd name="T2" fmla="*/ 481 w 538"/>
                  <a:gd name="T3" fmla="*/ 315 h 602"/>
                  <a:gd name="T4" fmla="*/ 489 w 538"/>
                  <a:gd name="T5" fmla="*/ 334 h 602"/>
                  <a:gd name="T6" fmla="*/ 489 w 538"/>
                  <a:gd name="T7" fmla="*/ 352 h 602"/>
                  <a:gd name="T8" fmla="*/ 497 w 538"/>
                  <a:gd name="T9" fmla="*/ 352 h 602"/>
                  <a:gd name="T10" fmla="*/ 510 w 538"/>
                  <a:gd name="T11" fmla="*/ 366 h 602"/>
                  <a:gd name="T12" fmla="*/ 522 w 538"/>
                  <a:gd name="T13" fmla="*/ 374 h 602"/>
                  <a:gd name="T14" fmla="*/ 535 w 538"/>
                  <a:gd name="T15" fmla="*/ 379 h 602"/>
                  <a:gd name="T16" fmla="*/ 533 w 538"/>
                  <a:gd name="T17" fmla="*/ 398 h 602"/>
                  <a:gd name="T18" fmla="*/ 527 w 538"/>
                  <a:gd name="T19" fmla="*/ 412 h 602"/>
                  <a:gd name="T20" fmla="*/ 532 w 538"/>
                  <a:gd name="T21" fmla="*/ 431 h 602"/>
                  <a:gd name="T22" fmla="*/ 537 w 538"/>
                  <a:gd name="T23" fmla="*/ 444 h 602"/>
                  <a:gd name="T24" fmla="*/ 529 w 538"/>
                  <a:gd name="T25" fmla="*/ 463 h 602"/>
                  <a:gd name="T26" fmla="*/ 519 w 538"/>
                  <a:gd name="T27" fmla="*/ 480 h 602"/>
                  <a:gd name="T28" fmla="*/ 511 w 538"/>
                  <a:gd name="T29" fmla="*/ 496 h 602"/>
                  <a:gd name="T30" fmla="*/ 505 w 538"/>
                  <a:gd name="T31" fmla="*/ 513 h 602"/>
                  <a:gd name="T32" fmla="*/ 505 w 538"/>
                  <a:gd name="T33" fmla="*/ 528 h 602"/>
                  <a:gd name="T34" fmla="*/ 497 w 538"/>
                  <a:gd name="T35" fmla="*/ 534 h 602"/>
                  <a:gd name="T36" fmla="*/ 489 w 538"/>
                  <a:gd name="T37" fmla="*/ 540 h 602"/>
                  <a:gd name="T38" fmla="*/ 470 w 538"/>
                  <a:gd name="T39" fmla="*/ 531 h 602"/>
                  <a:gd name="T40" fmla="*/ 319 w 538"/>
                  <a:gd name="T41" fmla="*/ 562 h 602"/>
                  <a:gd name="T42" fmla="*/ 297 w 538"/>
                  <a:gd name="T43" fmla="*/ 558 h 602"/>
                  <a:gd name="T44" fmla="*/ 281 w 538"/>
                  <a:gd name="T45" fmla="*/ 575 h 602"/>
                  <a:gd name="T46" fmla="*/ 272 w 538"/>
                  <a:gd name="T47" fmla="*/ 597 h 602"/>
                  <a:gd name="T48" fmla="*/ 250 w 538"/>
                  <a:gd name="T49" fmla="*/ 602 h 602"/>
                  <a:gd name="T50" fmla="*/ 236 w 538"/>
                  <a:gd name="T51" fmla="*/ 591 h 602"/>
                  <a:gd name="T52" fmla="*/ 234 w 538"/>
                  <a:gd name="T53" fmla="*/ 566 h 602"/>
                  <a:gd name="T54" fmla="*/ 223 w 538"/>
                  <a:gd name="T55" fmla="*/ 551 h 602"/>
                  <a:gd name="T56" fmla="*/ 202 w 538"/>
                  <a:gd name="T57" fmla="*/ 532 h 602"/>
                  <a:gd name="T58" fmla="*/ 185 w 538"/>
                  <a:gd name="T59" fmla="*/ 520 h 602"/>
                  <a:gd name="T60" fmla="*/ 169 w 538"/>
                  <a:gd name="T61" fmla="*/ 504 h 602"/>
                  <a:gd name="T62" fmla="*/ 148 w 538"/>
                  <a:gd name="T63" fmla="*/ 490 h 602"/>
                  <a:gd name="T64" fmla="*/ 123 w 538"/>
                  <a:gd name="T65" fmla="*/ 483 h 602"/>
                  <a:gd name="T66" fmla="*/ 87 w 538"/>
                  <a:gd name="T67" fmla="*/ 475 h 602"/>
                  <a:gd name="T68" fmla="*/ 39 w 538"/>
                  <a:gd name="T69" fmla="*/ 450 h 602"/>
                  <a:gd name="T70" fmla="*/ 22 w 538"/>
                  <a:gd name="T71" fmla="*/ 355 h 602"/>
                  <a:gd name="T72" fmla="*/ 66 w 538"/>
                  <a:gd name="T73" fmla="*/ 298 h 602"/>
                  <a:gd name="T74" fmla="*/ 102 w 538"/>
                  <a:gd name="T75" fmla="*/ 301 h 602"/>
                  <a:gd name="T76" fmla="*/ 131 w 538"/>
                  <a:gd name="T77" fmla="*/ 293 h 602"/>
                  <a:gd name="T78" fmla="*/ 167 w 538"/>
                  <a:gd name="T79" fmla="*/ 288 h 602"/>
                  <a:gd name="T80" fmla="*/ 186 w 538"/>
                  <a:gd name="T81" fmla="*/ 276 h 602"/>
                  <a:gd name="T82" fmla="*/ 177 w 538"/>
                  <a:gd name="T83" fmla="*/ 255 h 602"/>
                  <a:gd name="T84" fmla="*/ 171 w 538"/>
                  <a:gd name="T85" fmla="*/ 233 h 602"/>
                  <a:gd name="T86" fmla="*/ 163 w 538"/>
                  <a:gd name="T87" fmla="*/ 211 h 602"/>
                  <a:gd name="T88" fmla="*/ 175 w 538"/>
                  <a:gd name="T89" fmla="*/ 192 h 602"/>
                  <a:gd name="T90" fmla="*/ 186 w 538"/>
                  <a:gd name="T91" fmla="*/ 181 h 602"/>
                  <a:gd name="T92" fmla="*/ 199 w 538"/>
                  <a:gd name="T93" fmla="*/ 178 h 602"/>
                  <a:gd name="T94" fmla="*/ 213 w 538"/>
                  <a:gd name="T95" fmla="*/ 162 h 602"/>
                  <a:gd name="T96" fmla="*/ 226 w 538"/>
                  <a:gd name="T97" fmla="*/ 144 h 602"/>
                  <a:gd name="T98" fmla="*/ 234 w 538"/>
                  <a:gd name="T99" fmla="*/ 127 h 602"/>
                  <a:gd name="T100" fmla="*/ 226 w 538"/>
                  <a:gd name="T101" fmla="*/ 106 h 602"/>
                  <a:gd name="T102" fmla="*/ 207 w 538"/>
                  <a:gd name="T103" fmla="*/ 100 h 602"/>
                  <a:gd name="T104" fmla="*/ 179 w 538"/>
                  <a:gd name="T105" fmla="*/ 95 h 602"/>
                  <a:gd name="T106" fmla="*/ 160 w 538"/>
                  <a:gd name="T107" fmla="*/ 76 h 602"/>
                  <a:gd name="T108" fmla="*/ 172 w 538"/>
                  <a:gd name="T109" fmla="*/ 52 h 602"/>
                  <a:gd name="T110" fmla="*/ 166 w 538"/>
                  <a:gd name="T111" fmla="*/ 16 h 602"/>
                  <a:gd name="T112" fmla="*/ 150 w 538"/>
                  <a:gd name="T113" fmla="*/ 16 h 602"/>
                  <a:gd name="T114" fmla="*/ 134 w 538"/>
                  <a:gd name="T115" fmla="*/ 21 h 602"/>
                  <a:gd name="T116" fmla="*/ 112 w 538"/>
                  <a:gd name="T117" fmla="*/ 11 h 602"/>
                  <a:gd name="T118" fmla="*/ 90 w 538"/>
                  <a:gd name="T119" fmla="*/ 3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8" h="602">
                    <a:moveTo>
                      <a:pt x="489" y="274"/>
                    </a:moveTo>
                    <a:lnTo>
                      <a:pt x="489" y="276"/>
                    </a:lnTo>
                    <a:lnTo>
                      <a:pt x="489" y="277"/>
                    </a:lnTo>
                    <a:lnTo>
                      <a:pt x="489" y="279"/>
                    </a:lnTo>
                    <a:lnTo>
                      <a:pt x="489" y="280"/>
                    </a:lnTo>
                    <a:lnTo>
                      <a:pt x="487" y="280"/>
                    </a:lnTo>
                    <a:lnTo>
                      <a:pt x="487" y="282"/>
                    </a:lnTo>
                    <a:lnTo>
                      <a:pt x="489" y="282"/>
                    </a:lnTo>
                    <a:lnTo>
                      <a:pt x="487" y="282"/>
                    </a:lnTo>
                    <a:lnTo>
                      <a:pt x="487" y="284"/>
                    </a:lnTo>
                    <a:lnTo>
                      <a:pt x="487" y="285"/>
                    </a:lnTo>
                    <a:lnTo>
                      <a:pt x="487" y="287"/>
                    </a:lnTo>
                    <a:lnTo>
                      <a:pt x="487" y="288"/>
                    </a:lnTo>
                    <a:lnTo>
                      <a:pt x="487" y="290"/>
                    </a:lnTo>
                    <a:lnTo>
                      <a:pt x="486" y="290"/>
                    </a:lnTo>
                    <a:lnTo>
                      <a:pt x="486" y="292"/>
                    </a:lnTo>
                    <a:lnTo>
                      <a:pt x="486" y="293"/>
                    </a:lnTo>
                    <a:lnTo>
                      <a:pt x="486" y="295"/>
                    </a:lnTo>
                    <a:lnTo>
                      <a:pt x="484" y="295"/>
                    </a:lnTo>
                    <a:lnTo>
                      <a:pt x="484" y="296"/>
                    </a:lnTo>
                    <a:lnTo>
                      <a:pt x="484" y="298"/>
                    </a:lnTo>
                    <a:lnTo>
                      <a:pt x="483" y="298"/>
                    </a:lnTo>
                    <a:lnTo>
                      <a:pt x="483" y="299"/>
                    </a:lnTo>
                    <a:lnTo>
                      <a:pt x="483" y="301"/>
                    </a:lnTo>
                    <a:lnTo>
                      <a:pt x="483" y="303"/>
                    </a:lnTo>
                    <a:lnTo>
                      <a:pt x="481" y="303"/>
                    </a:lnTo>
                    <a:lnTo>
                      <a:pt x="481" y="304"/>
                    </a:lnTo>
                    <a:lnTo>
                      <a:pt x="481" y="306"/>
                    </a:lnTo>
                    <a:lnTo>
                      <a:pt x="481" y="307"/>
                    </a:lnTo>
                    <a:lnTo>
                      <a:pt x="481" y="309"/>
                    </a:lnTo>
                    <a:lnTo>
                      <a:pt x="481" y="311"/>
                    </a:lnTo>
                    <a:lnTo>
                      <a:pt x="481" y="312"/>
                    </a:lnTo>
                    <a:lnTo>
                      <a:pt x="481" y="314"/>
                    </a:lnTo>
                    <a:lnTo>
                      <a:pt x="481" y="315"/>
                    </a:lnTo>
                    <a:lnTo>
                      <a:pt x="481" y="317"/>
                    </a:lnTo>
                    <a:lnTo>
                      <a:pt x="481" y="318"/>
                    </a:lnTo>
                    <a:lnTo>
                      <a:pt x="481" y="320"/>
                    </a:lnTo>
                    <a:lnTo>
                      <a:pt x="483" y="320"/>
                    </a:lnTo>
                    <a:lnTo>
                      <a:pt x="483" y="322"/>
                    </a:lnTo>
                    <a:lnTo>
                      <a:pt x="483" y="323"/>
                    </a:lnTo>
                    <a:lnTo>
                      <a:pt x="483" y="325"/>
                    </a:lnTo>
                    <a:lnTo>
                      <a:pt x="484" y="325"/>
                    </a:lnTo>
                    <a:lnTo>
                      <a:pt x="484" y="326"/>
                    </a:lnTo>
                    <a:lnTo>
                      <a:pt x="484" y="328"/>
                    </a:lnTo>
                    <a:lnTo>
                      <a:pt x="486" y="328"/>
                    </a:lnTo>
                    <a:lnTo>
                      <a:pt x="486" y="330"/>
                    </a:lnTo>
                    <a:lnTo>
                      <a:pt x="487" y="330"/>
                    </a:lnTo>
                    <a:lnTo>
                      <a:pt x="487" y="331"/>
                    </a:lnTo>
                    <a:lnTo>
                      <a:pt x="489" y="331"/>
                    </a:lnTo>
                    <a:lnTo>
                      <a:pt x="489" y="333"/>
                    </a:lnTo>
                    <a:lnTo>
                      <a:pt x="489" y="334"/>
                    </a:lnTo>
                    <a:lnTo>
                      <a:pt x="491" y="334"/>
                    </a:lnTo>
                    <a:lnTo>
                      <a:pt x="489" y="334"/>
                    </a:lnTo>
                    <a:lnTo>
                      <a:pt x="489" y="336"/>
                    </a:lnTo>
                    <a:lnTo>
                      <a:pt x="489" y="337"/>
                    </a:lnTo>
                    <a:lnTo>
                      <a:pt x="489" y="339"/>
                    </a:lnTo>
                    <a:lnTo>
                      <a:pt x="487" y="339"/>
                    </a:lnTo>
                    <a:lnTo>
                      <a:pt x="487" y="341"/>
                    </a:lnTo>
                    <a:lnTo>
                      <a:pt x="487" y="342"/>
                    </a:lnTo>
                    <a:lnTo>
                      <a:pt x="486" y="342"/>
                    </a:lnTo>
                    <a:lnTo>
                      <a:pt x="486" y="344"/>
                    </a:lnTo>
                    <a:lnTo>
                      <a:pt x="486" y="345"/>
                    </a:lnTo>
                    <a:lnTo>
                      <a:pt x="486" y="347"/>
                    </a:lnTo>
                    <a:lnTo>
                      <a:pt x="486" y="349"/>
                    </a:lnTo>
                    <a:lnTo>
                      <a:pt x="486" y="350"/>
                    </a:lnTo>
                    <a:lnTo>
                      <a:pt x="487" y="350"/>
                    </a:lnTo>
                    <a:lnTo>
                      <a:pt x="487" y="352"/>
                    </a:lnTo>
                    <a:lnTo>
                      <a:pt x="489" y="352"/>
                    </a:lnTo>
                    <a:lnTo>
                      <a:pt x="489" y="353"/>
                    </a:lnTo>
                    <a:lnTo>
                      <a:pt x="489" y="355"/>
                    </a:lnTo>
                    <a:lnTo>
                      <a:pt x="491" y="355"/>
                    </a:lnTo>
                    <a:lnTo>
                      <a:pt x="491" y="357"/>
                    </a:lnTo>
                    <a:lnTo>
                      <a:pt x="491" y="358"/>
                    </a:lnTo>
                    <a:lnTo>
                      <a:pt x="492" y="358"/>
                    </a:lnTo>
                    <a:lnTo>
                      <a:pt x="492" y="360"/>
                    </a:lnTo>
                    <a:lnTo>
                      <a:pt x="492" y="361"/>
                    </a:lnTo>
                    <a:lnTo>
                      <a:pt x="494" y="361"/>
                    </a:lnTo>
                    <a:lnTo>
                      <a:pt x="495" y="361"/>
                    </a:lnTo>
                    <a:lnTo>
                      <a:pt x="495" y="360"/>
                    </a:lnTo>
                    <a:lnTo>
                      <a:pt x="495" y="358"/>
                    </a:lnTo>
                    <a:lnTo>
                      <a:pt x="495" y="357"/>
                    </a:lnTo>
                    <a:lnTo>
                      <a:pt x="495" y="355"/>
                    </a:lnTo>
                    <a:lnTo>
                      <a:pt x="495" y="353"/>
                    </a:lnTo>
                    <a:lnTo>
                      <a:pt x="497" y="353"/>
                    </a:lnTo>
                    <a:lnTo>
                      <a:pt x="497" y="352"/>
                    </a:lnTo>
                    <a:lnTo>
                      <a:pt x="498" y="352"/>
                    </a:lnTo>
                    <a:lnTo>
                      <a:pt x="498" y="353"/>
                    </a:lnTo>
                    <a:lnTo>
                      <a:pt x="500" y="353"/>
                    </a:lnTo>
                    <a:lnTo>
                      <a:pt x="500" y="355"/>
                    </a:lnTo>
                    <a:lnTo>
                      <a:pt x="502" y="355"/>
                    </a:lnTo>
                    <a:lnTo>
                      <a:pt x="503" y="355"/>
                    </a:lnTo>
                    <a:lnTo>
                      <a:pt x="503" y="357"/>
                    </a:lnTo>
                    <a:lnTo>
                      <a:pt x="503" y="358"/>
                    </a:lnTo>
                    <a:lnTo>
                      <a:pt x="505" y="358"/>
                    </a:lnTo>
                    <a:lnTo>
                      <a:pt x="505" y="360"/>
                    </a:lnTo>
                    <a:lnTo>
                      <a:pt x="506" y="360"/>
                    </a:lnTo>
                    <a:lnTo>
                      <a:pt x="506" y="361"/>
                    </a:lnTo>
                    <a:lnTo>
                      <a:pt x="506" y="363"/>
                    </a:lnTo>
                    <a:lnTo>
                      <a:pt x="506" y="364"/>
                    </a:lnTo>
                    <a:lnTo>
                      <a:pt x="506" y="366"/>
                    </a:lnTo>
                    <a:lnTo>
                      <a:pt x="508" y="366"/>
                    </a:lnTo>
                    <a:lnTo>
                      <a:pt x="510" y="366"/>
                    </a:lnTo>
                    <a:lnTo>
                      <a:pt x="510" y="364"/>
                    </a:lnTo>
                    <a:lnTo>
                      <a:pt x="511" y="364"/>
                    </a:lnTo>
                    <a:lnTo>
                      <a:pt x="511" y="366"/>
                    </a:lnTo>
                    <a:lnTo>
                      <a:pt x="513" y="366"/>
                    </a:lnTo>
                    <a:lnTo>
                      <a:pt x="514" y="366"/>
                    </a:lnTo>
                    <a:lnTo>
                      <a:pt x="516" y="366"/>
                    </a:lnTo>
                    <a:lnTo>
                      <a:pt x="516" y="368"/>
                    </a:lnTo>
                    <a:lnTo>
                      <a:pt x="517" y="368"/>
                    </a:lnTo>
                    <a:lnTo>
                      <a:pt x="519" y="368"/>
                    </a:lnTo>
                    <a:lnTo>
                      <a:pt x="519" y="369"/>
                    </a:lnTo>
                    <a:lnTo>
                      <a:pt x="521" y="369"/>
                    </a:lnTo>
                    <a:lnTo>
                      <a:pt x="521" y="371"/>
                    </a:lnTo>
                    <a:lnTo>
                      <a:pt x="522" y="371"/>
                    </a:lnTo>
                    <a:lnTo>
                      <a:pt x="522" y="372"/>
                    </a:lnTo>
                    <a:lnTo>
                      <a:pt x="524" y="372"/>
                    </a:lnTo>
                    <a:lnTo>
                      <a:pt x="522" y="372"/>
                    </a:lnTo>
                    <a:lnTo>
                      <a:pt x="522" y="374"/>
                    </a:lnTo>
                    <a:lnTo>
                      <a:pt x="524" y="374"/>
                    </a:lnTo>
                    <a:lnTo>
                      <a:pt x="524" y="376"/>
                    </a:lnTo>
                    <a:lnTo>
                      <a:pt x="525" y="376"/>
                    </a:lnTo>
                    <a:lnTo>
                      <a:pt x="527" y="376"/>
                    </a:lnTo>
                    <a:lnTo>
                      <a:pt x="527" y="377"/>
                    </a:lnTo>
                    <a:lnTo>
                      <a:pt x="529" y="377"/>
                    </a:lnTo>
                    <a:lnTo>
                      <a:pt x="530" y="377"/>
                    </a:lnTo>
                    <a:lnTo>
                      <a:pt x="530" y="379"/>
                    </a:lnTo>
                    <a:lnTo>
                      <a:pt x="532" y="379"/>
                    </a:lnTo>
                    <a:lnTo>
                      <a:pt x="533" y="379"/>
                    </a:lnTo>
                    <a:lnTo>
                      <a:pt x="532" y="379"/>
                    </a:lnTo>
                    <a:lnTo>
                      <a:pt x="533" y="379"/>
                    </a:lnTo>
                    <a:lnTo>
                      <a:pt x="533" y="380"/>
                    </a:lnTo>
                    <a:lnTo>
                      <a:pt x="532" y="380"/>
                    </a:lnTo>
                    <a:lnTo>
                      <a:pt x="533" y="380"/>
                    </a:lnTo>
                    <a:lnTo>
                      <a:pt x="535" y="380"/>
                    </a:lnTo>
                    <a:lnTo>
                      <a:pt x="535" y="379"/>
                    </a:lnTo>
                    <a:lnTo>
                      <a:pt x="537" y="379"/>
                    </a:lnTo>
                    <a:lnTo>
                      <a:pt x="537" y="380"/>
                    </a:lnTo>
                    <a:lnTo>
                      <a:pt x="537" y="382"/>
                    </a:lnTo>
                    <a:lnTo>
                      <a:pt x="537" y="383"/>
                    </a:lnTo>
                    <a:lnTo>
                      <a:pt x="537" y="385"/>
                    </a:lnTo>
                    <a:lnTo>
                      <a:pt x="537" y="387"/>
                    </a:lnTo>
                    <a:lnTo>
                      <a:pt x="535" y="387"/>
                    </a:lnTo>
                    <a:lnTo>
                      <a:pt x="535" y="388"/>
                    </a:lnTo>
                    <a:lnTo>
                      <a:pt x="535" y="390"/>
                    </a:lnTo>
                    <a:lnTo>
                      <a:pt x="537" y="390"/>
                    </a:lnTo>
                    <a:lnTo>
                      <a:pt x="537" y="391"/>
                    </a:lnTo>
                    <a:lnTo>
                      <a:pt x="535" y="391"/>
                    </a:lnTo>
                    <a:lnTo>
                      <a:pt x="535" y="393"/>
                    </a:lnTo>
                    <a:lnTo>
                      <a:pt x="533" y="393"/>
                    </a:lnTo>
                    <a:lnTo>
                      <a:pt x="533" y="395"/>
                    </a:lnTo>
                    <a:lnTo>
                      <a:pt x="533" y="396"/>
                    </a:lnTo>
                    <a:lnTo>
                      <a:pt x="533" y="398"/>
                    </a:lnTo>
                    <a:lnTo>
                      <a:pt x="533" y="399"/>
                    </a:lnTo>
                    <a:lnTo>
                      <a:pt x="532" y="399"/>
                    </a:lnTo>
                    <a:lnTo>
                      <a:pt x="532" y="401"/>
                    </a:lnTo>
                    <a:lnTo>
                      <a:pt x="532" y="402"/>
                    </a:lnTo>
                    <a:lnTo>
                      <a:pt x="530" y="402"/>
                    </a:lnTo>
                    <a:lnTo>
                      <a:pt x="530" y="404"/>
                    </a:lnTo>
                    <a:lnTo>
                      <a:pt x="530" y="406"/>
                    </a:lnTo>
                    <a:lnTo>
                      <a:pt x="529" y="406"/>
                    </a:lnTo>
                    <a:lnTo>
                      <a:pt x="529" y="407"/>
                    </a:lnTo>
                    <a:lnTo>
                      <a:pt x="529" y="409"/>
                    </a:lnTo>
                    <a:lnTo>
                      <a:pt x="527" y="409"/>
                    </a:lnTo>
                    <a:lnTo>
                      <a:pt x="525" y="409"/>
                    </a:lnTo>
                    <a:lnTo>
                      <a:pt x="525" y="410"/>
                    </a:lnTo>
                    <a:lnTo>
                      <a:pt x="527" y="410"/>
                    </a:lnTo>
                    <a:lnTo>
                      <a:pt x="525" y="410"/>
                    </a:lnTo>
                    <a:lnTo>
                      <a:pt x="525" y="412"/>
                    </a:lnTo>
                    <a:lnTo>
                      <a:pt x="527" y="412"/>
                    </a:lnTo>
                    <a:lnTo>
                      <a:pt x="527" y="414"/>
                    </a:lnTo>
                    <a:lnTo>
                      <a:pt x="527" y="415"/>
                    </a:lnTo>
                    <a:lnTo>
                      <a:pt x="527" y="417"/>
                    </a:lnTo>
                    <a:lnTo>
                      <a:pt x="527" y="418"/>
                    </a:lnTo>
                    <a:lnTo>
                      <a:pt x="529" y="418"/>
                    </a:lnTo>
                    <a:lnTo>
                      <a:pt x="529" y="420"/>
                    </a:lnTo>
                    <a:lnTo>
                      <a:pt x="530" y="420"/>
                    </a:lnTo>
                    <a:lnTo>
                      <a:pt x="530" y="421"/>
                    </a:lnTo>
                    <a:lnTo>
                      <a:pt x="530" y="423"/>
                    </a:lnTo>
                    <a:lnTo>
                      <a:pt x="532" y="423"/>
                    </a:lnTo>
                    <a:lnTo>
                      <a:pt x="532" y="425"/>
                    </a:lnTo>
                    <a:lnTo>
                      <a:pt x="532" y="426"/>
                    </a:lnTo>
                    <a:lnTo>
                      <a:pt x="532" y="428"/>
                    </a:lnTo>
                    <a:lnTo>
                      <a:pt x="532" y="429"/>
                    </a:lnTo>
                    <a:lnTo>
                      <a:pt x="530" y="429"/>
                    </a:lnTo>
                    <a:lnTo>
                      <a:pt x="532" y="429"/>
                    </a:lnTo>
                    <a:lnTo>
                      <a:pt x="532" y="431"/>
                    </a:lnTo>
                    <a:lnTo>
                      <a:pt x="532" y="433"/>
                    </a:lnTo>
                    <a:lnTo>
                      <a:pt x="533" y="433"/>
                    </a:lnTo>
                    <a:lnTo>
                      <a:pt x="532" y="433"/>
                    </a:lnTo>
                    <a:lnTo>
                      <a:pt x="532" y="434"/>
                    </a:lnTo>
                    <a:lnTo>
                      <a:pt x="533" y="434"/>
                    </a:lnTo>
                    <a:lnTo>
                      <a:pt x="533" y="436"/>
                    </a:lnTo>
                    <a:lnTo>
                      <a:pt x="535" y="436"/>
                    </a:lnTo>
                    <a:lnTo>
                      <a:pt x="537" y="436"/>
                    </a:lnTo>
                    <a:lnTo>
                      <a:pt x="537" y="437"/>
                    </a:lnTo>
                    <a:lnTo>
                      <a:pt x="537" y="439"/>
                    </a:lnTo>
                    <a:lnTo>
                      <a:pt x="538" y="439"/>
                    </a:lnTo>
                    <a:lnTo>
                      <a:pt x="538" y="440"/>
                    </a:lnTo>
                    <a:lnTo>
                      <a:pt x="537" y="440"/>
                    </a:lnTo>
                    <a:lnTo>
                      <a:pt x="538" y="440"/>
                    </a:lnTo>
                    <a:lnTo>
                      <a:pt x="537" y="440"/>
                    </a:lnTo>
                    <a:lnTo>
                      <a:pt x="537" y="442"/>
                    </a:lnTo>
                    <a:lnTo>
                      <a:pt x="537" y="444"/>
                    </a:lnTo>
                    <a:lnTo>
                      <a:pt x="537" y="445"/>
                    </a:lnTo>
                    <a:lnTo>
                      <a:pt x="535" y="445"/>
                    </a:lnTo>
                    <a:lnTo>
                      <a:pt x="535" y="447"/>
                    </a:lnTo>
                    <a:lnTo>
                      <a:pt x="535" y="448"/>
                    </a:lnTo>
                    <a:lnTo>
                      <a:pt x="535" y="450"/>
                    </a:lnTo>
                    <a:lnTo>
                      <a:pt x="533" y="450"/>
                    </a:lnTo>
                    <a:lnTo>
                      <a:pt x="533" y="452"/>
                    </a:lnTo>
                    <a:lnTo>
                      <a:pt x="532" y="452"/>
                    </a:lnTo>
                    <a:lnTo>
                      <a:pt x="532" y="453"/>
                    </a:lnTo>
                    <a:lnTo>
                      <a:pt x="532" y="455"/>
                    </a:lnTo>
                    <a:lnTo>
                      <a:pt x="532" y="456"/>
                    </a:lnTo>
                    <a:lnTo>
                      <a:pt x="530" y="456"/>
                    </a:lnTo>
                    <a:lnTo>
                      <a:pt x="530" y="458"/>
                    </a:lnTo>
                    <a:lnTo>
                      <a:pt x="530" y="459"/>
                    </a:lnTo>
                    <a:lnTo>
                      <a:pt x="530" y="461"/>
                    </a:lnTo>
                    <a:lnTo>
                      <a:pt x="529" y="461"/>
                    </a:lnTo>
                    <a:lnTo>
                      <a:pt x="529" y="463"/>
                    </a:lnTo>
                    <a:lnTo>
                      <a:pt x="529" y="464"/>
                    </a:lnTo>
                    <a:lnTo>
                      <a:pt x="529" y="466"/>
                    </a:lnTo>
                    <a:lnTo>
                      <a:pt x="529" y="467"/>
                    </a:lnTo>
                    <a:lnTo>
                      <a:pt x="527" y="467"/>
                    </a:lnTo>
                    <a:lnTo>
                      <a:pt x="527" y="469"/>
                    </a:lnTo>
                    <a:lnTo>
                      <a:pt x="525" y="469"/>
                    </a:lnTo>
                    <a:lnTo>
                      <a:pt x="525" y="471"/>
                    </a:lnTo>
                    <a:lnTo>
                      <a:pt x="525" y="472"/>
                    </a:lnTo>
                    <a:lnTo>
                      <a:pt x="525" y="474"/>
                    </a:lnTo>
                    <a:lnTo>
                      <a:pt x="524" y="474"/>
                    </a:lnTo>
                    <a:lnTo>
                      <a:pt x="524" y="475"/>
                    </a:lnTo>
                    <a:lnTo>
                      <a:pt x="522" y="475"/>
                    </a:lnTo>
                    <a:lnTo>
                      <a:pt x="521" y="475"/>
                    </a:lnTo>
                    <a:lnTo>
                      <a:pt x="521" y="477"/>
                    </a:lnTo>
                    <a:lnTo>
                      <a:pt x="521" y="478"/>
                    </a:lnTo>
                    <a:lnTo>
                      <a:pt x="519" y="478"/>
                    </a:lnTo>
                    <a:lnTo>
                      <a:pt x="519" y="480"/>
                    </a:lnTo>
                    <a:lnTo>
                      <a:pt x="519" y="482"/>
                    </a:lnTo>
                    <a:lnTo>
                      <a:pt x="517" y="482"/>
                    </a:lnTo>
                    <a:lnTo>
                      <a:pt x="517" y="483"/>
                    </a:lnTo>
                    <a:lnTo>
                      <a:pt x="517" y="485"/>
                    </a:lnTo>
                    <a:lnTo>
                      <a:pt x="517" y="486"/>
                    </a:lnTo>
                    <a:lnTo>
                      <a:pt x="516" y="486"/>
                    </a:lnTo>
                    <a:lnTo>
                      <a:pt x="516" y="488"/>
                    </a:lnTo>
                    <a:lnTo>
                      <a:pt x="514" y="488"/>
                    </a:lnTo>
                    <a:lnTo>
                      <a:pt x="514" y="490"/>
                    </a:lnTo>
                    <a:lnTo>
                      <a:pt x="513" y="490"/>
                    </a:lnTo>
                    <a:lnTo>
                      <a:pt x="514" y="490"/>
                    </a:lnTo>
                    <a:lnTo>
                      <a:pt x="514" y="491"/>
                    </a:lnTo>
                    <a:lnTo>
                      <a:pt x="513" y="491"/>
                    </a:lnTo>
                    <a:lnTo>
                      <a:pt x="513" y="493"/>
                    </a:lnTo>
                    <a:lnTo>
                      <a:pt x="513" y="494"/>
                    </a:lnTo>
                    <a:lnTo>
                      <a:pt x="511" y="494"/>
                    </a:lnTo>
                    <a:lnTo>
                      <a:pt x="511" y="496"/>
                    </a:lnTo>
                    <a:lnTo>
                      <a:pt x="511" y="497"/>
                    </a:lnTo>
                    <a:lnTo>
                      <a:pt x="511" y="499"/>
                    </a:lnTo>
                    <a:lnTo>
                      <a:pt x="511" y="501"/>
                    </a:lnTo>
                    <a:lnTo>
                      <a:pt x="511" y="502"/>
                    </a:lnTo>
                    <a:lnTo>
                      <a:pt x="510" y="502"/>
                    </a:lnTo>
                    <a:lnTo>
                      <a:pt x="510" y="504"/>
                    </a:lnTo>
                    <a:lnTo>
                      <a:pt x="510" y="505"/>
                    </a:lnTo>
                    <a:lnTo>
                      <a:pt x="510" y="507"/>
                    </a:lnTo>
                    <a:lnTo>
                      <a:pt x="508" y="507"/>
                    </a:lnTo>
                    <a:lnTo>
                      <a:pt x="508" y="509"/>
                    </a:lnTo>
                    <a:lnTo>
                      <a:pt x="508" y="510"/>
                    </a:lnTo>
                    <a:lnTo>
                      <a:pt x="506" y="510"/>
                    </a:lnTo>
                    <a:lnTo>
                      <a:pt x="506" y="512"/>
                    </a:lnTo>
                    <a:lnTo>
                      <a:pt x="506" y="513"/>
                    </a:lnTo>
                    <a:lnTo>
                      <a:pt x="505" y="513"/>
                    </a:lnTo>
                    <a:lnTo>
                      <a:pt x="505" y="512"/>
                    </a:lnTo>
                    <a:lnTo>
                      <a:pt x="505" y="513"/>
                    </a:lnTo>
                    <a:lnTo>
                      <a:pt x="503" y="513"/>
                    </a:lnTo>
                    <a:lnTo>
                      <a:pt x="503" y="515"/>
                    </a:lnTo>
                    <a:lnTo>
                      <a:pt x="503" y="516"/>
                    </a:lnTo>
                    <a:lnTo>
                      <a:pt x="503" y="518"/>
                    </a:lnTo>
                    <a:lnTo>
                      <a:pt x="503" y="520"/>
                    </a:lnTo>
                    <a:lnTo>
                      <a:pt x="503" y="521"/>
                    </a:lnTo>
                    <a:lnTo>
                      <a:pt x="502" y="521"/>
                    </a:lnTo>
                    <a:lnTo>
                      <a:pt x="500" y="521"/>
                    </a:lnTo>
                    <a:lnTo>
                      <a:pt x="500" y="523"/>
                    </a:lnTo>
                    <a:lnTo>
                      <a:pt x="500" y="521"/>
                    </a:lnTo>
                    <a:lnTo>
                      <a:pt x="500" y="523"/>
                    </a:lnTo>
                    <a:lnTo>
                      <a:pt x="502" y="523"/>
                    </a:lnTo>
                    <a:lnTo>
                      <a:pt x="502" y="524"/>
                    </a:lnTo>
                    <a:lnTo>
                      <a:pt x="502" y="526"/>
                    </a:lnTo>
                    <a:lnTo>
                      <a:pt x="503" y="526"/>
                    </a:lnTo>
                    <a:lnTo>
                      <a:pt x="503" y="528"/>
                    </a:lnTo>
                    <a:lnTo>
                      <a:pt x="505" y="528"/>
                    </a:lnTo>
                    <a:lnTo>
                      <a:pt x="505" y="529"/>
                    </a:lnTo>
                    <a:lnTo>
                      <a:pt x="505" y="531"/>
                    </a:lnTo>
                    <a:lnTo>
                      <a:pt x="503" y="531"/>
                    </a:lnTo>
                    <a:lnTo>
                      <a:pt x="503" y="532"/>
                    </a:lnTo>
                    <a:lnTo>
                      <a:pt x="502" y="532"/>
                    </a:lnTo>
                    <a:lnTo>
                      <a:pt x="502" y="534"/>
                    </a:lnTo>
                    <a:lnTo>
                      <a:pt x="503" y="534"/>
                    </a:lnTo>
                    <a:lnTo>
                      <a:pt x="503" y="535"/>
                    </a:lnTo>
                    <a:lnTo>
                      <a:pt x="503" y="537"/>
                    </a:lnTo>
                    <a:lnTo>
                      <a:pt x="502" y="537"/>
                    </a:lnTo>
                    <a:lnTo>
                      <a:pt x="500" y="537"/>
                    </a:lnTo>
                    <a:lnTo>
                      <a:pt x="500" y="535"/>
                    </a:lnTo>
                    <a:lnTo>
                      <a:pt x="500" y="537"/>
                    </a:lnTo>
                    <a:lnTo>
                      <a:pt x="498" y="537"/>
                    </a:lnTo>
                    <a:lnTo>
                      <a:pt x="498" y="535"/>
                    </a:lnTo>
                    <a:lnTo>
                      <a:pt x="497" y="535"/>
                    </a:lnTo>
                    <a:lnTo>
                      <a:pt x="497" y="534"/>
                    </a:lnTo>
                    <a:lnTo>
                      <a:pt x="495" y="534"/>
                    </a:lnTo>
                    <a:lnTo>
                      <a:pt x="495" y="535"/>
                    </a:lnTo>
                    <a:lnTo>
                      <a:pt x="497" y="535"/>
                    </a:lnTo>
                    <a:lnTo>
                      <a:pt x="497" y="537"/>
                    </a:lnTo>
                    <a:lnTo>
                      <a:pt x="495" y="537"/>
                    </a:lnTo>
                    <a:lnTo>
                      <a:pt x="494" y="537"/>
                    </a:lnTo>
                    <a:lnTo>
                      <a:pt x="492" y="537"/>
                    </a:lnTo>
                    <a:lnTo>
                      <a:pt x="492" y="539"/>
                    </a:lnTo>
                    <a:lnTo>
                      <a:pt x="491" y="539"/>
                    </a:lnTo>
                    <a:lnTo>
                      <a:pt x="489" y="539"/>
                    </a:lnTo>
                    <a:lnTo>
                      <a:pt x="489" y="537"/>
                    </a:lnTo>
                    <a:lnTo>
                      <a:pt x="487" y="537"/>
                    </a:lnTo>
                    <a:lnTo>
                      <a:pt x="486" y="537"/>
                    </a:lnTo>
                    <a:lnTo>
                      <a:pt x="486" y="539"/>
                    </a:lnTo>
                    <a:lnTo>
                      <a:pt x="487" y="539"/>
                    </a:lnTo>
                    <a:lnTo>
                      <a:pt x="489" y="539"/>
                    </a:lnTo>
                    <a:lnTo>
                      <a:pt x="489" y="540"/>
                    </a:lnTo>
                    <a:lnTo>
                      <a:pt x="487" y="540"/>
                    </a:lnTo>
                    <a:lnTo>
                      <a:pt x="487" y="539"/>
                    </a:lnTo>
                    <a:lnTo>
                      <a:pt x="486" y="539"/>
                    </a:lnTo>
                    <a:lnTo>
                      <a:pt x="486" y="540"/>
                    </a:lnTo>
                    <a:lnTo>
                      <a:pt x="484" y="540"/>
                    </a:lnTo>
                    <a:lnTo>
                      <a:pt x="484" y="542"/>
                    </a:lnTo>
                    <a:lnTo>
                      <a:pt x="483" y="542"/>
                    </a:lnTo>
                    <a:lnTo>
                      <a:pt x="483" y="540"/>
                    </a:lnTo>
                    <a:lnTo>
                      <a:pt x="481" y="540"/>
                    </a:lnTo>
                    <a:lnTo>
                      <a:pt x="481" y="542"/>
                    </a:lnTo>
                    <a:lnTo>
                      <a:pt x="479" y="542"/>
                    </a:lnTo>
                    <a:lnTo>
                      <a:pt x="478" y="542"/>
                    </a:lnTo>
                    <a:lnTo>
                      <a:pt x="476" y="540"/>
                    </a:lnTo>
                    <a:lnTo>
                      <a:pt x="476" y="537"/>
                    </a:lnTo>
                    <a:lnTo>
                      <a:pt x="475" y="534"/>
                    </a:lnTo>
                    <a:lnTo>
                      <a:pt x="472" y="532"/>
                    </a:lnTo>
                    <a:lnTo>
                      <a:pt x="470" y="531"/>
                    </a:lnTo>
                    <a:lnTo>
                      <a:pt x="467" y="531"/>
                    </a:lnTo>
                    <a:lnTo>
                      <a:pt x="460" y="531"/>
                    </a:lnTo>
                    <a:lnTo>
                      <a:pt x="435" y="535"/>
                    </a:lnTo>
                    <a:lnTo>
                      <a:pt x="434" y="535"/>
                    </a:lnTo>
                    <a:lnTo>
                      <a:pt x="419" y="539"/>
                    </a:lnTo>
                    <a:lnTo>
                      <a:pt x="413" y="540"/>
                    </a:lnTo>
                    <a:lnTo>
                      <a:pt x="405" y="542"/>
                    </a:lnTo>
                    <a:lnTo>
                      <a:pt x="392" y="545"/>
                    </a:lnTo>
                    <a:lnTo>
                      <a:pt x="386" y="547"/>
                    </a:lnTo>
                    <a:lnTo>
                      <a:pt x="378" y="550"/>
                    </a:lnTo>
                    <a:lnTo>
                      <a:pt x="364" y="555"/>
                    </a:lnTo>
                    <a:lnTo>
                      <a:pt x="353" y="558"/>
                    </a:lnTo>
                    <a:lnTo>
                      <a:pt x="346" y="559"/>
                    </a:lnTo>
                    <a:lnTo>
                      <a:pt x="343" y="561"/>
                    </a:lnTo>
                    <a:lnTo>
                      <a:pt x="340" y="561"/>
                    </a:lnTo>
                    <a:lnTo>
                      <a:pt x="327" y="564"/>
                    </a:lnTo>
                    <a:lnTo>
                      <a:pt x="319" y="562"/>
                    </a:lnTo>
                    <a:lnTo>
                      <a:pt x="319" y="561"/>
                    </a:lnTo>
                    <a:lnTo>
                      <a:pt x="318" y="556"/>
                    </a:lnTo>
                    <a:lnTo>
                      <a:pt x="316" y="556"/>
                    </a:lnTo>
                    <a:lnTo>
                      <a:pt x="315" y="556"/>
                    </a:lnTo>
                    <a:lnTo>
                      <a:pt x="313" y="556"/>
                    </a:lnTo>
                    <a:lnTo>
                      <a:pt x="312" y="556"/>
                    </a:lnTo>
                    <a:lnTo>
                      <a:pt x="312" y="558"/>
                    </a:lnTo>
                    <a:lnTo>
                      <a:pt x="310" y="558"/>
                    </a:lnTo>
                    <a:lnTo>
                      <a:pt x="308" y="558"/>
                    </a:lnTo>
                    <a:lnTo>
                      <a:pt x="307" y="558"/>
                    </a:lnTo>
                    <a:lnTo>
                      <a:pt x="305" y="558"/>
                    </a:lnTo>
                    <a:lnTo>
                      <a:pt x="304" y="556"/>
                    </a:lnTo>
                    <a:lnTo>
                      <a:pt x="302" y="556"/>
                    </a:lnTo>
                    <a:lnTo>
                      <a:pt x="300" y="556"/>
                    </a:lnTo>
                    <a:lnTo>
                      <a:pt x="299" y="556"/>
                    </a:lnTo>
                    <a:lnTo>
                      <a:pt x="297" y="556"/>
                    </a:lnTo>
                    <a:lnTo>
                      <a:pt x="297" y="558"/>
                    </a:lnTo>
                    <a:lnTo>
                      <a:pt x="296" y="558"/>
                    </a:lnTo>
                    <a:lnTo>
                      <a:pt x="294" y="558"/>
                    </a:lnTo>
                    <a:lnTo>
                      <a:pt x="293" y="559"/>
                    </a:lnTo>
                    <a:lnTo>
                      <a:pt x="291" y="559"/>
                    </a:lnTo>
                    <a:lnTo>
                      <a:pt x="289" y="561"/>
                    </a:lnTo>
                    <a:lnTo>
                      <a:pt x="288" y="562"/>
                    </a:lnTo>
                    <a:lnTo>
                      <a:pt x="286" y="564"/>
                    </a:lnTo>
                    <a:lnTo>
                      <a:pt x="285" y="564"/>
                    </a:lnTo>
                    <a:lnTo>
                      <a:pt x="285" y="566"/>
                    </a:lnTo>
                    <a:lnTo>
                      <a:pt x="283" y="566"/>
                    </a:lnTo>
                    <a:lnTo>
                      <a:pt x="283" y="567"/>
                    </a:lnTo>
                    <a:lnTo>
                      <a:pt x="283" y="569"/>
                    </a:lnTo>
                    <a:lnTo>
                      <a:pt x="283" y="570"/>
                    </a:lnTo>
                    <a:lnTo>
                      <a:pt x="281" y="570"/>
                    </a:lnTo>
                    <a:lnTo>
                      <a:pt x="281" y="572"/>
                    </a:lnTo>
                    <a:lnTo>
                      <a:pt x="281" y="574"/>
                    </a:lnTo>
                    <a:lnTo>
                      <a:pt x="281" y="575"/>
                    </a:lnTo>
                    <a:lnTo>
                      <a:pt x="281" y="577"/>
                    </a:lnTo>
                    <a:lnTo>
                      <a:pt x="281" y="578"/>
                    </a:lnTo>
                    <a:lnTo>
                      <a:pt x="281" y="580"/>
                    </a:lnTo>
                    <a:lnTo>
                      <a:pt x="280" y="581"/>
                    </a:lnTo>
                    <a:lnTo>
                      <a:pt x="278" y="583"/>
                    </a:lnTo>
                    <a:lnTo>
                      <a:pt x="278" y="585"/>
                    </a:lnTo>
                    <a:lnTo>
                      <a:pt x="277" y="585"/>
                    </a:lnTo>
                    <a:lnTo>
                      <a:pt x="277" y="586"/>
                    </a:lnTo>
                    <a:lnTo>
                      <a:pt x="277" y="588"/>
                    </a:lnTo>
                    <a:lnTo>
                      <a:pt x="275" y="588"/>
                    </a:lnTo>
                    <a:lnTo>
                      <a:pt x="275" y="589"/>
                    </a:lnTo>
                    <a:lnTo>
                      <a:pt x="275" y="591"/>
                    </a:lnTo>
                    <a:lnTo>
                      <a:pt x="274" y="593"/>
                    </a:lnTo>
                    <a:lnTo>
                      <a:pt x="274" y="594"/>
                    </a:lnTo>
                    <a:lnTo>
                      <a:pt x="274" y="596"/>
                    </a:lnTo>
                    <a:lnTo>
                      <a:pt x="272" y="596"/>
                    </a:lnTo>
                    <a:lnTo>
                      <a:pt x="272" y="597"/>
                    </a:lnTo>
                    <a:lnTo>
                      <a:pt x="270" y="597"/>
                    </a:lnTo>
                    <a:lnTo>
                      <a:pt x="270" y="599"/>
                    </a:lnTo>
                    <a:lnTo>
                      <a:pt x="269" y="599"/>
                    </a:lnTo>
                    <a:lnTo>
                      <a:pt x="269" y="600"/>
                    </a:lnTo>
                    <a:lnTo>
                      <a:pt x="267" y="600"/>
                    </a:lnTo>
                    <a:lnTo>
                      <a:pt x="266" y="600"/>
                    </a:lnTo>
                    <a:lnTo>
                      <a:pt x="264" y="600"/>
                    </a:lnTo>
                    <a:lnTo>
                      <a:pt x="262" y="600"/>
                    </a:lnTo>
                    <a:lnTo>
                      <a:pt x="261" y="600"/>
                    </a:lnTo>
                    <a:lnTo>
                      <a:pt x="259" y="600"/>
                    </a:lnTo>
                    <a:lnTo>
                      <a:pt x="258" y="600"/>
                    </a:lnTo>
                    <a:lnTo>
                      <a:pt x="256" y="600"/>
                    </a:lnTo>
                    <a:lnTo>
                      <a:pt x="255" y="600"/>
                    </a:lnTo>
                    <a:lnTo>
                      <a:pt x="253" y="600"/>
                    </a:lnTo>
                    <a:lnTo>
                      <a:pt x="253" y="602"/>
                    </a:lnTo>
                    <a:lnTo>
                      <a:pt x="251" y="602"/>
                    </a:lnTo>
                    <a:lnTo>
                      <a:pt x="250" y="602"/>
                    </a:lnTo>
                    <a:lnTo>
                      <a:pt x="248" y="602"/>
                    </a:lnTo>
                    <a:lnTo>
                      <a:pt x="247" y="602"/>
                    </a:lnTo>
                    <a:lnTo>
                      <a:pt x="247" y="600"/>
                    </a:lnTo>
                    <a:lnTo>
                      <a:pt x="245" y="600"/>
                    </a:lnTo>
                    <a:lnTo>
                      <a:pt x="243" y="600"/>
                    </a:lnTo>
                    <a:lnTo>
                      <a:pt x="242" y="602"/>
                    </a:lnTo>
                    <a:lnTo>
                      <a:pt x="240" y="602"/>
                    </a:lnTo>
                    <a:lnTo>
                      <a:pt x="240" y="600"/>
                    </a:lnTo>
                    <a:lnTo>
                      <a:pt x="239" y="600"/>
                    </a:lnTo>
                    <a:lnTo>
                      <a:pt x="237" y="600"/>
                    </a:lnTo>
                    <a:lnTo>
                      <a:pt x="236" y="599"/>
                    </a:lnTo>
                    <a:lnTo>
                      <a:pt x="234" y="599"/>
                    </a:lnTo>
                    <a:lnTo>
                      <a:pt x="234" y="597"/>
                    </a:lnTo>
                    <a:lnTo>
                      <a:pt x="234" y="596"/>
                    </a:lnTo>
                    <a:lnTo>
                      <a:pt x="234" y="594"/>
                    </a:lnTo>
                    <a:lnTo>
                      <a:pt x="236" y="593"/>
                    </a:lnTo>
                    <a:lnTo>
                      <a:pt x="236" y="591"/>
                    </a:lnTo>
                    <a:lnTo>
                      <a:pt x="236" y="589"/>
                    </a:lnTo>
                    <a:lnTo>
                      <a:pt x="236" y="588"/>
                    </a:lnTo>
                    <a:lnTo>
                      <a:pt x="237" y="586"/>
                    </a:lnTo>
                    <a:lnTo>
                      <a:pt x="237" y="585"/>
                    </a:lnTo>
                    <a:lnTo>
                      <a:pt x="239" y="585"/>
                    </a:lnTo>
                    <a:lnTo>
                      <a:pt x="239" y="583"/>
                    </a:lnTo>
                    <a:lnTo>
                      <a:pt x="239" y="581"/>
                    </a:lnTo>
                    <a:lnTo>
                      <a:pt x="239" y="580"/>
                    </a:lnTo>
                    <a:lnTo>
                      <a:pt x="237" y="578"/>
                    </a:lnTo>
                    <a:lnTo>
                      <a:pt x="237" y="577"/>
                    </a:lnTo>
                    <a:lnTo>
                      <a:pt x="237" y="575"/>
                    </a:lnTo>
                    <a:lnTo>
                      <a:pt x="236" y="574"/>
                    </a:lnTo>
                    <a:lnTo>
                      <a:pt x="236" y="572"/>
                    </a:lnTo>
                    <a:lnTo>
                      <a:pt x="236" y="570"/>
                    </a:lnTo>
                    <a:lnTo>
                      <a:pt x="234" y="569"/>
                    </a:lnTo>
                    <a:lnTo>
                      <a:pt x="234" y="567"/>
                    </a:lnTo>
                    <a:lnTo>
                      <a:pt x="234" y="566"/>
                    </a:lnTo>
                    <a:lnTo>
                      <a:pt x="234" y="564"/>
                    </a:lnTo>
                    <a:lnTo>
                      <a:pt x="232" y="564"/>
                    </a:lnTo>
                    <a:lnTo>
                      <a:pt x="232" y="562"/>
                    </a:lnTo>
                    <a:lnTo>
                      <a:pt x="232" y="561"/>
                    </a:lnTo>
                    <a:lnTo>
                      <a:pt x="232" y="559"/>
                    </a:lnTo>
                    <a:lnTo>
                      <a:pt x="232" y="558"/>
                    </a:lnTo>
                    <a:lnTo>
                      <a:pt x="232" y="556"/>
                    </a:lnTo>
                    <a:lnTo>
                      <a:pt x="232" y="555"/>
                    </a:lnTo>
                    <a:lnTo>
                      <a:pt x="231" y="556"/>
                    </a:lnTo>
                    <a:lnTo>
                      <a:pt x="231" y="555"/>
                    </a:lnTo>
                    <a:lnTo>
                      <a:pt x="229" y="555"/>
                    </a:lnTo>
                    <a:lnTo>
                      <a:pt x="228" y="555"/>
                    </a:lnTo>
                    <a:lnTo>
                      <a:pt x="226" y="555"/>
                    </a:lnTo>
                    <a:lnTo>
                      <a:pt x="226" y="553"/>
                    </a:lnTo>
                    <a:lnTo>
                      <a:pt x="224" y="553"/>
                    </a:lnTo>
                    <a:lnTo>
                      <a:pt x="224" y="551"/>
                    </a:lnTo>
                    <a:lnTo>
                      <a:pt x="223" y="551"/>
                    </a:lnTo>
                    <a:lnTo>
                      <a:pt x="223" y="550"/>
                    </a:lnTo>
                    <a:lnTo>
                      <a:pt x="223" y="548"/>
                    </a:lnTo>
                    <a:lnTo>
                      <a:pt x="221" y="548"/>
                    </a:lnTo>
                    <a:lnTo>
                      <a:pt x="221" y="547"/>
                    </a:lnTo>
                    <a:lnTo>
                      <a:pt x="220" y="547"/>
                    </a:lnTo>
                    <a:lnTo>
                      <a:pt x="218" y="545"/>
                    </a:lnTo>
                    <a:lnTo>
                      <a:pt x="217" y="543"/>
                    </a:lnTo>
                    <a:lnTo>
                      <a:pt x="215" y="543"/>
                    </a:lnTo>
                    <a:lnTo>
                      <a:pt x="215" y="542"/>
                    </a:lnTo>
                    <a:lnTo>
                      <a:pt x="213" y="542"/>
                    </a:lnTo>
                    <a:lnTo>
                      <a:pt x="212" y="540"/>
                    </a:lnTo>
                    <a:lnTo>
                      <a:pt x="210" y="539"/>
                    </a:lnTo>
                    <a:lnTo>
                      <a:pt x="209" y="537"/>
                    </a:lnTo>
                    <a:lnTo>
                      <a:pt x="207" y="535"/>
                    </a:lnTo>
                    <a:lnTo>
                      <a:pt x="205" y="534"/>
                    </a:lnTo>
                    <a:lnTo>
                      <a:pt x="204" y="532"/>
                    </a:lnTo>
                    <a:lnTo>
                      <a:pt x="202" y="532"/>
                    </a:lnTo>
                    <a:lnTo>
                      <a:pt x="201" y="532"/>
                    </a:lnTo>
                    <a:lnTo>
                      <a:pt x="199" y="532"/>
                    </a:lnTo>
                    <a:lnTo>
                      <a:pt x="199" y="531"/>
                    </a:lnTo>
                    <a:lnTo>
                      <a:pt x="198" y="531"/>
                    </a:lnTo>
                    <a:lnTo>
                      <a:pt x="196" y="529"/>
                    </a:lnTo>
                    <a:lnTo>
                      <a:pt x="194" y="529"/>
                    </a:lnTo>
                    <a:lnTo>
                      <a:pt x="194" y="528"/>
                    </a:lnTo>
                    <a:lnTo>
                      <a:pt x="193" y="528"/>
                    </a:lnTo>
                    <a:lnTo>
                      <a:pt x="191" y="528"/>
                    </a:lnTo>
                    <a:lnTo>
                      <a:pt x="191" y="526"/>
                    </a:lnTo>
                    <a:lnTo>
                      <a:pt x="190" y="526"/>
                    </a:lnTo>
                    <a:lnTo>
                      <a:pt x="190" y="524"/>
                    </a:lnTo>
                    <a:lnTo>
                      <a:pt x="188" y="524"/>
                    </a:lnTo>
                    <a:lnTo>
                      <a:pt x="188" y="523"/>
                    </a:lnTo>
                    <a:lnTo>
                      <a:pt x="186" y="521"/>
                    </a:lnTo>
                    <a:lnTo>
                      <a:pt x="185" y="521"/>
                    </a:lnTo>
                    <a:lnTo>
                      <a:pt x="185" y="520"/>
                    </a:lnTo>
                    <a:lnTo>
                      <a:pt x="185" y="518"/>
                    </a:lnTo>
                    <a:lnTo>
                      <a:pt x="183" y="518"/>
                    </a:lnTo>
                    <a:lnTo>
                      <a:pt x="183" y="516"/>
                    </a:lnTo>
                    <a:lnTo>
                      <a:pt x="182" y="516"/>
                    </a:lnTo>
                    <a:lnTo>
                      <a:pt x="182" y="515"/>
                    </a:lnTo>
                    <a:lnTo>
                      <a:pt x="180" y="515"/>
                    </a:lnTo>
                    <a:lnTo>
                      <a:pt x="180" y="513"/>
                    </a:lnTo>
                    <a:lnTo>
                      <a:pt x="179" y="513"/>
                    </a:lnTo>
                    <a:lnTo>
                      <a:pt x="179" y="512"/>
                    </a:lnTo>
                    <a:lnTo>
                      <a:pt x="177" y="510"/>
                    </a:lnTo>
                    <a:lnTo>
                      <a:pt x="175" y="509"/>
                    </a:lnTo>
                    <a:lnTo>
                      <a:pt x="174" y="509"/>
                    </a:lnTo>
                    <a:lnTo>
                      <a:pt x="174" y="507"/>
                    </a:lnTo>
                    <a:lnTo>
                      <a:pt x="172" y="507"/>
                    </a:lnTo>
                    <a:lnTo>
                      <a:pt x="171" y="505"/>
                    </a:lnTo>
                    <a:lnTo>
                      <a:pt x="169" y="505"/>
                    </a:lnTo>
                    <a:lnTo>
                      <a:pt x="169" y="504"/>
                    </a:lnTo>
                    <a:lnTo>
                      <a:pt x="167" y="504"/>
                    </a:lnTo>
                    <a:lnTo>
                      <a:pt x="167" y="502"/>
                    </a:lnTo>
                    <a:lnTo>
                      <a:pt x="166" y="502"/>
                    </a:lnTo>
                    <a:lnTo>
                      <a:pt x="164" y="501"/>
                    </a:lnTo>
                    <a:lnTo>
                      <a:pt x="163" y="499"/>
                    </a:lnTo>
                    <a:lnTo>
                      <a:pt x="161" y="497"/>
                    </a:lnTo>
                    <a:lnTo>
                      <a:pt x="160" y="497"/>
                    </a:lnTo>
                    <a:lnTo>
                      <a:pt x="160" y="496"/>
                    </a:lnTo>
                    <a:lnTo>
                      <a:pt x="158" y="496"/>
                    </a:lnTo>
                    <a:lnTo>
                      <a:pt x="158" y="494"/>
                    </a:lnTo>
                    <a:lnTo>
                      <a:pt x="156" y="494"/>
                    </a:lnTo>
                    <a:lnTo>
                      <a:pt x="155" y="493"/>
                    </a:lnTo>
                    <a:lnTo>
                      <a:pt x="153" y="493"/>
                    </a:lnTo>
                    <a:lnTo>
                      <a:pt x="153" y="491"/>
                    </a:lnTo>
                    <a:lnTo>
                      <a:pt x="152" y="491"/>
                    </a:lnTo>
                    <a:lnTo>
                      <a:pt x="150" y="490"/>
                    </a:lnTo>
                    <a:lnTo>
                      <a:pt x="148" y="490"/>
                    </a:lnTo>
                    <a:lnTo>
                      <a:pt x="147" y="490"/>
                    </a:lnTo>
                    <a:lnTo>
                      <a:pt x="145" y="490"/>
                    </a:lnTo>
                    <a:lnTo>
                      <a:pt x="144" y="490"/>
                    </a:lnTo>
                    <a:lnTo>
                      <a:pt x="144" y="488"/>
                    </a:lnTo>
                    <a:lnTo>
                      <a:pt x="142" y="488"/>
                    </a:lnTo>
                    <a:lnTo>
                      <a:pt x="140" y="488"/>
                    </a:lnTo>
                    <a:lnTo>
                      <a:pt x="139" y="488"/>
                    </a:lnTo>
                    <a:lnTo>
                      <a:pt x="137" y="486"/>
                    </a:lnTo>
                    <a:lnTo>
                      <a:pt x="136" y="486"/>
                    </a:lnTo>
                    <a:lnTo>
                      <a:pt x="134" y="486"/>
                    </a:lnTo>
                    <a:lnTo>
                      <a:pt x="133" y="486"/>
                    </a:lnTo>
                    <a:lnTo>
                      <a:pt x="131" y="486"/>
                    </a:lnTo>
                    <a:lnTo>
                      <a:pt x="129" y="486"/>
                    </a:lnTo>
                    <a:lnTo>
                      <a:pt x="128" y="486"/>
                    </a:lnTo>
                    <a:lnTo>
                      <a:pt x="126" y="485"/>
                    </a:lnTo>
                    <a:lnTo>
                      <a:pt x="125" y="485"/>
                    </a:lnTo>
                    <a:lnTo>
                      <a:pt x="123" y="483"/>
                    </a:lnTo>
                    <a:lnTo>
                      <a:pt x="121" y="483"/>
                    </a:lnTo>
                    <a:lnTo>
                      <a:pt x="118" y="483"/>
                    </a:lnTo>
                    <a:lnTo>
                      <a:pt x="115" y="483"/>
                    </a:lnTo>
                    <a:lnTo>
                      <a:pt x="114" y="482"/>
                    </a:lnTo>
                    <a:lnTo>
                      <a:pt x="112" y="482"/>
                    </a:lnTo>
                    <a:lnTo>
                      <a:pt x="109" y="482"/>
                    </a:lnTo>
                    <a:lnTo>
                      <a:pt x="106" y="480"/>
                    </a:lnTo>
                    <a:lnTo>
                      <a:pt x="102" y="480"/>
                    </a:lnTo>
                    <a:lnTo>
                      <a:pt x="99" y="478"/>
                    </a:lnTo>
                    <a:lnTo>
                      <a:pt x="98" y="478"/>
                    </a:lnTo>
                    <a:lnTo>
                      <a:pt x="95" y="477"/>
                    </a:lnTo>
                    <a:lnTo>
                      <a:pt x="93" y="477"/>
                    </a:lnTo>
                    <a:lnTo>
                      <a:pt x="91" y="477"/>
                    </a:lnTo>
                    <a:lnTo>
                      <a:pt x="90" y="477"/>
                    </a:lnTo>
                    <a:lnTo>
                      <a:pt x="88" y="477"/>
                    </a:lnTo>
                    <a:lnTo>
                      <a:pt x="88" y="475"/>
                    </a:lnTo>
                    <a:lnTo>
                      <a:pt x="87" y="475"/>
                    </a:lnTo>
                    <a:lnTo>
                      <a:pt x="85" y="475"/>
                    </a:lnTo>
                    <a:lnTo>
                      <a:pt x="83" y="475"/>
                    </a:lnTo>
                    <a:lnTo>
                      <a:pt x="82" y="474"/>
                    </a:lnTo>
                    <a:lnTo>
                      <a:pt x="79" y="472"/>
                    </a:lnTo>
                    <a:lnTo>
                      <a:pt x="77" y="472"/>
                    </a:lnTo>
                    <a:lnTo>
                      <a:pt x="76" y="472"/>
                    </a:lnTo>
                    <a:lnTo>
                      <a:pt x="74" y="471"/>
                    </a:lnTo>
                    <a:lnTo>
                      <a:pt x="72" y="471"/>
                    </a:lnTo>
                    <a:lnTo>
                      <a:pt x="71" y="469"/>
                    </a:lnTo>
                    <a:lnTo>
                      <a:pt x="69" y="467"/>
                    </a:lnTo>
                    <a:lnTo>
                      <a:pt x="68" y="467"/>
                    </a:lnTo>
                    <a:lnTo>
                      <a:pt x="66" y="467"/>
                    </a:lnTo>
                    <a:lnTo>
                      <a:pt x="63" y="466"/>
                    </a:lnTo>
                    <a:lnTo>
                      <a:pt x="58" y="464"/>
                    </a:lnTo>
                    <a:lnTo>
                      <a:pt x="52" y="459"/>
                    </a:lnTo>
                    <a:lnTo>
                      <a:pt x="47" y="456"/>
                    </a:lnTo>
                    <a:lnTo>
                      <a:pt x="39" y="450"/>
                    </a:lnTo>
                    <a:lnTo>
                      <a:pt x="34" y="447"/>
                    </a:lnTo>
                    <a:lnTo>
                      <a:pt x="30" y="440"/>
                    </a:lnTo>
                    <a:lnTo>
                      <a:pt x="22" y="436"/>
                    </a:lnTo>
                    <a:lnTo>
                      <a:pt x="19" y="433"/>
                    </a:lnTo>
                    <a:lnTo>
                      <a:pt x="14" y="428"/>
                    </a:lnTo>
                    <a:lnTo>
                      <a:pt x="6" y="425"/>
                    </a:lnTo>
                    <a:lnTo>
                      <a:pt x="4" y="423"/>
                    </a:lnTo>
                    <a:lnTo>
                      <a:pt x="3" y="423"/>
                    </a:lnTo>
                    <a:lnTo>
                      <a:pt x="1" y="420"/>
                    </a:lnTo>
                    <a:lnTo>
                      <a:pt x="0" y="418"/>
                    </a:lnTo>
                    <a:lnTo>
                      <a:pt x="1" y="415"/>
                    </a:lnTo>
                    <a:lnTo>
                      <a:pt x="3" y="407"/>
                    </a:lnTo>
                    <a:lnTo>
                      <a:pt x="3" y="402"/>
                    </a:lnTo>
                    <a:lnTo>
                      <a:pt x="6" y="401"/>
                    </a:lnTo>
                    <a:lnTo>
                      <a:pt x="6" y="398"/>
                    </a:lnTo>
                    <a:lnTo>
                      <a:pt x="7" y="396"/>
                    </a:lnTo>
                    <a:lnTo>
                      <a:pt x="22" y="355"/>
                    </a:lnTo>
                    <a:lnTo>
                      <a:pt x="22" y="352"/>
                    </a:lnTo>
                    <a:lnTo>
                      <a:pt x="22" y="350"/>
                    </a:lnTo>
                    <a:lnTo>
                      <a:pt x="22" y="347"/>
                    </a:lnTo>
                    <a:lnTo>
                      <a:pt x="22" y="344"/>
                    </a:lnTo>
                    <a:lnTo>
                      <a:pt x="22" y="341"/>
                    </a:lnTo>
                    <a:lnTo>
                      <a:pt x="22" y="339"/>
                    </a:lnTo>
                    <a:lnTo>
                      <a:pt x="23" y="334"/>
                    </a:lnTo>
                    <a:lnTo>
                      <a:pt x="23" y="330"/>
                    </a:lnTo>
                    <a:lnTo>
                      <a:pt x="23" y="323"/>
                    </a:lnTo>
                    <a:lnTo>
                      <a:pt x="23" y="318"/>
                    </a:lnTo>
                    <a:lnTo>
                      <a:pt x="26" y="315"/>
                    </a:lnTo>
                    <a:lnTo>
                      <a:pt x="28" y="312"/>
                    </a:lnTo>
                    <a:lnTo>
                      <a:pt x="31" y="309"/>
                    </a:lnTo>
                    <a:lnTo>
                      <a:pt x="36" y="307"/>
                    </a:lnTo>
                    <a:lnTo>
                      <a:pt x="42" y="306"/>
                    </a:lnTo>
                    <a:lnTo>
                      <a:pt x="47" y="304"/>
                    </a:lnTo>
                    <a:lnTo>
                      <a:pt x="66" y="298"/>
                    </a:lnTo>
                    <a:lnTo>
                      <a:pt x="69" y="298"/>
                    </a:lnTo>
                    <a:lnTo>
                      <a:pt x="69" y="299"/>
                    </a:lnTo>
                    <a:lnTo>
                      <a:pt x="71" y="299"/>
                    </a:lnTo>
                    <a:lnTo>
                      <a:pt x="72" y="298"/>
                    </a:lnTo>
                    <a:lnTo>
                      <a:pt x="74" y="298"/>
                    </a:lnTo>
                    <a:lnTo>
                      <a:pt x="77" y="298"/>
                    </a:lnTo>
                    <a:lnTo>
                      <a:pt x="83" y="299"/>
                    </a:lnTo>
                    <a:lnTo>
                      <a:pt x="85" y="298"/>
                    </a:lnTo>
                    <a:lnTo>
                      <a:pt x="87" y="298"/>
                    </a:lnTo>
                    <a:lnTo>
                      <a:pt x="88" y="298"/>
                    </a:lnTo>
                    <a:lnTo>
                      <a:pt x="90" y="298"/>
                    </a:lnTo>
                    <a:lnTo>
                      <a:pt x="90" y="299"/>
                    </a:lnTo>
                    <a:lnTo>
                      <a:pt x="91" y="301"/>
                    </a:lnTo>
                    <a:lnTo>
                      <a:pt x="93" y="303"/>
                    </a:lnTo>
                    <a:lnTo>
                      <a:pt x="98" y="303"/>
                    </a:lnTo>
                    <a:lnTo>
                      <a:pt x="99" y="303"/>
                    </a:lnTo>
                    <a:lnTo>
                      <a:pt x="102" y="301"/>
                    </a:lnTo>
                    <a:lnTo>
                      <a:pt x="104" y="303"/>
                    </a:lnTo>
                    <a:lnTo>
                      <a:pt x="106" y="303"/>
                    </a:lnTo>
                    <a:lnTo>
                      <a:pt x="107" y="303"/>
                    </a:lnTo>
                    <a:lnTo>
                      <a:pt x="109" y="301"/>
                    </a:lnTo>
                    <a:lnTo>
                      <a:pt x="110" y="301"/>
                    </a:lnTo>
                    <a:lnTo>
                      <a:pt x="110" y="299"/>
                    </a:lnTo>
                    <a:lnTo>
                      <a:pt x="112" y="299"/>
                    </a:lnTo>
                    <a:lnTo>
                      <a:pt x="115" y="299"/>
                    </a:lnTo>
                    <a:lnTo>
                      <a:pt x="117" y="299"/>
                    </a:lnTo>
                    <a:lnTo>
                      <a:pt x="118" y="298"/>
                    </a:lnTo>
                    <a:lnTo>
                      <a:pt x="120" y="298"/>
                    </a:lnTo>
                    <a:lnTo>
                      <a:pt x="121" y="298"/>
                    </a:lnTo>
                    <a:lnTo>
                      <a:pt x="123" y="298"/>
                    </a:lnTo>
                    <a:lnTo>
                      <a:pt x="125" y="296"/>
                    </a:lnTo>
                    <a:lnTo>
                      <a:pt x="126" y="296"/>
                    </a:lnTo>
                    <a:lnTo>
                      <a:pt x="128" y="295"/>
                    </a:lnTo>
                    <a:lnTo>
                      <a:pt x="131" y="293"/>
                    </a:lnTo>
                    <a:lnTo>
                      <a:pt x="134" y="293"/>
                    </a:lnTo>
                    <a:lnTo>
                      <a:pt x="136" y="293"/>
                    </a:lnTo>
                    <a:lnTo>
                      <a:pt x="137" y="293"/>
                    </a:lnTo>
                    <a:lnTo>
                      <a:pt x="139" y="293"/>
                    </a:lnTo>
                    <a:lnTo>
                      <a:pt x="140" y="293"/>
                    </a:lnTo>
                    <a:lnTo>
                      <a:pt x="142" y="292"/>
                    </a:lnTo>
                    <a:lnTo>
                      <a:pt x="144" y="292"/>
                    </a:lnTo>
                    <a:lnTo>
                      <a:pt x="145" y="292"/>
                    </a:lnTo>
                    <a:lnTo>
                      <a:pt x="147" y="292"/>
                    </a:lnTo>
                    <a:lnTo>
                      <a:pt x="148" y="292"/>
                    </a:lnTo>
                    <a:lnTo>
                      <a:pt x="152" y="293"/>
                    </a:lnTo>
                    <a:lnTo>
                      <a:pt x="153" y="292"/>
                    </a:lnTo>
                    <a:lnTo>
                      <a:pt x="155" y="292"/>
                    </a:lnTo>
                    <a:lnTo>
                      <a:pt x="160" y="290"/>
                    </a:lnTo>
                    <a:lnTo>
                      <a:pt x="164" y="288"/>
                    </a:lnTo>
                    <a:lnTo>
                      <a:pt x="166" y="288"/>
                    </a:lnTo>
                    <a:lnTo>
                      <a:pt x="167" y="288"/>
                    </a:lnTo>
                    <a:lnTo>
                      <a:pt x="169" y="288"/>
                    </a:lnTo>
                    <a:lnTo>
                      <a:pt x="174" y="288"/>
                    </a:lnTo>
                    <a:lnTo>
                      <a:pt x="175" y="288"/>
                    </a:lnTo>
                    <a:lnTo>
                      <a:pt x="179" y="287"/>
                    </a:lnTo>
                    <a:lnTo>
                      <a:pt x="182" y="287"/>
                    </a:lnTo>
                    <a:lnTo>
                      <a:pt x="183" y="287"/>
                    </a:lnTo>
                    <a:lnTo>
                      <a:pt x="185" y="287"/>
                    </a:lnTo>
                    <a:lnTo>
                      <a:pt x="186" y="287"/>
                    </a:lnTo>
                    <a:lnTo>
                      <a:pt x="188" y="288"/>
                    </a:lnTo>
                    <a:lnTo>
                      <a:pt x="188" y="287"/>
                    </a:lnTo>
                    <a:lnTo>
                      <a:pt x="188" y="285"/>
                    </a:lnTo>
                    <a:lnTo>
                      <a:pt x="188" y="284"/>
                    </a:lnTo>
                    <a:lnTo>
                      <a:pt x="188" y="282"/>
                    </a:lnTo>
                    <a:lnTo>
                      <a:pt x="188" y="280"/>
                    </a:lnTo>
                    <a:lnTo>
                      <a:pt x="188" y="279"/>
                    </a:lnTo>
                    <a:lnTo>
                      <a:pt x="188" y="277"/>
                    </a:lnTo>
                    <a:lnTo>
                      <a:pt x="186" y="276"/>
                    </a:lnTo>
                    <a:lnTo>
                      <a:pt x="186" y="274"/>
                    </a:lnTo>
                    <a:lnTo>
                      <a:pt x="185" y="274"/>
                    </a:lnTo>
                    <a:lnTo>
                      <a:pt x="185" y="273"/>
                    </a:lnTo>
                    <a:lnTo>
                      <a:pt x="185" y="271"/>
                    </a:lnTo>
                    <a:lnTo>
                      <a:pt x="183" y="271"/>
                    </a:lnTo>
                    <a:lnTo>
                      <a:pt x="183" y="269"/>
                    </a:lnTo>
                    <a:lnTo>
                      <a:pt x="183" y="268"/>
                    </a:lnTo>
                    <a:lnTo>
                      <a:pt x="182" y="268"/>
                    </a:lnTo>
                    <a:lnTo>
                      <a:pt x="182" y="266"/>
                    </a:lnTo>
                    <a:lnTo>
                      <a:pt x="182" y="265"/>
                    </a:lnTo>
                    <a:lnTo>
                      <a:pt x="180" y="263"/>
                    </a:lnTo>
                    <a:lnTo>
                      <a:pt x="180" y="261"/>
                    </a:lnTo>
                    <a:lnTo>
                      <a:pt x="179" y="261"/>
                    </a:lnTo>
                    <a:lnTo>
                      <a:pt x="179" y="260"/>
                    </a:lnTo>
                    <a:lnTo>
                      <a:pt x="179" y="258"/>
                    </a:lnTo>
                    <a:lnTo>
                      <a:pt x="177" y="257"/>
                    </a:lnTo>
                    <a:lnTo>
                      <a:pt x="177" y="255"/>
                    </a:lnTo>
                    <a:lnTo>
                      <a:pt x="175" y="254"/>
                    </a:lnTo>
                    <a:lnTo>
                      <a:pt x="175" y="252"/>
                    </a:lnTo>
                    <a:lnTo>
                      <a:pt x="175" y="250"/>
                    </a:lnTo>
                    <a:lnTo>
                      <a:pt x="175" y="249"/>
                    </a:lnTo>
                    <a:lnTo>
                      <a:pt x="174" y="249"/>
                    </a:lnTo>
                    <a:lnTo>
                      <a:pt x="174" y="247"/>
                    </a:lnTo>
                    <a:lnTo>
                      <a:pt x="174" y="246"/>
                    </a:lnTo>
                    <a:lnTo>
                      <a:pt x="174" y="244"/>
                    </a:lnTo>
                    <a:lnTo>
                      <a:pt x="172" y="244"/>
                    </a:lnTo>
                    <a:lnTo>
                      <a:pt x="172" y="242"/>
                    </a:lnTo>
                    <a:lnTo>
                      <a:pt x="172" y="241"/>
                    </a:lnTo>
                    <a:lnTo>
                      <a:pt x="172" y="239"/>
                    </a:lnTo>
                    <a:lnTo>
                      <a:pt x="172" y="238"/>
                    </a:lnTo>
                    <a:lnTo>
                      <a:pt x="171" y="238"/>
                    </a:lnTo>
                    <a:lnTo>
                      <a:pt x="171" y="236"/>
                    </a:lnTo>
                    <a:lnTo>
                      <a:pt x="171" y="235"/>
                    </a:lnTo>
                    <a:lnTo>
                      <a:pt x="171" y="233"/>
                    </a:lnTo>
                    <a:lnTo>
                      <a:pt x="169" y="233"/>
                    </a:lnTo>
                    <a:lnTo>
                      <a:pt x="169" y="231"/>
                    </a:lnTo>
                    <a:lnTo>
                      <a:pt x="167" y="230"/>
                    </a:lnTo>
                    <a:lnTo>
                      <a:pt x="167" y="228"/>
                    </a:lnTo>
                    <a:lnTo>
                      <a:pt x="167" y="227"/>
                    </a:lnTo>
                    <a:lnTo>
                      <a:pt x="166" y="227"/>
                    </a:lnTo>
                    <a:lnTo>
                      <a:pt x="166" y="225"/>
                    </a:lnTo>
                    <a:lnTo>
                      <a:pt x="166" y="223"/>
                    </a:lnTo>
                    <a:lnTo>
                      <a:pt x="166" y="222"/>
                    </a:lnTo>
                    <a:lnTo>
                      <a:pt x="164" y="222"/>
                    </a:lnTo>
                    <a:lnTo>
                      <a:pt x="164" y="220"/>
                    </a:lnTo>
                    <a:lnTo>
                      <a:pt x="164" y="219"/>
                    </a:lnTo>
                    <a:lnTo>
                      <a:pt x="163" y="217"/>
                    </a:lnTo>
                    <a:lnTo>
                      <a:pt x="163" y="216"/>
                    </a:lnTo>
                    <a:lnTo>
                      <a:pt x="163" y="214"/>
                    </a:lnTo>
                    <a:lnTo>
                      <a:pt x="163" y="212"/>
                    </a:lnTo>
                    <a:lnTo>
                      <a:pt x="163" y="211"/>
                    </a:lnTo>
                    <a:lnTo>
                      <a:pt x="163" y="209"/>
                    </a:lnTo>
                    <a:lnTo>
                      <a:pt x="163" y="208"/>
                    </a:lnTo>
                    <a:lnTo>
                      <a:pt x="163" y="206"/>
                    </a:lnTo>
                    <a:lnTo>
                      <a:pt x="164" y="204"/>
                    </a:lnTo>
                    <a:lnTo>
                      <a:pt x="164" y="203"/>
                    </a:lnTo>
                    <a:lnTo>
                      <a:pt x="166" y="203"/>
                    </a:lnTo>
                    <a:lnTo>
                      <a:pt x="167" y="203"/>
                    </a:lnTo>
                    <a:lnTo>
                      <a:pt x="167" y="201"/>
                    </a:lnTo>
                    <a:lnTo>
                      <a:pt x="167" y="200"/>
                    </a:lnTo>
                    <a:lnTo>
                      <a:pt x="169" y="198"/>
                    </a:lnTo>
                    <a:lnTo>
                      <a:pt x="169" y="197"/>
                    </a:lnTo>
                    <a:lnTo>
                      <a:pt x="171" y="197"/>
                    </a:lnTo>
                    <a:lnTo>
                      <a:pt x="172" y="197"/>
                    </a:lnTo>
                    <a:lnTo>
                      <a:pt x="172" y="195"/>
                    </a:lnTo>
                    <a:lnTo>
                      <a:pt x="174" y="193"/>
                    </a:lnTo>
                    <a:lnTo>
                      <a:pt x="174" y="192"/>
                    </a:lnTo>
                    <a:lnTo>
                      <a:pt x="175" y="192"/>
                    </a:lnTo>
                    <a:lnTo>
                      <a:pt x="175" y="190"/>
                    </a:lnTo>
                    <a:lnTo>
                      <a:pt x="175" y="189"/>
                    </a:lnTo>
                    <a:lnTo>
                      <a:pt x="177" y="189"/>
                    </a:lnTo>
                    <a:lnTo>
                      <a:pt x="177" y="187"/>
                    </a:lnTo>
                    <a:lnTo>
                      <a:pt x="179" y="187"/>
                    </a:lnTo>
                    <a:lnTo>
                      <a:pt x="179" y="185"/>
                    </a:lnTo>
                    <a:lnTo>
                      <a:pt x="177" y="185"/>
                    </a:lnTo>
                    <a:lnTo>
                      <a:pt x="179" y="184"/>
                    </a:lnTo>
                    <a:lnTo>
                      <a:pt x="179" y="185"/>
                    </a:lnTo>
                    <a:lnTo>
                      <a:pt x="180" y="185"/>
                    </a:lnTo>
                    <a:lnTo>
                      <a:pt x="182" y="185"/>
                    </a:lnTo>
                    <a:lnTo>
                      <a:pt x="182" y="184"/>
                    </a:lnTo>
                    <a:lnTo>
                      <a:pt x="182" y="182"/>
                    </a:lnTo>
                    <a:lnTo>
                      <a:pt x="183" y="182"/>
                    </a:lnTo>
                    <a:lnTo>
                      <a:pt x="183" y="181"/>
                    </a:lnTo>
                    <a:lnTo>
                      <a:pt x="185" y="182"/>
                    </a:lnTo>
                    <a:lnTo>
                      <a:pt x="186" y="181"/>
                    </a:lnTo>
                    <a:lnTo>
                      <a:pt x="188" y="181"/>
                    </a:lnTo>
                    <a:lnTo>
                      <a:pt x="188" y="179"/>
                    </a:lnTo>
                    <a:lnTo>
                      <a:pt x="190" y="178"/>
                    </a:lnTo>
                    <a:lnTo>
                      <a:pt x="188" y="178"/>
                    </a:lnTo>
                    <a:lnTo>
                      <a:pt x="190" y="178"/>
                    </a:lnTo>
                    <a:lnTo>
                      <a:pt x="191" y="176"/>
                    </a:lnTo>
                    <a:lnTo>
                      <a:pt x="191" y="174"/>
                    </a:lnTo>
                    <a:lnTo>
                      <a:pt x="193" y="174"/>
                    </a:lnTo>
                    <a:lnTo>
                      <a:pt x="193" y="176"/>
                    </a:lnTo>
                    <a:lnTo>
                      <a:pt x="194" y="174"/>
                    </a:lnTo>
                    <a:lnTo>
                      <a:pt x="196" y="176"/>
                    </a:lnTo>
                    <a:lnTo>
                      <a:pt x="194" y="176"/>
                    </a:lnTo>
                    <a:lnTo>
                      <a:pt x="194" y="178"/>
                    </a:lnTo>
                    <a:lnTo>
                      <a:pt x="196" y="179"/>
                    </a:lnTo>
                    <a:lnTo>
                      <a:pt x="198" y="179"/>
                    </a:lnTo>
                    <a:lnTo>
                      <a:pt x="198" y="178"/>
                    </a:lnTo>
                    <a:lnTo>
                      <a:pt x="199" y="178"/>
                    </a:lnTo>
                    <a:lnTo>
                      <a:pt x="201" y="178"/>
                    </a:lnTo>
                    <a:lnTo>
                      <a:pt x="202" y="178"/>
                    </a:lnTo>
                    <a:lnTo>
                      <a:pt x="204" y="178"/>
                    </a:lnTo>
                    <a:lnTo>
                      <a:pt x="205" y="178"/>
                    </a:lnTo>
                    <a:lnTo>
                      <a:pt x="207" y="176"/>
                    </a:lnTo>
                    <a:lnTo>
                      <a:pt x="209" y="174"/>
                    </a:lnTo>
                    <a:lnTo>
                      <a:pt x="209" y="173"/>
                    </a:lnTo>
                    <a:lnTo>
                      <a:pt x="209" y="171"/>
                    </a:lnTo>
                    <a:lnTo>
                      <a:pt x="210" y="171"/>
                    </a:lnTo>
                    <a:lnTo>
                      <a:pt x="210" y="170"/>
                    </a:lnTo>
                    <a:lnTo>
                      <a:pt x="210" y="168"/>
                    </a:lnTo>
                    <a:lnTo>
                      <a:pt x="209" y="166"/>
                    </a:lnTo>
                    <a:lnTo>
                      <a:pt x="210" y="165"/>
                    </a:lnTo>
                    <a:lnTo>
                      <a:pt x="212" y="165"/>
                    </a:lnTo>
                    <a:lnTo>
                      <a:pt x="213" y="165"/>
                    </a:lnTo>
                    <a:lnTo>
                      <a:pt x="213" y="163"/>
                    </a:lnTo>
                    <a:lnTo>
                      <a:pt x="213" y="162"/>
                    </a:lnTo>
                    <a:lnTo>
                      <a:pt x="213" y="160"/>
                    </a:lnTo>
                    <a:lnTo>
                      <a:pt x="215" y="160"/>
                    </a:lnTo>
                    <a:lnTo>
                      <a:pt x="215" y="158"/>
                    </a:lnTo>
                    <a:lnTo>
                      <a:pt x="215" y="157"/>
                    </a:lnTo>
                    <a:lnTo>
                      <a:pt x="217" y="155"/>
                    </a:lnTo>
                    <a:lnTo>
                      <a:pt x="218" y="155"/>
                    </a:lnTo>
                    <a:lnTo>
                      <a:pt x="220" y="155"/>
                    </a:lnTo>
                    <a:lnTo>
                      <a:pt x="220" y="154"/>
                    </a:lnTo>
                    <a:lnTo>
                      <a:pt x="221" y="154"/>
                    </a:lnTo>
                    <a:lnTo>
                      <a:pt x="221" y="152"/>
                    </a:lnTo>
                    <a:lnTo>
                      <a:pt x="223" y="152"/>
                    </a:lnTo>
                    <a:lnTo>
                      <a:pt x="223" y="151"/>
                    </a:lnTo>
                    <a:lnTo>
                      <a:pt x="223" y="149"/>
                    </a:lnTo>
                    <a:lnTo>
                      <a:pt x="223" y="147"/>
                    </a:lnTo>
                    <a:lnTo>
                      <a:pt x="223" y="146"/>
                    </a:lnTo>
                    <a:lnTo>
                      <a:pt x="224" y="144"/>
                    </a:lnTo>
                    <a:lnTo>
                      <a:pt x="226" y="144"/>
                    </a:lnTo>
                    <a:lnTo>
                      <a:pt x="226" y="143"/>
                    </a:lnTo>
                    <a:lnTo>
                      <a:pt x="226" y="141"/>
                    </a:lnTo>
                    <a:lnTo>
                      <a:pt x="228" y="141"/>
                    </a:lnTo>
                    <a:lnTo>
                      <a:pt x="229" y="139"/>
                    </a:lnTo>
                    <a:lnTo>
                      <a:pt x="228" y="138"/>
                    </a:lnTo>
                    <a:lnTo>
                      <a:pt x="228" y="136"/>
                    </a:lnTo>
                    <a:lnTo>
                      <a:pt x="229" y="136"/>
                    </a:lnTo>
                    <a:lnTo>
                      <a:pt x="229" y="135"/>
                    </a:lnTo>
                    <a:lnTo>
                      <a:pt x="229" y="133"/>
                    </a:lnTo>
                    <a:lnTo>
                      <a:pt x="231" y="133"/>
                    </a:lnTo>
                    <a:lnTo>
                      <a:pt x="232" y="133"/>
                    </a:lnTo>
                    <a:lnTo>
                      <a:pt x="234" y="133"/>
                    </a:lnTo>
                    <a:lnTo>
                      <a:pt x="232" y="132"/>
                    </a:lnTo>
                    <a:lnTo>
                      <a:pt x="234" y="132"/>
                    </a:lnTo>
                    <a:lnTo>
                      <a:pt x="232" y="130"/>
                    </a:lnTo>
                    <a:lnTo>
                      <a:pt x="234" y="128"/>
                    </a:lnTo>
                    <a:lnTo>
                      <a:pt x="234" y="127"/>
                    </a:lnTo>
                    <a:lnTo>
                      <a:pt x="232" y="127"/>
                    </a:lnTo>
                    <a:lnTo>
                      <a:pt x="232" y="125"/>
                    </a:lnTo>
                    <a:lnTo>
                      <a:pt x="231" y="125"/>
                    </a:lnTo>
                    <a:lnTo>
                      <a:pt x="229" y="125"/>
                    </a:lnTo>
                    <a:lnTo>
                      <a:pt x="229" y="124"/>
                    </a:lnTo>
                    <a:lnTo>
                      <a:pt x="229" y="122"/>
                    </a:lnTo>
                    <a:lnTo>
                      <a:pt x="229" y="120"/>
                    </a:lnTo>
                    <a:lnTo>
                      <a:pt x="229" y="119"/>
                    </a:lnTo>
                    <a:lnTo>
                      <a:pt x="229" y="117"/>
                    </a:lnTo>
                    <a:lnTo>
                      <a:pt x="229" y="116"/>
                    </a:lnTo>
                    <a:lnTo>
                      <a:pt x="228" y="114"/>
                    </a:lnTo>
                    <a:lnTo>
                      <a:pt x="228" y="113"/>
                    </a:lnTo>
                    <a:lnTo>
                      <a:pt x="228" y="111"/>
                    </a:lnTo>
                    <a:lnTo>
                      <a:pt x="228" y="109"/>
                    </a:lnTo>
                    <a:lnTo>
                      <a:pt x="228" y="108"/>
                    </a:lnTo>
                    <a:lnTo>
                      <a:pt x="228" y="106"/>
                    </a:lnTo>
                    <a:lnTo>
                      <a:pt x="226" y="106"/>
                    </a:lnTo>
                    <a:lnTo>
                      <a:pt x="226" y="105"/>
                    </a:lnTo>
                    <a:lnTo>
                      <a:pt x="224" y="105"/>
                    </a:lnTo>
                    <a:lnTo>
                      <a:pt x="223" y="105"/>
                    </a:lnTo>
                    <a:lnTo>
                      <a:pt x="221" y="105"/>
                    </a:lnTo>
                    <a:lnTo>
                      <a:pt x="220" y="105"/>
                    </a:lnTo>
                    <a:lnTo>
                      <a:pt x="218" y="105"/>
                    </a:lnTo>
                    <a:lnTo>
                      <a:pt x="217" y="105"/>
                    </a:lnTo>
                    <a:lnTo>
                      <a:pt x="217" y="106"/>
                    </a:lnTo>
                    <a:lnTo>
                      <a:pt x="215" y="106"/>
                    </a:lnTo>
                    <a:lnTo>
                      <a:pt x="213" y="106"/>
                    </a:lnTo>
                    <a:lnTo>
                      <a:pt x="213" y="105"/>
                    </a:lnTo>
                    <a:lnTo>
                      <a:pt x="212" y="105"/>
                    </a:lnTo>
                    <a:lnTo>
                      <a:pt x="212" y="103"/>
                    </a:lnTo>
                    <a:lnTo>
                      <a:pt x="210" y="103"/>
                    </a:lnTo>
                    <a:lnTo>
                      <a:pt x="210" y="101"/>
                    </a:lnTo>
                    <a:lnTo>
                      <a:pt x="209" y="100"/>
                    </a:lnTo>
                    <a:lnTo>
                      <a:pt x="207" y="100"/>
                    </a:lnTo>
                    <a:lnTo>
                      <a:pt x="202" y="101"/>
                    </a:lnTo>
                    <a:lnTo>
                      <a:pt x="201" y="101"/>
                    </a:lnTo>
                    <a:lnTo>
                      <a:pt x="199" y="101"/>
                    </a:lnTo>
                    <a:lnTo>
                      <a:pt x="198" y="103"/>
                    </a:lnTo>
                    <a:lnTo>
                      <a:pt x="194" y="105"/>
                    </a:lnTo>
                    <a:lnTo>
                      <a:pt x="193" y="106"/>
                    </a:lnTo>
                    <a:lnTo>
                      <a:pt x="191" y="106"/>
                    </a:lnTo>
                    <a:lnTo>
                      <a:pt x="190" y="105"/>
                    </a:lnTo>
                    <a:lnTo>
                      <a:pt x="190" y="103"/>
                    </a:lnTo>
                    <a:lnTo>
                      <a:pt x="188" y="101"/>
                    </a:lnTo>
                    <a:lnTo>
                      <a:pt x="186" y="101"/>
                    </a:lnTo>
                    <a:lnTo>
                      <a:pt x="186" y="100"/>
                    </a:lnTo>
                    <a:lnTo>
                      <a:pt x="185" y="98"/>
                    </a:lnTo>
                    <a:lnTo>
                      <a:pt x="182" y="97"/>
                    </a:lnTo>
                    <a:lnTo>
                      <a:pt x="182" y="95"/>
                    </a:lnTo>
                    <a:lnTo>
                      <a:pt x="180" y="95"/>
                    </a:lnTo>
                    <a:lnTo>
                      <a:pt x="179" y="95"/>
                    </a:lnTo>
                    <a:lnTo>
                      <a:pt x="177" y="97"/>
                    </a:lnTo>
                    <a:lnTo>
                      <a:pt x="175" y="97"/>
                    </a:lnTo>
                    <a:lnTo>
                      <a:pt x="172" y="97"/>
                    </a:lnTo>
                    <a:lnTo>
                      <a:pt x="169" y="95"/>
                    </a:lnTo>
                    <a:lnTo>
                      <a:pt x="164" y="95"/>
                    </a:lnTo>
                    <a:lnTo>
                      <a:pt x="164" y="94"/>
                    </a:lnTo>
                    <a:lnTo>
                      <a:pt x="164" y="90"/>
                    </a:lnTo>
                    <a:lnTo>
                      <a:pt x="164" y="87"/>
                    </a:lnTo>
                    <a:lnTo>
                      <a:pt x="164" y="86"/>
                    </a:lnTo>
                    <a:lnTo>
                      <a:pt x="163" y="84"/>
                    </a:lnTo>
                    <a:lnTo>
                      <a:pt x="163" y="82"/>
                    </a:lnTo>
                    <a:lnTo>
                      <a:pt x="161" y="82"/>
                    </a:lnTo>
                    <a:lnTo>
                      <a:pt x="160" y="82"/>
                    </a:lnTo>
                    <a:lnTo>
                      <a:pt x="160" y="81"/>
                    </a:lnTo>
                    <a:lnTo>
                      <a:pt x="160" y="79"/>
                    </a:lnTo>
                    <a:lnTo>
                      <a:pt x="160" y="78"/>
                    </a:lnTo>
                    <a:lnTo>
                      <a:pt x="160" y="76"/>
                    </a:lnTo>
                    <a:lnTo>
                      <a:pt x="160" y="75"/>
                    </a:lnTo>
                    <a:lnTo>
                      <a:pt x="160" y="70"/>
                    </a:lnTo>
                    <a:lnTo>
                      <a:pt x="160" y="68"/>
                    </a:lnTo>
                    <a:lnTo>
                      <a:pt x="160" y="63"/>
                    </a:lnTo>
                    <a:lnTo>
                      <a:pt x="160" y="62"/>
                    </a:lnTo>
                    <a:lnTo>
                      <a:pt x="160" y="60"/>
                    </a:lnTo>
                    <a:lnTo>
                      <a:pt x="160" y="59"/>
                    </a:lnTo>
                    <a:lnTo>
                      <a:pt x="160" y="57"/>
                    </a:lnTo>
                    <a:lnTo>
                      <a:pt x="160" y="56"/>
                    </a:lnTo>
                    <a:lnTo>
                      <a:pt x="163" y="57"/>
                    </a:lnTo>
                    <a:lnTo>
                      <a:pt x="164" y="57"/>
                    </a:lnTo>
                    <a:lnTo>
                      <a:pt x="166" y="56"/>
                    </a:lnTo>
                    <a:lnTo>
                      <a:pt x="167" y="56"/>
                    </a:lnTo>
                    <a:lnTo>
                      <a:pt x="169" y="56"/>
                    </a:lnTo>
                    <a:lnTo>
                      <a:pt x="171" y="54"/>
                    </a:lnTo>
                    <a:lnTo>
                      <a:pt x="172" y="54"/>
                    </a:lnTo>
                    <a:lnTo>
                      <a:pt x="172" y="52"/>
                    </a:lnTo>
                    <a:lnTo>
                      <a:pt x="172" y="49"/>
                    </a:lnTo>
                    <a:lnTo>
                      <a:pt x="172" y="48"/>
                    </a:lnTo>
                    <a:lnTo>
                      <a:pt x="172" y="46"/>
                    </a:lnTo>
                    <a:lnTo>
                      <a:pt x="171" y="41"/>
                    </a:lnTo>
                    <a:lnTo>
                      <a:pt x="169" y="38"/>
                    </a:lnTo>
                    <a:lnTo>
                      <a:pt x="169" y="35"/>
                    </a:lnTo>
                    <a:lnTo>
                      <a:pt x="167" y="33"/>
                    </a:lnTo>
                    <a:lnTo>
                      <a:pt x="167" y="32"/>
                    </a:lnTo>
                    <a:lnTo>
                      <a:pt x="167" y="30"/>
                    </a:lnTo>
                    <a:lnTo>
                      <a:pt x="167" y="27"/>
                    </a:lnTo>
                    <a:lnTo>
                      <a:pt x="167" y="25"/>
                    </a:lnTo>
                    <a:lnTo>
                      <a:pt x="167" y="24"/>
                    </a:lnTo>
                    <a:lnTo>
                      <a:pt x="167" y="22"/>
                    </a:lnTo>
                    <a:lnTo>
                      <a:pt x="167" y="21"/>
                    </a:lnTo>
                    <a:lnTo>
                      <a:pt x="166" y="21"/>
                    </a:lnTo>
                    <a:lnTo>
                      <a:pt x="166" y="19"/>
                    </a:lnTo>
                    <a:lnTo>
                      <a:pt x="166" y="16"/>
                    </a:lnTo>
                    <a:lnTo>
                      <a:pt x="166" y="14"/>
                    </a:lnTo>
                    <a:lnTo>
                      <a:pt x="164" y="14"/>
                    </a:lnTo>
                    <a:lnTo>
                      <a:pt x="164" y="13"/>
                    </a:lnTo>
                    <a:lnTo>
                      <a:pt x="164" y="14"/>
                    </a:lnTo>
                    <a:lnTo>
                      <a:pt x="163" y="14"/>
                    </a:lnTo>
                    <a:lnTo>
                      <a:pt x="161" y="14"/>
                    </a:lnTo>
                    <a:lnTo>
                      <a:pt x="160" y="14"/>
                    </a:lnTo>
                    <a:lnTo>
                      <a:pt x="158" y="14"/>
                    </a:lnTo>
                    <a:lnTo>
                      <a:pt x="156" y="14"/>
                    </a:lnTo>
                    <a:lnTo>
                      <a:pt x="156" y="16"/>
                    </a:lnTo>
                    <a:lnTo>
                      <a:pt x="155" y="16"/>
                    </a:lnTo>
                    <a:lnTo>
                      <a:pt x="155" y="14"/>
                    </a:lnTo>
                    <a:lnTo>
                      <a:pt x="153" y="14"/>
                    </a:lnTo>
                    <a:lnTo>
                      <a:pt x="153" y="13"/>
                    </a:lnTo>
                    <a:lnTo>
                      <a:pt x="152" y="14"/>
                    </a:lnTo>
                    <a:lnTo>
                      <a:pt x="152" y="16"/>
                    </a:lnTo>
                    <a:lnTo>
                      <a:pt x="150" y="16"/>
                    </a:lnTo>
                    <a:lnTo>
                      <a:pt x="150" y="18"/>
                    </a:lnTo>
                    <a:lnTo>
                      <a:pt x="148" y="18"/>
                    </a:lnTo>
                    <a:lnTo>
                      <a:pt x="148" y="19"/>
                    </a:lnTo>
                    <a:lnTo>
                      <a:pt x="147" y="19"/>
                    </a:lnTo>
                    <a:lnTo>
                      <a:pt x="145" y="19"/>
                    </a:lnTo>
                    <a:lnTo>
                      <a:pt x="144" y="19"/>
                    </a:lnTo>
                    <a:lnTo>
                      <a:pt x="144" y="18"/>
                    </a:lnTo>
                    <a:lnTo>
                      <a:pt x="144" y="19"/>
                    </a:lnTo>
                    <a:lnTo>
                      <a:pt x="142" y="19"/>
                    </a:lnTo>
                    <a:lnTo>
                      <a:pt x="142" y="18"/>
                    </a:lnTo>
                    <a:lnTo>
                      <a:pt x="142" y="19"/>
                    </a:lnTo>
                    <a:lnTo>
                      <a:pt x="140" y="19"/>
                    </a:lnTo>
                    <a:lnTo>
                      <a:pt x="139" y="19"/>
                    </a:lnTo>
                    <a:lnTo>
                      <a:pt x="139" y="21"/>
                    </a:lnTo>
                    <a:lnTo>
                      <a:pt x="137" y="21"/>
                    </a:lnTo>
                    <a:lnTo>
                      <a:pt x="136" y="21"/>
                    </a:lnTo>
                    <a:lnTo>
                      <a:pt x="134" y="21"/>
                    </a:lnTo>
                    <a:lnTo>
                      <a:pt x="133" y="19"/>
                    </a:lnTo>
                    <a:lnTo>
                      <a:pt x="131" y="19"/>
                    </a:lnTo>
                    <a:lnTo>
                      <a:pt x="129" y="19"/>
                    </a:lnTo>
                    <a:lnTo>
                      <a:pt x="128" y="19"/>
                    </a:lnTo>
                    <a:lnTo>
                      <a:pt x="126" y="19"/>
                    </a:lnTo>
                    <a:lnTo>
                      <a:pt x="126" y="18"/>
                    </a:lnTo>
                    <a:lnTo>
                      <a:pt x="125" y="18"/>
                    </a:lnTo>
                    <a:lnTo>
                      <a:pt x="123" y="18"/>
                    </a:lnTo>
                    <a:lnTo>
                      <a:pt x="121" y="18"/>
                    </a:lnTo>
                    <a:lnTo>
                      <a:pt x="121" y="16"/>
                    </a:lnTo>
                    <a:lnTo>
                      <a:pt x="120" y="16"/>
                    </a:lnTo>
                    <a:lnTo>
                      <a:pt x="118" y="16"/>
                    </a:lnTo>
                    <a:lnTo>
                      <a:pt x="118" y="14"/>
                    </a:lnTo>
                    <a:lnTo>
                      <a:pt x="115" y="13"/>
                    </a:lnTo>
                    <a:lnTo>
                      <a:pt x="114" y="13"/>
                    </a:lnTo>
                    <a:lnTo>
                      <a:pt x="112" y="13"/>
                    </a:lnTo>
                    <a:lnTo>
                      <a:pt x="112" y="11"/>
                    </a:lnTo>
                    <a:lnTo>
                      <a:pt x="110" y="11"/>
                    </a:lnTo>
                    <a:lnTo>
                      <a:pt x="109" y="11"/>
                    </a:lnTo>
                    <a:lnTo>
                      <a:pt x="109" y="10"/>
                    </a:lnTo>
                    <a:lnTo>
                      <a:pt x="107" y="10"/>
                    </a:lnTo>
                    <a:lnTo>
                      <a:pt x="107" y="8"/>
                    </a:lnTo>
                    <a:lnTo>
                      <a:pt x="106" y="10"/>
                    </a:lnTo>
                    <a:lnTo>
                      <a:pt x="106" y="8"/>
                    </a:lnTo>
                    <a:lnTo>
                      <a:pt x="104" y="8"/>
                    </a:lnTo>
                    <a:lnTo>
                      <a:pt x="102" y="8"/>
                    </a:lnTo>
                    <a:lnTo>
                      <a:pt x="101" y="6"/>
                    </a:lnTo>
                    <a:lnTo>
                      <a:pt x="99" y="6"/>
                    </a:lnTo>
                    <a:lnTo>
                      <a:pt x="98" y="6"/>
                    </a:lnTo>
                    <a:lnTo>
                      <a:pt x="93" y="6"/>
                    </a:lnTo>
                    <a:lnTo>
                      <a:pt x="91" y="6"/>
                    </a:lnTo>
                    <a:lnTo>
                      <a:pt x="91" y="5"/>
                    </a:lnTo>
                    <a:lnTo>
                      <a:pt x="90" y="5"/>
                    </a:lnTo>
                    <a:lnTo>
                      <a:pt x="90" y="3"/>
                    </a:lnTo>
                    <a:lnTo>
                      <a:pt x="88" y="3"/>
                    </a:lnTo>
                    <a:lnTo>
                      <a:pt x="88" y="2"/>
                    </a:lnTo>
                    <a:lnTo>
                      <a:pt x="87" y="0"/>
                    </a:lnTo>
                    <a:lnTo>
                      <a:pt x="85"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32" name="Freeform 112"/>
              <p:cNvSpPr>
                <a:spLocks/>
              </p:cNvSpPr>
              <p:nvPr/>
            </p:nvSpPr>
            <p:spPr bwMode="auto">
              <a:xfrm>
                <a:off x="4624" y="2118"/>
                <a:ext cx="88" cy="261"/>
              </a:xfrm>
              <a:custGeom>
                <a:avLst/>
                <a:gdLst>
                  <a:gd name="T0" fmla="*/ 79 w 88"/>
                  <a:gd name="T1" fmla="*/ 260 h 261"/>
                  <a:gd name="T2" fmla="*/ 74 w 88"/>
                  <a:gd name="T3" fmla="*/ 261 h 261"/>
                  <a:gd name="T4" fmla="*/ 71 w 88"/>
                  <a:gd name="T5" fmla="*/ 255 h 261"/>
                  <a:gd name="T6" fmla="*/ 69 w 88"/>
                  <a:gd name="T7" fmla="*/ 253 h 261"/>
                  <a:gd name="T8" fmla="*/ 68 w 88"/>
                  <a:gd name="T9" fmla="*/ 249 h 261"/>
                  <a:gd name="T10" fmla="*/ 66 w 88"/>
                  <a:gd name="T11" fmla="*/ 247 h 261"/>
                  <a:gd name="T12" fmla="*/ 61 w 88"/>
                  <a:gd name="T13" fmla="*/ 244 h 261"/>
                  <a:gd name="T14" fmla="*/ 61 w 88"/>
                  <a:gd name="T15" fmla="*/ 241 h 261"/>
                  <a:gd name="T16" fmla="*/ 63 w 88"/>
                  <a:gd name="T17" fmla="*/ 239 h 261"/>
                  <a:gd name="T18" fmla="*/ 63 w 88"/>
                  <a:gd name="T19" fmla="*/ 233 h 261"/>
                  <a:gd name="T20" fmla="*/ 63 w 88"/>
                  <a:gd name="T21" fmla="*/ 226 h 261"/>
                  <a:gd name="T22" fmla="*/ 69 w 88"/>
                  <a:gd name="T23" fmla="*/ 226 h 261"/>
                  <a:gd name="T24" fmla="*/ 80 w 88"/>
                  <a:gd name="T25" fmla="*/ 176 h 261"/>
                  <a:gd name="T26" fmla="*/ 80 w 88"/>
                  <a:gd name="T27" fmla="*/ 133 h 261"/>
                  <a:gd name="T28" fmla="*/ 77 w 88"/>
                  <a:gd name="T29" fmla="*/ 123 h 261"/>
                  <a:gd name="T30" fmla="*/ 73 w 88"/>
                  <a:gd name="T31" fmla="*/ 122 h 261"/>
                  <a:gd name="T32" fmla="*/ 68 w 88"/>
                  <a:gd name="T33" fmla="*/ 120 h 261"/>
                  <a:gd name="T34" fmla="*/ 68 w 88"/>
                  <a:gd name="T35" fmla="*/ 116 h 261"/>
                  <a:gd name="T36" fmla="*/ 73 w 88"/>
                  <a:gd name="T37" fmla="*/ 117 h 261"/>
                  <a:gd name="T38" fmla="*/ 71 w 88"/>
                  <a:gd name="T39" fmla="*/ 114 h 261"/>
                  <a:gd name="T40" fmla="*/ 65 w 88"/>
                  <a:gd name="T41" fmla="*/ 114 h 261"/>
                  <a:gd name="T42" fmla="*/ 58 w 88"/>
                  <a:gd name="T43" fmla="*/ 112 h 261"/>
                  <a:gd name="T44" fmla="*/ 55 w 88"/>
                  <a:gd name="T45" fmla="*/ 108 h 261"/>
                  <a:gd name="T46" fmla="*/ 54 w 88"/>
                  <a:gd name="T47" fmla="*/ 103 h 261"/>
                  <a:gd name="T48" fmla="*/ 50 w 88"/>
                  <a:gd name="T49" fmla="*/ 98 h 261"/>
                  <a:gd name="T50" fmla="*/ 49 w 88"/>
                  <a:gd name="T51" fmla="*/ 93 h 261"/>
                  <a:gd name="T52" fmla="*/ 46 w 88"/>
                  <a:gd name="T53" fmla="*/ 90 h 261"/>
                  <a:gd name="T54" fmla="*/ 41 w 88"/>
                  <a:gd name="T55" fmla="*/ 84 h 261"/>
                  <a:gd name="T56" fmla="*/ 39 w 88"/>
                  <a:gd name="T57" fmla="*/ 79 h 261"/>
                  <a:gd name="T58" fmla="*/ 35 w 88"/>
                  <a:gd name="T59" fmla="*/ 76 h 261"/>
                  <a:gd name="T60" fmla="*/ 35 w 88"/>
                  <a:gd name="T61" fmla="*/ 70 h 261"/>
                  <a:gd name="T62" fmla="*/ 30 w 88"/>
                  <a:gd name="T63" fmla="*/ 65 h 261"/>
                  <a:gd name="T64" fmla="*/ 25 w 88"/>
                  <a:gd name="T65" fmla="*/ 60 h 261"/>
                  <a:gd name="T66" fmla="*/ 25 w 88"/>
                  <a:gd name="T67" fmla="*/ 55 h 261"/>
                  <a:gd name="T68" fmla="*/ 25 w 88"/>
                  <a:gd name="T69" fmla="*/ 49 h 261"/>
                  <a:gd name="T70" fmla="*/ 25 w 88"/>
                  <a:gd name="T71" fmla="*/ 43 h 261"/>
                  <a:gd name="T72" fmla="*/ 23 w 88"/>
                  <a:gd name="T73" fmla="*/ 38 h 261"/>
                  <a:gd name="T74" fmla="*/ 20 w 88"/>
                  <a:gd name="T75" fmla="*/ 35 h 261"/>
                  <a:gd name="T76" fmla="*/ 17 w 88"/>
                  <a:gd name="T77" fmla="*/ 32 h 261"/>
                  <a:gd name="T78" fmla="*/ 14 w 88"/>
                  <a:gd name="T79" fmla="*/ 28 h 261"/>
                  <a:gd name="T80" fmla="*/ 12 w 88"/>
                  <a:gd name="T81" fmla="*/ 25 h 261"/>
                  <a:gd name="T82" fmla="*/ 9 w 88"/>
                  <a:gd name="T83" fmla="*/ 22 h 261"/>
                  <a:gd name="T84" fmla="*/ 4 w 88"/>
                  <a:gd name="T85" fmla="*/ 19 h 261"/>
                  <a:gd name="T86" fmla="*/ 1 w 88"/>
                  <a:gd name="T87" fmla="*/ 16 h 261"/>
                  <a:gd name="T88" fmla="*/ 1 w 88"/>
                  <a:gd name="T89" fmla="*/ 13 h 261"/>
                  <a:gd name="T90" fmla="*/ 8 w 88"/>
                  <a:gd name="T91" fmla="*/ 13 h 261"/>
                  <a:gd name="T92" fmla="*/ 14 w 88"/>
                  <a:gd name="T93" fmla="*/ 11 h 261"/>
                  <a:gd name="T94" fmla="*/ 19 w 88"/>
                  <a:gd name="T95" fmla="*/ 9 h 261"/>
                  <a:gd name="T96" fmla="*/ 23 w 88"/>
                  <a:gd name="T97" fmla="*/ 8 h 261"/>
                  <a:gd name="T98" fmla="*/ 28 w 88"/>
                  <a:gd name="T99" fmla="*/ 6 h 261"/>
                  <a:gd name="T100" fmla="*/ 35 w 88"/>
                  <a:gd name="T101" fmla="*/ 5 h 261"/>
                  <a:gd name="T102" fmla="*/ 41 w 88"/>
                  <a:gd name="T103" fmla="*/ 3 h 261"/>
                  <a:gd name="T104" fmla="*/ 47 w 88"/>
                  <a:gd name="T105" fmla="*/ 1 h 261"/>
                  <a:gd name="T106" fmla="*/ 54 w 88"/>
                  <a:gd name="T107" fmla="*/ 0 h 261"/>
                  <a:gd name="T108" fmla="*/ 58 w 88"/>
                  <a:gd name="T109" fmla="*/ 1 h 261"/>
                  <a:gd name="T110" fmla="*/ 61 w 88"/>
                  <a:gd name="T111" fmla="*/ 5 h 261"/>
                  <a:gd name="T112" fmla="*/ 65 w 88"/>
                  <a:gd name="T113" fmla="*/ 8 h 261"/>
                  <a:gd name="T114" fmla="*/ 69 w 88"/>
                  <a:gd name="T115" fmla="*/ 6 h 261"/>
                  <a:gd name="T116" fmla="*/ 73 w 88"/>
                  <a:gd name="T117" fmla="*/ 3 h 261"/>
                  <a:gd name="T118" fmla="*/ 79 w 88"/>
                  <a:gd name="T119" fmla="*/ 5 h 261"/>
                  <a:gd name="T120" fmla="*/ 84 w 88"/>
                  <a:gd name="T121" fmla="*/ 3 h 261"/>
                  <a:gd name="T122" fmla="*/ 88 w 88"/>
                  <a:gd name="T123" fmla="*/ 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 h="261">
                    <a:moveTo>
                      <a:pt x="82" y="258"/>
                    </a:moveTo>
                    <a:lnTo>
                      <a:pt x="80" y="258"/>
                    </a:lnTo>
                    <a:lnTo>
                      <a:pt x="79" y="258"/>
                    </a:lnTo>
                    <a:lnTo>
                      <a:pt x="79" y="260"/>
                    </a:lnTo>
                    <a:lnTo>
                      <a:pt x="77" y="260"/>
                    </a:lnTo>
                    <a:lnTo>
                      <a:pt x="76" y="260"/>
                    </a:lnTo>
                    <a:lnTo>
                      <a:pt x="76" y="261"/>
                    </a:lnTo>
                    <a:lnTo>
                      <a:pt x="74" y="261"/>
                    </a:lnTo>
                    <a:lnTo>
                      <a:pt x="73" y="261"/>
                    </a:lnTo>
                    <a:lnTo>
                      <a:pt x="73" y="257"/>
                    </a:lnTo>
                    <a:lnTo>
                      <a:pt x="71" y="257"/>
                    </a:lnTo>
                    <a:lnTo>
                      <a:pt x="71" y="255"/>
                    </a:lnTo>
                    <a:lnTo>
                      <a:pt x="69" y="255"/>
                    </a:lnTo>
                    <a:lnTo>
                      <a:pt x="68" y="255"/>
                    </a:lnTo>
                    <a:lnTo>
                      <a:pt x="68" y="253"/>
                    </a:lnTo>
                    <a:lnTo>
                      <a:pt x="69" y="253"/>
                    </a:lnTo>
                    <a:lnTo>
                      <a:pt x="69" y="252"/>
                    </a:lnTo>
                    <a:lnTo>
                      <a:pt x="68" y="252"/>
                    </a:lnTo>
                    <a:lnTo>
                      <a:pt x="68" y="250"/>
                    </a:lnTo>
                    <a:lnTo>
                      <a:pt x="68" y="249"/>
                    </a:lnTo>
                    <a:lnTo>
                      <a:pt x="69" y="249"/>
                    </a:lnTo>
                    <a:lnTo>
                      <a:pt x="68" y="249"/>
                    </a:lnTo>
                    <a:lnTo>
                      <a:pt x="66" y="249"/>
                    </a:lnTo>
                    <a:lnTo>
                      <a:pt x="66" y="247"/>
                    </a:lnTo>
                    <a:lnTo>
                      <a:pt x="66" y="245"/>
                    </a:lnTo>
                    <a:lnTo>
                      <a:pt x="65" y="245"/>
                    </a:lnTo>
                    <a:lnTo>
                      <a:pt x="63" y="245"/>
                    </a:lnTo>
                    <a:lnTo>
                      <a:pt x="61" y="244"/>
                    </a:lnTo>
                    <a:lnTo>
                      <a:pt x="63" y="244"/>
                    </a:lnTo>
                    <a:lnTo>
                      <a:pt x="63" y="242"/>
                    </a:lnTo>
                    <a:lnTo>
                      <a:pt x="61" y="242"/>
                    </a:lnTo>
                    <a:lnTo>
                      <a:pt x="61" y="241"/>
                    </a:lnTo>
                    <a:lnTo>
                      <a:pt x="61" y="239"/>
                    </a:lnTo>
                    <a:lnTo>
                      <a:pt x="60" y="239"/>
                    </a:lnTo>
                    <a:lnTo>
                      <a:pt x="61" y="239"/>
                    </a:lnTo>
                    <a:lnTo>
                      <a:pt x="63" y="239"/>
                    </a:lnTo>
                    <a:lnTo>
                      <a:pt x="61" y="239"/>
                    </a:lnTo>
                    <a:lnTo>
                      <a:pt x="61" y="238"/>
                    </a:lnTo>
                    <a:lnTo>
                      <a:pt x="60" y="238"/>
                    </a:lnTo>
                    <a:lnTo>
                      <a:pt x="63" y="233"/>
                    </a:lnTo>
                    <a:lnTo>
                      <a:pt x="63" y="231"/>
                    </a:lnTo>
                    <a:lnTo>
                      <a:pt x="63" y="230"/>
                    </a:lnTo>
                    <a:lnTo>
                      <a:pt x="63" y="228"/>
                    </a:lnTo>
                    <a:lnTo>
                      <a:pt x="63" y="226"/>
                    </a:lnTo>
                    <a:lnTo>
                      <a:pt x="65" y="226"/>
                    </a:lnTo>
                    <a:lnTo>
                      <a:pt x="66" y="226"/>
                    </a:lnTo>
                    <a:lnTo>
                      <a:pt x="68" y="226"/>
                    </a:lnTo>
                    <a:lnTo>
                      <a:pt x="69" y="226"/>
                    </a:lnTo>
                    <a:lnTo>
                      <a:pt x="73" y="217"/>
                    </a:lnTo>
                    <a:lnTo>
                      <a:pt x="76" y="199"/>
                    </a:lnTo>
                    <a:lnTo>
                      <a:pt x="80" y="182"/>
                    </a:lnTo>
                    <a:lnTo>
                      <a:pt x="80" y="176"/>
                    </a:lnTo>
                    <a:lnTo>
                      <a:pt x="82" y="163"/>
                    </a:lnTo>
                    <a:lnTo>
                      <a:pt x="82" y="154"/>
                    </a:lnTo>
                    <a:lnTo>
                      <a:pt x="82" y="144"/>
                    </a:lnTo>
                    <a:lnTo>
                      <a:pt x="80" y="133"/>
                    </a:lnTo>
                    <a:lnTo>
                      <a:pt x="80" y="127"/>
                    </a:lnTo>
                    <a:lnTo>
                      <a:pt x="80" y="123"/>
                    </a:lnTo>
                    <a:lnTo>
                      <a:pt x="79" y="123"/>
                    </a:lnTo>
                    <a:lnTo>
                      <a:pt x="77" y="123"/>
                    </a:lnTo>
                    <a:lnTo>
                      <a:pt x="76" y="123"/>
                    </a:lnTo>
                    <a:lnTo>
                      <a:pt x="76" y="122"/>
                    </a:lnTo>
                    <a:lnTo>
                      <a:pt x="74" y="122"/>
                    </a:lnTo>
                    <a:lnTo>
                      <a:pt x="73" y="122"/>
                    </a:lnTo>
                    <a:lnTo>
                      <a:pt x="71" y="122"/>
                    </a:lnTo>
                    <a:lnTo>
                      <a:pt x="71" y="120"/>
                    </a:lnTo>
                    <a:lnTo>
                      <a:pt x="69" y="120"/>
                    </a:lnTo>
                    <a:lnTo>
                      <a:pt x="68" y="120"/>
                    </a:lnTo>
                    <a:lnTo>
                      <a:pt x="68" y="119"/>
                    </a:lnTo>
                    <a:lnTo>
                      <a:pt x="66" y="117"/>
                    </a:lnTo>
                    <a:lnTo>
                      <a:pt x="66" y="116"/>
                    </a:lnTo>
                    <a:lnTo>
                      <a:pt x="68" y="116"/>
                    </a:lnTo>
                    <a:lnTo>
                      <a:pt x="69" y="116"/>
                    </a:lnTo>
                    <a:lnTo>
                      <a:pt x="71" y="116"/>
                    </a:lnTo>
                    <a:lnTo>
                      <a:pt x="71" y="117"/>
                    </a:lnTo>
                    <a:lnTo>
                      <a:pt x="73" y="117"/>
                    </a:lnTo>
                    <a:lnTo>
                      <a:pt x="74" y="116"/>
                    </a:lnTo>
                    <a:lnTo>
                      <a:pt x="74" y="114"/>
                    </a:lnTo>
                    <a:lnTo>
                      <a:pt x="73" y="114"/>
                    </a:lnTo>
                    <a:lnTo>
                      <a:pt x="71" y="114"/>
                    </a:lnTo>
                    <a:lnTo>
                      <a:pt x="69" y="114"/>
                    </a:lnTo>
                    <a:lnTo>
                      <a:pt x="68" y="114"/>
                    </a:lnTo>
                    <a:lnTo>
                      <a:pt x="66" y="114"/>
                    </a:lnTo>
                    <a:lnTo>
                      <a:pt x="65" y="114"/>
                    </a:lnTo>
                    <a:lnTo>
                      <a:pt x="63" y="114"/>
                    </a:lnTo>
                    <a:lnTo>
                      <a:pt x="61" y="114"/>
                    </a:lnTo>
                    <a:lnTo>
                      <a:pt x="60" y="114"/>
                    </a:lnTo>
                    <a:lnTo>
                      <a:pt x="58" y="112"/>
                    </a:lnTo>
                    <a:lnTo>
                      <a:pt x="57" y="112"/>
                    </a:lnTo>
                    <a:lnTo>
                      <a:pt x="57" y="111"/>
                    </a:lnTo>
                    <a:lnTo>
                      <a:pt x="55" y="109"/>
                    </a:lnTo>
                    <a:lnTo>
                      <a:pt x="55" y="108"/>
                    </a:lnTo>
                    <a:lnTo>
                      <a:pt x="55" y="106"/>
                    </a:lnTo>
                    <a:lnTo>
                      <a:pt x="54" y="106"/>
                    </a:lnTo>
                    <a:lnTo>
                      <a:pt x="54" y="104"/>
                    </a:lnTo>
                    <a:lnTo>
                      <a:pt x="54" y="103"/>
                    </a:lnTo>
                    <a:lnTo>
                      <a:pt x="52" y="101"/>
                    </a:lnTo>
                    <a:lnTo>
                      <a:pt x="52" y="100"/>
                    </a:lnTo>
                    <a:lnTo>
                      <a:pt x="50" y="100"/>
                    </a:lnTo>
                    <a:lnTo>
                      <a:pt x="50" y="98"/>
                    </a:lnTo>
                    <a:lnTo>
                      <a:pt x="50" y="97"/>
                    </a:lnTo>
                    <a:lnTo>
                      <a:pt x="49" y="97"/>
                    </a:lnTo>
                    <a:lnTo>
                      <a:pt x="49" y="95"/>
                    </a:lnTo>
                    <a:lnTo>
                      <a:pt x="49" y="93"/>
                    </a:lnTo>
                    <a:lnTo>
                      <a:pt x="47" y="93"/>
                    </a:lnTo>
                    <a:lnTo>
                      <a:pt x="47" y="92"/>
                    </a:lnTo>
                    <a:lnTo>
                      <a:pt x="46" y="92"/>
                    </a:lnTo>
                    <a:lnTo>
                      <a:pt x="46" y="90"/>
                    </a:lnTo>
                    <a:lnTo>
                      <a:pt x="44" y="89"/>
                    </a:lnTo>
                    <a:lnTo>
                      <a:pt x="42" y="87"/>
                    </a:lnTo>
                    <a:lnTo>
                      <a:pt x="41" y="85"/>
                    </a:lnTo>
                    <a:lnTo>
                      <a:pt x="41" y="84"/>
                    </a:lnTo>
                    <a:lnTo>
                      <a:pt x="39" y="84"/>
                    </a:lnTo>
                    <a:lnTo>
                      <a:pt x="39" y="82"/>
                    </a:lnTo>
                    <a:lnTo>
                      <a:pt x="39" y="81"/>
                    </a:lnTo>
                    <a:lnTo>
                      <a:pt x="39" y="79"/>
                    </a:lnTo>
                    <a:lnTo>
                      <a:pt x="38" y="79"/>
                    </a:lnTo>
                    <a:lnTo>
                      <a:pt x="36" y="79"/>
                    </a:lnTo>
                    <a:lnTo>
                      <a:pt x="35" y="78"/>
                    </a:lnTo>
                    <a:lnTo>
                      <a:pt x="35" y="76"/>
                    </a:lnTo>
                    <a:lnTo>
                      <a:pt x="35" y="74"/>
                    </a:lnTo>
                    <a:lnTo>
                      <a:pt x="35" y="73"/>
                    </a:lnTo>
                    <a:lnTo>
                      <a:pt x="36" y="71"/>
                    </a:lnTo>
                    <a:lnTo>
                      <a:pt x="35" y="70"/>
                    </a:lnTo>
                    <a:lnTo>
                      <a:pt x="33" y="68"/>
                    </a:lnTo>
                    <a:lnTo>
                      <a:pt x="31" y="66"/>
                    </a:lnTo>
                    <a:lnTo>
                      <a:pt x="30" y="66"/>
                    </a:lnTo>
                    <a:lnTo>
                      <a:pt x="30" y="65"/>
                    </a:lnTo>
                    <a:lnTo>
                      <a:pt x="28" y="65"/>
                    </a:lnTo>
                    <a:lnTo>
                      <a:pt x="28" y="63"/>
                    </a:lnTo>
                    <a:lnTo>
                      <a:pt x="27" y="62"/>
                    </a:lnTo>
                    <a:lnTo>
                      <a:pt x="25" y="60"/>
                    </a:lnTo>
                    <a:lnTo>
                      <a:pt x="27" y="60"/>
                    </a:lnTo>
                    <a:lnTo>
                      <a:pt x="25" y="59"/>
                    </a:lnTo>
                    <a:lnTo>
                      <a:pt x="25" y="57"/>
                    </a:lnTo>
                    <a:lnTo>
                      <a:pt x="25" y="55"/>
                    </a:lnTo>
                    <a:lnTo>
                      <a:pt x="25" y="54"/>
                    </a:lnTo>
                    <a:lnTo>
                      <a:pt x="25" y="52"/>
                    </a:lnTo>
                    <a:lnTo>
                      <a:pt x="25" y="51"/>
                    </a:lnTo>
                    <a:lnTo>
                      <a:pt x="25" y="49"/>
                    </a:lnTo>
                    <a:lnTo>
                      <a:pt x="25" y="47"/>
                    </a:lnTo>
                    <a:lnTo>
                      <a:pt x="25" y="46"/>
                    </a:lnTo>
                    <a:lnTo>
                      <a:pt x="25" y="44"/>
                    </a:lnTo>
                    <a:lnTo>
                      <a:pt x="25" y="43"/>
                    </a:lnTo>
                    <a:lnTo>
                      <a:pt x="25" y="41"/>
                    </a:lnTo>
                    <a:lnTo>
                      <a:pt x="25" y="39"/>
                    </a:lnTo>
                    <a:lnTo>
                      <a:pt x="23" y="39"/>
                    </a:lnTo>
                    <a:lnTo>
                      <a:pt x="23" y="38"/>
                    </a:lnTo>
                    <a:lnTo>
                      <a:pt x="22" y="38"/>
                    </a:lnTo>
                    <a:lnTo>
                      <a:pt x="20" y="38"/>
                    </a:lnTo>
                    <a:lnTo>
                      <a:pt x="20" y="36"/>
                    </a:lnTo>
                    <a:lnTo>
                      <a:pt x="20" y="35"/>
                    </a:lnTo>
                    <a:lnTo>
                      <a:pt x="20" y="33"/>
                    </a:lnTo>
                    <a:lnTo>
                      <a:pt x="19" y="33"/>
                    </a:lnTo>
                    <a:lnTo>
                      <a:pt x="19" y="32"/>
                    </a:lnTo>
                    <a:lnTo>
                      <a:pt x="17" y="32"/>
                    </a:lnTo>
                    <a:lnTo>
                      <a:pt x="17" y="30"/>
                    </a:lnTo>
                    <a:lnTo>
                      <a:pt x="16" y="30"/>
                    </a:lnTo>
                    <a:lnTo>
                      <a:pt x="16" y="28"/>
                    </a:lnTo>
                    <a:lnTo>
                      <a:pt x="14" y="28"/>
                    </a:lnTo>
                    <a:lnTo>
                      <a:pt x="16" y="27"/>
                    </a:lnTo>
                    <a:lnTo>
                      <a:pt x="14" y="27"/>
                    </a:lnTo>
                    <a:lnTo>
                      <a:pt x="12" y="27"/>
                    </a:lnTo>
                    <a:lnTo>
                      <a:pt x="12" y="25"/>
                    </a:lnTo>
                    <a:lnTo>
                      <a:pt x="12" y="24"/>
                    </a:lnTo>
                    <a:lnTo>
                      <a:pt x="11" y="24"/>
                    </a:lnTo>
                    <a:lnTo>
                      <a:pt x="9" y="24"/>
                    </a:lnTo>
                    <a:lnTo>
                      <a:pt x="9" y="22"/>
                    </a:lnTo>
                    <a:lnTo>
                      <a:pt x="8" y="22"/>
                    </a:lnTo>
                    <a:lnTo>
                      <a:pt x="8" y="20"/>
                    </a:lnTo>
                    <a:lnTo>
                      <a:pt x="6" y="20"/>
                    </a:lnTo>
                    <a:lnTo>
                      <a:pt x="4" y="19"/>
                    </a:lnTo>
                    <a:lnTo>
                      <a:pt x="4" y="17"/>
                    </a:lnTo>
                    <a:lnTo>
                      <a:pt x="4" y="16"/>
                    </a:lnTo>
                    <a:lnTo>
                      <a:pt x="3" y="16"/>
                    </a:lnTo>
                    <a:lnTo>
                      <a:pt x="1" y="16"/>
                    </a:lnTo>
                    <a:lnTo>
                      <a:pt x="0" y="16"/>
                    </a:lnTo>
                    <a:lnTo>
                      <a:pt x="0" y="14"/>
                    </a:lnTo>
                    <a:lnTo>
                      <a:pt x="0" y="13"/>
                    </a:lnTo>
                    <a:lnTo>
                      <a:pt x="1" y="13"/>
                    </a:lnTo>
                    <a:lnTo>
                      <a:pt x="3" y="13"/>
                    </a:lnTo>
                    <a:lnTo>
                      <a:pt x="4" y="13"/>
                    </a:lnTo>
                    <a:lnTo>
                      <a:pt x="6" y="13"/>
                    </a:lnTo>
                    <a:lnTo>
                      <a:pt x="8" y="13"/>
                    </a:lnTo>
                    <a:lnTo>
                      <a:pt x="9" y="11"/>
                    </a:lnTo>
                    <a:lnTo>
                      <a:pt x="11" y="11"/>
                    </a:lnTo>
                    <a:lnTo>
                      <a:pt x="12" y="11"/>
                    </a:lnTo>
                    <a:lnTo>
                      <a:pt x="14" y="11"/>
                    </a:lnTo>
                    <a:lnTo>
                      <a:pt x="14" y="9"/>
                    </a:lnTo>
                    <a:lnTo>
                      <a:pt x="16" y="9"/>
                    </a:lnTo>
                    <a:lnTo>
                      <a:pt x="17" y="9"/>
                    </a:lnTo>
                    <a:lnTo>
                      <a:pt x="19" y="9"/>
                    </a:lnTo>
                    <a:lnTo>
                      <a:pt x="20" y="9"/>
                    </a:lnTo>
                    <a:lnTo>
                      <a:pt x="20" y="8"/>
                    </a:lnTo>
                    <a:lnTo>
                      <a:pt x="22" y="8"/>
                    </a:lnTo>
                    <a:lnTo>
                      <a:pt x="23" y="8"/>
                    </a:lnTo>
                    <a:lnTo>
                      <a:pt x="25" y="8"/>
                    </a:lnTo>
                    <a:lnTo>
                      <a:pt x="27" y="8"/>
                    </a:lnTo>
                    <a:lnTo>
                      <a:pt x="27" y="6"/>
                    </a:lnTo>
                    <a:lnTo>
                      <a:pt x="28" y="6"/>
                    </a:lnTo>
                    <a:lnTo>
                      <a:pt x="30" y="6"/>
                    </a:lnTo>
                    <a:lnTo>
                      <a:pt x="31" y="6"/>
                    </a:lnTo>
                    <a:lnTo>
                      <a:pt x="33" y="5"/>
                    </a:lnTo>
                    <a:lnTo>
                      <a:pt x="35" y="5"/>
                    </a:lnTo>
                    <a:lnTo>
                      <a:pt x="36" y="5"/>
                    </a:lnTo>
                    <a:lnTo>
                      <a:pt x="38" y="5"/>
                    </a:lnTo>
                    <a:lnTo>
                      <a:pt x="39" y="3"/>
                    </a:lnTo>
                    <a:lnTo>
                      <a:pt x="41" y="3"/>
                    </a:lnTo>
                    <a:lnTo>
                      <a:pt x="42" y="3"/>
                    </a:lnTo>
                    <a:lnTo>
                      <a:pt x="44" y="3"/>
                    </a:lnTo>
                    <a:lnTo>
                      <a:pt x="46" y="1"/>
                    </a:lnTo>
                    <a:lnTo>
                      <a:pt x="47" y="1"/>
                    </a:lnTo>
                    <a:lnTo>
                      <a:pt x="49" y="1"/>
                    </a:lnTo>
                    <a:lnTo>
                      <a:pt x="50" y="0"/>
                    </a:lnTo>
                    <a:lnTo>
                      <a:pt x="52" y="0"/>
                    </a:lnTo>
                    <a:lnTo>
                      <a:pt x="54" y="0"/>
                    </a:lnTo>
                    <a:lnTo>
                      <a:pt x="55" y="0"/>
                    </a:lnTo>
                    <a:lnTo>
                      <a:pt x="55" y="1"/>
                    </a:lnTo>
                    <a:lnTo>
                      <a:pt x="57" y="1"/>
                    </a:lnTo>
                    <a:lnTo>
                      <a:pt x="58" y="1"/>
                    </a:lnTo>
                    <a:lnTo>
                      <a:pt x="58" y="3"/>
                    </a:lnTo>
                    <a:lnTo>
                      <a:pt x="60" y="3"/>
                    </a:lnTo>
                    <a:lnTo>
                      <a:pt x="60" y="5"/>
                    </a:lnTo>
                    <a:lnTo>
                      <a:pt x="61" y="5"/>
                    </a:lnTo>
                    <a:lnTo>
                      <a:pt x="61" y="6"/>
                    </a:lnTo>
                    <a:lnTo>
                      <a:pt x="61" y="8"/>
                    </a:lnTo>
                    <a:lnTo>
                      <a:pt x="63" y="8"/>
                    </a:lnTo>
                    <a:lnTo>
                      <a:pt x="65" y="8"/>
                    </a:lnTo>
                    <a:lnTo>
                      <a:pt x="66" y="8"/>
                    </a:lnTo>
                    <a:lnTo>
                      <a:pt x="66" y="6"/>
                    </a:lnTo>
                    <a:lnTo>
                      <a:pt x="68" y="6"/>
                    </a:lnTo>
                    <a:lnTo>
                      <a:pt x="69" y="6"/>
                    </a:lnTo>
                    <a:lnTo>
                      <a:pt x="69" y="5"/>
                    </a:lnTo>
                    <a:lnTo>
                      <a:pt x="71" y="5"/>
                    </a:lnTo>
                    <a:lnTo>
                      <a:pt x="73" y="5"/>
                    </a:lnTo>
                    <a:lnTo>
                      <a:pt x="73" y="3"/>
                    </a:lnTo>
                    <a:lnTo>
                      <a:pt x="74" y="3"/>
                    </a:lnTo>
                    <a:lnTo>
                      <a:pt x="76" y="3"/>
                    </a:lnTo>
                    <a:lnTo>
                      <a:pt x="77" y="3"/>
                    </a:lnTo>
                    <a:lnTo>
                      <a:pt x="79" y="5"/>
                    </a:lnTo>
                    <a:lnTo>
                      <a:pt x="80" y="5"/>
                    </a:lnTo>
                    <a:lnTo>
                      <a:pt x="82" y="5"/>
                    </a:lnTo>
                    <a:lnTo>
                      <a:pt x="84" y="5"/>
                    </a:lnTo>
                    <a:lnTo>
                      <a:pt x="84" y="3"/>
                    </a:lnTo>
                    <a:lnTo>
                      <a:pt x="85" y="1"/>
                    </a:lnTo>
                    <a:lnTo>
                      <a:pt x="87" y="0"/>
                    </a:lnTo>
                    <a:lnTo>
                      <a:pt x="88" y="0"/>
                    </a:lnTo>
                    <a:lnTo>
                      <a:pt x="88" y="1"/>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33" name="Freeform 113"/>
              <p:cNvSpPr>
                <a:spLocks/>
              </p:cNvSpPr>
              <p:nvPr/>
            </p:nvSpPr>
            <p:spPr bwMode="auto">
              <a:xfrm>
                <a:off x="2078" y="1902"/>
                <a:ext cx="909" cy="1265"/>
              </a:xfrm>
              <a:custGeom>
                <a:avLst/>
                <a:gdLst>
                  <a:gd name="T0" fmla="*/ 271 w 909"/>
                  <a:gd name="T1" fmla="*/ 24 h 1265"/>
                  <a:gd name="T2" fmla="*/ 301 w 909"/>
                  <a:gd name="T3" fmla="*/ 42 h 1265"/>
                  <a:gd name="T4" fmla="*/ 326 w 909"/>
                  <a:gd name="T5" fmla="*/ 54 h 1265"/>
                  <a:gd name="T6" fmla="*/ 350 w 909"/>
                  <a:gd name="T7" fmla="*/ 96 h 1265"/>
                  <a:gd name="T8" fmla="*/ 355 w 909"/>
                  <a:gd name="T9" fmla="*/ 130 h 1265"/>
                  <a:gd name="T10" fmla="*/ 383 w 909"/>
                  <a:gd name="T11" fmla="*/ 159 h 1265"/>
                  <a:gd name="T12" fmla="*/ 402 w 909"/>
                  <a:gd name="T13" fmla="*/ 179 h 1265"/>
                  <a:gd name="T14" fmla="*/ 433 w 909"/>
                  <a:gd name="T15" fmla="*/ 197 h 1265"/>
                  <a:gd name="T16" fmla="*/ 471 w 909"/>
                  <a:gd name="T17" fmla="*/ 208 h 1265"/>
                  <a:gd name="T18" fmla="*/ 505 w 909"/>
                  <a:gd name="T19" fmla="*/ 205 h 1265"/>
                  <a:gd name="T20" fmla="*/ 532 w 909"/>
                  <a:gd name="T21" fmla="*/ 206 h 1265"/>
                  <a:gd name="T22" fmla="*/ 562 w 909"/>
                  <a:gd name="T23" fmla="*/ 200 h 1265"/>
                  <a:gd name="T24" fmla="*/ 585 w 909"/>
                  <a:gd name="T25" fmla="*/ 183 h 1265"/>
                  <a:gd name="T26" fmla="*/ 618 w 909"/>
                  <a:gd name="T27" fmla="*/ 178 h 1265"/>
                  <a:gd name="T28" fmla="*/ 651 w 909"/>
                  <a:gd name="T29" fmla="*/ 181 h 1265"/>
                  <a:gd name="T30" fmla="*/ 680 w 909"/>
                  <a:gd name="T31" fmla="*/ 208 h 1265"/>
                  <a:gd name="T32" fmla="*/ 689 w 909"/>
                  <a:gd name="T33" fmla="*/ 246 h 1265"/>
                  <a:gd name="T34" fmla="*/ 702 w 909"/>
                  <a:gd name="T35" fmla="*/ 276 h 1265"/>
                  <a:gd name="T36" fmla="*/ 718 w 909"/>
                  <a:gd name="T37" fmla="*/ 298 h 1265"/>
                  <a:gd name="T38" fmla="*/ 741 w 909"/>
                  <a:gd name="T39" fmla="*/ 332 h 1265"/>
                  <a:gd name="T40" fmla="*/ 776 w 909"/>
                  <a:gd name="T41" fmla="*/ 343 h 1265"/>
                  <a:gd name="T42" fmla="*/ 806 w 909"/>
                  <a:gd name="T43" fmla="*/ 363 h 1265"/>
                  <a:gd name="T44" fmla="*/ 846 w 909"/>
                  <a:gd name="T45" fmla="*/ 370 h 1265"/>
                  <a:gd name="T46" fmla="*/ 879 w 909"/>
                  <a:gd name="T47" fmla="*/ 382 h 1265"/>
                  <a:gd name="T48" fmla="*/ 851 w 909"/>
                  <a:gd name="T49" fmla="*/ 563 h 1265"/>
                  <a:gd name="T50" fmla="*/ 818 w 909"/>
                  <a:gd name="T51" fmla="*/ 639 h 1265"/>
                  <a:gd name="T52" fmla="*/ 773 w 909"/>
                  <a:gd name="T53" fmla="*/ 647 h 1265"/>
                  <a:gd name="T54" fmla="*/ 743 w 909"/>
                  <a:gd name="T55" fmla="*/ 715 h 1265"/>
                  <a:gd name="T56" fmla="*/ 702 w 909"/>
                  <a:gd name="T57" fmla="*/ 764 h 1265"/>
                  <a:gd name="T58" fmla="*/ 670 w 909"/>
                  <a:gd name="T59" fmla="*/ 797 h 1265"/>
                  <a:gd name="T60" fmla="*/ 879 w 909"/>
                  <a:gd name="T61" fmla="*/ 1067 h 1265"/>
                  <a:gd name="T62" fmla="*/ 849 w 909"/>
                  <a:gd name="T63" fmla="*/ 1038 h 1265"/>
                  <a:gd name="T64" fmla="*/ 830 w 909"/>
                  <a:gd name="T65" fmla="*/ 1005 h 1265"/>
                  <a:gd name="T66" fmla="*/ 813 w 909"/>
                  <a:gd name="T67" fmla="*/ 989 h 1265"/>
                  <a:gd name="T68" fmla="*/ 778 w 909"/>
                  <a:gd name="T69" fmla="*/ 1017 h 1265"/>
                  <a:gd name="T70" fmla="*/ 753 w 909"/>
                  <a:gd name="T71" fmla="*/ 1029 h 1265"/>
                  <a:gd name="T72" fmla="*/ 753 w 909"/>
                  <a:gd name="T73" fmla="*/ 1067 h 1265"/>
                  <a:gd name="T74" fmla="*/ 753 w 909"/>
                  <a:gd name="T75" fmla="*/ 1100 h 1265"/>
                  <a:gd name="T76" fmla="*/ 716 w 909"/>
                  <a:gd name="T77" fmla="*/ 1139 h 1265"/>
                  <a:gd name="T78" fmla="*/ 675 w 909"/>
                  <a:gd name="T79" fmla="*/ 1177 h 1265"/>
                  <a:gd name="T80" fmla="*/ 705 w 909"/>
                  <a:gd name="T81" fmla="*/ 1220 h 1265"/>
                  <a:gd name="T82" fmla="*/ 699 w 909"/>
                  <a:gd name="T83" fmla="*/ 1258 h 1265"/>
                  <a:gd name="T84" fmla="*/ 642 w 909"/>
                  <a:gd name="T85" fmla="*/ 1222 h 1265"/>
                  <a:gd name="T86" fmla="*/ 548 w 909"/>
                  <a:gd name="T87" fmla="*/ 1200 h 1265"/>
                  <a:gd name="T88" fmla="*/ 485 w 909"/>
                  <a:gd name="T89" fmla="*/ 1122 h 1265"/>
                  <a:gd name="T90" fmla="*/ 428 w 909"/>
                  <a:gd name="T91" fmla="*/ 1119 h 1265"/>
                  <a:gd name="T92" fmla="*/ 339 w 909"/>
                  <a:gd name="T93" fmla="*/ 1101 h 1265"/>
                  <a:gd name="T94" fmla="*/ 263 w 909"/>
                  <a:gd name="T95" fmla="*/ 990 h 1265"/>
                  <a:gd name="T96" fmla="*/ 185 w 909"/>
                  <a:gd name="T97" fmla="*/ 807 h 1265"/>
                  <a:gd name="T98" fmla="*/ 92 w 909"/>
                  <a:gd name="T99" fmla="*/ 602 h 1265"/>
                  <a:gd name="T100" fmla="*/ 97 w 909"/>
                  <a:gd name="T101" fmla="*/ 444 h 1265"/>
                  <a:gd name="T102" fmla="*/ 116 w 909"/>
                  <a:gd name="T103" fmla="*/ 406 h 1265"/>
                  <a:gd name="T104" fmla="*/ 135 w 909"/>
                  <a:gd name="T105" fmla="*/ 371 h 1265"/>
                  <a:gd name="T106" fmla="*/ 127 w 909"/>
                  <a:gd name="T107" fmla="*/ 332 h 1265"/>
                  <a:gd name="T108" fmla="*/ 87 w 909"/>
                  <a:gd name="T109" fmla="*/ 275 h 1265"/>
                  <a:gd name="T110" fmla="*/ 68 w 909"/>
                  <a:gd name="T111" fmla="*/ 224 h 1265"/>
                  <a:gd name="T112" fmla="*/ 59 w 909"/>
                  <a:gd name="T113" fmla="*/ 170 h 1265"/>
                  <a:gd name="T114" fmla="*/ 49 w 909"/>
                  <a:gd name="T115" fmla="*/ 122 h 1265"/>
                  <a:gd name="T116" fmla="*/ 30 w 909"/>
                  <a:gd name="T117" fmla="*/ 76 h 1265"/>
                  <a:gd name="T118" fmla="*/ 10 w 909"/>
                  <a:gd name="T119" fmla="*/ 48 h 1265"/>
                  <a:gd name="T120" fmla="*/ 67 w 909"/>
                  <a:gd name="T121" fmla="*/ 46 h 1265"/>
                  <a:gd name="T122" fmla="*/ 113 w 909"/>
                  <a:gd name="T123" fmla="*/ 29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9" h="1265">
                    <a:moveTo>
                      <a:pt x="170" y="0"/>
                    </a:moveTo>
                    <a:lnTo>
                      <a:pt x="179" y="2"/>
                    </a:lnTo>
                    <a:lnTo>
                      <a:pt x="187" y="4"/>
                    </a:lnTo>
                    <a:lnTo>
                      <a:pt x="197" y="2"/>
                    </a:lnTo>
                    <a:lnTo>
                      <a:pt x="206" y="2"/>
                    </a:lnTo>
                    <a:lnTo>
                      <a:pt x="214" y="2"/>
                    </a:lnTo>
                    <a:lnTo>
                      <a:pt x="222" y="2"/>
                    </a:lnTo>
                    <a:lnTo>
                      <a:pt x="230" y="2"/>
                    </a:lnTo>
                    <a:lnTo>
                      <a:pt x="233" y="2"/>
                    </a:lnTo>
                    <a:lnTo>
                      <a:pt x="238" y="2"/>
                    </a:lnTo>
                    <a:lnTo>
                      <a:pt x="241" y="0"/>
                    </a:lnTo>
                    <a:lnTo>
                      <a:pt x="246" y="0"/>
                    </a:lnTo>
                    <a:lnTo>
                      <a:pt x="249" y="0"/>
                    </a:lnTo>
                    <a:lnTo>
                      <a:pt x="255" y="0"/>
                    </a:lnTo>
                    <a:lnTo>
                      <a:pt x="255" y="2"/>
                    </a:lnTo>
                    <a:lnTo>
                      <a:pt x="255" y="4"/>
                    </a:lnTo>
                    <a:lnTo>
                      <a:pt x="255" y="5"/>
                    </a:lnTo>
                    <a:lnTo>
                      <a:pt x="257" y="7"/>
                    </a:lnTo>
                    <a:lnTo>
                      <a:pt x="257" y="8"/>
                    </a:lnTo>
                    <a:lnTo>
                      <a:pt x="257" y="10"/>
                    </a:lnTo>
                    <a:lnTo>
                      <a:pt x="258" y="10"/>
                    </a:lnTo>
                    <a:lnTo>
                      <a:pt x="258" y="12"/>
                    </a:lnTo>
                    <a:lnTo>
                      <a:pt x="258" y="13"/>
                    </a:lnTo>
                    <a:lnTo>
                      <a:pt x="260" y="13"/>
                    </a:lnTo>
                    <a:lnTo>
                      <a:pt x="260" y="15"/>
                    </a:lnTo>
                    <a:lnTo>
                      <a:pt x="262" y="15"/>
                    </a:lnTo>
                    <a:lnTo>
                      <a:pt x="262" y="16"/>
                    </a:lnTo>
                    <a:lnTo>
                      <a:pt x="263" y="16"/>
                    </a:lnTo>
                    <a:lnTo>
                      <a:pt x="265" y="18"/>
                    </a:lnTo>
                    <a:lnTo>
                      <a:pt x="265" y="19"/>
                    </a:lnTo>
                    <a:lnTo>
                      <a:pt x="266" y="21"/>
                    </a:lnTo>
                    <a:lnTo>
                      <a:pt x="266" y="23"/>
                    </a:lnTo>
                    <a:lnTo>
                      <a:pt x="268" y="23"/>
                    </a:lnTo>
                    <a:lnTo>
                      <a:pt x="268" y="24"/>
                    </a:lnTo>
                    <a:lnTo>
                      <a:pt x="269" y="24"/>
                    </a:lnTo>
                    <a:lnTo>
                      <a:pt x="271" y="24"/>
                    </a:lnTo>
                    <a:lnTo>
                      <a:pt x="273" y="24"/>
                    </a:lnTo>
                    <a:lnTo>
                      <a:pt x="274" y="24"/>
                    </a:lnTo>
                    <a:lnTo>
                      <a:pt x="276" y="24"/>
                    </a:lnTo>
                    <a:lnTo>
                      <a:pt x="277" y="24"/>
                    </a:lnTo>
                    <a:lnTo>
                      <a:pt x="279" y="24"/>
                    </a:lnTo>
                    <a:lnTo>
                      <a:pt x="279" y="26"/>
                    </a:lnTo>
                    <a:lnTo>
                      <a:pt x="281" y="26"/>
                    </a:lnTo>
                    <a:lnTo>
                      <a:pt x="281" y="27"/>
                    </a:lnTo>
                    <a:lnTo>
                      <a:pt x="281" y="29"/>
                    </a:lnTo>
                    <a:lnTo>
                      <a:pt x="279" y="29"/>
                    </a:lnTo>
                    <a:lnTo>
                      <a:pt x="279" y="31"/>
                    </a:lnTo>
                    <a:lnTo>
                      <a:pt x="279" y="32"/>
                    </a:lnTo>
                    <a:lnTo>
                      <a:pt x="279" y="34"/>
                    </a:lnTo>
                    <a:lnTo>
                      <a:pt x="279" y="35"/>
                    </a:lnTo>
                    <a:lnTo>
                      <a:pt x="279" y="37"/>
                    </a:lnTo>
                    <a:lnTo>
                      <a:pt x="279" y="38"/>
                    </a:lnTo>
                    <a:lnTo>
                      <a:pt x="279" y="40"/>
                    </a:lnTo>
                    <a:lnTo>
                      <a:pt x="279" y="42"/>
                    </a:lnTo>
                    <a:lnTo>
                      <a:pt x="281" y="43"/>
                    </a:lnTo>
                    <a:lnTo>
                      <a:pt x="282" y="43"/>
                    </a:lnTo>
                    <a:lnTo>
                      <a:pt x="282" y="45"/>
                    </a:lnTo>
                    <a:lnTo>
                      <a:pt x="284" y="45"/>
                    </a:lnTo>
                    <a:lnTo>
                      <a:pt x="285" y="45"/>
                    </a:lnTo>
                    <a:lnTo>
                      <a:pt x="287" y="45"/>
                    </a:lnTo>
                    <a:lnTo>
                      <a:pt x="288" y="45"/>
                    </a:lnTo>
                    <a:lnTo>
                      <a:pt x="290" y="45"/>
                    </a:lnTo>
                    <a:lnTo>
                      <a:pt x="292" y="45"/>
                    </a:lnTo>
                    <a:lnTo>
                      <a:pt x="292" y="43"/>
                    </a:lnTo>
                    <a:lnTo>
                      <a:pt x="293" y="43"/>
                    </a:lnTo>
                    <a:lnTo>
                      <a:pt x="295" y="43"/>
                    </a:lnTo>
                    <a:lnTo>
                      <a:pt x="296" y="43"/>
                    </a:lnTo>
                    <a:lnTo>
                      <a:pt x="296" y="42"/>
                    </a:lnTo>
                    <a:lnTo>
                      <a:pt x="298" y="43"/>
                    </a:lnTo>
                    <a:lnTo>
                      <a:pt x="298" y="42"/>
                    </a:lnTo>
                    <a:lnTo>
                      <a:pt x="300" y="42"/>
                    </a:lnTo>
                    <a:lnTo>
                      <a:pt x="301" y="42"/>
                    </a:lnTo>
                    <a:lnTo>
                      <a:pt x="301" y="40"/>
                    </a:lnTo>
                    <a:lnTo>
                      <a:pt x="303" y="40"/>
                    </a:lnTo>
                    <a:lnTo>
                      <a:pt x="304" y="38"/>
                    </a:lnTo>
                    <a:lnTo>
                      <a:pt x="306" y="38"/>
                    </a:lnTo>
                    <a:lnTo>
                      <a:pt x="306" y="37"/>
                    </a:lnTo>
                    <a:lnTo>
                      <a:pt x="307" y="37"/>
                    </a:lnTo>
                    <a:lnTo>
                      <a:pt x="307" y="35"/>
                    </a:lnTo>
                    <a:lnTo>
                      <a:pt x="309" y="35"/>
                    </a:lnTo>
                    <a:lnTo>
                      <a:pt x="309" y="34"/>
                    </a:lnTo>
                    <a:lnTo>
                      <a:pt x="311" y="32"/>
                    </a:lnTo>
                    <a:lnTo>
                      <a:pt x="312" y="32"/>
                    </a:lnTo>
                    <a:lnTo>
                      <a:pt x="312" y="31"/>
                    </a:lnTo>
                    <a:lnTo>
                      <a:pt x="314" y="31"/>
                    </a:lnTo>
                    <a:lnTo>
                      <a:pt x="315" y="31"/>
                    </a:lnTo>
                    <a:lnTo>
                      <a:pt x="315" y="32"/>
                    </a:lnTo>
                    <a:lnTo>
                      <a:pt x="317" y="32"/>
                    </a:lnTo>
                    <a:lnTo>
                      <a:pt x="317" y="34"/>
                    </a:lnTo>
                    <a:lnTo>
                      <a:pt x="317" y="35"/>
                    </a:lnTo>
                    <a:lnTo>
                      <a:pt x="319" y="37"/>
                    </a:lnTo>
                    <a:lnTo>
                      <a:pt x="317" y="37"/>
                    </a:lnTo>
                    <a:lnTo>
                      <a:pt x="317" y="38"/>
                    </a:lnTo>
                    <a:lnTo>
                      <a:pt x="317" y="40"/>
                    </a:lnTo>
                    <a:lnTo>
                      <a:pt x="317" y="42"/>
                    </a:lnTo>
                    <a:lnTo>
                      <a:pt x="319" y="42"/>
                    </a:lnTo>
                    <a:lnTo>
                      <a:pt x="319" y="43"/>
                    </a:lnTo>
                    <a:lnTo>
                      <a:pt x="320" y="43"/>
                    </a:lnTo>
                    <a:lnTo>
                      <a:pt x="320" y="45"/>
                    </a:lnTo>
                    <a:lnTo>
                      <a:pt x="322" y="45"/>
                    </a:lnTo>
                    <a:lnTo>
                      <a:pt x="322" y="46"/>
                    </a:lnTo>
                    <a:lnTo>
                      <a:pt x="322" y="48"/>
                    </a:lnTo>
                    <a:lnTo>
                      <a:pt x="322" y="50"/>
                    </a:lnTo>
                    <a:lnTo>
                      <a:pt x="322" y="51"/>
                    </a:lnTo>
                    <a:lnTo>
                      <a:pt x="323" y="53"/>
                    </a:lnTo>
                    <a:lnTo>
                      <a:pt x="325" y="53"/>
                    </a:lnTo>
                    <a:lnTo>
                      <a:pt x="325" y="54"/>
                    </a:lnTo>
                    <a:lnTo>
                      <a:pt x="326" y="54"/>
                    </a:lnTo>
                    <a:lnTo>
                      <a:pt x="328" y="56"/>
                    </a:lnTo>
                    <a:lnTo>
                      <a:pt x="330" y="56"/>
                    </a:lnTo>
                    <a:lnTo>
                      <a:pt x="331" y="56"/>
                    </a:lnTo>
                    <a:lnTo>
                      <a:pt x="333" y="56"/>
                    </a:lnTo>
                    <a:lnTo>
                      <a:pt x="334" y="56"/>
                    </a:lnTo>
                    <a:lnTo>
                      <a:pt x="334" y="57"/>
                    </a:lnTo>
                    <a:lnTo>
                      <a:pt x="336" y="59"/>
                    </a:lnTo>
                    <a:lnTo>
                      <a:pt x="336" y="61"/>
                    </a:lnTo>
                    <a:lnTo>
                      <a:pt x="336" y="62"/>
                    </a:lnTo>
                    <a:lnTo>
                      <a:pt x="336" y="64"/>
                    </a:lnTo>
                    <a:lnTo>
                      <a:pt x="336" y="65"/>
                    </a:lnTo>
                    <a:lnTo>
                      <a:pt x="338" y="67"/>
                    </a:lnTo>
                    <a:lnTo>
                      <a:pt x="338" y="69"/>
                    </a:lnTo>
                    <a:lnTo>
                      <a:pt x="339" y="69"/>
                    </a:lnTo>
                    <a:lnTo>
                      <a:pt x="341" y="70"/>
                    </a:lnTo>
                    <a:lnTo>
                      <a:pt x="342" y="72"/>
                    </a:lnTo>
                    <a:lnTo>
                      <a:pt x="344" y="72"/>
                    </a:lnTo>
                    <a:lnTo>
                      <a:pt x="344" y="73"/>
                    </a:lnTo>
                    <a:lnTo>
                      <a:pt x="345" y="73"/>
                    </a:lnTo>
                    <a:lnTo>
                      <a:pt x="345" y="75"/>
                    </a:lnTo>
                    <a:lnTo>
                      <a:pt x="345" y="76"/>
                    </a:lnTo>
                    <a:lnTo>
                      <a:pt x="347" y="76"/>
                    </a:lnTo>
                    <a:lnTo>
                      <a:pt x="347" y="78"/>
                    </a:lnTo>
                    <a:lnTo>
                      <a:pt x="347" y="80"/>
                    </a:lnTo>
                    <a:lnTo>
                      <a:pt x="347" y="81"/>
                    </a:lnTo>
                    <a:lnTo>
                      <a:pt x="349" y="81"/>
                    </a:lnTo>
                    <a:lnTo>
                      <a:pt x="349" y="83"/>
                    </a:lnTo>
                    <a:lnTo>
                      <a:pt x="349" y="84"/>
                    </a:lnTo>
                    <a:lnTo>
                      <a:pt x="349" y="86"/>
                    </a:lnTo>
                    <a:lnTo>
                      <a:pt x="349" y="88"/>
                    </a:lnTo>
                    <a:lnTo>
                      <a:pt x="349" y="89"/>
                    </a:lnTo>
                    <a:lnTo>
                      <a:pt x="349" y="91"/>
                    </a:lnTo>
                    <a:lnTo>
                      <a:pt x="349" y="92"/>
                    </a:lnTo>
                    <a:lnTo>
                      <a:pt x="350" y="92"/>
                    </a:lnTo>
                    <a:lnTo>
                      <a:pt x="350" y="94"/>
                    </a:lnTo>
                    <a:lnTo>
                      <a:pt x="350" y="96"/>
                    </a:lnTo>
                    <a:lnTo>
                      <a:pt x="350" y="97"/>
                    </a:lnTo>
                    <a:lnTo>
                      <a:pt x="350" y="99"/>
                    </a:lnTo>
                    <a:lnTo>
                      <a:pt x="352" y="99"/>
                    </a:lnTo>
                    <a:lnTo>
                      <a:pt x="352" y="100"/>
                    </a:lnTo>
                    <a:lnTo>
                      <a:pt x="352" y="102"/>
                    </a:lnTo>
                    <a:lnTo>
                      <a:pt x="352" y="103"/>
                    </a:lnTo>
                    <a:lnTo>
                      <a:pt x="353" y="103"/>
                    </a:lnTo>
                    <a:lnTo>
                      <a:pt x="353" y="105"/>
                    </a:lnTo>
                    <a:lnTo>
                      <a:pt x="355" y="105"/>
                    </a:lnTo>
                    <a:lnTo>
                      <a:pt x="357" y="105"/>
                    </a:lnTo>
                    <a:lnTo>
                      <a:pt x="358" y="105"/>
                    </a:lnTo>
                    <a:lnTo>
                      <a:pt x="358" y="103"/>
                    </a:lnTo>
                    <a:lnTo>
                      <a:pt x="358" y="105"/>
                    </a:lnTo>
                    <a:lnTo>
                      <a:pt x="358" y="107"/>
                    </a:lnTo>
                    <a:lnTo>
                      <a:pt x="358" y="108"/>
                    </a:lnTo>
                    <a:lnTo>
                      <a:pt x="358" y="110"/>
                    </a:lnTo>
                    <a:lnTo>
                      <a:pt x="357" y="110"/>
                    </a:lnTo>
                    <a:lnTo>
                      <a:pt x="357" y="111"/>
                    </a:lnTo>
                    <a:lnTo>
                      <a:pt x="355" y="111"/>
                    </a:lnTo>
                    <a:lnTo>
                      <a:pt x="353" y="111"/>
                    </a:lnTo>
                    <a:lnTo>
                      <a:pt x="352" y="113"/>
                    </a:lnTo>
                    <a:lnTo>
                      <a:pt x="352" y="115"/>
                    </a:lnTo>
                    <a:lnTo>
                      <a:pt x="350" y="116"/>
                    </a:lnTo>
                    <a:lnTo>
                      <a:pt x="349" y="118"/>
                    </a:lnTo>
                    <a:lnTo>
                      <a:pt x="347" y="119"/>
                    </a:lnTo>
                    <a:lnTo>
                      <a:pt x="347" y="121"/>
                    </a:lnTo>
                    <a:lnTo>
                      <a:pt x="349" y="121"/>
                    </a:lnTo>
                    <a:lnTo>
                      <a:pt x="349" y="122"/>
                    </a:lnTo>
                    <a:lnTo>
                      <a:pt x="349" y="124"/>
                    </a:lnTo>
                    <a:lnTo>
                      <a:pt x="350" y="124"/>
                    </a:lnTo>
                    <a:lnTo>
                      <a:pt x="350" y="126"/>
                    </a:lnTo>
                    <a:lnTo>
                      <a:pt x="350" y="127"/>
                    </a:lnTo>
                    <a:lnTo>
                      <a:pt x="352" y="127"/>
                    </a:lnTo>
                    <a:lnTo>
                      <a:pt x="352" y="129"/>
                    </a:lnTo>
                    <a:lnTo>
                      <a:pt x="353" y="130"/>
                    </a:lnTo>
                    <a:lnTo>
                      <a:pt x="355" y="130"/>
                    </a:lnTo>
                    <a:lnTo>
                      <a:pt x="355" y="132"/>
                    </a:lnTo>
                    <a:lnTo>
                      <a:pt x="357" y="132"/>
                    </a:lnTo>
                    <a:lnTo>
                      <a:pt x="357" y="134"/>
                    </a:lnTo>
                    <a:lnTo>
                      <a:pt x="358" y="134"/>
                    </a:lnTo>
                    <a:lnTo>
                      <a:pt x="360" y="134"/>
                    </a:lnTo>
                    <a:lnTo>
                      <a:pt x="360" y="135"/>
                    </a:lnTo>
                    <a:lnTo>
                      <a:pt x="361" y="135"/>
                    </a:lnTo>
                    <a:lnTo>
                      <a:pt x="363" y="135"/>
                    </a:lnTo>
                    <a:lnTo>
                      <a:pt x="363" y="137"/>
                    </a:lnTo>
                    <a:lnTo>
                      <a:pt x="364" y="137"/>
                    </a:lnTo>
                    <a:lnTo>
                      <a:pt x="364" y="138"/>
                    </a:lnTo>
                    <a:lnTo>
                      <a:pt x="366" y="138"/>
                    </a:lnTo>
                    <a:lnTo>
                      <a:pt x="368" y="138"/>
                    </a:lnTo>
                    <a:lnTo>
                      <a:pt x="369" y="140"/>
                    </a:lnTo>
                    <a:lnTo>
                      <a:pt x="371" y="140"/>
                    </a:lnTo>
                    <a:lnTo>
                      <a:pt x="371" y="141"/>
                    </a:lnTo>
                    <a:lnTo>
                      <a:pt x="372" y="141"/>
                    </a:lnTo>
                    <a:lnTo>
                      <a:pt x="372" y="143"/>
                    </a:lnTo>
                    <a:lnTo>
                      <a:pt x="372" y="145"/>
                    </a:lnTo>
                    <a:lnTo>
                      <a:pt x="372" y="146"/>
                    </a:lnTo>
                    <a:lnTo>
                      <a:pt x="374" y="146"/>
                    </a:lnTo>
                    <a:lnTo>
                      <a:pt x="374" y="148"/>
                    </a:lnTo>
                    <a:lnTo>
                      <a:pt x="376" y="148"/>
                    </a:lnTo>
                    <a:lnTo>
                      <a:pt x="377" y="148"/>
                    </a:lnTo>
                    <a:lnTo>
                      <a:pt x="379" y="148"/>
                    </a:lnTo>
                    <a:lnTo>
                      <a:pt x="380" y="148"/>
                    </a:lnTo>
                    <a:lnTo>
                      <a:pt x="382" y="149"/>
                    </a:lnTo>
                    <a:lnTo>
                      <a:pt x="382" y="151"/>
                    </a:lnTo>
                    <a:lnTo>
                      <a:pt x="382" y="153"/>
                    </a:lnTo>
                    <a:lnTo>
                      <a:pt x="380" y="153"/>
                    </a:lnTo>
                    <a:lnTo>
                      <a:pt x="380" y="154"/>
                    </a:lnTo>
                    <a:lnTo>
                      <a:pt x="380" y="156"/>
                    </a:lnTo>
                    <a:lnTo>
                      <a:pt x="380" y="157"/>
                    </a:lnTo>
                    <a:lnTo>
                      <a:pt x="380" y="159"/>
                    </a:lnTo>
                    <a:lnTo>
                      <a:pt x="382" y="159"/>
                    </a:lnTo>
                    <a:lnTo>
                      <a:pt x="383" y="159"/>
                    </a:lnTo>
                    <a:lnTo>
                      <a:pt x="385" y="159"/>
                    </a:lnTo>
                    <a:lnTo>
                      <a:pt x="387" y="159"/>
                    </a:lnTo>
                    <a:lnTo>
                      <a:pt x="387" y="160"/>
                    </a:lnTo>
                    <a:lnTo>
                      <a:pt x="387" y="162"/>
                    </a:lnTo>
                    <a:lnTo>
                      <a:pt x="385" y="162"/>
                    </a:lnTo>
                    <a:lnTo>
                      <a:pt x="383" y="164"/>
                    </a:lnTo>
                    <a:lnTo>
                      <a:pt x="382" y="164"/>
                    </a:lnTo>
                    <a:lnTo>
                      <a:pt x="382" y="165"/>
                    </a:lnTo>
                    <a:lnTo>
                      <a:pt x="380" y="165"/>
                    </a:lnTo>
                    <a:lnTo>
                      <a:pt x="380" y="167"/>
                    </a:lnTo>
                    <a:lnTo>
                      <a:pt x="382" y="168"/>
                    </a:lnTo>
                    <a:lnTo>
                      <a:pt x="383" y="170"/>
                    </a:lnTo>
                    <a:lnTo>
                      <a:pt x="385" y="170"/>
                    </a:lnTo>
                    <a:lnTo>
                      <a:pt x="385" y="172"/>
                    </a:lnTo>
                    <a:lnTo>
                      <a:pt x="387" y="172"/>
                    </a:lnTo>
                    <a:lnTo>
                      <a:pt x="387" y="173"/>
                    </a:lnTo>
                    <a:lnTo>
                      <a:pt x="387" y="175"/>
                    </a:lnTo>
                    <a:lnTo>
                      <a:pt x="387" y="176"/>
                    </a:lnTo>
                    <a:lnTo>
                      <a:pt x="387" y="178"/>
                    </a:lnTo>
                    <a:lnTo>
                      <a:pt x="387" y="179"/>
                    </a:lnTo>
                    <a:lnTo>
                      <a:pt x="387" y="181"/>
                    </a:lnTo>
                    <a:lnTo>
                      <a:pt x="387" y="183"/>
                    </a:lnTo>
                    <a:lnTo>
                      <a:pt x="387" y="184"/>
                    </a:lnTo>
                    <a:lnTo>
                      <a:pt x="388" y="184"/>
                    </a:lnTo>
                    <a:lnTo>
                      <a:pt x="388" y="183"/>
                    </a:lnTo>
                    <a:lnTo>
                      <a:pt x="390" y="183"/>
                    </a:lnTo>
                    <a:lnTo>
                      <a:pt x="391" y="183"/>
                    </a:lnTo>
                    <a:lnTo>
                      <a:pt x="393" y="183"/>
                    </a:lnTo>
                    <a:lnTo>
                      <a:pt x="395" y="183"/>
                    </a:lnTo>
                    <a:lnTo>
                      <a:pt x="395" y="181"/>
                    </a:lnTo>
                    <a:lnTo>
                      <a:pt x="396" y="181"/>
                    </a:lnTo>
                    <a:lnTo>
                      <a:pt x="396" y="179"/>
                    </a:lnTo>
                    <a:lnTo>
                      <a:pt x="398" y="179"/>
                    </a:lnTo>
                    <a:lnTo>
                      <a:pt x="399" y="179"/>
                    </a:lnTo>
                    <a:lnTo>
                      <a:pt x="401" y="179"/>
                    </a:lnTo>
                    <a:lnTo>
                      <a:pt x="402" y="179"/>
                    </a:lnTo>
                    <a:lnTo>
                      <a:pt x="402" y="181"/>
                    </a:lnTo>
                    <a:lnTo>
                      <a:pt x="404" y="183"/>
                    </a:lnTo>
                    <a:lnTo>
                      <a:pt x="406" y="183"/>
                    </a:lnTo>
                    <a:lnTo>
                      <a:pt x="407" y="183"/>
                    </a:lnTo>
                    <a:lnTo>
                      <a:pt x="409" y="183"/>
                    </a:lnTo>
                    <a:lnTo>
                      <a:pt x="410" y="183"/>
                    </a:lnTo>
                    <a:lnTo>
                      <a:pt x="412" y="183"/>
                    </a:lnTo>
                    <a:lnTo>
                      <a:pt x="412" y="181"/>
                    </a:lnTo>
                    <a:lnTo>
                      <a:pt x="414" y="181"/>
                    </a:lnTo>
                    <a:lnTo>
                      <a:pt x="415" y="181"/>
                    </a:lnTo>
                    <a:lnTo>
                      <a:pt x="415" y="183"/>
                    </a:lnTo>
                    <a:lnTo>
                      <a:pt x="415" y="184"/>
                    </a:lnTo>
                    <a:lnTo>
                      <a:pt x="415" y="186"/>
                    </a:lnTo>
                    <a:lnTo>
                      <a:pt x="415" y="187"/>
                    </a:lnTo>
                    <a:lnTo>
                      <a:pt x="417" y="189"/>
                    </a:lnTo>
                    <a:lnTo>
                      <a:pt x="417" y="191"/>
                    </a:lnTo>
                    <a:lnTo>
                      <a:pt x="417" y="192"/>
                    </a:lnTo>
                    <a:lnTo>
                      <a:pt x="417" y="194"/>
                    </a:lnTo>
                    <a:lnTo>
                      <a:pt x="417" y="195"/>
                    </a:lnTo>
                    <a:lnTo>
                      <a:pt x="418" y="195"/>
                    </a:lnTo>
                    <a:lnTo>
                      <a:pt x="418" y="197"/>
                    </a:lnTo>
                    <a:lnTo>
                      <a:pt x="420" y="197"/>
                    </a:lnTo>
                    <a:lnTo>
                      <a:pt x="421" y="197"/>
                    </a:lnTo>
                    <a:lnTo>
                      <a:pt x="423" y="197"/>
                    </a:lnTo>
                    <a:lnTo>
                      <a:pt x="423" y="198"/>
                    </a:lnTo>
                    <a:lnTo>
                      <a:pt x="425" y="198"/>
                    </a:lnTo>
                    <a:lnTo>
                      <a:pt x="425" y="200"/>
                    </a:lnTo>
                    <a:lnTo>
                      <a:pt x="425" y="202"/>
                    </a:lnTo>
                    <a:lnTo>
                      <a:pt x="426" y="202"/>
                    </a:lnTo>
                    <a:lnTo>
                      <a:pt x="428" y="202"/>
                    </a:lnTo>
                    <a:lnTo>
                      <a:pt x="428" y="200"/>
                    </a:lnTo>
                    <a:lnTo>
                      <a:pt x="429" y="200"/>
                    </a:lnTo>
                    <a:lnTo>
                      <a:pt x="431" y="200"/>
                    </a:lnTo>
                    <a:lnTo>
                      <a:pt x="433" y="200"/>
                    </a:lnTo>
                    <a:lnTo>
                      <a:pt x="433" y="198"/>
                    </a:lnTo>
                    <a:lnTo>
                      <a:pt x="433" y="197"/>
                    </a:lnTo>
                    <a:lnTo>
                      <a:pt x="434" y="197"/>
                    </a:lnTo>
                    <a:lnTo>
                      <a:pt x="434" y="195"/>
                    </a:lnTo>
                    <a:lnTo>
                      <a:pt x="434" y="194"/>
                    </a:lnTo>
                    <a:lnTo>
                      <a:pt x="436" y="194"/>
                    </a:lnTo>
                    <a:lnTo>
                      <a:pt x="437" y="194"/>
                    </a:lnTo>
                    <a:lnTo>
                      <a:pt x="439" y="194"/>
                    </a:lnTo>
                    <a:lnTo>
                      <a:pt x="439" y="195"/>
                    </a:lnTo>
                    <a:lnTo>
                      <a:pt x="441" y="197"/>
                    </a:lnTo>
                    <a:lnTo>
                      <a:pt x="442" y="197"/>
                    </a:lnTo>
                    <a:lnTo>
                      <a:pt x="444" y="197"/>
                    </a:lnTo>
                    <a:lnTo>
                      <a:pt x="444" y="198"/>
                    </a:lnTo>
                    <a:lnTo>
                      <a:pt x="445" y="198"/>
                    </a:lnTo>
                    <a:lnTo>
                      <a:pt x="447" y="198"/>
                    </a:lnTo>
                    <a:lnTo>
                      <a:pt x="448" y="198"/>
                    </a:lnTo>
                    <a:lnTo>
                      <a:pt x="450" y="198"/>
                    </a:lnTo>
                    <a:lnTo>
                      <a:pt x="452" y="198"/>
                    </a:lnTo>
                    <a:lnTo>
                      <a:pt x="453" y="198"/>
                    </a:lnTo>
                    <a:lnTo>
                      <a:pt x="455" y="198"/>
                    </a:lnTo>
                    <a:lnTo>
                      <a:pt x="455" y="197"/>
                    </a:lnTo>
                    <a:lnTo>
                      <a:pt x="456" y="197"/>
                    </a:lnTo>
                    <a:lnTo>
                      <a:pt x="458" y="197"/>
                    </a:lnTo>
                    <a:lnTo>
                      <a:pt x="460" y="197"/>
                    </a:lnTo>
                    <a:lnTo>
                      <a:pt x="460" y="198"/>
                    </a:lnTo>
                    <a:lnTo>
                      <a:pt x="460" y="200"/>
                    </a:lnTo>
                    <a:lnTo>
                      <a:pt x="461" y="200"/>
                    </a:lnTo>
                    <a:lnTo>
                      <a:pt x="461" y="202"/>
                    </a:lnTo>
                    <a:lnTo>
                      <a:pt x="463" y="202"/>
                    </a:lnTo>
                    <a:lnTo>
                      <a:pt x="464" y="202"/>
                    </a:lnTo>
                    <a:lnTo>
                      <a:pt x="466" y="202"/>
                    </a:lnTo>
                    <a:lnTo>
                      <a:pt x="466" y="203"/>
                    </a:lnTo>
                    <a:lnTo>
                      <a:pt x="467" y="203"/>
                    </a:lnTo>
                    <a:lnTo>
                      <a:pt x="467" y="205"/>
                    </a:lnTo>
                    <a:lnTo>
                      <a:pt x="467" y="206"/>
                    </a:lnTo>
                    <a:lnTo>
                      <a:pt x="469" y="206"/>
                    </a:lnTo>
                    <a:lnTo>
                      <a:pt x="469" y="208"/>
                    </a:lnTo>
                    <a:lnTo>
                      <a:pt x="471" y="208"/>
                    </a:lnTo>
                    <a:lnTo>
                      <a:pt x="472" y="208"/>
                    </a:lnTo>
                    <a:lnTo>
                      <a:pt x="474" y="208"/>
                    </a:lnTo>
                    <a:lnTo>
                      <a:pt x="475" y="208"/>
                    </a:lnTo>
                    <a:lnTo>
                      <a:pt x="477" y="208"/>
                    </a:lnTo>
                    <a:lnTo>
                      <a:pt x="479" y="208"/>
                    </a:lnTo>
                    <a:lnTo>
                      <a:pt x="480" y="208"/>
                    </a:lnTo>
                    <a:lnTo>
                      <a:pt x="482" y="208"/>
                    </a:lnTo>
                    <a:lnTo>
                      <a:pt x="483" y="208"/>
                    </a:lnTo>
                    <a:lnTo>
                      <a:pt x="485" y="208"/>
                    </a:lnTo>
                    <a:lnTo>
                      <a:pt x="485" y="206"/>
                    </a:lnTo>
                    <a:lnTo>
                      <a:pt x="486" y="206"/>
                    </a:lnTo>
                    <a:lnTo>
                      <a:pt x="486" y="208"/>
                    </a:lnTo>
                    <a:lnTo>
                      <a:pt x="488" y="208"/>
                    </a:lnTo>
                    <a:lnTo>
                      <a:pt x="490" y="208"/>
                    </a:lnTo>
                    <a:lnTo>
                      <a:pt x="491" y="208"/>
                    </a:lnTo>
                    <a:lnTo>
                      <a:pt x="493" y="210"/>
                    </a:lnTo>
                    <a:lnTo>
                      <a:pt x="493" y="211"/>
                    </a:lnTo>
                    <a:lnTo>
                      <a:pt x="494" y="211"/>
                    </a:lnTo>
                    <a:lnTo>
                      <a:pt x="496" y="210"/>
                    </a:lnTo>
                    <a:lnTo>
                      <a:pt x="494" y="210"/>
                    </a:lnTo>
                    <a:lnTo>
                      <a:pt x="494" y="208"/>
                    </a:lnTo>
                    <a:lnTo>
                      <a:pt x="493" y="208"/>
                    </a:lnTo>
                    <a:lnTo>
                      <a:pt x="494" y="208"/>
                    </a:lnTo>
                    <a:lnTo>
                      <a:pt x="494" y="206"/>
                    </a:lnTo>
                    <a:lnTo>
                      <a:pt x="496" y="205"/>
                    </a:lnTo>
                    <a:lnTo>
                      <a:pt x="498" y="205"/>
                    </a:lnTo>
                    <a:lnTo>
                      <a:pt x="499" y="205"/>
                    </a:lnTo>
                    <a:lnTo>
                      <a:pt x="499" y="206"/>
                    </a:lnTo>
                    <a:lnTo>
                      <a:pt x="499" y="208"/>
                    </a:lnTo>
                    <a:lnTo>
                      <a:pt x="501" y="208"/>
                    </a:lnTo>
                    <a:lnTo>
                      <a:pt x="502" y="206"/>
                    </a:lnTo>
                    <a:lnTo>
                      <a:pt x="502" y="208"/>
                    </a:lnTo>
                    <a:lnTo>
                      <a:pt x="504" y="208"/>
                    </a:lnTo>
                    <a:lnTo>
                      <a:pt x="504" y="206"/>
                    </a:lnTo>
                    <a:lnTo>
                      <a:pt x="504" y="205"/>
                    </a:lnTo>
                    <a:lnTo>
                      <a:pt x="505" y="205"/>
                    </a:lnTo>
                    <a:lnTo>
                      <a:pt x="505" y="203"/>
                    </a:lnTo>
                    <a:lnTo>
                      <a:pt x="505" y="205"/>
                    </a:lnTo>
                    <a:lnTo>
                      <a:pt x="507" y="205"/>
                    </a:lnTo>
                    <a:lnTo>
                      <a:pt x="507" y="203"/>
                    </a:lnTo>
                    <a:lnTo>
                      <a:pt x="509" y="203"/>
                    </a:lnTo>
                    <a:lnTo>
                      <a:pt x="510" y="203"/>
                    </a:lnTo>
                    <a:lnTo>
                      <a:pt x="512" y="203"/>
                    </a:lnTo>
                    <a:lnTo>
                      <a:pt x="512" y="202"/>
                    </a:lnTo>
                    <a:lnTo>
                      <a:pt x="513" y="202"/>
                    </a:lnTo>
                    <a:lnTo>
                      <a:pt x="515" y="202"/>
                    </a:lnTo>
                    <a:lnTo>
                      <a:pt x="515" y="203"/>
                    </a:lnTo>
                    <a:lnTo>
                      <a:pt x="517" y="203"/>
                    </a:lnTo>
                    <a:lnTo>
                      <a:pt x="517" y="202"/>
                    </a:lnTo>
                    <a:lnTo>
                      <a:pt x="518" y="202"/>
                    </a:lnTo>
                    <a:lnTo>
                      <a:pt x="518" y="203"/>
                    </a:lnTo>
                    <a:lnTo>
                      <a:pt x="518" y="205"/>
                    </a:lnTo>
                    <a:lnTo>
                      <a:pt x="520" y="205"/>
                    </a:lnTo>
                    <a:lnTo>
                      <a:pt x="521" y="205"/>
                    </a:lnTo>
                    <a:lnTo>
                      <a:pt x="521" y="206"/>
                    </a:lnTo>
                    <a:lnTo>
                      <a:pt x="521" y="208"/>
                    </a:lnTo>
                    <a:lnTo>
                      <a:pt x="523" y="208"/>
                    </a:lnTo>
                    <a:lnTo>
                      <a:pt x="523" y="210"/>
                    </a:lnTo>
                    <a:lnTo>
                      <a:pt x="524" y="210"/>
                    </a:lnTo>
                    <a:lnTo>
                      <a:pt x="524" y="211"/>
                    </a:lnTo>
                    <a:lnTo>
                      <a:pt x="526" y="211"/>
                    </a:lnTo>
                    <a:lnTo>
                      <a:pt x="526" y="210"/>
                    </a:lnTo>
                    <a:lnTo>
                      <a:pt x="528" y="210"/>
                    </a:lnTo>
                    <a:lnTo>
                      <a:pt x="528" y="208"/>
                    </a:lnTo>
                    <a:lnTo>
                      <a:pt x="526" y="208"/>
                    </a:lnTo>
                    <a:lnTo>
                      <a:pt x="528" y="208"/>
                    </a:lnTo>
                    <a:lnTo>
                      <a:pt x="528" y="206"/>
                    </a:lnTo>
                    <a:lnTo>
                      <a:pt x="529" y="206"/>
                    </a:lnTo>
                    <a:lnTo>
                      <a:pt x="529" y="208"/>
                    </a:lnTo>
                    <a:lnTo>
                      <a:pt x="531" y="208"/>
                    </a:lnTo>
                    <a:lnTo>
                      <a:pt x="531" y="206"/>
                    </a:lnTo>
                    <a:lnTo>
                      <a:pt x="532" y="206"/>
                    </a:lnTo>
                    <a:lnTo>
                      <a:pt x="534" y="206"/>
                    </a:lnTo>
                    <a:lnTo>
                      <a:pt x="534" y="208"/>
                    </a:lnTo>
                    <a:lnTo>
                      <a:pt x="534" y="210"/>
                    </a:lnTo>
                    <a:lnTo>
                      <a:pt x="534" y="211"/>
                    </a:lnTo>
                    <a:lnTo>
                      <a:pt x="536" y="211"/>
                    </a:lnTo>
                    <a:lnTo>
                      <a:pt x="537" y="211"/>
                    </a:lnTo>
                    <a:lnTo>
                      <a:pt x="539" y="211"/>
                    </a:lnTo>
                    <a:lnTo>
                      <a:pt x="539" y="210"/>
                    </a:lnTo>
                    <a:lnTo>
                      <a:pt x="539" y="208"/>
                    </a:lnTo>
                    <a:lnTo>
                      <a:pt x="540" y="208"/>
                    </a:lnTo>
                    <a:lnTo>
                      <a:pt x="540" y="206"/>
                    </a:lnTo>
                    <a:lnTo>
                      <a:pt x="542" y="206"/>
                    </a:lnTo>
                    <a:lnTo>
                      <a:pt x="543" y="206"/>
                    </a:lnTo>
                    <a:lnTo>
                      <a:pt x="545" y="206"/>
                    </a:lnTo>
                    <a:lnTo>
                      <a:pt x="547" y="206"/>
                    </a:lnTo>
                    <a:lnTo>
                      <a:pt x="547" y="208"/>
                    </a:lnTo>
                    <a:lnTo>
                      <a:pt x="548" y="208"/>
                    </a:lnTo>
                    <a:lnTo>
                      <a:pt x="550" y="208"/>
                    </a:lnTo>
                    <a:lnTo>
                      <a:pt x="551" y="208"/>
                    </a:lnTo>
                    <a:lnTo>
                      <a:pt x="553" y="208"/>
                    </a:lnTo>
                    <a:lnTo>
                      <a:pt x="553" y="206"/>
                    </a:lnTo>
                    <a:lnTo>
                      <a:pt x="553" y="205"/>
                    </a:lnTo>
                    <a:lnTo>
                      <a:pt x="555" y="205"/>
                    </a:lnTo>
                    <a:lnTo>
                      <a:pt x="555" y="203"/>
                    </a:lnTo>
                    <a:lnTo>
                      <a:pt x="556" y="205"/>
                    </a:lnTo>
                    <a:lnTo>
                      <a:pt x="558" y="205"/>
                    </a:lnTo>
                    <a:lnTo>
                      <a:pt x="558" y="206"/>
                    </a:lnTo>
                    <a:lnTo>
                      <a:pt x="558" y="205"/>
                    </a:lnTo>
                    <a:lnTo>
                      <a:pt x="559" y="205"/>
                    </a:lnTo>
                    <a:lnTo>
                      <a:pt x="558" y="205"/>
                    </a:lnTo>
                    <a:lnTo>
                      <a:pt x="558" y="203"/>
                    </a:lnTo>
                    <a:lnTo>
                      <a:pt x="559" y="203"/>
                    </a:lnTo>
                    <a:lnTo>
                      <a:pt x="561" y="203"/>
                    </a:lnTo>
                    <a:lnTo>
                      <a:pt x="561" y="202"/>
                    </a:lnTo>
                    <a:lnTo>
                      <a:pt x="561" y="200"/>
                    </a:lnTo>
                    <a:lnTo>
                      <a:pt x="562" y="200"/>
                    </a:lnTo>
                    <a:lnTo>
                      <a:pt x="562" y="198"/>
                    </a:lnTo>
                    <a:lnTo>
                      <a:pt x="564" y="198"/>
                    </a:lnTo>
                    <a:lnTo>
                      <a:pt x="562" y="198"/>
                    </a:lnTo>
                    <a:lnTo>
                      <a:pt x="562" y="197"/>
                    </a:lnTo>
                    <a:lnTo>
                      <a:pt x="561" y="197"/>
                    </a:lnTo>
                    <a:lnTo>
                      <a:pt x="561" y="195"/>
                    </a:lnTo>
                    <a:lnTo>
                      <a:pt x="562" y="195"/>
                    </a:lnTo>
                    <a:lnTo>
                      <a:pt x="564" y="195"/>
                    </a:lnTo>
                    <a:lnTo>
                      <a:pt x="564" y="194"/>
                    </a:lnTo>
                    <a:lnTo>
                      <a:pt x="566" y="194"/>
                    </a:lnTo>
                    <a:lnTo>
                      <a:pt x="566" y="195"/>
                    </a:lnTo>
                    <a:lnTo>
                      <a:pt x="567" y="194"/>
                    </a:lnTo>
                    <a:lnTo>
                      <a:pt x="567" y="195"/>
                    </a:lnTo>
                    <a:lnTo>
                      <a:pt x="567" y="197"/>
                    </a:lnTo>
                    <a:lnTo>
                      <a:pt x="567" y="195"/>
                    </a:lnTo>
                    <a:lnTo>
                      <a:pt x="569" y="195"/>
                    </a:lnTo>
                    <a:lnTo>
                      <a:pt x="569" y="194"/>
                    </a:lnTo>
                    <a:lnTo>
                      <a:pt x="569" y="192"/>
                    </a:lnTo>
                    <a:lnTo>
                      <a:pt x="570" y="192"/>
                    </a:lnTo>
                    <a:lnTo>
                      <a:pt x="572" y="192"/>
                    </a:lnTo>
                    <a:lnTo>
                      <a:pt x="572" y="191"/>
                    </a:lnTo>
                    <a:lnTo>
                      <a:pt x="574" y="191"/>
                    </a:lnTo>
                    <a:lnTo>
                      <a:pt x="574" y="189"/>
                    </a:lnTo>
                    <a:lnTo>
                      <a:pt x="574" y="187"/>
                    </a:lnTo>
                    <a:lnTo>
                      <a:pt x="572" y="187"/>
                    </a:lnTo>
                    <a:lnTo>
                      <a:pt x="574" y="186"/>
                    </a:lnTo>
                    <a:lnTo>
                      <a:pt x="575" y="186"/>
                    </a:lnTo>
                    <a:lnTo>
                      <a:pt x="575" y="187"/>
                    </a:lnTo>
                    <a:lnTo>
                      <a:pt x="577" y="187"/>
                    </a:lnTo>
                    <a:lnTo>
                      <a:pt x="578" y="187"/>
                    </a:lnTo>
                    <a:lnTo>
                      <a:pt x="580" y="186"/>
                    </a:lnTo>
                    <a:lnTo>
                      <a:pt x="581" y="186"/>
                    </a:lnTo>
                    <a:lnTo>
                      <a:pt x="581" y="184"/>
                    </a:lnTo>
                    <a:lnTo>
                      <a:pt x="583" y="184"/>
                    </a:lnTo>
                    <a:lnTo>
                      <a:pt x="585" y="184"/>
                    </a:lnTo>
                    <a:lnTo>
                      <a:pt x="585" y="183"/>
                    </a:lnTo>
                    <a:lnTo>
                      <a:pt x="585" y="181"/>
                    </a:lnTo>
                    <a:lnTo>
                      <a:pt x="585" y="179"/>
                    </a:lnTo>
                    <a:lnTo>
                      <a:pt x="586" y="179"/>
                    </a:lnTo>
                    <a:lnTo>
                      <a:pt x="586" y="178"/>
                    </a:lnTo>
                    <a:lnTo>
                      <a:pt x="586" y="176"/>
                    </a:lnTo>
                    <a:lnTo>
                      <a:pt x="588" y="176"/>
                    </a:lnTo>
                    <a:lnTo>
                      <a:pt x="589" y="175"/>
                    </a:lnTo>
                    <a:lnTo>
                      <a:pt x="591" y="173"/>
                    </a:lnTo>
                    <a:lnTo>
                      <a:pt x="591" y="175"/>
                    </a:lnTo>
                    <a:lnTo>
                      <a:pt x="593" y="175"/>
                    </a:lnTo>
                    <a:lnTo>
                      <a:pt x="594" y="175"/>
                    </a:lnTo>
                    <a:lnTo>
                      <a:pt x="594" y="173"/>
                    </a:lnTo>
                    <a:lnTo>
                      <a:pt x="594" y="172"/>
                    </a:lnTo>
                    <a:lnTo>
                      <a:pt x="596" y="172"/>
                    </a:lnTo>
                    <a:lnTo>
                      <a:pt x="597" y="172"/>
                    </a:lnTo>
                    <a:lnTo>
                      <a:pt x="599" y="172"/>
                    </a:lnTo>
                    <a:lnTo>
                      <a:pt x="600" y="172"/>
                    </a:lnTo>
                    <a:lnTo>
                      <a:pt x="602" y="172"/>
                    </a:lnTo>
                    <a:lnTo>
                      <a:pt x="604" y="172"/>
                    </a:lnTo>
                    <a:lnTo>
                      <a:pt x="604" y="173"/>
                    </a:lnTo>
                    <a:lnTo>
                      <a:pt x="602" y="173"/>
                    </a:lnTo>
                    <a:lnTo>
                      <a:pt x="604" y="173"/>
                    </a:lnTo>
                    <a:lnTo>
                      <a:pt x="604" y="172"/>
                    </a:lnTo>
                    <a:lnTo>
                      <a:pt x="605" y="172"/>
                    </a:lnTo>
                    <a:lnTo>
                      <a:pt x="605" y="173"/>
                    </a:lnTo>
                    <a:lnTo>
                      <a:pt x="605" y="175"/>
                    </a:lnTo>
                    <a:lnTo>
                      <a:pt x="605" y="176"/>
                    </a:lnTo>
                    <a:lnTo>
                      <a:pt x="607" y="176"/>
                    </a:lnTo>
                    <a:lnTo>
                      <a:pt x="608" y="176"/>
                    </a:lnTo>
                    <a:lnTo>
                      <a:pt x="610" y="176"/>
                    </a:lnTo>
                    <a:lnTo>
                      <a:pt x="612" y="176"/>
                    </a:lnTo>
                    <a:lnTo>
                      <a:pt x="613" y="176"/>
                    </a:lnTo>
                    <a:lnTo>
                      <a:pt x="615" y="176"/>
                    </a:lnTo>
                    <a:lnTo>
                      <a:pt x="615" y="178"/>
                    </a:lnTo>
                    <a:lnTo>
                      <a:pt x="616" y="178"/>
                    </a:lnTo>
                    <a:lnTo>
                      <a:pt x="618" y="178"/>
                    </a:lnTo>
                    <a:lnTo>
                      <a:pt x="618" y="176"/>
                    </a:lnTo>
                    <a:lnTo>
                      <a:pt x="620" y="176"/>
                    </a:lnTo>
                    <a:lnTo>
                      <a:pt x="620" y="178"/>
                    </a:lnTo>
                    <a:lnTo>
                      <a:pt x="621" y="178"/>
                    </a:lnTo>
                    <a:lnTo>
                      <a:pt x="621" y="176"/>
                    </a:lnTo>
                    <a:lnTo>
                      <a:pt x="623" y="176"/>
                    </a:lnTo>
                    <a:lnTo>
                      <a:pt x="623" y="178"/>
                    </a:lnTo>
                    <a:lnTo>
                      <a:pt x="624" y="178"/>
                    </a:lnTo>
                    <a:lnTo>
                      <a:pt x="623" y="178"/>
                    </a:lnTo>
                    <a:lnTo>
                      <a:pt x="623" y="179"/>
                    </a:lnTo>
                    <a:lnTo>
                      <a:pt x="624" y="179"/>
                    </a:lnTo>
                    <a:lnTo>
                      <a:pt x="624" y="181"/>
                    </a:lnTo>
                    <a:lnTo>
                      <a:pt x="626" y="181"/>
                    </a:lnTo>
                    <a:lnTo>
                      <a:pt x="627" y="179"/>
                    </a:lnTo>
                    <a:lnTo>
                      <a:pt x="629" y="179"/>
                    </a:lnTo>
                    <a:lnTo>
                      <a:pt x="629" y="178"/>
                    </a:lnTo>
                    <a:lnTo>
                      <a:pt x="631" y="178"/>
                    </a:lnTo>
                    <a:lnTo>
                      <a:pt x="632" y="178"/>
                    </a:lnTo>
                    <a:lnTo>
                      <a:pt x="634" y="178"/>
                    </a:lnTo>
                    <a:lnTo>
                      <a:pt x="635" y="178"/>
                    </a:lnTo>
                    <a:lnTo>
                      <a:pt x="635" y="179"/>
                    </a:lnTo>
                    <a:lnTo>
                      <a:pt x="637" y="179"/>
                    </a:lnTo>
                    <a:lnTo>
                      <a:pt x="639" y="179"/>
                    </a:lnTo>
                    <a:lnTo>
                      <a:pt x="639" y="181"/>
                    </a:lnTo>
                    <a:lnTo>
                      <a:pt x="640" y="181"/>
                    </a:lnTo>
                    <a:lnTo>
                      <a:pt x="640" y="183"/>
                    </a:lnTo>
                    <a:lnTo>
                      <a:pt x="642" y="183"/>
                    </a:lnTo>
                    <a:lnTo>
                      <a:pt x="643" y="183"/>
                    </a:lnTo>
                    <a:lnTo>
                      <a:pt x="645" y="183"/>
                    </a:lnTo>
                    <a:lnTo>
                      <a:pt x="646" y="183"/>
                    </a:lnTo>
                    <a:lnTo>
                      <a:pt x="648" y="183"/>
                    </a:lnTo>
                    <a:lnTo>
                      <a:pt x="648" y="181"/>
                    </a:lnTo>
                    <a:lnTo>
                      <a:pt x="650" y="181"/>
                    </a:lnTo>
                    <a:lnTo>
                      <a:pt x="650" y="179"/>
                    </a:lnTo>
                    <a:lnTo>
                      <a:pt x="651" y="179"/>
                    </a:lnTo>
                    <a:lnTo>
                      <a:pt x="651" y="181"/>
                    </a:lnTo>
                    <a:lnTo>
                      <a:pt x="653" y="181"/>
                    </a:lnTo>
                    <a:lnTo>
                      <a:pt x="653" y="183"/>
                    </a:lnTo>
                    <a:lnTo>
                      <a:pt x="654" y="183"/>
                    </a:lnTo>
                    <a:lnTo>
                      <a:pt x="654" y="184"/>
                    </a:lnTo>
                    <a:lnTo>
                      <a:pt x="656" y="184"/>
                    </a:lnTo>
                    <a:lnTo>
                      <a:pt x="658" y="184"/>
                    </a:lnTo>
                    <a:lnTo>
                      <a:pt x="659" y="184"/>
                    </a:lnTo>
                    <a:lnTo>
                      <a:pt x="661" y="184"/>
                    </a:lnTo>
                    <a:lnTo>
                      <a:pt x="662" y="184"/>
                    </a:lnTo>
                    <a:lnTo>
                      <a:pt x="664" y="184"/>
                    </a:lnTo>
                    <a:lnTo>
                      <a:pt x="665" y="184"/>
                    </a:lnTo>
                    <a:lnTo>
                      <a:pt x="665" y="186"/>
                    </a:lnTo>
                    <a:lnTo>
                      <a:pt x="665" y="187"/>
                    </a:lnTo>
                    <a:lnTo>
                      <a:pt x="667" y="187"/>
                    </a:lnTo>
                    <a:lnTo>
                      <a:pt x="667" y="189"/>
                    </a:lnTo>
                    <a:lnTo>
                      <a:pt x="667" y="191"/>
                    </a:lnTo>
                    <a:lnTo>
                      <a:pt x="667" y="192"/>
                    </a:lnTo>
                    <a:lnTo>
                      <a:pt x="669" y="192"/>
                    </a:lnTo>
                    <a:lnTo>
                      <a:pt x="669" y="194"/>
                    </a:lnTo>
                    <a:lnTo>
                      <a:pt x="669" y="195"/>
                    </a:lnTo>
                    <a:lnTo>
                      <a:pt x="669" y="197"/>
                    </a:lnTo>
                    <a:lnTo>
                      <a:pt x="669" y="198"/>
                    </a:lnTo>
                    <a:lnTo>
                      <a:pt x="670" y="200"/>
                    </a:lnTo>
                    <a:lnTo>
                      <a:pt x="670" y="202"/>
                    </a:lnTo>
                    <a:lnTo>
                      <a:pt x="672" y="202"/>
                    </a:lnTo>
                    <a:lnTo>
                      <a:pt x="672" y="203"/>
                    </a:lnTo>
                    <a:lnTo>
                      <a:pt x="673" y="203"/>
                    </a:lnTo>
                    <a:lnTo>
                      <a:pt x="673" y="205"/>
                    </a:lnTo>
                    <a:lnTo>
                      <a:pt x="673" y="206"/>
                    </a:lnTo>
                    <a:lnTo>
                      <a:pt x="675" y="206"/>
                    </a:lnTo>
                    <a:lnTo>
                      <a:pt x="675" y="208"/>
                    </a:lnTo>
                    <a:lnTo>
                      <a:pt x="677" y="208"/>
                    </a:lnTo>
                    <a:lnTo>
                      <a:pt x="677" y="210"/>
                    </a:lnTo>
                    <a:lnTo>
                      <a:pt x="678" y="210"/>
                    </a:lnTo>
                    <a:lnTo>
                      <a:pt x="680" y="210"/>
                    </a:lnTo>
                    <a:lnTo>
                      <a:pt x="680" y="208"/>
                    </a:lnTo>
                    <a:lnTo>
                      <a:pt x="681" y="210"/>
                    </a:lnTo>
                    <a:lnTo>
                      <a:pt x="683" y="210"/>
                    </a:lnTo>
                    <a:lnTo>
                      <a:pt x="683" y="211"/>
                    </a:lnTo>
                    <a:lnTo>
                      <a:pt x="684" y="211"/>
                    </a:lnTo>
                    <a:lnTo>
                      <a:pt x="684" y="213"/>
                    </a:lnTo>
                    <a:lnTo>
                      <a:pt x="686" y="214"/>
                    </a:lnTo>
                    <a:lnTo>
                      <a:pt x="686" y="216"/>
                    </a:lnTo>
                    <a:lnTo>
                      <a:pt x="688" y="216"/>
                    </a:lnTo>
                    <a:lnTo>
                      <a:pt x="688" y="217"/>
                    </a:lnTo>
                    <a:lnTo>
                      <a:pt x="688" y="219"/>
                    </a:lnTo>
                    <a:lnTo>
                      <a:pt x="688" y="221"/>
                    </a:lnTo>
                    <a:lnTo>
                      <a:pt x="689" y="221"/>
                    </a:lnTo>
                    <a:lnTo>
                      <a:pt x="689" y="222"/>
                    </a:lnTo>
                    <a:lnTo>
                      <a:pt x="688" y="222"/>
                    </a:lnTo>
                    <a:lnTo>
                      <a:pt x="688" y="224"/>
                    </a:lnTo>
                    <a:lnTo>
                      <a:pt x="688" y="225"/>
                    </a:lnTo>
                    <a:lnTo>
                      <a:pt x="688" y="227"/>
                    </a:lnTo>
                    <a:lnTo>
                      <a:pt x="688" y="229"/>
                    </a:lnTo>
                    <a:lnTo>
                      <a:pt x="688" y="230"/>
                    </a:lnTo>
                    <a:lnTo>
                      <a:pt x="686" y="230"/>
                    </a:lnTo>
                    <a:lnTo>
                      <a:pt x="688" y="230"/>
                    </a:lnTo>
                    <a:lnTo>
                      <a:pt x="688" y="232"/>
                    </a:lnTo>
                    <a:lnTo>
                      <a:pt x="688" y="233"/>
                    </a:lnTo>
                    <a:lnTo>
                      <a:pt x="688" y="235"/>
                    </a:lnTo>
                    <a:lnTo>
                      <a:pt x="689" y="235"/>
                    </a:lnTo>
                    <a:lnTo>
                      <a:pt x="689" y="236"/>
                    </a:lnTo>
                    <a:lnTo>
                      <a:pt x="688" y="236"/>
                    </a:lnTo>
                    <a:lnTo>
                      <a:pt x="686" y="236"/>
                    </a:lnTo>
                    <a:lnTo>
                      <a:pt x="688" y="238"/>
                    </a:lnTo>
                    <a:lnTo>
                      <a:pt x="688" y="240"/>
                    </a:lnTo>
                    <a:lnTo>
                      <a:pt x="689" y="240"/>
                    </a:lnTo>
                    <a:lnTo>
                      <a:pt x="691" y="241"/>
                    </a:lnTo>
                    <a:lnTo>
                      <a:pt x="691" y="243"/>
                    </a:lnTo>
                    <a:lnTo>
                      <a:pt x="691" y="244"/>
                    </a:lnTo>
                    <a:lnTo>
                      <a:pt x="691" y="246"/>
                    </a:lnTo>
                    <a:lnTo>
                      <a:pt x="689" y="246"/>
                    </a:lnTo>
                    <a:lnTo>
                      <a:pt x="689" y="248"/>
                    </a:lnTo>
                    <a:lnTo>
                      <a:pt x="689" y="249"/>
                    </a:lnTo>
                    <a:lnTo>
                      <a:pt x="691" y="249"/>
                    </a:lnTo>
                    <a:lnTo>
                      <a:pt x="691" y="248"/>
                    </a:lnTo>
                    <a:lnTo>
                      <a:pt x="692" y="248"/>
                    </a:lnTo>
                    <a:lnTo>
                      <a:pt x="692" y="249"/>
                    </a:lnTo>
                    <a:lnTo>
                      <a:pt x="694" y="249"/>
                    </a:lnTo>
                    <a:lnTo>
                      <a:pt x="696" y="249"/>
                    </a:lnTo>
                    <a:lnTo>
                      <a:pt x="697" y="249"/>
                    </a:lnTo>
                    <a:lnTo>
                      <a:pt x="697" y="251"/>
                    </a:lnTo>
                    <a:lnTo>
                      <a:pt x="697" y="252"/>
                    </a:lnTo>
                    <a:lnTo>
                      <a:pt x="696" y="252"/>
                    </a:lnTo>
                    <a:lnTo>
                      <a:pt x="696" y="254"/>
                    </a:lnTo>
                    <a:lnTo>
                      <a:pt x="696" y="255"/>
                    </a:lnTo>
                    <a:lnTo>
                      <a:pt x="697" y="255"/>
                    </a:lnTo>
                    <a:lnTo>
                      <a:pt x="697" y="257"/>
                    </a:lnTo>
                    <a:lnTo>
                      <a:pt x="699" y="257"/>
                    </a:lnTo>
                    <a:lnTo>
                      <a:pt x="699" y="259"/>
                    </a:lnTo>
                    <a:lnTo>
                      <a:pt x="699" y="260"/>
                    </a:lnTo>
                    <a:lnTo>
                      <a:pt x="697" y="262"/>
                    </a:lnTo>
                    <a:lnTo>
                      <a:pt x="696" y="262"/>
                    </a:lnTo>
                    <a:lnTo>
                      <a:pt x="696" y="263"/>
                    </a:lnTo>
                    <a:lnTo>
                      <a:pt x="697" y="263"/>
                    </a:lnTo>
                    <a:lnTo>
                      <a:pt x="699" y="263"/>
                    </a:lnTo>
                    <a:lnTo>
                      <a:pt x="700" y="263"/>
                    </a:lnTo>
                    <a:lnTo>
                      <a:pt x="700" y="265"/>
                    </a:lnTo>
                    <a:lnTo>
                      <a:pt x="700" y="267"/>
                    </a:lnTo>
                    <a:lnTo>
                      <a:pt x="700" y="268"/>
                    </a:lnTo>
                    <a:lnTo>
                      <a:pt x="700" y="270"/>
                    </a:lnTo>
                    <a:lnTo>
                      <a:pt x="700" y="271"/>
                    </a:lnTo>
                    <a:lnTo>
                      <a:pt x="700" y="273"/>
                    </a:lnTo>
                    <a:lnTo>
                      <a:pt x="700" y="275"/>
                    </a:lnTo>
                    <a:lnTo>
                      <a:pt x="702" y="275"/>
                    </a:lnTo>
                    <a:lnTo>
                      <a:pt x="702" y="276"/>
                    </a:lnTo>
                    <a:lnTo>
                      <a:pt x="702" y="275"/>
                    </a:lnTo>
                    <a:lnTo>
                      <a:pt x="702" y="276"/>
                    </a:lnTo>
                    <a:lnTo>
                      <a:pt x="703" y="276"/>
                    </a:lnTo>
                    <a:lnTo>
                      <a:pt x="703" y="278"/>
                    </a:lnTo>
                    <a:lnTo>
                      <a:pt x="702" y="278"/>
                    </a:lnTo>
                    <a:lnTo>
                      <a:pt x="702" y="279"/>
                    </a:lnTo>
                    <a:lnTo>
                      <a:pt x="703" y="279"/>
                    </a:lnTo>
                    <a:lnTo>
                      <a:pt x="705" y="279"/>
                    </a:lnTo>
                    <a:lnTo>
                      <a:pt x="707" y="279"/>
                    </a:lnTo>
                    <a:lnTo>
                      <a:pt x="708" y="279"/>
                    </a:lnTo>
                    <a:lnTo>
                      <a:pt x="707" y="279"/>
                    </a:lnTo>
                    <a:lnTo>
                      <a:pt x="707" y="281"/>
                    </a:lnTo>
                    <a:lnTo>
                      <a:pt x="708" y="281"/>
                    </a:lnTo>
                    <a:lnTo>
                      <a:pt x="708" y="282"/>
                    </a:lnTo>
                    <a:lnTo>
                      <a:pt x="710" y="282"/>
                    </a:lnTo>
                    <a:lnTo>
                      <a:pt x="710" y="284"/>
                    </a:lnTo>
                    <a:lnTo>
                      <a:pt x="711" y="284"/>
                    </a:lnTo>
                    <a:lnTo>
                      <a:pt x="713" y="284"/>
                    </a:lnTo>
                    <a:lnTo>
                      <a:pt x="713" y="286"/>
                    </a:lnTo>
                    <a:lnTo>
                      <a:pt x="715" y="286"/>
                    </a:lnTo>
                    <a:lnTo>
                      <a:pt x="713" y="286"/>
                    </a:lnTo>
                    <a:lnTo>
                      <a:pt x="713" y="287"/>
                    </a:lnTo>
                    <a:lnTo>
                      <a:pt x="713" y="289"/>
                    </a:lnTo>
                    <a:lnTo>
                      <a:pt x="715" y="289"/>
                    </a:lnTo>
                    <a:lnTo>
                      <a:pt x="715" y="287"/>
                    </a:lnTo>
                    <a:lnTo>
                      <a:pt x="715" y="289"/>
                    </a:lnTo>
                    <a:lnTo>
                      <a:pt x="715" y="290"/>
                    </a:lnTo>
                    <a:lnTo>
                      <a:pt x="715" y="292"/>
                    </a:lnTo>
                    <a:lnTo>
                      <a:pt x="716" y="292"/>
                    </a:lnTo>
                    <a:lnTo>
                      <a:pt x="718" y="292"/>
                    </a:lnTo>
                    <a:lnTo>
                      <a:pt x="718" y="294"/>
                    </a:lnTo>
                    <a:lnTo>
                      <a:pt x="719" y="294"/>
                    </a:lnTo>
                    <a:lnTo>
                      <a:pt x="719" y="295"/>
                    </a:lnTo>
                    <a:lnTo>
                      <a:pt x="721" y="295"/>
                    </a:lnTo>
                    <a:lnTo>
                      <a:pt x="719" y="295"/>
                    </a:lnTo>
                    <a:lnTo>
                      <a:pt x="719" y="297"/>
                    </a:lnTo>
                    <a:lnTo>
                      <a:pt x="718" y="297"/>
                    </a:lnTo>
                    <a:lnTo>
                      <a:pt x="718" y="298"/>
                    </a:lnTo>
                    <a:lnTo>
                      <a:pt x="719" y="298"/>
                    </a:lnTo>
                    <a:lnTo>
                      <a:pt x="721" y="298"/>
                    </a:lnTo>
                    <a:lnTo>
                      <a:pt x="721" y="300"/>
                    </a:lnTo>
                    <a:lnTo>
                      <a:pt x="722" y="300"/>
                    </a:lnTo>
                    <a:lnTo>
                      <a:pt x="722" y="301"/>
                    </a:lnTo>
                    <a:lnTo>
                      <a:pt x="724" y="301"/>
                    </a:lnTo>
                    <a:lnTo>
                      <a:pt x="726" y="303"/>
                    </a:lnTo>
                    <a:lnTo>
                      <a:pt x="726" y="301"/>
                    </a:lnTo>
                    <a:lnTo>
                      <a:pt x="726" y="303"/>
                    </a:lnTo>
                    <a:lnTo>
                      <a:pt x="726" y="305"/>
                    </a:lnTo>
                    <a:lnTo>
                      <a:pt x="727" y="305"/>
                    </a:lnTo>
                    <a:lnTo>
                      <a:pt x="729" y="305"/>
                    </a:lnTo>
                    <a:lnTo>
                      <a:pt x="729" y="306"/>
                    </a:lnTo>
                    <a:lnTo>
                      <a:pt x="730" y="306"/>
                    </a:lnTo>
                    <a:lnTo>
                      <a:pt x="732" y="306"/>
                    </a:lnTo>
                    <a:lnTo>
                      <a:pt x="734" y="306"/>
                    </a:lnTo>
                    <a:lnTo>
                      <a:pt x="735" y="306"/>
                    </a:lnTo>
                    <a:lnTo>
                      <a:pt x="737" y="306"/>
                    </a:lnTo>
                    <a:lnTo>
                      <a:pt x="738" y="306"/>
                    </a:lnTo>
                    <a:lnTo>
                      <a:pt x="740" y="306"/>
                    </a:lnTo>
                    <a:lnTo>
                      <a:pt x="740" y="308"/>
                    </a:lnTo>
                    <a:lnTo>
                      <a:pt x="740" y="309"/>
                    </a:lnTo>
                    <a:lnTo>
                      <a:pt x="740" y="311"/>
                    </a:lnTo>
                    <a:lnTo>
                      <a:pt x="740" y="313"/>
                    </a:lnTo>
                    <a:lnTo>
                      <a:pt x="740" y="314"/>
                    </a:lnTo>
                    <a:lnTo>
                      <a:pt x="740" y="316"/>
                    </a:lnTo>
                    <a:lnTo>
                      <a:pt x="740" y="317"/>
                    </a:lnTo>
                    <a:lnTo>
                      <a:pt x="740" y="319"/>
                    </a:lnTo>
                    <a:lnTo>
                      <a:pt x="740" y="320"/>
                    </a:lnTo>
                    <a:lnTo>
                      <a:pt x="740" y="322"/>
                    </a:lnTo>
                    <a:lnTo>
                      <a:pt x="740" y="324"/>
                    </a:lnTo>
                    <a:lnTo>
                      <a:pt x="740" y="325"/>
                    </a:lnTo>
                    <a:lnTo>
                      <a:pt x="740" y="327"/>
                    </a:lnTo>
                    <a:lnTo>
                      <a:pt x="741" y="328"/>
                    </a:lnTo>
                    <a:lnTo>
                      <a:pt x="741" y="330"/>
                    </a:lnTo>
                    <a:lnTo>
                      <a:pt x="741" y="332"/>
                    </a:lnTo>
                    <a:lnTo>
                      <a:pt x="741" y="333"/>
                    </a:lnTo>
                    <a:lnTo>
                      <a:pt x="741" y="335"/>
                    </a:lnTo>
                    <a:lnTo>
                      <a:pt x="743" y="335"/>
                    </a:lnTo>
                    <a:lnTo>
                      <a:pt x="743" y="336"/>
                    </a:lnTo>
                    <a:lnTo>
                      <a:pt x="745" y="336"/>
                    </a:lnTo>
                    <a:lnTo>
                      <a:pt x="745" y="335"/>
                    </a:lnTo>
                    <a:lnTo>
                      <a:pt x="746" y="335"/>
                    </a:lnTo>
                    <a:lnTo>
                      <a:pt x="748" y="336"/>
                    </a:lnTo>
                    <a:lnTo>
                      <a:pt x="748" y="338"/>
                    </a:lnTo>
                    <a:lnTo>
                      <a:pt x="749" y="338"/>
                    </a:lnTo>
                    <a:lnTo>
                      <a:pt x="751" y="339"/>
                    </a:lnTo>
                    <a:lnTo>
                      <a:pt x="751" y="341"/>
                    </a:lnTo>
                    <a:lnTo>
                      <a:pt x="753" y="341"/>
                    </a:lnTo>
                    <a:lnTo>
                      <a:pt x="754" y="343"/>
                    </a:lnTo>
                    <a:lnTo>
                      <a:pt x="756" y="343"/>
                    </a:lnTo>
                    <a:lnTo>
                      <a:pt x="757" y="343"/>
                    </a:lnTo>
                    <a:lnTo>
                      <a:pt x="757" y="341"/>
                    </a:lnTo>
                    <a:lnTo>
                      <a:pt x="757" y="339"/>
                    </a:lnTo>
                    <a:lnTo>
                      <a:pt x="759" y="339"/>
                    </a:lnTo>
                    <a:lnTo>
                      <a:pt x="760" y="339"/>
                    </a:lnTo>
                    <a:lnTo>
                      <a:pt x="762" y="339"/>
                    </a:lnTo>
                    <a:lnTo>
                      <a:pt x="762" y="341"/>
                    </a:lnTo>
                    <a:lnTo>
                      <a:pt x="764" y="341"/>
                    </a:lnTo>
                    <a:lnTo>
                      <a:pt x="764" y="339"/>
                    </a:lnTo>
                    <a:lnTo>
                      <a:pt x="765" y="339"/>
                    </a:lnTo>
                    <a:lnTo>
                      <a:pt x="767" y="339"/>
                    </a:lnTo>
                    <a:lnTo>
                      <a:pt x="768" y="338"/>
                    </a:lnTo>
                    <a:lnTo>
                      <a:pt x="770" y="338"/>
                    </a:lnTo>
                    <a:lnTo>
                      <a:pt x="770" y="339"/>
                    </a:lnTo>
                    <a:lnTo>
                      <a:pt x="772" y="339"/>
                    </a:lnTo>
                    <a:lnTo>
                      <a:pt x="773" y="339"/>
                    </a:lnTo>
                    <a:lnTo>
                      <a:pt x="775" y="339"/>
                    </a:lnTo>
                    <a:lnTo>
                      <a:pt x="776" y="339"/>
                    </a:lnTo>
                    <a:lnTo>
                      <a:pt x="776" y="341"/>
                    </a:lnTo>
                    <a:lnTo>
                      <a:pt x="778" y="343"/>
                    </a:lnTo>
                    <a:lnTo>
                      <a:pt x="776" y="343"/>
                    </a:lnTo>
                    <a:lnTo>
                      <a:pt x="778" y="343"/>
                    </a:lnTo>
                    <a:lnTo>
                      <a:pt x="778" y="344"/>
                    </a:lnTo>
                    <a:lnTo>
                      <a:pt x="779" y="344"/>
                    </a:lnTo>
                    <a:lnTo>
                      <a:pt x="781" y="344"/>
                    </a:lnTo>
                    <a:lnTo>
                      <a:pt x="781" y="346"/>
                    </a:lnTo>
                    <a:lnTo>
                      <a:pt x="783" y="346"/>
                    </a:lnTo>
                    <a:lnTo>
                      <a:pt x="784" y="346"/>
                    </a:lnTo>
                    <a:lnTo>
                      <a:pt x="784" y="347"/>
                    </a:lnTo>
                    <a:lnTo>
                      <a:pt x="786" y="347"/>
                    </a:lnTo>
                    <a:lnTo>
                      <a:pt x="787" y="347"/>
                    </a:lnTo>
                    <a:lnTo>
                      <a:pt x="787" y="349"/>
                    </a:lnTo>
                    <a:lnTo>
                      <a:pt x="789" y="349"/>
                    </a:lnTo>
                    <a:lnTo>
                      <a:pt x="791" y="349"/>
                    </a:lnTo>
                    <a:lnTo>
                      <a:pt x="791" y="351"/>
                    </a:lnTo>
                    <a:lnTo>
                      <a:pt x="792" y="351"/>
                    </a:lnTo>
                    <a:lnTo>
                      <a:pt x="792" y="352"/>
                    </a:lnTo>
                    <a:lnTo>
                      <a:pt x="792" y="354"/>
                    </a:lnTo>
                    <a:lnTo>
                      <a:pt x="794" y="354"/>
                    </a:lnTo>
                    <a:lnTo>
                      <a:pt x="794" y="355"/>
                    </a:lnTo>
                    <a:lnTo>
                      <a:pt x="795" y="355"/>
                    </a:lnTo>
                    <a:lnTo>
                      <a:pt x="795" y="357"/>
                    </a:lnTo>
                    <a:lnTo>
                      <a:pt x="797" y="357"/>
                    </a:lnTo>
                    <a:lnTo>
                      <a:pt x="798" y="357"/>
                    </a:lnTo>
                    <a:lnTo>
                      <a:pt x="798" y="358"/>
                    </a:lnTo>
                    <a:lnTo>
                      <a:pt x="800" y="358"/>
                    </a:lnTo>
                    <a:lnTo>
                      <a:pt x="800" y="360"/>
                    </a:lnTo>
                    <a:lnTo>
                      <a:pt x="800" y="358"/>
                    </a:lnTo>
                    <a:lnTo>
                      <a:pt x="802" y="358"/>
                    </a:lnTo>
                    <a:lnTo>
                      <a:pt x="802" y="360"/>
                    </a:lnTo>
                    <a:lnTo>
                      <a:pt x="802" y="362"/>
                    </a:lnTo>
                    <a:lnTo>
                      <a:pt x="803" y="362"/>
                    </a:lnTo>
                    <a:lnTo>
                      <a:pt x="803" y="363"/>
                    </a:lnTo>
                    <a:lnTo>
                      <a:pt x="805" y="363"/>
                    </a:lnTo>
                    <a:lnTo>
                      <a:pt x="805" y="362"/>
                    </a:lnTo>
                    <a:lnTo>
                      <a:pt x="805" y="363"/>
                    </a:lnTo>
                    <a:lnTo>
                      <a:pt x="806" y="363"/>
                    </a:lnTo>
                    <a:lnTo>
                      <a:pt x="808" y="363"/>
                    </a:lnTo>
                    <a:lnTo>
                      <a:pt x="810" y="363"/>
                    </a:lnTo>
                    <a:lnTo>
                      <a:pt x="811" y="363"/>
                    </a:lnTo>
                    <a:lnTo>
                      <a:pt x="813" y="365"/>
                    </a:lnTo>
                    <a:lnTo>
                      <a:pt x="814" y="365"/>
                    </a:lnTo>
                    <a:lnTo>
                      <a:pt x="816" y="365"/>
                    </a:lnTo>
                    <a:lnTo>
                      <a:pt x="816" y="363"/>
                    </a:lnTo>
                    <a:lnTo>
                      <a:pt x="818" y="363"/>
                    </a:lnTo>
                    <a:lnTo>
                      <a:pt x="819" y="363"/>
                    </a:lnTo>
                    <a:lnTo>
                      <a:pt x="821" y="363"/>
                    </a:lnTo>
                    <a:lnTo>
                      <a:pt x="822" y="363"/>
                    </a:lnTo>
                    <a:lnTo>
                      <a:pt x="824" y="363"/>
                    </a:lnTo>
                    <a:lnTo>
                      <a:pt x="824" y="365"/>
                    </a:lnTo>
                    <a:lnTo>
                      <a:pt x="825" y="365"/>
                    </a:lnTo>
                    <a:lnTo>
                      <a:pt x="825" y="366"/>
                    </a:lnTo>
                    <a:lnTo>
                      <a:pt x="827" y="366"/>
                    </a:lnTo>
                    <a:lnTo>
                      <a:pt x="829" y="366"/>
                    </a:lnTo>
                    <a:lnTo>
                      <a:pt x="830" y="366"/>
                    </a:lnTo>
                    <a:lnTo>
                      <a:pt x="832" y="366"/>
                    </a:lnTo>
                    <a:lnTo>
                      <a:pt x="833" y="366"/>
                    </a:lnTo>
                    <a:lnTo>
                      <a:pt x="833" y="365"/>
                    </a:lnTo>
                    <a:lnTo>
                      <a:pt x="835" y="365"/>
                    </a:lnTo>
                    <a:lnTo>
                      <a:pt x="835" y="366"/>
                    </a:lnTo>
                    <a:lnTo>
                      <a:pt x="837" y="366"/>
                    </a:lnTo>
                    <a:lnTo>
                      <a:pt x="838" y="366"/>
                    </a:lnTo>
                    <a:lnTo>
                      <a:pt x="838" y="365"/>
                    </a:lnTo>
                    <a:lnTo>
                      <a:pt x="838" y="366"/>
                    </a:lnTo>
                    <a:lnTo>
                      <a:pt x="840" y="366"/>
                    </a:lnTo>
                    <a:lnTo>
                      <a:pt x="840" y="368"/>
                    </a:lnTo>
                    <a:lnTo>
                      <a:pt x="841" y="368"/>
                    </a:lnTo>
                    <a:lnTo>
                      <a:pt x="841" y="366"/>
                    </a:lnTo>
                    <a:lnTo>
                      <a:pt x="843" y="366"/>
                    </a:lnTo>
                    <a:lnTo>
                      <a:pt x="843" y="368"/>
                    </a:lnTo>
                    <a:lnTo>
                      <a:pt x="844" y="368"/>
                    </a:lnTo>
                    <a:lnTo>
                      <a:pt x="844" y="370"/>
                    </a:lnTo>
                    <a:lnTo>
                      <a:pt x="846" y="370"/>
                    </a:lnTo>
                    <a:lnTo>
                      <a:pt x="848" y="370"/>
                    </a:lnTo>
                    <a:lnTo>
                      <a:pt x="848" y="371"/>
                    </a:lnTo>
                    <a:lnTo>
                      <a:pt x="849" y="371"/>
                    </a:lnTo>
                    <a:lnTo>
                      <a:pt x="849" y="373"/>
                    </a:lnTo>
                    <a:lnTo>
                      <a:pt x="851" y="373"/>
                    </a:lnTo>
                    <a:lnTo>
                      <a:pt x="852" y="373"/>
                    </a:lnTo>
                    <a:lnTo>
                      <a:pt x="852" y="374"/>
                    </a:lnTo>
                    <a:lnTo>
                      <a:pt x="854" y="373"/>
                    </a:lnTo>
                    <a:lnTo>
                      <a:pt x="856" y="373"/>
                    </a:lnTo>
                    <a:lnTo>
                      <a:pt x="857" y="371"/>
                    </a:lnTo>
                    <a:lnTo>
                      <a:pt x="857" y="373"/>
                    </a:lnTo>
                    <a:lnTo>
                      <a:pt x="859" y="371"/>
                    </a:lnTo>
                    <a:lnTo>
                      <a:pt x="859" y="373"/>
                    </a:lnTo>
                    <a:lnTo>
                      <a:pt x="860" y="373"/>
                    </a:lnTo>
                    <a:lnTo>
                      <a:pt x="860" y="371"/>
                    </a:lnTo>
                    <a:lnTo>
                      <a:pt x="862" y="371"/>
                    </a:lnTo>
                    <a:lnTo>
                      <a:pt x="863" y="371"/>
                    </a:lnTo>
                    <a:lnTo>
                      <a:pt x="865" y="371"/>
                    </a:lnTo>
                    <a:lnTo>
                      <a:pt x="867" y="371"/>
                    </a:lnTo>
                    <a:lnTo>
                      <a:pt x="868" y="373"/>
                    </a:lnTo>
                    <a:lnTo>
                      <a:pt x="868" y="371"/>
                    </a:lnTo>
                    <a:lnTo>
                      <a:pt x="870" y="371"/>
                    </a:lnTo>
                    <a:lnTo>
                      <a:pt x="870" y="373"/>
                    </a:lnTo>
                    <a:lnTo>
                      <a:pt x="870" y="374"/>
                    </a:lnTo>
                    <a:lnTo>
                      <a:pt x="871" y="374"/>
                    </a:lnTo>
                    <a:lnTo>
                      <a:pt x="873" y="374"/>
                    </a:lnTo>
                    <a:lnTo>
                      <a:pt x="873" y="376"/>
                    </a:lnTo>
                    <a:lnTo>
                      <a:pt x="875" y="376"/>
                    </a:lnTo>
                    <a:lnTo>
                      <a:pt x="875" y="377"/>
                    </a:lnTo>
                    <a:lnTo>
                      <a:pt x="875" y="379"/>
                    </a:lnTo>
                    <a:lnTo>
                      <a:pt x="875" y="381"/>
                    </a:lnTo>
                    <a:lnTo>
                      <a:pt x="875" y="382"/>
                    </a:lnTo>
                    <a:lnTo>
                      <a:pt x="876" y="382"/>
                    </a:lnTo>
                    <a:lnTo>
                      <a:pt x="878" y="382"/>
                    </a:lnTo>
                    <a:lnTo>
                      <a:pt x="879" y="384"/>
                    </a:lnTo>
                    <a:lnTo>
                      <a:pt x="879" y="382"/>
                    </a:lnTo>
                    <a:lnTo>
                      <a:pt x="881" y="384"/>
                    </a:lnTo>
                    <a:lnTo>
                      <a:pt x="881" y="385"/>
                    </a:lnTo>
                    <a:lnTo>
                      <a:pt x="882" y="385"/>
                    </a:lnTo>
                    <a:lnTo>
                      <a:pt x="882" y="387"/>
                    </a:lnTo>
                    <a:lnTo>
                      <a:pt x="882" y="389"/>
                    </a:lnTo>
                    <a:lnTo>
                      <a:pt x="884" y="389"/>
                    </a:lnTo>
                    <a:lnTo>
                      <a:pt x="884" y="390"/>
                    </a:lnTo>
                    <a:lnTo>
                      <a:pt x="886" y="390"/>
                    </a:lnTo>
                    <a:lnTo>
                      <a:pt x="887" y="390"/>
                    </a:lnTo>
                    <a:lnTo>
                      <a:pt x="887" y="392"/>
                    </a:lnTo>
                    <a:lnTo>
                      <a:pt x="889" y="392"/>
                    </a:lnTo>
                    <a:lnTo>
                      <a:pt x="889" y="390"/>
                    </a:lnTo>
                    <a:lnTo>
                      <a:pt x="890" y="390"/>
                    </a:lnTo>
                    <a:lnTo>
                      <a:pt x="890" y="392"/>
                    </a:lnTo>
                    <a:lnTo>
                      <a:pt x="892" y="392"/>
                    </a:lnTo>
                    <a:lnTo>
                      <a:pt x="894" y="392"/>
                    </a:lnTo>
                    <a:lnTo>
                      <a:pt x="895" y="392"/>
                    </a:lnTo>
                    <a:lnTo>
                      <a:pt x="894" y="395"/>
                    </a:lnTo>
                    <a:lnTo>
                      <a:pt x="894" y="396"/>
                    </a:lnTo>
                    <a:lnTo>
                      <a:pt x="894" y="403"/>
                    </a:lnTo>
                    <a:lnTo>
                      <a:pt x="900" y="408"/>
                    </a:lnTo>
                    <a:lnTo>
                      <a:pt x="900" y="411"/>
                    </a:lnTo>
                    <a:lnTo>
                      <a:pt x="895" y="419"/>
                    </a:lnTo>
                    <a:lnTo>
                      <a:pt x="892" y="427"/>
                    </a:lnTo>
                    <a:lnTo>
                      <a:pt x="886" y="433"/>
                    </a:lnTo>
                    <a:lnTo>
                      <a:pt x="876" y="436"/>
                    </a:lnTo>
                    <a:lnTo>
                      <a:pt x="870" y="444"/>
                    </a:lnTo>
                    <a:lnTo>
                      <a:pt x="865" y="454"/>
                    </a:lnTo>
                    <a:lnTo>
                      <a:pt x="860" y="461"/>
                    </a:lnTo>
                    <a:lnTo>
                      <a:pt x="854" y="473"/>
                    </a:lnTo>
                    <a:lnTo>
                      <a:pt x="851" y="487"/>
                    </a:lnTo>
                    <a:lnTo>
                      <a:pt x="848" y="512"/>
                    </a:lnTo>
                    <a:lnTo>
                      <a:pt x="848" y="523"/>
                    </a:lnTo>
                    <a:lnTo>
                      <a:pt x="848" y="537"/>
                    </a:lnTo>
                    <a:lnTo>
                      <a:pt x="849" y="553"/>
                    </a:lnTo>
                    <a:lnTo>
                      <a:pt x="851" y="563"/>
                    </a:lnTo>
                    <a:lnTo>
                      <a:pt x="849" y="583"/>
                    </a:lnTo>
                    <a:lnTo>
                      <a:pt x="848" y="590"/>
                    </a:lnTo>
                    <a:lnTo>
                      <a:pt x="848" y="599"/>
                    </a:lnTo>
                    <a:lnTo>
                      <a:pt x="844" y="609"/>
                    </a:lnTo>
                    <a:lnTo>
                      <a:pt x="841" y="613"/>
                    </a:lnTo>
                    <a:lnTo>
                      <a:pt x="840" y="620"/>
                    </a:lnTo>
                    <a:lnTo>
                      <a:pt x="840" y="623"/>
                    </a:lnTo>
                    <a:lnTo>
                      <a:pt x="838" y="625"/>
                    </a:lnTo>
                    <a:lnTo>
                      <a:pt x="838" y="626"/>
                    </a:lnTo>
                    <a:lnTo>
                      <a:pt x="837" y="626"/>
                    </a:lnTo>
                    <a:lnTo>
                      <a:pt x="837" y="628"/>
                    </a:lnTo>
                    <a:lnTo>
                      <a:pt x="835" y="626"/>
                    </a:lnTo>
                    <a:lnTo>
                      <a:pt x="833" y="626"/>
                    </a:lnTo>
                    <a:lnTo>
                      <a:pt x="832" y="626"/>
                    </a:lnTo>
                    <a:lnTo>
                      <a:pt x="832" y="628"/>
                    </a:lnTo>
                    <a:lnTo>
                      <a:pt x="832" y="629"/>
                    </a:lnTo>
                    <a:lnTo>
                      <a:pt x="830" y="629"/>
                    </a:lnTo>
                    <a:lnTo>
                      <a:pt x="829" y="629"/>
                    </a:lnTo>
                    <a:lnTo>
                      <a:pt x="827" y="629"/>
                    </a:lnTo>
                    <a:lnTo>
                      <a:pt x="825" y="629"/>
                    </a:lnTo>
                    <a:lnTo>
                      <a:pt x="824" y="629"/>
                    </a:lnTo>
                    <a:lnTo>
                      <a:pt x="824" y="631"/>
                    </a:lnTo>
                    <a:lnTo>
                      <a:pt x="822" y="631"/>
                    </a:lnTo>
                    <a:lnTo>
                      <a:pt x="822" y="632"/>
                    </a:lnTo>
                    <a:lnTo>
                      <a:pt x="821" y="632"/>
                    </a:lnTo>
                    <a:lnTo>
                      <a:pt x="819" y="632"/>
                    </a:lnTo>
                    <a:lnTo>
                      <a:pt x="819" y="631"/>
                    </a:lnTo>
                    <a:lnTo>
                      <a:pt x="818" y="632"/>
                    </a:lnTo>
                    <a:lnTo>
                      <a:pt x="818" y="634"/>
                    </a:lnTo>
                    <a:lnTo>
                      <a:pt x="819" y="634"/>
                    </a:lnTo>
                    <a:lnTo>
                      <a:pt x="819" y="636"/>
                    </a:lnTo>
                    <a:lnTo>
                      <a:pt x="819" y="637"/>
                    </a:lnTo>
                    <a:lnTo>
                      <a:pt x="821" y="637"/>
                    </a:lnTo>
                    <a:lnTo>
                      <a:pt x="819" y="637"/>
                    </a:lnTo>
                    <a:lnTo>
                      <a:pt x="819" y="639"/>
                    </a:lnTo>
                    <a:lnTo>
                      <a:pt x="818" y="639"/>
                    </a:lnTo>
                    <a:lnTo>
                      <a:pt x="816" y="639"/>
                    </a:lnTo>
                    <a:lnTo>
                      <a:pt x="814" y="639"/>
                    </a:lnTo>
                    <a:lnTo>
                      <a:pt x="814" y="637"/>
                    </a:lnTo>
                    <a:lnTo>
                      <a:pt x="813" y="637"/>
                    </a:lnTo>
                    <a:lnTo>
                      <a:pt x="811" y="636"/>
                    </a:lnTo>
                    <a:lnTo>
                      <a:pt x="810" y="636"/>
                    </a:lnTo>
                    <a:lnTo>
                      <a:pt x="808" y="634"/>
                    </a:lnTo>
                    <a:lnTo>
                      <a:pt x="806" y="634"/>
                    </a:lnTo>
                    <a:lnTo>
                      <a:pt x="806" y="636"/>
                    </a:lnTo>
                    <a:lnTo>
                      <a:pt x="805" y="637"/>
                    </a:lnTo>
                    <a:lnTo>
                      <a:pt x="805" y="639"/>
                    </a:lnTo>
                    <a:lnTo>
                      <a:pt x="803" y="640"/>
                    </a:lnTo>
                    <a:lnTo>
                      <a:pt x="802" y="640"/>
                    </a:lnTo>
                    <a:lnTo>
                      <a:pt x="800" y="640"/>
                    </a:lnTo>
                    <a:lnTo>
                      <a:pt x="798" y="640"/>
                    </a:lnTo>
                    <a:lnTo>
                      <a:pt x="797" y="640"/>
                    </a:lnTo>
                    <a:lnTo>
                      <a:pt x="795" y="640"/>
                    </a:lnTo>
                    <a:lnTo>
                      <a:pt x="794" y="640"/>
                    </a:lnTo>
                    <a:lnTo>
                      <a:pt x="792" y="642"/>
                    </a:lnTo>
                    <a:lnTo>
                      <a:pt x="792" y="644"/>
                    </a:lnTo>
                    <a:lnTo>
                      <a:pt x="791" y="645"/>
                    </a:lnTo>
                    <a:lnTo>
                      <a:pt x="791" y="644"/>
                    </a:lnTo>
                    <a:lnTo>
                      <a:pt x="789" y="644"/>
                    </a:lnTo>
                    <a:lnTo>
                      <a:pt x="789" y="642"/>
                    </a:lnTo>
                    <a:lnTo>
                      <a:pt x="787" y="642"/>
                    </a:lnTo>
                    <a:lnTo>
                      <a:pt x="786" y="642"/>
                    </a:lnTo>
                    <a:lnTo>
                      <a:pt x="786" y="644"/>
                    </a:lnTo>
                    <a:lnTo>
                      <a:pt x="784" y="644"/>
                    </a:lnTo>
                    <a:lnTo>
                      <a:pt x="783" y="645"/>
                    </a:lnTo>
                    <a:lnTo>
                      <a:pt x="781" y="645"/>
                    </a:lnTo>
                    <a:lnTo>
                      <a:pt x="779" y="645"/>
                    </a:lnTo>
                    <a:lnTo>
                      <a:pt x="778" y="645"/>
                    </a:lnTo>
                    <a:lnTo>
                      <a:pt x="776" y="645"/>
                    </a:lnTo>
                    <a:lnTo>
                      <a:pt x="775" y="645"/>
                    </a:lnTo>
                    <a:lnTo>
                      <a:pt x="775" y="647"/>
                    </a:lnTo>
                    <a:lnTo>
                      <a:pt x="773" y="647"/>
                    </a:lnTo>
                    <a:lnTo>
                      <a:pt x="772" y="647"/>
                    </a:lnTo>
                    <a:lnTo>
                      <a:pt x="770" y="648"/>
                    </a:lnTo>
                    <a:lnTo>
                      <a:pt x="768" y="648"/>
                    </a:lnTo>
                    <a:lnTo>
                      <a:pt x="768" y="650"/>
                    </a:lnTo>
                    <a:lnTo>
                      <a:pt x="767" y="652"/>
                    </a:lnTo>
                    <a:lnTo>
                      <a:pt x="765" y="652"/>
                    </a:lnTo>
                    <a:lnTo>
                      <a:pt x="764" y="653"/>
                    </a:lnTo>
                    <a:lnTo>
                      <a:pt x="762" y="653"/>
                    </a:lnTo>
                    <a:lnTo>
                      <a:pt x="762" y="655"/>
                    </a:lnTo>
                    <a:lnTo>
                      <a:pt x="760" y="655"/>
                    </a:lnTo>
                    <a:lnTo>
                      <a:pt x="759" y="656"/>
                    </a:lnTo>
                    <a:lnTo>
                      <a:pt x="757" y="658"/>
                    </a:lnTo>
                    <a:lnTo>
                      <a:pt x="756" y="658"/>
                    </a:lnTo>
                    <a:lnTo>
                      <a:pt x="754" y="658"/>
                    </a:lnTo>
                    <a:lnTo>
                      <a:pt x="753" y="658"/>
                    </a:lnTo>
                    <a:lnTo>
                      <a:pt x="751" y="659"/>
                    </a:lnTo>
                    <a:lnTo>
                      <a:pt x="749" y="659"/>
                    </a:lnTo>
                    <a:lnTo>
                      <a:pt x="746" y="659"/>
                    </a:lnTo>
                    <a:lnTo>
                      <a:pt x="746" y="661"/>
                    </a:lnTo>
                    <a:lnTo>
                      <a:pt x="746" y="663"/>
                    </a:lnTo>
                    <a:lnTo>
                      <a:pt x="748" y="667"/>
                    </a:lnTo>
                    <a:lnTo>
                      <a:pt x="751" y="671"/>
                    </a:lnTo>
                    <a:lnTo>
                      <a:pt x="751" y="672"/>
                    </a:lnTo>
                    <a:lnTo>
                      <a:pt x="751" y="674"/>
                    </a:lnTo>
                    <a:lnTo>
                      <a:pt x="751" y="675"/>
                    </a:lnTo>
                    <a:lnTo>
                      <a:pt x="749" y="677"/>
                    </a:lnTo>
                    <a:lnTo>
                      <a:pt x="749" y="683"/>
                    </a:lnTo>
                    <a:lnTo>
                      <a:pt x="748" y="685"/>
                    </a:lnTo>
                    <a:lnTo>
                      <a:pt x="748" y="690"/>
                    </a:lnTo>
                    <a:lnTo>
                      <a:pt x="748" y="697"/>
                    </a:lnTo>
                    <a:lnTo>
                      <a:pt x="746" y="699"/>
                    </a:lnTo>
                    <a:lnTo>
                      <a:pt x="746" y="704"/>
                    </a:lnTo>
                    <a:lnTo>
                      <a:pt x="746" y="705"/>
                    </a:lnTo>
                    <a:lnTo>
                      <a:pt x="746" y="707"/>
                    </a:lnTo>
                    <a:lnTo>
                      <a:pt x="745" y="710"/>
                    </a:lnTo>
                    <a:lnTo>
                      <a:pt x="743" y="715"/>
                    </a:lnTo>
                    <a:lnTo>
                      <a:pt x="741" y="720"/>
                    </a:lnTo>
                    <a:lnTo>
                      <a:pt x="740" y="721"/>
                    </a:lnTo>
                    <a:lnTo>
                      <a:pt x="740" y="723"/>
                    </a:lnTo>
                    <a:lnTo>
                      <a:pt x="738" y="723"/>
                    </a:lnTo>
                    <a:lnTo>
                      <a:pt x="735" y="728"/>
                    </a:lnTo>
                    <a:lnTo>
                      <a:pt x="735" y="729"/>
                    </a:lnTo>
                    <a:lnTo>
                      <a:pt x="734" y="731"/>
                    </a:lnTo>
                    <a:lnTo>
                      <a:pt x="732" y="732"/>
                    </a:lnTo>
                    <a:lnTo>
                      <a:pt x="730" y="737"/>
                    </a:lnTo>
                    <a:lnTo>
                      <a:pt x="729" y="739"/>
                    </a:lnTo>
                    <a:lnTo>
                      <a:pt x="729" y="740"/>
                    </a:lnTo>
                    <a:lnTo>
                      <a:pt x="729" y="742"/>
                    </a:lnTo>
                    <a:lnTo>
                      <a:pt x="727" y="743"/>
                    </a:lnTo>
                    <a:lnTo>
                      <a:pt x="727" y="745"/>
                    </a:lnTo>
                    <a:lnTo>
                      <a:pt x="726" y="747"/>
                    </a:lnTo>
                    <a:lnTo>
                      <a:pt x="724" y="747"/>
                    </a:lnTo>
                    <a:lnTo>
                      <a:pt x="724" y="748"/>
                    </a:lnTo>
                    <a:lnTo>
                      <a:pt x="724" y="750"/>
                    </a:lnTo>
                    <a:lnTo>
                      <a:pt x="722" y="750"/>
                    </a:lnTo>
                    <a:lnTo>
                      <a:pt x="722" y="751"/>
                    </a:lnTo>
                    <a:lnTo>
                      <a:pt x="722" y="753"/>
                    </a:lnTo>
                    <a:lnTo>
                      <a:pt x="721" y="754"/>
                    </a:lnTo>
                    <a:lnTo>
                      <a:pt x="721" y="758"/>
                    </a:lnTo>
                    <a:lnTo>
                      <a:pt x="719" y="758"/>
                    </a:lnTo>
                    <a:lnTo>
                      <a:pt x="718" y="758"/>
                    </a:lnTo>
                    <a:lnTo>
                      <a:pt x="716" y="758"/>
                    </a:lnTo>
                    <a:lnTo>
                      <a:pt x="715" y="758"/>
                    </a:lnTo>
                    <a:lnTo>
                      <a:pt x="713" y="758"/>
                    </a:lnTo>
                    <a:lnTo>
                      <a:pt x="711" y="758"/>
                    </a:lnTo>
                    <a:lnTo>
                      <a:pt x="711" y="756"/>
                    </a:lnTo>
                    <a:lnTo>
                      <a:pt x="710" y="758"/>
                    </a:lnTo>
                    <a:lnTo>
                      <a:pt x="708" y="756"/>
                    </a:lnTo>
                    <a:lnTo>
                      <a:pt x="707" y="758"/>
                    </a:lnTo>
                    <a:lnTo>
                      <a:pt x="705" y="759"/>
                    </a:lnTo>
                    <a:lnTo>
                      <a:pt x="703" y="762"/>
                    </a:lnTo>
                    <a:lnTo>
                      <a:pt x="702" y="764"/>
                    </a:lnTo>
                    <a:lnTo>
                      <a:pt x="700" y="764"/>
                    </a:lnTo>
                    <a:lnTo>
                      <a:pt x="700" y="762"/>
                    </a:lnTo>
                    <a:lnTo>
                      <a:pt x="699" y="761"/>
                    </a:lnTo>
                    <a:lnTo>
                      <a:pt x="697" y="759"/>
                    </a:lnTo>
                    <a:lnTo>
                      <a:pt x="696" y="756"/>
                    </a:lnTo>
                    <a:lnTo>
                      <a:pt x="694" y="754"/>
                    </a:lnTo>
                    <a:lnTo>
                      <a:pt x="692" y="754"/>
                    </a:lnTo>
                    <a:lnTo>
                      <a:pt x="691" y="754"/>
                    </a:lnTo>
                    <a:lnTo>
                      <a:pt x="691" y="756"/>
                    </a:lnTo>
                    <a:lnTo>
                      <a:pt x="689" y="758"/>
                    </a:lnTo>
                    <a:lnTo>
                      <a:pt x="689" y="759"/>
                    </a:lnTo>
                    <a:lnTo>
                      <a:pt x="689" y="761"/>
                    </a:lnTo>
                    <a:lnTo>
                      <a:pt x="689" y="766"/>
                    </a:lnTo>
                    <a:lnTo>
                      <a:pt x="689" y="767"/>
                    </a:lnTo>
                    <a:lnTo>
                      <a:pt x="688" y="769"/>
                    </a:lnTo>
                    <a:lnTo>
                      <a:pt x="688" y="770"/>
                    </a:lnTo>
                    <a:lnTo>
                      <a:pt x="686" y="770"/>
                    </a:lnTo>
                    <a:lnTo>
                      <a:pt x="686" y="772"/>
                    </a:lnTo>
                    <a:lnTo>
                      <a:pt x="686" y="773"/>
                    </a:lnTo>
                    <a:lnTo>
                      <a:pt x="683" y="777"/>
                    </a:lnTo>
                    <a:lnTo>
                      <a:pt x="681" y="777"/>
                    </a:lnTo>
                    <a:lnTo>
                      <a:pt x="681" y="778"/>
                    </a:lnTo>
                    <a:lnTo>
                      <a:pt x="680" y="778"/>
                    </a:lnTo>
                    <a:lnTo>
                      <a:pt x="680" y="780"/>
                    </a:lnTo>
                    <a:lnTo>
                      <a:pt x="678" y="781"/>
                    </a:lnTo>
                    <a:lnTo>
                      <a:pt x="678" y="783"/>
                    </a:lnTo>
                    <a:lnTo>
                      <a:pt x="677" y="783"/>
                    </a:lnTo>
                    <a:lnTo>
                      <a:pt x="673" y="786"/>
                    </a:lnTo>
                    <a:lnTo>
                      <a:pt x="673" y="788"/>
                    </a:lnTo>
                    <a:lnTo>
                      <a:pt x="673" y="789"/>
                    </a:lnTo>
                    <a:lnTo>
                      <a:pt x="673" y="791"/>
                    </a:lnTo>
                    <a:lnTo>
                      <a:pt x="672" y="791"/>
                    </a:lnTo>
                    <a:lnTo>
                      <a:pt x="672" y="792"/>
                    </a:lnTo>
                    <a:lnTo>
                      <a:pt x="670" y="794"/>
                    </a:lnTo>
                    <a:lnTo>
                      <a:pt x="670" y="796"/>
                    </a:lnTo>
                    <a:lnTo>
                      <a:pt x="670" y="797"/>
                    </a:lnTo>
                    <a:lnTo>
                      <a:pt x="669" y="800"/>
                    </a:lnTo>
                    <a:lnTo>
                      <a:pt x="669" y="802"/>
                    </a:lnTo>
                    <a:lnTo>
                      <a:pt x="667" y="804"/>
                    </a:lnTo>
                    <a:lnTo>
                      <a:pt x="667" y="805"/>
                    </a:lnTo>
                    <a:lnTo>
                      <a:pt x="665" y="805"/>
                    </a:lnTo>
                    <a:lnTo>
                      <a:pt x="665" y="807"/>
                    </a:lnTo>
                    <a:lnTo>
                      <a:pt x="656" y="842"/>
                    </a:lnTo>
                    <a:lnTo>
                      <a:pt x="730" y="878"/>
                    </a:lnTo>
                    <a:lnTo>
                      <a:pt x="795" y="922"/>
                    </a:lnTo>
                    <a:lnTo>
                      <a:pt x="819" y="938"/>
                    </a:lnTo>
                    <a:lnTo>
                      <a:pt x="865" y="995"/>
                    </a:lnTo>
                    <a:lnTo>
                      <a:pt x="875" y="1008"/>
                    </a:lnTo>
                    <a:lnTo>
                      <a:pt x="909" y="1060"/>
                    </a:lnTo>
                    <a:lnTo>
                      <a:pt x="908" y="1063"/>
                    </a:lnTo>
                    <a:lnTo>
                      <a:pt x="908" y="1067"/>
                    </a:lnTo>
                    <a:lnTo>
                      <a:pt x="905" y="1068"/>
                    </a:lnTo>
                    <a:lnTo>
                      <a:pt x="903" y="1067"/>
                    </a:lnTo>
                    <a:lnTo>
                      <a:pt x="901" y="1067"/>
                    </a:lnTo>
                    <a:lnTo>
                      <a:pt x="901" y="1065"/>
                    </a:lnTo>
                    <a:lnTo>
                      <a:pt x="900" y="1065"/>
                    </a:lnTo>
                    <a:lnTo>
                      <a:pt x="898" y="1065"/>
                    </a:lnTo>
                    <a:lnTo>
                      <a:pt x="898" y="1063"/>
                    </a:lnTo>
                    <a:lnTo>
                      <a:pt x="897" y="1063"/>
                    </a:lnTo>
                    <a:lnTo>
                      <a:pt x="895" y="1063"/>
                    </a:lnTo>
                    <a:lnTo>
                      <a:pt x="894" y="1063"/>
                    </a:lnTo>
                    <a:lnTo>
                      <a:pt x="892" y="1063"/>
                    </a:lnTo>
                    <a:lnTo>
                      <a:pt x="890" y="1063"/>
                    </a:lnTo>
                    <a:lnTo>
                      <a:pt x="889" y="1063"/>
                    </a:lnTo>
                    <a:lnTo>
                      <a:pt x="887" y="1063"/>
                    </a:lnTo>
                    <a:lnTo>
                      <a:pt x="886" y="1063"/>
                    </a:lnTo>
                    <a:lnTo>
                      <a:pt x="884" y="1063"/>
                    </a:lnTo>
                    <a:lnTo>
                      <a:pt x="882" y="1063"/>
                    </a:lnTo>
                    <a:lnTo>
                      <a:pt x="881" y="1063"/>
                    </a:lnTo>
                    <a:lnTo>
                      <a:pt x="881" y="1065"/>
                    </a:lnTo>
                    <a:lnTo>
                      <a:pt x="879" y="1065"/>
                    </a:lnTo>
                    <a:lnTo>
                      <a:pt x="879" y="1067"/>
                    </a:lnTo>
                    <a:lnTo>
                      <a:pt x="878" y="1067"/>
                    </a:lnTo>
                    <a:lnTo>
                      <a:pt x="878" y="1068"/>
                    </a:lnTo>
                    <a:lnTo>
                      <a:pt x="876" y="1068"/>
                    </a:lnTo>
                    <a:lnTo>
                      <a:pt x="875" y="1068"/>
                    </a:lnTo>
                    <a:lnTo>
                      <a:pt x="875" y="1070"/>
                    </a:lnTo>
                    <a:lnTo>
                      <a:pt x="873" y="1068"/>
                    </a:lnTo>
                    <a:lnTo>
                      <a:pt x="871" y="1068"/>
                    </a:lnTo>
                    <a:lnTo>
                      <a:pt x="870" y="1068"/>
                    </a:lnTo>
                    <a:lnTo>
                      <a:pt x="868" y="1068"/>
                    </a:lnTo>
                    <a:lnTo>
                      <a:pt x="868" y="1067"/>
                    </a:lnTo>
                    <a:lnTo>
                      <a:pt x="867" y="1067"/>
                    </a:lnTo>
                    <a:lnTo>
                      <a:pt x="867" y="1065"/>
                    </a:lnTo>
                    <a:lnTo>
                      <a:pt x="865" y="1065"/>
                    </a:lnTo>
                    <a:lnTo>
                      <a:pt x="863" y="1065"/>
                    </a:lnTo>
                    <a:lnTo>
                      <a:pt x="863" y="1063"/>
                    </a:lnTo>
                    <a:lnTo>
                      <a:pt x="862" y="1063"/>
                    </a:lnTo>
                    <a:lnTo>
                      <a:pt x="862" y="1062"/>
                    </a:lnTo>
                    <a:lnTo>
                      <a:pt x="860" y="1060"/>
                    </a:lnTo>
                    <a:lnTo>
                      <a:pt x="860" y="1059"/>
                    </a:lnTo>
                    <a:lnTo>
                      <a:pt x="859" y="1059"/>
                    </a:lnTo>
                    <a:lnTo>
                      <a:pt x="859" y="1057"/>
                    </a:lnTo>
                    <a:lnTo>
                      <a:pt x="857" y="1055"/>
                    </a:lnTo>
                    <a:lnTo>
                      <a:pt x="857" y="1054"/>
                    </a:lnTo>
                    <a:lnTo>
                      <a:pt x="857" y="1052"/>
                    </a:lnTo>
                    <a:lnTo>
                      <a:pt x="857" y="1051"/>
                    </a:lnTo>
                    <a:lnTo>
                      <a:pt x="857" y="1049"/>
                    </a:lnTo>
                    <a:lnTo>
                      <a:pt x="857" y="1048"/>
                    </a:lnTo>
                    <a:lnTo>
                      <a:pt x="856" y="1046"/>
                    </a:lnTo>
                    <a:lnTo>
                      <a:pt x="856" y="1044"/>
                    </a:lnTo>
                    <a:lnTo>
                      <a:pt x="854" y="1044"/>
                    </a:lnTo>
                    <a:lnTo>
                      <a:pt x="854" y="1043"/>
                    </a:lnTo>
                    <a:lnTo>
                      <a:pt x="852" y="1043"/>
                    </a:lnTo>
                    <a:lnTo>
                      <a:pt x="852" y="1041"/>
                    </a:lnTo>
                    <a:lnTo>
                      <a:pt x="851" y="1040"/>
                    </a:lnTo>
                    <a:lnTo>
                      <a:pt x="849" y="1040"/>
                    </a:lnTo>
                    <a:lnTo>
                      <a:pt x="849" y="1038"/>
                    </a:lnTo>
                    <a:lnTo>
                      <a:pt x="848" y="1038"/>
                    </a:lnTo>
                    <a:lnTo>
                      <a:pt x="848" y="1036"/>
                    </a:lnTo>
                    <a:lnTo>
                      <a:pt x="848" y="1035"/>
                    </a:lnTo>
                    <a:lnTo>
                      <a:pt x="848" y="1033"/>
                    </a:lnTo>
                    <a:lnTo>
                      <a:pt x="846" y="1033"/>
                    </a:lnTo>
                    <a:lnTo>
                      <a:pt x="846" y="1032"/>
                    </a:lnTo>
                    <a:lnTo>
                      <a:pt x="844" y="1032"/>
                    </a:lnTo>
                    <a:lnTo>
                      <a:pt x="843" y="1032"/>
                    </a:lnTo>
                    <a:lnTo>
                      <a:pt x="841" y="1030"/>
                    </a:lnTo>
                    <a:lnTo>
                      <a:pt x="840" y="1029"/>
                    </a:lnTo>
                    <a:lnTo>
                      <a:pt x="838" y="1029"/>
                    </a:lnTo>
                    <a:lnTo>
                      <a:pt x="838" y="1027"/>
                    </a:lnTo>
                    <a:lnTo>
                      <a:pt x="837" y="1027"/>
                    </a:lnTo>
                    <a:lnTo>
                      <a:pt x="835" y="1025"/>
                    </a:lnTo>
                    <a:lnTo>
                      <a:pt x="833" y="1025"/>
                    </a:lnTo>
                    <a:lnTo>
                      <a:pt x="833" y="1024"/>
                    </a:lnTo>
                    <a:lnTo>
                      <a:pt x="835" y="1024"/>
                    </a:lnTo>
                    <a:lnTo>
                      <a:pt x="835" y="1022"/>
                    </a:lnTo>
                    <a:lnTo>
                      <a:pt x="835" y="1021"/>
                    </a:lnTo>
                    <a:lnTo>
                      <a:pt x="835" y="1019"/>
                    </a:lnTo>
                    <a:lnTo>
                      <a:pt x="835" y="1017"/>
                    </a:lnTo>
                    <a:lnTo>
                      <a:pt x="835" y="1016"/>
                    </a:lnTo>
                    <a:lnTo>
                      <a:pt x="835" y="1014"/>
                    </a:lnTo>
                    <a:lnTo>
                      <a:pt x="837" y="1014"/>
                    </a:lnTo>
                    <a:lnTo>
                      <a:pt x="837" y="1013"/>
                    </a:lnTo>
                    <a:lnTo>
                      <a:pt x="837" y="1011"/>
                    </a:lnTo>
                    <a:lnTo>
                      <a:pt x="838" y="1011"/>
                    </a:lnTo>
                    <a:lnTo>
                      <a:pt x="838" y="1009"/>
                    </a:lnTo>
                    <a:lnTo>
                      <a:pt x="838" y="1008"/>
                    </a:lnTo>
                    <a:lnTo>
                      <a:pt x="837" y="1006"/>
                    </a:lnTo>
                    <a:lnTo>
                      <a:pt x="835" y="1006"/>
                    </a:lnTo>
                    <a:lnTo>
                      <a:pt x="835" y="1008"/>
                    </a:lnTo>
                    <a:lnTo>
                      <a:pt x="833" y="1008"/>
                    </a:lnTo>
                    <a:lnTo>
                      <a:pt x="832" y="1008"/>
                    </a:lnTo>
                    <a:lnTo>
                      <a:pt x="830" y="1006"/>
                    </a:lnTo>
                    <a:lnTo>
                      <a:pt x="830" y="1005"/>
                    </a:lnTo>
                    <a:lnTo>
                      <a:pt x="830" y="1003"/>
                    </a:lnTo>
                    <a:lnTo>
                      <a:pt x="830" y="1002"/>
                    </a:lnTo>
                    <a:lnTo>
                      <a:pt x="830" y="1000"/>
                    </a:lnTo>
                    <a:lnTo>
                      <a:pt x="830" y="998"/>
                    </a:lnTo>
                    <a:lnTo>
                      <a:pt x="832" y="998"/>
                    </a:lnTo>
                    <a:lnTo>
                      <a:pt x="832" y="997"/>
                    </a:lnTo>
                    <a:lnTo>
                      <a:pt x="833" y="995"/>
                    </a:lnTo>
                    <a:lnTo>
                      <a:pt x="835" y="995"/>
                    </a:lnTo>
                    <a:lnTo>
                      <a:pt x="835" y="994"/>
                    </a:lnTo>
                    <a:lnTo>
                      <a:pt x="837" y="994"/>
                    </a:lnTo>
                    <a:lnTo>
                      <a:pt x="837" y="992"/>
                    </a:lnTo>
                    <a:lnTo>
                      <a:pt x="837" y="990"/>
                    </a:lnTo>
                    <a:lnTo>
                      <a:pt x="835" y="990"/>
                    </a:lnTo>
                    <a:lnTo>
                      <a:pt x="835" y="989"/>
                    </a:lnTo>
                    <a:lnTo>
                      <a:pt x="833" y="989"/>
                    </a:lnTo>
                    <a:lnTo>
                      <a:pt x="832" y="989"/>
                    </a:lnTo>
                    <a:lnTo>
                      <a:pt x="830" y="989"/>
                    </a:lnTo>
                    <a:lnTo>
                      <a:pt x="830" y="987"/>
                    </a:lnTo>
                    <a:lnTo>
                      <a:pt x="829" y="987"/>
                    </a:lnTo>
                    <a:lnTo>
                      <a:pt x="827" y="986"/>
                    </a:lnTo>
                    <a:lnTo>
                      <a:pt x="825" y="986"/>
                    </a:lnTo>
                    <a:lnTo>
                      <a:pt x="824" y="986"/>
                    </a:lnTo>
                    <a:lnTo>
                      <a:pt x="824" y="984"/>
                    </a:lnTo>
                    <a:lnTo>
                      <a:pt x="822" y="984"/>
                    </a:lnTo>
                    <a:lnTo>
                      <a:pt x="822" y="983"/>
                    </a:lnTo>
                    <a:lnTo>
                      <a:pt x="821" y="983"/>
                    </a:lnTo>
                    <a:lnTo>
                      <a:pt x="819" y="983"/>
                    </a:lnTo>
                    <a:lnTo>
                      <a:pt x="819" y="981"/>
                    </a:lnTo>
                    <a:lnTo>
                      <a:pt x="818" y="981"/>
                    </a:lnTo>
                    <a:lnTo>
                      <a:pt x="818" y="983"/>
                    </a:lnTo>
                    <a:lnTo>
                      <a:pt x="818" y="984"/>
                    </a:lnTo>
                    <a:lnTo>
                      <a:pt x="816" y="984"/>
                    </a:lnTo>
                    <a:lnTo>
                      <a:pt x="816" y="986"/>
                    </a:lnTo>
                    <a:lnTo>
                      <a:pt x="814" y="986"/>
                    </a:lnTo>
                    <a:lnTo>
                      <a:pt x="813" y="987"/>
                    </a:lnTo>
                    <a:lnTo>
                      <a:pt x="813" y="989"/>
                    </a:lnTo>
                    <a:lnTo>
                      <a:pt x="811" y="989"/>
                    </a:lnTo>
                    <a:lnTo>
                      <a:pt x="811" y="990"/>
                    </a:lnTo>
                    <a:lnTo>
                      <a:pt x="810" y="990"/>
                    </a:lnTo>
                    <a:lnTo>
                      <a:pt x="810" y="992"/>
                    </a:lnTo>
                    <a:lnTo>
                      <a:pt x="808" y="992"/>
                    </a:lnTo>
                    <a:lnTo>
                      <a:pt x="806" y="992"/>
                    </a:lnTo>
                    <a:lnTo>
                      <a:pt x="806" y="994"/>
                    </a:lnTo>
                    <a:lnTo>
                      <a:pt x="805" y="994"/>
                    </a:lnTo>
                    <a:lnTo>
                      <a:pt x="803" y="994"/>
                    </a:lnTo>
                    <a:lnTo>
                      <a:pt x="802" y="994"/>
                    </a:lnTo>
                    <a:lnTo>
                      <a:pt x="800" y="995"/>
                    </a:lnTo>
                    <a:lnTo>
                      <a:pt x="800" y="997"/>
                    </a:lnTo>
                    <a:lnTo>
                      <a:pt x="798" y="997"/>
                    </a:lnTo>
                    <a:lnTo>
                      <a:pt x="797" y="998"/>
                    </a:lnTo>
                    <a:lnTo>
                      <a:pt x="797" y="1000"/>
                    </a:lnTo>
                    <a:lnTo>
                      <a:pt x="795" y="1000"/>
                    </a:lnTo>
                    <a:lnTo>
                      <a:pt x="795" y="1002"/>
                    </a:lnTo>
                    <a:lnTo>
                      <a:pt x="795" y="1003"/>
                    </a:lnTo>
                    <a:lnTo>
                      <a:pt x="794" y="1003"/>
                    </a:lnTo>
                    <a:lnTo>
                      <a:pt x="794" y="1005"/>
                    </a:lnTo>
                    <a:lnTo>
                      <a:pt x="792" y="1005"/>
                    </a:lnTo>
                    <a:lnTo>
                      <a:pt x="792" y="1006"/>
                    </a:lnTo>
                    <a:lnTo>
                      <a:pt x="792" y="1008"/>
                    </a:lnTo>
                    <a:lnTo>
                      <a:pt x="791" y="1008"/>
                    </a:lnTo>
                    <a:lnTo>
                      <a:pt x="791" y="1009"/>
                    </a:lnTo>
                    <a:lnTo>
                      <a:pt x="791" y="1011"/>
                    </a:lnTo>
                    <a:lnTo>
                      <a:pt x="789" y="1011"/>
                    </a:lnTo>
                    <a:lnTo>
                      <a:pt x="787" y="1013"/>
                    </a:lnTo>
                    <a:lnTo>
                      <a:pt x="786" y="1013"/>
                    </a:lnTo>
                    <a:lnTo>
                      <a:pt x="786" y="1014"/>
                    </a:lnTo>
                    <a:lnTo>
                      <a:pt x="784" y="1016"/>
                    </a:lnTo>
                    <a:lnTo>
                      <a:pt x="783" y="1016"/>
                    </a:lnTo>
                    <a:lnTo>
                      <a:pt x="783" y="1017"/>
                    </a:lnTo>
                    <a:lnTo>
                      <a:pt x="781" y="1017"/>
                    </a:lnTo>
                    <a:lnTo>
                      <a:pt x="779" y="1017"/>
                    </a:lnTo>
                    <a:lnTo>
                      <a:pt x="778" y="1017"/>
                    </a:lnTo>
                    <a:lnTo>
                      <a:pt x="776" y="1017"/>
                    </a:lnTo>
                    <a:lnTo>
                      <a:pt x="776" y="1016"/>
                    </a:lnTo>
                    <a:lnTo>
                      <a:pt x="775" y="1014"/>
                    </a:lnTo>
                    <a:lnTo>
                      <a:pt x="773" y="1016"/>
                    </a:lnTo>
                    <a:lnTo>
                      <a:pt x="772" y="1016"/>
                    </a:lnTo>
                    <a:lnTo>
                      <a:pt x="770" y="1016"/>
                    </a:lnTo>
                    <a:lnTo>
                      <a:pt x="768" y="1017"/>
                    </a:lnTo>
                    <a:lnTo>
                      <a:pt x="768" y="1016"/>
                    </a:lnTo>
                    <a:lnTo>
                      <a:pt x="767" y="1016"/>
                    </a:lnTo>
                    <a:lnTo>
                      <a:pt x="767" y="1014"/>
                    </a:lnTo>
                    <a:lnTo>
                      <a:pt x="765" y="1014"/>
                    </a:lnTo>
                    <a:lnTo>
                      <a:pt x="764" y="1014"/>
                    </a:lnTo>
                    <a:lnTo>
                      <a:pt x="762" y="1014"/>
                    </a:lnTo>
                    <a:lnTo>
                      <a:pt x="762" y="1016"/>
                    </a:lnTo>
                    <a:lnTo>
                      <a:pt x="760" y="1016"/>
                    </a:lnTo>
                    <a:lnTo>
                      <a:pt x="759" y="1016"/>
                    </a:lnTo>
                    <a:lnTo>
                      <a:pt x="759" y="1017"/>
                    </a:lnTo>
                    <a:lnTo>
                      <a:pt x="759" y="1019"/>
                    </a:lnTo>
                    <a:lnTo>
                      <a:pt x="759" y="1021"/>
                    </a:lnTo>
                    <a:lnTo>
                      <a:pt x="760" y="1021"/>
                    </a:lnTo>
                    <a:lnTo>
                      <a:pt x="760" y="1022"/>
                    </a:lnTo>
                    <a:lnTo>
                      <a:pt x="762" y="1024"/>
                    </a:lnTo>
                    <a:lnTo>
                      <a:pt x="760" y="1024"/>
                    </a:lnTo>
                    <a:lnTo>
                      <a:pt x="759" y="1024"/>
                    </a:lnTo>
                    <a:lnTo>
                      <a:pt x="757" y="1022"/>
                    </a:lnTo>
                    <a:lnTo>
                      <a:pt x="756" y="1024"/>
                    </a:lnTo>
                    <a:lnTo>
                      <a:pt x="756" y="1025"/>
                    </a:lnTo>
                    <a:lnTo>
                      <a:pt x="757" y="1025"/>
                    </a:lnTo>
                    <a:lnTo>
                      <a:pt x="757" y="1027"/>
                    </a:lnTo>
                    <a:lnTo>
                      <a:pt x="757" y="1029"/>
                    </a:lnTo>
                    <a:lnTo>
                      <a:pt x="756" y="1029"/>
                    </a:lnTo>
                    <a:lnTo>
                      <a:pt x="756" y="1027"/>
                    </a:lnTo>
                    <a:lnTo>
                      <a:pt x="754" y="1027"/>
                    </a:lnTo>
                    <a:lnTo>
                      <a:pt x="754" y="1025"/>
                    </a:lnTo>
                    <a:lnTo>
                      <a:pt x="753" y="1027"/>
                    </a:lnTo>
                    <a:lnTo>
                      <a:pt x="753" y="1029"/>
                    </a:lnTo>
                    <a:lnTo>
                      <a:pt x="754" y="1029"/>
                    </a:lnTo>
                    <a:lnTo>
                      <a:pt x="754" y="1030"/>
                    </a:lnTo>
                    <a:lnTo>
                      <a:pt x="754" y="1032"/>
                    </a:lnTo>
                    <a:lnTo>
                      <a:pt x="753" y="1032"/>
                    </a:lnTo>
                    <a:lnTo>
                      <a:pt x="751" y="1032"/>
                    </a:lnTo>
                    <a:lnTo>
                      <a:pt x="749" y="1033"/>
                    </a:lnTo>
                    <a:lnTo>
                      <a:pt x="749" y="1035"/>
                    </a:lnTo>
                    <a:lnTo>
                      <a:pt x="749" y="1036"/>
                    </a:lnTo>
                    <a:lnTo>
                      <a:pt x="748" y="1036"/>
                    </a:lnTo>
                    <a:lnTo>
                      <a:pt x="748" y="1038"/>
                    </a:lnTo>
                    <a:lnTo>
                      <a:pt x="746" y="1038"/>
                    </a:lnTo>
                    <a:lnTo>
                      <a:pt x="746" y="1040"/>
                    </a:lnTo>
                    <a:lnTo>
                      <a:pt x="745" y="1040"/>
                    </a:lnTo>
                    <a:lnTo>
                      <a:pt x="746" y="1040"/>
                    </a:lnTo>
                    <a:lnTo>
                      <a:pt x="746" y="1041"/>
                    </a:lnTo>
                    <a:lnTo>
                      <a:pt x="748" y="1041"/>
                    </a:lnTo>
                    <a:lnTo>
                      <a:pt x="748" y="1043"/>
                    </a:lnTo>
                    <a:lnTo>
                      <a:pt x="749" y="1043"/>
                    </a:lnTo>
                    <a:lnTo>
                      <a:pt x="749" y="1044"/>
                    </a:lnTo>
                    <a:lnTo>
                      <a:pt x="751" y="1046"/>
                    </a:lnTo>
                    <a:lnTo>
                      <a:pt x="749" y="1048"/>
                    </a:lnTo>
                    <a:lnTo>
                      <a:pt x="749" y="1049"/>
                    </a:lnTo>
                    <a:lnTo>
                      <a:pt x="749" y="1051"/>
                    </a:lnTo>
                    <a:lnTo>
                      <a:pt x="749" y="1052"/>
                    </a:lnTo>
                    <a:lnTo>
                      <a:pt x="748" y="1054"/>
                    </a:lnTo>
                    <a:lnTo>
                      <a:pt x="746" y="1055"/>
                    </a:lnTo>
                    <a:lnTo>
                      <a:pt x="746" y="1057"/>
                    </a:lnTo>
                    <a:lnTo>
                      <a:pt x="748" y="1060"/>
                    </a:lnTo>
                    <a:lnTo>
                      <a:pt x="748" y="1062"/>
                    </a:lnTo>
                    <a:lnTo>
                      <a:pt x="749" y="1062"/>
                    </a:lnTo>
                    <a:lnTo>
                      <a:pt x="751" y="1062"/>
                    </a:lnTo>
                    <a:lnTo>
                      <a:pt x="751" y="1063"/>
                    </a:lnTo>
                    <a:lnTo>
                      <a:pt x="751" y="1065"/>
                    </a:lnTo>
                    <a:lnTo>
                      <a:pt x="751" y="1067"/>
                    </a:lnTo>
                    <a:lnTo>
                      <a:pt x="753" y="1068"/>
                    </a:lnTo>
                    <a:lnTo>
                      <a:pt x="753" y="1067"/>
                    </a:lnTo>
                    <a:lnTo>
                      <a:pt x="754" y="1067"/>
                    </a:lnTo>
                    <a:lnTo>
                      <a:pt x="754" y="1065"/>
                    </a:lnTo>
                    <a:lnTo>
                      <a:pt x="754" y="1067"/>
                    </a:lnTo>
                    <a:lnTo>
                      <a:pt x="754" y="1068"/>
                    </a:lnTo>
                    <a:lnTo>
                      <a:pt x="754" y="1070"/>
                    </a:lnTo>
                    <a:lnTo>
                      <a:pt x="754" y="1071"/>
                    </a:lnTo>
                    <a:lnTo>
                      <a:pt x="754" y="1073"/>
                    </a:lnTo>
                    <a:lnTo>
                      <a:pt x="756" y="1074"/>
                    </a:lnTo>
                    <a:lnTo>
                      <a:pt x="757" y="1074"/>
                    </a:lnTo>
                    <a:lnTo>
                      <a:pt x="757" y="1076"/>
                    </a:lnTo>
                    <a:lnTo>
                      <a:pt x="759" y="1078"/>
                    </a:lnTo>
                    <a:lnTo>
                      <a:pt x="757" y="1078"/>
                    </a:lnTo>
                    <a:lnTo>
                      <a:pt x="757" y="1079"/>
                    </a:lnTo>
                    <a:lnTo>
                      <a:pt x="759" y="1079"/>
                    </a:lnTo>
                    <a:lnTo>
                      <a:pt x="760" y="1079"/>
                    </a:lnTo>
                    <a:lnTo>
                      <a:pt x="762" y="1079"/>
                    </a:lnTo>
                    <a:lnTo>
                      <a:pt x="762" y="1081"/>
                    </a:lnTo>
                    <a:lnTo>
                      <a:pt x="760" y="1081"/>
                    </a:lnTo>
                    <a:lnTo>
                      <a:pt x="760" y="1082"/>
                    </a:lnTo>
                    <a:lnTo>
                      <a:pt x="759" y="1082"/>
                    </a:lnTo>
                    <a:lnTo>
                      <a:pt x="759" y="1084"/>
                    </a:lnTo>
                    <a:lnTo>
                      <a:pt x="757" y="1084"/>
                    </a:lnTo>
                    <a:lnTo>
                      <a:pt x="757" y="1086"/>
                    </a:lnTo>
                    <a:lnTo>
                      <a:pt x="756" y="1087"/>
                    </a:lnTo>
                    <a:lnTo>
                      <a:pt x="756" y="1089"/>
                    </a:lnTo>
                    <a:lnTo>
                      <a:pt x="754" y="1089"/>
                    </a:lnTo>
                    <a:lnTo>
                      <a:pt x="754" y="1090"/>
                    </a:lnTo>
                    <a:lnTo>
                      <a:pt x="756" y="1092"/>
                    </a:lnTo>
                    <a:lnTo>
                      <a:pt x="757" y="1092"/>
                    </a:lnTo>
                    <a:lnTo>
                      <a:pt x="756" y="1092"/>
                    </a:lnTo>
                    <a:lnTo>
                      <a:pt x="754" y="1093"/>
                    </a:lnTo>
                    <a:lnTo>
                      <a:pt x="754" y="1095"/>
                    </a:lnTo>
                    <a:lnTo>
                      <a:pt x="754" y="1097"/>
                    </a:lnTo>
                    <a:lnTo>
                      <a:pt x="754" y="1098"/>
                    </a:lnTo>
                    <a:lnTo>
                      <a:pt x="754" y="1100"/>
                    </a:lnTo>
                    <a:lnTo>
                      <a:pt x="753" y="1100"/>
                    </a:lnTo>
                    <a:lnTo>
                      <a:pt x="753" y="1101"/>
                    </a:lnTo>
                    <a:lnTo>
                      <a:pt x="753" y="1103"/>
                    </a:lnTo>
                    <a:lnTo>
                      <a:pt x="751" y="1103"/>
                    </a:lnTo>
                    <a:lnTo>
                      <a:pt x="751" y="1105"/>
                    </a:lnTo>
                    <a:lnTo>
                      <a:pt x="749" y="1105"/>
                    </a:lnTo>
                    <a:lnTo>
                      <a:pt x="749" y="1106"/>
                    </a:lnTo>
                    <a:lnTo>
                      <a:pt x="748" y="1106"/>
                    </a:lnTo>
                    <a:lnTo>
                      <a:pt x="746" y="1108"/>
                    </a:lnTo>
                    <a:lnTo>
                      <a:pt x="745" y="1108"/>
                    </a:lnTo>
                    <a:lnTo>
                      <a:pt x="745" y="1109"/>
                    </a:lnTo>
                    <a:lnTo>
                      <a:pt x="745" y="1111"/>
                    </a:lnTo>
                    <a:lnTo>
                      <a:pt x="743" y="1111"/>
                    </a:lnTo>
                    <a:lnTo>
                      <a:pt x="743" y="1112"/>
                    </a:lnTo>
                    <a:lnTo>
                      <a:pt x="741" y="1112"/>
                    </a:lnTo>
                    <a:lnTo>
                      <a:pt x="741" y="1114"/>
                    </a:lnTo>
                    <a:lnTo>
                      <a:pt x="740" y="1116"/>
                    </a:lnTo>
                    <a:lnTo>
                      <a:pt x="740" y="1117"/>
                    </a:lnTo>
                    <a:lnTo>
                      <a:pt x="738" y="1119"/>
                    </a:lnTo>
                    <a:lnTo>
                      <a:pt x="738" y="1120"/>
                    </a:lnTo>
                    <a:lnTo>
                      <a:pt x="735" y="1119"/>
                    </a:lnTo>
                    <a:lnTo>
                      <a:pt x="735" y="1120"/>
                    </a:lnTo>
                    <a:lnTo>
                      <a:pt x="734" y="1122"/>
                    </a:lnTo>
                    <a:lnTo>
                      <a:pt x="734" y="1124"/>
                    </a:lnTo>
                    <a:lnTo>
                      <a:pt x="734" y="1125"/>
                    </a:lnTo>
                    <a:lnTo>
                      <a:pt x="732" y="1127"/>
                    </a:lnTo>
                    <a:lnTo>
                      <a:pt x="730" y="1127"/>
                    </a:lnTo>
                    <a:lnTo>
                      <a:pt x="729" y="1128"/>
                    </a:lnTo>
                    <a:lnTo>
                      <a:pt x="727" y="1128"/>
                    </a:lnTo>
                    <a:lnTo>
                      <a:pt x="727" y="1130"/>
                    </a:lnTo>
                    <a:lnTo>
                      <a:pt x="726" y="1131"/>
                    </a:lnTo>
                    <a:lnTo>
                      <a:pt x="726" y="1133"/>
                    </a:lnTo>
                    <a:lnTo>
                      <a:pt x="724" y="1133"/>
                    </a:lnTo>
                    <a:lnTo>
                      <a:pt x="724" y="1135"/>
                    </a:lnTo>
                    <a:lnTo>
                      <a:pt x="721" y="1136"/>
                    </a:lnTo>
                    <a:lnTo>
                      <a:pt x="718" y="1138"/>
                    </a:lnTo>
                    <a:lnTo>
                      <a:pt x="716" y="1139"/>
                    </a:lnTo>
                    <a:lnTo>
                      <a:pt x="713" y="1141"/>
                    </a:lnTo>
                    <a:lnTo>
                      <a:pt x="710" y="1141"/>
                    </a:lnTo>
                    <a:lnTo>
                      <a:pt x="707" y="1141"/>
                    </a:lnTo>
                    <a:lnTo>
                      <a:pt x="703" y="1143"/>
                    </a:lnTo>
                    <a:lnTo>
                      <a:pt x="702" y="1144"/>
                    </a:lnTo>
                    <a:lnTo>
                      <a:pt x="699" y="1144"/>
                    </a:lnTo>
                    <a:lnTo>
                      <a:pt x="696" y="1146"/>
                    </a:lnTo>
                    <a:lnTo>
                      <a:pt x="692" y="1146"/>
                    </a:lnTo>
                    <a:lnTo>
                      <a:pt x="689" y="1147"/>
                    </a:lnTo>
                    <a:lnTo>
                      <a:pt x="688" y="1149"/>
                    </a:lnTo>
                    <a:lnTo>
                      <a:pt x="686" y="1149"/>
                    </a:lnTo>
                    <a:lnTo>
                      <a:pt x="684" y="1152"/>
                    </a:lnTo>
                    <a:lnTo>
                      <a:pt x="681" y="1154"/>
                    </a:lnTo>
                    <a:lnTo>
                      <a:pt x="680" y="1154"/>
                    </a:lnTo>
                    <a:lnTo>
                      <a:pt x="678" y="1155"/>
                    </a:lnTo>
                    <a:lnTo>
                      <a:pt x="677" y="1155"/>
                    </a:lnTo>
                    <a:lnTo>
                      <a:pt x="675" y="1155"/>
                    </a:lnTo>
                    <a:lnTo>
                      <a:pt x="673" y="1155"/>
                    </a:lnTo>
                    <a:lnTo>
                      <a:pt x="672" y="1155"/>
                    </a:lnTo>
                    <a:lnTo>
                      <a:pt x="670" y="1155"/>
                    </a:lnTo>
                    <a:lnTo>
                      <a:pt x="669" y="1155"/>
                    </a:lnTo>
                    <a:lnTo>
                      <a:pt x="669" y="1154"/>
                    </a:lnTo>
                    <a:lnTo>
                      <a:pt x="667" y="1154"/>
                    </a:lnTo>
                    <a:lnTo>
                      <a:pt x="667" y="1155"/>
                    </a:lnTo>
                    <a:lnTo>
                      <a:pt x="665" y="1155"/>
                    </a:lnTo>
                    <a:lnTo>
                      <a:pt x="664" y="1158"/>
                    </a:lnTo>
                    <a:lnTo>
                      <a:pt x="662" y="1160"/>
                    </a:lnTo>
                    <a:lnTo>
                      <a:pt x="661" y="1162"/>
                    </a:lnTo>
                    <a:lnTo>
                      <a:pt x="661" y="1163"/>
                    </a:lnTo>
                    <a:lnTo>
                      <a:pt x="661" y="1165"/>
                    </a:lnTo>
                    <a:lnTo>
                      <a:pt x="661" y="1166"/>
                    </a:lnTo>
                    <a:lnTo>
                      <a:pt x="664" y="1168"/>
                    </a:lnTo>
                    <a:lnTo>
                      <a:pt x="667" y="1171"/>
                    </a:lnTo>
                    <a:lnTo>
                      <a:pt x="672" y="1173"/>
                    </a:lnTo>
                    <a:lnTo>
                      <a:pt x="673" y="1174"/>
                    </a:lnTo>
                    <a:lnTo>
                      <a:pt x="675" y="1177"/>
                    </a:lnTo>
                    <a:lnTo>
                      <a:pt x="677" y="1179"/>
                    </a:lnTo>
                    <a:lnTo>
                      <a:pt x="678" y="1181"/>
                    </a:lnTo>
                    <a:lnTo>
                      <a:pt x="681" y="1182"/>
                    </a:lnTo>
                    <a:lnTo>
                      <a:pt x="683" y="1184"/>
                    </a:lnTo>
                    <a:lnTo>
                      <a:pt x="684" y="1185"/>
                    </a:lnTo>
                    <a:lnTo>
                      <a:pt x="686" y="1185"/>
                    </a:lnTo>
                    <a:lnTo>
                      <a:pt x="688" y="1187"/>
                    </a:lnTo>
                    <a:lnTo>
                      <a:pt x="689" y="1188"/>
                    </a:lnTo>
                    <a:lnTo>
                      <a:pt x="691" y="1190"/>
                    </a:lnTo>
                    <a:lnTo>
                      <a:pt x="689" y="1193"/>
                    </a:lnTo>
                    <a:lnTo>
                      <a:pt x="688" y="1193"/>
                    </a:lnTo>
                    <a:lnTo>
                      <a:pt x="686" y="1195"/>
                    </a:lnTo>
                    <a:lnTo>
                      <a:pt x="684" y="1196"/>
                    </a:lnTo>
                    <a:lnTo>
                      <a:pt x="683" y="1196"/>
                    </a:lnTo>
                    <a:lnTo>
                      <a:pt x="681" y="1198"/>
                    </a:lnTo>
                    <a:lnTo>
                      <a:pt x="683" y="1200"/>
                    </a:lnTo>
                    <a:lnTo>
                      <a:pt x="683" y="1201"/>
                    </a:lnTo>
                    <a:lnTo>
                      <a:pt x="684" y="1201"/>
                    </a:lnTo>
                    <a:lnTo>
                      <a:pt x="686" y="1203"/>
                    </a:lnTo>
                    <a:lnTo>
                      <a:pt x="688" y="1204"/>
                    </a:lnTo>
                    <a:lnTo>
                      <a:pt x="688" y="1206"/>
                    </a:lnTo>
                    <a:lnTo>
                      <a:pt x="689" y="1206"/>
                    </a:lnTo>
                    <a:lnTo>
                      <a:pt x="691" y="1208"/>
                    </a:lnTo>
                    <a:lnTo>
                      <a:pt x="692" y="1209"/>
                    </a:lnTo>
                    <a:lnTo>
                      <a:pt x="694" y="1209"/>
                    </a:lnTo>
                    <a:lnTo>
                      <a:pt x="694" y="1211"/>
                    </a:lnTo>
                    <a:lnTo>
                      <a:pt x="696" y="1211"/>
                    </a:lnTo>
                    <a:lnTo>
                      <a:pt x="696" y="1212"/>
                    </a:lnTo>
                    <a:lnTo>
                      <a:pt x="697" y="1212"/>
                    </a:lnTo>
                    <a:lnTo>
                      <a:pt x="699" y="1214"/>
                    </a:lnTo>
                    <a:lnTo>
                      <a:pt x="700" y="1215"/>
                    </a:lnTo>
                    <a:lnTo>
                      <a:pt x="702" y="1217"/>
                    </a:lnTo>
                    <a:lnTo>
                      <a:pt x="703" y="1217"/>
                    </a:lnTo>
                    <a:lnTo>
                      <a:pt x="703" y="1219"/>
                    </a:lnTo>
                    <a:lnTo>
                      <a:pt x="705" y="1219"/>
                    </a:lnTo>
                    <a:lnTo>
                      <a:pt x="705" y="1220"/>
                    </a:lnTo>
                    <a:lnTo>
                      <a:pt x="707" y="1220"/>
                    </a:lnTo>
                    <a:lnTo>
                      <a:pt x="708" y="1222"/>
                    </a:lnTo>
                    <a:lnTo>
                      <a:pt x="710" y="1223"/>
                    </a:lnTo>
                    <a:lnTo>
                      <a:pt x="710" y="1225"/>
                    </a:lnTo>
                    <a:lnTo>
                      <a:pt x="711" y="1227"/>
                    </a:lnTo>
                    <a:lnTo>
                      <a:pt x="711" y="1228"/>
                    </a:lnTo>
                    <a:lnTo>
                      <a:pt x="713" y="1228"/>
                    </a:lnTo>
                    <a:lnTo>
                      <a:pt x="713" y="1230"/>
                    </a:lnTo>
                    <a:lnTo>
                      <a:pt x="713" y="1231"/>
                    </a:lnTo>
                    <a:lnTo>
                      <a:pt x="715" y="1231"/>
                    </a:lnTo>
                    <a:lnTo>
                      <a:pt x="715" y="1233"/>
                    </a:lnTo>
                    <a:lnTo>
                      <a:pt x="715" y="1234"/>
                    </a:lnTo>
                    <a:lnTo>
                      <a:pt x="715" y="1236"/>
                    </a:lnTo>
                    <a:lnTo>
                      <a:pt x="713" y="1236"/>
                    </a:lnTo>
                    <a:lnTo>
                      <a:pt x="711" y="1236"/>
                    </a:lnTo>
                    <a:lnTo>
                      <a:pt x="710" y="1236"/>
                    </a:lnTo>
                    <a:lnTo>
                      <a:pt x="708" y="1236"/>
                    </a:lnTo>
                    <a:lnTo>
                      <a:pt x="707" y="1236"/>
                    </a:lnTo>
                    <a:lnTo>
                      <a:pt x="705" y="1238"/>
                    </a:lnTo>
                    <a:lnTo>
                      <a:pt x="705" y="1239"/>
                    </a:lnTo>
                    <a:lnTo>
                      <a:pt x="705" y="1241"/>
                    </a:lnTo>
                    <a:lnTo>
                      <a:pt x="705" y="1242"/>
                    </a:lnTo>
                    <a:lnTo>
                      <a:pt x="705" y="1244"/>
                    </a:lnTo>
                    <a:lnTo>
                      <a:pt x="705" y="1246"/>
                    </a:lnTo>
                    <a:lnTo>
                      <a:pt x="705" y="1247"/>
                    </a:lnTo>
                    <a:lnTo>
                      <a:pt x="705" y="1249"/>
                    </a:lnTo>
                    <a:lnTo>
                      <a:pt x="707" y="1250"/>
                    </a:lnTo>
                    <a:lnTo>
                      <a:pt x="707" y="1252"/>
                    </a:lnTo>
                    <a:lnTo>
                      <a:pt x="707" y="1253"/>
                    </a:lnTo>
                    <a:lnTo>
                      <a:pt x="707" y="1255"/>
                    </a:lnTo>
                    <a:lnTo>
                      <a:pt x="707" y="1257"/>
                    </a:lnTo>
                    <a:lnTo>
                      <a:pt x="707" y="1258"/>
                    </a:lnTo>
                    <a:lnTo>
                      <a:pt x="707" y="1260"/>
                    </a:lnTo>
                    <a:lnTo>
                      <a:pt x="703" y="1260"/>
                    </a:lnTo>
                    <a:lnTo>
                      <a:pt x="700" y="1258"/>
                    </a:lnTo>
                    <a:lnTo>
                      <a:pt x="699" y="1258"/>
                    </a:lnTo>
                    <a:lnTo>
                      <a:pt x="697" y="1258"/>
                    </a:lnTo>
                    <a:lnTo>
                      <a:pt x="696" y="1257"/>
                    </a:lnTo>
                    <a:lnTo>
                      <a:pt x="694" y="1257"/>
                    </a:lnTo>
                    <a:lnTo>
                      <a:pt x="692" y="1257"/>
                    </a:lnTo>
                    <a:lnTo>
                      <a:pt x="689" y="1257"/>
                    </a:lnTo>
                    <a:lnTo>
                      <a:pt x="684" y="1257"/>
                    </a:lnTo>
                    <a:lnTo>
                      <a:pt x="680" y="1257"/>
                    </a:lnTo>
                    <a:lnTo>
                      <a:pt x="677" y="1257"/>
                    </a:lnTo>
                    <a:lnTo>
                      <a:pt x="670" y="1258"/>
                    </a:lnTo>
                    <a:lnTo>
                      <a:pt x="667" y="1258"/>
                    </a:lnTo>
                    <a:lnTo>
                      <a:pt x="665" y="1260"/>
                    </a:lnTo>
                    <a:lnTo>
                      <a:pt x="665" y="1261"/>
                    </a:lnTo>
                    <a:lnTo>
                      <a:pt x="662" y="1263"/>
                    </a:lnTo>
                    <a:lnTo>
                      <a:pt x="661" y="1263"/>
                    </a:lnTo>
                    <a:lnTo>
                      <a:pt x="659" y="1265"/>
                    </a:lnTo>
                    <a:lnTo>
                      <a:pt x="658" y="1265"/>
                    </a:lnTo>
                    <a:lnTo>
                      <a:pt x="654" y="1263"/>
                    </a:lnTo>
                    <a:lnTo>
                      <a:pt x="654" y="1261"/>
                    </a:lnTo>
                    <a:lnTo>
                      <a:pt x="651" y="1260"/>
                    </a:lnTo>
                    <a:lnTo>
                      <a:pt x="650" y="1258"/>
                    </a:lnTo>
                    <a:lnTo>
                      <a:pt x="648" y="1257"/>
                    </a:lnTo>
                    <a:lnTo>
                      <a:pt x="646" y="1253"/>
                    </a:lnTo>
                    <a:lnTo>
                      <a:pt x="645" y="1252"/>
                    </a:lnTo>
                    <a:lnTo>
                      <a:pt x="643" y="1250"/>
                    </a:lnTo>
                    <a:lnTo>
                      <a:pt x="643" y="1249"/>
                    </a:lnTo>
                    <a:lnTo>
                      <a:pt x="642" y="1249"/>
                    </a:lnTo>
                    <a:lnTo>
                      <a:pt x="640" y="1246"/>
                    </a:lnTo>
                    <a:lnTo>
                      <a:pt x="640" y="1244"/>
                    </a:lnTo>
                    <a:lnTo>
                      <a:pt x="640" y="1242"/>
                    </a:lnTo>
                    <a:lnTo>
                      <a:pt x="640" y="1241"/>
                    </a:lnTo>
                    <a:lnTo>
                      <a:pt x="640" y="1239"/>
                    </a:lnTo>
                    <a:lnTo>
                      <a:pt x="639" y="1238"/>
                    </a:lnTo>
                    <a:lnTo>
                      <a:pt x="637" y="1233"/>
                    </a:lnTo>
                    <a:lnTo>
                      <a:pt x="640" y="1227"/>
                    </a:lnTo>
                    <a:lnTo>
                      <a:pt x="642" y="1223"/>
                    </a:lnTo>
                    <a:lnTo>
                      <a:pt x="642" y="1222"/>
                    </a:lnTo>
                    <a:lnTo>
                      <a:pt x="643" y="1220"/>
                    </a:lnTo>
                    <a:lnTo>
                      <a:pt x="643" y="1219"/>
                    </a:lnTo>
                    <a:lnTo>
                      <a:pt x="642" y="1219"/>
                    </a:lnTo>
                    <a:lnTo>
                      <a:pt x="626" y="1211"/>
                    </a:lnTo>
                    <a:lnTo>
                      <a:pt x="624" y="1211"/>
                    </a:lnTo>
                    <a:lnTo>
                      <a:pt x="616" y="1208"/>
                    </a:lnTo>
                    <a:lnTo>
                      <a:pt x="607" y="1206"/>
                    </a:lnTo>
                    <a:lnTo>
                      <a:pt x="605" y="1204"/>
                    </a:lnTo>
                    <a:lnTo>
                      <a:pt x="602" y="1204"/>
                    </a:lnTo>
                    <a:lnTo>
                      <a:pt x="602" y="1203"/>
                    </a:lnTo>
                    <a:lnTo>
                      <a:pt x="596" y="1203"/>
                    </a:lnTo>
                    <a:lnTo>
                      <a:pt x="588" y="1204"/>
                    </a:lnTo>
                    <a:lnTo>
                      <a:pt x="586" y="1204"/>
                    </a:lnTo>
                    <a:lnTo>
                      <a:pt x="585" y="1204"/>
                    </a:lnTo>
                    <a:lnTo>
                      <a:pt x="585" y="1206"/>
                    </a:lnTo>
                    <a:lnTo>
                      <a:pt x="583" y="1206"/>
                    </a:lnTo>
                    <a:lnTo>
                      <a:pt x="581" y="1208"/>
                    </a:lnTo>
                    <a:lnTo>
                      <a:pt x="580" y="1209"/>
                    </a:lnTo>
                    <a:lnTo>
                      <a:pt x="578" y="1211"/>
                    </a:lnTo>
                    <a:lnTo>
                      <a:pt x="578" y="1212"/>
                    </a:lnTo>
                    <a:lnTo>
                      <a:pt x="575" y="1212"/>
                    </a:lnTo>
                    <a:lnTo>
                      <a:pt x="575" y="1214"/>
                    </a:lnTo>
                    <a:lnTo>
                      <a:pt x="574" y="1214"/>
                    </a:lnTo>
                    <a:lnTo>
                      <a:pt x="572" y="1212"/>
                    </a:lnTo>
                    <a:lnTo>
                      <a:pt x="570" y="1211"/>
                    </a:lnTo>
                    <a:lnTo>
                      <a:pt x="570" y="1212"/>
                    </a:lnTo>
                    <a:lnTo>
                      <a:pt x="567" y="1212"/>
                    </a:lnTo>
                    <a:lnTo>
                      <a:pt x="566" y="1212"/>
                    </a:lnTo>
                    <a:lnTo>
                      <a:pt x="562" y="1212"/>
                    </a:lnTo>
                    <a:lnTo>
                      <a:pt x="561" y="1211"/>
                    </a:lnTo>
                    <a:lnTo>
                      <a:pt x="559" y="1211"/>
                    </a:lnTo>
                    <a:lnTo>
                      <a:pt x="558" y="1211"/>
                    </a:lnTo>
                    <a:lnTo>
                      <a:pt x="556" y="1211"/>
                    </a:lnTo>
                    <a:lnTo>
                      <a:pt x="555" y="1208"/>
                    </a:lnTo>
                    <a:lnTo>
                      <a:pt x="553" y="1206"/>
                    </a:lnTo>
                    <a:lnTo>
                      <a:pt x="548" y="1200"/>
                    </a:lnTo>
                    <a:lnTo>
                      <a:pt x="547" y="1200"/>
                    </a:lnTo>
                    <a:lnTo>
                      <a:pt x="540" y="1196"/>
                    </a:lnTo>
                    <a:lnTo>
                      <a:pt x="539" y="1196"/>
                    </a:lnTo>
                    <a:lnTo>
                      <a:pt x="534" y="1193"/>
                    </a:lnTo>
                    <a:lnTo>
                      <a:pt x="531" y="1190"/>
                    </a:lnTo>
                    <a:lnTo>
                      <a:pt x="529" y="1190"/>
                    </a:lnTo>
                    <a:lnTo>
                      <a:pt x="529" y="1188"/>
                    </a:lnTo>
                    <a:lnTo>
                      <a:pt x="526" y="1187"/>
                    </a:lnTo>
                    <a:lnTo>
                      <a:pt x="524" y="1187"/>
                    </a:lnTo>
                    <a:lnTo>
                      <a:pt x="523" y="1184"/>
                    </a:lnTo>
                    <a:lnTo>
                      <a:pt x="523" y="1182"/>
                    </a:lnTo>
                    <a:lnTo>
                      <a:pt x="521" y="1181"/>
                    </a:lnTo>
                    <a:lnTo>
                      <a:pt x="520" y="1177"/>
                    </a:lnTo>
                    <a:lnTo>
                      <a:pt x="523" y="1169"/>
                    </a:lnTo>
                    <a:lnTo>
                      <a:pt x="524" y="1162"/>
                    </a:lnTo>
                    <a:lnTo>
                      <a:pt x="524" y="1157"/>
                    </a:lnTo>
                    <a:lnTo>
                      <a:pt x="521" y="1147"/>
                    </a:lnTo>
                    <a:lnTo>
                      <a:pt x="520" y="1144"/>
                    </a:lnTo>
                    <a:lnTo>
                      <a:pt x="518" y="1143"/>
                    </a:lnTo>
                    <a:lnTo>
                      <a:pt x="517" y="1139"/>
                    </a:lnTo>
                    <a:lnTo>
                      <a:pt x="515" y="1139"/>
                    </a:lnTo>
                    <a:lnTo>
                      <a:pt x="515" y="1138"/>
                    </a:lnTo>
                    <a:lnTo>
                      <a:pt x="513" y="1138"/>
                    </a:lnTo>
                    <a:lnTo>
                      <a:pt x="512" y="1138"/>
                    </a:lnTo>
                    <a:lnTo>
                      <a:pt x="510" y="1138"/>
                    </a:lnTo>
                    <a:lnTo>
                      <a:pt x="509" y="1136"/>
                    </a:lnTo>
                    <a:lnTo>
                      <a:pt x="505" y="1136"/>
                    </a:lnTo>
                    <a:lnTo>
                      <a:pt x="499" y="1136"/>
                    </a:lnTo>
                    <a:lnTo>
                      <a:pt x="498" y="1136"/>
                    </a:lnTo>
                    <a:lnTo>
                      <a:pt x="496" y="1136"/>
                    </a:lnTo>
                    <a:lnTo>
                      <a:pt x="494" y="1136"/>
                    </a:lnTo>
                    <a:lnTo>
                      <a:pt x="490" y="1130"/>
                    </a:lnTo>
                    <a:lnTo>
                      <a:pt x="490" y="1128"/>
                    </a:lnTo>
                    <a:lnTo>
                      <a:pt x="490" y="1127"/>
                    </a:lnTo>
                    <a:lnTo>
                      <a:pt x="486" y="1125"/>
                    </a:lnTo>
                    <a:lnTo>
                      <a:pt x="485" y="1122"/>
                    </a:lnTo>
                    <a:lnTo>
                      <a:pt x="483" y="1122"/>
                    </a:lnTo>
                    <a:lnTo>
                      <a:pt x="482" y="1122"/>
                    </a:lnTo>
                    <a:lnTo>
                      <a:pt x="480" y="1122"/>
                    </a:lnTo>
                    <a:lnTo>
                      <a:pt x="479" y="1122"/>
                    </a:lnTo>
                    <a:lnTo>
                      <a:pt x="469" y="1122"/>
                    </a:lnTo>
                    <a:lnTo>
                      <a:pt x="467" y="1120"/>
                    </a:lnTo>
                    <a:lnTo>
                      <a:pt x="466" y="1120"/>
                    </a:lnTo>
                    <a:lnTo>
                      <a:pt x="464" y="1119"/>
                    </a:lnTo>
                    <a:lnTo>
                      <a:pt x="463" y="1117"/>
                    </a:lnTo>
                    <a:lnTo>
                      <a:pt x="461" y="1114"/>
                    </a:lnTo>
                    <a:lnTo>
                      <a:pt x="461" y="1111"/>
                    </a:lnTo>
                    <a:lnTo>
                      <a:pt x="458" y="1109"/>
                    </a:lnTo>
                    <a:lnTo>
                      <a:pt x="458" y="1108"/>
                    </a:lnTo>
                    <a:lnTo>
                      <a:pt x="456" y="1106"/>
                    </a:lnTo>
                    <a:lnTo>
                      <a:pt x="456" y="1105"/>
                    </a:lnTo>
                    <a:lnTo>
                      <a:pt x="455" y="1105"/>
                    </a:lnTo>
                    <a:lnTo>
                      <a:pt x="453" y="1106"/>
                    </a:lnTo>
                    <a:lnTo>
                      <a:pt x="453" y="1108"/>
                    </a:lnTo>
                    <a:lnTo>
                      <a:pt x="453" y="1109"/>
                    </a:lnTo>
                    <a:lnTo>
                      <a:pt x="453" y="1111"/>
                    </a:lnTo>
                    <a:lnTo>
                      <a:pt x="453" y="1112"/>
                    </a:lnTo>
                    <a:lnTo>
                      <a:pt x="452" y="1112"/>
                    </a:lnTo>
                    <a:lnTo>
                      <a:pt x="450" y="1114"/>
                    </a:lnTo>
                    <a:lnTo>
                      <a:pt x="448" y="1114"/>
                    </a:lnTo>
                    <a:lnTo>
                      <a:pt x="447" y="1114"/>
                    </a:lnTo>
                    <a:lnTo>
                      <a:pt x="444" y="1112"/>
                    </a:lnTo>
                    <a:lnTo>
                      <a:pt x="442" y="1114"/>
                    </a:lnTo>
                    <a:lnTo>
                      <a:pt x="442" y="1116"/>
                    </a:lnTo>
                    <a:lnTo>
                      <a:pt x="441" y="1114"/>
                    </a:lnTo>
                    <a:lnTo>
                      <a:pt x="441" y="1112"/>
                    </a:lnTo>
                    <a:lnTo>
                      <a:pt x="439" y="1112"/>
                    </a:lnTo>
                    <a:lnTo>
                      <a:pt x="437" y="1112"/>
                    </a:lnTo>
                    <a:lnTo>
                      <a:pt x="436" y="1114"/>
                    </a:lnTo>
                    <a:lnTo>
                      <a:pt x="434" y="1116"/>
                    </a:lnTo>
                    <a:lnTo>
                      <a:pt x="431" y="1119"/>
                    </a:lnTo>
                    <a:lnTo>
                      <a:pt x="428" y="1119"/>
                    </a:lnTo>
                    <a:lnTo>
                      <a:pt x="426" y="1119"/>
                    </a:lnTo>
                    <a:lnTo>
                      <a:pt x="425" y="1119"/>
                    </a:lnTo>
                    <a:lnTo>
                      <a:pt x="423" y="1119"/>
                    </a:lnTo>
                    <a:lnTo>
                      <a:pt x="421" y="1117"/>
                    </a:lnTo>
                    <a:lnTo>
                      <a:pt x="421" y="1116"/>
                    </a:lnTo>
                    <a:lnTo>
                      <a:pt x="420" y="1114"/>
                    </a:lnTo>
                    <a:lnTo>
                      <a:pt x="418" y="1114"/>
                    </a:lnTo>
                    <a:lnTo>
                      <a:pt x="418" y="1112"/>
                    </a:lnTo>
                    <a:lnTo>
                      <a:pt x="418" y="1111"/>
                    </a:lnTo>
                    <a:lnTo>
                      <a:pt x="417" y="1109"/>
                    </a:lnTo>
                    <a:lnTo>
                      <a:pt x="415" y="1109"/>
                    </a:lnTo>
                    <a:lnTo>
                      <a:pt x="412" y="1109"/>
                    </a:lnTo>
                    <a:lnTo>
                      <a:pt x="410" y="1108"/>
                    </a:lnTo>
                    <a:lnTo>
                      <a:pt x="409" y="1106"/>
                    </a:lnTo>
                    <a:lnTo>
                      <a:pt x="404" y="1105"/>
                    </a:lnTo>
                    <a:lnTo>
                      <a:pt x="402" y="1105"/>
                    </a:lnTo>
                    <a:lnTo>
                      <a:pt x="401" y="1106"/>
                    </a:lnTo>
                    <a:lnTo>
                      <a:pt x="399" y="1106"/>
                    </a:lnTo>
                    <a:lnTo>
                      <a:pt x="398" y="1108"/>
                    </a:lnTo>
                    <a:lnTo>
                      <a:pt x="396" y="1108"/>
                    </a:lnTo>
                    <a:lnTo>
                      <a:pt x="395" y="1111"/>
                    </a:lnTo>
                    <a:lnTo>
                      <a:pt x="395" y="1112"/>
                    </a:lnTo>
                    <a:lnTo>
                      <a:pt x="393" y="1112"/>
                    </a:lnTo>
                    <a:lnTo>
                      <a:pt x="391" y="1114"/>
                    </a:lnTo>
                    <a:lnTo>
                      <a:pt x="387" y="1117"/>
                    </a:lnTo>
                    <a:lnTo>
                      <a:pt x="383" y="1119"/>
                    </a:lnTo>
                    <a:lnTo>
                      <a:pt x="379" y="1120"/>
                    </a:lnTo>
                    <a:lnTo>
                      <a:pt x="372" y="1119"/>
                    </a:lnTo>
                    <a:lnTo>
                      <a:pt x="368" y="1119"/>
                    </a:lnTo>
                    <a:lnTo>
                      <a:pt x="360" y="1116"/>
                    </a:lnTo>
                    <a:lnTo>
                      <a:pt x="358" y="1114"/>
                    </a:lnTo>
                    <a:lnTo>
                      <a:pt x="355" y="1112"/>
                    </a:lnTo>
                    <a:lnTo>
                      <a:pt x="352" y="1111"/>
                    </a:lnTo>
                    <a:lnTo>
                      <a:pt x="347" y="1109"/>
                    </a:lnTo>
                    <a:lnTo>
                      <a:pt x="344" y="1106"/>
                    </a:lnTo>
                    <a:lnTo>
                      <a:pt x="339" y="1101"/>
                    </a:lnTo>
                    <a:lnTo>
                      <a:pt x="334" y="1098"/>
                    </a:lnTo>
                    <a:lnTo>
                      <a:pt x="334" y="1097"/>
                    </a:lnTo>
                    <a:lnTo>
                      <a:pt x="331" y="1092"/>
                    </a:lnTo>
                    <a:lnTo>
                      <a:pt x="328" y="1089"/>
                    </a:lnTo>
                    <a:lnTo>
                      <a:pt x="326" y="1087"/>
                    </a:lnTo>
                    <a:lnTo>
                      <a:pt x="325" y="1084"/>
                    </a:lnTo>
                    <a:lnTo>
                      <a:pt x="320" y="1079"/>
                    </a:lnTo>
                    <a:lnTo>
                      <a:pt x="320" y="1078"/>
                    </a:lnTo>
                    <a:lnTo>
                      <a:pt x="319" y="1076"/>
                    </a:lnTo>
                    <a:lnTo>
                      <a:pt x="312" y="1068"/>
                    </a:lnTo>
                    <a:lnTo>
                      <a:pt x="312" y="1067"/>
                    </a:lnTo>
                    <a:lnTo>
                      <a:pt x="311" y="1065"/>
                    </a:lnTo>
                    <a:lnTo>
                      <a:pt x="307" y="1063"/>
                    </a:lnTo>
                    <a:lnTo>
                      <a:pt x="306" y="1060"/>
                    </a:lnTo>
                    <a:lnTo>
                      <a:pt x="304" y="1057"/>
                    </a:lnTo>
                    <a:lnTo>
                      <a:pt x="303" y="1057"/>
                    </a:lnTo>
                    <a:lnTo>
                      <a:pt x="303" y="1055"/>
                    </a:lnTo>
                    <a:lnTo>
                      <a:pt x="298" y="1051"/>
                    </a:lnTo>
                    <a:lnTo>
                      <a:pt x="296" y="1049"/>
                    </a:lnTo>
                    <a:lnTo>
                      <a:pt x="295" y="1048"/>
                    </a:lnTo>
                    <a:lnTo>
                      <a:pt x="290" y="1040"/>
                    </a:lnTo>
                    <a:lnTo>
                      <a:pt x="287" y="1035"/>
                    </a:lnTo>
                    <a:lnTo>
                      <a:pt x="284" y="1032"/>
                    </a:lnTo>
                    <a:lnTo>
                      <a:pt x="284" y="1030"/>
                    </a:lnTo>
                    <a:lnTo>
                      <a:pt x="277" y="1022"/>
                    </a:lnTo>
                    <a:lnTo>
                      <a:pt x="276" y="1019"/>
                    </a:lnTo>
                    <a:lnTo>
                      <a:pt x="273" y="1016"/>
                    </a:lnTo>
                    <a:lnTo>
                      <a:pt x="271" y="1011"/>
                    </a:lnTo>
                    <a:lnTo>
                      <a:pt x="266" y="1000"/>
                    </a:lnTo>
                    <a:lnTo>
                      <a:pt x="266" y="998"/>
                    </a:lnTo>
                    <a:lnTo>
                      <a:pt x="266" y="997"/>
                    </a:lnTo>
                    <a:lnTo>
                      <a:pt x="265" y="997"/>
                    </a:lnTo>
                    <a:lnTo>
                      <a:pt x="265" y="995"/>
                    </a:lnTo>
                    <a:lnTo>
                      <a:pt x="265" y="994"/>
                    </a:lnTo>
                    <a:lnTo>
                      <a:pt x="263" y="992"/>
                    </a:lnTo>
                    <a:lnTo>
                      <a:pt x="263" y="990"/>
                    </a:lnTo>
                    <a:lnTo>
                      <a:pt x="263" y="989"/>
                    </a:lnTo>
                    <a:lnTo>
                      <a:pt x="262" y="987"/>
                    </a:lnTo>
                    <a:lnTo>
                      <a:pt x="262" y="986"/>
                    </a:lnTo>
                    <a:lnTo>
                      <a:pt x="260" y="986"/>
                    </a:lnTo>
                    <a:lnTo>
                      <a:pt x="260" y="984"/>
                    </a:lnTo>
                    <a:lnTo>
                      <a:pt x="260" y="983"/>
                    </a:lnTo>
                    <a:lnTo>
                      <a:pt x="255" y="975"/>
                    </a:lnTo>
                    <a:lnTo>
                      <a:pt x="255" y="973"/>
                    </a:lnTo>
                    <a:lnTo>
                      <a:pt x="255" y="971"/>
                    </a:lnTo>
                    <a:lnTo>
                      <a:pt x="254" y="962"/>
                    </a:lnTo>
                    <a:lnTo>
                      <a:pt x="254" y="960"/>
                    </a:lnTo>
                    <a:lnTo>
                      <a:pt x="250" y="949"/>
                    </a:lnTo>
                    <a:lnTo>
                      <a:pt x="249" y="948"/>
                    </a:lnTo>
                    <a:lnTo>
                      <a:pt x="247" y="945"/>
                    </a:lnTo>
                    <a:lnTo>
                      <a:pt x="246" y="945"/>
                    </a:lnTo>
                    <a:lnTo>
                      <a:pt x="246" y="943"/>
                    </a:lnTo>
                    <a:lnTo>
                      <a:pt x="244" y="941"/>
                    </a:lnTo>
                    <a:lnTo>
                      <a:pt x="244" y="940"/>
                    </a:lnTo>
                    <a:lnTo>
                      <a:pt x="243" y="938"/>
                    </a:lnTo>
                    <a:lnTo>
                      <a:pt x="243" y="937"/>
                    </a:lnTo>
                    <a:lnTo>
                      <a:pt x="241" y="937"/>
                    </a:lnTo>
                    <a:lnTo>
                      <a:pt x="241" y="935"/>
                    </a:lnTo>
                    <a:lnTo>
                      <a:pt x="233" y="916"/>
                    </a:lnTo>
                    <a:lnTo>
                      <a:pt x="231" y="914"/>
                    </a:lnTo>
                    <a:lnTo>
                      <a:pt x="228" y="913"/>
                    </a:lnTo>
                    <a:lnTo>
                      <a:pt x="222" y="908"/>
                    </a:lnTo>
                    <a:lnTo>
                      <a:pt x="220" y="900"/>
                    </a:lnTo>
                    <a:lnTo>
                      <a:pt x="217" y="892"/>
                    </a:lnTo>
                    <a:lnTo>
                      <a:pt x="214" y="881"/>
                    </a:lnTo>
                    <a:lnTo>
                      <a:pt x="208" y="864"/>
                    </a:lnTo>
                    <a:lnTo>
                      <a:pt x="208" y="862"/>
                    </a:lnTo>
                    <a:lnTo>
                      <a:pt x="206" y="861"/>
                    </a:lnTo>
                    <a:lnTo>
                      <a:pt x="197" y="834"/>
                    </a:lnTo>
                    <a:lnTo>
                      <a:pt x="193" y="823"/>
                    </a:lnTo>
                    <a:lnTo>
                      <a:pt x="192" y="823"/>
                    </a:lnTo>
                    <a:lnTo>
                      <a:pt x="185" y="807"/>
                    </a:lnTo>
                    <a:lnTo>
                      <a:pt x="185" y="805"/>
                    </a:lnTo>
                    <a:lnTo>
                      <a:pt x="185" y="804"/>
                    </a:lnTo>
                    <a:lnTo>
                      <a:pt x="179" y="791"/>
                    </a:lnTo>
                    <a:lnTo>
                      <a:pt x="178" y="785"/>
                    </a:lnTo>
                    <a:lnTo>
                      <a:pt x="176" y="783"/>
                    </a:lnTo>
                    <a:lnTo>
                      <a:pt x="174" y="781"/>
                    </a:lnTo>
                    <a:lnTo>
                      <a:pt x="174" y="780"/>
                    </a:lnTo>
                    <a:lnTo>
                      <a:pt x="173" y="778"/>
                    </a:lnTo>
                    <a:lnTo>
                      <a:pt x="173" y="777"/>
                    </a:lnTo>
                    <a:lnTo>
                      <a:pt x="173" y="775"/>
                    </a:lnTo>
                    <a:lnTo>
                      <a:pt x="166" y="762"/>
                    </a:lnTo>
                    <a:lnTo>
                      <a:pt x="160" y="751"/>
                    </a:lnTo>
                    <a:lnTo>
                      <a:pt x="160" y="750"/>
                    </a:lnTo>
                    <a:lnTo>
                      <a:pt x="159" y="748"/>
                    </a:lnTo>
                    <a:lnTo>
                      <a:pt x="157" y="745"/>
                    </a:lnTo>
                    <a:lnTo>
                      <a:pt x="155" y="740"/>
                    </a:lnTo>
                    <a:lnTo>
                      <a:pt x="147" y="726"/>
                    </a:lnTo>
                    <a:lnTo>
                      <a:pt x="141" y="712"/>
                    </a:lnTo>
                    <a:lnTo>
                      <a:pt x="140" y="707"/>
                    </a:lnTo>
                    <a:lnTo>
                      <a:pt x="136" y="699"/>
                    </a:lnTo>
                    <a:lnTo>
                      <a:pt x="132" y="685"/>
                    </a:lnTo>
                    <a:lnTo>
                      <a:pt x="132" y="683"/>
                    </a:lnTo>
                    <a:lnTo>
                      <a:pt x="130" y="682"/>
                    </a:lnTo>
                    <a:lnTo>
                      <a:pt x="127" y="672"/>
                    </a:lnTo>
                    <a:lnTo>
                      <a:pt x="127" y="671"/>
                    </a:lnTo>
                    <a:lnTo>
                      <a:pt x="127" y="669"/>
                    </a:lnTo>
                    <a:lnTo>
                      <a:pt x="124" y="664"/>
                    </a:lnTo>
                    <a:lnTo>
                      <a:pt x="111" y="639"/>
                    </a:lnTo>
                    <a:lnTo>
                      <a:pt x="109" y="636"/>
                    </a:lnTo>
                    <a:lnTo>
                      <a:pt x="108" y="634"/>
                    </a:lnTo>
                    <a:lnTo>
                      <a:pt x="98" y="613"/>
                    </a:lnTo>
                    <a:lnTo>
                      <a:pt x="97" y="610"/>
                    </a:lnTo>
                    <a:lnTo>
                      <a:pt x="94" y="606"/>
                    </a:lnTo>
                    <a:lnTo>
                      <a:pt x="92" y="606"/>
                    </a:lnTo>
                    <a:lnTo>
                      <a:pt x="92" y="604"/>
                    </a:lnTo>
                    <a:lnTo>
                      <a:pt x="92" y="602"/>
                    </a:lnTo>
                    <a:lnTo>
                      <a:pt x="90" y="602"/>
                    </a:lnTo>
                    <a:lnTo>
                      <a:pt x="90" y="601"/>
                    </a:lnTo>
                    <a:lnTo>
                      <a:pt x="89" y="598"/>
                    </a:lnTo>
                    <a:lnTo>
                      <a:pt x="87" y="596"/>
                    </a:lnTo>
                    <a:lnTo>
                      <a:pt x="86" y="594"/>
                    </a:lnTo>
                    <a:lnTo>
                      <a:pt x="84" y="591"/>
                    </a:lnTo>
                    <a:lnTo>
                      <a:pt x="83" y="590"/>
                    </a:lnTo>
                    <a:lnTo>
                      <a:pt x="83" y="588"/>
                    </a:lnTo>
                    <a:lnTo>
                      <a:pt x="73" y="575"/>
                    </a:lnTo>
                    <a:lnTo>
                      <a:pt x="70" y="571"/>
                    </a:lnTo>
                    <a:lnTo>
                      <a:pt x="70" y="569"/>
                    </a:lnTo>
                    <a:lnTo>
                      <a:pt x="67" y="566"/>
                    </a:lnTo>
                    <a:lnTo>
                      <a:pt x="56" y="553"/>
                    </a:lnTo>
                    <a:lnTo>
                      <a:pt x="51" y="549"/>
                    </a:lnTo>
                    <a:lnTo>
                      <a:pt x="44" y="544"/>
                    </a:lnTo>
                    <a:lnTo>
                      <a:pt x="41" y="541"/>
                    </a:lnTo>
                    <a:lnTo>
                      <a:pt x="40" y="537"/>
                    </a:lnTo>
                    <a:lnTo>
                      <a:pt x="38" y="537"/>
                    </a:lnTo>
                    <a:lnTo>
                      <a:pt x="38" y="536"/>
                    </a:lnTo>
                    <a:lnTo>
                      <a:pt x="37" y="536"/>
                    </a:lnTo>
                    <a:lnTo>
                      <a:pt x="27" y="530"/>
                    </a:lnTo>
                    <a:lnTo>
                      <a:pt x="19" y="523"/>
                    </a:lnTo>
                    <a:lnTo>
                      <a:pt x="18" y="522"/>
                    </a:lnTo>
                    <a:lnTo>
                      <a:pt x="11" y="517"/>
                    </a:lnTo>
                    <a:lnTo>
                      <a:pt x="19" y="511"/>
                    </a:lnTo>
                    <a:lnTo>
                      <a:pt x="86" y="455"/>
                    </a:lnTo>
                    <a:lnTo>
                      <a:pt x="89" y="452"/>
                    </a:lnTo>
                    <a:lnTo>
                      <a:pt x="90" y="454"/>
                    </a:lnTo>
                    <a:lnTo>
                      <a:pt x="90" y="455"/>
                    </a:lnTo>
                    <a:lnTo>
                      <a:pt x="94" y="450"/>
                    </a:lnTo>
                    <a:lnTo>
                      <a:pt x="94" y="449"/>
                    </a:lnTo>
                    <a:lnTo>
                      <a:pt x="94" y="447"/>
                    </a:lnTo>
                    <a:lnTo>
                      <a:pt x="95" y="447"/>
                    </a:lnTo>
                    <a:lnTo>
                      <a:pt x="95" y="446"/>
                    </a:lnTo>
                    <a:lnTo>
                      <a:pt x="95" y="444"/>
                    </a:lnTo>
                    <a:lnTo>
                      <a:pt x="97" y="444"/>
                    </a:lnTo>
                    <a:lnTo>
                      <a:pt x="97" y="442"/>
                    </a:lnTo>
                    <a:lnTo>
                      <a:pt x="97" y="441"/>
                    </a:lnTo>
                    <a:lnTo>
                      <a:pt x="98" y="441"/>
                    </a:lnTo>
                    <a:lnTo>
                      <a:pt x="98" y="439"/>
                    </a:lnTo>
                    <a:lnTo>
                      <a:pt x="98" y="438"/>
                    </a:lnTo>
                    <a:lnTo>
                      <a:pt x="98" y="436"/>
                    </a:lnTo>
                    <a:lnTo>
                      <a:pt x="98" y="434"/>
                    </a:lnTo>
                    <a:lnTo>
                      <a:pt x="100" y="434"/>
                    </a:lnTo>
                    <a:lnTo>
                      <a:pt x="100" y="433"/>
                    </a:lnTo>
                    <a:lnTo>
                      <a:pt x="100" y="431"/>
                    </a:lnTo>
                    <a:lnTo>
                      <a:pt x="102" y="430"/>
                    </a:lnTo>
                    <a:lnTo>
                      <a:pt x="102" y="428"/>
                    </a:lnTo>
                    <a:lnTo>
                      <a:pt x="102" y="427"/>
                    </a:lnTo>
                    <a:lnTo>
                      <a:pt x="103" y="427"/>
                    </a:lnTo>
                    <a:lnTo>
                      <a:pt x="103" y="425"/>
                    </a:lnTo>
                    <a:lnTo>
                      <a:pt x="103" y="423"/>
                    </a:lnTo>
                    <a:lnTo>
                      <a:pt x="103" y="422"/>
                    </a:lnTo>
                    <a:lnTo>
                      <a:pt x="103" y="420"/>
                    </a:lnTo>
                    <a:lnTo>
                      <a:pt x="105" y="419"/>
                    </a:lnTo>
                    <a:lnTo>
                      <a:pt x="106" y="419"/>
                    </a:lnTo>
                    <a:lnTo>
                      <a:pt x="106" y="417"/>
                    </a:lnTo>
                    <a:lnTo>
                      <a:pt x="108" y="417"/>
                    </a:lnTo>
                    <a:lnTo>
                      <a:pt x="108" y="415"/>
                    </a:lnTo>
                    <a:lnTo>
                      <a:pt x="108" y="414"/>
                    </a:lnTo>
                    <a:lnTo>
                      <a:pt x="106" y="414"/>
                    </a:lnTo>
                    <a:lnTo>
                      <a:pt x="106" y="412"/>
                    </a:lnTo>
                    <a:lnTo>
                      <a:pt x="106" y="411"/>
                    </a:lnTo>
                    <a:lnTo>
                      <a:pt x="108" y="411"/>
                    </a:lnTo>
                    <a:lnTo>
                      <a:pt x="108" y="409"/>
                    </a:lnTo>
                    <a:lnTo>
                      <a:pt x="109" y="409"/>
                    </a:lnTo>
                    <a:lnTo>
                      <a:pt x="111" y="409"/>
                    </a:lnTo>
                    <a:lnTo>
                      <a:pt x="111" y="408"/>
                    </a:lnTo>
                    <a:lnTo>
                      <a:pt x="113" y="408"/>
                    </a:lnTo>
                    <a:lnTo>
                      <a:pt x="114" y="408"/>
                    </a:lnTo>
                    <a:lnTo>
                      <a:pt x="114" y="406"/>
                    </a:lnTo>
                    <a:lnTo>
                      <a:pt x="116" y="406"/>
                    </a:lnTo>
                    <a:lnTo>
                      <a:pt x="117" y="406"/>
                    </a:lnTo>
                    <a:lnTo>
                      <a:pt x="117" y="404"/>
                    </a:lnTo>
                    <a:lnTo>
                      <a:pt x="119" y="404"/>
                    </a:lnTo>
                    <a:lnTo>
                      <a:pt x="121" y="404"/>
                    </a:lnTo>
                    <a:lnTo>
                      <a:pt x="121" y="403"/>
                    </a:lnTo>
                    <a:lnTo>
                      <a:pt x="122" y="403"/>
                    </a:lnTo>
                    <a:lnTo>
                      <a:pt x="124" y="403"/>
                    </a:lnTo>
                    <a:lnTo>
                      <a:pt x="125" y="401"/>
                    </a:lnTo>
                    <a:lnTo>
                      <a:pt x="125" y="400"/>
                    </a:lnTo>
                    <a:lnTo>
                      <a:pt x="127" y="400"/>
                    </a:lnTo>
                    <a:lnTo>
                      <a:pt x="127" y="398"/>
                    </a:lnTo>
                    <a:lnTo>
                      <a:pt x="128" y="396"/>
                    </a:lnTo>
                    <a:lnTo>
                      <a:pt x="130" y="396"/>
                    </a:lnTo>
                    <a:lnTo>
                      <a:pt x="132" y="396"/>
                    </a:lnTo>
                    <a:lnTo>
                      <a:pt x="133" y="396"/>
                    </a:lnTo>
                    <a:lnTo>
                      <a:pt x="135" y="396"/>
                    </a:lnTo>
                    <a:lnTo>
                      <a:pt x="135" y="395"/>
                    </a:lnTo>
                    <a:lnTo>
                      <a:pt x="136" y="395"/>
                    </a:lnTo>
                    <a:lnTo>
                      <a:pt x="136" y="393"/>
                    </a:lnTo>
                    <a:lnTo>
                      <a:pt x="138" y="393"/>
                    </a:lnTo>
                    <a:lnTo>
                      <a:pt x="138" y="392"/>
                    </a:lnTo>
                    <a:lnTo>
                      <a:pt x="138" y="390"/>
                    </a:lnTo>
                    <a:lnTo>
                      <a:pt x="138" y="389"/>
                    </a:lnTo>
                    <a:lnTo>
                      <a:pt x="136" y="389"/>
                    </a:lnTo>
                    <a:lnTo>
                      <a:pt x="136" y="387"/>
                    </a:lnTo>
                    <a:lnTo>
                      <a:pt x="136" y="385"/>
                    </a:lnTo>
                    <a:lnTo>
                      <a:pt x="136" y="384"/>
                    </a:lnTo>
                    <a:lnTo>
                      <a:pt x="136" y="382"/>
                    </a:lnTo>
                    <a:lnTo>
                      <a:pt x="136" y="381"/>
                    </a:lnTo>
                    <a:lnTo>
                      <a:pt x="136" y="379"/>
                    </a:lnTo>
                    <a:lnTo>
                      <a:pt x="136" y="377"/>
                    </a:lnTo>
                    <a:lnTo>
                      <a:pt x="136" y="376"/>
                    </a:lnTo>
                    <a:lnTo>
                      <a:pt x="136" y="374"/>
                    </a:lnTo>
                    <a:lnTo>
                      <a:pt x="136" y="373"/>
                    </a:lnTo>
                    <a:lnTo>
                      <a:pt x="136" y="371"/>
                    </a:lnTo>
                    <a:lnTo>
                      <a:pt x="135" y="371"/>
                    </a:lnTo>
                    <a:lnTo>
                      <a:pt x="135" y="370"/>
                    </a:lnTo>
                    <a:lnTo>
                      <a:pt x="133" y="370"/>
                    </a:lnTo>
                    <a:lnTo>
                      <a:pt x="133" y="368"/>
                    </a:lnTo>
                    <a:lnTo>
                      <a:pt x="132" y="368"/>
                    </a:lnTo>
                    <a:lnTo>
                      <a:pt x="132" y="366"/>
                    </a:lnTo>
                    <a:lnTo>
                      <a:pt x="130" y="366"/>
                    </a:lnTo>
                    <a:lnTo>
                      <a:pt x="130" y="365"/>
                    </a:lnTo>
                    <a:lnTo>
                      <a:pt x="130" y="363"/>
                    </a:lnTo>
                    <a:lnTo>
                      <a:pt x="130" y="362"/>
                    </a:lnTo>
                    <a:lnTo>
                      <a:pt x="130" y="360"/>
                    </a:lnTo>
                    <a:lnTo>
                      <a:pt x="132" y="360"/>
                    </a:lnTo>
                    <a:lnTo>
                      <a:pt x="132" y="358"/>
                    </a:lnTo>
                    <a:lnTo>
                      <a:pt x="133" y="358"/>
                    </a:lnTo>
                    <a:lnTo>
                      <a:pt x="133" y="357"/>
                    </a:lnTo>
                    <a:lnTo>
                      <a:pt x="133" y="355"/>
                    </a:lnTo>
                    <a:lnTo>
                      <a:pt x="133" y="354"/>
                    </a:lnTo>
                    <a:lnTo>
                      <a:pt x="132" y="352"/>
                    </a:lnTo>
                    <a:lnTo>
                      <a:pt x="133" y="352"/>
                    </a:lnTo>
                    <a:lnTo>
                      <a:pt x="133" y="351"/>
                    </a:lnTo>
                    <a:lnTo>
                      <a:pt x="133" y="349"/>
                    </a:lnTo>
                    <a:lnTo>
                      <a:pt x="135" y="347"/>
                    </a:lnTo>
                    <a:lnTo>
                      <a:pt x="135" y="346"/>
                    </a:lnTo>
                    <a:lnTo>
                      <a:pt x="135" y="344"/>
                    </a:lnTo>
                    <a:lnTo>
                      <a:pt x="135" y="343"/>
                    </a:lnTo>
                    <a:lnTo>
                      <a:pt x="135" y="341"/>
                    </a:lnTo>
                    <a:lnTo>
                      <a:pt x="135" y="339"/>
                    </a:lnTo>
                    <a:lnTo>
                      <a:pt x="135" y="338"/>
                    </a:lnTo>
                    <a:lnTo>
                      <a:pt x="135" y="336"/>
                    </a:lnTo>
                    <a:lnTo>
                      <a:pt x="133" y="336"/>
                    </a:lnTo>
                    <a:lnTo>
                      <a:pt x="133" y="335"/>
                    </a:lnTo>
                    <a:lnTo>
                      <a:pt x="132" y="335"/>
                    </a:lnTo>
                    <a:lnTo>
                      <a:pt x="132" y="333"/>
                    </a:lnTo>
                    <a:lnTo>
                      <a:pt x="130" y="333"/>
                    </a:lnTo>
                    <a:lnTo>
                      <a:pt x="130" y="332"/>
                    </a:lnTo>
                    <a:lnTo>
                      <a:pt x="128" y="332"/>
                    </a:lnTo>
                    <a:lnTo>
                      <a:pt x="127" y="332"/>
                    </a:lnTo>
                    <a:lnTo>
                      <a:pt x="125" y="332"/>
                    </a:lnTo>
                    <a:lnTo>
                      <a:pt x="125" y="330"/>
                    </a:lnTo>
                    <a:lnTo>
                      <a:pt x="124" y="330"/>
                    </a:lnTo>
                    <a:lnTo>
                      <a:pt x="122" y="330"/>
                    </a:lnTo>
                    <a:lnTo>
                      <a:pt x="122" y="332"/>
                    </a:lnTo>
                    <a:lnTo>
                      <a:pt x="121" y="332"/>
                    </a:lnTo>
                    <a:lnTo>
                      <a:pt x="119" y="332"/>
                    </a:lnTo>
                    <a:lnTo>
                      <a:pt x="117" y="333"/>
                    </a:lnTo>
                    <a:lnTo>
                      <a:pt x="116" y="333"/>
                    </a:lnTo>
                    <a:lnTo>
                      <a:pt x="114" y="333"/>
                    </a:lnTo>
                    <a:lnTo>
                      <a:pt x="114" y="332"/>
                    </a:lnTo>
                    <a:lnTo>
                      <a:pt x="113" y="332"/>
                    </a:lnTo>
                    <a:lnTo>
                      <a:pt x="113" y="330"/>
                    </a:lnTo>
                    <a:lnTo>
                      <a:pt x="111" y="328"/>
                    </a:lnTo>
                    <a:lnTo>
                      <a:pt x="111" y="327"/>
                    </a:lnTo>
                    <a:lnTo>
                      <a:pt x="109" y="327"/>
                    </a:lnTo>
                    <a:lnTo>
                      <a:pt x="109" y="325"/>
                    </a:lnTo>
                    <a:lnTo>
                      <a:pt x="109" y="324"/>
                    </a:lnTo>
                    <a:lnTo>
                      <a:pt x="109" y="322"/>
                    </a:lnTo>
                    <a:lnTo>
                      <a:pt x="108" y="322"/>
                    </a:lnTo>
                    <a:lnTo>
                      <a:pt x="108" y="320"/>
                    </a:lnTo>
                    <a:lnTo>
                      <a:pt x="108" y="319"/>
                    </a:lnTo>
                    <a:lnTo>
                      <a:pt x="106" y="319"/>
                    </a:lnTo>
                    <a:lnTo>
                      <a:pt x="106" y="317"/>
                    </a:lnTo>
                    <a:lnTo>
                      <a:pt x="106" y="316"/>
                    </a:lnTo>
                    <a:lnTo>
                      <a:pt x="105" y="316"/>
                    </a:lnTo>
                    <a:lnTo>
                      <a:pt x="105" y="314"/>
                    </a:lnTo>
                    <a:lnTo>
                      <a:pt x="105" y="313"/>
                    </a:lnTo>
                    <a:lnTo>
                      <a:pt x="103" y="311"/>
                    </a:lnTo>
                    <a:lnTo>
                      <a:pt x="103" y="309"/>
                    </a:lnTo>
                    <a:lnTo>
                      <a:pt x="103" y="308"/>
                    </a:lnTo>
                    <a:lnTo>
                      <a:pt x="102" y="308"/>
                    </a:lnTo>
                    <a:lnTo>
                      <a:pt x="102" y="306"/>
                    </a:lnTo>
                    <a:lnTo>
                      <a:pt x="90" y="276"/>
                    </a:lnTo>
                    <a:lnTo>
                      <a:pt x="89" y="275"/>
                    </a:lnTo>
                    <a:lnTo>
                      <a:pt x="87" y="275"/>
                    </a:lnTo>
                    <a:lnTo>
                      <a:pt x="87" y="273"/>
                    </a:lnTo>
                    <a:lnTo>
                      <a:pt x="86" y="273"/>
                    </a:lnTo>
                    <a:lnTo>
                      <a:pt x="84" y="271"/>
                    </a:lnTo>
                    <a:lnTo>
                      <a:pt x="84" y="270"/>
                    </a:lnTo>
                    <a:lnTo>
                      <a:pt x="84" y="268"/>
                    </a:lnTo>
                    <a:lnTo>
                      <a:pt x="83" y="267"/>
                    </a:lnTo>
                    <a:lnTo>
                      <a:pt x="81" y="267"/>
                    </a:lnTo>
                    <a:lnTo>
                      <a:pt x="79" y="267"/>
                    </a:lnTo>
                    <a:lnTo>
                      <a:pt x="79" y="265"/>
                    </a:lnTo>
                    <a:lnTo>
                      <a:pt x="81" y="265"/>
                    </a:lnTo>
                    <a:lnTo>
                      <a:pt x="79" y="257"/>
                    </a:lnTo>
                    <a:lnTo>
                      <a:pt x="78" y="254"/>
                    </a:lnTo>
                    <a:lnTo>
                      <a:pt x="78" y="252"/>
                    </a:lnTo>
                    <a:lnTo>
                      <a:pt x="78" y="251"/>
                    </a:lnTo>
                    <a:lnTo>
                      <a:pt x="76" y="251"/>
                    </a:lnTo>
                    <a:lnTo>
                      <a:pt x="76" y="249"/>
                    </a:lnTo>
                    <a:lnTo>
                      <a:pt x="76" y="248"/>
                    </a:lnTo>
                    <a:lnTo>
                      <a:pt x="75" y="248"/>
                    </a:lnTo>
                    <a:lnTo>
                      <a:pt x="75" y="246"/>
                    </a:lnTo>
                    <a:lnTo>
                      <a:pt x="75" y="244"/>
                    </a:lnTo>
                    <a:lnTo>
                      <a:pt x="73" y="244"/>
                    </a:lnTo>
                    <a:lnTo>
                      <a:pt x="73" y="243"/>
                    </a:lnTo>
                    <a:lnTo>
                      <a:pt x="73" y="241"/>
                    </a:lnTo>
                    <a:lnTo>
                      <a:pt x="71" y="240"/>
                    </a:lnTo>
                    <a:lnTo>
                      <a:pt x="71" y="238"/>
                    </a:lnTo>
                    <a:lnTo>
                      <a:pt x="70" y="238"/>
                    </a:lnTo>
                    <a:lnTo>
                      <a:pt x="70" y="236"/>
                    </a:lnTo>
                    <a:lnTo>
                      <a:pt x="70" y="235"/>
                    </a:lnTo>
                    <a:lnTo>
                      <a:pt x="70" y="233"/>
                    </a:lnTo>
                    <a:lnTo>
                      <a:pt x="70" y="232"/>
                    </a:lnTo>
                    <a:lnTo>
                      <a:pt x="70" y="230"/>
                    </a:lnTo>
                    <a:lnTo>
                      <a:pt x="70" y="229"/>
                    </a:lnTo>
                    <a:lnTo>
                      <a:pt x="70" y="227"/>
                    </a:lnTo>
                    <a:lnTo>
                      <a:pt x="70" y="225"/>
                    </a:lnTo>
                    <a:lnTo>
                      <a:pt x="70" y="224"/>
                    </a:lnTo>
                    <a:lnTo>
                      <a:pt x="68" y="224"/>
                    </a:lnTo>
                    <a:lnTo>
                      <a:pt x="68" y="222"/>
                    </a:lnTo>
                    <a:lnTo>
                      <a:pt x="68" y="221"/>
                    </a:lnTo>
                    <a:lnTo>
                      <a:pt x="68" y="219"/>
                    </a:lnTo>
                    <a:lnTo>
                      <a:pt x="68" y="217"/>
                    </a:lnTo>
                    <a:lnTo>
                      <a:pt x="68" y="216"/>
                    </a:lnTo>
                    <a:lnTo>
                      <a:pt x="67" y="214"/>
                    </a:lnTo>
                    <a:lnTo>
                      <a:pt x="67" y="213"/>
                    </a:lnTo>
                    <a:lnTo>
                      <a:pt x="67" y="211"/>
                    </a:lnTo>
                    <a:lnTo>
                      <a:pt x="67" y="210"/>
                    </a:lnTo>
                    <a:lnTo>
                      <a:pt x="67" y="208"/>
                    </a:lnTo>
                    <a:lnTo>
                      <a:pt x="65" y="208"/>
                    </a:lnTo>
                    <a:lnTo>
                      <a:pt x="65" y="206"/>
                    </a:lnTo>
                    <a:lnTo>
                      <a:pt x="65" y="205"/>
                    </a:lnTo>
                    <a:lnTo>
                      <a:pt x="65" y="203"/>
                    </a:lnTo>
                    <a:lnTo>
                      <a:pt x="65" y="202"/>
                    </a:lnTo>
                    <a:lnTo>
                      <a:pt x="65" y="200"/>
                    </a:lnTo>
                    <a:lnTo>
                      <a:pt x="64" y="198"/>
                    </a:lnTo>
                    <a:lnTo>
                      <a:pt x="64" y="197"/>
                    </a:lnTo>
                    <a:lnTo>
                      <a:pt x="64" y="195"/>
                    </a:lnTo>
                    <a:lnTo>
                      <a:pt x="64" y="194"/>
                    </a:lnTo>
                    <a:lnTo>
                      <a:pt x="64" y="192"/>
                    </a:lnTo>
                    <a:lnTo>
                      <a:pt x="62" y="191"/>
                    </a:lnTo>
                    <a:lnTo>
                      <a:pt x="62" y="189"/>
                    </a:lnTo>
                    <a:lnTo>
                      <a:pt x="62" y="187"/>
                    </a:lnTo>
                    <a:lnTo>
                      <a:pt x="62" y="186"/>
                    </a:lnTo>
                    <a:lnTo>
                      <a:pt x="62" y="184"/>
                    </a:lnTo>
                    <a:lnTo>
                      <a:pt x="60" y="183"/>
                    </a:lnTo>
                    <a:lnTo>
                      <a:pt x="60" y="181"/>
                    </a:lnTo>
                    <a:lnTo>
                      <a:pt x="60" y="179"/>
                    </a:lnTo>
                    <a:lnTo>
                      <a:pt x="60" y="178"/>
                    </a:lnTo>
                    <a:lnTo>
                      <a:pt x="60" y="176"/>
                    </a:lnTo>
                    <a:lnTo>
                      <a:pt x="59" y="176"/>
                    </a:lnTo>
                    <a:lnTo>
                      <a:pt x="59" y="175"/>
                    </a:lnTo>
                    <a:lnTo>
                      <a:pt x="59" y="173"/>
                    </a:lnTo>
                    <a:lnTo>
                      <a:pt x="59" y="172"/>
                    </a:lnTo>
                    <a:lnTo>
                      <a:pt x="59" y="170"/>
                    </a:lnTo>
                    <a:lnTo>
                      <a:pt x="59" y="168"/>
                    </a:lnTo>
                    <a:lnTo>
                      <a:pt x="57" y="168"/>
                    </a:lnTo>
                    <a:lnTo>
                      <a:pt x="57" y="167"/>
                    </a:lnTo>
                    <a:lnTo>
                      <a:pt x="57" y="165"/>
                    </a:lnTo>
                    <a:lnTo>
                      <a:pt x="57" y="164"/>
                    </a:lnTo>
                    <a:lnTo>
                      <a:pt x="57" y="162"/>
                    </a:lnTo>
                    <a:lnTo>
                      <a:pt x="57" y="160"/>
                    </a:lnTo>
                    <a:lnTo>
                      <a:pt x="56" y="160"/>
                    </a:lnTo>
                    <a:lnTo>
                      <a:pt x="56" y="159"/>
                    </a:lnTo>
                    <a:lnTo>
                      <a:pt x="56" y="157"/>
                    </a:lnTo>
                    <a:lnTo>
                      <a:pt x="56" y="156"/>
                    </a:lnTo>
                    <a:lnTo>
                      <a:pt x="56" y="154"/>
                    </a:lnTo>
                    <a:lnTo>
                      <a:pt x="56" y="153"/>
                    </a:lnTo>
                    <a:lnTo>
                      <a:pt x="54" y="153"/>
                    </a:lnTo>
                    <a:lnTo>
                      <a:pt x="54" y="151"/>
                    </a:lnTo>
                    <a:lnTo>
                      <a:pt x="54" y="149"/>
                    </a:lnTo>
                    <a:lnTo>
                      <a:pt x="54" y="148"/>
                    </a:lnTo>
                    <a:lnTo>
                      <a:pt x="54" y="146"/>
                    </a:lnTo>
                    <a:lnTo>
                      <a:pt x="54" y="145"/>
                    </a:lnTo>
                    <a:lnTo>
                      <a:pt x="54" y="143"/>
                    </a:lnTo>
                    <a:lnTo>
                      <a:pt x="52" y="143"/>
                    </a:lnTo>
                    <a:lnTo>
                      <a:pt x="52" y="141"/>
                    </a:lnTo>
                    <a:lnTo>
                      <a:pt x="52" y="140"/>
                    </a:lnTo>
                    <a:lnTo>
                      <a:pt x="52" y="138"/>
                    </a:lnTo>
                    <a:lnTo>
                      <a:pt x="52" y="137"/>
                    </a:lnTo>
                    <a:lnTo>
                      <a:pt x="52" y="135"/>
                    </a:lnTo>
                    <a:lnTo>
                      <a:pt x="52" y="134"/>
                    </a:lnTo>
                    <a:lnTo>
                      <a:pt x="51" y="134"/>
                    </a:lnTo>
                    <a:lnTo>
                      <a:pt x="51" y="132"/>
                    </a:lnTo>
                    <a:lnTo>
                      <a:pt x="51" y="130"/>
                    </a:lnTo>
                    <a:lnTo>
                      <a:pt x="51" y="129"/>
                    </a:lnTo>
                    <a:lnTo>
                      <a:pt x="51" y="127"/>
                    </a:lnTo>
                    <a:lnTo>
                      <a:pt x="51" y="126"/>
                    </a:lnTo>
                    <a:lnTo>
                      <a:pt x="49" y="126"/>
                    </a:lnTo>
                    <a:lnTo>
                      <a:pt x="49" y="124"/>
                    </a:lnTo>
                    <a:lnTo>
                      <a:pt x="49" y="122"/>
                    </a:lnTo>
                    <a:lnTo>
                      <a:pt x="49" y="121"/>
                    </a:lnTo>
                    <a:lnTo>
                      <a:pt x="49" y="119"/>
                    </a:lnTo>
                    <a:lnTo>
                      <a:pt x="48" y="118"/>
                    </a:lnTo>
                    <a:lnTo>
                      <a:pt x="48" y="116"/>
                    </a:lnTo>
                    <a:lnTo>
                      <a:pt x="48" y="115"/>
                    </a:lnTo>
                    <a:lnTo>
                      <a:pt x="48" y="113"/>
                    </a:lnTo>
                    <a:lnTo>
                      <a:pt x="48" y="111"/>
                    </a:lnTo>
                    <a:lnTo>
                      <a:pt x="48" y="110"/>
                    </a:lnTo>
                    <a:lnTo>
                      <a:pt x="46" y="108"/>
                    </a:lnTo>
                    <a:lnTo>
                      <a:pt x="46" y="107"/>
                    </a:lnTo>
                    <a:lnTo>
                      <a:pt x="46" y="105"/>
                    </a:lnTo>
                    <a:lnTo>
                      <a:pt x="46" y="103"/>
                    </a:lnTo>
                    <a:lnTo>
                      <a:pt x="46" y="102"/>
                    </a:lnTo>
                    <a:lnTo>
                      <a:pt x="46" y="100"/>
                    </a:lnTo>
                    <a:lnTo>
                      <a:pt x="44" y="99"/>
                    </a:lnTo>
                    <a:lnTo>
                      <a:pt x="44" y="97"/>
                    </a:lnTo>
                    <a:lnTo>
                      <a:pt x="44" y="96"/>
                    </a:lnTo>
                    <a:lnTo>
                      <a:pt x="44" y="94"/>
                    </a:lnTo>
                    <a:lnTo>
                      <a:pt x="44" y="92"/>
                    </a:lnTo>
                    <a:lnTo>
                      <a:pt x="44" y="91"/>
                    </a:lnTo>
                    <a:lnTo>
                      <a:pt x="44" y="89"/>
                    </a:lnTo>
                    <a:lnTo>
                      <a:pt x="43" y="88"/>
                    </a:lnTo>
                    <a:lnTo>
                      <a:pt x="43" y="86"/>
                    </a:lnTo>
                    <a:lnTo>
                      <a:pt x="41" y="86"/>
                    </a:lnTo>
                    <a:lnTo>
                      <a:pt x="41" y="84"/>
                    </a:lnTo>
                    <a:lnTo>
                      <a:pt x="40" y="84"/>
                    </a:lnTo>
                    <a:lnTo>
                      <a:pt x="40" y="83"/>
                    </a:lnTo>
                    <a:lnTo>
                      <a:pt x="38" y="83"/>
                    </a:lnTo>
                    <a:lnTo>
                      <a:pt x="38" y="81"/>
                    </a:lnTo>
                    <a:lnTo>
                      <a:pt x="37" y="81"/>
                    </a:lnTo>
                    <a:lnTo>
                      <a:pt x="37" y="80"/>
                    </a:lnTo>
                    <a:lnTo>
                      <a:pt x="35" y="80"/>
                    </a:lnTo>
                    <a:lnTo>
                      <a:pt x="33" y="78"/>
                    </a:lnTo>
                    <a:lnTo>
                      <a:pt x="32" y="78"/>
                    </a:lnTo>
                    <a:lnTo>
                      <a:pt x="32" y="76"/>
                    </a:lnTo>
                    <a:lnTo>
                      <a:pt x="30" y="76"/>
                    </a:lnTo>
                    <a:lnTo>
                      <a:pt x="30" y="75"/>
                    </a:lnTo>
                    <a:lnTo>
                      <a:pt x="29" y="75"/>
                    </a:lnTo>
                    <a:lnTo>
                      <a:pt x="27" y="73"/>
                    </a:lnTo>
                    <a:lnTo>
                      <a:pt x="25" y="73"/>
                    </a:lnTo>
                    <a:lnTo>
                      <a:pt x="25" y="72"/>
                    </a:lnTo>
                    <a:lnTo>
                      <a:pt x="24" y="72"/>
                    </a:lnTo>
                    <a:lnTo>
                      <a:pt x="24" y="70"/>
                    </a:lnTo>
                    <a:lnTo>
                      <a:pt x="22" y="70"/>
                    </a:lnTo>
                    <a:lnTo>
                      <a:pt x="22" y="69"/>
                    </a:lnTo>
                    <a:lnTo>
                      <a:pt x="21" y="69"/>
                    </a:lnTo>
                    <a:lnTo>
                      <a:pt x="19" y="67"/>
                    </a:lnTo>
                    <a:lnTo>
                      <a:pt x="18" y="65"/>
                    </a:lnTo>
                    <a:lnTo>
                      <a:pt x="16" y="64"/>
                    </a:lnTo>
                    <a:lnTo>
                      <a:pt x="14" y="64"/>
                    </a:lnTo>
                    <a:lnTo>
                      <a:pt x="14" y="62"/>
                    </a:lnTo>
                    <a:lnTo>
                      <a:pt x="13" y="61"/>
                    </a:lnTo>
                    <a:lnTo>
                      <a:pt x="11" y="59"/>
                    </a:lnTo>
                    <a:lnTo>
                      <a:pt x="10" y="59"/>
                    </a:lnTo>
                    <a:lnTo>
                      <a:pt x="10" y="57"/>
                    </a:lnTo>
                    <a:lnTo>
                      <a:pt x="8" y="57"/>
                    </a:lnTo>
                    <a:lnTo>
                      <a:pt x="8" y="56"/>
                    </a:lnTo>
                    <a:lnTo>
                      <a:pt x="6" y="56"/>
                    </a:lnTo>
                    <a:lnTo>
                      <a:pt x="6" y="54"/>
                    </a:lnTo>
                    <a:lnTo>
                      <a:pt x="5" y="54"/>
                    </a:lnTo>
                    <a:lnTo>
                      <a:pt x="5" y="53"/>
                    </a:lnTo>
                    <a:lnTo>
                      <a:pt x="3" y="53"/>
                    </a:lnTo>
                    <a:lnTo>
                      <a:pt x="3" y="51"/>
                    </a:lnTo>
                    <a:lnTo>
                      <a:pt x="2" y="51"/>
                    </a:lnTo>
                    <a:lnTo>
                      <a:pt x="0" y="50"/>
                    </a:lnTo>
                    <a:lnTo>
                      <a:pt x="0" y="48"/>
                    </a:lnTo>
                    <a:lnTo>
                      <a:pt x="2" y="48"/>
                    </a:lnTo>
                    <a:lnTo>
                      <a:pt x="3" y="48"/>
                    </a:lnTo>
                    <a:lnTo>
                      <a:pt x="5" y="48"/>
                    </a:lnTo>
                    <a:lnTo>
                      <a:pt x="6" y="48"/>
                    </a:lnTo>
                    <a:lnTo>
                      <a:pt x="8" y="48"/>
                    </a:lnTo>
                    <a:lnTo>
                      <a:pt x="10" y="48"/>
                    </a:lnTo>
                    <a:lnTo>
                      <a:pt x="11" y="48"/>
                    </a:lnTo>
                    <a:lnTo>
                      <a:pt x="13" y="48"/>
                    </a:lnTo>
                    <a:lnTo>
                      <a:pt x="14" y="48"/>
                    </a:lnTo>
                    <a:lnTo>
                      <a:pt x="16" y="48"/>
                    </a:lnTo>
                    <a:lnTo>
                      <a:pt x="18" y="48"/>
                    </a:lnTo>
                    <a:lnTo>
                      <a:pt x="19" y="48"/>
                    </a:lnTo>
                    <a:lnTo>
                      <a:pt x="21" y="48"/>
                    </a:lnTo>
                    <a:lnTo>
                      <a:pt x="22" y="48"/>
                    </a:lnTo>
                    <a:lnTo>
                      <a:pt x="24" y="48"/>
                    </a:lnTo>
                    <a:lnTo>
                      <a:pt x="25" y="48"/>
                    </a:lnTo>
                    <a:lnTo>
                      <a:pt x="27" y="48"/>
                    </a:lnTo>
                    <a:lnTo>
                      <a:pt x="29" y="48"/>
                    </a:lnTo>
                    <a:lnTo>
                      <a:pt x="30" y="48"/>
                    </a:lnTo>
                    <a:lnTo>
                      <a:pt x="32" y="48"/>
                    </a:lnTo>
                    <a:lnTo>
                      <a:pt x="33" y="48"/>
                    </a:lnTo>
                    <a:lnTo>
                      <a:pt x="35" y="48"/>
                    </a:lnTo>
                    <a:lnTo>
                      <a:pt x="37" y="48"/>
                    </a:lnTo>
                    <a:lnTo>
                      <a:pt x="38" y="48"/>
                    </a:lnTo>
                    <a:lnTo>
                      <a:pt x="40" y="48"/>
                    </a:lnTo>
                    <a:lnTo>
                      <a:pt x="41" y="48"/>
                    </a:lnTo>
                    <a:lnTo>
                      <a:pt x="43" y="46"/>
                    </a:lnTo>
                    <a:lnTo>
                      <a:pt x="44" y="46"/>
                    </a:lnTo>
                    <a:lnTo>
                      <a:pt x="46" y="46"/>
                    </a:lnTo>
                    <a:lnTo>
                      <a:pt x="48" y="46"/>
                    </a:lnTo>
                    <a:lnTo>
                      <a:pt x="49" y="46"/>
                    </a:lnTo>
                    <a:lnTo>
                      <a:pt x="51" y="46"/>
                    </a:lnTo>
                    <a:lnTo>
                      <a:pt x="52" y="46"/>
                    </a:lnTo>
                    <a:lnTo>
                      <a:pt x="54" y="46"/>
                    </a:lnTo>
                    <a:lnTo>
                      <a:pt x="56" y="46"/>
                    </a:lnTo>
                    <a:lnTo>
                      <a:pt x="57" y="46"/>
                    </a:lnTo>
                    <a:lnTo>
                      <a:pt x="59" y="46"/>
                    </a:lnTo>
                    <a:lnTo>
                      <a:pt x="60" y="46"/>
                    </a:lnTo>
                    <a:lnTo>
                      <a:pt x="62" y="46"/>
                    </a:lnTo>
                    <a:lnTo>
                      <a:pt x="64" y="46"/>
                    </a:lnTo>
                    <a:lnTo>
                      <a:pt x="65" y="46"/>
                    </a:lnTo>
                    <a:lnTo>
                      <a:pt x="67" y="46"/>
                    </a:lnTo>
                    <a:lnTo>
                      <a:pt x="68" y="46"/>
                    </a:lnTo>
                    <a:lnTo>
                      <a:pt x="70" y="46"/>
                    </a:lnTo>
                    <a:lnTo>
                      <a:pt x="71" y="46"/>
                    </a:lnTo>
                    <a:lnTo>
                      <a:pt x="73" y="46"/>
                    </a:lnTo>
                    <a:lnTo>
                      <a:pt x="75" y="46"/>
                    </a:lnTo>
                    <a:lnTo>
                      <a:pt x="76" y="46"/>
                    </a:lnTo>
                    <a:lnTo>
                      <a:pt x="78" y="46"/>
                    </a:lnTo>
                    <a:lnTo>
                      <a:pt x="79" y="46"/>
                    </a:lnTo>
                    <a:lnTo>
                      <a:pt x="81" y="46"/>
                    </a:lnTo>
                    <a:lnTo>
                      <a:pt x="83" y="46"/>
                    </a:lnTo>
                    <a:lnTo>
                      <a:pt x="84" y="46"/>
                    </a:lnTo>
                    <a:lnTo>
                      <a:pt x="86" y="46"/>
                    </a:lnTo>
                    <a:lnTo>
                      <a:pt x="87" y="46"/>
                    </a:lnTo>
                    <a:lnTo>
                      <a:pt x="89" y="46"/>
                    </a:lnTo>
                    <a:lnTo>
                      <a:pt x="90" y="46"/>
                    </a:lnTo>
                    <a:lnTo>
                      <a:pt x="92" y="46"/>
                    </a:lnTo>
                    <a:lnTo>
                      <a:pt x="94" y="46"/>
                    </a:lnTo>
                    <a:lnTo>
                      <a:pt x="95" y="45"/>
                    </a:lnTo>
                    <a:lnTo>
                      <a:pt x="97" y="45"/>
                    </a:lnTo>
                    <a:lnTo>
                      <a:pt x="98" y="45"/>
                    </a:lnTo>
                    <a:lnTo>
                      <a:pt x="98" y="43"/>
                    </a:lnTo>
                    <a:lnTo>
                      <a:pt x="100" y="43"/>
                    </a:lnTo>
                    <a:lnTo>
                      <a:pt x="102" y="42"/>
                    </a:lnTo>
                    <a:lnTo>
                      <a:pt x="103" y="42"/>
                    </a:lnTo>
                    <a:lnTo>
                      <a:pt x="103" y="40"/>
                    </a:lnTo>
                    <a:lnTo>
                      <a:pt x="105" y="40"/>
                    </a:lnTo>
                    <a:lnTo>
                      <a:pt x="105" y="38"/>
                    </a:lnTo>
                    <a:lnTo>
                      <a:pt x="106" y="38"/>
                    </a:lnTo>
                    <a:lnTo>
                      <a:pt x="106" y="37"/>
                    </a:lnTo>
                    <a:lnTo>
                      <a:pt x="108" y="37"/>
                    </a:lnTo>
                    <a:lnTo>
                      <a:pt x="108" y="35"/>
                    </a:lnTo>
                    <a:lnTo>
                      <a:pt x="109" y="34"/>
                    </a:lnTo>
                    <a:lnTo>
                      <a:pt x="111" y="32"/>
                    </a:lnTo>
                    <a:lnTo>
                      <a:pt x="111" y="31"/>
                    </a:lnTo>
                    <a:lnTo>
                      <a:pt x="113" y="31"/>
                    </a:lnTo>
                    <a:lnTo>
                      <a:pt x="113" y="29"/>
                    </a:lnTo>
                    <a:lnTo>
                      <a:pt x="114" y="29"/>
                    </a:lnTo>
                    <a:lnTo>
                      <a:pt x="114" y="27"/>
                    </a:lnTo>
                    <a:lnTo>
                      <a:pt x="116" y="27"/>
                    </a:lnTo>
                    <a:lnTo>
                      <a:pt x="116" y="26"/>
                    </a:lnTo>
                    <a:lnTo>
                      <a:pt x="117" y="24"/>
                    </a:lnTo>
                    <a:lnTo>
                      <a:pt x="119" y="24"/>
                    </a:lnTo>
                    <a:lnTo>
                      <a:pt x="119" y="23"/>
                    </a:lnTo>
                    <a:lnTo>
                      <a:pt x="121" y="21"/>
                    </a:lnTo>
                    <a:lnTo>
                      <a:pt x="122" y="21"/>
                    </a:lnTo>
                    <a:lnTo>
                      <a:pt x="122" y="19"/>
                    </a:lnTo>
                    <a:lnTo>
                      <a:pt x="124" y="19"/>
                    </a:lnTo>
                    <a:lnTo>
                      <a:pt x="124" y="18"/>
                    </a:lnTo>
                    <a:lnTo>
                      <a:pt x="125" y="18"/>
                    </a:lnTo>
                    <a:lnTo>
                      <a:pt x="125" y="16"/>
                    </a:lnTo>
                    <a:lnTo>
                      <a:pt x="127" y="16"/>
                    </a:lnTo>
                    <a:lnTo>
                      <a:pt x="127" y="15"/>
                    </a:lnTo>
                    <a:lnTo>
                      <a:pt x="128" y="15"/>
                    </a:lnTo>
                    <a:lnTo>
                      <a:pt x="128" y="13"/>
                    </a:lnTo>
                    <a:lnTo>
                      <a:pt x="130" y="13"/>
                    </a:lnTo>
                    <a:lnTo>
                      <a:pt x="130" y="12"/>
                    </a:lnTo>
                    <a:lnTo>
                      <a:pt x="132" y="12"/>
                    </a:lnTo>
                    <a:lnTo>
                      <a:pt x="132" y="10"/>
                    </a:lnTo>
                    <a:lnTo>
                      <a:pt x="133" y="10"/>
                    </a:lnTo>
                    <a:lnTo>
                      <a:pt x="133" y="8"/>
                    </a:lnTo>
                    <a:lnTo>
                      <a:pt x="135" y="7"/>
                    </a:lnTo>
                    <a:lnTo>
                      <a:pt x="136" y="5"/>
                    </a:lnTo>
                    <a:lnTo>
                      <a:pt x="138" y="4"/>
                    </a:lnTo>
                    <a:lnTo>
                      <a:pt x="138" y="2"/>
                    </a:lnTo>
                    <a:lnTo>
                      <a:pt x="140" y="2"/>
                    </a:lnTo>
                    <a:lnTo>
                      <a:pt x="141" y="2"/>
                    </a:lnTo>
                    <a:lnTo>
                      <a:pt x="143" y="2"/>
                    </a:lnTo>
                    <a:lnTo>
                      <a:pt x="149" y="2"/>
                    </a:lnTo>
                    <a:lnTo>
                      <a:pt x="155" y="0"/>
                    </a:lnTo>
                    <a:lnTo>
                      <a:pt x="160" y="0"/>
                    </a:lnTo>
                    <a:lnTo>
                      <a:pt x="170" y="0"/>
                    </a:lnTo>
                    <a:close/>
                  </a:path>
                </a:pathLst>
              </a:custGeom>
              <a:solidFill>
                <a:srgbClr val="B4D7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34" name="Freeform 114"/>
              <p:cNvSpPr>
                <a:spLocks/>
              </p:cNvSpPr>
              <p:nvPr/>
            </p:nvSpPr>
            <p:spPr bwMode="auto">
              <a:xfrm>
                <a:off x="2248" y="1902"/>
                <a:ext cx="730" cy="747"/>
              </a:xfrm>
              <a:custGeom>
                <a:avLst/>
                <a:gdLst>
                  <a:gd name="T0" fmla="*/ 85 w 730"/>
                  <a:gd name="T1" fmla="*/ 5 h 747"/>
                  <a:gd name="T2" fmla="*/ 98 w 730"/>
                  <a:gd name="T3" fmla="*/ 24 h 747"/>
                  <a:gd name="T4" fmla="*/ 109 w 730"/>
                  <a:gd name="T5" fmla="*/ 37 h 747"/>
                  <a:gd name="T6" fmla="*/ 126 w 730"/>
                  <a:gd name="T7" fmla="*/ 42 h 747"/>
                  <a:gd name="T8" fmla="*/ 144 w 730"/>
                  <a:gd name="T9" fmla="*/ 31 h 747"/>
                  <a:gd name="T10" fmla="*/ 152 w 730"/>
                  <a:gd name="T11" fmla="*/ 48 h 747"/>
                  <a:gd name="T12" fmla="*/ 166 w 730"/>
                  <a:gd name="T13" fmla="*/ 65 h 747"/>
                  <a:gd name="T14" fmla="*/ 179 w 730"/>
                  <a:gd name="T15" fmla="*/ 84 h 747"/>
                  <a:gd name="T16" fmla="*/ 185 w 730"/>
                  <a:gd name="T17" fmla="*/ 105 h 747"/>
                  <a:gd name="T18" fmla="*/ 177 w 730"/>
                  <a:gd name="T19" fmla="*/ 121 h 747"/>
                  <a:gd name="T20" fmla="*/ 191 w 730"/>
                  <a:gd name="T21" fmla="*/ 135 h 747"/>
                  <a:gd name="T22" fmla="*/ 207 w 730"/>
                  <a:gd name="T23" fmla="*/ 148 h 747"/>
                  <a:gd name="T24" fmla="*/ 215 w 730"/>
                  <a:gd name="T25" fmla="*/ 162 h 747"/>
                  <a:gd name="T26" fmla="*/ 217 w 730"/>
                  <a:gd name="T27" fmla="*/ 183 h 747"/>
                  <a:gd name="T28" fmla="*/ 236 w 730"/>
                  <a:gd name="T29" fmla="*/ 183 h 747"/>
                  <a:gd name="T30" fmla="*/ 248 w 730"/>
                  <a:gd name="T31" fmla="*/ 195 h 747"/>
                  <a:gd name="T32" fmla="*/ 264 w 730"/>
                  <a:gd name="T33" fmla="*/ 197 h 747"/>
                  <a:gd name="T34" fmla="*/ 285 w 730"/>
                  <a:gd name="T35" fmla="*/ 198 h 747"/>
                  <a:gd name="T36" fmla="*/ 299 w 730"/>
                  <a:gd name="T37" fmla="*/ 208 h 747"/>
                  <a:gd name="T38" fmla="*/ 323 w 730"/>
                  <a:gd name="T39" fmla="*/ 210 h 747"/>
                  <a:gd name="T40" fmla="*/ 334 w 730"/>
                  <a:gd name="T41" fmla="*/ 208 h 747"/>
                  <a:gd name="T42" fmla="*/ 348 w 730"/>
                  <a:gd name="T43" fmla="*/ 202 h 747"/>
                  <a:gd name="T44" fmla="*/ 358 w 730"/>
                  <a:gd name="T45" fmla="*/ 206 h 747"/>
                  <a:gd name="T46" fmla="*/ 372 w 730"/>
                  <a:gd name="T47" fmla="*/ 206 h 747"/>
                  <a:gd name="T48" fmla="*/ 389 w 730"/>
                  <a:gd name="T49" fmla="*/ 205 h 747"/>
                  <a:gd name="T50" fmla="*/ 396 w 730"/>
                  <a:gd name="T51" fmla="*/ 194 h 747"/>
                  <a:gd name="T52" fmla="*/ 405 w 730"/>
                  <a:gd name="T53" fmla="*/ 186 h 747"/>
                  <a:gd name="T54" fmla="*/ 421 w 730"/>
                  <a:gd name="T55" fmla="*/ 173 h 747"/>
                  <a:gd name="T56" fmla="*/ 435 w 730"/>
                  <a:gd name="T57" fmla="*/ 173 h 747"/>
                  <a:gd name="T58" fmla="*/ 453 w 730"/>
                  <a:gd name="T59" fmla="*/ 176 h 747"/>
                  <a:gd name="T60" fmla="*/ 469 w 730"/>
                  <a:gd name="T61" fmla="*/ 179 h 747"/>
                  <a:gd name="T62" fmla="*/ 484 w 730"/>
                  <a:gd name="T63" fmla="*/ 184 h 747"/>
                  <a:gd name="T64" fmla="*/ 499 w 730"/>
                  <a:gd name="T65" fmla="*/ 197 h 747"/>
                  <a:gd name="T66" fmla="*/ 513 w 730"/>
                  <a:gd name="T67" fmla="*/ 210 h 747"/>
                  <a:gd name="T68" fmla="*/ 518 w 730"/>
                  <a:gd name="T69" fmla="*/ 230 h 747"/>
                  <a:gd name="T70" fmla="*/ 519 w 730"/>
                  <a:gd name="T71" fmla="*/ 246 h 747"/>
                  <a:gd name="T72" fmla="*/ 529 w 730"/>
                  <a:gd name="T73" fmla="*/ 257 h 747"/>
                  <a:gd name="T74" fmla="*/ 532 w 730"/>
                  <a:gd name="T75" fmla="*/ 276 h 747"/>
                  <a:gd name="T76" fmla="*/ 541 w 730"/>
                  <a:gd name="T77" fmla="*/ 284 h 747"/>
                  <a:gd name="T78" fmla="*/ 551 w 730"/>
                  <a:gd name="T79" fmla="*/ 295 h 747"/>
                  <a:gd name="T80" fmla="*/ 559 w 730"/>
                  <a:gd name="T81" fmla="*/ 306 h 747"/>
                  <a:gd name="T82" fmla="*/ 570 w 730"/>
                  <a:gd name="T83" fmla="*/ 322 h 747"/>
                  <a:gd name="T84" fmla="*/ 581 w 730"/>
                  <a:gd name="T85" fmla="*/ 339 h 747"/>
                  <a:gd name="T86" fmla="*/ 600 w 730"/>
                  <a:gd name="T87" fmla="*/ 338 h 747"/>
                  <a:gd name="T88" fmla="*/ 616 w 730"/>
                  <a:gd name="T89" fmla="*/ 347 h 747"/>
                  <a:gd name="T90" fmla="*/ 630 w 730"/>
                  <a:gd name="T91" fmla="*/ 360 h 747"/>
                  <a:gd name="T92" fmla="*/ 646 w 730"/>
                  <a:gd name="T93" fmla="*/ 363 h 747"/>
                  <a:gd name="T94" fmla="*/ 667 w 730"/>
                  <a:gd name="T95" fmla="*/ 366 h 747"/>
                  <a:gd name="T96" fmla="*/ 681 w 730"/>
                  <a:gd name="T97" fmla="*/ 373 h 747"/>
                  <a:gd name="T98" fmla="*/ 700 w 730"/>
                  <a:gd name="T99" fmla="*/ 371 h 747"/>
                  <a:gd name="T100" fmla="*/ 712 w 730"/>
                  <a:gd name="T101" fmla="*/ 385 h 747"/>
                  <a:gd name="T102" fmla="*/ 724 w 730"/>
                  <a:gd name="T103" fmla="*/ 403 h 747"/>
                  <a:gd name="T104" fmla="*/ 679 w 730"/>
                  <a:gd name="T105" fmla="*/ 583 h 747"/>
                  <a:gd name="T106" fmla="*/ 659 w 730"/>
                  <a:gd name="T107" fmla="*/ 629 h 747"/>
                  <a:gd name="T108" fmla="*/ 649 w 730"/>
                  <a:gd name="T109" fmla="*/ 639 h 747"/>
                  <a:gd name="T110" fmla="*/ 627 w 730"/>
                  <a:gd name="T111" fmla="*/ 640 h 747"/>
                  <a:gd name="T112" fmla="*/ 606 w 730"/>
                  <a:gd name="T113" fmla="*/ 645 h 747"/>
                  <a:gd name="T114" fmla="*/ 584 w 730"/>
                  <a:gd name="T115" fmla="*/ 658 h 747"/>
                  <a:gd name="T116" fmla="*/ 576 w 730"/>
                  <a:gd name="T117" fmla="*/ 699 h 747"/>
                  <a:gd name="T118" fmla="*/ 559 w 730"/>
                  <a:gd name="T119" fmla="*/ 742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0" h="747">
                    <a:moveTo>
                      <a:pt x="0" y="0"/>
                    </a:moveTo>
                    <a:lnTo>
                      <a:pt x="9" y="2"/>
                    </a:lnTo>
                    <a:lnTo>
                      <a:pt x="17" y="4"/>
                    </a:lnTo>
                    <a:lnTo>
                      <a:pt x="27" y="2"/>
                    </a:lnTo>
                    <a:lnTo>
                      <a:pt x="36" y="2"/>
                    </a:lnTo>
                    <a:lnTo>
                      <a:pt x="44" y="2"/>
                    </a:lnTo>
                    <a:lnTo>
                      <a:pt x="52" y="2"/>
                    </a:lnTo>
                    <a:lnTo>
                      <a:pt x="60" y="2"/>
                    </a:lnTo>
                    <a:lnTo>
                      <a:pt x="63" y="2"/>
                    </a:lnTo>
                    <a:lnTo>
                      <a:pt x="68" y="2"/>
                    </a:lnTo>
                    <a:lnTo>
                      <a:pt x="71" y="0"/>
                    </a:lnTo>
                    <a:lnTo>
                      <a:pt x="76" y="0"/>
                    </a:lnTo>
                    <a:lnTo>
                      <a:pt x="79" y="0"/>
                    </a:lnTo>
                    <a:lnTo>
                      <a:pt x="85" y="0"/>
                    </a:lnTo>
                    <a:lnTo>
                      <a:pt x="85" y="2"/>
                    </a:lnTo>
                    <a:lnTo>
                      <a:pt x="85" y="4"/>
                    </a:lnTo>
                    <a:lnTo>
                      <a:pt x="85" y="5"/>
                    </a:lnTo>
                    <a:lnTo>
                      <a:pt x="87" y="7"/>
                    </a:lnTo>
                    <a:lnTo>
                      <a:pt x="87" y="8"/>
                    </a:lnTo>
                    <a:lnTo>
                      <a:pt x="87" y="10"/>
                    </a:lnTo>
                    <a:lnTo>
                      <a:pt x="88" y="10"/>
                    </a:lnTo>
                    <a:lnTo>
                      <a:pt x="88" y="12"/>
                    </a:lnTo>
                    <a:lnTo>
                      <a:pt x="88" y="13"/>
                    </a:lnTo>
                    <a:lnTo>
                      <a:pt x="90" y="13"/>
                    </a:lnTo>
                    <a:lnTo>
                      <a:pt x="90" y="15"/>
                    </a:lnTo>
                    <a:lnTo>
                      <a:pt x="92" y="15"/>
                    </a:lnTo>
                    <a:lnTo>
                      <a:pt x="92" y="16"/>
                    </a:lnTo>
                    <a:lnTo>
                      <a:pt x="93" y="16"/>
                    </a:lnTo>
                    <a:lnTo>
                      <a:pt x="95" y="18"/>
                    </a:lnTo>
                    <a:lnTo>
                      <a:pt x="95" y="19"/>
                    </a:lnTo>
                    <a:lnTo>
                      <a:pt x="96" y="21"/>
                    </a:lnTo>
                    <a:lnTo>
                      <a:pt x="96" y="23"/>
                    </a:lnTo>
                    <a:lnTo>
                      <a:pt x="98" y="23"/>
                    </a:lnTo>
                    <a:lnTo>
                      <a:pt x="98" y="24"/>
                    </a:lnTo>
                    <a:lnTo>
                      <a:pt x="99" y="24"/>
                    </a:lnTo>
                    <a:lnTo>
                      <a:pt x="101" y="24"/>
                    </a:lnTo>
                    <a:lnTo>
                      <a:pt x="103" y="24"/>
                    </a:lnTo>
                    <a:lnTo>
                      <a:pt x="104" y="24"/>
                    </a:lnTo>
                    <a:lnTo>
                      <a:pt x="106" y="24"/>
                    </a:lnTo>
                    <a:lnTo>
                      <a:pt x="107" y="24"/>
                    </a:lnTo>
                    <a:lnTo>
                      <a:pt x="109" y="24"/>
                    </a:lnTo>
                    <a:lnTo>
                      <a:pt x="109" y="26"/>
                    </a:lnTo>
                    <a:lnTo>
                      <a:pt x="111" y="26"/>
                    </a:lnTo>
                    <a:lnTo>
                      <a:pt x="111" y="27"/>
                    </a:lnTo>
                    <a:lnTo>
                      <a:pt x="111" y="29"/>
                    </a:lnTo>
                    <a:lnTo>
                      <a:pt x="109" y="29"/>
                    </a:lnTo>
                    <a:lnTo>
                      <a:pt x="109" y="31"/>
                    </a:lnTo>
                    <a:lnTo>
                      <a:pt x="109" y="32"/>
                    </a:lnTo>
                    <a:lnTo>
                      <a:pt x="109" y="34"/>
                    </a:lnTo>
                    <a:lnTo>
                      <a:pt x="109" y="35"/>
                    </a:lnTo>
                    <a:lnTo>
                      <a:pt x="109" y="37"/>
                    </a:lnTo>
                    <a:lnTo>
                      <a:pt x="109" y="38"/>
                    </a:lnTo>
                    <a:lnTo>
                      <a:pt x="109" y="40"/>
                    </a:lnTo>
                    <a:lnTo>
                      <a:pt x="109" y="42"/>
                    </a:lnTo>
                    <a:lnTo>
                      <a:pt x="111" y="43"/>
                    </a:lnTo>
                    <a:lnTo>
                      <a:pt x="112" y="43"/>
                    </a:lnTo>
                    <a:lnTo>
                      <a:pt x="112" y="45"/>
                    </a:lnTo>
                    <a:lnTo>
                      <a:pt x="114" y="45"/>
                    </a:lnTo>
                    <a:lnTo>
                      <a:pt x="115" y="45"/>
                    </a:lnTo>
                    <a:lnTo>
                      <a:pt x="117" y="45"/>
                    </a:lnTo>
                    <a:lnTo>
                      <a:pt x="118" y="45"/>
                    </a:lnTo>
                    <a:lnTo>
                      <a:pt x="120" y="45"/>
                    </a:lnTo>
                    <a:lnTo>
                      <a:pt x="122" y="45"/>
                    </a:lnTo>
                    <a:lnTo>
                      <a:pt x="122" y="43"/>
                    </a:lnTo>
                    <a:lnTo>
                      <a:pt x="123" y="43"/>
                    </a:lnTo>
                    <a:lnTo>
                      <a:pt x="125" y="43"/>
                    </a:lnTo>
                    <a:lnTo>
                      <a:pt x="126" y="43"/>
                    </a:lnTo>
                    <a:lnTo>
                      <a:pt x="126" y="42"/>
                    </a:lnTo>
                    <a:lnTo>
                      <a:pt x="128" y="43"/>
                    </a:lnTo>
                    <a:lnTo>
                      <a:pt x="128" y="42"/>
                    </a:lnTo>
                    <a:lnTo>
                      <a:pt x="130" y="42"/>
                    </a:lnTo>
                    <a:lnTo>
                      <a:pt x="131" y="42"/>
                    </a:lnTo>
                    <a:lnTo>
                      <a:pt x="131" y="40"/>
                    </a:lnTo>
                    <a:lnTo>
                      <a:pt x="133" y="40"/>
                    </a:lnTo>
                    <a:lnTo>
                      <a:pt x="134" y="38"/>
                    </a:lnTo>
                    <a:lnTo>
                      <a:pt x="136" y="38"/>
                    </a:lnTo>
                    <a:lnTo>
                      <a:pt x="136" y="37"/>
                    </a:lnTo>
                    <a:lnTo>
                      <a:pt x="137" y="37"/>
                    </a:lnTo>
                    <a:lnTo>
                      <a:pt x="137" y="35"/>
                    </a:lnTo>
                    <a:lnTo>
                      <a:pt x="139" y="35"/>
                    </a:lnTo>
                    <a:lnTo>
                      <a:pt x="139" y="34"/>
                    </a:lnTo>
                    <a:lnTo>
                      <a:pt x="141" y="32"/>
                    </a:lnTo>
                    <a:lnTo>
                      <a:pt x="142" y="32"/>
                    </a:lnTo>
                    <a:lnTo>
                      <a:pt x="142" y="31"/>
                    </a:lnTo>
                    <a:lnTo>
                      <a:pt x="144" y="31"/>
                    </a:lnTo>
                    <a:lnTo>
                      <a:pt x="145" y="31"/>
                    </a:lnTo>
                    <a:lnTo>
                      <a:pt x="145" y="32"/>
                    </a:lnTo>
                    <a:lnTo>
                      <a:pt x="147" y="32"/>
                    </a:lnTo>
                    <a:lnTo>
                      <a:pt x="147" y="34"/>
                    </a:lnTo>
                    <a:lnTo>
                      <a:pt x="147" y="35"/>
                    </a:lnTo>
                    <a:lnTo>
                      <a:pt x="149" y="37"/>
                    </a:lnTo>
                    <a:lnTo>
                      <a:pt x="147" y="37"/>
                    </a:lnTo>
                    <a:lnTo>
                      <a:pt x="147" y="38"/>
                    </a:lnTo>
                    <a:lnTo>
                      <a:pt x="147" y="40"/>
                    </a:lnTo>
                    <a:lnTo>
                      <a:pt x="147" y="42"/>
                    </a:lnTo>
                    <a:lnTo>
                      <a:pt x="149" y="42"/>
                    </a:lnTo>
                    <a:lnTo>
                      <a:pt x="149" y="43"/>
                    </a:lnTo>
                    <a:lnTo>
                      <a:pt x="150" y="43"/>
                    </a:lnTo>
                    <a:lnTo>
                      <a:pt x="150" y="45"/>
                    </a:lnTo>
                    <a:lnTo>
                      <a:pt x="152" y="45"/>
                    </a:lnTo>
                    <a:lnTo>
                      <a:pt x="152" y="46"/>
                    </a:lnTo>
                    <a:lnTo>
                      <a:pt x="152" y="48"/>
                    </a:lnTo>
                    <a:lnTo>
                      <a:pt x="152" y="50"/>
                    </a:lnTo>
                    <a:lnTo>
                      <a:pt x="152" y="51"/>
                    </a:lnTo>
                    <a:lnTo>
                      <a:pt x="153" y="53"/>
                    </a:lnTo>
                    <a:lnTo>
                      <a:pt x="155" y="53"/>
                    </a:lnTo>
                    <a:lnTo>
                      <a:pt x="155" y="54"/>
                    </a:lnTo>
                    <a:lnTo>
                      <a:pt x="156" y="54"/>
                    </a:lnTo>
                    <a:lnTo>
                      <a:pt x="158" y="56"/>
                    </a:lnTo>
                    <a:lnTo>
                      <a:pt x="160" y="56"/>
                    </a:lnTo>
                    <a:lnTo>
                      <a:pt x="161" y="56"/>
                    </a:lnTo>
                    <a:lnTo>
                      <a:pt x="163" y="56"/>
                    </a:lnTo>
                    <a:lnTo>
                      <a:pt x="164" y="56"/>
                    </a:lnTo>
                    <a:lnTo>
                      <a:pt x="164" y="57"/>
                    </a:lnTo>
                    <a:lnTo>
                      <a:pt x="166" y="59"/>
                    </a:lnTo>
                    <a:lnTo>
                      <a:pt x="166" y="61"/>
                    </a:lnTo>
                    <a:lnTo>
                      <a:pt x="166" y="62"/>
                    </a:lnTo>
                    <a:lnTo>
                      <a:pt x="166" y="64"/>
                    </a:lnTo>
                    <a:lnTo>
                      <a:pt x="166" y="65"/>
                    </a:lnTo>
                    <a:lnTo>
                      <a:pt x="168" y="67"/>
                    </a:lnTo>
                    <a:lnTo>
                      <a:pt x="168" y="69"/>
                    </a:lnTo>
                    <a:lnTo>
                      <a:pt x="169" y="69"/>
                    </a:lnTo>
                    <a:lnTo>
                      <a:pt x="171" y="70"/>
                    </a:lnTo>
                    <a:lnTo>
                      <a:pt x="172" y="72"/>
                    </a:lnTo>
                    <a:lnTo>
                      <a:pt x="174" y="72"/>
                    </a:lnTo>
                    <a:lnTo>
                      <a:pt x="174" y="73"/>
                    </a:lnTo>
                    <a:lnTo>
                      <a:pt x="175" y="73"/>
                    </a:lnTo>
                    <a:lnTo>
                      <a:pt x="175" y="75"/>
                    </a:lnTo>
                    <a:lnTo>
                      <a:pt x="175" y="76"/>
                    </a:lnTo>
                    <a:lnTo>
                      <a:pt x="177" y="76"/>
                    </a:lnTo>
                    <a:lnTo>
                      <a:pt x="177" y="78"/>
                    </a:lnTo>
                    <a:lnTo>
                      <a:pt x="177" y="80"/>
                    </a:lnTo>
                    <a:lnTo>
                      <a:pt x="177" y="81"/>
                    </a:lnTo>
                    <a:lnTo>
                      <a:pt x="179" y="81"/>
                    </a:lnTo>
                    <a:lnTo>
                      <a:pt x="179" y="83"/>
                    </a:lnTo>
                    <a:lnTo>
                      <a:pt x="179" y="84"/>
                    </a:lnTo>
                    <a:lnTo>
                      <a:pt x="179" y="86"/>
                    </a:lnTo>
                    <a:lnTo>
                      <a:pt x="179" y="88"/>
                    </a:lnTo>
                    <a:lnTo>
                      <a:pt x="179" y="89"/>
                    </a:lnTo>
                    <a:lnTo>
                      <a:pt x="179" y="91"/>
                    </a:lnTo>
                    <a:lnTo>
                      <a:pt x="179" y="92"/>
                    </a:lnTo>
                    <a:lnTo>
                      <a:pt x="180" y="92"/>
                    </a:lnTo>
                    <a:lnTo>
                      <a:pt x="180" y="94"/>
                    </a:lnTo>
                    <a:lnTo>
                      <a:pt x="180" y="96"/>
                    </a:lnTo>
                    <a:lnTo>
                      <a:pt x="180" y="97"/>
                    </a:lnTo>
                    <a:lnTo>
                      <a:pt x="180" y="99"/>
                    </a:lnTo>
                    <a:lnTo>
                      <a:pt x="182" y="99"/>
                    </a:lnTo>
                    <a:lnTo>
                      <a:pt x="182" y="100"/>
                    </a:lnTo>
                    <a:lnTo>
                      <a:pt x="182" y="102"/>
                    </a:lnTo>
                    <a:lnTo>
                      <a:pt x="182" y="103"/>
                    </a:lnTo>
                    <a:lnTo>
                      <a:pt x="183" y="103"/>
                    </a:lnTo>
                    <a:lnTo>
                      <a:pt x="183" y="105"/>
                    </a:lnTo>
                    <a:lnTo>
                      <a:pt x="185" y="105"/>
                    </a:lnTo>
                    <a:lnTo>
                      <a:pt x="187" y="105"/>
                    </a:lnTo>
                    <a:lnTo>
                      <a:pt x="188" y="105"/>
                    </a:lnTo>
                    <a:lnTo>
                      <a:pt x="188" y="103"/>
                    </a:lnTo>
                    <a:lnTo>
                      <a:pt x="188" y="105"/>
                    </a:lnTo>
                    <a:lnTo>
                      <a:pt x="188" y="107"/>
                    </a:lnTo>
                    <a:lnTo>
                      <a:pt x="188" y="108"/>
                    </a:lnTo>
                    <a:lnTo>
                      <a:pt x="188" y="110"/>
                    </a:lnTo>
                    <a:lnTo>
                      <a:pt x="187" y="110"/>
                    </a:lnTo>
                    <a:lnTo>
                      <a:pt x="187" y="111"/>
                    </a:lnTo>
                    <a:lnTo>
                      <a:pt x="185" y="111"/>
                    </a:lnTo>
                    <a:lnTo>
                      <a:pt x="183" y="111"/>
                    </a:lnTo>
                    <a:lnTo>
                      <a:pt x="182" y="113"/>
                    </a:lnTo>
                    <a:lnTo>
                      <a:pt x="182" y="115"/>
                    </a:lnTo>
                    <a:lnTo>
                      <a:pt x="180" y="116"/>
                    </a:lnTo>
                    <a:lnTo>
                      <a:pt x="179" y="118"/>
                    </a:lnTo>
                    <a:lnTo>
                      <a:pt x="177" y="119"/>
                    </a:lnTo>
                    <a:lnTo>
                      <a:pt x="177" y="121"/>
                    </a:lnTo>
                    <a:lnTo>
                      <a:pt x="179" y="121"/>
                    </a:lnTo>
                    <a:lnTo>
                      <a:pt x="179" y="122"/>
                    </a:lnTo>
                    <a:lnTo>
                      <a:pt x="179" y="124"/>
                    </a:lnTo>
                    <a:lnTo>
                      <a:pt x="180" y="124"/>
                    </a:lnTo>
                    <a:lnTo>
                      <a:pt x="180" y="126"/>
                    </a:lnTo>
                    <a:lnTo>
                      <a:pt x="180" y="127"/>
                    </a:lnTo>
                    <a:lnTo>
                      <a:pt x="182" y="127"/>
                    </a:lnTo>
                    <a:lnTo>
                      <a:pt x="182" y="129"/>
                    </a:lnTo>
                    <a:lnTo>
                      <a:pt x="183" y="130"/>
                    </a:lnTo>
                    <a:lnTo>
                      <a:pt x="185" y="130"/>
                    </a:lnTo>
                    <a:lnTo>
                      <a:pt x="185" y="132"/>
                    </a:lnTo>
                    <a:lnTo>
                      <a:pt x="187" y="132"/>
                    </a:lnTo>
                    <a:lnTo>
                      <a:pt x="187" y="134"/>
                    </a:lnTo>
                    <a:lnTo>
                      <a:pt x="188" y="134"/>
                    </a:lnTo>
                    <a:lnTo>
                      <a:pt x="190" y="134"/>
                    </a:lnTo>
                    <a:lnTo>
                      <a:pt x="190" y="135"/>
                    </a:lnTo>
                    <a:lnTo>
                      <a:pt x="191" y="135"/>
                    </a:lnTo>
                    <a:lnTo>
                      <a:pt x="193" y="135"/>
                    </a:lnTo>
                    <a:lnTo>
                      <a:pt x="193" y="137"/>
                    </a:lnTo>
                    <a:lnTo>
                      <a:pt x="194" y="137"/>
                    </a:lnTo>
                    <a:lnTo>
                      <a:pt x="194" y="138"/>
                    </a:lnTo>
                    <a:lnTo>
                      <a:pt x="196" y="138"/>
                    </a:lnTo>
                    <a:lnTo>
                      <a:pt x="198" y="138"/>
                    </a:lnTo>
                    <a:lnTo>
                      <a:pt x="199" y="140"/>
                    </a:lnTo>
                    <a:lnTo>
                      <a:pt x="201" y="140"/>
                    </a:lnTo>
                    <a:lnTo>
                      <a:pt x="201" y="141"/>
                    </a:lnTo>
                    <a:lnTo>
                      <a:pt x="202" y="141"/>
                    </a:lnTo>
                    <a:lnTo>
                      <a:pt x="202" y="143"/>
                    </a:lnTo>
                    <a:lnTo>
                      <a:pt x="202" y="145"/>
                    </a:lnTo>
                    <a:lnTo>
                      <a:pt x="202" y="146"/>
                    </a:lnTo>
                    <a:lnTo>
                      <a:pt x="204" y="146"/>
                    </a:lnTo>
                    <a:lnTo>
                      <a:pt x="204" y="148"/>
                    </a:lnTo>
                    <a:lnTo>
                      <a:pt x="206" y="148"/>
                    </a:lnTo>
                    <a:lnTo>
                      <a:pt x="207" y="148"/>
                    </a:lnTo>
                    <a:lnTo>
                      <a:pt x="209" y="148"/>
                    </a:lnTo>
                    <a:lnTo>
                      <a:pt x="210" y="148"/>
                    </a:lnTo>
                    <a:lnTo>
                      <a:pt x="212" y="149"/>
                    </a:lnTo>
                    <a:lnTo>
                      <a:pt x="212" y="151"/>
                    </a:lnTo>
                    <a:lnTo>
                      <a:pt x="212" y="153"/>
                    </a:lnTo>
                    <a:lnTo>
                      <a:pt x="210" y="153"/>
                    </a:lnTo>
                    <a:lnTo>
                      <a:pt x="210" y="154"/>
                    </a:lnTo>
                    <a:lnTo>
                      <a:pt x="210" y="156"/>
                    </a:lnTo>
                    <a:lnTo>
                      <a:pt x="210" y="157"/>
                    </a:lnTo>
                    <a:lnTo>
                      <a:pt x="210" y="159"/>
                    </a:lnTo>
                    <a:lnTo>
                      <a:pt x="212" y="159"/>
                    </a:lnTo>
                    <a:lnTo>
                      <a:pt x="213" y="159"/>
                    </a:lnTo>
                    <a:lnTo>
                      <a:pt x="215" y="159"/>
                    </a:lnTo>
                    <a:lnTo>
                      <a:pt x="217" y="159"/>
                    </a:lnTo>
                    <a:lnTo>
                      <a:pt x="217" y="160"/>
                    </a:lnTo>
                    <a:lnTo>
                      <a:pt x="217" y="162"/>
                    </a:lnTo>
                    <a:lnTo>
                      <a:pt x="215" y="162"/>
                    </a:lnTo>
                    <a:lnTo>
                      <a:pt x="213" y="164"/>
                    </a:lnTo>
                    <a:lnTo>
                      <a:pt x="212" y="164"/>
                    </a:lnTo>
                    <a:lnTo>
                      <a:pt x="212" y="165"/>
                    </a:lnTo>
                    <a:lnTo>
                      <a:pt x="210" y="165"/>
                    </a:lnTo>
                    <a:lnTo>
                      <a:pt x="210" y="167"/>
                    </a:lnTo>
                    <a:lnTo>
                      <a:pt x="212" y="168"/>
                    </a:lnTo>
                    <a:lnTo>
                      <a:pt x="213" y="170"/>
                    </a:lnTo>
                    <a:lnTo>
                      <a:pt x="215" y="170"/>
                    </a:lnTo>
                    <a:lnTo>
                      <a:pt x="215" y="172"/>
                    </a:lnTo>
                    <a:lnTo>
                      <a:pt x="217" y="172"/>
                    </a:lnTo>
                    <a:lnTo>
                      <a:pt x="217" y="173"/>
                    </a:lnTo>
                    <a:lnTo>
                      <a:pt x="217" y="175"/>
                    </a:lnTo>
                    <a:lnTo>
                      <a:pt x="217" y="176"/>
                    </a:lnTo>
                    <a:lnTo>
                      <a:pt x="217" y="178"/>
                    </a:lnTo>
                    <a:lnTo>
                      <a:pt x="217" y="179"/>
                    </a:lnTo>
                    <a:lnTo>
                      <a:pt x="217" y="181"/>
                    </a:lnTo>
                    <a:lnTo>
                      <a:pt x="217" y="183"/>
                    </a:lnTo>
                    <a:lnTo>
                      <a:pt x="217" y="184"/>
                    </a:lnTo>
                    <a:lnTo>
                      <a:pt x="218" y="184"/>
                    </a:lnTo>
                    <a:lnTo>
                      <a:pt x="218" y="183"/>
                    </a:lnTo>
                    <a:lnTo>
                      <a:pt x="220" y="183"/>
                    </a:lnTo>
                    <a:lnTo>
                      <a:pt x="221" y="183"/>
                    </a:lnTo>
                    <a:lnTo>
                      <a:pt x="223" y="183"/>
                    </a:lnTo>
                    <a:lnTo>
                      <a:pt x="225" y="183"/>
                    </a:lnTo>
                    <a:lnTo>
                      <a:pt x="225" y="181"/>
                    </a:lnTo>
                    <a:lnTo>
                      <a:pt x="226" y="181"/>
                    </a:lnTo>
                    <a:lnTo>
                      <a:pt x="226" y="179"/>
                    </a:lnTo>
                    <a:lnTo>
                      <a:pt x="228" y="179"/>
                    </a:lnTo>
                    <a:lnTo>
                      <a:pt x="229" y="179"/>
                    </a:lnTo>
                    <a:lnTo>
                      <a:pt x="231" y="179"/>
                    </a:lnTo>
                    <a:lnTo>
                      <a:pt x="232" y="179"/>
                    </a:lnTo>
                    <a:lnTo>
                      <a:pt x="232" y="181"/>
                    </a:lnTo>
                    <a:lnTo>
                      <a:pt x="234" y="183"/>
                    </a:lnTo>
                    <a:lnTo>
                      <a:pt x="236" y="183"/>
                    </a:lnTo>
                    <a:lnTo>
                      <a:pt x="237" y="183"/>
                    </a:lnTo>
                    <a:lnTo>
                      <a:pt x="239" y="183"/>
                    </a:lnTo>
                    <a:lnTo>
                      <a:pt x="240" y="183"/>
                    </a:lnTo>
                    <a:lnTo>
                      <a:pt x="242" y="183"/>
                    </a:lnTo>
                    <a:lnTo>
                      <a:pt x="242" y="181"/>
                    </a:lnTo>
                    <a:lnTo>
                      <a:pt x="244" y="181"/>
                    </a:lnTo>
                    <a:lnTo>
                      <a:pt x="245" y="181"/>
                    </a:lnTo>
                    <a:lnTo>
                      <a:pt x="245" y="183"/>
                    </a:lnTo>
                    <a:lnTo>
                      <a:pt x="245" y="184"/>
                    </a:lnTo>
                    <a:lnTo>
                      <a:pt x="245" y="186"/>
                    </a:lnTo>
                    <a:lnTo>
                      <a:pt x="245" y="187"/>
                    </a:lnTo>
                    <a:lnTo>
                      <a:pt x="247" y="189"/>
                    </a:lnTo>
                    <a:lnTo>
                      <a:pt x="247" y="191"/>
                    </a:lnTo>
                    <a:lnTo>
                      <a:pt x="247" y="192"/>
                    </a:lnTo>
                    <a:lnTo>
                      <a:pt x="247" y="194"/>
                    </a:lnTo>
                    <a:lnTo>
                      <a:pt x="247" y="195"/>
                    </a:lnTo>
                    <a:lnTo>
                      <a:pt x="248" y="195"/>
                    </a:lnTo>
                    <a:lnTo>
                      <a:pt x="248" y="197"/>
                    </a:lnTo>
                    <a:lnTo>
                      <a:pt x="250" y="197"/>
                    </a:lnTo>
                    <a:lnTo>
                      <a:pt x="251" y="197"/>
                    </a:lnTo>
                    <a:lnTo>
                      <a:pt x="253" y="197"/>
                    </a:lnTo>
                    <a:lnTo>
                      <a:pt x="253" y="198"/>
                    </a:lnTo>
                    <a:lnTo>
                      <a:pt x="255" y="198"/>
                    </a:lnTo>
                    <a:lnTo>
                      <a:pt x="255" y="200"/>
                    </a:lnTo>
                    <a:lnTo>
                      <a:pt x="255" y="202"/>
                    </a:lnTo>
                    <a:lnTo>
                      <a:pt x="256" y="202"/>
                    </a:lnTo>
                    <a:lnTo>
                      <a:pt x="258" y="202"/>
                    </a:lnTo>
                    <a:lnTo>
                      <a:pt x="258" y="200"/>
                    </a:lnTo>
                    <a:lnTo>
                      <a:pt x="259" y="200"/>
                    </a:lnTo>
                    <a:lnTo>
                      <a:pt x="261" y="200"/>
                    </a:lnTo>
                    <a:lnTo>
                      <a:pt x="263" y="200"/>
                    </a:lnTo>
                    <a:lnTo>
                      <a:pt x="263" y="198"/>
                    </a:lnTo>
                    <a:lnTo>
                      <a:pt x="263" y="197"/>
                    </a:lnTo>
                    <a:lnTo>
                      <a:pt x="264" y="197"/>
                    </a:lnTo>
                    <a:lnTo>
                      <a:pt x="264" y="195"/>
                    </a:lnTo>
                    <a:lnTo>
                      <a:pt x="264" y="194"/>
                    </a:lnTo>
                    <a:lnTo>
                      <a:pt x="266" y="194"/>
                    </a:lnTo>
                    <a:lnTo>
                      <a:pt x="267" y="194"/>
                    </a:lnTo>
                    <a:lnTo>
                      <a:pt x="269" y="194"/>
                    </a:lnTo>
                    <a:lnTo>
                      <a:pt x="269" y="195"/>
                    </a:lnTo>
                    <a:lnTo>
                      <a:pt x="271" y="197"/>
                    </a:lnTo>
                    <a:lnTo>
                      <a:pt x="272" y="197"/>
                    </a:lnTo>
                    <a:lnTo>
                      <a:pt x="274" y="197"/>
                    </a:lnTo>
                    <a:lnTo>
                      <a:pt x="274" y="198"/>
                    </a:lnTo>
                    <a:lnTo>
                      <a:pt x="275" y="198"/>
                    </a:lnTo>
                    <a:lnTo>
                      <a:pt x="277" y="198"/>
                    </a:lnTo>
                    <a:lnTo>
                      <a:pt x="278" y="198"/>
                    </a:lnTo>
                    <a:lnTo>
                      <a:pt x="280" y="198"/>
                    </a:lnTo>
                    <a:lnTo>
                      <a:pt x="282" y="198"/>
                    </a:lnTo>
                    <a:lnTo>
                      <a:pt x="283" y="198"/>
                    </a:lnTo>
                    <a:lnTo>
                      <a:pt x="285" y="198"/>
                    </a:lnTo>
                    <a:lnTo>
                      <a:pt x="285" y="197"/>
                    </a:lnTo>
                    <a:lnTo>
                      <a:pt x="286" y="197"/>
                    </a:lnTo>
                    <a:lnTo>
                      <a:pt x="288" y="197"/>
                    </a:lnTo>
                    <a:lnTo>
                      <a:pt x="290" y="197"/>
                    </a:lnTo>
                    <a:lnTo>
                      <a:pt x="290" y="198"/>
                    </a:lnTo>
                    <a:lnTo>
                      <a:pt x="290" y="200"/>
                    </a:lnTo>
                    <a:lnTo>
                      <a:pt x="291" y="200"/>
                    </a:lnTo>
                    <a:lnTo>
                      <a:pt x="291" y="202"/>
                    </a:lnTo>
                    <a:lnTo>
                      <a:pt x="293" y="202"/>
                    </a:lnTo>
                    <a:lnTo>
                      <a:pt x="294" y="202"/>
                    </a:lnTo>
                    <a:lnTo>
                      <a:pt x="296" y="202"/>
                    </a:lnTo>
                    <a:lnTo>
                      <a:pt x="296" y="203"/>
                    </a:lnTo>
                    <a:lnTo>
                      <a:pt x="297" y="203"/>
                    </a:lnTo>
                    <a:lnTo>
                      <a:pt x="297" y="205"/>
                    </a:lnTo>
                    <a:lnTo>
                      <a:pt x="297" y="206"/>
                    </a:lnTo>
                    <a:lnTo>
                      <a:pt x="299" y="206"/>
                    </a:lnTo>
                    <a:lnTo>
                      <a:pt x="299" y="208"/>
                    </a:lnTo>
                    <a:lnTo>
                      <a:pt x="301" y="208"/>
                    </a:lnTo>
                    <a:lnTo>
                      <a:pt x="302" y="208"/>
                    </a:lnTo>
                    <a:lnTo>
                      <a:pt x="304" y="208"/>
                    </a:lnTo>
                    <a:lnTo>
                      <a:pt x="305" y="208"/>
                    </a:lnTo>
                    <a:lnTo>
                      <a:pt x="307" y="208"/>
                    </a:lnTo>
                    <a:lnTo>
                      <a:pt x="309" y="208"/>
                    </a:lnTo>
                    <a:lnTo>
                      <a:pt x="310" y="208"/>
                    </a:lnTo>
                    <a:lnTo>
                      <a:pt x="312" y="208"/>
                    </a:lnTo>
                    <a:lnTo>
                      <a:pt x="313" y="208"/>
                    </a:lnTo>
                    <a:lnTo>
                      <a:pt x="315" y="208"/>
                    </a:lnTo>
                    <a:lnTo>
                      <a:pt x="315" y="206"/>
                    </a:lnTo>
                    <a:lnTo>
                      <a:pt x="316" y="206"/>
                    </a:lnTo>
                    <a:lnTo>
                      <a:pt x="316" y="208"/>
                    </a:lnTo>
                    <a:lnTo>
                      <a:pt x="318" y="208"/>
                    </a:lnTo>
                    <a:lnTo>
                      <a:pt x="320" y="208"/>
                    </a:lnTo>
                    <a:lnTo>
                      <a:pt x="321" y="208"/>
                    </a:lnTo>
                    <a:lnTo>
                      <a:pt x="323" y="210"/>
                    </a:lnTo>
                    <a:lnTo>
                      <a:pt x="323" y="211"/>
                    </a:lnTo>
                    <a:lnTo>
                      <a:pt x="324" y="211"/>
                    </a:lnTo>
                    <a:lnTo>
                      <a:pt x="326" y="210"/>
                    </a:lnTo>
                    <a:lnTo>
                      <a:pt x="324" y="210"/>
                    </a:lnTo>
                    <a:lnTo>
                      <a:pt x="324" y="208"/>
                    </a:lnTo>
                    <a:lnTo>
                      <a:pt x="323" y="208"/>
                    </a:lnTo>
                    <a:lnTo>
                      <a:pt x="324" y="208"/>
                    </a:lnTo>
                    <a:lnTo>
                      <a:pt x="324" y="206"/>
                    </a:lnTo>
                    <a:lnTo>
                      <a:pt x="326" y="205"/>
                    </a:lnTo>
                    <a:lnTo>
                      <a:pt x="328" y="205"/>
                    </a:lnTo>
                    <a:lnTo>
                      <a:pt x="329" y="205"/>
                    </a:lnTo>
                    <a:lnTo>
                      <a:pt x="329" y="206"/>
                    </a:lnTo>
                    <a:lnTo>
                      <a:pt x="329" y="208"/>
                    </a:lnTo>
                    <a:lnTo>
                      <a:pt x="331" y="208"/>
                    </a:lnTo>
                    <a:lnTo>
                      <a:pt x="332" y="206"/>
                    </a:lnTo>
                    <a:lnTo>
                      <a:pt x="332" y="208"/>
                    </a:lnTo>
                    <a:lnTo>
                      <a:pt x="334" y="208"/>
                    </a:lnTo>
                    <a:lnTo>
                      <a:pt x="334" y="206"/>
                    </a:lnTo>
                    <a:lnTo>
                      <a:pt x="334" y="205"/>
                    </a:lnTo>
                    <a:lnTo>
                      <a:pt x="335" y="205"/>
                    </a:lnTo>
                    <a:lnTo>
                      <a:pt x="335" y="203"/>
                    </a:lnTo>
                    <a:lnTo>
                      <a:pt x="335" y="205"/>
                    </a:lnTo>
                    <a:lnTo>
                      <a:pt x="337" y="205"/>
                    </a:lnTo>
                    <a:lnTo>
                      <a:pt x="337" y="203"/>
                    </a:lnTo>
                    <a:lnTo>
                      <a:pt x="339" y="203"/>
                    </a:lnTo>
                    <a:lnTo>
                      <a:pt x="340" y="203"/>
                    </a:lnTo>
                    <a:lnTo>
                      <a:pt x="342" y="203"/>
                    </a:lnTo>
                    <a:lnTo>
                      <a:pt x="342" y="202"/>
                    </a:lnTo>
                    <a:lnTo>
                      <a:pt x="343" y="202"/>
                    </a:lnTo>
                    <a:lnTo>
                      <a:pt x="345" y="202"/>
                    </a:lnTo>
                    <a:lnTo>
                      <a:pt x="345" y="203"/>
                    </a:lnTo>
                    <a:lnTo>
                      <a:pt x="347" y="203"/>
                    </a:lnTo>
                    <a:lnTo>
                      <a:pt x="347" y="202"/>
                    </a:lnTo>
                    <a:lnTo>
                      <a:pt x="348" y="202"/>
                    </a:lnTo>
                    <a:lnTo>
                      <a:pt x="348" y="203"/>
                    </a:lnTo>
                    <a:lnTo>
                      <a:pt x="348" y="205"/>
                    </a:lnTo>
                    <a:lnTo>
                      <a:pt x="350" y="205"/>
                    </a:lnTo>
                    <a:lnTo>
                      <a:pt x="351" y="205"/>
                    </a:lnTo>
                    <a:lnTo>
                      <a:pt x="351" y="206"/>
                    </a:lnTo>
                    <a:lnTo>
                      <a:pt x="351" y="208"/>
                    </a:lnTo>
                    <a:lnTo>
                      <a:pt x="353" y="208"/>
                    </a:lnTo>
                    <a:lnTo>
                      <a:pt x="353" y="210"/>
                    </a:lnTo>
                    <a:lnTo>
                      <a:pt x="354" y="210"/>
                    </a:lnTo>
                    <a:lnTo>
                      <a:pt x="354" y="211"/>
                    </a:lnTo>
                    <a:lnTo>
                      <a:pt x="356" y="211"/>
                    </a:lnTo>
                    <a:lnTo>
                      <a:pt x="356" y="210"/>
                    </a:lnTo>
                    <a:lnTo>
                      <a:pt x="358" y="210"/>
                    </a:lnTo>
                    <a:lnTo>
                      <a:pt x="358" y="208"/>
                    </a:lnTo>
                    <a:lnTo>
                      <a:pt x="356" y="208"/>
                    </a:lnTo>
                    <a:lnTo>
                      <a:pt x="358" y="208"/>
                    </a:lnTo>
                    <a:lnTo>
                      <a:pt x="358" y="206"/>
                    </a:lnTo>
                    <a:lnTo>
                      <a:pt x="359" y="206"/>
                    </a:lnTo>
                    <a:lnTo>
                      <a:pt x="359" y="208"/>
                    </a:lnTo>
                    <a:lnTo>
                      <a:pt x="361" y="208"/>
                    </a:lnTo>
                    <a:lnTo>
                      <a:pt x="361" y="206"/>
                    </a:lnTo>
                    <a:lnTo>
                      <a:pt x="362" y="206"/>
                    </a:lnTo>
                    <a:lnTo>
                      <a:pt x="364" y="206"/>
                    </a:lnTo>
                    <a:lnTo>
                      <a:pt x="364" y="208"/>
                    </a:lnTo>
                    <a:lnTo>
                      <a:pt x="364" y="210"/>
                    </a:lnTo>
                    <a:lnTo>
                      <a:pt x="364" y="211"/>
                    </a:lnTo>
                    <a:lnTo>
                      <a:pt x="366" y="211"/>
                    </a:lnTo>
                    <a:lnTo>
                      <a:pt x="367" y="211"/>
                    </a:lnTo>
                    <a:lnTo>
                      <a:pt x="369" y="211"/>
                    </a:lnTo>
                    <a:lnTo>
                      <a:pt x="369" y="210"/>
                    </a:lnTo>
                    <a:lnTo>
                      <a:pt x="369" y="208"/>
                    </a:lnTo>
                    <a:lnTo>
                      <a:pt x="370" y="208"/>
                    </a:lnTo>
                    <a:lnTo>
                      <a:pt x="370" y="206"/>
                    </a:lnTo>
                    <a:lnTo>
                      <a:pt x="372" y="206"/>
                    </a:lnTo>
                    <a:lnTo>
                      <a:pt x="373" y="206"/>
                    </a:lnTo>
                    <a:lnTo>
                      <a:pt x="375" y="206"/>
                    </a:lnTo>
                    <a:lnTo>
                      <a:pt x="377" y="206"/>
                    </a:lnTo>
                    <a:lnTo>
                      <a:pt x="377" y="208"/>
                    </a:lnTo>
                    <a:lnTo>
                      <a:pt x="378" y="208"/>
                    </a:lnTo>
                    <a:lnTo>
                      <a:pt x="380" y="208"/>
                    </a:lnTo>
                    <a:lnTo>
                      <a:pt x="381" y="208"/>
                    </a:lnTo>
                    <a:lnTo>
                      <a:pt x="383" y="208"/>
                    </a:lnTo>
                    <a:lnTo>
                      <a:pt x="383" y="206"/>
                    </a:lnTo>
                    <a:lnTo>
                      <a:pt x="383" y="205"/>
                    </a:lnTo>
                    <a:lnTo>
                      <a:pt x="385" y="205"/>
                    </a:lnTo>
                    <a:lnTo>
                      <a:pt x="385" y="203"/>
                    </a:lnTo>
                    <a:lnTo>
                      <a:pt x="386" y="205"/>
                    </a:lnTo>
                    <a:lnTo>
                      <a:pt x="388" y="205"/>
                    </a:lnTo>
                    <a:lnTo>
                      <a:pt x="388" y="206"/>
                    </a:lnTo>
                    <a:lnTo>
                      <a:pt x="388" y="205"/>
                    </a:lnTo>
                    <a:lnTo>
                      <a:pt x="389" y="205"/>
                    </a:lnTo>
                    <a:lnTo>
                      <a:pt x="388" y="205"/>
                    </a:lnTo>
                    <a:lnTo>
                      <a:pt x="388" y="203"/>
                    </a:lnTo>
                    <a:lnTo>
                      <a:pt x="389" y="203"/>
                    </a:lnTo>
                    <a:lnTo>
                      <a:pt x="391" y="203"/>
                    </a:lnTo>
                    <a:lnTo>
                      <a:pt x="391" y="202"/>
                    </a:lnTo>
                    <a:lnTo>
                      <a:pt x="391" y="200"/>
                    </a:lnTo>
                    <a:lnTo>
                      <a:pt x="392" y="200"/>
                    </a:lnTo>
                    <a:lnTo>
                      <a:pt x="392" y="198"/>
                    </a:lnTo>
                    <a:lnTo>
                      <a:pt x="394" y="198"/>
                    </a:lnTo>
                    <a:lnTo>
                      <a:pt x="392" y="198"/>
                    </a:lnTo>
                    <a:lnTo>
                      <a:pt x="392" y="197"/>
                    </a:lnTo>
                    <a:lnTo>
                      <a:pt x="391" y="197"/>
                    </a:lnTo>
                    <a:lnTo>
                      <a:pt x="391" y="195"/>
                    </a:lnTo>
                    <a:lnTo>
                      <a:pt x="392" y="195"/>
                    </a:lnTo>
                    <a:lnTo>
                      <a:pt x="394" y="195"/>
                    </a:lnTo>
                    <a:lnTo>
                      <a:pt x="394" y="194"/>
                    </a:lnTo>
                    <a:lnTo>
                      <a:pt x="396" y="194"/>
                    </a:lnTo>
                    <a:lnTo>
                      <a:pt x="396" y="195"/>
                    </a:lnTo>
                    <a:lnTo>
                      <a:pt x="397" y="194"/>
                    </a:lnTo>
                    <a:lnTo>
                      <a:pt x="397" y="195"/>
                    </a:lnTo>
                    <a:lnTo>
                      <a:pt x="397" y="197"/>
                    </a:lnTo>
                    <a:lnTo>
                      <a:pt x="397" y="195"/>
                    </a:lnTo>
                    <a:lnTo>
                      <a:pt x="399" y="195"/>
                    </a:lnTo>
                    <a:lnTo>
                      <a:pt x="399" y="194"/>
                    </a:lnTo>
                    <a:lnTo>
                      <a:pt x="399" y="192"/>
                    </a:lnTo>
                    <a:lnTo>
                      <a:pt x="400" y="192"/>
                    </a:lnTo>
                    <a:lnTo>
                      <a:pt x="402" y="192"/>
                    </a:lnTo>
                    <a:lnTo>
                      <a:pt x="402" y="191"/>
                    </a:lnTo>
                    <a:lnTo>
                      <a:pt x="404" y="191"/>
                    </a:lnTo>
                    <a:lnTo>
                      <a:pt x="404" y="189"/>
                    </a:lnTo>
                    <a:lnTo>
                      <a:pt x="404" y="187"/>
                    </a:lnTo>
                    <a:lnTo>
                      <a:pt x="402" y="187"/>
                    </a:lnTo>
                    <a:lnTo>
                      <a:pt x="404" y="186"/>
                    </a:lnTo>
                    <a:lnTo>
                      <a:pt x="405" y="186"/>
                    </a:lnTo>
                    <a:lnTo>
                      <a:pt x="405" y="187"/>
                    </a:lnTo>
                    <a:lnTo>
                      <a:pt x="407" y="187"/>
                    </a:lnTo>
                    <a:lnTo>
                      <a:pt x="408" y="187"/>
                    </a:lnTo>
                    <a:lnTo>
                      <a:pt x="410" y="186"/>
                    </a:lnTo>
                    <a:lnTo>
                      <a:pt x="411" y="186"/>
                    </a:lnTo>
                    <a:lnTo>
                      <a:pt x="411" y="184"/>
                    </a:lnTo>
                    <a:lnTo>
                      <a:pt x="413" y="184"/>
                    </a:lnTo>
                    <a:lnTo>
                      <a:pt x="415" y="184"/>
                    </a:lnTo>
                    <a:lnTo>
                      <a:pt x="415" y="183"/>
                    </a:lnTo>
                    <a:lnTo>
                      <a:pt x="415" y="181"/>
                    </a:lnTo>
                    <a:lnTo>
                      <a:pt x="415" y="179"/>
                    </a:lnTo>
                    <a:lnTo>
                      <a:pt x="416" y="179"/>
                    </a:lnTo>
                    <a:lnTo>
                      <a:pt x="416" y="178"/>
                    </a:lnTo>
                    <a:lnTo>
                      <a:pt x="416" y="176"/>
                    </a:lnTo>
                    <a:lnTo>
                      <a:pt x="418" y="176"/>
                    </a:lnTo>
                    <a:lnTo>
                      <a:pt x="419" y="175"/>
                    </a:lnTo>
                    <a:lnTo>
                      <a:pt x="421" y="173"/>
                    </a:lnTo>
                    <a:lnTo>
                      <a:pt x="421" y="175"/>
                    </a:lnTo>
                    <a:lnTo>
                      <a:pt x="423" y="175"/>
                    </a:lnTo>
                    <a:lnTo>
                      <a:pt x="424" y="175"/>
                    </a:lnTo>
                    <a:lnTo>
                      <a:pt x="424" y="173"/>
                    </a:lnTo>
                    <a:lnTo>
                      <a:pt x="424" y="172"/>
                    </a:lnTo>
                    <a:lnTo>
                      <a:pt x="426" y="172"/>
                    </a:lnTo>
                    <a:lnTo>
                      <a:pt x="427" y="172"/>
                    </a:lnTo>
                    <a:lnTo>
                      <a:pt x="429" y="172"/>
                    </a:lnTo>
                    <a:lnTo>
                      <a:pt x="430" y="172"/>
                    </a:lnTo>
                    <a:lnTo>
                      <a:pt x="432" y="172"/>
                    </a:lnTo>
                    <a:lnTo>
                      <a:pt x="434" y="172"/>
                    </a:lnTo>
                    <a:lnTo>
                      <a:pt x="434" y="173"/>
                    </a:lnTo>
                    <a:lnTo>
                      <a:pt x="432" y="173"/>
                    </a:lnTo>
                    <a:lnTo>
                      <a:pt x="434" y="173"/>
                    </a:lnTo>
                    <a:lnTo>
                      <a:pt x="434" y="172"/>
                    </a:lnTo>
                    <a:lnTo>
                      <a:pt x="435" y="172"/>
                    </a:lnTo>
                    <a:lnTo>
                      <a:pt x="435" y="173"/>
                    </a:lnTo>
                    <a:lnTo>
                      <a:pt x="435" y="175"/>
                    </a:lnTo>
                    <a:lnTo>
                      <a:pt x="435" y="176"/>
                    </a:lnTo>
                    <a:lnTo>
                      <a:pt x="437" y="176"/>
                    </a:lnTo>
                    <a:lnTo>
                      <a:pt x="438" y="176"/>
                    </a:lnTo>
                    <a:lnTo>
                      <a:pt x="440" y="176"/>
                    </a:lnTo>
                    <a:lnTo>
                      <a:pt x="442" y="176"/>
                    </a:lnTo>
                    <a:lnTo>
                      <a:pt x="443" y="176"/>
                    </a:lnTo>
                    <a:lnTo>
                      <a:pt x="445" y="176"/>
                    </a:lnTo>
                    <a:lnTo>
                      <a:pt x="445" y="178"/>
                    </a:lnTo>
                    <a:lnTo>
                      <a:pt x="446" y="178"/>
                    </a:lnTo>
                    <a:lnTo>
                      <a:pt x="448" y="178"/>
                    </a:lnTo>
                    <a:lnTo>
                      <a:pt x="448" y="176"/>
                    </a:lnTo>
                    <a:lnTo>
                      <a:pt x="450" y="176"/>
                    </a:lnTo>
                    <a:lnTo>
                      <a:pt x="450" y="178"/>
                    </a:lnTo>
                    <a:lnTo>
                      <a:pt x="451" y="178"/>
                    </a:lnTo>
                    <a:lnTo>
                      <a:pt x="451" y="176"/>
                    </a:lnTo>
                    <a:lnTo>
                      <a:pt x="453" y="176"/>
                    </a:lnTo>
                    <a:lnTo>
                      <a:pt x="453" y="178"/>
                    </a:lnTo>
                    <a:lnTo>
                      <a:pt x="454" y="178"/>
                    </a:lnTo>
                    <a:lnTo>
                      <a:pt x="453" y="178"/>
                    </a:lnTo>
                    <a:lnTo>
                      <a:pt x="453" y="179"/>
                    </a:lnTo>
                    <a:lnTo>
                      <a:pt x="454" y="179"/>
                    </a:lnTo>
                    <a:lnTo>
                      <a:pt x="454" y="181"/>
                    </a:lnTo>
                    <a:lnTo>
                      <a:pt x="456" y="181"/>
                    </a:lnTo>
                    <a:lnTo>
                      <a:pt x="457" y="179"/>
                    </a:lnTo>
                    <a:lnTo>
                      <a:pt x="459" y="179"/>
                    </a:lnTo>
                    <a:lnTo>
                      <a:pt x="459" y="178"/>
                    </a:lnTo>
                    <a:lnTo>
                      <a:pt x="461" y="178"/>
                    </a:lnTo>
                    <a:lnTo>
                      <a:pt x="462" y="178"/>
                    </a:lnTo>
                    <a:lnTo>
                      <a:pt x="464" y="178"/>
                    </a:lnTo>
                    <a:lnTo>
                      <a:pt x="465" y="178"/>
                    </a:lnTo>
                    <a:lnTo>
                      <a:pt x="465" y="179"/>
                    </a:lnTo>
                    <a:lnTo>
                      <a:pt x="467" y="179"/>
                    </a:lnTo>
                    <a:lnTo>
                      <a:pt x="469" y="179"/>
                    </a:lnTo>
                    <a:lnTo>
                      <a:pt x="469" y="181"/>
                    </a:lnTo>
                    <a:lnTo>
                      <a:pt x="470" y="181"/>
                    </a:lnTo>
                    <a:lnTo>
                      <a:pt x="470" y="183"/>
                    </a:lnTo>
                    <a:lnTo>
                      <a:pt x="472" y="183"/>
                    </a:lnTo>
                    <a:lnTo>
                      <a:pt x="473" y="183"/>
                    </a:lnTo>
                    <a:lnTo>
                      <a:pt x="475" y="183"/>
                    </a:lnTo>
                    <a:lnTo>
                      <a:pt x="476" y="183"/>
                    </a:lnTo>
                    <a:lnTo>
                      <a:pt x="478" y="183"/>
                    </a:lnTo>
                    <a:lnTo>
                      <a:pt x="478" y="181"/>
                    </a:lnTo>
                    <a:lnTo>
                      <a:pt x="480" y="181"/>
                    </a:lnTo>
                    <a:lnTo>
                      <a:pt x="480" y="179"/>
                    </a:lnTo>
                    <a:lnTo>
                      <a:pt x="481" y="179"/>
                    </a:lnTo>
                    <a:lnTo>
                      <a:pt x="481" y="181"/>
                    </a:lnTo>
                    <a:lnTo>
                      <a:pt x="483" y="181"/>
                    </a:lnTo>
                    <a:lnTo>
                      <a:pt x="483" y="183"/>
                    </a:lnTo>
                    <a:lnTo>
                      <a:pt x="484" y="183"/>
                    </a:lnTo>
                    <a:lnTo>
                      <a:pt x="484" y="184"/>
                    </a:lnTo>
                    <a:lnTo>
                      <a:pt x="486" y="184"/>
                    </a:lnTo>
                    <a:lnTo>
                      <a:pt x="488" y="184"/>
                    </a:lnTo>
                    <a:lnTo>
                      <a:pt x="489" y="184"/>
                    </a:lnTo>
                    <a:lnTo>
                      <a:pt x="491" y="184"/>
                    </a:lnTo>
                    <a:lnTo>
                      <a:pt x="492" y="184"/>
                    </a:lnTo>
                    <a:lnTo>
                      <a:pt x="494" y="184"/>
                    </a:lnTo>
                    <a:lnTo>
                      <a:pt x="495" y="184"/>
                    </a:lnTo>
                    <a:lnTo>
                      <a:pt x="495" y="186"/>
                    </a:lnTo>
                    <a:lnTo>
                      <a:pt x="495" y="187"/>
                    </a:lnTo>
                    <a:lnTo>
                      <a:pt x="497" y="187"/>
                    </a:lnTo>
                    <a:lnTo>
                      <a:pt x="497" y="189"/>
                    </a:lnTo>
                    <a:lnTo>
                      <a:pt x="497" y="191"/>
                    </a:lnTo>
                    <a:lnTo>
                      <a:pt x="497" y="192"/>
                    </a:lnTo>
                    <a:lnTo>
                      <a:pt x="499" y="192"/>
                    </a:lnTo>
                    <a:lnTo>
                      <a:pt x="499" y="194"/>
                    </a:lnTo>
                    <a:lnTo>
                      <a:pt x="499" y="195"/>
                    </a:lnTo>
                    <a:lnTo>
                      <a:pt x="499" y="197"/>
                    </a:lnTo>
                    <a:lnTo>
                      <a:pt x="499" y="198"/>
                    </a:lnTo>
                    <a:lnTo>
                      <a:pt x="500" y="200"/>
                    </a:lnTo>
                    <a:lnTo>
                      <a:pt x="500" y="202"/>
                    </a:lnTo>
                    <a:lnTo>
                      <a:pt x="502" y="202"/>
                    </a:lnTo>
                    <a:lnTo>
                      <a:pt x="502" y="203"/>
                    </a:lnTo>
                    <a:lnTo>
                      <a:pt x="503" y="203"/>
                    </a:lnTo>
                    <a:lnTo>
                      <a:pt x="503" y="205"/>
                    </a:lnTo>
                    <a:lnTo>
                      <a:pt x="503" y="206"/>
                    </a:lnTo>
                    <a:lnTo>
                      <a:pt x="505" y="206"/>
                    </a:lnTo>
                    <a:lnTo>
                      <a:pt x="505" y="208"/>
                    </a:lnTo>
                    <a:lnTo>
                      <a:pt x="507" y="208"/>
                    </a:lnTo>
                    <a:lnTo>
                      <a:pt x="507" y="210"/>
                    </a:lnTo>
                    <a:lnTo>
                      <a:pt x="508" y="210"/>
                    </a:lnTo>
                    <a:lnTo>
                      <a:pt x="510" y="210"/>
                    </a:lnTo>
                    <a:lnTo>
                      <a:pt x="510" y="208"/>
                    </a:lnTo>
                    <a:lnTo>
                      <a:pt x="511" y="210"/>
                    </a:lnTo>
                    <a:lnTo>
                      <a:pt x="513" y="210"/>
                    </a:lnTo>
                    <a:lnTo>
                      <a:pt x="513" y="211"/>
                    </a:lnTo>
                    <a:lnTo>
                      <a:pt x="514" y="211"/>
                    </a:lnTo>
                    <a:lnTo>
                      <a:pt x="514" y="213"/>
                    </a:lnTo>
                    <a:lnTo>
                      <a:pt x="516" y="214"/>
                    </a:lnTo>
                    <a:lnTo>
                      <a:pt x="516" y="216"/>
                    </a:lnTo>
                    <a:lnTo>
                      <a:pt x="518" y="216"/>
                    </a:lnTo>
                    <a:lnTo>
                      <a:pt x="518" y="217"/>
                    </a:lnTo>
                    <a:lnTo>
                      <a:pt x="518" y="219"/>
                    </a:lnTo>
                    <a:lnTo>
                      <a:pt x="518" y="221"/>
                    </a:lnTo>
                    <a:lnTo>
                      <a:pt x="519" y="221"/>
                    </a:lnTo>
                    <a:lnTo>
                      <a:pt x="519" y="222"/>
                    </a:lnTo>
                    <a:lnTo>
                      <a:pt x="518" y="222"/>
                    </a:lnTo>
                    <a:lnTo>
                      <a:pt x="518" y="224"/>
                    </a:lnTo>
                    <a:lnTo>
                      <a:pt x="518" y="225"/>
                    </a:lnTo>
                    <a:lnTo>
                      <a:pt x="518" y="227"/>
                    </a:lnTo>
                    <a:lnTo>
                      <a:pt x="518" y="229"/>
                    </a:lnTo>
                    <a:lnTo>
                      <a:pt x="518" y="230"/>
                    </a:lnTo>
                    <a:lnTo>
                      <a:pt x="516" y="230"/>
                    </a:lnTo>
                    <a:lnTo>
                      <a:pt x="518" y="230"/>
                    </a:lnTo>
                    <a:lnTo>
                      <a:pt x="518" y="232"/>
                    </a:lnTo>
                    <a:lnTo>
                      <a:pt x="518" y="233"/>
                    </a:lnTo>
                    <a:lnTo>
                      <a:pt x="518" y="235"/>
                    </a:lnTo>
                    <a:lnTo>
                      <a:pt x="519" y="235"/>
                    </a:lnTo>
                    <a:lnTo>
                      <a:pt x="519" y="236"/>
                    </a:lnTo>
                    <a:lnTo>
                      <a:pt x="518" y="236"/>
                    </a:lnTo>
                    <a:lnTo>
                      <a:pt x="516" y="236"/>
                    </a:lnTo>
                    <a:lnTo>
                      <a:pt x="518" y="238"/>
                    </a:lnTo>
                    <a:lnTo>
                      <a:pt x="518" y="240"/>
                    </a:lnTo>
                    <a:lnTo>
                      <a:pt x="519" y="240"/>
                    </a:lnTo>
                    <a:lnTo>
                      <a:pt x="521" y="241"/>
                    </a:lnTo>
                    <a:lnTo>
                      <a:pt x="521" y="243"/>
                    </a:lnTo>
                    <a:lnTo>
                      <a:pt x="521" y="244"/>
                    </a:lnTo>
                    <a:lnTo>
                      <a:pt x="521" y="246"/>
                    </a:lnTo>
                    <a:lnTo>
                      <a:pt x="519" y="246"/>
                    </a:lnTo>
                    <a:lnTo>
                      <a:pt x="519" y="248"/>
                    </a:lnTo>
                    <a:lnTo>
                      <a:pt x="519" y="249"/>
                    </a:lnTo>
                    <a:lnTo>
                      <a:pt x="521" y="249"/>
                    </a:lnTo>
                    <a:lnTo>
                      <a:pt x="521" y="248"/>
                    </a:lnTo>
                    <a:lnTo>
                      <a:pt x="522" y="248"/>
                    </a:lnTo>
                    <a:lnTo>
                      <a:pt x="522" y="249"/>
                    </a:lnTo>
                    <a:lnTo>
                      <a:pt x="524" y="249"/>
                    </a:lnTo>
                    <a:lnTo>
                      <a:pt x="526" y="249"/>
                    </a:lnTo>
                    <a:lnTo>
                      <a:pt x="527" y="249"/>
                    </a:lnTo>
                    <a:lnTo>
                      <a:pt x="527" y="251"/>
                    </a:lnTo>
                    <a:lnTo>
                      <a:pt x="527" y="252"/>
                    </a:lnTo>
                    <a:lnTo>
                      <a:pt x="526" y="252"/>
                    </a:lnTo>
                    <a:lnTo>
                      <a:pt x="526" y="254"/>
                    </a:lnTo>
                    <a:lnTo>
                      <a:pt x="526" y="255"/>
                    </a:lnTo>
                    <a:lnTo>
                      <a:pt x="527" y="255"/>
                    </a:lnTo>
                    <a:lnTo>
                      <a:pt x="527" y="257"/>
                    </a:lnTo>
                    <a:lnTo>
                      <a:pt x="529" y="257"/>
                    </a:lnTo>
                    <a:lnTo>
                      <a:pt x="529" y="259"/>
                    </a:lnTo>
                    <a:lnTo>
                      <a:pt x="529" y="260"/>
                    </a:lnTo>
                    <a:lnTo>
                      <a:pt x="527" y="262"/>
                    </a:lnTo>
                    <a:lnTo>
                      <a:pt x="526" y="262"/>
                    </a:lnTo>
                    <a:lnTo>
                      <a:pt x="526" y="263"/>
                    </a:lnTo>
                    <a:lnTo>
                      <a:pt x="527" y="263"/>
                    </a:lnTo>
                    <a:lnTo>
                      <a:pt x="529" y="263"/>
                    </a:lnTo>
                    <a:lnTo>
                      <a:pt x="530" y="263"/>
                    </a:lnTo>
                    <a:lnTo>
                      <a:pt x="530" y="265"/>
                    </a:lnTo>
                    <a:lnTo>
                      <a:pt x="530" y="267"/>
                    </a:lnTo>
                    <a:lnTo>
                      <a:pt x="530" y="268"/>
                    </a:lnTo>
                    <a:lnTo>
                      <a:pt x="530" y="270"/>
                    </a:lnTo>
                    <a:lnTo>
                      <a:pt x="530" y="271"/>
                    </a:lnTo>
                    <a:lnTo>
                      <a:pt x="530" y="273"/>
                    </a:lnTo>
                    <a:lnTo>
                      <a:pt x="530" y="275"/>
                    </a:lnTo>
                    <a:lnTo>
                      <a:pt x="532" y="275"/>
                    </a:lnTo>
                    <a:lnTo>
                      <a:pt x="532" y="276"/>
                    </a:lnTo>
                    <a:lnTo>
                      <a:pt x="532" y="275"/>
                    </a:lnTo>
                    <a:lnTo>
                      <a:pt x="532" y="276"/>
                    </a:lnTo>
                    <a:lnTo>
                      <a:pt x="533" y="276"/>
                    </a:lnTo>
                    <a:lnTo>
                      <a:pt x="533" y="278"/>
                    </a:lnTo>
                    <a:lnTo>
                      <a:pt x="532" y="278"/>
                    </a:lnTo>
                    <a:lnTo>
                      <a:pt x="532" y="279"/>
                    </a:lnTo>
                    <a:lnTo>
                      <a:pt x="533" y="279"/>
                    </a:lnTo>
                    <a:lnTo>
                      <a:pt x="535" y="279"/>
                    </a:lnTo>
                    <a:lnTo>
                      <a:pt x="537" y="279"/>
                    </a:lnTo>
                    <a:lnTo>
                      <a:pt x="538" y="279"/>
                    </a:lnTo>
                    <a:lnTo>
                      <a:pt x="537" y="279"/>
                    </a:lnTo>
                    <a:lnTo>
                      <a:pt x="537" y="281"/>
                    </a:lnTo>
                    <a:lnTo>
                      <a:pt x="538" y="281"/>
                    </a:lnTo>
                    <a:lnTo>
                      <a:pt x="538" y="282"/>
                    </a:lnTo>
                    <a:lnTo>
                      <a:pt x="540" y="282"/>
                    </a:lnTo>
                    <a:lnTo>
                      <a:pt x="540" y="284"/>
                    </a:lnTo>
                    <a:lnTo>
                      <a:pt x="541" y="284"/>
                    </a:lnTo>
                    <a:lnTo>
                      <a:pt x="543" y="284"/>
                    </a:lnTo>
                    <a:lnTo>
                      <a:pt x="543" y="286"/>
                    </a:lnTo>
                    <a:lnTo>
                      <a:pt x="545" y="286"/>
                    </a:lnTo>
                    <a:lnTo>
                      <a:pt x="543" y="286"/>
                    </a:lnTo>
                    <a:lnTo>
                      <a:pt x="543" y="287"/>
                    </a:lnTo>
                    <a:lnTo>
                      <a:pt x="543" y="289"/>
                    </a:lnTo>
                    <a:lnTo>
                      <a:pt x="545" y="289"/>
                    </a:lnTo>
                    <a:lnTo>
                      <a:pt x="545" y="287"/>
                    </a:lnTo>
                    <a:lnTo>
                      <a:pt x="545" y="289"/>
                    </a:lnTo>
                    <a:lnTo>
                      <a:pt x="545" y="290"/>
                    </a:lnTo>
                    <a:lnTo>
                      <a:pt x="545" y="292"/>
                    </a:lnTo>
                    <a:lnTo>
                      <a:pt x="546" y="292"/>
                    </a:lnTo>
                    <a:lnTo>
                      <a:pt x="548" y="292"/>
                    </a:lnTo>
                    <a:lnTo>
                      <a:pt x="548" y="294"/>
                    </a:lnTo>
                    <a:lnTo>
                      <a:pt x="549" y="294"/>
                    </a:lnTo>
                    <a:lnTo>
                      <a:pt x="549" y="295"/>
                    </a:lnTo>
                    <a:lnTo>
                      <a:pt x="551" y="295"/>
                    </a:lnTo>
                    <a:lnTo>
                      <a:pt x="549" y="295"/>
                    </a:lnTo>
                    <a:lnTo>
                      <a:pt x="549" y="297"/>
                    </a:lnTo>
                    <a:lnTo>
                      <a:pt x="548" y="297"/>
                    </a:lnTo>
                    <a:lnTo>
                      <a:pt x="548" y="298"/>
                    </a:lnTo>
                    <a:lnTo>
                      <a:pt x="549" y="298"/>
                    </a:lnTo>
                    <a:lnTo>
                      <a:pt x="551" y="298"/>
                    </a:lnTo>
                    <a:lnTo>
                      <a:pt x="551" y="300"/>
                    </a:lnTo>
                    <a:lnTo>
                      <a:pt x="552" y="300"/>
                    </a:lnTo>
                    <a:lnTo>
                      <a:pt x="552" y="301"/>
                    </a:lnTo>
                    <a:lnTo>
                      <a:pt x="554" y="301"/>
                    </a:lnTo>
                    <a:lnTo>
                      <a:pt x="556" y="303"/>
                    </a:lnTo>
                    <a:lnTo>
                      <a:pt x="556" y="301"/>
                    </a:lnTo>
                    <a:lnTo>
                      <a:pt x="556" y="303"/>
                    </a:lnTo>
                    <a:lnTo>
                      <a:pt x="556" y="305"/>
                    </a:lnTo>
                    <a:lnTo>
                      <a:pt x="557" y="305"/>
                    </a:lnTo>
                    <a:lnTo>
                      <a:pt x="559" y="305"/>
                    </a:lnTo>
                    <a:lnTo>
                      <a:pt x="559" y="306"/>
                    </a:lnTo>
                    <a:lnTo>
                      <a:pt x="560" y="306"/>
                    </a:lnTo>
                    <a:lnTo>
                      <a:pt x="562" y="306"/>
                    </a:lnTo>
                    <a:lnTo>
                      <a:pt x="564" y="306"/>
                    </a:lnTo>
                    <a:lnTo>
                      <a:pt x="565" y="306"/>
                    </a:lnTo>
                    <a:lnTo>
                      <a:pt x="567" y="306"/>
                    </a:lnTo>
                    <a:lnTo>
                      <a:pt x="568" y="306"/>
                    </a:lnTo>
                    <a:lnTo>
                      <a:pt x="570" y="306"/>
                    </a:lnTo>
                    <a:lnTo>
                      <a:pt x="570" y="308"/>
                    </a:lnTo>
                    <a:lnTo>
                      <a:pt x="570" y="309"/>
                    </a:lnTo>
                    <a:lnTo>
                      <a:pt x="570" y="311"/>
                    </a:lnTo>
                    <a:lnTo>
                      <a:pt x="570" y="313"/>
                    </a:lnTo>
                    <a:lnTo>
                      <a:pt x="570" y="314"/>
                    </a:lnTo>
                    <a:lnTo>
                      <a:pt x="570" y="316"/>
                    </a:lnTo>
                    <a:lnTo>
                      <a:pt x="570" y="317"/>
                    </a:lnTo>
                    <a:lnTo>
                      <a:pt x="570" y="319"/>
                    </a:lnTo>
                    <a:lnTo>
                      <a:pt x="570" y="320"/>
                    </a:lnTo>
                    <a:lnTo>
                      <a:pt x="570" y="322"/>
                    </a:lnTo>
                    <a:lnTo>
                      <a:pt x="570" y="324"/>
                    </a:lnTo>
                    <a:lnTo>
                      <a:pt x="570" y="325"/>
                    </a:lnTo>
                    <a:lnTo>
                      <a:pt x="570" y="327"/>
                    </a:lnTo>
                    <a:lnTo>
                      <a:pt x="571" y="328"/>
                    </a:lnTo>
                    <a:lnTo>
                      <a:pt x="571" y="330"/>
                    </a:lnTo>
                    <a:lnTo>
                      <a:pt x="571" y="332"/>
                    </a:lnTo>
                    <a:lnTo>
                      <a:pt x="571" y="333"/>
                    </a:lnTo>
                    <a:lnTo>
                      <a:pt x="571" y="335"/>
                    </a:lnTo>
                    <a:lnTo>
                      <a:pt x="573" y="335"/>
                    </a:lnTo>
                    <a:lnTo>
                      <a:pt x="573" y="336"/>
                    </a:lnTo>
                    <a:lnTo>
                      <a:pt x="575" y="336"/>
                    </a:lnTo>
                    <a:lnTo>
                      <a:pt x="575" y="335"/>
                    </a:lnTo>
                    <a:lnTo>
                      <a:pt x="576" y="335"/>
                    </a:lnTo>
                    <a:lnTo>
                      <a:pt x="578" y="336"/>
                    </a:lnTo>
                    <a:lnTo>
                      <a:pt x="578" y="338"/>
                    </a:lnTo>
                    <a:lnTo>
                      <a:pt x="579" y="338"/>
                    </a:lnTo>
                    <a:lnTo>
                      <a:pt x="581" y="339"/>
                    </a:lnTo>
                    <a:lnTo>
                      <a:pt x="581" y="341"/>
                    </a:lnTo>
                    <a:lnTo>
                      <a:pt x="583" y="341"/>
                    </a:lnTo>
                    <a:lnTo>
                      <a:pt x="584" y="343"/>
                    </a:lnTo>
                    <a:lnTo>
                      <a:pt x="586" y="343"/>
                    </a:lnTo>
                    <a:lnTo>
                      <a:pt x="587" y="343"/>
                    </a:lnTo>
                    <a:lnTo>
                      <a:pt x="587" y="341"/>
                    </a:lnTo>
                    <a:lnTo>
                      <a:pt x="587" y="339"/>
                    </a:lnTo>
                    <a:lnTo>
                      <a:pt x="589" y="339"/>
                    </a:lnTo>
                    <a:lnTo>
                      <a:pt x="590" y="339"/>
                    </a:lnTo>
                    <a:lnTo>
                      <a:pt x="592" y="339"/>
                    </a:lnTo>
                    <a:lnTo>
                      <a:pt x="592" y="341"/>
                    </a:lnTo>
                    <a:lnTo>
                      <a:pt x="594" y="341"/>
                    </a:lnTo>
                    <a:lnTo>
                      <a:pt x="594" y="339"/>
                    </a:lnTo>
                    <a:lnTo>
                      <a:pt x="595" y="339"/>
                    </a:lnTo>
                    <a:lnTo>
                      <a:pt x="597" y="339"/>
                    </a:lnTo>
                    <a:lnTo>
                      <a:pt x="598" y="338"/>
                    </a:lnTo>
                    <a:lnTo>
                      <a:pt x="600" y="338"/>
                    </a:lnTo>
                    <a:lnTo>
                      <a:pt x="600" y="339"/>
                    </a:lnTo>
                    <a:lnTo>
                      <a:pt x="602" y="339"/>
                    </a:lnTo>
                    <a:lnTo>
                      <a:pt x="603" y="339"/>
                    </a:lnTo>
                    <a:lnTo>
                      <a:pt x="605" y="339"/>
                    </a:lnTo>
                    <a:lnTo>
                      <a:pt x="606" y="339"/>
                    </a:lnTo>
                    <a:lnTo>
                      <a:pt x="606" y="341"/>
                    </a:lnTo>
                    <a:lnTo>
                      <a:pt x="608" y="343"/>
                    </a:lnTo>
                    <a:lnTo>
                      <a:pt x="606" y="343"/>
                    </a:lnTo>
                    <a:lnTo>
                      <a:pt x="608" y="343"/>
                    </a:lnTo>
                    <a:lnTo>
                      <a:pt x="608" y="344"/>
                    </a:lnTo>
                    <a:lnTo>
                      <a:pt x="609" y="344"/>
                    </a:lnTo>
                    <a:lnTo>
                      <a:pt x="611" y="344"/>
                    </a:lnTo>
                    <a:lnTo>
                      <a:pt x="611" y="346"/>
                    </a:lnTo>
                    <a:lnTo>
                      <a:pt x="613" y="346"/>
                    </a:lnTo>
                    <a:lnTo>
                      <a:pt x="614" y="346"/>
                    </a:lnTo>
                    <a:lnTo>
                      <a:pt x="614" y="347"/>
                    </a:lnTo>
                    <a:lnTo>
                      <a:pt x="616" y="347"/>
                    </a:lnTo>
                    <a:lnTo>
                      <a:pt x="617" y="347"/>
                    </a:lnTo>
                    <a:lnTo>
                      <a:pt x="617" y="349"/>
                    </a:lnTo>
                    <a:lnTo>
                      <a:pt x="619" y="349"/>
                    </a:lnTo>
                    <a:lnTo>
                      <a:pt x="621" y="349"/>
                    </a:lnTo>
                    <a:lnTo>
                      <a:pt x="621" y="351"/>
                    </a:lnTo>
                    <a:lnTo>
                      <a:pt x="622" y="351"/>
                    </a:lnTo>
                    <a:lnTo>
                      <a:pt x="622" y="352"/>
                    </a:lnTo>
                    <a:lnTo>
                      <a:pt x="622" y="354"/>
                    </a:lnTo>
                    <a:lnTo>
                      <a:pt x="624" y="354"/>
                    </a:lnTo>
                    <a:lnTo>
                      <a:pt x="624" y="355"/>
                    </a:lnTo>
                    <a:lnTo>
                      <a:pt x="625" y="355"/>
                    </a:lnTo>
                    <a:lnTo>
                      <a:pt x="625" y="357"/>
                    </a:lnTo>
                    <a:lnTo>
                      <a:pt x="627" y="357"/>
                    </a:lnTo>
                    <a:lnTo>
                      <a:pt x="628" y="357"/>
                    </a:lnTo>
                    <a:lnTo>
                      <a:pt x="628" y="358"/>
                    </a:lnTo>
                    <a:lnTo>
                      <a:pt x="630" y="358"/>
                    </a:lnTo>
                    <a:lnTo>
                      <a:pt x="630" y="360"/>
                    </a:lnTo>
                    <a:lnTo>
                      <a:pt x="630" y="358"/>
                    </a:lnTo>
                    <a:lnTo>
                      <a:pt x="632" y="358"/>
                    </a:lnTo>
                    <a:lnTo>
                      <a:pt x="632" y="360"/>
                    </a:lnTo>
                    <a:lnTo>
                      <a:pt x="632" y="362"/>
                    </a:lnTo>
                    <a:lnTo>
                      <a:pt x="633" y="362"/>
                    </a:lnTo>
                    <a:lnTo>
                      <a:pt x="633" y="363"/>
                    </a:lnTo>
                    <a:lnTo>
                      <a:pt x="635" y="363"/>
                    </a:lnTo>
                    <a:lnTo>
                      <a:pt x="635" y="362"/>
                    </a:lnTo>
                    <a:lnTo>
                      <a:pt x="635" y="363"/>
                    </a:lnTo>
                    <a:lnTo>
                      <a:pt x="636" y="363"/>
                    </a:lnTo>
                    <a:lnTo>
                      <a:pt x="638" y="363"/>
                    </a:lnTo>
                    <a:lnTo>
                      <a:pt x="640" y="363"/>
                    </a:lnTo>
                    <a:lnTo>
                      <a:pt x="641" y="363"/>
                    </a:lnTo>
                    <a:lnTo>
                      <a:pt x="643" y="365"/>
                    </a:lnTo>
                    <a:lnTo>
                      <a:pt x="644" y="365"/>
                    </a:lnTo>
                    <a:lnTo>
                      <a:pt x="646" y="365"/>
                    </a:lnTo>
                    <a:lnTo>
                      <a:pt x="646" y="363"/>
                    </a:lnTo>
                    <a:lnTo>
                      <a:pt x="648" y="363"/>
                    </a:lnTo>
                    <a:lnTo>
                      <a:pt x="649" y="363"/>
                    </a:lnTo>
                    <a:lnTo>
                      <a:pt x="651" y="363"/>
                    </a:lnTo>
                    <a:lnTo>
                      <a:pt x="652" y="363"/>
                    </a:lnTo>
                    <a:lnTo>
                      <a:pt x="654" y="363"/>
                    </a:lnTo>
                    <a:lnTo>
                      <a:pt x="654" y="365"/>
                    </a:lnTo>
                    <a:lnTo>
                      <a:pt x="655" y="365"/>
                    </a:lnTo>
                    <a:lnTo>
                      <a:pt x="655" y="366"/>
                    </a:lnTo>
                    <a:lnTo>
                      <a:pt x="657" y="366"/>
                    </a:lnTo>
                    <a:lnTo>
                      <a:pt x="659" y="366"/>
                    </a:lnTo>
                    <a:lnTo>
                      <a:pt x="660" y="366"/>
                    </a:lnTo>
                    <a:lnTo>
                      <a:pt x="662" y="366"/>
                    </a:lnTo>
                    <a:lnTo>
                      <a:pt x="663" y="366"/>
                    </a:lnTo>
                    <a:lnTo>
                      <a:pt x="663" y="365"/>
                    </a:lnTo>
                    <a:lnTo>
                      <a:pt x="665" y="365"/>
                    </a:lnTo>
                    <a:lnTo>
                      <a:pt x="665" y="366"/>
                    </a:lnTo>
                    <a:lnTo>
                      <a:pt x="667" y="366"/>
                    </a:lnTo>
                    <a:lnTo>
                      <a:pt x="668" y="366"/>
                    </a:lnTo>
                    <a:lnTo>
                      <a:pt x="668" y="365"/>
                    </a:lnTo>
                    <a:lnTo>
                      <a:pt x="668" y="366"/>
                    </a:lnTo>
                    <a:lnTo>
                      <a:pt x="670" y="366"/>
                    </a:lnTo>
                    <a:lnTo>
                      <a:pt x="670" y="368"/>
                    </a:lnTo>
                    <a:lnTo>
                      <a:pt x="671" y="368"/>
                    </a:lnTo>
                    <a:lnTo>
                      <a:pt x="671" y="366"/>
                    </a:lnTo>
                    <a:lnTo>
                      <a:pt x="673" y="366"/>
                    </a:lnTo>
                    <a:lnTo>
                      <a:pt x="673" y="368"/>
                    </a:lnTo>
                    <a:lnTo>
                      <a:pt x="674" y="368"/>
                    </a:lnTo>
                    <a:lnTo>
                      <a:pt x="674" y="370"/>
                    </a:lnTo>
                    <a:lnTo>
                      <a:pt x="676" y="370"/>
                    </a:lnTo>
                    <a:lnTo>
                      <a:pt x="678" y="370"/>
                    </a:lnTo>
                    <a:lnTo>
                      <a:pt x="678" y="371"/>
                    </a:lnTo>
                    <a:lnTo>
                      <a:pt x="679" y="371"/>
                    </a:lnTo>
                    <a:lnTo>
                      <a:pt x="679" y="373"/>
                    </a:lnTo>
                    <a:lnTo>
                      <a:pt x="681" y="373"/>
                    </a:lnTo>
                    <a:lnTo>
                      <a:pt x="682" y="373"/>
                    </a:lnTo>
                    <a:lnTo>
                      <a:pt x="682" y="374"/>
                    </a:lnTo>
                    <a:lnTo>
                      <a:pt x="684" y="373"/>
                    </a:lnTo>
                    <a:lnTo>
                      <a:pt x="686" y="373"/>
                    </a:lnTo>
                    <a:lnTo>
                      <a:pt x="687" y="371"/>
                    </a:lnTo>
                    <a:lnTo>
                      <a:pt x="687" y="373"/>
                    </a:lnTo>
                    <a:lnTo>
                      <a:pt x="689" y="371"/>
                    </a:lnTo>
                    <a:lnTo>
                      <a:pt x="689" y="373"/>
                    </a:lnTo>
                    <a:lnTo>
                      <a:pt x="690" y="373"/>
                    </a:lnTo>
                    <a:lnTo>
                      <a:pt x="690" y="371"/>
                    </a:lnTo>
                    <a:lnTo>
                      <a:pt x="692" y="371"/>
                    </a:lnTo>
                    <a:lnTo>
                      <a:pt x="693" y="371"/>
                    </a:lnTo>
                    <a:lnTo>
                      <a:pt x="695" y="371"/>
                    </a:lnTo>
                    <a:lnTo>
                      <a:pt x="697" y="371"/>
                    </a:lnTo>
                    <a:lnTo>
                      <a:pt x="698" y="373"/>
                    </a:lnTo>
                    <a:lnTo>
                      <a:pt x="698" y="371"/>
                    </a:lnTo>
                    <a:lnTo>
                      <a:pt x="700" y="371"/>
                    </a:lnTo>
                    <a:lnTo>
                      <a:pt x="700" y="373"/>
                    </a:lnTo>
                    <a:lnTo>
                      <a:pt x="700" y="374"/>
                    </a:lnTo>
                    <a:lnTo>
                      <a:pt x="701" y="374"/>
                    </a:lnTo>
                    <a:lnTo>
                      <a:pt x="703" y="374"/>
                    </a:lnTo>
                    <a:lnTo>
                      <a:pt x="703" y="376"/>
                    </a:lnTo>
                    <a:lnTo>
                      <a:pt x="705" y="376"/>
                    </a:lnTo>
                    <a:lnTo>
                      <a:pt x="705" y="377"/>
                    </a:lnTo>
                    <a:lnTo>
                      <a:pt x="705" y="379"/>
                    </a:lnTo>
                    <a:lnTo>
                      <a:pt x="705" y="381"/>
                    </a:lnTo>
                    <a:lnTo>
                      <a:pt x="705" y="382"/>
                    </a:lnTo>
                    <a:lnTo>
                      <a:pt x="706" y="382"/>
                    </a:lnTo>
                    <a:lnTo>
                      <a:pt x="708" y="382"/>
                    </a:lnTo>
                    <a:lnTo>
                      <a:pt x="709" y="384"/>
                    </a:lnTo>
                    <a:lnTo>
                      <a:pt x="709" y="382"/>
                    </a:lnTo>
                    <a:lnTo>
                      <a:pt x="711" y="384"/>
                    </a:lnTo>
                    <a:lnTo>
                      <a:pt x="711" y="385"/>
                    </a:lnTo>
                    <a:lnTo>
                      <a:pt x="712" y="385"/>
                    </a:lnTo>
                    <a:lnTo>
                      <a:pt x="712" y="387"/>
                    </a:lnTo>
                    <a:lnTo>
                      <a:pt x="712" y="389"/>
                    </a:lnTo>
                    <a:lnTo>
                      <a:pt x="714" y="389"/>
                    </a:lnTo>
                    <a:lnTo>
                      <a:pt x="714" y="390"/>
                    </a:lnTo>
                    <a:lnTo>
                      <a:pt x="716" y="390"/>
                    </a:lnTo>
                    <a:lnTo>
                      <a:pt x="717" y="390"/>
                    </a:lnTo>
                    <a:lnTo>
                      <a:pt x="717" y="392"/>
                    </a:lnTo>
                    <a:lnTo>
                      <a:pt x="719" y="392"/>
                    </a:lnTo>
                    <a:lnTo>
                      <a:pt x="719" y="390"/>
                    </a:lnTo>
                    <a:lnTo>
                      <a:pt x="720" y="390"/>
                    </a:lnTo>
                    <a:lnTo>
                      <a:pt x="720" y="392"/>
                    </a:lnTo>
                    <a:lnTo>
                      <a:pt x="722" y="392"/>
                    </a:lnTo>
                    <a:lnTo>
                      <a:pt x="724" y="392"/>
                    </a:lnTo>
                    <a:lnTo>
                      <a:pt x="725" y="392"/>
                    </a:lnTo>
                    <a:lnTo>
                      <a:pt x="724" y="395"/>
                    </a:lnTo>
                    <a:lnTo>
                      <a:pt x="724" y="396"/>
                    </a:lnTo>
                    <a:lnTo>
                      <a:pt x="724" y="403"/>
                    </a:lnTo>
                    <a:lnTo>
                      <a:pt x="730" y="408"/>
                    </a:lnTo>
                    <a:lnTo>
                      <a:pt x="730" y="411"/>
                    </a:lnTo>
                    <a:lnTo>
                      <a:pt x="725" y="419"/>
                    </a:lnTo>
                    <a:lnTo>
                      <a:pt x="722" y="427"/>
                    </a:lnTo>
                    <a:lnTo>
                      <a:pt x="716" y="433"/>
                    </a:lnTo>
                    <a:lnTo>
                      <a:pt x="706" y="436"/>
                    </a:lnTo>
                    <a:lnTo>
                      <a:pt x="700" y="444"/>
                    </a:lnTo>
                    <a:lnTo>
                      <a:pt x="695" y="454"/>
                    </a:lnTo>
                    <a:lnTo>
                      <a:pt x="690" y="461"/>
                    </a:lnTo>
                    <a:lnTo>
                      <a:pt x="684" y="473"/>
                    </a:lnTo>
                    <a:lnTo>
                      <a:pt x="681" y="487"/>
                    </a:lnTo>
                    <a:lnTo>
                      <a:pt x="678" y="512"/>
                    </a:lnTo>
                    <a:lnTo>
                      <a:pt x="678" y="523"/>
                    </a:lnTo>
                    <a:lnTo>
                      <a:pt x="678" y="537"/>
                    </a:lnTo>
                    <a:lnTo>
                      <a:pt x="679" y="553"/>
                    </a:lnTo>
                    <a:lnTo>
                      <a:pt x="681" y="563"/>
                    </a:lnTo>
                    <a:lnTo>
                      <a:pt x="679" y="583"/>
                    </a:lnTo>
                    <a:lnTo>
                      <a:pt x="678" y="590"/>
                    </a:lnTo>
                    <a:lnTo>
                      <a:pt x="678" y="599"/>
                    </a:lnTo>
                    <a:lnTo>
                      <a:pt x="674" y="609"/>
                    </a:lnTo>
                    <a:lnTo>
                      <a:pt x="671" y="613"/>
                    </a:lnTo>
                    <a:lnTo>
                      <a:pt x="670" y="620"/>
                    </a:lnTo>
                    <a:lnTo>
                      <a:pt x="670" y="623"/>
                    </a:lnTo>
                    <a:lnTo>
                      <a:pt x="668" y="625"/>
                    </a:lnTo>
                    <a:lnTo>
                      <a:pt x="668" y="626"/>
                    </a:lnTo>
                    <a:lnTo>
                      <a:pt x="667" y="626"/>
                    </a:lnTo>
                    <a:lnTo>
                      <a:pt x="667" y="628"/>
                    </a:lnTo>
                    <a:lnTo>
                      <a:pt x="665" y="626"/>
                    </a:lnTo>
                    <a:lnTo>
                      <a:pt x="663" y="626"/>
                    </a:lnTo>
                    <a:lnTo>
                      <a:pt x="662" y="626"/>
                    </a:lnTo>
                    <a:lnTo>
                      <a:pt x="662" y="628"/>
                    </a:lnTo>
                    <a:lnTo>
                      <a:pt x="662" y="629"/>
                    </a:lnTo>
                    <a:lnTo>
                      <a:pt x="660" y="629"/>
                    </a:lnTo>
                    <a:lnTo>
                      <a:pt x="659" y="629"/>
                    </a:lnTo>
                    <a:lnTo>
                      <a:pt x="657" y="629"/>
                    </a:lnTo>
                    <a:lnTo>
                      <a:pt x="655" y="629"/>
                    </a:lnTo>
                    <a:lnTo>
                      <a:pt x="654" y="629"/>
                    </a:lnTo>
                    <a:lnTo>
                      <a:pt x="654" y="631"/>
                    </a:lnTo>
                    <a:lnTo>
                      <a:pt x="652" y="631"/>
                    </a:lnTo>
                    <a:lnTo>
                      <a:pt x="652" y="632"/>
                    </a:lnTo>
                    <a:lnTo>
                      <a:pt x="651" y="632"/>
                    </a:lnTo>
                    <a:lnTo>
                      <a:pt x="649" y="632"/>
                    </a:lnTo>
                    <a:lnTo>
                      <a:pt x="649" y="631"/>
                    </a:lnTo>
                    <a:lnTo>
                      <a:pt x="648" y="632"/>
                    </a:lnTo>
                    <a:lnTo>
                      <a:pt x="648" y="634"/>
                    </a:lnTo>
                    <a:lnTo>
                      <a:pt x="649" y="634"/>
                    </a:lnTo>
                    <a:lnTo>
                      <a:pt x="649" y="636"/>
                    </a:lnTo>
                    <a:lnTo>
                      <a:pt x="649" y="637"/>
                    </a:lnTo>
                    <a:lnTo>
                      <a:pt x="651" y="637"/>
                    </a:lnTo>
                    <a:lnTo>
                      <a:pt x="649" y="637"/>
                    </a:lnTo>
                    <a:lnTo>
                      <a:pt x="649" y="639"/>
                    </a:lnTo>
                    <a:lnTo>
                      <a:pt x="648" y="639"/>
                    </a:lnTo>
                    <a:lnTo>
                      <a:pt x="646" y="639"/>
                    </a:lnTo>
                    <a:lnTo>
                      <a:pt x="644" y="639"/>
                    </a:lnTo>
                    <a:lnTo>
                      <a:pt x="644" y="637"/>
                    </a:lnTo>
                    <a:lnTo>
                      <a:pt x="643" y="637"/>
                    </a:lnTo>
                    <a:lnTo>
                      <a:pt x="641" y="636"/>
                    </a:lnTo>
                    <a:lnTo>
                      <a:pt x="640" y="636"/>
                    </a:lnTo>
                    <a:lnTo>
                      <a:pt x="638" y="634"/>
                    </a:lnTo>
                    <a:lnTo>
                      <a:pt x="636" y="634"/>
                    </a:lnTo>
                    <a:lnTo>
                      <a:pt x="636" y="636"/>
                    </a:lnTo>
                    <a:lnTo>
                      <a:pt x="635" y="637"/>
                    </a:lnTo>
                    <a:lnTo>
                      <a:pt x="635" y="639"/>
                    </a:lnTo>
                    <a:lnTo>
                      <a:pt x="633" y="640"/>
                    </a:lnTo>
                    <a:lnTo>
                      <a:pt x="632" y="640"/>
                    </a:lnTo>
                    <a:lnTo>
                      <a:pt x="630" y="640"/>
                    </a:lnTo>
                    <a:lnTo>
                      <a:pt x="628" y="640"/>
                    </a:lnTo>
                    <a:lnTo>
                      <a:pt x="627" y="640"/>
                    </a:lnTo>
                    <a:lnTo>
                      <a:pt x="625" y="640"/>
                    </a:lnTo>
                    <a:lnTo>
                      <a:pt x="624" y="640"/>
                    </a:lnTo>
                    <a:lnTo>
                      <a:pt x="622" y="642"/>
                    </a:lnTo>
                    <a:lnTo>
                      <a:pt x="622" y="644"/>
                    </a:lnTo>
                    <a:lnTo>
                      <a:pt x="621" y="645"/>
                    </a:lnTo>
                    <a:lnTo>
                      <a:pt x="621" y="644"/>
                    </a:lnTo>
                    <a:lnTo>
                      <a:pt x="619" y="644"/>
                    </a:lnTo>
                    <a:lnTo>
                      <a:pt x="619" y="642"/>
                    </a:lnTo>
                    <a:lnTo>
                      <a:pt x="617" y="642"/>
                    </a:lnTo>
                    <a:lnTo>
                      <a:pt x="616" y="642"/>
                    </a:lnTo>
                    <a:lnTo>
                      <a:pt x="616" y="644"/>
                    </a:lnTo>
                    <a:lnTo>
                      <a:pt x="614" y="644"/>
                    </a:lnTo>
                    <a:lnTo>
                      <a:pt x="613" y="645"/>
                    </a:lnTo>
                    <a:lnTo>
                      <a:pt x="611" y="645"/>
                    </a:lnTo>
                    <a:lnTo>
                      <a:pt x="609" y="645"/>
                    </a:lnTo>
                    <a:lnTo>
                      <a:pt x="608" y="645"/>
                    </a:lnTo>
                    <a:lnTo>
                      <a:pt x="606" y="645"/>
                    </a:lnTo>
                    <a:lnTo>
                      <a:pt x="605" y="645"/>
                    </a:lnTo>
                    <a:lnTo>
                      <a:pt x="605" y="647"/>
                    </a:lnTo>
                    <a:lnTo>
                      <a:pt x="603" y="647"/>
                    </a:lnTo>
                    <a:lnTo>
                      <a:pt x="602" y="647"/>
                    </a:lnTo>
                    <a:lnTo>
                      <a:pt x="600" y="648"/>
                    </a:lnTo>
                    <a:lnTo>
                      <a:pt x="598" y="648"/>
                    </a:lnTo>
                    <a:lnTo>
                      <a:pt x="598" y="650"/>
                    </a:lnTo>
                    <a:lnTo>
                      <a:pt x="597" y="652"/>
                    </a:lnTo>
                    <a:lnTo>
                      <a:pt x="595" y="652"/>
                    </a:lnTo>
                    <a:lnTo>
                      <a:pt x="594" y="653"/>
                    </a:lnTo>
                    <a:lnTo>
                      <a:pt x="592" y="653"/>
                    </a:lnTo>
                    <a:lnTo>
                      <a:pt x="592" y="655"/>
                    </a:lnTo>
                    <a:lnTo>
                      <a:pt x="590" y="655"/>
                    </a:lnTo>
                    <a:lnTo>
                      <a:pt x="589" y="656"/>
                    </a:lnTo>
                    <a:lnTo>
                      <a:pt x="587" y="658"/>
                    </a:lnTo>
                    <a:lnTo>
                      <a:pt x="586" y="658"/>
                    </a:lnTo>
                    <a:lnTo>
                      <a:pt x="584" y="658"/>
                    </a:lnTo>
                    <a:lnTo>
                      <a:pt x="583" y="658"/>
                    </a:lnTo>
                    <a:lnTo>
                      <a:pt x="581" y="659"/>
                    </a:lnTo>
                    <a:lnTo>
                      <a:pt x="579" y="659"/>
                    </a:lnTo>
                    <a:lnTo>
                      <a:pt x="576" y="659"/>
                    </a:lnTo>
                    <a:lnTo>
                      <a:pt x="576" y="661"/>
                    </a:lnTo>
                    <a:lnTo>
                      <a:pt x="576" y="663"/>
                    </a:lnTo>
                    <a:lnTo>
                      <a:pt x="578" y="667"/>
                    </a:lnTo>
                    <a:lnTo>
                      <a:pt x="581" y="671"/>
                    </a:lnTo>
                    <a:lnTo>
                      <a:pt x="581" y="672"/>
                    </a:lnTo>
                    <a:lnTo>
                      <a:pt x="581" y="674"/>
                    </a:lnTo>
                    <a:lnTo>
                      <a:pt x="581" y="675"/>
                    </a:lnTo>
                    <a:lnTo>
                      <a:pt x="579" y="677"/>
                    </a:lnTo>
                    <a:lnTo>
                      <a:pt x="579" y="683"/>
                    </a:lnTo>
                    <a:lnTo>
                      <a:pt x="578" y="685"/>
                    </a:lnTo>
                    <a:lnTo>
                      <a:pt x="578" y="690"/>
                    </a:lnTo>
                    <a:lnTo>
                      <a:pt x="578" y="697"/>
                    </a:lnTo>
                    <a:lnTo>
                      <a:pt x="576" y="699"/>
                    </a:lnTo>
                    <a:lnTo>
                      <a:pt x="576" y="704"/>
                    </a:lnTo>
                    <a:lnTo>
                      <a:pt x="576" y="705"/>
                    </a:lnTo>
                    <a:lnTo>
                      <a:pt x="576" y="707"/>
                    </a:lnTo>
                    <a:lnTo>
                      <a:pt x="575" y="710"/>
                    </a:lnTo>
                    <a:lnTo>
                      <a:pt x="573" y="715"/>
                    </a:lnTo>
                    <a:lnTo>
                      <a:pt x="571" y="720"/>
                    </a:lnTo>
                    <a:lnTo>
                      <a:pt x="570" y="721"/>
                    </a:lnTo>
                    <a:lnTo>
                      <a:pt x="570" y="723"/>
                    </a:lnTo>
                    <a:lnTo>
                      <a:pt x="568" y="723"/>
                    </a:lnTo>
                    <a:lnTo>
                      <a:pt x="565" y="728"/>
                    </a:lnTo>
                    <a:lnTo>
                      <a:pt x="565" y="729"/>
                    </a:lnTo>
                    <a:lnTo>
                      <a:pt x="564" y="731"/>
                    </a:lnTo>
                    <a:lnTo>
                      <a:pt x="562" y="732"/>
                    </a:lnTo>
                    <a:lnTo>
                      <a:pt x="560" y="737"/>
                    </a:lnTo>
                    <a:lnTo>
                      <a:pt x="559" y="739"/>
                    </a:lnTo>
                    <a:lnTo>
                      <a:pt x="559" y="740"/>
                    </a:lnTo>
                    <a:lnTo>
                      <a:pt x="559" y="742"/>
                    </a:lnTo>
                    <a:lnTo>
                      <a:pt x="557" y="743"/>
                    </a:lnTo>
                    <a:lnTo>
                      <a:pt x="557" y="745"/>
                    </a:lnTo>
                    <a:lnTo>
                      <a:pt x="556" y="747"/>
                    </a:lnTo>
                    <a:lnTo>
                      <a:pt x="554" y="747"/>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35" name="Freeform 115"/>
              <p:cNvSpPr>
                <a:spLocks/>
              </p:cNvSpPr>
              <p:nvPr/>
            </p:nvSpPr>
            <p:spPr bwMode="auto">
              <a:xfrm>
                <a:off x="2089" y="2078"/>
                <a:ext cx="898" cy="1089"/>
              </a:xfrm>
              <a:custGeom>
                <a:avLst/>
                <a:gdLst>
                  <a:gd name="T0" fmla="*/ 697 w 898"/>
                  <a:gd name="T1" fmla="*/ 580 h 1089"/>
                  <a:gd name="T2" fmla="*/ 678 w 898"/>
                  <a:gd name="T3" fmla="*/ 590 h 1089"/>
                  <a:gd name="T4" fmla="*/ 662 w 898"/>
                  <a:gd name="T5" fmla="*/ 613 h 1089"/>
                  <a:gd name="T6" fmla="*/ 854 w 898"/>
                  <a:gd name="T7" fmla="*/ 819 h 1089"/>
                  <a:gd name="T8" fmla="*/ 878 w 898"/>
                  <a:gd name="T9" fmla="*/ 887 h 1089"/>
                  <a:gd name="T10" fmla="*/ 857 w 898"/>
                  <a:gd name="T11" fmla="*/ 892 h 1089"/>
                  <a:gd name="T12" fmla="*/ 846 w 898"/>
                  <a:gd name="T13" fmla="*/ 873 h 1089"/>
                  <a:gd name="T14" fmla="*/ 833 w 898"/>
                  <a:gd name="T15" fmla="*/ 856 h 1089"/>
                  <a:gd name="T16" fmla="*/ 826 w 898"/>
                  <a:gd name="T17" fmla="*/ 838 h 1089"/>
                  <a:gd name="T18" fmla="*/ 821 w 898"/>
                  <a:gd name="T19" fmla="*/ 822 h 1089"/>
                  <a:gd name="T20" fmla="*/ 813 w 898"/>
                  <a:gd name="T21" fmla="*/ 810 h 1089"/>
                  <a:gd name="T22" fmla="*/ 799 w 898"/>
                  <a:gd name="T23" fmla="*/ 814 h 1089"/>
                  <a:gd name="T24" fmla="*/ 783 w 898"/>
                  <a:gd name="T25" fmla="*/ 829 h 1089"/>
                  <a:gd name="T26" fmla="*/ 765 w 898"/>
                  <a:gd name="T27" fmla="*/ 841 h 1089"/>
                  <a:gd name="T28" fmla="*/ 748 w 898"/>
                  <a:gd name="T29" fmla="*/ 843 h 1089"/>
                  <a:gd name="T30" fmla="*/ 742 w 898"/>
                  <a:gd name="T31" fmla="*/ 851 h 1089"/>
                  <a:gd name="T32" fmla="*/ 737 w 898"/>
                  <a:gd name="T33" fmla="*/ 865 h 1089"/>
                  <a:gd name="T34" fmla="*/ 740 w 898"/>
                  <a:gd name="T35" fmla="*/ 889 h 1089"/>
                  <a:gd name="T36" fmla="*/ 748 w 898"/>
                  <a:gd name="T37" fmla="*/ 903 h 1089"/>
                  <a:gd name="T38" fmla="*/ 743 w 898"/>
                  <a:gd name="T39" fmla="*/ 917 h 1089"/>
                  <a:gd name="T40" fmla="*/ 732 w 898"/>
                  <a:gd name="T41" fmla="*/ 935 h 1089"/>
                  <a:gd name="T42" fmla="*/ 716 w 898"/>
                  <a:gd name="T43" fmla="*/ 954 h 1089"/>
                  <a:gd name="T44" fmla="*/ 677 w 898"/>
                  <a:gd name="T45" fmla="*/ 973 h 1089"/>
                  <a:gd name="T46" fmla="*/ 651 w 898"/>
                  <a:gd name="T47" fmla="*/ 984 h 1089"/>
                  <a:gd name="T48" fmla="*/ 678 w 898"/>
                  <a:gd name="T49" fmla="*/ 1012 h 1089"/>
                  <a:gd name="T50" fmla="*/ 683 w 898"/>
                  <a:gd name="T51" fmla="*/ 1033 h 1089"/>
                  <a:gd name="T52" fmla="*/ 700 w 898"/>
                  <a:gd name="T53" fmla="*/ 1052 h 1089"/>
                  <a:gd name="T54" fmla="*/ 694 w 898"/>
                  <a:gd name="T55" fmla="*/ 1068 h 1089"/>
                  <a:gd name="T56" fmla="*/ 681 w 898"/>
                  <a:gd name="T57" fmla="*/ 1081 h 1089"/>
                  <a:gd name="T58" fmla="*/ 637 w 898"/>
                  <a:gd name="T59" fmla="*/ 1081 h 1089"/>
                  <a:gd name="T60" fmla="*/ 632 w 898"/>
                  <a:gd name="T61" fmla="*/ 1043 h 1089"/>
                  <a:gd name="T62" fmla="*/ 567 w 898"/>
                  <a:gd name="T63" fmla="*/ 1035 h 1089"/>
                  <a:gd name="T64" fmla="*/ 537 w 898"/>
                  <a:gd name="T65" fmla="*/ 1024 h 1089"/>
                  <a:gd name="T66" fmla="*/ 510 w 898"/>
                  <a:gd name="T67" fmla="*/ 971 h 1089"/>
                  <a:gd name="T68" fmla="*/ 479 w 898"/>
                  <a:gd name="T69" fmla="*/ 951 h 1089"/>
                  <a:gd name="T70" fmla="*/ 445 w 898"/>
                  <a:gd name="T71" fmla="*/ 929 h 1089"/>
                  <a:gd name="T72" fmla="*/ 426 w 898"/>
                  <a:gd name="T73" fmla="*/ 936 h 1089"/>
                  <a:gd name="T74" fmla="*/ 399 w 898"/>
                  <a:gd name="T75" fmla="*/ 932 h 1089"/>
                  <a:gd name="T76" fmla="*/ 349 w 898"/>
                  <a:gd name="T77" fmla="*/ 940 h 1089"/>
                  <a:gd name="T78" fmla="*/ 301 w 898"/>
                  <a:gd name="T79" fmla="*/ 891 h 1089"/>
                  <a:gd name="T80" fmla="*/ 260 w 898"/>
                  <a:gd name="T81" fmla="*/ 835 h 1089"/>
                  <a:gd name="T82" fmla="*/ 244 w 898"/>
                  <a:gd name="T83" fmla="*/ 795 h 1089"/>
                  <a:gd name="T84" fmla="*/ 211 w 898"/>
                  <a:gd name="T85" fmla="*/ 732 h 1089"/>
                  <a:gd name="T86" fmla="*/ 163 w 898"/>
                  <a:gd name="T87" fmla="*/ 604 h 1089"/>
                  <a:gd name="T88" fmla="*/ 116 w 898"/>
                  <a:gd name="T89" fmla="*/ 496 h 1089"/>
                  <a:gd name="T90" fmla="*/ 75 w 898"/>
                  <a:gd name="T91" fmla="*/ 418 h 1089"/>
                  <a:gd name="T92" fmla="*/ 8 w 898"/>
                  <a:gd name="T93" fmla="*/ 347 h 1089"/>
                  <a:gd name="T94" fmla="*/ 87 w 898"/>
                  <a:gd name="T95" fmla="*/ 265 h 1089"/>
                  <a:gd name="T96" fmla="*/ 95 w 898"/>
                  <a:gd name="T97" fmla="*/ 243 h 1089"/>
                  <a:gd name="T98" fmla="*/ 106 w 898"/>
                  <a:gd name="T99" fmla="*/ 230 h 1089"/>
                  <a:gd name="T100" fmla="*/ 125 w 898"/>
                  <a:gd name="T101" fmla="*/ 219 h 1089"/>
                  <a:gd name="T102" fmla="*/ 125 w 898"/>
                  <a:gd name="T103" fmla="*/ 195 h 1089"/>
                  <a:gd name="T104" fmla="*/ 122 w 898"/>
                  <a:gd name="T105" fmla="*/ 178 h 1089"/>
                  <a:gd name="T106" fmla="*/ 119 w 898"/>
                  <a:gd name="T107" fmla="*/ 157 h 1089"/>
                  <a:gd name="T108" fmla="*/ 100 w 898"/>
                  <a:gd name="T109" fmla="*/ 152 h 1089"/>
                  <a:gd name="T110" fmla="*/ 92 w 898"/>
                  <a:gd name="T111" fmla="*/ 132 h 1089"/>
                  <a:gd name="T112" fmla="*/ 67 w 898"/>
                  <a:gd name="T113" fmla="*/ 78 h 1089"/>
                  <a:gd name="T114" fmla="*/ 59 w 898"/>
                  <a:gd name="T115" fmla="*/ 57 h 1089"/>
                  <a:gd name="T116" fmla="*/ 56 w 898"/>
                  <a:gd name="T117" fmla="*/ 32 h 1089"/>
                  <a:gd name="T118" fmla="*/ 49 w 898"/>
                  <a:gd name="T119" fmla="*/ 7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8" h="1089">
                    <a:moveTo>
                      <a:pt x="713" y="571"/>
                    </a:moveTo>
                    <a:lnTo>
                      <a:pt x="713" y="572"/>
                    </a:lnTo>
                    <a:lnTo>
                      <a:pt x="713" y="574"/>
                    </a:lnTo>
                    <a:lnTo>
                      <a:pt x="711" y="574"/>
                    </a:lnTo>
                    <a:lnTo>
                      <a:pt x="711" y="575"/>
                    </a:lnTo>
                    <a:lnTo>
                      <a:pt x="711" y="577"/>
                    </a:lnTo>
                    <a:lnTo>
                      <a:pt x="710" y="578"/>
                    </a:lnTo>
                    <a:lnTo>
                      <a:pt x="710" y="582"/>
                    </a:lnTo>
                    <a:lnTo>
                      <a:pt x="708" y="582"/>
                    </a:lnTo>
                    <a:lnTo>
                      <a:pt x="707" y="582"/>
                    </a:lnTo>
                    <a:lnTo>
                      <a:pt x="705" y="582"/>
                    </a:lnTo>
                    <a:lnTo>
                      <a:pt x="704" y="582"/>
                    </a:lnTo>
                    <a:lnTo>
                      <a:pt x="702" y="582"/>
                    </a:lnTo>
                    <a:lnTo>
                      <a:pt x="700" y="582"/>
                    </a:lnTo>
                    <a:lnTo>
                      <a:pt x="700" y="580"/>
                    </a:lnTo>
                    <a:lnTo>
                      <a:pt x="699" y="582"/>
                    </a:lnTo>
                    <a:lnTo>
                      <a:pt x="697" y="580"/>
                    </a:lnTo>
                    <a:lnTo>
                      <a:pt x="696" y="582"/>
                    </a:lnTo>
                    <a:lnTo>
                      <a:pt x="694" y="583"/>
                    </a:lnTo>
                    <a:lnTo>
                      <a:pt x="692" y="586"/>
                    </a:lnTo>
                    <a:lnTo>
                      <a:pt x="691" y="588"/>
                    </a:lnTo>
                    <a:lnTo>
                      <a:pt x="689" y="588"/>
                    </a:lnTo>
                    <a:lnTo>
                      <a:pt x="689" y="586"/>
                    </a:lnTo>
                    <a:lnTo>
                      <a:pt x="688" y="585"/>
                    </a:lnTo>
                    <a:lnTo>
                      <a:pt x="686" y="583"/>
                    </a:lnTo>
                    <a:lnTo>
                      <a:pt x="685" y="580"/>
                    </a:lnTo>
                    <a:lnTo>
                      <a:pt x="683" y="578"/>
                    </a:lnTo>
                    <a:lnTo>
                      <a:pt x="681" y="578"/>
                    </a:lnTo>
                    <a:lnTo>
                      <a:pt x="680" y="578"/>
                    </a:lnTo>
                    <a:lnTo>
                      <a:pt x="680" y="580"/>
                    </a:lnTo>
                    <a:lnTo>
                      <a:pt x="678" y="582"/>
                    </a:lnTo>
                    <a:lnTo>
                      <a:pt x="678" y="583"/>
                    </a:lnTo>
                    <a:lnTo>
                      <a:pt x="678" y="585"/>
                    </a:lnTo>
                    <a:lnTo>
                      <a:pt x="678" y="590"/>
                    </a:lnTo>
                    <a:lnTo>
                      <a:pt x="678" y="591"/>
                    </a:lnTo>
                    <a:lnTo>
                      <a:pt x="677" y="593"/>
                    </a:lnTo>
                    <a:lnTo>
                      <a:pt x="677" y="594"/>
                    </a:lnTo>
                    <a:lnTo>
                      <a:pt x="675" y="594"/>
                    </a:lnTo>
                    <a:lnTo>
                      <a:pt x="675" y="596"/>
                    </a:lnTo>
                    <a:lnTo>
                      <a:pt x="675" y="597"/>
                    </a:lnTo>
                    <a:lnTo>
                      <a:pt x="672" y="601"/>
                    </a:lnTo>
                    <a:lnTo>
                      <a:pt x="670" y="601"/>
                    </a:lnTo>
                    <a:lnTo>
                      <a:pt x="670" y="602"/>
                    </a:lnTo>
                    <a:lnTo>
                      <a:pt x="669" y="602"/>
                    </a:lnTo>
                    <a:lnTo>
                      <a:pt x="669" y="604"/>
                    </a:lnTo>
                    <a:lnTo>
                      <a:pt x="667" y="605"/>
                    </a:lnTo>
                    <a:lnTo>
                      <a:pt x="667" y="607"/>
                    </a:lnTo>
                    <a:lnTo>
                      <a:pt x="666" y="607"/>
                    </a:lnTo>
                    <a:lnTo>
                      <a:pt x="662" y="610"/>
                    </a:lnTo>
                    <a:lnTo>
                      <a:pt x="662" y="612"/>
                    </a:lnTo>
                    <a:lnTo>
                      <a:pt x="662" y="613"/>
                    </a:lnTo>
                    <a:lnTo>
                      <a:pt x="662" y="615"/>
                    </a:lnTo>
                    <a:lnTo>
                      <a:pt x="661" y="615"/>
                    </a:lnTo>
                    <a:lnTo>
                      <a:pt x="661" y="616"/>
                    </a:lnTo>
                    <a:lnTo>
                      <a:pt x="659" y="618"/>
                    </a:lnTo>
                    <a:lnTo>
                      <a:pt x="659" y="620"/>
                    </a:lnTo>
                    <a:lnTo>
                      <a:pt x="659" y="621"/>
                    </a:lnTo>
                    <a:lnTo>
                      <a:pt x="658" y="624"/>
                    </a:lnTo>
                    <a:lnTo>
                      <a:pt x="658" y="626"/>
                    </a:lnTo>
                    <a:lnTo>
                      <a:pt x="656" y="628"/>
                    </a:lnTo>
                    <a:lnTo>
                      <a:pt x="656" y="629"/>
                    </a:lnTo>
                    <a:lnTo>
                      <a:pt x="654" y="629"/>
                    </a:lnTo>
                    <a:lnTo>
                      <a:pt x="654" y="631"/>
                    </a:lnTo>
                    <a:lnTo>
                      <a:pt x="645" y="666"/>
                    </a:lnTo>
                    <a:lnTo>
                      <a:pt x="719" y="702"/>
                    </a:lnTo>
                    <a:lnTo>
                      <a:pt x="784" y="746"/>
                    </a:lnTo>
                    <a:lnTo>
                      <a:pt x="808" y="762"/>
                    </a:lnTo>
                    <a:lnTo>
                      <a:pt x="854" y="819"/>
                    </a:lnTo>
                    <a:lnTo>
                      <a:pt x="864" y="832"/>
                    </a:lnTo>
                    <a:lnTo>
                      <a:pt x="898" y="884"/>
                    </a:lnTo>
                    <a:lnTo>
                      <a:pt x="897" y="887"/>
                    </a:lnTo>
                    <a:lnTo>
                      <a:pt x="897" y="891"/>
                    </a:lnTo>
                    <a:lnTo>
                      <a:pt x="894" y="892"/>
                    </a:lnTo>
                    <a:lnTo>
                      <a:pt x="892" y="891"/>
                    </a:lnTo>
                    <a:lnTo>
                      <a:pt x="890" y="891"/>
                    </a:lnTo>
                    <a:lnTo>
                      <a:pt x="890" y="889"/>
                    </a:lnTo>
                    <a:lnTo>
                      <a:pt x="889" y="889"/>
                    </a:lnTo>
                    <a:lnTo>
                      <a:pt x="887" y="889"/>
                    </a:lnTo>
                    <a:lnTo>
                      <a:pt x="887" y="887"/>
                    </a:lnTo>
                    <a:lnTo>
                      <a:pt x="886" y="887"/>
                    </a:lnTo>
                    <a:lnTo>
                      <a:pt x="884" y="887"/>
                    </a:lnTo>
                    <a:lnTo>
                      <a:pt x="883" y="887"/>
                    </a:lnTo>
                    <a:lnTo>
                      <a:pt x="881" y="887"/>
                    </a:lnTo>
                    <a:lnTo>
                      <a:pt x="879" y="887"/>
                    </a:lnTo>
                    <a:lnTo>
                      <a:pt x="878" y="887"/>
                    </a:lnTo>
                    <a:lnTo>
                      <a:pt x="876" y="887"/>
                    </a:lnTo>
                    <a:lnTo>
                      <a:pt x="875" y="887"/>
                    </a:lnTo>
                    <a:lnTo>
                      <a:pt x="873" y="887"/>
                    </a:lnTo>
                    <a:lnTo>
                      <a:pt x="871" y="887"/>
                    </a:lnTo>
                    <a:lnTo>
                      <a:pt x="870" y="887"/>
                    </a:lnTo>
                    <a:lnTo>
                      <a:pt x="870" y="889"/>
                    </a:lnTo>
                    <a:lnTo>
                      <a:pt x="868" y="889"/>
                    </a:lnTo>
                    <a:lnTo>
                      <a:pt x="868" y="891"/>
                    </a:lnTo>
                    <a:lnTo>
                      <a:pt x="867" y="891"/>
                    </a:lnTo>
                    <a:lnTo>
                      <a:pt x="867" y="892"/>
                    </a:lnTo>
                    <a:lnTo>
                      <a:pt x="865" y="892"/>
                    </a:lnTo>
                    <a:lnTo>
                      <a:pt x="864" y="892"/>
                    </a:lnTo>
                    <a:lnTo>
                      <a:pt x="864" y="894"/>
                    </a:lnTo>
                    <a:lnTo>
                      <a:pt x="862" y="892"/>
                    </a:lnTo>
                    <a:lnTo>
                      <a:pt x="860" y="892"/>
                    </a:lnTo>
                    <a:lnTo>
                      <a:pt x="859" y="892"/>
                    </a:lnTo>
                    <a:lnTo>
                      <a:pt x="857" y="892"/>
                    </a:lnTo>
                    <a:lnTo>
                      <a:pt x="857" y="891"/>
                    </a:lnTo>
                    <a:lnTo>
                      <a:pt x="856" y="891"/>
                    </a:lnTo>
                    <a:lnTo>
                      <a:pt x="856" y="889"/>
                    </a:lnTo>
                    <a:lnTo>
                      <a:pt x="854" y="889"/>
                    </a:lnTo>
                    <a:lnTo>
                      <a:pt x="852" y="889"/>
                    </a:lnTo>
                    <a:lnTo>
                      <a:pt x="852" y="887"/>
                    </a:lnTo>
                    <a:lnTo>
                      <a:pt x="851" y="887"/>
                    </a:lnTo>
                    <a:lnTo>
                      <a:pt x="851" y="886"/>
                    </a:lnTo>
                    <a:lnTo>
                      <a:pt x="849" y="884"/>
                    </a:lnTo>
                    <a:lnTo>
                      <a:pt x="849" y="883"/>
                    </a:lnTo>
                    <a:lnTo>
                      <a:pt x="848" y="883"/>
                    </a:lnTo>
                    <a:lnTo>
                      <a:pt x="848" y="881"/>
                    </a:lnTo>
                    <a:lnTo>
                      <a:pt x="846" y="879"/>
                    </a:lnTo>
                    <a:lnTo>
                      <a:pt x="846" y="878"/>
                    </a:lnTo>
                    <a:lnTo>
                      <a:pt x="846" y="876"/>
                    </a:lnTo>
                    <a:lnTo>
                      <a:pt x="846" y="875"/>
                    </a:lnTo>
                    <a:lnTo>
                      <a:pt x="846" y="873"/>
                    </a:lnTo>
                    <a:lnTo>
                      <a:pt x="846" y="872"/>
                    </a:lnTo>
                    <a:lnTo>
                      <a:pt x="845" y="870"/>
                    </a:lnTo>
                    <a:lnTo>
                      <a:pt x="845" y="868"/>
                    </a:lnTo>
                    <a:lnTo>
                      <a:pt x="843" y="868"/>
                    </a:lnTo>
                    <a:lnTo>
                      <a:pt x="843" y="867"/>
                    </a:lnTo>
                    <a:lnTo>
                      <a:pt x="841" y="867"/>
                    </a:lnTo>
                    <a:lnTo>
                      <a:pt x="841" y="865"/>
                    </a:lnTo>
                    <a:lnTo>
                      <a:pt x="840" y="864"/>
                    </a:lnTo>
                    <a:lnTo>
                      <a:pt x="838" y="864"/>
                    </a:lnTo>
                    <a:lnTo>
                      <a:pt x="838" y="862"/>
                    </a:lnTo>
                    <a:lnTo>
                      <a:pt x="837" y="862"/>
                    </a:lnTo>
                    <a:lnTo>
                      <a:pt x="837" y="860"/>
                    </a:lnTo>
                    <a:lnTo>
                      <a:pt x="837" y="859"/>
                    </a:lnTo>
                    <a:lnTo>
                      <a:pt x="837" y="857"/>
                    </a:lnTo>
                    <a:lnTo>
                      <a:pt x="835" y="857"/>
                    </a:lnTo>
                    <a:lnTo>
                      <a:pt x="835" y="856"/>
                    </a:lnTo>
                    <a:lnTo>
                      <a:pt x="833" y="856"/>
                    </a:lnTo>
                    <a:lnTo>
                      <a:pt x="832" y="856"/>
                    </a:lnTo>
                    <a:lnTo>
                      <a:pt x="830" y="854"/>
                    </a:lnTo>
                    <a:lnTo>
                      <a:pt x="829" y="853"/>
                    </a:lnTo>
                    <a:lnTo>
                      <a:pt x="827" y="853"/>
                    </a:lnTo>
                    <a:lnTo>
                      <a:pt x="827" y="851"/>
                    </a:lnTo>
                    <a:lnTo>
                      <a:pt x="826" y="851"/>
                    </a:lnTo>
                    <a:lnTo>
                      <a:pt x="824" y="849"/>
                    </a:lnTo>
                    <a:lnTo>
                      <a:pt x="822" y="849"/>
                    </a:lnTo>
                    <a:lnTo>
                      <a:pt x="822" y="848"/>
                    </a:lnTo>
                    <a:lnTo>
                      <a:pt x="824" y="848"/>
                    </a:lnTo>
                    <a:lnTo>
                      <a:pt x="824" y="846"/>
                    </a:lnTo>
                    <a:lnTo>
                      <a:pt x="824" y="845"/>
                    </a:lnTo>
                    <a:lnTo>
                      <a:pt x="824" y="843"/>
                    </a:lnTo>
                    <a:lnTo>
                      <a:pt x="824" y="841"/>
                    </a:lnTo>
                    <a:lnTo>
                      <a:pt x="824" y="840"/>
                    </a:lnTo>
                    <a:lnTo>
                      <a:pt x="824" y="838"/>
                    </a:lnTo>
                    <a:lnTo>
                      <a:pt x="826" y="838"/>
                    </a:lnTo>
                    <a:lnTo>
                      <a:pt x="826" y="837"/>
                    </a:lnTo>
                    <a:lnTo>
                      <a:pt x="826" y="835"/>
                    </a:lnTo>
                    <a:lnTo>
                      <a:pt x="827" y="835"/>
                    </a:lnTo>
                    <a:lnTo>
                      <a:pt x="827" y="833"/>
                    </a:lnTo>
                    <a:lnTo>
                      <a:pt x="827" y="832"/>
                    </a:lnTo>
                    <a:lnTo>
                      <a:pt x="826" y="830"/>
                    </a:lnTo>
                    <a:lnTo>
                      <a:pt x="824" y="830"/>
                    </a:lnTo>
                    <a:lnTo>
                      <a:pt x="824" y="832"/>
                    </a:lnTo>
                    <a:lnTo>
                      <a:pt x="822" y="832"/>
                    </a:lnTo>
                    <a:lnTo>
                      <a:pt x="821" y="832"/>
                    </a:lnTo>
                    <a:lnTo>
                      <a:pt x="819" y="830"/>
                    </a:lnTo>
                    <a:lnTo>
                      <a:pt x="819" y="829"/>
                    </a:lnTo>
                    <a:lnTo>
                      <a:pt x="819" y="827"/>
                    </a:lnTo>
                    <a:lnTo>
                      <a:pt x="819" y="826"/>
                    </a:lnTo>
                    <a:lnTo>
                      <a:pt x="819" y="824"/>
                    </a:lnTo>
                    <a:lnTo>
                      <a:pt x="819" y="822"/>
                    </a:lnTo>
                    <a:lnTo>
                      <a:pt x="821" y="822"/>
                    </a:lnTo>
                    <a:lnTo>
                      <a:pt x="821" y="821"/>
                    </a:lnTo>
                    <a:lnTo>
                      <a:pt x="822" y="819"/>
                    </a:lnTo>
                    <a:lnTo>
                      <a:pt x="824" y="819"/>
                    </a:lnTo>
                    <a:lnTo>
                      <a:pt x="824" y="818"/>
                    </a:lnTo>
                    <a:lnTo>
                      <a:pt x="826" y="818"/>
                    </a:lnTo>
                    <a:lnTo>
                      <a:pt x="826" y="816"/>
                    </a:lnTo>
                    <a:lnTo>
                      <a:pt x="826" y="814"/>
                    </a:lnTo>
                    <a:lnTo>
                      <a:pt x="824" y="814"/>
                    </a:lnTo>
                    <a:lnTo>
                      <a:pt x="824" y="813"/>
                    </a:lnTo>
                    <a:lnTo>
                      <a:pt x="822" y="813"/>
                    </a:lnTo>
                    <a:lnTo>
                      <a:pt x="821" y="813"/>
                    </a:lnTo>
                    <a:lnTo>
                      <a:pt x="819" y="813"/>
                    </a:lnTo>
                    <a:lnTo>
                      <a:pt x="819" y="811"/>
                    </a:lnTo>
                    <a:lnTo>
                      <a:pt x="818" y="811"/>
                    </a:lnTo>
                    <a:lnTo>
                      <a:pt x="816" y="810"/>
                    </a:lnTo>
                    <a:lnTo>
                      <a:pt x="814" y="810"/>
                    </a:lnTo>
                    <a:lnTo>
                      <a:pt x="813" y="810"/>
                    </a:lnTo>
                    <a:lnTo>
                      <a:pt x="813" y="808"/>
                    </a:lnTo>
                    <a:lnTo>
                      <a:pt x="811" y="808"/>
                    </a:lnTo>
                    <a:lnTo>
                      <a:pt x="811" y="807"/>
                    </a:lnTo>
                    <a:lnTo>
                      <a:pt x="810" y="807"/>
                    </a:lnTo>
                    <a:lnTo>
                      <a:pt x="808" y="807"/>
                    </a:lnTo>
                    <a:lnTo>
                      <a:pt x="808" y="805"/>
                    </a:lnTo>
                    <a:lnTo>
                      <a:pt x="807" y="805"/>
                    </a:lnTo>
                    <a:lnTo>
                      <a:pt x="807" y="807"/>
                    </a:lnTo>
                    <a:lnTo>
                      <a:pt x="807" y="808"/>
                    </a:lnTo>
                    <a:lnTo>
                      <a:pt x="805" y="808"/>
                    </a:lnTo>
                    <a:lnTo>
                      <a:pt x="805" y="810"/>
                    </a:lnTo>
                    <a:lnTo>
                      <a:pt x="803" y="810"/>
                    </a:lnTo>
                    <a:lnTo>
                      <a:pt x="802" y="811"/>
                    </a:lnTo>
                    <a:lnTo>
                      <a:pt x="802" y="813"/>
                    </a:lnTo>
                    <a:lnTo>
                      <a:pt x="800" y="813"/>
                    </a:lnTo>
                    <a:lnTo>
                      <a:pt x="800" y="814"/>
                    </a:lnTo>
                    <a:lnTo>
                      <a:pt x="799" y="814"/>
                    </a:lnTo>
                    <a:lnTo>
                      <a:pt x="799" y="816"/>
                    </a:lnTo>
                    <a:lnTo>
                      <a:pt x="797" y="816"/>
                    </a:lnTo>
                    <a:lnTo>
                      <a:pt x="795" y="816"/>
                    </a:lnTo>
                    <a:lnTo>
                      <a:pt x="795" y="818"/>
                    </a:lnTo>
                    <a:lnTo>
                      <a:pt x="794" y="818"/>
                    </a:lnTo>
                    <a:lnTo>
                      <a:pt x="792" y="818"/>
                    </a:lnTo>
                    <a:lnTo>
                      <a:pt x="791" y="818"/>
                    </a:lnTo>
                    <a:lnTo>
                      <a:pt x="789" y="819"/>
                    </a:lnTo>
                    <a:lnTo>
                      <a:pt x="789" y="821"/>
                    </a:lnTo>
                    <a:lnTo>
                      <a:pt x="787" y="821"/>
                    </a:lnTo>
                    <a:lnTo>
                      <a:pt x="786" y="822"/>
                    </a:lnTo>
                    <a:lnTo>
                      <a:pt x="786" y="824"/>
                    </a:lnTo>
                    <a:lnTo>
                      <a:pt x="784" y="824"/>
                    </a:lnTo>
                    <a:lnTo>
                      <a:pt x="784" y="826"/>
                    </a:lnTo>
                    <a:lnTo>
                      <a:pt x="784" y="827"/>
                    </a:lnTo>
                    <a:lnTo>
                      <a:pt x="783" y="827"/>
                    </a:lnTo>
                    <a:lnTo>
                      <a:pt x="783" y="829"/>
                    </a:lnTo>
                    <a:lnTo>
                      <a:pt x="781" y="829"/>
                    </a:lnTo>
                    <a:lnTo>
                      <a:pt x="781" y="830"/>
                    </a:lnTo>
                    <a:lnTo>
                      <a:pt x="781" y="832"/>
                    </a:lnTo>
                    <a:lnTo>
                      <a:pt x="780" y="832"/>
                    </a:lnTo>
                    <a:lnTo>
                      <a:pt x="780" y="833"/>
                    </a:lnTo>
                    <a:lnTo>
                      <a:pt x="780" y="835"/>
                    </a:lnTo>
                    <a:lnTo>
                      <a:pt x="778" y="835"/>
                    </a:lnTo>
                    <a:lnTo>
                      <a:pt x="776" y="837"/>
                    </a:lnTo>
                    <a:lnTo>
                      <a:pt x="775" y="837"/>
                    </a:lnTo>
                    <a:lnTo>
                      <a:pt x="775" y="838"/>
                    </a:lnTo>
                    <a:lnTo>
                      <a:pt x="773" y="840"/>
                    </a:lnTo>
                    <a:lnTo>
                      <a:pt x="772" y="840"/>
                    </a:lnTo>
                    <a:lnTo>
                      <a:pt x="772" y="841"/>
                    </a:lnTo>
                    <a:lnTo>
                      <a:pt x="770" y="841"/>
                    </a:lnTo>
                    <a:lnTo>
                      <a:pt x="768" y="841"/>
                    </a:lnTo>
                    <a:lnTo>
                      <a:pt x="767" y="841"/>
                    </a:lnTo>
                    <a:lnTo>
                      <a:pt x="765" y="841"/>
                    </a:lnTo>
                    <a:lnTo>
                      <a:pt x="765" y="840"/>
                    </a:lnTo>
                    <a:lnTo>
                      <a:pt x="764" y="838"/>
                    </a:lnTo>
                    <a:lnTo>
                      <a:pt x="762" y="840"/>
                    </a:lnTo>
                    <a:lnTo>
                      <a:pt x="761" y="840"/>
                    </a:lnTo>
                    <a:lnTo>
                      <a:pt x="759" y="840"/>
                    </a:lnTo>
                    <a:lnTo>
                      <a:pt x="757" y="841"/>
                    </a:lnTo>
                    <a:lnTo>
                      <a:pt x="757" y="840"/>
                    </a:lnTo>
                    <a:lnTo>
                      <a:pt x="756" y="840"/>
                    </a:lnTo>
                    <a:lnTo>
                      <a:pt x="756" y="838"/>
                    </a:lnTo>
                    <a:lnTo>
                      <a:pt x="754" y="838"/>
                    </a:lnTo>
                    <a:lnTo>
                      <a:pt x="753" y="838"/>
                    </a:lnTo>
                    <a:lnTo>
                      <a:pt x="751" y="838"/>
                    </a:lnTo>
                    <a:lnTo>
                      <a:pt x="751" y="840"/>
                    </a:lnTo>
                    <a:lnTo>
                      <a:pt x="749" y="840"/>
                    </a:lnTo>
                    <a:lnTo>
                      <a:pt x="748" y="840"/>
                    </a:lnTo>
                    <a:lnTo>
                      <a:pt x="748" y="841"/>
                    </a:lnTo>
                    <a:lnTo>
                      <a:pt x="748" y="843"/>
                    </a:lnTo>
                    <a:lnTo>
                      <a:pt x="748" y="845"/>
                    </a:lnTo>
                    <a:lnTo>
                      <a:pt x="749" y="845"/>
                    </a:lnTo>
                    <a:lnTo>
                      <a:pt x="749" y="846"/>
                    </a:lnTo>
                    <a:lnTo>
                      <a:pt x="751" y="848"/>
                    </a:lnTo>
                    <a:lnTo>
                      <a:pt x="749" y="848"/>
                    </a:lnTo>
                    <a:lnTo>
                      <a:pt x="748" y="848"/>
                    </a:lnTo>
                    <a:lnTo>
                      <a:pt x="746" y="846"/>
                    </a:lnTo>
                    <a:lnTo>
                      <a:pt x="745" y="848"/>
                    </a:lnTo>
                    <a:lnTo>
                      <a:pt x="745" y="849"/>
                    </a:lnTo>
                    <a:lnTo>
                      <a:pt x="746" y="849"/>
                    </a:lnTo>
                    <a:lnTo>
                      <a:pt x="746" y="851"/>
                    </a:lnTo>
                    <a:lnTo>
                      <a:pt x="746" y="853"/>
                    </a:lnTo>
                    <a:lnTo>
                      <a:pt x="745" y="853"/>
                    </a:lnTo>
                    <a:lnTo>
                      <a:pt x="745" y="851"/>
                    </a:lnTo>
                    <a:lnTo>
                      <a:pt x="743" y="851"/>
                    </a:lnTo>
                    <a:lnTo>
                      <a:pt x="743" y="849"/>
                    </a:lnTo>
                    <a:lnTo>
                      <a:pt x="742" y="851"/>
                    </a:lnTo>
                    <a:lnTo>
                      <a:pt x="742" y="853"/>
                    </a:lnTo>
                    <a:lnTo>
                      <a:pt x="743" y="853"/>
                    </a:lnTo>
                    <a:lnTo>
                      <a:pt x="743" y="854"/>
                    </a:lnTo>
                    <a:lnTo>
                      <a:pt x="743" y="856"/>
                    </a:lnTo>
                    <a:lnTo>
                      <a:pt x="742" y="856"/>
                    </a:lnTo>
                    <a:lnTo>
                      <a:pt x="740" y="856"/>
                    </a:lnTo>
                    <a:lnTo>
                      <a:pt x="738" y="857"/>
                    </a:lnTo>
                    <a:lnTo>
                      <a:pt x="738" y="859"/>
                    </a:lnTo>
                    <a:lnTo>
                      <a:pt x="738" y="860"/>
                    </a:lnTo>
                    <a:lnTo>
                      <a:pt x="737" y="860"/>
                    </a:lnTo>
                    <a:lnTo>
                      <a:pt x="737" y="862"/>
                    </a:lnTo>
                    <a:lnTo>
                      <a:pt x="735" y="862"/>
                    </a:lnTo>
                    <a:lnTo>
                      <a:pt x="735" y="864"/>
                    </a:lnTo>
                    <a:lnTo>
                      <a:pt x="734" y="864"/>
                    </a:lnTo>
                    <a:lnTo>
                      <a:pt x="735" y="864"/>
                    </a:lnTo>
                    <a:lnTo>
                      <a:pt x="735" y="865"/>
                    </a:lnTo>
                    <a:lnTo>
                      <a:pt x="737" y="865"/>
                    </a:lnTo>
                    <a:lnTo>
                      <a:pt x="737" y="867"/>
                    </a:lnTo>
                    <a:lnTo>
                      <a:pt x="738" y="867"/>
                    </a:lnTo>
                    <a:lnTo>
                      <a:pt x="738" y="868"/>
                    </a:lnTo>
                    <a:lnTo>
                      <a:pt x="740" y="870"/>
                    </a:lnTo>
                    <a:lnTo>
                      <a:pt x="738" y="872"/>
                    </a:lnTo>
                    <a:lnTo>
                      <a:pt x="738" y="873"/>
                    </a:lnTo>
                    <a:lnTo>
                      <a:pt x="738" y="875"/>
                    </a:lnTo>
                    <a:lnTo>
                      <a:pt x="738" y="876"/>
                    </a:lnTo>
                    <a:lnTo>
                      <a:pt x="737" y="878"/>
                    </a:lnTo>
                    <a:lnTo>
                      <a:pt x="735" y="879"/>
                    </a:lnTo>
                    <a:lnTo>
                      <a:pt x="735" y="881"/>
                    </a:lnTo>
                    <a:lnTo>
                      <a:pt x="737" y="884"/>
                    </a:lnTo>
                    <a:lnTo>
                      <a:pt x="737" y="886"/>
                    </a:lnTo>
                    <a:lnTo>
                      <a:pt x="738" y="886"/>
                    </a:lnTo>
                    <a:lnTo>
                      <a:pt x="740" y="886"/>
                    </a:lnTo>
                    <a:lnTo>
                      <a:pt x="740" y="887"/>
                    </a:lnTo>
                    <a:lnTo>
                      <a:pt x="740" y="889"/>
                    </a:lnTo>
                    <a:lnTo>
                      <a:pt x="740" y="891"/>
                    </a:lnTo>
                    <a:lnTo>
                      <a:pt x="742" y="892"/>
                    </a:lnTo>
                    <a:lnTo>
                      <a:pt x="742" y="891"/>
                    </a:lnTo>
                    <a:lnTo>
                      <a:pt x="743" y="891"/>
                    </a:lnTo>
                    <a:lnTo>
                      <a:pt x="743" y="889"/>
                    </a:lnTo>
                    <a:lnTo>
                      <a:pt x="743" y="891"/>
                    </a:lnTo>
                    <a:lnTo>
                      <a:pt x="743" y="892"/>
                    </a:lnTo>
                    <a:lnTo>
                      <a:pt x="743" y="894"/>
                    </a:lnTo>
                    <a:lnTo>
                      <a:pt x="743" y="895"/>
                    </a:lnTo>
                    <a:lnTo>
                      <a:pt x="743" y="897"/>
                    </a:lnTo>
                    <a:lnTo>
                      <a:pt x="745" y="898"/>
                    </a:lnTo>
                    <a:lnTo>
                      <a:pt x="746" y="898"/>
                    </a:lnTo>
                    <a:lnTo>
                      <a:pt x="746" y="900"/>
                    </a:lnTo>
                    <a:lnTo>
                      <a:pt x="748" y="902"/>
                    </a:lnTo>
                    <a:lnTo>
                      <a:pt x="746" y="902"/>
                    </a:lnTo>
                    <a:lnTo>
                      <a:pt x="746" y="903"/>
                    </a:lnTo>
                    <a:lnTo>
                      <a:pt x="748" y="903"/>
                    </a:lnTo>
                    <a:lnTo>
                      <a:pt x="749" y="903"/>
                    </a:lnTo>
                    <a:lnTo>
                      <a:pt x="751" y="903"/>
                    </a:lnTo>
                    <a:lnTo>
                      <a:pt x="751" y="905"/>
                    </a:lnTo>
                    <a:lnTo>
                      <a:pt x="749" y="905"/>
                    </a:lnTo>
                    <a:lnTo>
                      <a:pt x="749" y="906"/>
                    </a:lnTo>
                    <a:lnTo>
                      <a:pt x="748" y="906"/>
                    </a:lnTo>
                    <a:lnTo>
                      <a:pt x="748" y="908"/>
                    </a:lnTo>
                    <a:lnTo>
                      <a:pt x="746" y="908"/>
                    </a:lnTo>
                    <a:lnTo>
                      <a:pt x="746" y="910"/>
                    </a:lnTo>
                    <a:lnTo>
                      <a:pt x="745" y="911"/>
                    </a:lnTo>
                    <a:lnTo>
                      <a:pt x="745" y="913"/>
                    </a:lnTo>
                    <a:lnTo>
                      <a:pt x="743" y="913"/>
                    </a:lnTo>
                    <a:lnTo>
                      <a:pt x="743" y="914"/>
                    </a:lnTo>
                    <a:lnTo>
                      <a:pt x="745" y="916"/>
                    </a:lnTo>
                    <a:lnTo>
                      <a:pt x="746" y="916"/>
                    </a:lnTo>
                    <a:lnTo>
                      <a:pt x="745" y="916"/>
                    </a:lnTo>
                    <a:lnTo>
                      <a:pt x="743" y="917"/>
                    </a:lnTo>
                    <a:lnTo>
                      <a:pt x="743" y="919"/>
                    </a:lnTo>
                    <a:lnTo>
                      <a:pt x="743" y="921"/>
                    </a:lnTo>
                    <a:lnTo>
                      <a:pt x="743" y="922"/>
                    </a:lnTo>
                    <a:lnTo>
                      <a:pt x="743" y="924"/>
                    </a:lnTo>
                    <a:lnTo>
                      <a:pt x="742" y="924"/>
                    </a:lnTo>
                    <a:lnTo>
                      <a:pt x="742" y="925"/>
                    </a:lnTo>
                    <a:lnTo>
                      <a:pt x="742" y="927"/>
                    </a:lnTo>
                    <a:lnTo>
                      <a:pt x="740" y="927"/>
                    </a:lnTo>
                    <a:lnTo>
                      <a:pt x="740" y="929"/>
                    </a:lnTo>
                    <a:lnTo>
                      <a:pt x="738" y="929"/>
                    </a:lnTo>
                    <a:lnTo>
                      <a:pt x="738" y="930"/>
                    </a:lnTo>
                    <a:lnTo>
                      <a:pt x="737" y="930"/>
                    </a:lnTo>
                    <a:lnTo>
                      <a:pt x="735" y="932"/>
                    </a:lnTo>
                    <a:lnTo>
                      <a:pt x="734" y="932"/>
                    </a:lnTo>
                    <a:lnTo>
                      <a:pt x="734" y="933"/>
                    </a:lnTo>
                    <a:lnTo>
                      <a:pt x="734" y="935"/>
                    </a:lnTo>
                    <a:lnTo>
                      <a:pt x="732" y="935"/>
                    </a:lnTo>
                    <a:lnTo>
                      <a:pt x="732" y="936"/>
                    </a:lnTo>
                    <a:lnTo>
                      <a:pt x="730" y="936"/>
                    </a:lnTo>
                    <a:lnTo>
                      <a:pt x="730" y="938"/>
                    </a:lnTo>
                    <a:lnTo>
                      <a:pt x="729" y="940"/>
                    </a:lnTo>
                    <a:lnTo>
                      <a:pt x="729" y="941"/>
                    </a:lnTo>
                    <a:lnTo>
                      <a:pt x="727" y="943"/>
                    </a:lnTo>
                    <a:lnTo>
                      <a:pt x="727" y="944"/>
                    </a:lnTo>
                    <a:lnTo>
                      <a:pt x="724" y="943"/>
                    </a:lnTo>
                    <a:lnTo>
                      <a:pt x="724" y="944"/>
                    </a:lnTo>
                    <a:lnTo>
                      <a:pt x="723" y="946"/>
                    </a:lnTo>
                    <a:lnTo>
                      <a:pt x="723" y="948"/>
                    </a:lnTo>
                    <a:lnTo>
                      <a:pt x="723" y="949"/>
                    </a:lnTo>
                    <a:lnTo>
                      <a:pt x="721" y="951"/>
                    </a:lnTo>
                    <a:lnTo>
                      <a:pt x="719" y="951"/>
                    </a:lnTo>
                    <a:lnTo>
                      <a:pt x="718" y="952"/>
                    </a:lnTo>
                    <a:lnTo>
                      <a:pt x="716" y="952"/>
                    </a:lnTo>
                    <a:lnTo>
                      <a:pt x="716" y="954"/>
                    </a:lnTo>
                    <a:lnTo>
                      <a:pt x="715" y="955"/>
                    </a:lnTo>
                    <a:lnTo>
                      <a:pt x="715" y="957"/>
                    </a:lnTo>
                    <a:lnTo>
                      <a:pt x="713" y="957"/>
                    </a:lnTo>
                    <a:lnTo>
                      <a:pt x="713" y="959"/>
                    </a:lnTo>
                    <a:lnTo>
                      <a:pt x="710" y="960"/>
                    </a:lnTo>
                    <a:lnTo>
                      <a:pt x="707" y="962"/>
                    </a:lnTo>
                    <a:lnTo>
                      <a:pt x="705" y="963"/>
                    </a:lnTo>
                    <a:lnTo>
                      <a:pt x="702" y="965"/>
                    </a:lnTo>
                    <a:lnTo>
                      <a:pt x="699" y="965"/>
                    </a:lnTo>
                    <a:lnTo>
                      <a:pt x="696" y="965"/>
                    </a:lnTo>
                    <a:lnTo>
                      <a:pt x="692" y="967"/>
                    </a:lnTo>
                    <a:lnTo>
                      <a:pt x="691" y="968"/>
                    </a:lnTo>
                    <a:lnTo>
                      <a:pt x="688" y="968"/>
                    </a:lnTo>
                    <a:lnTo>
                      <a:pt x="685" y="970"/>
                    </a:lnTo>
                    <a:lnTo>
                      <a:pt x="681" y="970"/>
                    </a:lnTo>
                    <a:lnTo>
                      <a:pt x="678" y="971"/>
                    </a:lnTo>
                    <a:lnTo>
                      <a:pt x="677" y="973"/>
                    </a:lnTo>
                    <a:lnTo>
                      <a:pt x="675" y="973"/>
                    </a:lnTo>
                    <a:lnTo>
                      <a:pt x="673" y="976"/>
                    </a:lnTo>
                    <a:lnTo>
                      <a:pt x="670" y="978"/>
                    </a:lnTo>
                    <a:lnTo>
                      <a:pt x="669" y="978"/>
                    </a:lnTo>
                    <a:lnTo>
                      <a:pt x="667" y="979"/>
                    </a:lnTo>
                    <a:lnTo>
                      <a:pt x="666" y="979"/>
                    </a:lnTo>
                    <a:lnTo>
                      <a:pt x="664" y="979"/>
                    </a:lnTo>
                    <a:lnTo>
                      <a:pt x="662" y="979"/>
                    </a:lnTo>
                    <a:lnTo>
                      <a:pt x="661" y="979"/>
                    </a:lnTo>
                    <a:lnTo>
                      <a:pt x="659" y="979"/>
                    </a:lnTo>
                    <a:lnTo>
                      <a:pt x="658" y="979"/>
                    </a:lnTo>
                    <a:lnTo>
                      <a:pt x="658" y="978"/>
                    </a:lnTo>
                    <a:lnTo>
                      <a:pt x="656" y="978"/>
                    </a:lnTo>
                    <a:lnTo>
                      <a:pt x="656" y="979"/>
                    </a:lnTo>
                    <a:lnTo>
                      <a:pt x="654" y="979"/>
                    </a:lnTo>
                    <a:lnTo>
                      <a:pt x="653" y="982"/>
                    </a:lnTo>
                    <a:lnTo>
                      <a:pt x="651" y="984"/>
                    </a:lnTo>
                    <a:lnTo>
                      <a:pt x="650" y="986"/>
                    </a:lnTo>
                    <a:lnTo>
                      <a:pt x="650" y="987"/>
                    </a:lnTo>
                    <a:lnTo>
                      <a:pt x="650" y="989"/>
                    </a:lnTo>
                    <a:lnTo>
                      <a:pt x="650" y="990"/>
                    </a:lnTo>
                    <a:lnTo>
                      <a:pt x="653" y="992"/>
                    </a:lnTo>
                    <a:lnTo>
                      <a:pt x="656" y="995"/>
                    </a:lnTo>
                    <a:lnTo>
                      <a:pt x="661" y="997"/>
                    </a:lnTo>
                    <a:lnTo>
                      <a:pt x="662" y="998"/>
                    </a:lnTo>
                    <a:lnTo>
                      <a:pt x="664" y="1001"/>
                    </a:lnTo>
                    <a:lnTo>
                      <a:pt x="666" y="1003"/>
                    </a:lnTo>
                    <a:lnTo>
                      <a:pt x="667" y="1005"/>
                    </a:lnTo>
                    <a:lnTo>
                      <a:pt x="670" y="1006"/>
                    </a:lnTo>
                    <a:lnTo>
                      <a:pt x="672" y="1008"/>
                    </a:lnTo>
                    <a:lnTo>
                      <a:pt x="673" y="1009"/>
                    </a:lnTo>
                    <a:lnTo>
                      <a:pt x="675" y="1009"/>
                    </a:lnTo>
                    <a:lnTo>
                      <a:pt x="677" y="1011"/>
                    </a:lnTo>
                    <a:lnTo>
                      <a:pt x="678" y="1012"/>
                    </a:lnTo>
                    <a:lnTo>
                      <a:pt x="680" y="1014"/>
                    </a:lnTo>
                    <a:lnTo>
                      <a:pt x="678" y="1017"/>
                    </a:lnTo>
                    <a:lnTo>
                      <a:pt x="677" y="1017"/>
                    </a:lnTo>
                    <a:lnTo>
                      <a:pt x="675" y="1019"/>
                    </a:lnTo>
                    <a:lnTo>
                      <a:pt x="673" y="1020"/>
                    </a:lnTo>
                    <a:lnTo>
                      <a:pt x="672" y="1020"/>
                    </a:lnTo>
                    <a:lnTo>
                      <a:pt x="670" y="1022"/>
                    </a:lnTo>
                    <a:lnTo>
                      <a:pt x="672" y="1024"/>
                    </a:lnTo>
                    <a:lnTo>
                      <a:pt x="672" y="1025"/>
                    </a:lnTo>
                    <a:lnTo>
                      <a:pt x="673" y="1025"/>
                    </a:lnTo>
                    <a:lnTo>
                      <a:pt x="675" y="1027"/>
                    </a:lnTo>
                    <a:lnTo>
                      <a:pt x="677" y="1028"/>
                    </a:lnTo>
                    <a:lnTo>
                      <a:pt x="677" y="1030"/>
                    </a:lnTo>
                    <a:lnTo>
                      <a:pt x="678" y="1030"/>
                    </a:lnTo>
                    <a:lnTo>
                      <a:pt x="680" y="1032"/>
                    </a:lnTo>
                    <a:lnTo>
                      <a:pt x="681" y="1033"/>
                    </a:lnTo>
                    <a:lnTo>
                      <a:pt x="683" y="1033"/>
                    </a:lnTo>
                    <a:lnTo>
                      <a:pt x="683" y="1035"/>
                    </a:lnTo>
                    <a:lnTo>
                      <a:pt x="685" y="1035"/>
                    </a:lnTo>
                    <a:lnTo>
                      <a:pt x="685" y="1036"/>
                    </a:lnTo>
                    <a:lnTo>
                      <a:pt x="686" y="1036"/>
                    </a:lnTo>
                    <a:lnTo>
                      <a:pt x="688" y="1038"/>
                    </a:lnTo>
                    <a:lnTo>
                      <a:pt x="689" y="1039"/>
                    </a:lnTo>
                    <a:lnTo>
                      <a:pt x="691" y="1041"/>
                    </a:lnTo>
                    <a:lnTo>
                      <a:pt x="692" y="1041"/>
                    </a:lnTo>
                    <a:lnTo>
                      <a:pt x="692" y="1043"/>
                    </a:lnTo>
                    <a:lnTo>
                      <a:pt x="694" y="1043"/>
                    </a:lnTo>
                    <a:lnTo>
                      <a:pt x="694" y="1044"/>
                    </a:lnTo>
                    <a:lnTo>
                      <a:pt x="696" y="1044"/>
                    </a:lnTo>
                    <a:lnTo>
                      <a:pt x="697" y="1046"/>
                    </a:lnTo>
                    <a:lnTo>
                      <a:pt x="699" y="1047"/>
                    </a:lnTo>
                    <a:lnTo>
                      <a:pt x="699" y="1049"/>
                    </a:lnTo>
                    <a:lnTo>
                      <a:pt x="700" y="1051"/>
                    </a:lnTo>
                    <a:lnTo>
                      <a:pt x="700" y="1052"/>
                    </a:lnTo>
                    <a:lnTo>
                      <a:pt x="702" y="1052"/>
                    </a:lnTo>
                    <a:lnTo>
                      <a:pt x="702" y="1054"/>
                    </a:lnTo>
                    <a:lnTo>
                      <a:pt x="702" y="1055"/>
                    </a:lnTo>
                    <a:lnTo>
                      <a:pt x="704" y="1055"/>
                    </a:lnTo>
                    <a:lnTo>
                      <a:pt x="704" y="1057"/>
                    </a:lnTo>
                    <a:lnTo>
                      <a:pt x="704" y="1058"/>
                    </a:lnTo>
                    <a:lnTo>
                      <a:pt x="704" y="1060"/>
                    </a:lnTo>
                    <a:lnTo>
                      <a:pt x="702" y="1060"/>
                    </a:lnTo>
                    <a:lnTo>
                      <a:pt x="700" y="1060"/>
                    </a:lnTo>
                    <a:lnTo>
                      <a:pt x="699" y="1060"/>
                    </a:lnTo>
                    <a:lnTo>
                      <a:pt x="697" y="1060"/>
                    </a:lnTo>
                    <a:lnTo>
                      <a:pt x="696" y="1060"/>
                    </a:lnTo>
                    <a:lnTo>
                      <a:pt x="694" y="1062"/>
                    </a:lnTo>
                    <a:lnTo>
                      <a:pt x="694" y="1063"/>
                    </a:lnTo>
                    <a:lnTo>
                      <a:pt x="694" y="1065"/>
                    </a:lnTo>
                    <a:lnTo>
                      <a:pt x="694" y="1066"/>
                    </a:lnTo>
                    <a:lnTo>
                      <a:pt x="694" y="1068"/>
                    </a:lnTo>
                    <a:lnTo>
                      <a:pt x="694" y="1070"/>
                    </a:lnTo>
                    <a:lnTo>
                      <a:pt x="694" y="1071"/>
                    </a:lnTo>
                    <a:lnTo>
                      <a:pt x="694" y="1073"/>
                    </a:lnTo>
                    <a:lnTo>
                      <a:pt x="696" y="1074"/>
                    </a:lnTo>
                    <a:lnTo>
                      <a:pt x="696" y="1076"/>
                    </a:lnTo>
                    <a:lnTo>
                      <a:pt x="696" y="1077"/>
                    </a:lnTo>
                    <a:lnTo>
                      <a:pt x="696" y="1079"/>
                    </a:lnTo>
                    <a:lnTo>
                      <a:pt x="696" y="1081"/>
                    </a:lnTo>
                    <a:lnTo>
                      <a:pt x="696" y="1082"/>
                    </a:lnTo>
                    <a:lnTo>
                      <a:pt x="696" y="1084"/>
                    </a:lnTo>
                    <a:lnTo>
                      <a:pt x="692" y="1084"/>
                    </a:lnTo>
                    <a:lnTo>
                      <a:pt x="689" y="1082"/>
                    </a:lnTo>
                    <a:lnTo>
                      <a:pt x="688" y="1082"/>
                    </a:lnTo>
                    <a:lnTo>
                      <a:pt x="686" y="1082"/>
                    </a:lnTo>
                    <a:lnTo>
                      <a:pt x="685" y="1081"/>
                    </a:lnTo>
                    <a:lnTo>
                      <a:pt x="683" y="1081"/>
                    </a:lnTo>
                    <a:lnTo>
                      <a:pt x="681" y="1081"/>
                    </a:lnTo>
                    <a:lnTo>
                      <a:pt x="678" y="1081"/>
                    </a:lnTo>
                    <a:lnTo>
                      <a:pt x="673" y="1081"/>
                    </a:lnTo>
                    <a:lnTo>
                      <a:pt x="669" y="1081"/>
                    </a:lnTo>
                    <a:lnTo>
                      <a:pt x="666" y="1081"/>
                    </a:lnTo>
                    <a:lnTo>
                      <a:pt x="659" y="1082"/>
                    </a:lnTo>
                    <a:lnTo>
                      <a:pt x="656" y="1082"/>
                    </a:lnTo>
                    <a:lnTo>
                      <a:pt x="654" y="1084"/>
                    </a:lnTo>
                    <a:lnTo>
                      <a:pt x="654" y="1085"/>
                    </a:lnTo>
                    <a:lnTo>
                      <a:pt x="651" y="1087"/>
                    </a:lnTo>
                    <a:lnTo>
                      <a:pt x="650" y="1087"/>
                    </a:lnTo>
                    <a:lnTo>
                      <a:pt x="648" y="1089"/>
                    </a:lnTo>
                    <a:lnTo>
                      <a:pt x="647" y="1089"/>
                    </a:lnTo>
                    <a:lnTo>
                      <a:pt x="643" y="1087"/>
                    </a:lnTo>
                    <a:lnTo>
                      <a:pt x="643" y="1085"/>
                    </a:lnTo>
                    <a:lnTo>
                      <a:pt x="640" y="1084"/>
                    </a:lnTo>
                    <a:lnTo>
                      <a:pt x="639" y="1082"/>
                    </a:lnTo>
                    <a:lnTo>
                      <a:pt x="637" y="1081"/>
                    </a:lnTo>
                    <a:lnTo>
                      <a:pt x="635" y="1077"/>
                    </a:lnTo>
                    <a:lnTo>
                      <a:pt x="634" y="1076"/>
                    </a:lnTo>
                    <a:lnTo>
                      <a:pt x="632" y="1074"/>
                    </a:lnTo>
                    <a:lnTo>
                      <a:pt x="632" y="1073"/>
                    </a:lnTo>
                    <a:lnTo>
                      <a:pt x="631" y="1073"/>
                    </a:lnTo>
                    <a:lnTo>
                      <a:pt x="629" y="1070"/>
                    </a:lnTo>
                    <a:lnTo>
                      <a:pt x="629" y="1068"/>
                    </a:lnTo>
                    <a:lnTo>
                      <a:pt x="629" y="1066"/>
                    </a:lnTo>
                    <a:lnTo>
                      <a:pt x="629" y="1065"/>
                    </a:lnTo>
                    <a:lnTo>
                      <a:pt x="629" y="1063"/>
                    </a:lnTo>
                    <a:lnTo>
                      <a:pt x="628" y="1062"/>
                    </a:lnTo>
                    <a:lnTo>
                      <a:pt x="626" y="1057"/>
                    </a:lnTo>
                    <a:lnTo>
                      <a:pt x="629" y="1051"/>
                    </a:lnTo>
                    <a:lnTo>
                      <a:pt x="631" y="1047"/>
                    </a:lnTo>
                    <a:lnTo>
                      <a:pt x="631" y="1046"/>
                    </a:lnTo>
                    <a:lnTo>
                      <a:pt x="632" y="1044"/>
                    </a:lnTo>
                    <a:lnTo>
                      <a:pt x="632" y="1043"/>
                    </a:lnTo>
                    <a:lnTo>
                      <a:pt x="631" y="1043"/>
                    </a:lnTo>
                    <a:lnTo>
                      <a:pt x="615" y="1035"/>
                    </a:lnTo>
                    <a:lnTo>
                      <a:pt x="613" y="1035"/>
                    </a:lnTo>
                    <a:lnTo>
                      <a:pt x="605" y="1032"/>
                    </a:lnTo>
                    <a:lnTo>
                      <a:pt x="596" y="1030"/>
                    </a:lnTo>
                    <a:lnTo>
                      <a:pt x="594" y="1028"/>
                    </a:lnTo>
                    <a:lnTo>
                      <a:pt x="591" y="1028"/>
                    </a:lnTo>
                    <a:lnTo>
                      <a:pt x="591" y="1027"/>
                    </a:lnTo>
                    <a:lnTo>
                      <a:pt x="585" y="1027"/>
                    </a:lnTo>
                    <a:lnTo>
                      <a:pt x="577" y="1028"/>
                    </a:lnTo>
                    <a:lnTo>
                      <a:pt x="575" y="1028"/>
                    </a:lnTo>
                    <a:lnTo>
                      <a:pt x="574" y="1028"/>
                    </a:lnTo>
                    <a:lnTo>
                      <a:pt x="574" y="1030"/>
                    </a:lnTo>
                    <a:lnTo>
                      <a:pt x="572" y="1030"/>
                    </a:lnTo>
                    <a:lnTo>
                      <a:pt x="570" y="1032"/>
                    </a:lnTo>
                    <a:lnTo>
                      <a:pt x="569" y="1033"/>
                    </a:lnTo>
                    <a:lnTo>
                      <a:pt x="567" y="1035"/>
                    </a:lnTo>
                    <a:lnTo>
                      <a:pt x="567" y="1036"/>
                    </a:lnTo>
                    <a:lnTo>
                      <a:pt x="564" y="1036"/>
                    </a:lnTo>
                    <a:lnTo>
                      <a:pt x="564" y="1038"/>
                    </a:lnTo>
                    <a:lnTo>
                      <a:pt x="563" y="1038"/>
                    </a:lnTo>
                    <a:lnTo>
                      <a:pt x="561" y="1036"/>
                    </a:lnTo>
                    <a:lnTo>
                      <a:pt x="559" y="1035"/>
                    </a:lnTo>
                    <a:lnTo>
                      <a:pt x="559" y="1036"/>
                    </a:lnTo>
                    <a:lnTo>
                      <a:pt x="556" y="1036"/>
                    </a:lnTo>
                    <a:lnTo>
                      <a:pt x="555" y="1036"/>
                    </a:lnTo>
                    <a:lnTo>
                      <a:pt x="551" y="1036"/>
                    </a:lnTo>
                    <a:lnTo>
                      <a:pt x="550" y="1035"/>
                    </a:lnTo>
                    <a:lnTo>
                      <a:pt x="548" y="1035"/>
                    </a:lnTo>
                    <a:lnTo>
                      <a:pt x="547" y="1035"/>
                    </a:lnTo>
                    <a:lnTo>
                      <a:pt x="545" y="1035"/>
                    </a:lnTo>
                    <a:lnTo>
                      <a:pt x="544" y="1032"/>
                    </a:lnTo>
                    <a:lnTo>
                      <a:pt x="542" y="1030"/>
                    </a:lnTo>
                    <a:lnTo>
                      <a:pt x="537" y="1024"/>
                    </a:lnTo>
                    <a:lnTo>
                      <a:pt x="536" y="1024"/>
                    </a:lnTo>
                    <a:lnTo>
                      <a:pt x="529" y="1020"/>
                    </a:lnTo>
                    <a:lnTo>
                      <a:pt x="528" y="1020"/>
                    </a:lnTo>
                    <a:lnTo>
                      <a:pt x="523" y="1017"/>
                    </a:lnTo>
                    <a:lnTo>
                      <a:pt x="520" y="1014"/>
                    </a:lnTo>
                    <a:lnTo>
                      <a:pt x="518" y="1014"/>
                    </a:lnTo>
                    <a:lnTo>
                      <a:pt x="518" y="1012"/>
                    </a:lnTo>
                    <a:lnTo>
                      <a:pt x="515" y="1011"/>
                    </a:lnTo>
                    <a:lnTo>
                      <a:pt x="513" y="1011"/>
                    </a:lnTo>
                    <a:lnTo>
                      <a:pt x="512" y="1008"/>
                    </a:lnTo>
                    <a:lnTo>
                      <a:pt x="512" y="1006"/>
                    </a:lnTo>
                    <a:lnTo>
                      <a:pt x="510" y="1005"/>
                    </a:lnTo>
                    <a:lnTo>
                      <a:pt x="509" y="1001"/>
                    </a:lnTo>
                    <a:lnTo>
                      <a:pt x="512" y="993"/>
                    </a:lnTo>
                    <a:lnTo>
                      <a:pt x="513" y="986"/>
                    </a:lnTo>
                    <a:lnTo>
                      <a:pt x="513" y="981"/>
                    </a:lnTo>
                    <a:lnTo>
                      <a:pt x="510" y="971"/>
                    </a:lnTo>
                    <a:lnTo>
                      <a:pt x="509" y="968"/>
                    </a:lnTo>
                    <a:lnTo>
                      <a:pt x="507" y="967"/>
                    </a:lnTo>
                    <a:lnTo>
                      <a:pt x="506" y="963"/>
                    </a:lnTo>
                    <a:lnTo>
                      <a:pt x="504" y="963"/>
                    </a:lnTo>
                    <a:lnTo>
                      <a:pt x="504" y="962"/>
                    </a:lnTo>
                    <a:lnTo>
                      <a:pt x="502" y="962"/>
                    </a:lnTo>
                    <a:lnTo>
                      <a:pt x="501" y="962"/>
                    </a:lnTo>
                    <a:lnTo>
                      <a:pt x="499" y="962"/>
                    </a:lnTo>
                    <a:lnTo>
                      <a:pt x="498" y="960"/>
                    </a:lnTo>
                    <a:lnTo>
                      <a:pt x="494" y="960"/>
                    </a:lnTo>
                    <a:lnTo>
                      <a:pt x="488" y="960"/>
                    </a:lnTo>
                    <a:lnTo>
                      <a:pt x="487" y="960"/>
                    </a:lnTo>
                    <a:lnTo>
                      <a:pt x="485" y="960"/>
                    </a:lnTo>
                    <a:lnTo>
                      <a:pt x="483" y="960"/>
                    </a:lnTo>
                    <a:lnTo>
                      <a:pt x="479" y="954"/>
                    </a:lnTo>
                    <a:lnTo>
                      <a:pt x="479" y="952"/>
                    </a:lnTo>
                    <a:lnTo>
                      <a:pt x="479" y="951"/>
                    </a:lnTo>
                    <a:lnTo>
                      <a:pt x="475" y="949"/>
                    </a:lnTo>
                    <a:lnTo>
                      <a:pt x="474" y="946"/>
                    </a:lnTo>
                    <a:lnTo>
                      <a:pt x="472" y="946"/>
                    </a:lnTo>
                    <a:lnTo>
                      <a:pt x="471" y="946"/>
                    </a:lnTo>
                    <a:lnTo>
                      <a:pt x="469" y="946"/>
                    </a:lnTo>
                    <a:lnTo>
                      <a:pt x="468" y="946"/>
                    </a:lnTo>
                    <a:lnTo>
                      <a:pt x="458" y="946"/>
                    </a:lnTo>
                    <a:lnTo>
                      <a:pt x="456" y="944"/>
                    </a:lnTo>
                    <a:lnTo>
                      <a:pt x="455" y="944"/>
                    </a:lnTo>
                    <a:lnTo>
                      <a:pt x="453" y="943"/>
                    </a:lnTo>
                    <a:lnTo>
                      <a:pt x="452" y="941"/>
                    </a:lnTo>
                    <a:lnTo>
                      <a:pt x="450" y="938"/>
                    </a:lnTo>
                    <a:lnTo>
                      <a:pt x="450" y="935"/>
                    </a:lnTo>
                    <a:lnTo>
                      <a:pt x="447" y="933"/>
                    </a:lnTo>
                    <a:lnTo>
                      <a:pt x="447" y="932"/>
                    </a:lnTo>
                    <a:lnTo>
                      <a:pt x="445" y="930"/>
                    </a:lnTo>
                    <a:lnTo>
                      <a:pt x="445" y="929"/>
                    </a:lnTo>
                    <a:lnTo>
                      <a:pt x="444" y="929"/>
                    </a:lnTo>
                    <a:lnTo>
                      <a:pt x="442" y="930"/>
                    </a:lnTo>
                    <a:lnTo>
                      <a:pt x="442" y="932"/>
                    </a:lnTo>
                    <a:lnTo>
                      <a:pt x="442" y="933"/>
                    </a:lnTo>
                    <a:lnTo>
                      <a:pt x="442" y="935"/>
                    </a:lnTo>
                    <a:lnTo>
                      <a:pt x="442" y="936"/>
                    </a:lnTo>
                    <a:lnTo>
                      <a:pt x="441" y="936"/>
                    </a:lnTo>
                    <a:lnTo>
                      <a:pt x="439" y="938"/>
                    </a:lnTo>
                    <a:lnTo>
                      <a:pt x="437" y="938"/>
                    </a:lnTo>
                    <a:lnTo>
                      <a:pt x="436" y="938"/>
                    </a:lnTo>
                    <a:lnTo>
                      <a:pt x="433" y="936"/>
                    </a:lnTo>
                    <a:lnTo>
                      <a:pt x="431" y="938"/>
                    </a:lnTo>
                    <a:lnTo>
                      <a:pt x="431" y="940"/>
                    </a:lnTo>
                    <a:lnTo>
                      <a:pt x="430" y="938"/>
                    </a:lnTo>
                    <a:lnTo>
                      <a:pt x="430" y="936"/>
                    </a:lnTo>
                    <a:lnTo>
                      <a:pt x="428" y="936"/>
                    </a:lnTo>
                    <a:lnTo>
                      <a:pt x="426" y="936"/>
                    </a:lnTo>
                    <a:lnTo>
                      <a:pt x="425" y="938"/>
                    </a:lnTo>
                    <a:lnTo>
                      <a:pt x="423" y="940"/>
                    </a:lnTo>
                    <a:lnTo>
                      <a:pt x="420" y="943"/>
                    </a:lnTo>
                    <a:lnTo>
                      <a:pt x="417" y="943"/>
                    </a:lnTo>
                    <a:lnTo>
                      <a:pt x="415" y="943"/>
                    </a:lnTo>
                    <a:lnTo>
                      <a:pt x="414" y="943"/>
                    </a:lnTo>
                    <a:lnTo>
                      <a:pt x="412" y="943"/>
                    </a:lnTo>
                    <a:lnTo>
                      <a:pt x="410" y="941"/>
                    </a:lnTo>
                    <a:lnTo>
                      <a:pt x="410" y="940"/>
                    </a:lnTo>
                    <a:lnTo>
                      <a:pt x="409" y="938"/>
                    </a:lnTo>
                    <a:lnTo>
                      <a:pt x="407" y="938"/>
                    </a:lnTo>
                    <a:lnTo>
                      <a:pt x="407" y="936"/>
                    </a:lnTo>
                    <a:lnTo>
                      <a:pt x="407" y="935"/>
                    </a:lnTo>
                    <a:lnTo>
                      <a:pt x="406" y="933"/>
                    </a:lnTo>
                    <a:lnTo>
                      <a:pt x="404" y="933"/>
                    </a:lnTo>
                    <a:lnTo>
                      <a:pt x="401" y="933"/>
                    </a:lnTo>
                    <a:lnTo>
                      <a:pt x="399" y="932"/>
                    </a:lnTo>
                    <a:lnTo>
                      <a:pt x="398" y="930"/>
                    </a:lnTo>
                    <a:lnTo>
                      <a:pt x="393" y="929"/>
                    </a:lnTo>
                    <a:lnTo>
                      <a:pt x="391" y="929"/>
                    </a:lnTo>
                    <a:lnTo>
                      <a:pt x="390" y="930"/>
                    </a:lnTo>
                    <a:lnTo>
                      <a:pt x="388" y="930"/>
                    </a:lnTo>
                    <a:lnTo>
                      <a:pt x="387" y="932"/>
                    </a:lnTo>
                    <a:lnTo>
                      <a:pt x="385" y="932"/>
                    </a:lnTo>
                    <a:lnTo>
                      <a:pt x="384" y="935"/>
                    </a:lnTo>
                    <a:lnTo>
                      <a:pt x="384" y="936"/>
                    </a:lnTo>
                    <a:lnTo>
                      <a:pt x="382" y="936"/>
                    </a:lnTo>
                    <a:lnTo>
                      <a:pt x="380" y="938"/>
                    </a:lnTo>
                    <a:lnTo>
                      <a:pt x="376" y="941"/>
                    </a:lnTo>
                    <a:lnTo>
                      <a:pt x="372" y="943"/>
                    </a:lnTo>
                    <a:lnTo>
                      <a:pt x="368" y="944"/>
                    </a:lnTo>
                    <a:lnTo>
                      <a:pt x="361" y="943"/>
                    </a:lnTo>
                    <a:lnTo>
                      <a:pt x="357" y="943"/>
                    </a:lnTo>
                    <a:lnTo>
                      <a:pt x="349" y="940"/>
                    </a:lnTo>
                    <a:lnTo>
                      <a:pt x="347" y="938"/>
                    </a:lnTo>
                    <a:lnTo>
                      <a:pt x="344" y="936"/>
                    </a:lnTo>
                    <a:lnTo>
                      <a:pt x="341" y="935"/>
                    </a:lnTo>
                    <a:lnTo>
                      <a:pt x="336" y="933"/>
                    </a:lnTo>
                    <a:lnTo>
                      <a:pt x="333" y="930"/>
                    </a:lnTo>
                    <a:lnTo>
                      <a:pt x="328" y="925"/>
                    </a:lnTo>
                    <a:lnTo>
                      <a:pt x="323" y="922"/>
                    </a:lnTo>
                    <a:lnTo>
                      <a:pt x="323" y="921"/>
                    </a:lnTo>
                    <a:lnTo>
                      <a:pt x="320" y="916"/>
                    </a:lnTo>
                    <a:lnTo>
                      <a:pt x="317" y="913"/>
                    </a:lnTo>
                    <a:lnTo>
                      <a:pt x="315" y="911"/>
                    </a:lnTo>
                    <a:lnTo>
                      <a:pt x="314" y="908"/>
                    </a:lnTo>
                    <a:lnTo>
                      <a:pt x="309" y="903"/>
                    </a:lnTo>
                    <a:lnTo>
                      <a:pt x="309" y="902"/>
                    </a:lnTo>
                    <a:lnTo>
                      <a:pt x="308" y="900"/>
                    </a:lnTo>
                    <a:lnTo>
                      <a:pt x="301" y="892"/>
                    </a:lnTo>
                    <a:lnTo>
                      <a:pt x="301" y="891"/>
                    </a:lnTo>
                    <a:lnTo>
                      <a:pt x="300" y="889"/>
                    </a:lnTo>
                    <a:lnTo>
                      <a:pt x="296" y="887"/>
                    </a:lnTo>
                    <a:lnTo>
                      <a:pt x="295" y="884"/>
                    </a:lnTo>
                    <a:lnTo>
                      <a:pt x="293" y="881"/>
                    </a:lnTo>
                    <a:lnTo>
                      <a:pt x="292" y="881"/>
                    </a:lnTo>
                    <a:lnTo>
                      <a:pt x="292" y="879"/>
                    </a:lnTo>
                    <a:lnTo>
                      <a:pt x="287" y="875"/>
                    </a:lnTo>
                    <a:lnTo>
                      <a:pt x="285" y="873"/>
                    </a:lnTo>
                    <a:lnTo>
                      <a:pt x="284" y="872"/>
                    </a:lnTo>
                    <a:lnTo>
                      <a:pt x="279" y="864"/>
                    </a:lnTo>
                    <a:lnTo>
                      <a:pt x="276" y="859"/>
                    </a:lnTo>
                    <a:lnTo>
                      <a:pt x="273" y="856"/>
                    </a:lnTo>
                    <a:lnTo>
                      <a:pt x="273" y="854"/>
                    </a:lnTo>
                    <a:lnTo>
                      <a:pt x="266" y="846"/>
                    </a:lnTo>
                    <a:lnTo>
                      <a:pt x="265" y="843"/>
                    </a:lnTo>
                    <a:lnTo>
                      <a:pt x="262" y="840"/>
                    </a:lnTo>
                    <a:lnTo>
                      <a:pt x="260" y="835"/>
                    </a:lnTo>
                    <a:lnTo>
                      <a:pt x="255" y="824"/>
                    </a:lnTo>
                    <a:lnTo>
                      <a:pt x="255" y="822"/>
                    </a:lnTo>
                    <a:lnTo>
                      <a:pt x="255" y="821"/>
                    </a:lnTo>
                    <a:lnTo>
                      <a:pt x="254" y="821"/>
                    </a:lnTo>
                    <a:lnTo>
                      <a:pt x="254" y="819"/>
                    </a:lnTo>
                    <a:lnTo>
                      <a:pt x="254" y="818"/>
                    </a:lnTo>
                    <a:lnTo>
                      <a:pt x="252" y="816"/>
                    </a:lnTo>
                    <a:lnTo>
                      <a:pt x="252" y="814"/>
                    </a:lnTo>
                    <a:lnTo>
                      <a:pt x="252" y="813"/>
                    </a:lnTo>
                    <a:lnTo>
                      <a:pt x="251" y="811"/>
                    </a:lnTo>
                    <a:lnTo>
                      <a:pt x="251" y="810"/>
                    </a:lnTo>
                    <a:lnTo>
                      <a:pt x="249" y="810"/>
                    </a:lnTo>
                    <a:lnTo>
                      <a:pt x="249" y="808"/>
                    </a:lnTo>
                    <a:lnTo>
                      <a:pt x="249" y="807"/>
                    </a:lnTo>
                    <a:lnTo>
                      <a:pt x="244" y="799"/>
                    </a:lnTo>
                    <a:lnTo>
                      <a:pt x="244" y="797"/>
                    </a:lnTo>
                    <a:lnTo>
                      <a:pt x="244" y="795"/>
                    </a:lnTo>
                    <a:lnTo>
                      <a:pt x="243" y="786"/>
                    </a:lnTo>
                    <a:lnTo>
                      <a:pt x="243" y="784"/>
                    </a:lnTo>
                    <a:lnTo>
                      <a:pt x="239" y="773"/>
                    </a:lnTo>
                    <a:lnTo>
                      <a:pt x="238" y="772"/>
                    </a:lnTo>
                    <a:lnTo>
                      <a:pt x="236" y="769"/>
                    </a:lnTo>
                    <a:lnTo>
                      <a:pt x="235" y="769"/>
                    </a:lnTo>
                    <a:lnTo>
                      <a:pt x="235" y="767"/>
                    </a:lnTo>
                    <a:lnTo>
                      <a:pt x="233" y="765"/>
                    </a:lnTo>
                    <a:lnTo>
                      <a:pt x="233" y="764"/>
                    </a:lnTo>
                    <a:lnTo>
                      <a:pt x="232" y="762"/>
                    </a:lnTo>
                    <a:lnTo>
                      <a:pt x="232" y="761"/>
                    </a:lnTo>
                    <a:lnTo>
                      <a:pt x="230" y="761"/>
                    </a:lnTo>
                    <a:lnTo>
                      <a:pt x="230" y="759"/>
                    </a:lnTo>
                    <a:lnTo>
                      <a:pt x="222" y="740"/>
                    </a:lnTo>
                    <a:lnTo>
                      <a:pt x="220" y="738"/>
                    </a:lnTo>
                    <a:lnTo>
                      <a:pt x="217" y="737"/>
                    </a:lnTo>
                    <a:lnTo>
                      <a:pt x="211" y="732"/>
                    </a:lnTo>
                    <a:lnTo>
                      <a:pt x="209" y="724"/>
                    </a:lnTo>
                    <a:lnTo>
                      <a:pt x="206" y="716"/>
                    </a:lnTo>
                    <a:lnTo>
                      <a:pt x="203" y="705"/>
                    </a:lnTo>
                    <a:lnTo>
                      <a:pt x="197" y="688"/>
                    </a:lnTo>
                    <a:lnTo>
                      <a:pt x="197" y="686"/>
                    </a:lnTo>
                    <a:lnTo>
                      <a:pt x="195" y="685"/>
                    </a:lnTo>
                    <a:lnTo>
                      <a:pt x="186" y="658"/>
                    </a:lnTo>
                    <a:lnTo>
                      <a:pt x="182" y="647"/>
                    </a:lnTo>
                    <a:lnTo>
                      <a:pt x="181" y="647"/>
                    </a:lnTo>
                    <a:lnTo>
                      <a:pt x="174" y="631"/>
                    </a:lnTo>
                    <a:lnTo>
                      <a:pt x="174" y="629"/>
                    </a:lnTo>
                    <a:lnTo>
                      <a:pt x="174" y="628"/>
                    </a:lnTo>
                    <a:lnTo>
                      <a:pt x="168" y="615"/>
                    </a:lnTo>
                    <a:lnTo>
                      <a:pt x="167" y="609"/>
                    </a:lnTo>
                    <a:lnTo>
                      <a:pt x="165" y="607"/>
                    </a:lnTo>
                    <a:lnTo>
                      <a:pt x="163" y="605"/>
                    </a:lnTo>
                    <a:lnTo>
                      <a:pt x="163" y="604"/>
                    </a:lnTo>
                    <a:lnTo>
                      <a:pt x="162" y="602"/>
                    </a:lnTo>
                    <a:lnTo>
                      <a:pt x="162" y="601"/>
                    </a:lnTo>
                    <a:lnTo>
                      <a:pt x="162" y="599"/>
                    </a:lnTo>
                    <a:lnTo>
                      <a:pt x="155" y="586"/>
                    </a:lnTo>
                    <a:lnTo>
                      <a:pt x="149" y="575"/>
                    </a:lnTo>
                    <a:lnTo>
                      <a:pt x="149" y="574"/>
                    </a:lnTo>
                    <a:lnTo>
                      <a:pt x="148" y="572"/>
                    </a:lnTo>
                    <a:lnTo>
                      <a:pt x="146" y="569"/>
                    </a:lnTo>
                    <a:lnTo>
                      <a:pt x="144" y="564"/>
                    </a:lnTo>
                    <a:lnTo>
                      <a:pt x="136" y="550"/>
                    </a:lnTo>
                    <a:lnTo>
                      <a:pt x="130" y="536"/>
                    </a:lnTo>
                    <a:lnTo>
                      <a:pt x="129" y="531"/>
                    </a:lnTo>
                    <a:lnTo>
                      <a:pt x="125" y="523"/>
                    </a:lnTo>
                    <a:lnTo>
                      <a:pt x="121" y="509"/>
                    </a:lnTo>
                    <a:lnTo>
                      <a:pt x="121" y="507"/>
                    </a:lnTo>
                    <a:lnTo>
                      <a:pt x="119" y="506"/>
                    </a:lnTo>
                    <a:lnTo>
                      <a:pt x="116" y="496"/>
                    </a:lnTo>
                    <a:lnTo>
                      <a:pt x="116" y="495"/>
                    </a:lnTo>
                    <a:lnTo>
                      <a:pt x="116" y="493"/>
                    </a:lnTo>
                    <a:lnTo>
                      <a:pt x="113" y="488"/>
                    </a:lnTo>
                    <a:lnTo>
                      <a:pt x="100" y="463"/>
                    </a:lnTo>
                    <a:lnTo>
                      <a:pt x="98" y="460"/>
                    </a:lnTo>
                    <a:lnTo>
                      <a:pt x="97" y="458"/>
                    </a:lnTo>
                    <a:lnTo>
                      <a:pt x="87" y="437"/>
                    </a:lnTo>
                    <a:lnTo>
                      <a:pt x="86" y="434"/>
                    </a:lnTo>
                    <a:lnTo>
                      <a:pt x="83" y="430"/>
                    </a:lnTo>
                    <a:lnTo>
                      <a:pt x="81" y="430"/>
                    </a:lnTo>
                    <a:lnTo>
                      <a:pt x="81" y="428"/>
                    </a:lnTo>
                    <a:lnTo>
                      <a:pt x="81" y="426"/>
                    </a:lnTo>
                    <a:lnTo>
                      <a:pt x="79" y="426"/>
                    </a:lnTo>
                    <a:lnTo>
                      <a:pt x="79" y="425"/>
                    </a:lnTo>
                    <a:lnTo>
                      <a:pt x="78" y="422"/>
                    </a:lnTo>
                    <a:lnTo>
                      <a:pt x="76" y="420"/>
                    </a:lnTo>
                    <a:lnTo>
                      <a:pt x="75" y="418"/>
                    </a:lnTo>
                    <a:lnTo>
                      <a:pt x="73" y="415"/>
                    </a:lnTo>
                    <a:lnTo>
                      <a:pt x="72" y="414"/>
                    </a:lnTo>
                    <a:lnTo>
                      <a:pt x="72" y="412"/>
                    </a:lnTo>
                    <a:lnTo>
                      <a:pt x="62" y="399"/>
                    </a:lnTo>
                    <a:lnTo>
                      <a:pt x="59" y="395"/>
                    </a:lnTo>
                    <a:lnTo>
                      <a:pt x="59" y="393"/>
                    </a:lnTo>
                    <a:lnTo>
                      <a:pt x="56" y="390"/>
                    </a:lnTo>
                    <a:lnTo>
                      <a:pt x="45" y="377"/>
                    </a:lnTo>
                    <a:lnTo>
                      <a:pt x="40" y="373"/>
                    </a:lnTo>
                    <a:lnTo>
                      <a:pt x="33" y="368"/>
                    </a:lnTo>
                    <a:lnTo>
                      <a:pt x="30" y="365"/>
                    </a:lnTo>
                    <a:lnTo>
                      <a:pt x="29" y="361"/>
                    </a:lnTo>
                    <a:lnTo>
                      <a:pt x="27" y="361"/>
                    </a:lnTo>
                    <a:lnTo>
                      <a:pt x="27" y="360"/>
                    </a:lnTo>
                    <a:lnTo>
                      <a:pt x="26" y="360"/>
                    </a:lnTo>
                    <a:lnTo>
                      <a:pt x="16" y="354"/>
                    </a:lnTo>
                    <a:lnTo>
                      <a:pt x="8" y="347"/>
                    </a:lnTo>
                    <a:lnTo>
                      <a:pt x="7" y="346"/>
                    </a:lnTo>
                    <a:lnTo>
                      <a:pt x="0" y="341"/>
                    </a:lnTo>
                    <a:lnTo>
                      <a:pt x="8" y="335"/>
                    </a:lnTo>
                    <a:lnTo>
                      <a:pt x="75" y="279"/>
                    </a:lnTo>
                    <a:lnTo>
                      <a:pt x="78" y="276"/>
                    </a:lnTo>
                    <a:lnTo>
                      <a:pt x="79" y="278"/>
                    </a:lnTo>
                    <a:lnTo>
                      <a:pt x="79" y="279"/>
                    </a:lnTo>
                    <a:lnTo>
                      <a:pt x="83" y="274"/>
                    </a:lnTo>
                    <a:lnTo>
                      <a:pt x="83" y="273"/>
                    </a:lnTo>
                    <a:lnTo>
                      <a:pt x="83" y="271"/>
                    </a:lnTo>
                    <a:lnTo>
                      <a:pt x="84" y="271"/>
                    </a:lnTo>
                    <a:lnTo>
                      <a:pt x="84" y="270"/>
                    </a:lnTo>
                    <a:lnTo>
                      <a:pt x="84" y="268"/>
                    </a:lnTo>
                    <a:lnTo>
                      <a:pt x="86" y="268"/>
                    </a:lnTo>
                    <a:lnTo>
                      <a:pt x="86" y="266"/>
                    </a:lnTo>
                    <a:lnTo>
                      <a:pt x="86" y="265"/>
                    </a:lnTo>
                    <a:lnTo>
                      <a:pt x="87" y="265"/>
                    </a:lnTo>
                    <a:lnTo>
                      <a:pt x="87" y="263"/>
                    </a:lnTo>
                    <a:lnTo>
                      <a:pt x="87" y="262"/>
                    </a:lnTo>
                    <a:lnTo>
                      <a:pt x="87" y="260"/>
                    </a:lnTo>
                    <a:lnTo>
                      <a:pt x="87" y="258"/>
                    </a:lnTo>
                    <a:lnTo>
                      <a:pt x="89" y="258"/>
                    </a:lnTo>
                    <a:lnTo>
                      <a:pt x="89" y="257"/>
                    </a:lnTo>
                    <a:lnTo>
                      <a:pt x="89" y="255"/>
                    </a:lnTo>
                    <a:lnTo>
                      <a:pt x="91" y="254"/>
                    </a:lnTo>
                    <a:lnTo>
                      <a:pt x="91" y="252"/>
                    </a:lnTo>
                    <a:lnTo>
                      <a:pt x="91" y="251"/>
                    </a:lnTo>
                    <a:lnTo>
                      <a:pt x="92" y="251"/>
                    </a:lnTo>
                    <a:lnTo>
                      <a:pt x="92" y="249"/>
                    </a:lnTo>
                    <a:lnTo>
                      <a:pt x="92" y="247"/>
                    </a:lnTo>
                    <a:lnTo>
                      <a:pt x="92" y="246"/>
                    </a:lnTo>
                    <a:lnTo>
                      <a:pt x="92" y="244"/>
                    </a:lnTo>
                    <a:lnTo>
                      <a:pt x="94" y="243"/>
                    </a:lnTo>
                    <a:lnTo>
                      <a:pt x="95" y="243"/>
                    </a:lnTo>
                    <a:lnTo>
                      <a:pt x="95" y="241"/>
                    </a:lnTo>
                    <a:lnTo>
                      <a:pt x="97" y="241"/>
                    </a:lnTo>
                    <a:lnTo>
                      <a:pt x="97" y="239"/>
                    </a:lnTo>
                    <a:lnTo>
                      <a:pt x="97" y="238"/>
                    </a:lnTo>
                    <a:lnTo>
                      <a:pt x="95" y="238"/>
                    </a:lnTo>
                    <a:lnTo>
                      <a:pt x="95" y="236"/>
                    </a:lnTo>
                    <a:lnTo>
                      <a:pt x="95" y="235"/>
                    </a:lnTo>
                    <a:lnTo>
                      <a:pt x="97" y="235"/>
                    </a:lnTo>
                    <a:lnTo>
                      <a:pt x="97" y="233"/>
                    </a:lnTo>
                    <a:lnTo>
                      <a:pt x="98" y="233"/>
                    </a:lnTo>
                    <a:lnTo>
                      <a:pt x="100" y="233"/>
                    </a:lnTo>
                    <a:lnTo>
                      <a:pt x="100" y="232"/>
                    </a:lnTo>
                    <a:lnTo>
                      <a:pt x="102" y="232"/>
                    </a:lnTo>
                    <a:lnTo>
                      <a:pt x="103" y="232"/>
                    </a:lnTo>
                    <a:lnTo>
                      <a:pt x="103" y="230"/>
                    </a:lnTo>
                    <a:lnTo>
                      <a:pt x="105" y="230"/>
                    </a:lnTo>
                    <a:lnTo>
                      <a:pt x="106" y="230"/>
                    </a:lnTo>
                    <a:lnTo>
                      <a:pt x="106" y="228"/>
                    </a:lnTo>
                    <a:lnTo>
                      <a:pt x="108" y="228"/>
                    </a:lnTo>
                    <a:lnTo>
                      <a:pt x="110" y="228"/>
                    </a:lnTo>
                    <a:lnTo>
                      <a:pt x="110" y="227"/>
                    </a:lnTo>
                    <a:lnTo>
                      <a:pt x="111" y="227"/>
                    </a:lnTo>
                    <a:lnTo>
                      <a:pt x="113" y="227"/>
                    </a:lnTo>
                    <a:lnTo>
                      <a:pt x="114" y="225"/>
                    </a:lnTo>
                    <a:lnTo>
                      <a:pt x="114" y="224"/>
                    </a:lnTo>
                    <a:lnTo>
                      <a:pt x="116" y="224"/>
                    </a:lnTo>
                    <a:lnTo>
                      <a:pt x="116" y="222"/>
                    </a:lnTo>
                    <a:lnTo>
                      <a:pt x="117" y="220"/>
                    </a:lnTo>
                    <a:lnTo>
                      <a:pt x="119" y="220"/>
                    </a:lnTo>
                    <a:lnTo>
                      <a:pt x="121" y="220"/>
                    </a:lnTo>
                    <a:lnTo>
                      <a:pt x="122" y="220"/>
                    </a:lnTo>
                    <a:lnTo>
                      <a:pt x="124" y="220"/>
                    </a:lnTo>
                    <a:lnTo>
                      <a:pt x="124" y="219"/>
                    </a:lnTo>
                    <a:lnTo>
                      <a:pt x="125" y="219"/>
                    </a:lnTo>
                    <a:lnTo>
                      <a:pt x="125" y="217"/>
                    </a:lnTo>
                    <a:lnTo>
                      <a:pt x="127" y="217"/>
                    </a:lnTo>
                    <a:lnTo>
                      <a:pt x="127" y="216"/>
                    </a:lnTo>
                    <a:lnTo>
                      <a:pt x="127" y="214"/>
                    </a:lnTo>
                    <a:lnTo>
                      <a:pt x="127" y="213"/>
                    </a:lnTo>
                    <a:lnTo>
                      <a:pt x="125" y="213"/>
                    </a:lnTo>
                    <a:lnTo>
                      <a:pt x="125" y="211"/>
                    </a:lnTo>
                    <a:lnTo>
                      <a:pt x="125" y="209"/>
                    </a:lnTo>
                    <a:lnTo>
                      <a:pt x="125" y="208"/>
                    </a:lnTo>
                    <a:lnTo>
                      <a:pt x="125" y="206"/>
                    </a:lnTo>
                    <a:lnTo>
                      <a:pt x="125" y="205"/>
                    </a:lnTo>
                    <a:lnTo>
                      <a:pt x="125" y="203"/>
                    </a:lnTo>
                    <a:lnTo>
                      <a:pt x="125" y="201"/>
                    </a:lnTo>
                    <a:lnTo>
                      <a:pt x="125" y="200"/>
                    </a:lnTo>
                    <a:lnTo>
                      <a:pt x="125" y="198"/>
                    </a:lnTo>
                    <a:lnTo>
                      <a:pt x="125" y="197"/>
                    </a:lnTo>
                    <a:lnTo>
                      <a:pt x="125" y="195"/>
                    </a:lnTo>
                    <a:lnTo>
                      <a:pt x="124" y="195"/>
                    </a:lnTo>
                    <a:lnTo>
                      <a:pt x="124" y="194"/>
                    </a:lnTo>
                    <a:lnTo>
                      <a:pt x="122" y="194"/>
                    </a:lnTo>
                    <a:lnTo>
                      <a:pt x="122" y="192"/>
                    </a:lnTo>
                    <a:lnTo>
                      <a:pt x="121" y="192"/>
                    </a:lnTo>
                    <a:lnTo>
                      <a:pt x="121" y="190"/>
                    </a:lnTo>
                    <a:lnTo>
                      <a:pt x="119" y="190"/>
                    </a:lnTo>
                    <a:lnTo>
                      <a:pt x="119" y="189"/>
                    </a:lnTo>
                    <a:lnTo>
                      <a:pt x="119" y="187"/>
                    </a:lnTo>
                    <a:lnTo>
                      <a:pt x="119" y="186"/>
                    </a:lnTo>
                    <a:lnTo>
                      <a:pt x="119" y="184"/>
                    </a:lnTo>
                    <a:lnTo>
                      <a:pt x="121" y="184"/>
                    </a:lnTo>
                    <a:lnTo>
                      <a:pt x="121" y="182"/>
                    </a:lnTo>
                    <a:lnTo>
                      <a:pt x="122" y="182"/>
                    </a:lnTo>
                    <a:lnTo>
                      <a:pt x="122" y="181"/>
                    </a:lnTo>
                    <a:lnTo>
                      <a:pt x="122" y="179"/>
                    </a:lnTo>
                    <a:lnTo>
                      <a:pt x="122" y="178"/>
                    </a:lnTo>
                    <a:lnTo>
                      <a:pt x="121" y="176"/>
                    </a:lnTo>
                    <a:lnTo>
                      <a:pt x="122" y="176"/>
                    </a:lnTo>
                    <a:lnTo>
                      <a:pt x="122" y="175"/>
                    </a:lnTo>
                    <a:lnTo>
                      <a:pt x="122" y="173"/>
                    </a:lnTo>
                    <a:lnTo>
                      <a:pt x="124" y="171"/>
                    </a:lnTo>
                    <a:lnTo>
                      <a:pt x="124" y="170"/>
                    </a:lnTo>
                    <a:lnTo>
                      <a:pt x="124" y="168"/>
                    </a:lnTo>
                    <a:lnTo>
                      <a:pt x="124" y="167"/>
                    </a:lnTo>
                    <a:lnTo>
                      <a:pt x="124" y="165"/>
                    </a:lnTo>
                    <a:lnTo>
                      <a:pt x="124" y="163"/>
                    </a:lnTo>
                    <a:lnTo>
                      <a:pt x="124" y="162"/>
                    </a:lnTo>
                    <a:lnTo>
                      <a:pt x="124" y="160"/>
                    </a:lnTo>
                    <a:lnTo>
                      <a:pt x="122" y="160"/>
                    </a:lnTo>
                    <a:lnTo>
                      <a:pt x="122" y="159"/>
                    </a:lnTo>
                    <a:lnTo>
                      <a:pt x="121" y="159"/>
                    </a:lnTo>
                    <a:lnTo>
                      <a:pt x="121" y="157"/>
                    </a:lnTo>
                    <a:lnTo>
                      <a:pt x="119" y="157"/>
                    </a:lnTo>
                    <a:lnTo>
                      <a:pt x="119" y="156"/>
                    </a:lnTo>
                    <a:lnTo>
                      <a:pt x="117" y="156"/>
                    </a:lnTo>
                    <a:lnTo>
                      <a:pt x="116" y="156"/>
                    </a:lnTo>
                    <a:lnTo>
                      <a:pt x="114" y="156"/>
                    </a:lnTo>
                    <a:lnTo>
                      <a:pt x="114" y="154"/>
                    </a:lnTo>
                    <a:lnTo>
                      <a:pt x="113" y="154"/>
                    </a:lnTo>
                    <a:lnTo>
                      <a:pt x="111" y="154"/>
                    </a:lnTo>
                    <a:lnTo>
                      <a:pt x="111" y="156"/>
                    </a:lnTo>
                    <a:lnTo>
                      <a:pt x="110" y="156"/>
                    </a:lnTo>
                    <a:lnTo>
                      <a:pt x="108" y="156"/>
                    </a:lnTo>
                    <a:lnTo>
                      <a:pt x="106" y="157"/>
                    </a:lnTo>
                    <a:lnTo>
                      <a:pt x="105" y="157"/>
                    </a:lnTo>
                    <a:lnTo>
                      <a:pt x="103" y="157"/>
                    </a:lnTo>
                    <a:lnTo>
                      <a:pt x="103" y="156"/>
                    </a:lnTo>
                    <a:lnTo>
                      <a:pt x="102" y="156"/>
                    </a:lnTo>
                    <a:lnTo>
                      <a:pt x="102" y="154"/>
                    </a:lnTo>
                    <a:lnTo>
                      <a:pt x="100" y="152"/>
                    </a:lnTo>
                    <a:lnTo>
                      <a:pt x="100" y="151"/>
                    </a:lnTo>
                    <a:lnTo>
                      <a:pt x="98" y="151"/>
                    </a:lnTo>
                    <a:lnTo>
                      <a:pt x="98" y="149"/>
                    </a:lnTo>
                    <a:lnTo>
                      <a:pt x="98" y="148"/>
                    </a:lnTo>
                    <a:lnTo>
                      <a:pt x="98" y="146"/>
                    </a:lnTo>
                    <a:lnTo>
                      <a:pt x="97" y="146"/>
                    </a:lnTo>
                    <a:lnTo>
                      <a:pt x="97" y="144"/>
                    </a:lnTo>
                    <a:lnTo>
                      <a:pt x="97" y="143"/>
                    </a:lnTo>
                    <a:lnTo>
                      <a:pt x="95" y="143"/>
                    </a:lnTo>
                    <a:lnTo>
                      <a:pt x="95" y="141"/>
                    </a:lnTo>
                    <a:lnTo>
                      <a:pt x="95" y="140"/>
                    </a:lnTo>
                    <a:lnTo>
                      <a:pt x="94" y="140"/>
                    </a:lnTo>
                    <a:lnTo>
                      <a:pt x="94" y="138"/>
                    </a:lnTo>
                    <a:lnTo>
                      <a:pt x="94" y="137"/>
                    </a:lnTo>
                    <a:lnTo>
                      <a:pt x="92" y="135"/>
                    </a:lnTo>
                    <a:lnTo>
                      <a:pt x="92" y="133"/>
                    </a:lnTo>
                    <a:lnTo>
                      <a:pt x="92" y="132"/>
                    </a:lnTo>
                    <a:lnTo>
                      <a:pt x="91" y="132"/>
                    </a:lnTo>
                    <a:lnTo>
                      <a:pt x="91" y="130"/>
                    </a:lnTo>
                    <a:lnTo>
                      <a:pt x="79" y="100"/>
                    </a:lnTo>
                    <a:lnTo>
                      <a:pt x="78" y="99"/>
                    </a:lnTo>
                    <a:lnTo>
                      <a:pt x="76" y="99"/>
                    </a:lnTo>
                    <a:lnTo>
                      <a:pt x="76" y="97"/>
                    </a:lnTo>
                    <a:lnTo>
                      <a:pt x="75" y="97"/>
                    </a:lnTo>
                    <a:lnTo>
                      <a:pt x="73" y="95"/>
                    </a:lnTo>
                    <a:lnTo>
                      <a:pt x="73" y="94"/>
                    </a:lnTo>
                    <a:lnTo>
                      <a:pt x="73" y="92"/>
                    </a:lnTo>
                    <a:lnTo>
                      <a:pt x="72" y="91"/>
                    </a:lnTo>
                    <a:lnTo>
                      <a:pt x="70" y="91"/>
                    </a:lnTo>
                    <a:lnTo>
                      <a:pt x="68" y="91"/>
                    </a:lnTo>
                    <a:lnTo>
                      <a:pt x="68" y="89"/>
                    </a:lnTo>
                    <a:lnTo>
                      <a:pt x="70" y="89"/>
                    </a:lnTo>
                    <a:lnTo>
                      <a:pt x="68" y="81"/>
                    </a:lnTo>
                    <a:lnTo>
                      <a:pt x="67" y="78"/>
                    </a:lnTo>
                    <a:lnTo>
                      <a:pt x="67" y="76"/>
                    </a:lnTo>
                    <a:lnTo>
                      <a:pt x="67" y="75"/>
                    </a:lnTo>
                    <a:lnTo>
                      <a:pt x="65" y="75"/>
                    </a:lnTo>
                    <a:lnTo>
                      <a:pt x="65" y="73"/>
                    </a:lnTo>
                    <a:lnTo>
                      <a:pt x="65" y="72"/>
                    </a:lnTo>
                    <a:lnTo>
                      <a:pt x="64" y="72"/>
                    </a:lnTo>
                    <a:lnTo>
                      <a:pt x="64" y="70"/>
                    </a:lnTo>
                    <a:lnTo>
                      <a:pt x="64" y="68"/>
                    </a:lnTo>
                    <a:lnTo>
                      <a:pt x="62" y="68"/>
                    </a:lnTo>
                    <a:lnTo>
                      <a:pt x="62" y="67"/>
                    </a:lnTo>
                    <a:lnTo>
                      <a:pt x="62" y="65"/>
                    </a:lnTo>
                    <a:lnTo>
                      <a:pt x="60" y="64"/>
                    </a:lnTo>
                    <a:lnTo>
                      <a:pt x="60" y="62"/>
                    </a:lnTo>
                    <a:lnTo>
                      <a:pt x="59" y="62"/>
                    </a:lnTo>
                    <a:lnTo>
                      <a:pt x="59" y="60"/>
                    </a:lnTo>
                    <a:lnTo>
                      <a:pt x="59" y="59"/>
                    </a:lnTo>
                    <a:lnTo>
                      <a:pt x="59" y="57"/>
                    </a:lnTo>
                    <a:lnTo>
                      <a:pt x="59" y="56"/>
                    </a:lnTo>
                    <a:lnTo>
                      <a:pt x="59" y="54"/>
                    </a:lnTo>
                    <a:lnTo>
                      <a:pt x="59" y="53"/>
                    </a:lnTo>
                    <a:lnTo>
                      <a:pt x="59" y="51"/>
                    </a:lnTo>
                    <a:lnTo>
                      <a:pt x="59" y="49"/>
                    </a:lnTo>
                    <a:lnTo>
                      <a:pt x="59" y="48"/>
                    </a:lnTo>
                    <a:lnTo>
                      <a:pt x="57" y="48"/>
                    </a:lnTo>
                    <a:lnTo>
                      <a:pt x="57" y="46"/>
                    </a:lnTo>
                    <a:lnTo>
                      <a:pt x="57" y="45"/>
                    </a:lnTo>
                    <a:lnTo>
                      <a:pt x="57" y="43"/>
                    </a:lnTo>
                    <a:lnTo>
                      <a:pt x="57" y="41"/>
                    </a:lnTo>
                    <a:lnTo>
                      <a:pt x="57" y="40"/>
                    </a:lnTo>
                    <a:lnTo>
                      <a:pt x="56" y="38"/>
                    </a:lnTo>
                    <a:lnTo>
                      <a:pt x="56" y="37"/>
                    </a:lnTo>
                    <a:lnTo>
                      <a:pt x="56" y="35"/>
                    </a:lnTo>
                    <a:lnTo>
                      <a:pt x="56" y="34"/>
                    </a:lnTo>
                    <a:lnTo>
                      <a:pt x="56" y="32"/>
                    </a:lnTo>
                    <a:lnTo>
                      <a:pt x="54" y="32"/>
                    </a:lnTo>
                    <a:lnTo>
                      <a:pt x="54" y="30"/>
                    </a:lnTo>
                    <a:lnTo>
                      <a:pt x="54" y="29"/>
                    </a:lnTo>
                    <a:lnTo>
                      <a:pt x="54" y="27"/>
                    </a:lnTo>
                    <a:lnTo>
                      <a:pt x="54" y="26"/>
                    </a:lnTo>
                    <a:lnTo>
                      <a:pt x="54" y="24"/>
                    </a:lnTo>
                    <a:lnTo>
                      <a:pt x="53" y="22"/>
                    </a:lnTo>
                    <a:lnTo>
                      <a:pt x="53" y="21"/>
                    </a:lnTo>
                    <a:lnTo>
                      <a:pt x="53" y="19"/>
                    </a:lnTo>
                    <a:lnTo>
                      <a:pt x="53" y="18"/>
                    </a:lnTo>
                    <a:lnTo>
                      <a:pt x="53" y="16"/>
                    </a:lnTo>
                    <a:lnTo>
                      <a:pt x="51" y="15"/>
                    </a:lnTo>
                    <a:lnTo>
                      <a:pt x="51" y="13"/>
                    </a:lnTo>
                    <a:lnTo>
                      <a:pt x="51" y="11"/>
                    </a:lnTo>
                    <a:lnTo>
                      <a:pt x="51" y="10"/>
                    </a:lnTo>
                    <a:lnTo>
                      <a:pt x="51" y="8"/>
                    </a:lnTo>
                    <a:lnTo>
                      <a:pt x="49" y="7"/>
                    </a:lnTo>
                    <a:lnTo>
                      <a:pt x="49" y="5"/>
                    </a:lnTo>
                    <a:lnTo>
                      <a:pt x="49" y="3"/>
                    </a:lnTo>
                    <a:lnTo>
                      <a:pt x="49" y="2"/>
                    </a:lnTo>
                    <a:lnTo>
                      <a:pt x="49" y="0"/>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36" name="Freeform 116"/>
              <p:cNvSpPr>
                <a:spLocks/>
              </p:cNvSpPr>
              <p:nvPr/>
            </p:nvSpPr>
            <p:spPr bwMode="auto">
              <a:xfrm>
                <a:off x="2078" y="1902"/>
                <a:ext cx="170" cy="176"/>
              </a:xfrm>
              <a:custGeom>
                <a:avLst/>
                <a:gdLst>
                  <a:gd name="T0" fmla="*/ 59 w 170"/>
                  <a:gd name="T1" fmla="*/ 173 h 176"/>
                  <a:gd name="T2" fmla="*/ 57 w 170"/>
                  <a:gd name="T3" fmla="*/ 168 h 176"/>
                  <a:gd name="T4" fmla="*/ 57 w 170"/>
                  <a:gd name="T5" fmla="*/ 162 h 176"/>
                  <a:gd name="T6" fmla="*/ 56 w 170"/>
                  <a:gd name="T7" fmla="*/ 157 h 176"/>
                  <a:gd name="T8" fmla="*/ 54 w 170"/>
                  <a:gd name="T9" fmla="*/ 153 h 176"/>
                  <a:gd name="T10" fmla="*/ 54 w 170"/>
                  <a:gd name="T11" fmla="*/ 146 h 176"/>
                  <a:gd name="T12" fmla="*/ 52 w 170"/>
                  <a:gd name="T13" fmla="*/ 141 h 176"/>
                  <a:gd name="T14" fmla="*/ 52 w 170"/>
                  <a:gd name="T15" fmla="*/ 135 h 176"/>
                  <a:gd name="T16" fmla="*/ 51 w 170"/>
                  <a:gd name="T17" fmla="*/ 130 h 176"/>
                  <a:gd name="T18" fmla="*/ 49 w 170"/>
                  <a:gd name="T19" fmla="*/ 126 h 176"/>
                  <a:gd name="T20" fmla="*/ 49 w 170"/>
                  <a:gd name="T21" fmla="*/ 119 h 176"/>
                  <a:gd name="T22" fmla="*/ 48 w 170"/>
                  <a:gd name="T23" fmla="*/ 113 h 176"/>
                  <a:gd name="T24" fmla="*/ 46 w 170"/>
                  <a:gd name="T25" fmla="*/ 107 h 176"/>
                  <a:gd name="T26" fmla="*/ 46 w 170"/>
                  <a:gd name="T27" fmla="*/ 100 h 176"/>
                  <a:gd name="T28" fmla="*/ 44 w 170"/>
                  <a:gd name="T29" fmla="*/ 94 h 176"/>
                  <a:gd name="T30" fmla="*/ 43 w 170"/>
                  <a:gd name="T31" fmla="*/ 88 h 176"/>
                  <a:gd name="T32" fmla="*/ 40 w 170"/>
                  <a:gd name="T33" fmla="*/ 84 h 176"/>
                  <a:gd name="T34" fmla="*/ 37 w 170"/>
                  <a:gd name="T35" fmla="*/ 81 h 176"/>
                  <a:gd name="T36" fmla="*/ 32 w 170"/>
                  <a:gd name="T37" fmla="*/ 78 h 176"/>
                  <a:gd name="T38" fmla="*/ 29 w 170"/>
                  <a:gd name="T39" fmla="*/ 75 h 176"/>
                  <a:gd name="T40" fmla="*/ 24 w 170"/>
                  <a:gd name="T41" fmla="*/ 72 h 176"/>
                  <a:gd name="T42" fmla="*/ 21 w 170"/>
                  <a:gd name="T43" fmla="*/ 69 h 176"/>
                  <a:gd name="T44" fmla="*/ 14 w 170"/>
                  <a:gd name="T45" fmla="*/ 64 h 176"/>
                  <a:gd name="T46" fmla="*/ 10 w 170"/>
                  <a:gd name="T47" fmla="*/ 59 h 176"/>
                  <a:gd name="T48" fmla="*/ 6 w 170"/>
                  <a:gd name="T49" fmla="*/ 56 h 176"/>
                  <a:gd name="T50" fmla="*/ 3 w 170"/>
                  <a:gd name="T51" fmla="*/ 53 h 176"/>
                  <a:gd name="T52" fmla="*/ 0 w 170"/>
                  <a:gd name="T53" fmla="*/ 48 h 176"/>
                  <a:gd name="T54" fmla="*/ 6 w 170"/>
                  <a:gd name="T55" fmla="*/ 48 h 176"/>
                  <a:gd name="T56" fmla="*/ 13 w 170"/>
                  <a:gd name="T57" fmla="*/ 48 h 176"/>
                  <a:gd name="T58" fmla="*/ 19 w 170"/>
                  <a:gd name="T59" fmla="*/ 48 h 176"/>
                  <a:gd name="T60" fmla="*/ 25 w 170"/>
                  <a:gd name="T61" fmla="*/ 48 h 176"/>
                  <a:gd name="T62" fmla="*/ 32 w 170"/>
                  <a:gd name="T63" fmla="*/ 48 h 176"/>
                  <a:gd name="T64" fmla="*/ 38 w 170"/>
                  <a:gd name="T65" fmla="*/ 48 h 176"/>
                  <a:gd name="T66" fmla="*/ 44 w 170"/>
                  <a:gd name="T67" fmla="*/ 46 h 176"/>
                  <a:gd name="T68" fmla="*/ 51 w 170"/>
                  <a:gd name="T69" fmla="*/ 46 h 176"/>
                  <a:gd name="T70" fmla="*/ 57 w 170"/>
                  <a:gd name="T71" fmla="*/ 46 h 176"/>
                  <a:gd name="T72" fmla="*/ 64 w 170"/>
                  <a:gd name="T73" fmla="*/ 46 h 176"/>
                  <a:gd name="T74" fmla="*/ 70 w 170"/>
                  <a:gd name="T75" fmla="*/ 46 h 176"/>
                  <a:gd name="T76" fmla="*/ 76 w 170"/>
                  <a:gd name="T77" fmla="*/ 46 h 176"/>
                  <a:gd name="T78" fmla="*/ 83 w 170"/>
                  <a:gd name="T79" fmla="*/ 46 h 176"/>
                  <a:gd name="T80" fmla="*/ 89 w 170"/>
                  <a:gd name="T81" fmla="*/ 46 h 176"/>
                  <a:gd name="T82" fmla="*/ 95 w 170"/>
                  <a:gd name="T83" fmla="*/ 45 h 176"/>
                  <a:gd name="T84" fmla="*/ 100 w 170"/>
                  <a:gd name="T85" fmla="*/ 43 h 176"/>
                  <a:gd name="T86" fmla="*/ 105 w 170"/>
                  <a:gd name="T87" fmla="*/ 40 h 176"/>
                  <a:gd name="T88" fmla="*/ 108 w 170"/>
                  <a:gd name="T89" fmla="*/ 37 h 176"/>
                  <a:gd name="T90" fmla="*/ 111 w 170"/>
                  <a:gd name="T91" fmla="*/ 31 h 176"/>
                  <a:gd name="T92" fmla="*/ 114 w 170"/>
                  <a:gd name="T93" fmla="*/ 27 h 176"/>
                  <a:gd name="T94" fmla="*/ 119 w 170"/>
                  <a:gd name="T95" fmla="*/ 24 h 176"/>
                  <a:gd name="T96" fmla="*/ 122 w 170"/>
                  <a:gd name="T97" fmla="*/ 19 h 176"/>
                  <a:gd name="T98" fmla="*/ 125 w 170"/>
                  <a:gd name="T99" fmla="*/ 16 h 176"/>
                  <a:gd name="T100" fmla="*/ 128 w 170"/>
                  <a:gd name="T101" fmla="*/ 13 h 176"/>
                  <a:gd name="T102" fmla="*/ 132 w 170"/>
                  <a:gd name="T103" fmla="*/ 10 h 176"/>
                  <a:gd name="T104" fmla="*/ 136 w 170"/>
                  <a:gd name="T105" fmla="*/ 5 h 176"/>
                  <a:gd name="T106" fmla="*/ 141 w 170"/>
                  <a:gd name="T107" fmla="*/ 2 h 176"/>
                  <a:gd name="T108" fmla="*/ 160 w 170"/>
                  <a:gd name="T109"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176">
                    <a:moveTo>
                      <a:pt x="60" y="176"/>
                    </a:moveTo>
                    <a:lnTo>
                      <a:pt x="59" y="176"/>
                    </a:lnTo>
                    <a:lnTo>
                      <a:pt x="59" y="175"/>
                    </a:lnTo>
                    <a:lnTo>
                      <a:pt x="59" y="173"/>
                    </a:lnTo>
                    <a:lnTo>
                      <a:pt x="59" y="172"/>
                    </a:lnTo>
                    <a:lnTo>
                      <a:pt x="59" y="170"/>
                    </a:lnTo>
                    <a:lnTo>
                      <a:pt x="59" y="168"/>
                    </a:lnTo>
                    <a:lnTo>
                      <a:pt x="57" y="168"/>
                    </a:lnTo>
                    <a:lnTo>
                      <a:pt x="57" y="167"/>
                    </a:lnTo>
                    <a:lnTo>
                      <a:pt x="57" y="165"/>
                    </a:lnTo>
                    <a:lnTo>
                      <a:pt x="57" y="164"/>
                    </a:lnTo>
                    <a:lnTo>
                      <a:pt x="57" y="162"/>
                    </a:lnTo>
                    <a:lnTo>
                      <a:pt x="57" y="160"/>
                    </a:lnTo>
                    <a:lnTo>
                      <a:pt x="56" y="160"/>
                    </a:lnTo>
                    <a:lnTo>
                      <a:pt x="56" y="159"/>
                    </a:lnTo>
                    <a:lnTo>
                      <a:pt x="56" y="157"/>
                    </a:lnTo>
                    <a:lnTo>
                      <a:pt x="56" y="156"/>
                    </a:lnTo>
                    <a:lnTo>
                      <a:pt x="56" y="154"/>
                    </a:lnTo>
                    <a:lnTo>
                      <a:pt x="56" y="153"/>
                    </a:lnTo>
                    <a:lnTo>
                      <a:pt x="54" y="153"/>
                    </a:lnTo>
                    <a:lnTo>
                      <a:pt x="54" y="151"/>
                    </a:lnTo>
                    <a:lnTo>
                      <a:pt x="54" y="149"/>
                    </a:lnTo>
                    <a:lnTo>
                      <a:pt x="54" y="148"/>
                    </a:lnTo>
                    <a:lnTo>
                      <a:pt x="54" y="146"/>
                    </a:lnTo>
                    <a:lnTo>
                      <a:pt x="54" y="145"/>
                    </a:lnTo>
                    <a:lnTo>
                      <a:pt x="54" y="143"/>
                    </a:lnTo>
                    <a:lnTo>
                      <a:pt x="52" y="143"/>
                    </a:lnTo>
                    <a:lnTo>
                      <a:pt x="52" y="141"/>
                    </a:lnTo>
                    <a:lnTo>
                      <a:pt x="52" y="140"/>
                    </a:lnTo>
                    <a:lnTo>
                      <a:pt x="52" y="138"/>
                    </a:lnTo>
                    <a:lnTo>
                      <a:pt x="52" y="137"/>
                    </a:lnTo>
                    <a:lnTo>
                      <a:pt x="52" y="135"/>
                    </a:lnTo>
                    <a:lnTo>
                      <a:pt x="52" y="134"/>
                    </a:lnTo>
                    <a:lnTo>
                      <a:pt x="51" y="134"/>
                    </a:lnTo>
                    <a:lnTo>
                      <a:pt x="51" y="132"/>
                    </a:lnTo>
                    <a:lnTo>
                      <a:pt x="51" y="130"/>
                    </a:lnTo>
                    <a:lnTo>
                      <a:pt x="51" y="129"/>
                    </a:lnTo>
                    <a:lnTo>
                      <a:pt x="51" y="127"/>
                    </a:lnTo>
                    <a:lnTo>
                      <a:pt x="51" y="126"/>
                    </a:lnTo>
                    <a:lnTo>
                      <a:pt x="49" y="126"/>
                    </a:lnTo>
                    <a:lnTo>
                      <a:pt x="49" y="124"/>
                    </a:lnTo>
                    <a:lnTo>
                      <a:pt x="49" y="122"/>
                    </a:lnTo>
                    <a:lnTo>
                      <a:pt x="49" y="121"/>
                    </a:lnTo>
                    <a:lnTo>
                      <a:pt x="49" y="119"/>
                    </a:lnTo>
                    <a:lnTo>
                      <a:pt x="48" y="118"/>
                    </a:lnTo>
                    <a:lnTo>
                      <a:pt x="48" y="116"/>
                    </a:lnTo>
                    <a:lnTo>
                      <a:pt x="48" y="115"/>
                    </a:lnTo>
                    <a:lnTo>
                      <a:pt x="48" y="113"/>
                    </a:lnTo>
                    <a:lnTo>
                      <a:pt x="48" y="111"/>
                    </a:lnTo>
                    <a:lnTo>
                      <a:pt x="48" y="110"/>
                    </a:lnTo>
                    <a:lnTo>
                      <a:pt x="46" y="108"/>
                    </a:lnTo>
                    <a:lnTo>
                      <a:pt x="46" y="107"/>
                    </a:lnTo>
                    <a:lnTo>
                      <a:pt x="46" y="105"/>
                    </a:lnTo>
                    <a:lnTo>
                      <a:pt x="46" y="103"/>
                    </a:lnTo>
                    <a:lnTo>
                      <a:pt x="46" y="102"/>
                    </a:lnTo>
                    <a:lnTo>
                      <a:pt x="46" y="100"/>
                    </a:lnTo>
                    <a:lnTo>
                      <a:pt x="44" y="99"/>
                    </a:lnTo>
                    <a:lnTo>
                      <a:pt x="44" y="97"/>
                    </a:lnTo>
                    <a:lnTo>
                      <a:pt x="44" y="96"/>
                    </a:lnTo>
                    <a:lnTo>
                      <a:pt x="44" y="94"/>
                    </a:lnTo>
                    <a:lnTo>
                      <a:pt x="44" y="92"/>
                    </a:lnTo>
                    <a:lnTo>
                      <a:pt x="44" y="91"/>
                    </a:lnTo>
                    <a:lnTo>
                      <a:pt x="44" y="89"/>
                    </a:lnTo>
                    <a:lnTo>
                      <a:pt x="43" y="88"/>
                    </a:lnTo>
                    <a:lnTo>
                      <a:pt x="43" y="86"/>
                    </a:lnTo>
                    <a:lnTo>
                      <a:pt x="41" y="86"/>
                    </a:lnTo>
                    <a:lnTo>
                      <a:pt x="41" y="84"/>
                    </a:lnTo>
                    <a:lnTo>
                      <a:pt x="40" y="84"/>
                    </a:lnTo>
                    <a:lnTo>
                      <a:pt x="40" y="83"/>
                    </a:lnTo>
                    <a:lnTo>
                      <a:pt x="38" y="83"/>
                    </a:lnTo>
                    <a:lnTo>
                      <a:pt x="38" y="81"/>
                    </a:lnTo>
                    <a:lnTo>
                      <a:pt x="37" y="81"/>
                    </a:lnTo>
                    <a:lnTo>
                      <a:pt x="37" y="80"/>
                    </a:lnTo>
                    <a:lnTo>
                      <a:pt x="35" y="80"/>
                    </a:lnTo>
                    <a:lnTo>
                      <a:pt x="33" y="78"/>
                    </a:lnTo>
                    <a:lnTo>
                      <a:pt x="32" y="78"/>
                    </a:lnTo>
                    <a:lnTo>
                      <a:pt x="32" y="76"/>
                    </a:lnTo>
                    <a:lnTo>
                      <a:pt x="30" y="76"/>
                    </a:lnTo>
                    <a:lnTo>
                      <a:pt x="30" y="75"/>
                    </a:lnTo>
                    <a:lnTo>
                      <a:pt x="29" y="75"/>
                    </a:lnTo>
                    <a:lnTo>
                      <a:pt x="27" y="73"/>
                    </a:lnTo>
                    <a:lnTo>
                      <a:pt x="25" y="73"/>
                    </a:lnTo>
                    <a:lnTo>
                      <a:pt x="25" y="72"/>
                    </a:lnTo>
                    <a:lnTo>
                      <a:pt x="24" y="72"/>
                    </a:lnTo>
                    <a:lnTo>
                      <a:pt x="24" y="70"/>
                    </a:lnTo>
                    <a:lnTo>
                      <a:pt x="22" y="70"/>
                    </a:lnTo>
                    <a:lnTo>
                      <a:pt x="22" y="69"/>
                    </a:lnTo>
                    <a:lnTo>
                      <a:pt x="21" y="69"/>
                    </a:lnTo>
                    <a:lnTo>
                      <a:pt x="19" y="67"/>
                    </a:lnTo>
                    <a:lnTo>
                      <a:pt x="18" y="65"/>
                    </a:lnTo>
                    <a:lnTo>
                      <a:pt x="16" y="64"/>
                    </a:lnTo>
                    <a:lnTo>
                      <a:pt x="14" y="64"/>
                    </a:lnTo>
                    <a:lnTo>
                      <a:pt x="14" y="62"/>
                    </a:lnTo>
                    <a:lnTo>
                      <a:pt x="13" y="61"/>
                    </a:lnTo>
                    <a:lnTo>
                      <a:pt x="11" y="59"/>
                    </a:lnTo>
                    <a:lnTo>
                      <a:pt x="10" y="59"/>
                    </a:lnTo>
                    <a:lnTo>
                      <a:pt x="10" y="57"/>
                    </a:lnTo>
                    <a:lnTo>
                      <a:pt x="8" y="57"/>
                    </a:lnTo>
                    <a:lnTo>
                      <a:pt x="8" y="56"/>
                    </a:lnTo>
                    <a:lnTo>
                      <a:pt x="6" y="56"/>
                    </a:lnTo>
                    <a:lnTo>
                      <a:pt x="6" y="54"/>
                    </a:lnTo>
                    <a:lnTo>
                      <a:pt x="5" y="54"/>
                    </a:lnTo>
                    <a:lnTo>
                      <a:pt x="5" y="53"/>
                    </a:lnTo>
                    <a:lnTo>
                      <a:pt x="3" y="53"/>
                    </a:lnTo>
                    <a:lnTo>
                      <a:pt x="3" y="51"/>
                    </a:lnTo>
                    <a:lnTo>
                      <a:pt x="2" y="51"/>
                    </a:lnTo>
                    <a:lnTo>
                      <a:pt x="0" y="50"/>
                    </a:lnTo>
                    <a:lnTo>
                      <a:pt x="0" y="48"/>
                    </a:lnTo>
                    <a:lnTo>
                      <a:pt x="2" y="48"/>
                    </a:lnTo>
                    <a:lnTo>
                      <a:pt x="3" y="48"/>
                    </a:lnTo>
                    <a:lnTo>
                      <a:pt x="5" y="48"/>
                    </a:lnTo>
                    <a:lnTo>
                      <a:pt x="6" y="48"/>
                    </a:lnTo>
                    <a:lnTo>
                      <a:pt x="8" y="48"/>
                    </a:lnTo>
                    <a:lnTo>
                      <a:pt x="10" y="48"/>
                    </a:lnTo>
                    <a:lnTo>
                      <a:pt x="11" y="48"/>
                    </a:lnTo>
                    <a:lnTo>
                      <a:pt x="13" y="48"/>
                    </a:lnTo>
                    <a:lnTo>
                      <a:pt x="14" y="48"/>
                    </a:lnTo>
                    <a:lnTo>
                      <a:pt x="16" y="48"/>
                    </a:lnTo>
                    <a:lnTo>
                      <a:pt x="18" y="48"/>
                    </a:lnTo>
                    <a:lnTo>
                      <a:pt x="19" y="48"/>
                    </a:lnTo>
                    <a:lnTo>
                      <a:pt x="21" y="48"/>
                    </a:lnTo>
                    <a:lnTo>
                      <a:pt x="22" y="48"/>
                    </a:lnTo>
                    <a:lnTo>
                      <a:pt x="24" y="48"/>
                    </a:lnTo>
                    <a:lnTo>
                      <a:pt x="25" y="48"/>
                    </a:lnTo>
                    <a:lnTo>
                      <a:pt x="27" y="48"/>
                    </a:lnTo>
                    <a:lnTo>
                      <a:pt x="29" y="48"/>
                    </a:lnTo>
                    <a:lnTo>
                      <a:pt x="30" y="48"/>
                    </a:lnTo>
                    <a:lnTo>
                      <a:pt x="32" y="48"/>
                    </a:lnTo>
                    <a:lnTo>
                      <a:pt x="33" y="48"/>
                    </a:lnTo>
                    <a:lnTo>
                      <a:pt x="35" y="48"/>
                    </a:lnTo>
                    <a:lnTo>
                      <a:pt x="37" y="48"/>
                    </a:lnTo>
                    <a:lnTo>
                      <a:pt x="38" y="48"/>
                    </a:lnTo>
                    <a:lnTo>
                      <a:pt x="40" y="48"/>
                    </a:lnTo>
                    <a:lnTo>
                      <a:pt x="41" y="48"/>
                    </a:lnTo>
                    <a:lnTo>
                      <a:pt x="43" y="46"/>
                    </a:lnTo>
                    <a:lnTo>
                      <a:pt x="44" y="46"/>
                    </a:lnTo>
                    <a:lnTo>
                      <a:pt x="46" y="46"/>
                    </a:lnTo>
                    <a:lnTo>
                      <a:pt x="48" y="46"/>
                    </a:lnTo>
                    <a:lnTo>
                      <a:pt x="49" y="46"/>
                    </a:lnTo>
                    <a:lnTo>
                      <a:pt x="51" y="46"/>
                    </a:lnTo>
                    <a:lnTo>
                      <a:pt x="52" y="46"/>
                    </a:lnTo>
                    <a:lnTo>
                      <a:pt x="54" y="46"/>
                    </a:lnTo>
                    <a:lnTo>
                      <a:pt x="56" y="46"/>
                    </a:lnTo>
                    <a:lnTo>
                      <a:pt x="57" y="46"/>
                    </a:lnTo>
                    <a:lnTo>
                      <a:pt x="59" y="46"/>
                    </a:lnTo>
                    <a:lnTo>
                      <a:pt x="60" y="46"/>
                    </a:lnTo>
                    <a:lnTo>
                      <a:pt x="62" y="46"/>
                    </a:lnTo>
                    <a:lnTo>
                      <a:pt x="64" y="46"/>
                    </a:lnTo>
                    <a:lnTo>
                      <a:pt x="65" y="46"/>
                    </a:lnTo>
                    <a:lnTo>
                      <a:pt x="67" y="46"/>
                    </a:lnTo>
                    <a:lnTo>
                      <a:pt x="68" y="46"/>
                    </a:lnTo>
                    <a:lnTo>
                      <a:pt x="70" y="46"/>
                    </a:lnTo>
                    <a:lnTo>
                      <a:pt x="71" y="46"/>
                    </a:lnTo>
                    <a:lnTo>
                      <a:pt x="73" y="46"/>
                    </a:lnTo>
                    <a:lnTo>
                      <a:pt x="75" y="46"/>
                    </a:lnTo>
                    <a:lnTo>
                      <a:pt x="76" y="46"/>
                    </a:lnTo>
                    <a:lnTo>
                      <a:pt x="78" y="46"/>
                    </a:lnTo>
                    <a:lnTo>
                      <a:pt x="79" y="46"/>
                    </a:lnTo>
                    <a:lnTo>
                      <a:pt x="81" y="46"/>
                    </a:lnTo>
                    <a:lnTo>
                      <a:pt x="83" y="46"/>
                    </a:lnTo>
                    <a:lnTo>
                      <a:pt x="84" y="46"/>
                    </a:lnTo>
                    <a:lnTo>
                      <a:pt x="86" y="46"/>
                    </a:lnTo>
                    <a:lnTo>
                      <a:pt x="87" y="46"/>
                    </a:lnTo>
                    <a:lnTo>
                      <a:pt x="89" y="46"/>
                    </a:lnTo>
                    <a:lnTo>
                      <a:pt x="90" y="46"/>
                    </a:lnTo>
                    <a:lnTo>
                      <a:pt x="92" y="46"/>
                    </a:lnTo>
                    <a:lnTo>
                      <a:pt x="94" y="46"/>
                    </a:lnTo>
                    <a:lnTo>
                      <a:pt x="95" y="45"/>
                    </a:lnTo>
                    <a:lnTo>
                      <a:pt x="97" y="45"/>
                    </a:lnTo>
                    <a:lnTo>
                      <a:pt x="98" y="45"/>
                    </a:lnTo>
                    <a:lnTo>
                      <a:pt x="98" y="43"/>
                    </a:lnTo>
                    <a:lnTo>
                      <a:pt x="100" y="43"/>
                    </a:lnTo>
                    <a:lnTo>
                      <a:pt x="102" y="42"/>
                    </a:lnTo>
                    <a:lnTo>
                      <a:pt x="103" y="42"/>
                    </a:lnTo>
                    <a:lnTo>
                      <a:pt x="103" y="40"/>
                    </a:lnTo>
                    <a:lnTo>
                      <a:pt x="105" y="40"/>
                    </a:lnTo>
                    <a:lnTo>
                      <a:pt x="105" y="38"/>
                    </a:lnTo>
                    <a:lnTo>
                      <a:pt x="106" y="38"/>
                    </a:lnTo>
                    <a:lnTo>
                      <a:pt x="106" y="37"/>
                    </a:lnTo>
                    <a:lnTo>
                      <a:pt x="108" y="37"/>
                    </a:lnTo>
                    <a:lnTo>
                      <a:pt x="108" y="35"/>
                    </a:lnTo>
                    <a:lnTo>
                      <a:pt x="109" y="34"/>
                    </a:lnTo>
                    <a:lnTo>
                      <a:pt x="111" y="32"/>
                    </a:lnTo>
                    <a:lnTo>
                      <a:pt x="111" y="31"/>
                    </a:lnTo>
                    <a:lnTo>
                      <a:pt x="113" y="31"/>
                    </a:lnTo>
                    <a:lnTo>
                      <a:pt x="113" y="29"/>
                    </a:lnTo>
                    <a:lnTo>
                      <a:pt x="114" y="29"/>
                    </a:lnTo>
                    <a:lnTo>
                      <a:pt x="114" y="27"/>
                    </a:lnTo>
                    <a:lnTo>
                      <a:pt x="116" y="27"/>
                    </a:lnTo>
                    <a:lnTo>
                      <a:pt x="116" y="26"/>
                    </a:lnTo>
                    <a:lnTo>
                      <a:pt x="117" y="24"/>
                    </a:lnTo>
                    <a:lnTo>
                      <a:pt x="119" y="24"/>
                    </a:lnTo>
                    <a:lnTo>
                      <a:pt x="119" y="23"/>
                    </a:lnTo>
                    <a:lnTo>
                      <a:pt x="121" y="21"/>
                    </a:lnTo>
                    <a:lnTo>
                      <a:pt x="122" y="21"/>
                    </a:lnTo>
                    <a:lnTo>
                      <a:pt x="122" y="19"/>
                    </a:lnTo>
                    <a:lnTo>
                      <a:pt x="124" y="19"/>
                    </a:lnTo>
                    <a:lnTo>
                      <a:pt x="124" y="18"/>
                    </a:lnTo>
                    <a:lnTo>
                      <a:pt x="125" y="18"/>
                    </a:lnTo>
                    <a:lnTo>
                      <a:pt x="125" y="16"/>
                    </a:lnTo>
                    <a:lnTo>
                      <a:pt x="127" y="16"/>
                    </a:lnTo>
                    <a:lnTo>
                      <a:pt x="127" y="15"/>
                    </a:lnTo>
                    <a:lnTo>
                      <a:pt x="128" y="15"/>
                    </a:lnTo>
                    <a:lnTo>
                      <a:pt x="128" y="13"/>
                    </a:lnTo>
                    <a:lnTo>
                      <a:pt x="130" y="13"/>
                    </a:lnTo>
                    <a:lnTo>
                      <a:pt x="130" y="12"/>
                    </a:lnTo>
                    <a:lnTo>
                      <a:pt x="132" y="12"/>
                    </a:lnTo>
                    <a:lnTo>
                      <a:pt x="132" y="10"/>
                    </a:lnTo>
                    <a:lnTo>
                      <a:pt x="133" y="10"/>
                    </a:lnTo>
                    <a:lnTo>
                      <a:pt x="133" y="8"/>
                    </a:lnTo>
                    <a:lnTo>
                      <a:pt x="135" y="7"/>
                    </a:lnTo>
                    <a:lnTo>
                      <a:pt x="136" y="5"/>
                    </a:lnTo>
                    <a:lnTo>
                      <a:pt x="138" y="4"/>
                    </a:lnTo>
                    <a:lnTo>
                      <a:pt x="138" y="2"/>
                    </a:lnTo>
                    <a:lnTo>
                      <a:pt x="140" y="2"/>
                    </a:lnTo>
                    <a:lnTo>
                      <a:pt x="141" y="2"/>
                    </a:lnTo>
                    <a:lnTo>
                      <a:pt x="143" y="2"/>
                    </a:lnTo>
                    <a:lnTo>
                      <a:pt x="149" y="2"/>
                    </a:lnTo>
                    <a:lnTo>
                      <a:pt x="155" y="0"/>
                    </a:lnTo>
                    <a:lnTo>
                      <a:pt x="160" y="0"/>
                    </a:lnTo>
                    <a:lnTo>
                      <a:pt x="170" y="0"/>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37" name="Freeform 117"/>
              <p:cNvSpPr>
                <a:spLocks/>
              </p:cNvSpPr>
              <p:nvPr/>
            </p:nvSpPr>
            <p:spPr bwMode="auto">
              <a:xfrm>
                <a:off x="3567" y="3201"/>
                <a:ext cx="1152" cy="832"/>
              </a:xfrm>
              <a:custGeom>
                <a:avLst/>
                <a:gdLst>
                  <a:gd name="T0" fmla="*/ 447 w 1152"/>
                  <a:gd name="T1" fmla="*/ 61 h 832"/>
                  <a:gd name="T2" fmla="*/ 415 w 1152"/>
                  <a:gd name="T3" fmla="*/ 143 h 832"/>
                  <a:gd name="T4" fmla="*/ 387 w 1152"/>
                  <a:gd name="T5" fmla="*/ 203 h 832"/>
                  <a:gd name="T6" fmla="*/ 461 w 1152"/>
                  <a:gd name="T7" fmla="*/ 205 h 832"/>
                  <a:gd name="T8" fmla="*/ 499 w 1152"/>
                  <a:gd name="T9" fmla="*/ 170 h 832"/>
                  <a:gd name="T10" fmla="*/ 523 w 1152"/>
                  <a:gd name="T11" fmla="*/ 183 h 832"/>
                  <a:gd name="T12" fmla="*/ 566 w 1152"/>
                  <a:gd name="T13" fmla="*/ 179 h 832"/>
                  <a:gd name="T14" fmla="*/ 599 w 1152"/>
                  <a:gd name="T15" fmla="*/ 165 h 832"/>
                  <a:gd name="T16" fmla="*/ 621 w 1152"/>
                  <a:gd name="T17" fmla="*/ 122 h 832"/>
                  <a:gd name="T18" fmla="*/ 640 w 1152"/>
                  <a:gd name="T19" fmla="*/ 165 h 832"/>
                  <a:gd name="T20" fmla="*/ 631 w 1152"/>
                  <a:gd name="T21" fmla="*/ 228 h 832"/>
                  <a:gd name="T22" fmla="*/ 677 w 1152"/>
                  <a:gd name="T23" fmla="*/ 240 h 832"/>
                  <a:gd name="T24" fmla="*/ 756 w 1152"/>
                  <a:gd name="T25" fmla="*/ 170 h 832"/>
                  <a:gd name="T26" fmla="*/ 835 w 1152"/>
                  <a:gd name="T27" fmla="*/ 146 h 832"/>
                  <a:gd name="T28" fmla="*/ 806 w 1152"/>
                  <a:gd name="T29" fmla="*/ 198 h 832"/>
                  <a:gd name="T30" fmla="*/ 773 w 1152"/>
                  <a:gd name="T31" fmla="*/ 225 h 832"/>
                  <a:gd name="T32" fmla="*/ 756 w 1152"/>
                  <a:gd name="T33" fmla="*/ 266 h 832"/>
                  <a:gd name="T34" fmla="*/ 757 w 1152"/>
                  <a:gd name="T35" fmla="*/ 306 h 832"/>
                  <a:gd name="T36" fmla="*/ 792 w 1152"/>
                  <a:gd name="T37" fmla="*/ 338 h 832"/>
                  <a:gd name="T38" fmla="*/ 860 w 1152"/>
                  <a:gd name="T39" fmla="*/ 365 h 832"/>
                  <a:gd name="T40" fmla="*/ 952 w 1152"/>
                  <a:gd name="T41" fmla="*/ 385 h 832"/>
                  <a:gd name="T42" fmla="*/ 1060 w 1152"/>
                  <a:gd name="T43" fmla="*/ 423 h 832"/>
                  <a:gd name="T44" fmla="*/ 1080 w 1152"/>
                  <a:gd name="T45" fmla="*/ 468 h 832"/>
                  <a:gd name="T46" fmla="*/ 1104 w 1152"/>
                  <a:gd name="T47" fmla="*/ 507 h 832"/>
                  <a:gd name="T48" fmla="*/ 1123 w 1152"/>
                  <a:gd name="T49" fmla="*/ 569 h 832"/>
                  <a:gd name="T50" fmla="*/ 1134 w 1152"/>
                  <a:gd name="T51" fmla="*/ 615 h 832"/>
                  <a:gd name="T52" fmla="*/ 1145 w 1152"/>
                  <a:gd name="T53" fmla="*/ 656 h 832"/>
                  <a:gd name="T54" fmla="*/ 1082 w 1152"/>
                  <a:gd name="T55" fmla="*/ 697 h 832"/>
                  <a:gd name="T56" fmla="*/ 1061 w 1152"/>
                  <a:gd name="T57" fmla="*/ 764 h 832"/>
                  <a:gd name="T58" fmla="*/ 985 w 1152"/>
                  <a:gd name="T59" fmla="*/ 800 h 832"/>
                  <a:gd name="T60" fmla="*/ 890 w 1152"/>
                  <a:gd name="T61" fmla="*/ 819 h 832"/>
                  <a:gd name="T62" fmla="*/ 810 w 1152"/>
                  <a:gd name="T63" fmla="*/ 778 h 832"/>
                  <a:gd name="T64" fmla="*/ 741 w 1152"/>
                  <a:gd name="T65" fmla="*/ 780 h 832"/>
                  <a:gd name="T66" fmla="*/ 683 w 1152"/>
                  <a:gd name="T67" fmla="*/ 826 h 832"/>
                  <a:gd name="T68" fmla="*/ 596 w 1152"/>
                  <a:gd name="T69" fmla="*/ 811 h 832"/>
                  <a:gd name="T70" fmla="*/ 528 w 1152"/>
                  <a:gd name="T71" fmla="*/ 810 h 832"/>
                  <a:gd name="T72" fmla="*/ 483 w 1152"/>
                  <a:gd name="T73" fmla="*/ 756 h 832"/>
                  <a:gd name="T74" fmla="*/ 409 w 1152"/>
                  <a:gd name="T75" fmla="*/ 729 h 832"/>
                  <a:gd name="T76" fmla="*/ 357 w 1152"/>
                  <a:gd name="T77" fmla="*/ 783 h 832"/>
                  <a:gd name="T78" fmla="*/ 312 w 1152"/>
                  <a:gd name="T79" fmla="*/ 781 h 832"/>
                  <a:gd name="T80" fmla="*/ 269 w 1152"/>
                  <a:gd name="T81" fmla="*/ 775 h 832"/>
                  <a:gd name="T82" fmla="*/ 165 w 1152"/>
                  <a:gd name="T83" fmla="*/ 773 h 832"/>
                  <a:gd name="T84" fmla="*/ 92 w 1152"/>
                  <a:gd name="T85" fmla="*/ 697 h 832"/>
                  <a:gd name="T86" fmla="*/ 27 w 1152"/>
                  <a:gd name="T87" fmla="*/ 621 h 832"/>
                  <a:gd name="T88" fmla="*/ 30 w 1152"/>
                  <a:gd name="T89" fmla="*/ 520 h 832"/>
                  <a:gd name="T90" fmla="*/ 13 w 1152"/>
                  <a:gd name="T91" fmla="*/ 436 h 832"/>
                  <a:gd name="T92" fmla="*/ 56 w 1152"/>
                  <a:gd name="T93" fmla="*/ 431 h 832"/>
                  <a:gd name="T94" fmla="*/ 89 w 1152"/>
                  <a:gd name="T95" fmla="*/ 403 h 832"/>
                  <a:gd name="T96" fmla="*/ 125 w 1152"/>
                  <a:gd name="T97" fmla="*/ 377 h 832"/>
                  <a:gd name="T98" fmla="*/ 141 w 1152"/>
                  <a:gd name="T99" fmla="*/ 357 h 832"/>
                  <a:gd name="T100" fmla="*/ 162 w 1152"/>
                  <a:gd name="T101" fmla="*/ 330 h 832"/>
                  <a:gd name="T102" fmla="*/ 187 w 1152"/>
                  <a:gd name="T103" fmla="*/ 320 h 832"/>
                  <a:gd name="T104" fmla="*/ 211 w 1152"/>
                  <a:gd name="T105" fmla="*/ 282 h 832"/>
                  <a:gd name="T106" fmla="*/ 208 w 1152"/>
                  <a:gd name="T107" fmla="*/ 246 h 832"/>
                  <a:gd name="T108" fmla="*/ 200 w 1152"/>
                  <a:gd name="T109" fmla="*/ 211 h 832"/>
                  <a:gd name="T110" fmla="*/ 198 w 1152"/>
                  <a:gd name="T111" fmla="*/ 179 h 832"/>
                  <a:gd name="T112" fmla="*/ 236 w 1152"/>
                  <a:gd name="T113" fmla="*/ 151 h 832"/>
                  <a:gd name="T114" fmla="*/ 276 w 1152"/>
                  <a:gd name="T115" fmla="*/ 126 h 832"/>
                  <a:gd name="T116" fmla="*/ 315 w 1152"/>
                  <a:gd name="T117" fmla="*/ 91 h 832"/>
                  <a:gd name="T118" fmla="*/ 357 w 1152"/>
                  <a:gd name="T119" fmla="*/ 62 h 832"/>
                  <a:gd name="T120" fmla="*/ 399 w 1152"/>
                  <a:gd name="T121" fmla="*/ 40 h 832"/>
                  <a:gd name="T122" fmla="*/ 429 w 1152"/>
                  <a:gd name="T123" fmla="*/ 8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2" h="832">
                    <a:moveTo>
                      <a:pt x="439" y="0"/>
                    </a:moveTo>
                    <a:lnTo>
                      <a:pt x="439" y="5"/>
                    </a:lnTo>
                    <a:lnTo>
                      <a:pt x="439" y="7"/>
                    </a:lnTo>
                    <a:lnTo>
                      <a:pt x="439" y="8"/>
                    </a:lnTo>
                    <a:lnTo>
                      <a:pt x="437" y="7"/>
                    </a:lnTo>
                    <a:lnTo>
                      <a:pt x="436" y="8"/>
                    </a:lnTo>
                    <a:lnTo>
                      <a:pt x="437" y="10"/>
                    </a:lnTo>
                    <a:lnTo>
                      <a:pt x="437" y="11"/>
                    </a:lnTo>
                    <a:lnTo>
                      <a:pt x="436" y="11"/>
                    </a:lnTo>
                    <a:lnTo>
                      <a:pt x="436" y="13"/>
                    </a:lnTo>
                    <a:lnTo>
                      <a:pt x="437" y="15"/>
                    </a:lnTo>
                    <a:lnTo>
                      <a:pt x="437" y="16"/>
                    </a:lnTo>
                    <a:lnTo>
                      <a:pt x="436" y="16"/>
                    </a:lnTo>
                    <a:lnTo>
                      <a:pt x="437" y="18"/>
                    </a:lnTo>
                    <a:lnTo>
                      <a:pt x="437" y="19"/>
                    </a:lnTo>
                    <a:lnTo>
                      <a:pt x="437" y="23"/>
                    </a:lnTo>
                    <a:lnTo>
                      <a:pt x="437" y="24"/>
                    </a:lnTo>
                    <a:lnTo>
                      <a:pt x="437" y="26"/>
                    </a:lnTo>
                    <a:lnTo>
                      <a:pt x="439" y="27"/>
                    </a:lnTo>
                    <a:lnTo>
                      <a:pt x="439" y="29"/>
                    </a:lnTo>
                    <a:lnTo>
                      <a:pt x="439" y="30"/>
                    </a:lnTo>
                    <a:lnTo>
                      <a:pt x="439" y="32"/>
                    </a:lnTo>
                    <a:lnTo>
                      <a:pt x="439" y="34"/>
                    </a:lnTo>
                    <a:lnTo>
                      <a:pt x="439" y="35"/>
                    </a:lnTo>
                    <a:lnTo>
                      <a:pt x="439" y="37"/>
                    </a:lnTo>
                    <a:lnTo>
                      <a:pt x="439" y="38"/>
                    </a:lnTo>
                    <a:lnTo>
                      <a:pt x="439" y="40"/>
                    </a:lnTo>
                    <a:lnTo>
                      <a:pt x="439" y="42"/>
                    </a:lnTo>
                    <a:lnTo>
                      <a:pt x="439" y="43"/>
                    </a:lnTo>
                    <a:lnTo>
                      <a:pt x="440" y="45"/>
                    </a:lnTo>
                    <a:lnTo>
                      <a:pt x="439" y="48"/>
                    </a:lnTo>
                    <a:lnTo>
                      <a:pt x="440" y="48"/>
                    </a:lnTo>
                    <a:lnTo>
                      <a:pt x="442" y="51"/>
                    </a:lnTo>
                    <a:lnTo>
                      <a:pt x="444" y="54"/>
                    </a:lnTo>
                    <a:lnTo>
                      <a:pt x="445" y="57"/>
                    </a:lnTo>
                    <a:lnTo>
                      <a:pt x="447" y="61"/>
                    </a:lnTo>
                    <a:lnTo>
                      <a:pt x="448" y="65"/>
                    </a:lnTo>
                    <a:lnTo>
                      <a:pt x="448" y="70"/>
                    </a:lnTo>
                    <a:lnTo>
                      <a:pt x="450" y="73"/>
                    </a:lnTo>
                    <a:lnTo>
                      <a:pt x="450" y="75"/>
                    </a:lnTo>
                    <a:lnTo>
                      <a:pt x="448" y="78"/>
                    </a:lnTo>
                    <a:lnTo>
                      <a:pt x="447" y="81"/>
                    </a:lnTo>
                    <a:lnTo>
                      <a:pt x="444" y="84"/>
                    </a:lnTo>
                    <a:lnTo>
                      <a:pt x="440" y="86"/>
                    </a:lnTo>
                    <a:lnTo>
                      <a:pt x="437" y="87"/>
                    </a:lnTo>
                    <a:lnTo>
                      <a:pt x="436" y="89"/>
                    </a:lnTo>
                    <a:lnTo>
                      <a:pt x="431" y="91"/>
                    </a:lnTo>
                    <a:lnTo>
                      <a:pt x="431" y="92"/>
                    </a:lnTo>
                    <a:lnTo>
                      <a:pt x="431" y="94"/>
                    </a:lnTo>
                    <a:lnTo>
                      <a:pt x="431" y="97"/>
                    </a:lnTo>
                    <a:lnTo>
                      <a:pt x="429" y="99"/>
                    </a:lnTo>
                    <a:lnTo>
                      <a:pt x="429" y="100"/>
                    </a:lnTo>
                    <a:lnTo>
                      <a:pt x="429" y="102"/>
                    </a:lnTo>
                    <a:lnTo>
                      <a:pt x="428" y="103"/>
                    </a:lnTo>
                    <a:lnTo>
                      <a:pt x="426" y="105"/>
                    </a:lnTo>
                    <a:lnTo>
                      <a:pt x="425" y="105"/>
                    </a:lnTo>
                    <a:lnTo>
                      <a:pt x="425" y="108"/>
                    </a:lnTo>
                    <a:lnTo>
                      <a:pt x="423" y="111"/>
                    </a:lnTo>
                    <a:lnTo>
                      <a:pt x="423" y="113"/>
                    </a:lnTo>
                    <a:lnTo>
                      <a:pt x="426" y="114"/>
                    </a:lnTo>
                    <a:lnTo>
                      <a:pt x="428" y="118"/>
                    </a:lnTo>
                    <a:lnTo>
                      <a:pt x="428" y="119"/>
                    </a:lnTo>
                    <a:lnTo>
                      <a:pt x="428" y="124"/>
                    </a:lnTo>
                    <a:lnTo>
                      <a:pt x="426" y="126"/>
                    </a:lnTo>
                    <a:lnTo>
                      <a:pt x="426" y="127"/>
                    </a:lnTo>
                    <a:lnTo>
                      <a:pt x="425" y="127"/>
                    </a:lnTo>
                    <a:lnTo>
                      <a:pt x="423" y="129"/>
                    </a:lnTo>
                    <a:lnTo>
                      <a:pt x="423" y="130"/>
                    </a:lnTo>
                    <a:lnTo>
                      <a:pt x="418" y="132"/>
                    </a:lnTo>
                    <a:lnTo>
                      <a:pt x="417" y="138"/>
                    </a:lnTo>
                    <a:lnTo>
                      <a:pt x="415" y="140"/>
                    </a:lnTo>
                    <a:lnTo>
                      <a:pt x="415" y="143"/>
                    </a:lnTo>
                    <a:lnTo>
                      <a:pt x="414" y="145"/>
                    </a:lnTo>
                    <a:lnTo>
                      <a:pt x="414" y="146"/>
                    </a:lnTo>
                    <a:lnTo>
                      <a:pt x="412" y="146"/>
                    </a:lnTo>
                    <a:lnTo>
                      <a:pt x="410" y="148"/>
                    </a:lnTo>
                    <a:lnTo>
                      <a:pt x="409" y="149"/>
                    </a:lnTo>
                    <a:lnTo>
                      <a:pt x="406" y="154"/>
                    </a:lnTo>
                    <a:lnTo>
                      <a:pt x="404" y="154"/>
                    </a:lnTo>
                    <a:lnTo>
                      <a:pt x="401" y="160"/>
                    </a:lnTo>
                    <a:lnTo>
                      <a:pt x="399" y="165"/>
                    </a:lnTo>
                    <a:lnTo>
                      <a:pt x="398" y="167"/>
                    </a:lnTo>
                    <a:lnTo>
                      <a:pt x="396" y="168"/>
                    </a:lnTo>
                    <a:lnTo>
                      <a:pt x="393" y="168"/>
                    </a:lnTo>
                    <a:lnTo>
                      <a:pt x="385" y="168"/>
                    </a:lnTo>
                    <a:lnTo>
                      <a:pt x="383" y="170"/>
                    </a:lnTo>
                    <a:lnTo>
                      <a:pt x="383" y="171"/>
                    </a:lnTo>
                    <a:lnTo>
                      <a:pt x="382" y="173"/>
                    </a:lnTo>
                    <a:lnTo>
                      <a:pt x="380" y="176"/>
                    </a:lnTo>
                    <a:lnTo>
                      <a:pt x="379" y="178"/>
                    </a:lnTo>
                    <a:lnTo>
                      <a:pt x="379" y="183"/>
                    </a:lnTo>
                    <a:lnTo>
                      <a:pt x="379" y="184"/>
                    </a:lnTo>
                    <a:lnTo>
                      <a:pt x="377" y="184"/>
                    </a:lnTo>
                    <a:lnTo>
                      <a:pt x="377" y="186"/>
                    </a:lnTo>
                    <a:lnTo>
                      <a:pt x="376" y="186"/>
                    </a:lnTo>
                    <a:lnTo>
                      <a:pt x="376" y="187"/>
                    </a:lnTo>
                    <a:lnTo>
                      <a:pt x="374" y="189"/>
                    </a:lnTo>
                    <a:lnTo>
                      <a:pt x="376" y="189"/>
                    </a:lnTo>
                    <a:lnTo>
                      <a:pt x="377" y="190"/>
                    </a:lnTo>
                    <a:lnTo>
                      <a:pt x="379" y="192"/>
                    </a:lnTo>
                    <a:lnTo>
                      <a:pt x="380" y="194"/>
                    </a:lnTo>
                    <a:lnTo>
                      <a:pt x="380" y="195"/>
                    </a:lnTo>
                    <a:lnTo>
                      <a:pt x="382" y="195"/>
                    </a:lnTo>
                    <a:lnTo>
                      <a:pt x="382" y="197"/>
                    </a:lnTo>
                    <a:lnTo>
                      <a:pt x="383" y="198"/>
                    </a:lnTo>
                    <a:lnTo>
                      <a:pt x="385" y="200"/>
                    </a:lnTo>
                    <a:lnTo>
                      <a:pt x="385" y="202"/>
                    </a:lnTo>
                    <a:lnTo>
                      <a:pt x="387" y="203"/>
                    </a:lnTo>
                    <a:lnTo>
                      <a:pt x="388" y="205"/>
                    </a:lnTo>
                    <a:lnTo>
                      <a:pt x="390" y="203"/>
                    </a:lnTo>
                    <a:lnTo>
                      <a:pt x="391" y="203"/>
                    </a:lnTo>
                    <a:lnTo>
                      <a:pt x="393" y="202"/>
                    </a:lnTo>
                    <a:lnTo>
                      <a:pt x="395" y="202"/>
                    </a:lnTo>
                    <a:lnTo>
                      <a:pt x="396" y="202"/>
                    </a:lnTo>
                    <a:lnTo>
                      <a:pt x="399" y="203"/>
                    </a:lnTo>
                    <a:lnTo>
                      <a:pt x="401" y="203"/>
                    </a:lnTo>
                    <a:lnTo>
                      <a:pt x="402" y="203"/>
                    </a:lnTo>
                    <a:lnTo>
                      <a:pt x="404" y="203"/>
                    </a:lnTo>
                    <a:lnTo>
                      <a:pt x="406" y="203"/>
                    </a:lnTo>
                    <a:lnTo>
                      <a:pt x="407" y="203"/>
                    </a:lnTo>
                    <a:lnTo>
                      <a:pt x="409" y="203"/>
                    </a:lnTo>
                    <a:lnTo>
                      <a:pt x="410" y="203"/>
                    </a:lnTo>
                    <a:lnTo>
                      <a:pt x="412" y="202"/>
                    </a:lnTo>
                    <a:lnTo>
                      <a:pt x="414" y="202"/>
                    </a:lnTo>
                    <a:lnTo>
                      <a:pt x="415" y="202"/>
                    </a:lnTo>
                    <a:lnTo>
                      <a:pt x="417" y="202"/>
                    </a:lnTo>
                    <a:lnTo>
                      <a:pt x="418" y="203"/>
                    </a:lnTo>
                    <a:lnTo>
                      <a:pt x="420" y="203"/>
                    </a:lnTo>
                    <a:lnTo>
                      <a:pt x="421" y="203"/>
                    </a:lnTo>
                    <a:lnTo>
                      <a:pt x="423" y="202"/>
                    </a:lnTo>
                    <a:lnTo>
                      <a:pt x="425" y="202"/>
                    </a:lnTo>
                    <a:lnTo>
                      <a:pt x="429" y="203"/>
                    </a:lnTo>
                    <a:lnTo>
                      <a:pt x="434" y="203"/>
                    </a:lnTo>
                    <a:lnTo>
                      <a:pt x="436" y="203"/>
                    </a:lnTo>
                    <a:lnTo>
                      <a:pt x="437" y="203"/>
                    </a:lnTo>
                    <a:lnTo>
                      <a:pt x="440" y="203"/>
                    </a:lnTo>
                    <a:lnTo>
                      <a:pt x="444" y="203"/>
                    </a:lnTo>
                    <a:lnTo>
                      <a:pt x="447" y="203"/>
                    </a:lnTo>
                    <a:lnTo>
                      <a:pt x="450" y="203"/>
                    </a:lnTo>
                    <a:lnTo>
                      <a:pt x="455" y="203"/>
                    </a:lnTo>
                    <a:lnTo>
                      <a:pt x="458" y="203"/>
                    </a:lnTo>
                    <a:lnTo>
                      <a:pt x="460" y="203"/>
                    </a:lnTo>
                    <a:lnTo>
                      <a:pt x="460" y="205"/>
                    </a:lnTo>
                    <a:lnTo>
                      <a:pt x="461" y="205"/>
                    </a:lnTo>
                    <a:lnTo>
                      <a:pt x="463" y="206"/>
                    </a:lnTo>
                    <a:lnTo>
                      <a:pt x="464" y="206"/>
                    </a:lnTo>
                    <a:lnTo>
                      <a:pt x="466" y="206"/>
                    </a:lnTo>
                    <a:lnTo>
                      <a:pt x="466" y="203"/>
                    </a:lnTo>
                    <a:lnTo>
                      <a:pt x="466" y="202"/>
                    </a:lnTo>
                    <a:lnTo>
                      <a:pt x="466" y="200"/>
                    </a:lnTo>
                    <a:lnTo>
                      <a:pt x="466" y="198"/>
                    </a:lnTo>
                    <a:lnTo>
                      <a:pt x="466" y="197"/>
                    </a:lnTo>
                    <a:lnTo>
                      <a:pt x="466" y="195"/>
                    </a:lnTo>
                    <a:lnTo>
                      <a:pt x="467" y="194"/>
                    </a:lnTo>
                    <a:lnTo>
                      <a:pt x="467" y="192"/>
                    </a:lnTo>
                    <a:lnTo>
                      <a:pt x="469" y="190"/>
                    </a:lnTo>
                    <a:lnTo>
                      <a:pt x="469" y="189"/>
                    </a:lnTo>
                    <a:lnTo>
                      <a:pt x="471" y="184"/>
                    </a:lnTo>
                    <a:lnTo>
                      <a:pt x="475" y="181"/>
                    </a:lnTo>
                    <a:lnTo>
                      <a:pt x="479" y="179"/>
                    </a:lnTo>
                    <a:lnTo>
                      <a:pt x="480" y="178"/>
                    </a:lnTo>
                    <a:lnTo>
                      <a:pt x="480" y="176"/>
                    </a:lnTo>
                    <a:lnTo>
                      <a:pt x="482" y="176"/>
                    </a:lnTo>
                    <a:lnTo>
                      <a:pt x="483" y="176"/>
                    </a:lnTo>
                    <a:lnTo>
                      <a:pt x="483" y="175"/>
                    </a:lnTo>
                    <a:lnTo>
                      <a:pt x="485" y="175"/>
                    </a:lnTo>
                    <a:lnTo>
                      <a:pt x="486" y="175"/>
                    </a:lnTo>
                    <a:lnTo>
                      <a:pt x="488" y="175"/>
                    </a:lnTo>
                    <a:lnTo>
                      <a:pt x="490" y="173"/>
                    </a:lnTo>
                    <a:lnTo>
                      <a:pt x="490" y="171"/>
                    </a:lnTo>
                    <a:lnTo>
                      <a:pt x="491" y="171"/>
                    </a:lnTo>
                    <a:lnTo>
                      <a:pt x="491" y="170"/>
                    </a:lnTo>
                    <a:lnTo>
                      <a:pt x="493" y="170"/>
                    </a:lnTo>
                    <a:lnTo>
                      <a:pt x="493" y="168"/>
                    </a:lnTo>
                    <a:lnTo>
                      <a:pt x="494" y="170"/>
                    </a:lnTo>
                    <a:lnTo>
                      <a:pt x="496" y="168"/>
                    </a:lnTo>
                    <a:lnTo>
                      <a:pt x="498" y="168"/>
                    </a:lnTo>
                    <a:lnTo>
                      <a:pt x="499" y="168"/>
                    </a:lnTo>
                    <a:lnTo>
                      <a:pt x="498" y="170"/>
                    </a:lnTo>
                    <a:lnTo>
                      <a:pt x="499" y="170"/>
                    </a:lnTo>
                    <a:lnTo>
                      <a:pt x="498" y="171"/>
                    </a:lnTo>
                    <a:lnTo>
                      <a:pt x="499" y="171"/>
                    </a:lnTo>
                    <a:lnTo>
                      <a:pt x="499" y="173"/>
                    </a:lnTo>
                    <a:lnTo>
                      <a:pt x="498" y="173"/>
                    </a:lnTo>
                    <a:lnTo>
                      <a:pt x="498" y="175"/>
                    </a:lnTo>
                    <a:lnTo>
                      <a:pt x="498" y="176"/>
                    </a:lnTo>
                    <a:lnTo>
                      <a:pt x="499" y="176"/>
                    </a:lnTo>
                    <a:lnTo>
                      <a:pt x="499" y="178"/>
                    </a:lnTo>
                    <a:lnTo>
                      <a:pt x="501" y="178"/>
                    </a:lnTo>
                    <a:lnTo>
                      <a:pt x="501" y="176"/>
                    </a:lnTo>
                    <a:lnTo>
                      <a:pt x="502" y="176"/>
                    </a:lnTo>
                    <a:lnTo>
                      <a:pt x="504" y="176"/>
                    </a:lnTo>
                    <a:lnTo>
                      <a:pt x="505" y="176"/>
                    </a:lnTo>
                    <a:lnTo>
                      <a:pt x="505" y="178"/>
                    </a:lnTo>
                    <a:lnTo>
                      <a:pt x="505" y="179"/>
                    </a:lnTo>
                    <a:lnTo>
                      <a:pt x="504" y="179"/>
                    </a:lnTo>
                    <a:lnTo>
                      <a:pt x="504" y="181"/>
                    </a:lnTo>
                    <a:lnTo>
                      <a:pt x="505" y="181"/>
                    </a:lnTo>
                    <a:lnTo>
                      <a:pt x="507" y="181"/>
                    </a:lnTo>
                    <a:lnTo>
                      <a:pt x="507" y="183"/>
                    </a:lnTo>
                    <a:lnTo>
                      <a:pt x="509" y="183"/>
                    </a:lnTo>
                    <a:lnTo>
                      <a:pt x="509" y="184"/>
                    </a:lnTo>
                    <a:lnTo>
                      <a:pt x="510" y="184"/>
                    </a:lnTo>
                    <a:lnTo>
                      <a:pt x="512" y="184"/>
                    </a:lnTo>
                    <a:lnTo>
                      <a:pt x="512" y="183"/>
                    </a:lnTo>
                    <a:lnTo>
                      <a:pt x="513" y="184"/>
                    </a:lnTo>
                    <a:lnTo>
                      <a:pt x="515" y="184"/>
                    </a:lnTo>
                    <a:lnTo>
                      <a:pt x="515" y="183"/>
                    </a:lnTo>
                    <a:lnTo>
                      <a:pt x="517" y="183"/>
                    </a:lnTo>
                    <a:lnTo>
                      <a:pt x="517" y="184"/>
                    </a:lnTo>
                    <a:lnTo>
                      <a:pt x="518" y="183"/>
                    </a:lnTo>
                    <a:lnTo>
                      <a:pt x="518" y="184"/>
                    </a:lnTo>
                    <a:lnTo>
                      <a:pt x="520" y="184"/>
                    </a:lnTo>
                    <a:lnTo>
                      <a:pt x="521" y="184"/>
                    </a:lnTo>
                    <a:lnTo>
                      <a:pt x="523" y="184"/>
                    </a:lnTo>
                    <a:lnTo>
                      <a:pt x="523" y="183"/>
                    </a:lnTo>
                    <a:lnTo>
                      <a:pt x="524" y="181"/>
                    </a:lnTo>
                    <a:lnTo>
                      <a:pt x="526" y="181"/>
                    </a:lnTo>
                    <a:lnTo>
                      <a:pt x="526" y="179"/>
                    </a:lnTo>
                    <a:lnTo>
                      <a:pt x="528" y="179"/>
                    </a:lnTo>
                    <a:lnTo>
                      <a:pt x="528" y="181"/>
                    </a:lnTo>
                    <a:lnTo>
                      <a:pt x="529" y="179"/>
                    </a:lnTo>
                    <a:lnTo>
                      <a:pt x="531" y="178"/>
                    </a:lnTo>
                    <a:lnTo>
                      <a:pt x="532" y="179"/>
                    </a:lnTo>
                    <a:lnTo>
                      <a:pt x="532" y="178"/>
                    </a:lnTo>
                    <a:lnTo>
                      <a:pt x="534" y="178"/>
                    </a:lnTo>
                    <a:lnTo>
                      <a:pt x="534" y="179"/>
                    </a:lnTo>
                    <a:lnTo>
                      <a:pt x="536" y="179"/>
                    </a:lnTo>
                    <a:lnTo>
                      <a:pt x="537" y="179"/>
                    </a:lnTo>
                    <a:lnTo>
                      <a:pt x="539" y="179"/>
                    </a:lnTo>
                    <a:lnTo>
                      <a:pt x="540" y="178"/>
                    </a:lnTo>
                    <a:lnTo>
                      <a:pt x="540" y="179"/>
                    </a:lnTo>
                    <a:lnTo>
                      <a:pt x="540" y="178"/>
                    </a:lnTo>
                    <a:lnTo>
                      <a:pt x="542" y="178"/>
                    </a:lnTo>
                    <a:lnTo>
                      <a:pt x="543" y="178"/>
                    </a:lnTo>
                    <a:lnTo>
                      <a:pt x="543" y="179"/>
                    </a:lnTo>
                    <a:lnTo>
                      <a:pt x="545" y="179"/>
                    </a:lnTo>
                    <a:lnTo>
                      <a:pt x="547" y="178"/>
                    </a:lnTo>
                    <a:lnTo>
                      <a:pt x="548" y="178"/>
                    </a:lnTo>
                    <a:lnTo>
                      <a:pt x="550" y="178"/>
                    </a:lnTo>
                    <a:lnTo>
                      <a:pt x="551" y="178"/>
                    </a:lnTo>
                    <a:lnTo>
                      <a:pt x="553" y="178"/>
                    </a:lnTo>
                    <a:lnTo>
                      <a:pt x="555" y="179"/>
                    </a:lnTo>
                    <a:lnTo>
                      <a:pt x="555" y="178"/>
                    </a:lnTo>
                    <a:lnTo>
                      <a:pt x="556" y="179"/>
                    </a:lnTo>
                    <a:lnTo>
                      <a:pt x="558" y="179"/>
                    </a:lnTo>
                    <a:lnTo>
                      <a:pt x="559" y="179"/>
                    </a:lnTo>
                    <a:lnTo>
                      <a:pt x="559" y="178"/>
                    </a:lnTo>
                    <a:lnTo>
                      <a:pt x="561" y="179"/>
                    </a:lnTo>
                    <a:lnTo>
                      <a:pt x="562" y="179"/>
                    </a:lnTo>
                    <a:lnTo>
                      <a:pt x="564" y="179"/>
                    </a:lnTo>
                    <a:lnTo>
                      <a:pt x="566" y="179"/>
                    </a:lnTo>
                    <a:lnTo>
                      <a:pt x="566" y="181"/>
                    </a:lnTo>
                    <a:lnTo>
                      <a:pt x="567" y="181"/>
                    </a:lnTo>
                    <a:lnTo>
                      <a:pt x="569" y="181"/>
                    </a:lnTo>
                    <a:lnTo>
                      <a:pt x="569" y="183"/>
                    </a:lnTo>
                    <a:lnTo>
                      <a:pt x="570" y="183"/>
                    </a:lnTo>
                    <a:lnTo>
                      <a:pt x="570" y="181"/>
                    </a:lnTo>
                    <a:lnTo>
                      <a:pt x="572" y="179"/>
                    </a:lnTo>
                    <a:lnTo>
                      <a:pt x="574" y="179"/>
                    </a:lnTo>
                    <a:lnTo>
                      <a:pt x="574" y="178"/>
                    </a:lnTo>
                    <a:lnTo>
                      <a:pt x="575" y="179"/>
                    </a:lnTo>
                    <a:lnTo>
                      <a:pt x="577" y="179"/>
                    </a:lnTo>
                    <a:lnTo>
                      <a:pt x="577" y="178"/>
                    </a:lnTo>
                    <a:lnTo>
                      <a:pt x="578" y="178"/>
                    </a:lnTo>
                    <a:lnTo>
                      <a:pt x="580" y="176"/>
                    </a:lnTo>
                    <a:lnTo>
                      <a:pt x="581" y="176"/>
                    </a:lnTo>
                    <a:lnTo>
                      <a:pt x="583" y="176"/>
                    </a:lnTo>
                    <a:lnTo>
                      <a:pt x="585" y="176"/>
                    </a:lnTo>
                    <a:lnTo>
                      <a:pt x="586" y="176"/>
                    </a:lnTo>
                    <a:lnTo>
                      <a:pt x="588" y="175"/>
                    </a:lnTo>
                    <a:lnTo>
                      <a:pt x="589" y="175"/>
                    </a:lnTo>
                    <a:lnTo>
                      <a:pt x="589" y="176"/>
                    </a:lnTo>
                    <a:lnTo>
                      <a:pt x="591" y="176"/>
                    </a:lnTo>
                    <a:lnTo>
                      <a:pt x="591" y="178"/>
                    </a:lnTo>
                    <a:lnTo>
                      <a:pt x="593" y="178"/>
                    </a:lnTo>
                    <a:lnTo>
                      <a:pt x="594" y="178"/>
                    </a:lnTo>
                    <a:lnTo>
                      <a:pt x="594" y="176"/>
                    </a:lnTo>
                    <a:lnTo>
                      <a:pt x="594" y="175"/>
                    </a:lnTo>
                    <a:lnTo>
                      <a:pt x="594" y="173"/>
                    </a:lnTo>
                    <a:lnTo>
                      <a:pt x="594" y="171"/>
                    </a:lnTo>
                    <a:lnTo>
                      <a:pt x="596" y="171"/>
                    </a:lnTo>
                    <a:lnTo>
                      <a:pt x="597" y="170"/>
                    </a:lnTo>
                    <a:lnTo>
                      <a:pt x="597" y="168"/>
                    </a:lnTo>
                    <a:lnTo>
                      <a:pt x="599" y="168"/>
                    </a:lnTo>
                    <a:lnTo>
                      <a:pt x="600" y="167"/>
                    </a:lnTo>
                    <a:lnTo>
                      <a:pt x="599" y="167"/>
                    </a:lnTo>
                    <a:lnTo>
                      <a:pt x="599" y="165"/>
                    </a:lnTo>
                    <a:lnTo>
                      <a:pt x="610" y="152"/>
                    </a:lnTo>
                    <a:lnTo>
                      <a:pt x="612" y="152"/>
                    </a:lnTo>
                    <a:lnTo>
                      <a:pt x="612" y="151"/>
                    </a:lnTo>
                    <a:lnTo>
                      <a:pt x="613" y="149"/>
                    </a:lnTo>
                    <a:lnTo>
                      <a:pt x="615" y="148"/>
                    </a:lnTo>
                    <a:lnTo>
                      <a:pt x="616" y="148"/>
                    </a:lnTo>
                    <a:lnTo>
                      <a:pt x="616" y="146"/>
                    </a:lnTo>
                    <a:lnTo>
                      <a:pt x="616" y="145"/>
                    </a:lnTo>
                    <a:lnTo>
                      <a:pt x="616" y="143"/>
                    </a:lnTo>
                    <a:lnTo>
                      <a:pt x="618" y="143"/>
                    </a:lnTo>
                    <a:lnTo>
                      <a:pt x="616" y="141"/>
                    </a:lnTo>
                    <a:lnTo>
                      <a:pt x="618" y="140"/>
                    </a:lnTo>
                    <a:lnTo>
                      <a:pt x="618" y="138"/>
                    </a:lnTo>
                    <a:lnTo>
                      <a:pt x="619" y="138"/>
                    </a:lnTo>
                    <a:lnTo>
                      <a:pt x="621" y="138"/>
                    </a:lnTo>
                    <a:lnTo>
                      <a:pt x="621" y="137"/>
                    </a:lnTo>
                    <a:lnTo>
                      <a:pt x="619" y="137"/>
                    </a:lnTo>
                    <a:lnTo>
                      <a:pt x="618" y="137"/>
                    </a:lnTo>
                    <a:lnTo>
                      <a:pt x="618" y="135"/>
                    </a:lnTo>
                    <a:lnTo>
                      <a:pt x="618" y="133"/>
                    </a:lnTo>
                    <a:lnTo>
                      <a:pt x="619" y="132"/>
                    </a:lnTo>
                    <a:lnTo>
                      <a:pt x="621" y="130"/>
                    </a:lnTo>
                    <a:lnTo>
                      <a:pt x="621" y="129"/>
                    </a:lnTo>
                    <a:lnTo>
                      <a:pt x="621" y="127"/>
                    </a:lnTo>
                    <a:lnTo>
                      <a:pt x="618" y="126"/>
                    </a:lnTo>
                    <a:lnTo>
                      <a:pt x="618" y="124"/>
                    </a:lnTo>
                    <a:lnTo>
                      <a:pt x="619" y="124"/>
                    </a:lnTo>
                    <a:lnTo>
                      <a:pt x="621" y="124"/>
                    </a:lnTo>
                    <a:lnTo>
                      <a:pt x="621" y="126"/>
                    </a:lnTo>
                    <a:lnTo>
                      <a:pt x="623" y="127"/>
                    </a:lnTo>
                    <a:lnTo>
                      <a:pt x="623" y="129"/>
                    </a:lnTo>
                    <a:lnTo>
                      <a:pt x="624" y="127"/>
                    </a:lnTo>
                    <a:lnTo>
                      <a:pt x="624" y="126"/>
                    </a:lnTo>
                    <a:lnTo>
                      <a:pt x="624" y="124"/>
                    </a:lnTo>
                    <a:lnTo>
                      <a:pt x="623" y="124"/>
                    </a:lnTo>
                    <a:lnTo>
                      <a:pt x="621" y="122"/>
                    </a:lnTo>
                    <a:lnTo>
                      <a:pt x="621" y="121"/>
                    </a:lnTo>
                    <a:lnTo>
                      <a:pt x="623" y="119"/>
                    </a:lnTo>
                    <a:lnTo>
                      <a:pt x="624" y="119"/>
                    </a:lnTo>
                    <a:lnTo>
                      <a:pt x="626" y="119"/>
                    </a:lnTo>
                    <a:lnTo>
                      <a:pt x="627" y="119"/>
                    </a:lnTo>
                    <a:lnTo>
                      <a:pt x="627" y="121"/>
                    </a:lnTo>
                    <a:lnTo>
                      <a:pt x="627" y="122"/>
                    </a:lnTo>
                    <a:lnTo>
                      <a:pt x="629" y="124"/>
                    </a:lnTo>
                    <a:lnTo>
                      <a:pt x="631" y="126"/>
                    </a:lnTo>
                    <a:lnTo>
                      <a:pt x="631" y="127"/>
                    </a:lnTo>
                    <a:lnTo>
                      <a:pt x="631" y="130"/>
                    </a:lnTo>
                    <a:lnTo>
                      <a:pt x="631" y="132"/>
                    </a:lnTo>
                    <a:lnTo>
                      <a:pt x="631" y="133"/>
                    </a:lnTo>
                    <a:lnTo>
                      <a:pt x="631" y="135"/>
                    </a:lnTo>
                    <a:lnTo>
                      <a:pt x="631" y="137"/>
                    </a:lnTo>
                    <a:lnTo>
                      <a:pt x="631" y="138"/>
                    </a:lnTo>
                    <a:lnTo>
                      <a:pt x="631" y="140"/>
                    </a:lnTo>
                    <a:lnTo>
                      <a:pt x="631" y="143"/>
                    </a:lnTo>
                    <a:lnTo>
                      <a:pt x="631" y="145"/>
                    </a:lnTo>
                    <a:lnTo>
                      <a:pt x="631" y="146"/>
                    </a:lnTo>
                    <a:lnTo>
                      <a:pt x="631" y="149"/>
                    </a:lnTo>
                    <a:lnTo>
                      <a:pt x="631" y="151"/>
                    </a:lnTo>
                    <a:lnTo>
                      <a:pt x="631" y="152"/>
                    </a:lnTo>
                    <a:lnTo>
                      <a:pt x="632" y="152"/>
                    </a:lnTo>
                    <a:lnTo>
                      <a:pt x="632" y="154"/>
                    </a:lnTo>
                    <a:lnTo>
                      <a:pt x="634" y="154"/>
                    </a:lnTo>
                    <a:lnTo>
                      <a:pt x="634" y="156"/>
                    </a:lnTo>
                    <a:lnTo>
                      <a:pt x="634" y="157"/>
                    </a:lnTo>
                    <a:lnTo>
                      <a:pt x="634" y="159"/>
                    </a:lnTo>
                    <a:lnTo>
                      <a:pt x="634" y="160"/>
                    </a:lnTo>
                    <a:lnTo>
                      <a:pt x="635" y="160"/>
                    </a:lnTo>
                    <a:lnTo>
                      <a:pt x="637" y="162"/>
                    </a:lnTo>
                    <a:lnTo>
                      <a:pt x="639" y="162"/>
                    </a:lnTo>
                    <a:lnTo>
                      <a:pt x="639" y="164"/>
                    </a:lnTo>
                    <a:lnTo>
                      <a:pt x="640" y="164"/>
                    </a:lnTo>
                    <a:lnTo>
                      <a:pt x="640" y="165"/>
                    </a:lnTo>
                    <a:lnTo>
                      <a:pt x="642" y="165"/>
                    </a:lnTo>
                    <a:lnTo>
                      <a:pt x="643" y="167"/>
                    </a:lnTo>
                    <a:lnTo>
                      <a:pt x="643" y="168"/>
                    </a:lnTo>
                    <a:lnTo>
                      <a:pt x="645" y="168"/>
                    </a:lnTo>
                    <a:lnTo>
                      <a:pt x="645" y="170"/>
                    </a:lnTo>
                    <a:lnTo>
                      <a:pt x="646" y="170"/>
                    </a:lnTo>
                    <a:lnTo>
                      <a:pt x="648" y="170"/>
                    </a:lnTo>
                    <a:lnTo>
                      <a:pt x="648" y="171"/>
                    </a:lnTo>
                    <a:lnTo>
                      <a:pt x="650" y="175"/>
                    </a:lnTo>
                    <a:lnTo>
                      <a:pt x="651" y="176"/>
                    </a:lnTo>
                    <a:lnTo>
                      <a:pt x="651" y="178"/>
                    </a:lnTo>
                    <a:lnTo>
                      <a:pt x="653" y="179"/>
                    </a:lnTo>
                    <a:lnTo>
                      <a:pt x="653" y="181"/>
                    </a:lnTo>
                    <a:lnTo>
                      <a:pt x="654" y="184"/>
                    </a:lnTo>
                    <a:lnTo>
                      <a:pt x="654" y="186"/>
                    </a:lnTo>
                    <a:lnTo>
                      <a:pt x="654" y="189"/>
                    </a:lnTo>
                    <a:lnTo>
                      <a:pt x="654" y="192"/>
                    </a:lnTo>
                    <a:lnTo>
                      <a:pt x="654" y="194"/>
                    </a:lnTo>
                    <a:lnTo>
                      <a:pt x="653" y="195"/>
                    </a:lnTo>
                    <a:lnTo>
                      <a:pt x="653" y="198"/>
                    </a:lnTo>
                    <a:lnTo>
                      <a:pt x="651" y="202"/>
                    </a:lnTo>
                    <a:lnTo>
                      <a:pt x="650" y="205"/>
                    </a:lnTo>
                    <a:lnTo>
                      <a:pt x="650" y="206"/>
                    </a:lnTo>
                    <a:lnTo>
                      <a:pt x="648" y="208"/>
                    </a:lnTo>
                    <a:lnTo>
                      <a:pt x="646" y="209"/>
                    </a:lnTo>
                    <a:lnTo>
                      <a:pt x="646" y="211"/>
                    </a:lnTo>
                    <a:lnTo>
                      <a:pt x="645" y="213"/>
                    </a:lnTo>
                    <a:lnTo>
                      <a:pt x="643" y="214"/>
                    </a:lnTo>
                    <a:lnTo>
                      <a:pt x="642" y="216"/>
                    </a:lnTo>
                    <a:lnTo>
                      <a:pt x="640" y="217"/>
                    </a:lnTo>
                    <a:lnTo>
                      <a:pt x="639" y="222"/>
                    </a:lnTo>
                    <a:lnTo>
                      <a:pt x="637" y="222"/>
                    </a:lnTo>
                    <a:lnTo>
                      <a:pt x="635" y="224"/>
                    </a:lnTo>
                    <a:lnTo>
                      <a:pt x="634" y="225"/>
                    </a:lnTo>
                    <a:lnTo>
                      <a:pt x="632" y="228"/>
                    </a:lnTo>
                    <a:lnTo>
                      <a:pt x="631" y="228"/>
                    </a:lnTo>
                    <a:lnTo>
                      <a:pt x="631" y="230"/>
                    </a:lnTo>
                    <a:lnTo>
                      <a:pt x="629" y="232"/>
                    </a:lnTo>
                    <a:lnTo>
                      <a:pt x="627" y="235"/>
                    </a:lnTo>
                    <a:lnTo>
                      <a:pt x="626" y="236"/>
                    </a:lnTo>
                    <a:lnTo>
                      <a:pt x="624" y="238"/>
                    </a:lnTo>
                    <a:lnTo>
                      <a:pt x="624" y="240"/>
                    </a:lnTo>
                    <a:lnTo>
                      <a:pt x="624" y="241"/>
                    </a:lnTo>
                    <a:lnTo>
                      <a:pt x="624" y="243"/>
                    </a:lnTo>
                    <a:lnTo>
                      <a:pt x="624" y="244"/>
                    </a:lnTo>
                    <a:lnTo>
                      <a:pt x="626" y="246"/>
                    </a:lnTo>
                    <a:lnTo>
                      <a:pt x="626" y="247"/>
                    </a:lnTo>
                    <a:lnTo>
                      <a:pt x="626" y="249"/>
                    </a:lnTo>
                    <a:lnTo>
                      <a:pt x="627" y="249"/>
                    </a:lnTo>
                    <a:lnTo>
                      <a:pt x="627" y="251"/>
                    </a:lnTo>
                    <a:lnTo>
                      <a:pt x="629" y="252"/>
                    </a:lnTo>
                    <a:lnTo>
                      <a:pt x="631" y="254"/>
                    </a:lnTo>
                    <a:lnTo>
                      <a:pt x="632" y="254"/>
                    </a:lnTo>
                    <a:lnTo>
                      <a:pt x="635" y="254"/>
                    </a:lnTo>
                    <a:lnTo>
                      <a:pt x="637" y="254"/>
                    </a:lnTo>
                    <a:lnTo>
                      <a:pt x="640" y="254"/>
                    </a:lnTo>
                    <a:lnTo>
                      <a:pt x="642" y="255"/>
                    </a:lnTo>
                    <a:lnTo>
                      <a:pt x="643" y="255"/>
                    </a:lnTo>
                    <a:lnTo>
                      <a:pt x="646" y="254"/>
                    </a:lnTo>
                    <a:lnTo>
                      <a:pt x="648" y="254"/>
                    </a:lnTo>
                    <a:lnTo>
                      <a:pt x="651" y="254"/>
                    </a:lnTo>
                    <a:lnTo>
                      <a:pt x="653" y="252"/>
                    </a:lnTo>
                    <a:lnTo>
                      <a:pt x="656" y="252"/>
                    </a:lnTo>
                    <a:lnTo>
                      <a:pt x="658" y="251"/>
                    </a:lnTo>
                    <a:lnTo>
                      <a:pt x="659" y="251"/>
                    </a:lnTo>
                    <a:lnTo>
                      <a:pt x="662" y="249"/>
                    </a:lnTo>
                    <a:lnTo>
                      <a:pt x="664" y="247"/>
                    </a:lnTo>
                    <a:lnTo>
                      <a:pt x="667" y="246"/>
                    </a:lnTo>
                    <a:lnTo>
                      <a:pt x="669" y="246"/>
                    </a:lnTo>
                    <a:lnTo>
                      <a:pt x="672" y="243"/>
                    </a:lnTo>
                    <a:lnTo>
                      <a:pt x="673" y="243"/>
                    </a:lnTo>
                    <a:lnTo>
                      <a:pt x="677" y="240"/>
                    </a:lnTo>
                    <a:lnTo>
                      <a:pt x="680" y="238"/>
                    </a:lnTo>
                    <a:lnTo>
                      <a:pt x="681" y="236"/>
                    </a:lnTo>
                    <a:lnTo>
                      <a:pt x="684" y="235"/>
                    </a:lnTo>
                    <a:lnTo>
                      <a:pt x="688" y="233"/>
                    </a:lnTo>
                    <a:lnTo>
                      <a:pt x="689" y="232"/>
                    </a:lnTo>
                    <a:lnTo>
                      <a:pt x="692" y="230"/>
                    </a:lnTo>
                    <a:lnTo>
                      <a:pt x="694" y="228"/>
                    </a:lnTo>
                    <a:lnTo>
                      <a:pt x="697" y="227"/>
                    </a:lnTo>
                    <a:lnTo>
                      <a:pt x="699" y="224"/>
                    </a:lnTo>
                    <a:lnTo>
                      <a:pt x="702" y="222"/>
                    </a:lnTo>
                    <a:lnTo>
                      <a:pt x="703" y="221"/>
                    </a:lnTo>
                    <a:lnTo>
                      <a:pt x="707" y="219"/>
                    </a:lnTo>
                    <a:lnTo>
                      <a:pt x="708" y="216"/>
                    </a:lnTo>
                    <a:lnTo>
                      <a:pt x="711" y="214"/>
                    </a:lnTo>
                    <a:lnTo>
                      <a:pt x="713" y="213"/>
                    </a:lnTo>
                    <a:lnTo>
                      <a:pt x="716" y="209"/>
                    </a:lnTo>
                    <a:lnTo>
                      <a:pt x="718" y="208"/>
                    </a:lnTo>
                    <a:lnTo>
                      <a:pt x="719" y="206"/>
                    </a:lnTo>
                    <a:lnTo>
                      <a:pt x="721" y="203"/>
                    </a:lnTo>
                    <a:lnTo>
                      <a:pt x="724" y="202"/>
                    </a:lnTo>
                    <a:lnTo>
                      <a:pt x="726" y="200"/>
                    </a:lnTo>
                    <a:lnTo>
                      <a:pt x="727" y="197"/>
                    </a:lnTo>
                    <a:lnTo>
                      <a:pt x="729" y="195"/>
                    </a:lnTo>
                    <a:lnTo>
                      <a:pt x="730" y="192"/>
                    </a:lnTo>
                    <a:lnTo>
                      <a:pt x="732" y="189"/>
                    </a:lnTo>
                    <a:lnTo>
                      <a:pt x="734" y="186"/>
                    </a:lnTo>
                    <a:lnTo>
                      <a:pt x="735" y="183"/>
                    </a:lnTo>
                    <a:lnTo>
                      <a:pt x="737" y="183"/>
                    </a:lnTo>
                    <a:lnTo>
                      <a:pt x="738" y="181"/>
                    </a:lnTo>
                    <a:lnTo>
                      <a:pt x="741" y="179"/>
                    </a:lnTo>
                    <a:lnTo>
                      <a:pt x="743" y="179"/>
                    </a:lnTo>
                    <a:lnTo>
                      <a:pt x="746" y="176"/>
                    </a:lnTo>
                    <a:lnTo>
                      <a:pt x="749" y="175"/>
                    </a:lnTo>
                    <a:lnTo>
                      <a:pt x="753" y="173"/>
                    </a:lnTo>
                    <a:lnTo>
                      <a:pt x="754" y="171"/>
                    </a:lnTo>
                    <a:lnTo>
                      <a:pt x="756" y="170"/>
                    </a:lnTo>
                    <a:lnTo>
                      <a:pt x="759" y="167"/>
                    </a:lnTo>
                    <a:lnTo>
                      <a:pt x="762" y="167"/>
                    </a:lnTo>
                    <a:lnTo>
                      <a:pt x="764" y="165"/>
                    </a:lnTo>
                    <a:lnTo>
                      <a:pt x="765" y="164"/>
                    </a:lnTo>
                    <a:lnTo>
                      <a:pt x="767" y="162"/>
                    </a:lnTo>
                    <a:lnTo>
                      <a:pt x="772" y="159"/>
                    </a:lnTo>
                    <a:lnTo>
                      <a:pt x="775" y="157"/>
                    </a:lnTo>
                    <a:lnTo>
                      <a:pt x="778" y="156"/>
                    </a:lnTo>
                    <a:lnTo>
                      <a:pt x="783" y="154"/>
                    </a:lnTo>
                    <a:lnTo>
                      <a:pt x="786" y="152"/>
                    </a:lnTo>
                    <a:lnTo>
                      <a:pt x="789" y="151"/>
                    </a:lnTo>
                    <a:lnTo>
                      <a:pt x="792" y="148"/>
                    </a:lnTo>
                    <a:lnTo>
                      <a:pt x="794" y="148"/>
                    </a:lnTo>
                    <a:lnTo>
                      <a:pt x="795" y="146"/>
                    </a:lnTo>
                    <a:lnTo>
                      <a:pt x="797" y="146"/>
                    </a:lnTo>
                    <a:lnTo>
                      <a:pt x="797" y="145"/>
                    </a:lnTo>
                    <a:lnTo>
                      <a:pt x="803" y="137"/>
                    </a:lnTo>
                    <a:lnTo>
                      <a:pt x="814" y="132"/>
                    </a:lnTo>
                    <a:lnTo>
                      <a:pt x="829" y="127"/>
                    </a:lnTo>
                    <a:lnTo>
                      <a:pt x="835" y="124"/>
                    </a:lnTo>
                    <a:lnTo>
                      <a:pt x="841" y="122"/>
                    </a:lnTo>
                    <a:lnTo>
                      <a:pt x="843" y="124"/>
                    </a:lnTo>
                    <a:lnTo>
                      <a:pt x="841" y="124"/>
                    </a:lnTo>
                    <a:lnTo>
                      <a:pt x="841" y="126"/>
                    </a:lnTo>
                    <a:lnTo>
                      <a:pt x="841" y="127"/>
                    </a:lnTo>
                    <a:lnTo>
                      <a:pt x="841" y="129"/>
                    </a:lnTo>
                    <a:lnTo>
                      <a:pt x="841" y="130"/>
                    </a:lnTo>
                    <a:lnTo>
                      <a:pt x="841" y="132"/>
                    </a:lnTo>
                    <a:lnTo>
                      <a:pt x="840" y="133"/>
                    </a:lnTo>
                    <a:lnTo>
                      <a:pt x="840" y="135"/>
                    </a:lnTo>
                    <a:lnTo>
                      <a:pt x="840" y="137"/>
                    </a:lnTo>
                    <a:lnTo>
                      <a:pt x="837" y="140"/>
                    </a:lnTo>
                    <a:lnTo>
                      <a:pt x="835" y="141"/>
                    </a:lnTo>
                    <a:lnTo>
                      <a:pt x="835" y="143"/>
                    </a:lnTo>
                    <a:lnTo>
                      <a:pt x="835" y="145"/>
                    </a:lnTo>
                    <a:lnTo>
                      <a:pt x="835" y="146"/>
                    </a:lnTo>
                    <a:lnTo>
                      <a:pt x="837" y="149"/>
                    </a:lnTo>
                    <a:lnTo>
                      <a:pt x="837" y="151"/>
                    </a:lnTo>
                    <a:lnTo>
                      <a:pt x="835" y="151"/>
                    </a:lnTo>
                    <a:lnTo>
                      <a:pt x="835" y="152"/>
                    </a:lnTo>
                    <a:lnTo>
                      <a:pt x="832" y="154"/>
                    </a:lnTo>
                    <a:lnTo>
                      <a:pt x="832" y="156"/>
                    </a:lnTo>
                    <a:lnTo>
                      <a:pt x="830" y="157"/>
                    </a:lnTo>
                    <a:lnTo>
                      <a:pt x="830" y="159"/>
                    </a:lnTo>
                    <a:lnTo>
                      <a:pt x="830" y="160"/>
                    </a:lnTo>
                    <a:lnTo>
                      <a:pt x="830" y="162"/>
                    </a:lnTo>
                    <a:lnTo>
                      <a:pt x="830" y="164"/>
                    </a:lnTo>
                    <a:lnTo>
                      <a:pt x="827" y="167"/>
                    </a:lnTo>
                    <a:lnTo>
                      <a:pt x="827" y="168"/>
                    </a:lnTo>
                    <a:lnTo>
                      <a:pt x="825" y="170"/>
                    </a:lnTo>
                    <a:lnTo>
                      <a:pt x="825" y="171"/>
                    </a:lnTo>
                    <a:lnTo>
                      <a:pt x="825" y="173"/>
                    </a:lnTo>
                    <a:lnTo>
                      <a:pt x="824" y="173"/>
                    </a:lnTo>
                    <a:lnTo>
                      <a:pt x="824" y="175"/>
                    </a:lnTo>
                    <a:lnTo>
                      <a:pt x="822" y="176"/>
                    </a:lnTo>
                    <a:lnTo>
                      <a:pt x="819" y="179"/>
                    </a:lnTo>
                    <a:lnTo>
                      <a:pt x="817" y="179"/>
                    </a:lnTo>
                    <a:lnTo>
                      <a:pt x="817" y="181"/>
                    </a:lnTo>
                    <a:lnTo>
                      <a:pt x="816" y="181"/>
                    </a:lnTo>
                    <a:lnTo>
                      <a:pt x="814" y="181"/>
                    </a:lnTo>
                    <a:lnTo>
                      <a:pt x="814" y="183"/>
                    </a:lnTo>
                    <a:lnTo>
                      <a:pt x="813" y="183"/>
                    </a:lnTo>
                    <a:lnTo>
                      <a:pt x="811" y="184"/>
                    </a:lnTo>
                    <a:lnTo>
                      <a:pt x="810" y="186"/>
                    </a:lnTo>
                    <a:lnTo>
                      <a:pt x="810" y="187"/>
                    </a:lnTo>
                    <a:lnTo>
                      <a:pt x="810" y="189"/>
                    </a:lnTo>
                    <a:lnTo>
                      <a:pt x="810" y="190"/>
                    </a:lnTo>
                    <a:lnTo>
                      <a:pt x="810" y="192"/>
                    </a:lnTo>
                    <a:lnTo>
                      <a:pt x="810" y="194"/>
                    </a:lnTo>
                    <a:lnTo>
                      <a:pt x="810" y="195"/>
                    </a:lnTo>
                    <a:lnTo>
                      <a:pt x="808" y="197"/>
                    </a:lnTo>
                    <a:lnTo>
                      <a:pt x="806" y="198"/>
                    </a:lnTo>
                    <a:lnTo>
                      <a:pt x="805" y="198"/>
                    </a:lnTo>
                    <a:lnTo>
                      <a:pt x="803" y="198"/>
                    </a:lnTo>
                    <a:lnTo>
                      <a:pt x="802" y="198"/>
                    </a:lnTo>
                    <a:lnTo>
                      <a:pt x="800" y="200"/>
                    </a:lnTo>
                    <a:lnTo>
                      <a:pt x="800" y="202"/>
                    </a:lnTo>
                    <a:lnTo>
                      <a:pt x="800" y="203"/>
                    </a:lnTo>
                    <a:lnTo>
                      <a:pt x="800" y="205"/>
                    </a:lnTo>
                    <a:lnTo>
                      <a:pt x="798" y="205"/>
                    </a:lnTo>
                    <a:lnTo>
                      <a:pt x="798" y="206"/>
                    </a:lnTo>
                    <a:lnTo>
                      <a:pt x="797" y="208"/>
                    </a:lnTo>
                    <a:lnTo>
                      <a:pt x="797" y="209"/>
                    </a:lnTo>
                    <a:lnTo>
                      <a:pt x="795" y="209"/>
                    </a:lnTo>
                    <a:lnTo>
                      <a:pt x="794" y="208"/>
                    </a:lnTo>
                    <a:lnTo>
                      <a:pt x="792" y="206"/>
                    </a:lnTo>
                    <a:lnTo>
                      <a:pt x="791" y="206"/>
                    </a:lnTo>
                    <a:lnTo>
                      <a:pt x="789" y="208"/>
                    </a:lnTo>
                    <a:lnTo>
                      <a:pt x="787" y="209"/>
                    </a:lnTo>
                    <a:lnTo>
                      <a:pt x="787" y="211"/>
                    </a:lnTo>
                    <a:lnTo>
                      <a:pt x="789" y="213"/>
                    </a:lnTo>
                    <a:lnTo>
                      <a:pt x="789" y="214"/>
                    </a:lnTo>
                    <a:lnTo>
                      <a:pt x="789" y="216"/>
                    </a:lnTo>
                    <a:lnTo>
                      <a:pt x="791" y="217"/>
                    </a:lnTo>
                    <a:lnTo>
                      <a:pt x="791" y="219"/>
                    </a:lnTo>
                    <a:lnTo>
                      <a:pt x="789" y="219"/>
                    </a:lnTo>
                    <a:lnTo>
                      <a:pt x="787" y="217"/>
                    </a:lnTo>
                    <a:lnTo>
                      <a:pt x="786" y="216"/>
                    </a:lnTo>
                    <a:lnTo>
                      <a:pt x="786" y="217"/>
                    </a:lnTo>
                    <a:lnTo>
                      <a:pt x="784" y="217"/>
                    </a:lnTo>
                    <a:lnTo>
                      <a:pt x="783" y="219"/>
                    </a:lnTo>
                    <a:lnTo>
                      <a:pt x="783" y="217"/>
                    </a:lnTo>
                    <a:lnTo>
                      <a:pt x="781" y="219"/>
                    </a:lnTo>
                    <a:lnTo>
                      <a:pt x="779" y="219"/>
                    </a:lnTo>
                    <a:lnTo>
                      <a:pt x="778" y="221"/>
                    </a:lnTo>
                    <a:lnTo>
                      <a:pt x="776" y="222"/>
                    </a:lnTo>
                    <a:lnTo>
                      <a:pt x="775" y="224"/>
                    </a:lnTo>
                    <a:lnTo>
                      <a:pt x="773" y="225"/>
                    </a:lnTo>
                    <a:lnTo>
                      <a:pt x="773" y="227"/>
                    </a:lnTo>
                    <a:lnTo>
                      <a:pt x="772" y="227"/>
                    </a:lnTo>
                    <a:lnTo>
                      <a:pt x="770" y="227"/>
                    </a:lnTo>
                    <a:lnTo>
                      <a:pt x="768" y="227"/>
                    </a:lnTo>
                    <a:lnTo>
                      <a:pt x="767" y="227"/>
                    </a:lnTo>
                    <a:lnTo>
                      <a:pt x="767" y="228"/>
                    </a:lnTo>
                    <a:lnTo>
                      <a:pt x="765" y="228"/>
                    </a:lnTo>
                    <a:lnTo>
                      <a:pt x="765" y="230"/>
                    </a:lnTo>
                    <a:lnTo>
                      <a:pt x="765" y="232"/>
                    </a:lnTo>
                    <a:lnTo>
                      <a:pt x="764" y="233"/>
                    </a:lnTo>
                    <a:lnTo>
                      <a:pt x="762" y="233"/>
                    </a:lnTo>
                    <a:lnTo>
                      <a:pt x="760" y="233"/>
                    </a:lnTo>
                    <a:lnTo>
                      <a:pt x="759" y="233"/>
                    </a:lnTo>
                    <a:lnTo>
                      <a:pt x="757" y="233"/>
                    </a:lnTo>
                    <a:lnTo>
                      <a:pt x="757" y="235"/>
                    </a:lnTo>
                    <a:lnTo>
                      <a:pt x="759" y="236"/>
                    </a:lnTo>
                    <a:lnTo>
                      <a:pt x="759" y="238"/>
                    </a:lnTo>
                    <a:lnTo>
                      <a:pt x="757" y="240"/>
                    </a:lnTo>
                    <a:lnTo>
                      <a:pt x="757" y="243"/>
                    </a:lnTo>
                    <a:lnTo>
                      <a:pt x="756" y="244"/>
                    </a:lnTo>
                    <a:lnTo>
                      <a:pt x="754" y="244"/>
                    </a:lnTo>
                    <a:lnTo>
                      <a:pt x="754" y="246"/>
                    </a:lnTo>
                    <a:lnTo>
                      <a:pt x="757" y="247"/>
                    </a:lnTo>
                    <a:lnTo>
                      <a:pt x="757" y="249"/>
                    </a:lnTo>
                    <a:lnTo>
                      <a:pt x="756" y="249"/>
                    </a:lnTo>
                    <a:lnTo>
                      <a:pt x="754" y="251"/>
                    </a:lnTo>
                    <a:lnTo>
                      <a:pt x="754" y="252"/>
                    </a:lnTo>
                    <a:lnTo>
                      <a:pt x="753" y="252"/>
                    </a:lnTo>
                    <a:lnTo>
                      <a:pt x="753" y="254"/>
                    </a:lnTo>
                    <a:lnTo>
                      <a:pt x="753" y="255"/>
                    </a:lnTo>
                    <a:lnTo>
                      <a:pt x="754" y="257"/>
                    </a:lnTo>
                    <a:lnTo>
                      <a:pt x="754" y="259"/>
                    </a:lnTo>
                    <a:lnTo>
                      <a:pt x="756" y="259"/>
                    </a:lnTo>
                    <a:lnTo>
                      <a:pt x="756" y="262"/>
                    </a:lnTo>
                    <a:lnTo>
                      <a:pt x="757" y="265"/>
                    </a:lnTo>
                    <a:lnTo>
                      <a:pt x="756" y="266"/>
                    </a:lnTo>
                    <a:lnTo>
                      <a:pt x="757" y="268"/>
                    </a:lnTo>
                    <a:lnTo>
                      <a:pt x="757" y="270"/>
                    </a:lnTo>
                    <a:lnTo>
                      <a:pt x="757" y="271"/>
                    </a:lnTo>
                    <a:lnTo>
                      <a:pt x="757" y="273"/>
                    </a:lnTo>
                    <a:lnTo>
                      <a:pt x="756" y="274"/>
                    </a:lnTo>
                    <a:lnTo>
                      <a:pt x="756" y="276"/>
                    </a:lnTo>
                    <a:lnTo>
                      <a:pt x="756" y="278"/>
                    </a:lnTo>
                    <a:lnTo>
                      <a:pt x="754" y="279"/>
                    </a:lnTo>
                    <a:lnTo>
                      <a:pt x="753" y="279"/>
                    </a:lnTo>
                    <a:lnTo>
                      <a:pt x="753" y="281"/>
                    </a:lnTo>
                    <a:lnTo>
                      <a:pt x="751" y="282"/>
                    </a:lnTo>
                    <a:lnTo>
                      <a:pt x="751" y="284"/>
                    </a:lnTo>
                    <a:lnTo>
                      <a:pt x="753" y="284"/>
                    </a:lnTo>
                    <a:lnTo>
                      <a:pt x="754" y="284"/>
                    </a:lnTo>
                    <a:lnTo>
                      <a:pt x="754" y="286"/>
                    </a:lnTo>
                    <a:lnTo>
                      <a:pt x="754" y="287"/>
                    </a:lnTo>
                    <a:lnTo>
                      <a:pt x="754" y="289"/>
                    </a:lnTo>
                    <a:lnTo>
                      <a:pt x="754" y="290"/>
                    </a:lnTo>
                    <a:lnTo>
                      <a:pt x="754" y="292"/>
                    </a:lnTo>
                    <a:lnTo>
                      <a:pt x="753" y="293"/>
                    </a:lnTo>
                    <a:lnTo>
                      <a:pt x="753" y="295"/>
                    </a:lnTo>
                    <a:lnTo>
                      <a:pt x="754" y="297"/>
                    </a:lnTo>
                    <a:lnTo>
                      <a:pt x="756" y="297"/>
                    </a:lnTo>
                    <a:lnTo>
                      <a:pt x="756" y="295"/>
                    </a:lnTo>
                    <a:lnTo>
                      <a:pt x="757" y="297"/>
                    </a:lnTo>
                    <a:lnTo>
                      <a:pt x="759" y="297"/>
                    </a:lnTo>
                    <a:lnTo>
                      <a:pt x="759" y="298"/>
                    </a:lnTo>
                    <a:lnTo>
                      <a:pt x="760" y="298"/>
                    </a:lnTo>
                    <a:lnTo>
                      <a:pt x="760" y="300"/>
                    </a:lnTo>
                    <a:lnTo>
                      <a:pt x="760" y="301"/>
                    </a:lnTo>
                    <a:lnTo>
                      <a:pt x="760" y="303"/>
                    </a:lnTo>
                    <a:lnTo>
                      <a:pt x="759" y="303"/>
                    </a:lnTo>
                    <a:lnTo>
                      <a:pt x="757" y="303"/>
                    </a:lnTo>
                    <a:lnTo>
                      <a:pt x="756" y="303"/>
                    </a:lnTo>
                    <a:lnTo>
                      <a:pt x="756" y="305"/>
                    </a:lnTo>
                    <a:lnTo>
                      <a:pt x="757" y="306"/>
                    </a:lnTo>
                    <a:lnTo>
                      <a:pt x="756" y="308"/>
                    </a:lnTo>
                    <a:lnTo>
                      <a:pt x="756" y="309"/>
                    </a:lnTo>
                    <a:lnTo>
                      <a:pt x="754" y="309"/>
                    </a:lnTo>
                    <a:lnTo>
                      <a:pt x="753" y="311"/>
                    </a:lnTo>
                    <a:lnTo>
                      <a:pt x="753" y="312"/>
                    </a:lnTo>
                    <a:lnTo>
                      <a:pt x="754" y="314"/>
                    </a:lnTo>
                    <a:lnTo>
                      <a:pt x="754" y="316"/>
                    </a:lnTo>
                    <a:lnTo>
                      <a:pt x="753" y="317"/>
                    </a:lnTo>
                    <a:lnTo>
                      <a:pt x="753" y="319"/>
                    </a:lnTo>
                    <a:lnTo>
                      <a:pt x="754" y="320"/>
                    </a:lnTo>
                    <a:lnTo>
                      <a:pt x="754" y="322"/>
                    </a:lnTo>
                    <a:lnTo>
                      <a:pt x="756" y="324"/>
                    </a:lnTo>
                    <a:lnTo>
                      <a:pt x="757" y="324"/>
                    </a:lnTo>
                    <a:lnTo>
                      <a:pt x="759" y="324"/>
                    </a:lnTo>
                    <a:lnTo>
                      <a:pt x="760" y="325"/>
                    </a:lnTo>
                    <a:lnTo>
                      <a:pt x="762" y="325"/>
                    </a:lnTo>
                    <a:lnTo>
                      <a:pt x="764" y="327"/>
                    </a:lnTo>
                    <a:lnTo>
                      <a:pt x="765" y="327"/>
                    </a:lnTo>
                    <a:lnTo>
                      <a:pt x="767" y="327"/>
                    </a:lnTo>
                    <a:lnTo>
                      <a:pt x="768" y="328"/>
                    </a:lnTo>
                    <a:lnTo>
                      <a:pt x="770" y="328"/>
                    </a:lnTo>
                    <a:lnTo>
                      <a:pt x="770" y="330"/>
                    </a:lnTo>
                    <a:lnTo>
                      <a:pt x="772" y="330"/>
                    </a:lnTo>
                    <a:lnTo>
                      <a:pt x="773" y="331"/>
                    </a:lnTo>
                    <a:lnTo>
                      <a:pt x="775" y="331"/>
                    </a:lnTo>
                    <a:lnTo>
                      <a:pt x="776" y="331"/>
                    </a:lnTo>
                    <a:lnTo>
                      <a:pt x="776" y="333"/>
                    </a:lnTo>
                    <a:lnTo>
                      <a:pt x="778" y="333"/>
                    </a:lnTo>
                    <a:lnTo>
                      <a:pt x="779" y="333"/>
                    </a:lnTo>
                    <a:lnTo>
                      <a:pt x="779" y="335"/>
                    </a:lnTo>
                    <a:lnTo>
                      <a:pt x="783" y="335"/>
                    </a:lnTo>
                    <a:lnTo>
                      <a:pt x="786" y="336"/>
                    </a:lnTo>
                    <a:lnTo>
                      <a:pt x="787" y="338"/>
                    </a:lnTo>
                    <a:lnTo>
                      <a:pt x="789" y="338"/>
                    </a:lnTo>
                    <a:lnTo>
                      <a:pt x="791" y="338"/>
                    </a:lnTo>
                    <a:lnTo>
                      <a:pt x="792" y="338"/>
                    </a:lnTo>
                    <a:lnTo>
                      <a:pt x="794" y="339"/>
                    </a:lnTo>
                    <a:lnTo>
                      <a:pt x="795" y="339"/>
                    </a:lnTo>
                    <a:lnTo>
                      <a:pt x="797" y="341"/>
                    </a:lnTo>
                    <a:lnTo>
                      <a:pt x="798" y="343"/>
                    </a:lnTo>
                    <a:lnTo>
                      <a:pt x="802" y="343"/>
                    </a:lnTo>
                    <a:lnTo>
                      <a:pt x="803" y="343"/>
                    </a:lnTo>
                    <a:lnTo>
                      <a:pt x="805" y="344"/>
                    </a:lnTo>
                    <a:lnTo>
                      <a:pt x="806" y="344"/>
                    </a:lnTo>
                    <a:lnTo>
                      <a:pt x="808" y="346"/>
                    </a:lnTo>
                    <a:lnTo>
                      <a:pt x="810" y="347"/>
                    </a:lnTo>
                    <a:lnTo>
                      <a:pt x="811" y="349"/>
                    </a:lnTo>
                    <a:lnTo>
                      <a:pt x="813" y="349"/>
                    </a:lnTo>
                    <a:lnTo>
                      <a:pt x="813" y="350"/>
                    </a:lnTo>
                    <a:lnTo>
                      <a:pt x="814" y="350"/>
                    </a:lnTo>
                    <a:lnTo>
                      <a:pt x="816" y="352"/>
                    </a:lnTo>
                    <a:lnTo>
                      <a:pt x="817" y="352"/>
                    </a:lnTo>
                    <a:lnTo>
                      <a:pt x="819" y="352"/>
                    </a:lnTo>
                    <a:lnTo>
                      <a:pt x="821" y="352"/>
                    </a:lnTo>
                    <a:lnTo>
                      <a:pt x="824" y="354"/>
                    </a:lnTo>
                    <a:lnTo>
                      <a:pt x="825" y="354"/>
                    </a:lnTo>
                    <a:lnTo>
                      <a:pt x="827" y="354"/>
                    </a:lnTo>
                    <a:lnTo>
                      <a:pt x="830" y="355"/>
                    </a:lnTo>
                    <a:lnTo>
                      <a:pt x="833" y="357"/>
                    </a:lnTo>
                    <a:lnTo>
                      <a:pt x="835" y="357"/>
                    </a:lnTo>
                    <a:lnTo>
                      <a:pt x="838" y="358"/>
                    </a:lnTo>
                    <a:lnTo>
                      <a:pt x="840" y="358"/>
                    </a:lnTo>
                    <a:lnTo>
                      <a:pt x="841" y="358"/>
                    </a:lnTo>
                    <a:lnTo>
                      <a:pt x="843" y="360"/>
                    </a:lnTo>
                    <a:lnTo>
                      <a:pt x="844" y="360"/>
                    </a:lnTo>
                    <a:lnTo>
                      <a:pt x="848" y="362"/>
                    </a:lnTo>
                    <a:lnTo>
                      <a:pt x="849" y="362"/>
                    </a:lnTo>
                    <a:lnTo>
                      <a:pt x="851" y="362"/>
                    </a:lnTo>
                    <a:lnTo>
                      <a:pt x="854" y="363"/>
                    </a:lnTo>
                    <a:lnTo>
                      <a:pt x="857" y="363"/>
                    </a:lnTo>
                    <a:lnTo>
                      <a:pt x="859" y="365"/>
                    </a:lnTo>
                    <a:lnTo>
                      <a:pt x="860" y="365"/>
                    </a:lnTo>
                    <a:lnTo>
                      <a:pt x="862" y="365"/>
                    </a:lnTo>
                    <a:lnTo>
                      <a:pt x="863" y="366"/>
                    </a:lnTo>
                    <a:lnTo>
                      <a:pt x="865" y="366"/>
                    </a:lnTo>
                    <a:lnTo>
                      <a:pt x="867" y="368"/>
                    </a:lnTo>
                    <a:lnTo>
                      <a:pt x="868" y="368"/>
                    </a:lnTo>
                    <a:lnTo>
                      <a:pt x="870" y="369"/>
                    </a:lnTo>
                    <a:lnTo>
                      <a:pt x="871" y="369"/>
                    </a:lnTo>
                    <a:lnTo>
                      <a:pt x="873" y="369"/>
                    </a:lnTo>
                    <a:lnTo>
                      <a:pt x="875" y="369"/>
                    </a:lnTo>
                    <a:lnTo>
                      <a:pt x="876" y="369"/>
                    </a:lnTo>
                    <a:lnTo>
                      <a:pt x="878" y="369"/>
                    </a:lnTo>
                    <a:lnTo>
                      <a:pt x="879" y="369"/>
                    </a:lnTo>
                    <a:lnTo>
                      <a:pt x="882" y="371"/>
                    </a:lnTo>
                    <a:lnTo>
                      <a:pt x="884" y="371"/>
                    </a:lnTo>
                    <a:lnTo>
                      <a:pt x="886" y="371"/>
                    </a:lnTo>
                    <a:lnTo>
                      <a:pt x="887" y="371"/>
                    </a:lnTo>
                    <a:lnTo>
                      <a:pt x="889" y="371"/>
                    </a:lnTo>
                    <a:lnTo>
                      <a:pt x="890" y="371"/>
                    </a:lnTo>
                    <a:lnTo>
                      <a:pt x="894" y="371"/>
                    </a:lnTo>
                    <a:lnTo>
                      <a:pt x="898" y="373"/>
                    </a:lnTo>
                    <a:lnTo>
                      <a:pt x="900" y="373"/>
                    </a:lnTo>
                    <a:lnTo>
                      <a:pt x="906" y="374"/>
                    </a:lnTo>
                    <a:lnTo>
                      <a:pt x="913" y="376"/>
                    </a:lnTo>
                    <a:lnTo>
                      <a:pt x="917" y="377"/>
                    </a:lnTo>
                    <a:lnTo>
                      <a:pt x="922" y="377"/>
                    </a:lnTo>
                    <a:lnTo>
                      <a:pt x="925" y="379"/>
                    </a:lnTo>
                    <a:lnTo>
                      <a:pt x="928" y="379"/>
                    </a:lnTo>
                    <a:lnTo>
                      <a:pt x="932" y="381"/>
                    </a:lnTo>
                    <a:lnTo>
                      <a:pt x="936" y="382"/>
                    </a:lnTo>
                    <a:lnTo>
                      <a:pt x="938" y="382"/>
                    </a:lnTo>
                    <a:lnTo>
                      <a:pt x="941" y="382"/>
                    </a:lnTo>
                    <a:lnTo>
                      <a:pt x="943" y="384"/>
                    </a:lnTo>
                    <a:lnTo>
                      <a:pt x="946" y="384"/>
                    </a:lnTo>
                    <a:lnTo>
                      <a:pt x="947" y="384"/>
                    </a:lnTo>
                    <a:lnTo>
                      <a:pt x="951" y="385"/>
                    </a:lnTo>
                    <a:lnTo>
                      <a:pt x="952" y="385"/>
                    </a:lnTo>
                    <a:lnTo>
                      <a:pt x="954" y="387"/>
                    </a:lnTo>
                    <a:lnTo>
                      <a:pt x="958" y="387"/>
                    </a:lnTo>
                    <a:lnTo>
                      <a:pt x="963" y="387"/>
                    </a:lnTo>
                    <a:lnTo>
                      <a:pt x="970" y="388"/>
                    </a:lnTo>
                    <a:lnTo>
                      <a:pt x="974" y="390"/>
                    </a:lnTo>
                    <a:lnTo>
                      <a:pt x="982" y="392"/>
                    </a:lnTo>
                    <a:lnTo>
                      <a:pt x="987" y="393"/>
                    </a:lnTo>
                    <a:lnTo>
                      <a:pt x="992" y="395"/>
                    </a:lnTo>
                    <a:lnTo>
                      <a:pt x="1000" y="396"/>
                    </a:lnTo>
                    <a:lnTo>
                      <a:pt x="1004" y="396"/>
                    </a:lnTo>
                    <a:lnTo>
                      <a:pt x="1009" y="398"/>
                    </a:lnTo>
                    <a:lnTo>
                      <a:pt x="1014" y="401"/>
                    </a:lnTo>
                    <a:lnTo>
                      <a:pt x="1019" y="401"/>
                    </a:lnTo>
                    <a:lnTo>
                      <a:pt x="1022" y="403"/>
                    </a:lnTo>
                    <a:lnTo>
                      <a:pt x="1027" y="403"/>
                    </a:lnTo>
                    <a:lnTo>
                      <a:pt x="1030" y="404"/>
                    </a:lnTo>
                    <a:lnTo>
                      <a:pt x="1033" y="406"/>
                    </a:lnTo>
                    <a:lnTo>
                      <a:pt x="1035" y="407"/>
                    </a:lnTo>
                    <a:lnTo>
                      <a:pt x="1038" y="409"/>
                    </a:lnTo>
                    <a:lnTo>
                      <a:pt x="1039" y="411"/>
                    </a:lnTo>
                    <a:lnTo>
                      <a:pt x="1039" y="412"/>
                    </a:lnTo>
                    <a:lnTo>
                      <a:pt x="1041" y="414"/>
                    </a:lnTo>
                    <a:lnTo>
                      <a:pt x="1041" y="415"/>
                    </a:lnTo>
                    <a:lnTo>
                      <a:pt x="1042" y="415"/>
                    </a:lnTo>
                    <a:lnTo>
                      <a:pt x="1044" y="415"/>
                    </a:lnTo>
                    <a:lnTo>
                      <a:pt x="1046" y="415"/>
                    </a:lnTo>
                    <a:lnTo>
                      <a:pt x="1047" y="415"/>
                    </a:lnTo>
                    <a:lnTo>
                      <a:pt x="1049" y="417"/>
                    </a:lnTo>
                    <a:lnTo>
                      <a:pt x="1050" y="419"/>
                    </a:lnTo>
                    <a:lnTo>
                      <a:pt x="1052" y="420"/>
                    </a:lnTo>
                    <a:lnTo>
                      <a:pt x="1054" y="422"/>
                    </a:lnTo>
                    <a:lnTo>
                      <a:pt x="1055" y="422"/>
                    </a:lnTo>
                    <a:lnTo>
                      <a:pt x="1057" y="422"/>
                    </a:lnTo>
                    <a:lnTo>
                      <a:pt x="1058" y="422"/>
                    </a:lnTo>
                    <a:lnTo>
                      <a:pt x="1058" y="423"/>
                    </a:lnTo>
                    <a:lnTo>
                      <a:pt x="1060" y="423"/>
                    </a:lnTo>
                    <a:lnTo>
                      <a:pt x="1061" y="425"/>
                    </a:lnTo>
                    <a:lnTo>
                      <a:pt x="1061" y="426"/>
                    </a:lnTo>
                    <a:lnTo>
                      <a:pt x="1063" y="428"/>
                    </a:lnTo>
                    <a:lnTo>
                      <a:pt x="1065" y="428"/>
                    </a:lnTo>
                    <a:lnTo>
                      <a:pt x="1065" y="430"/>
                    </a:lnTo>
                    <a:lnTo>
                      <a:pt x="1066" y="430"/>
                    </a:lnTo>
                    <a:lnTo>
                      <a:pt x="1066" y="431"/>
                    </a:lnTo>
                    <a:lnTo>
                      <a:pt x="1066" y="433"/>
                    </a:lnTo>
                    <a:lnTo>
                      <a:pt x="1068" y="434"/>
                    </a:lnTo>
                    <a:lnTo>
                      <a:pt x="1068" y="436"/>
                    </a:lnTo>
                    <a:lnTo>
                      <a:pt x="1068" y="438"/>
                    </a:lnTo>
                    <a:lnTo>
                      <a:pt x="1069" y="438"/>
                    </a:lnTo>
                    <a:lnTo>
                      <a:pt x="1071" y="439"/>
                    </a:lnTo>
                    <a:lnTo>
                      <a:pt x="1073" y="439"/>
                    </a:lnTo>
                    <a:lnTo>
                      <a:pt x="1073" y="441"/>
                    </a:lnTo>
                    <a:lnTo>
                      <a:pt x="1074" y="441"/>
                    </a:lnTo>
                    <a:lnTo>
                      <a:pt x="1074" y="442"/>
                    </a:lnTo>
                    <a:lnTo>
                      <a:pt x="1076" y="444"/>
                    </a:lnTo>
                    <a:lnTo>
                      <a:pt x="1076" y="445"/>
                    </a:lnTo>
                    <a:lnTo>
                      <a:pt x="1076" y="447"/>
                    </a:lnTo>
                    <a:lnTo>
                      <a:pt x="1074" y="447"/>
                    </a:lnTo>
                    <a:lnTo>
                      <a:pt x="1076" y="449"/>
                    </a:lnTo>
                    <a:lnTo>
                      <a:pt x="1074" y="450"/>
                    </a:lnTo>
                    <a:lnTo>
                      <a:pt x="1074" y="452"/>
                    </a:lnTo>
                    <a:lnTo>
                      <a:pt x="1074" y="453"/>
                    </a:lnTo>
                    <a:lnTo>
                      <a:pt x="1076" y="453"/>
                    </a:lnTo>
                    <a:lnTo>
                      <a:pt x="1077" y="455"/>
                    </a:lnTo>
                    <a:lnTo>
                      <a:pt x="1077" y="457"/>
                    </a:lnTo>
                    <a:lnTo>
                      <a:pt x="1079" y="458"/>
                    </a:lnTo>
                    <a:lnTo>
                      <a:pt x="1079" y="460"/>
                    </a:lnTo>
                    <a:lnTo>
                      <a:pt x="1079" y="461"/>
                    </a:lnTo>
                    <a:lnTo>
                      <a:pt x="1079" y="463"/>
                    </a:lnTo>
                    <a:lnTo>
                      <a:pt x="1080" y="464"/>
                    </a:lnTo>
                    <a:lnTo>
                      <a:pt x="1079" y="464"/>
                    </a:lnTo>
                    <a:lnTo>
                      <a:pt x="1079" y="466"/>
                    </a:lnTo>
                    <a:lnTo>
                      <a:pt x="1080" y="468"/>
                    </a:lnTo>
                    <a:lnTo>
                      <a:pt x="1082" y="468"/>
                    </a:lnTo>
                    <a:lnTo>
                      <a:pt x="1082" y="469"/>
                    </a:lnTo>
                    <a:lnTo>
                      <a:pt x="1084" y="469"/>
                    </a:lnTo>
                    <a:lnTo>
                      <a:pt x="1084" y="471"/>
                    </a:lnTo>
                    <a:lnTo>
                      <a:pt x="1085" y="471"/>
                    </a:lnTo>
                    <a:lnTo>
                      <a:pt x="1087" y="471"/>
                    </a:lnTo>
                    <a:lnTo>
                      <a:pt x="1087" y="472"/>
                    </a:lnTo>
                    <a:lnTo>
                      <a:pt x="1087" y="474"/>
                    </a:lnTo>
                    <a:lnTo>
                      <a:pt x="1088" y="474"/>
                    </a:lnTo>
                    <a:lnTo>
                      <a:pt x="1088" y="476"/>
                    </a:lnTo>
                    <a:lnTo>
                      <a:pt x="1090" y="476"/>
                    </a:lnTo>
                    <a:lnTo>
                      <a:pt x="1090" y="477"/>
                    </a:lnTo>
                    <a:lnTo>
                      <a:pt x="1090" y="479"/>
                    </a:lnTo>
                    <a:lnTo>
                      <a:pt x="1090" y="480"/>
                    </a:lnTo>
                    <a:lnTo>
                      <a:pt x="1088" y="482"/>
                    </a:lnTo>
                    <a:lnTo>
                      <a:pt x="1088" y="484"/>
                    </a:lnTo>
                    <a:lnTo>
                      <a:pt x="1090" y="487"/>
                    </a:lnTo>
                    <a:lnTo>
                      <a:pt x="1090" y="488"/>
                    </a:lnTo>
                    <a:lnTo>
                      <a:pt x="1092" y="488"/>
                    </a:lnTo>
                    <a:lnTo>
                      <a:pt x="1093" y="490"/>
                    </a:lnTo>
                    <a:lnTo>
                      <a:pt x="1095" y="491"/>
                    </a:lnTo>
                    <a:lnTo>
                      <a:pt x="1096" y="491"/>
                    </a:lnTo>
                    <a:lnTo>
                      <a:pt x="1096" y="493"/>
                    </a:lnTo>
                    <a:lnTo>
                      <a:pt x="1096" y="495"/>
                    </a:lnTo>
                    <a:lnTo>
                      <a:pt x="1096" y="496"/>
                    </a:lnTo>
                    <a:lnTo>
                      <a:pt x="1098" y="496"/>
                    </a:lnTo>
                    <a:lnTo>
                      <a:pt x="1098" y="498"/>
                    </a:lnTo>
                    <a:lnTo>
                      <a:pt x="1099" y="498"/>
                    </a:lnTo>
                    <a:lnTo>
                      <a:pt x="1099" y="499"/>
                    </a:lnTo>
                    <a:lnTo>
                      <a:pt x="1101" y="499"/>
                    </a:lnTo>
                    <a:lnTo>
                      <a:pt x="1101" y="501"/>
                    </a:lnTo>
                    <a:lnTo>
                      <a:pt x="1103" y="503"/>
                    </a:lnTo>
                    <a:lnTo>
                      <a:pt x="1103" y="504"/>
                    </a:lnTo>
                    <a:lnTo>
                      <a:pt x="1104" y="504"/>
                    </a:lnTo>
                    <a:lnTo>
                      <a:pt x="1104" y="506"/>
                    </a:lnTo>
                    <a:lnTo>
                      <a:pt x="1104" y="507"/>
                    </a:lnTo>
                    <a:lnTo>
                      <a:pt x="1106" y="507"/>
                    </a:lnTo>
                    <a:lnTo>
                      <a:pt x="1109" y="514"/>
                    </a:lnTo>
                    <a:lnTo>
                      <a:pt x="1112" y="518"/>
                    </a:lnTo>
                    <a:lnTo>
                      <a:pt x="1118" y="531"/>
                    </a:lnTo>
                    <a:lnTo>
                      <a:pt x="1118" y="533"/>
                    </a:lnTo>
                    <a:lnTo>
                      <a:pt x="1118" y="534"/>
                    </a:lnTo>
                    <a:lnTo>
                      <a:pt x="1120" y="534"/>
                    </a:lnTo>
                    <a:lnTo>
                      <a:pt x="1120" y="536"/>
                    </a:lnTo>
                    <a:lnTo>
                      <a:pt x="1120" y="537"/>
                    </a:lnTo>
                    <a:lnTo>
                      <a:pt x="1120" y="539"/>
                    </a:lnTo>
                    <a:lnTo>
                      <a:pt x="1120" y="541"/>
                    </a:lnTo>
                    <a:lnTo>
                      <a:pt x="1120" y="542"/>
                    </a:lnTo>
                    <a:lnTo>
                      <a:pt x="1118" y="542"/>
                    </a:lnTo>
                    <a:lnTo>
                      <a:pt x="1118" y="544"/>
                    </a:lnTo>
                    <a:lnTo>
                      <a:pt x="1120" y="545"/>
                    </a:lnTo>
                    <a:lnTo>
                      <a:pt x="1122" y="545"/>
                    </a:lnTo>
                    <a:lnTo>
                      <a:pt x="1122" y="547"/>
                    </a:lnTo>
                    <a:lnTo>
                      <a:pt x="1123" y="547"/>
                    </a:lnTo>
                    <a:lnTo>
                      <a:pt x="1123" y="548"/>
                    </a:lnTo>
                    <a:lnTo>
                      <a:pt x="1123" y="550"/>
                    </a:lnTo>
                    <a:lnTo>
                      <a:pt x="1123" y="552"/>
                    </a:lnTo>
                    <a:lnTo>
                      <a:pt x="1123" y="553"/>
                    </a:lnTo>
                    <a:lnTo>
                      <a:pt x="1123" y="555"/>
                    </a:lnTo>
                    <a:lnTo>
                      <a:pt x="1125" y="555"/>
                    </a:lnTo>
                    <a:lnTo>
                      <a:pt x="1125" y="556"/>
                    </a:lnTo>
                    <a:lnTo>
                      <a:pt x="1126" y="556"/>
                    </a:lnTo>
                    <a:lnTo>
                      <a:pt x="1126" y="558"/>
                    </a:lnTo>
                    <a:lnTo>
                      <a:pt x="1125" y="560"/>
                    </a:lnTo>
                    <a:lnTo>
                      <a:pt x="1125" y="561"/>
                    </a:lnTo>
                    <a:lnTo>
                      <a:pt x="1123" y="561"/>
                    </a:lnTo>
                    <a:lnTo>
                      <a:pt x="1123" y="563"/>
                    </a:lnTo>
                    <a:lnTo>
                      <a:pt x="1123" y="564"/>
                    </a:lnTo>
                    <a:lnTo>
                      <a:pt x="1122" y="566"/>
                    </a:lnTo>
                    <a:lnTo>
                      <a:pt x="1123" y="566"/>
                    </a:lnTo>
                    <a:lnTo>
                      <a:pt x="1123" y="567"/>
                    </a:lnTo>
                    <a:lnTo>
                      <a:pt x="1123" y="569"/>
                    </a:lnTo>
                    <a:lnTo>
                      <a:pt x="1123" y="571"/>
                    </a:lnTo>
                    <a:lnTo>
                      <a:pt x="1123" y="572"/>
                    </a:lnTo>
                    <a:lnTo>
                      <a:pt x="1125" y="572"/>
                    </a:lnTo>
                    <a:lnTo>
                      <a:pt x="1125" y="574"/>
                    </a:lnTo>
                    <a:lnTo>
                      <a:pt x="1126" y="574"/>
                    </a:lnTo>
                    <a:lnTo>
                      <a:pt x="1126" y="575"/>
                    </a:lnTo>
                    <a:lnTo>
                      <a:pt x="1126" y="577"/>
                    </a:lnTo>
                    <a:lnTo>
                      <a:pt x="1126" y="579"/>
                    </a:lnTo>
                    <a:lnTo>
                      <a:pt x="1126" y="580"/>
                    </a:lnTo>
                    <a:lnTo>
                      <a:pt x="1126" y="582"/>
                    </a:lnTo>
                    <a:lnTo>
                      <a:pt x="1126" y="583"/>
                    </a:lnTo>
                    <a:lnTo>
                      <a:pt x="1125" y="585"/>
                    </a:lnTo>
                    <a:lnTo>
                      <a:pt x="1125" y="586"/>
                    </a:lnTo>
                    <a:lnTo>
                      <a:pt x="1125" y="588"/>
                    </a:lnTo>
                    <a:lnTo>
                      <a:pt x="1125" y="590"/>
                    </a:lnTo>
                    <a:lnTo>
                      <a:pt x="1126" y="590"/>
                    </a:lnTo>
                    <a:lnTo>
                      <a:pt x="1128" y="591"/>
                    </a:lnTo>
                    <a:lnTo>
                      <a:pt x="1128" y="593"/>
                    </a:lnTo>
                    <a:lnTo>
                      <a:pt x="1126" y="594"/>
                    </a:lnTo>
                    <a:lnTo>
                      <a:pt x="1126" y="596"/>
                    </a:lnTo>
                    <a:lnTo>
                      <a:pt x="1126" y="598"/>
                    </a:lnTo>
                    <a:lnTo>
                      <a:pt x="1128" y="598"/>
                    </a:lnTo>
                    <a:lnTo>
                      <a:pt x="1128" y="599"/>
                    </a:lnTo>
                    <a:lnTo>
                      <a:pt x="1128" y="601"/>
                    </a:lnTo>
                    <a:lnTo>
                      <a:pt x="1130" y="602"/>
                    </a:lnTo>
                    <a:lnTo>
                      <a:pt x="1130" y="604"/>
                    </a:lnTo>
                    <a:lnTo>
                      <a:pt x="1131" y="605"/>
                    </a:lnTo>
                    <a:lnTo>
                      <a:pt x="1133" y="605"/>
                    </a:lnTo>
                    <a:lnTo>
                      <a:pt x="1133" y="607"/>
                    </a:lnTo>
                    <a:lnTo>
                      <a:pt x="1133" y="609"/>
                    </a:lnTo>
                    <a:lnTo>
                      <a:pt x="1134" y="610"/>
                    </a:lnTo>
                    <a:lnTo>
                      <a:pt x="1133" y="612"/>
                    </a:lnTo>
                    <a:lnTo>
                      <a:pt x="1134" y="612"/>
                    </a:lnTo>
                    <a:lnTo>
                      <a:pt x="1134" y="613"/>
                    </a:lnTo>
                    <a:lnTo>
                      <a:pt x="1133" y="615"/>
                    </a:lnTo>
                    <a:lnTo>
                      <a:pt x="1134" y="615"/>
                    </a:lnTo>
                    <a:lnTo>
                      <a:pt x="1134" y="617"/>
                    </a:lnTo>
                    <a:lnTo>
                      <a:pt x="1136" y="617"/>
                    </a:lnTo>
                    <a:lnTo>
                      <a:pt x="1137" y="618"/>
                    </a:lnTo>
                    <a:lnTo>
                      <a:pt x="1137" y="620"/>
                    </a:lnTo>
                    <a:lnTo>
                      <a:pt x="1137" y="621"/>
                    </a:lnTo>
                    <a:lnTo>
                      <a:pt x="1136" y="621"/>
                    </a:lnTo>
                    <a:lnTo>
                      <a:pt x="1136" y="623"/>
                    </a:lnTo>
                    <a:lnTo>
                      <a:pt x="1137" y="624"/>
                    </a:lnTo>
                    <a:lnTo>
                      <a:pt x="1136" y="624"/>
                    </a:lnTo>
                    <a:lnTo>
                      <a:pt x="1136" y="626"/>
                    </a:lnTo>
                    <a:lnTo>
                      <a:pt x="1136" y="628"/>
                    </a:lnTo>
                    <a:lnTo>
                      <a:pt x="1136" y="629"/>
                    </a:lnTo>
                    <a:lnTo>
                      <a:pt x="1137" y="629"/>
                    </a:lnTo>
                    <a:lnTo>
                      <a:pt x="1136" y="631"/>
                    </a:lnTo>
                    <a:lnTo>
                      <a:pt x="1136" y="632"/>
                    </a:lnTo>
                    <a:lnTo>
                      <a:pt x="1136" y="634"/>
                    </a:lnTo>
                    <a:lnTo>
                      <a:pt x="1136" y="636"/>
                    </a:lnTo>
                    <a:lnTo>
                      <a:pt x="1137" y="636"/>
                    </a:lnTo>
                    <a:lnTo>
                      <a:pt x="1139" y="636"/>
                    </a:lnTo>
                    <a:lnTo>
                      <a:pt x="1141" y="637"/>
                    </a:lnTo>
                    <a:lnTo>
                      <a:pt x="1142" y="639"/>
                    </a:lnTo>
                    <a:lnTo>
                      <a:pt x="1144" y="640"/>
                    </a:lnTo>
                    <a:lnTo>
                      <a:pt x="1145" y="640"/>
                    </a:lnTo>
                    <a:lnTo>
                      <a:pt x="1145" y="642"/>
                    </a:lnTo>
                    <a:lnTo>
                      <a:pt x="1144" y="642"/>
                    </a:lnTo>
                    <a:lnTo>
                      <a:pt x="1144" y="643"/>
                    </a:lnTo>
                    <a:lnTo>
                      <a:pt x="1142" y="643"/>
                    </a:lnTo>
                    <a:lnTo>
                      <a:pt x="1144" y="645"/>
                    </a:lnTo>
                    <a:lnTo>
                      <a:pt x="1144" y="647"/>
                    </a:lnTo>
                    <a:lnTo>
                      <a:pt x="1145" y="647"/>
                    </a:lnTo>
                    <a:lnTo>
                      <a:pt x="1145" y="648"/>
                    </a:lnTo>
                    <a:lnTo>
                      <a:pt x="1144" y="650"/>
                    </a:lnTo>
                    <a:lnTo>
                      <a:pt x="1144" y="651"/>
                    </a:lnTo>
                    <a:lnTo>
                      <a:pt x="1145" y="653"/>
                    </a:lnTo>
                    <a:lnTo>
                      <a:pt x="1145" y="655"/>
                    </a:lnTo>
                    <a:lnTo>
                      <a:pt x="1145" y="656"/>
                    </a:lnTo>
                    <a:lnTo>
                      <a:pt x="1147" y="658"/>
                    </a:lnTo>
                    <a:lnTo>
                      <a:pt x="1147" y="659"/>
                    </a:lnTo>
                    <a:lnTo>
                      <a:pt x="1149" y="661"/>
                    </a:lnTo>
                    <a:lnTo>
                      <a:pt x="1150" y="661"/>
                    </a:lnTo>
                    <a:lnTo>
                      <a:pt x="1149" y="663"/>
                    </a:lnTo>
                    <a:lnTo>
                      <a:pt x="1152" y="674"/>
                    </a:lnTo>
                    <a:lnTo>
                      <a:pt x="1152" y="675"/>
                    </a:lnTo>
                    <a:lnTo>
                      <a:pt x="1150" y="677"/>
                    </a:lnTo>
                    <a:lnTo>
                      <a:pt x="1145" y="678"/>
                    </a:lnTo>
                    <a:lnTo>
                      <a:pt x="1142" y="678"/>
                    </a:lnTo>
                    <a:lnTo>
                      <a:pt x="1139" y="678"/>
                    </a:lnTo>
                    <a:lnTo>
                      <a:pt x="1137" y="678"/>
                    </a:lnTo>
                    <a:lnTo>
                      <a:pt x="1136" y="678"/>
                    </a:lnTo>
                    <a:lnTo>
                      <a:pt x="1133" y="677"/>
                    </a:lnTo>
                    <a:lnTo>
                      <a:pt x="1130" y="677"/>
                    </a:lnTo>
                    <a:lnTo>
                      <a:pt x="1125" y="678"/>
                    </a:lnTo>
                    <a:lnTo>
                      <a:pt x="1122" y="680"/>
                    </a:lnTo>
                    <a:lnTo>
                      <a:pt x="1120" y="682"/>
                    </a:lnTo>
                    <a:lnTo>
                      <a:pt x="1118" y="682"/>
                    </a:lnTo>
                    <a:lnTo>
                      <a:pt x="1117" y="683"/>
                    </a:lnTo>
                    <a:lnTo>
                      <a:pt x="1114" y="682"/>
                    </a:lnTo>
                    <a:lnTo>
                      <a:pt x="1112" y="682"/>
                    </a:lnTo>
                    <a:lnTo>
                      <a:pt x="1111" y="682"/>
                    </a:lnTo>
                    <a:lnTo>
                      <a:pt x="1107" y="682"/>
                    </a:lnTo>
                    <a:lnTo>
                      <a:pt x="1106" y="682"/>
                    </a:lnTo>
                    <a:lnTo>
                      <a:pt x="1103" y="683"/>
                    </a:lnTo>
                    <a:lnTo>
                      <a:pt x="1101" y="683"/>
                    </a:lnTo>
                    <a:lnTo>
                      <a:pt x="1099" y="683"/>
                    </a:lnTo>
                    <a:lnTo>
                      <a:pt x="1099" y="685"/>
                    </a:lnTo>
                    <a:lnTo>
                      <a:pt x="1098" y="685"/>
                    </a:lnTo>
                    <a:lnTo>
                      <a:pt x="1096" y="685"/>
                    </a:lnTo>
                    <a:lnTo>
                      <a:pt x="1087" y="691"/>
                    </a:lnTo>
                    <a:lnTo>
                      <a:pt x="1085" y="693"/>
                    </a:lnTo>
                    <a:lnTo>
                      <a:pt x="1084" y="696"/>
                    </a:lnTo>
                    <a:lnTo>
                      <a:pt x="1084" y="697"/>
                    </a:lnTo>
                    <a:lnTo>
                      <a:pt x="1082" y="697"/>
                    </a:lnTo>
                    <a:lnTo>
                      <a:pt x="1080" y="699"/>
                    </a:lnTo>
                    <a:lnTo>
                      <a:pt x="1076" y="699"/>
                    </a:lnTo>
                    <a:lnTo>
                      <a:pt x="1074" y="699"/>
                    </a:lnTo>
                    <a:lnTo>
                      <a:pt x="1074" y="701"/>
                    </a:lnTo>
                    <a:lnTo>
                      <a:pt x="1074" y="704"/>
                    </a:lnTo>
                    <a:lnTo>
                      <a:pt x="1074" y="705"/>
                    </a:lnTo>
                    <a:lnTo>
                      <a:pt x="1074" y="707"/>
                    </a:lnTo>
                    <a:lnTo>
                      <a:pt x="1074" y="708"/>
                    </a:lnTo>
                    <a:lnTo>
                      <a:pt x="1076" y="708"/>
                    </a:lnTo>
                    <a:lnTo>
                      <a:pt x="1076" y="712"/>
                    </a:lnTo>
                    <a:lnTo>
                      <a:pt x="1076" y="713"/>
                    </a:lnTo>
                    <a:lnTo>
                      <a:pt x="1074" y="713"/>
                    </a:lnTo>
                    <a:lnTo>
                      <a:pt x="1074" y="715"/>
                    </a:lnTo>
                    <a:lnTo>
                      <a:pt x="1074" y="716"/>
                    </a:lnTo>
                    <a:lnTo>
                      <a:pt x="1074" y="718"/>
                    </a:lnTo>
                    <a:lnTo>
                      <a:pt x="1073" y="718"/>
                    </a:lnTo>
                    <a:lnTo>
                      <a:pt x="1071" y="724"/>
                    </a:lnTo>
                    <a:lnTo>
                      <a:pt x="1069" y="727"/>
                    </a:lnTo>
                    <a:lnTo>
                      <a:pt x="1068" y="731"/>
                    </a:lnTo>
                    <a:lnTo>
                      <a:pt x="1068" y="732"/>
                    </a:lnTo>
                    <a:lnTo>
                      <a:pt x="1066" y="732"/>
                    </a:lnTo>
                    <a:lnTo>
                      <a:pt x="1063" y="737"/>
                    </a:lnTo>
                    <a:lnTo>
                      <a:pt x="1063" y="740"/>
                    </a:lnTo>
                    <a:lnTo>
                      <a:pt x="1061" y="743"/>
                    </a:lnTo>
                    <a:lnTo>
                      <a:pt x="1061" y="745"/>
                    </a:lnTo>
                    <a:lnTo>
                      <a:pt x="1061" y="746"/>
                    </a:lnTo>
                    <a:lnTo>
                      <a:pt x="1061" y="748"/>
                    </a:lnTo>
                    <a:lnTo>
                      <a:pt x="1063" y="750"/>
                    </a:lnTo>
                    <a:lnTo>
                      <a:pt x="1065" y="753"/>
                    </a:lnTo>
                    <a:lnTo>
                      <a:pt x="1065" y="754"/>
                    </a:lnTo>
                    <a:lnTo>
                      <a:pt x="1065" y="758"/>
                    </a:lnTo>
                    <a:lnTo>
                      <a:pt x="1065" y="759"/>
                    </a:lnTo>
                    <a:lnTo>
                      <a:pt x="1065" y="761"/>
                    </a:lnTo>
                    <a:lnTo>
                      <a:pt x="1065" y="762"/>
                    </a:lnTo>
                    <a:lnTo>
                      <a:pt x="1063" y="762"/>
                    </a:lnTo>
                    <a:lnTo>
                      <a:pt x="1061" y="764"/>
                    </a:lnTo>
                    <a:lnTo>
                      <a:pt x="1061" y="765"/>
                    </a:lnTo>
                    <a:lnTo>
                      <a:pt x="1060" y="769"/>
                    </a:lnTo>
                    <a:lnTo>
                      <a:pt x="1055" y="772"/>
                    </a:lnTo>
                    <a:lnTo>
                      <a:pt x="1054" y="775"/>
                    </a:lnTo>
                    <a:lnTo>
                      <a:pt x="1052" y="777"/>
                    </a:lnTo>
                    <a:lnTo>
                      <a:pt x="1050" y="777"/>
                    </a:lnTo>
                    <a:lnTo>
                      <a:pt x="1049" y="777"/>
                    </a:lnTo>
                    <a:lnTo>
                      <a:pt x="1047" y="777"/>
                    </a:lnTo>
                    <a:lnTo>
                      <a:pt x="1046" y="778"/>
                    </a:lnTo>
                    <a:lnTo>
                      <a:pt x="1044" y="778"/>
                    </a:lnTo>
                    <a:lnTo>
                      <a:pt x="1042" y="778"/>
                    </a:lnTo>
                    <a:lnTo>
                      <a:pt x="1042" y="780"/>
                    </a:lnTo>
                    <a:lnTo>
                      <a:pt x="1041" y="780"/>
                    </a:lnTo>
                    <a:lnTo>
                      <a:pt x="1039" y="780"/>
                    </a:lnTo>
                    <a:lnTo>
                      <a:pt x="1038" y="781"/>
                    </a:lnTo>
                    <a:lnTo>
                      <a:pt x="1033" y="783"/>
                    </a:lnTo>
                    <a:lnTo>
                      <a:pt x="1028" y="784"/>
                    </a:lnTo>
                    <a:lnTo>
                      <a:pt x="1027" y="786"/>
                    </a:lnTo>
                    <a:lnTo>
                      <a:pt x="1022" y="789"/>
                    </a:lnTo>
                    <a:lnTo>
                      <a:pt x="1020" y="791"/>
                    </a:lnTo>
                    <a:lnTo>
                      <a:pt x="1019" y="791"/>
                    </a:lnTo>
                    <a:lnTo>
                      <a:pt x="1017" y="792"/>
                    </a:lnTo>
                    <a:lnTo>
                      <a:pt x="1017" y="794"/>
                    </a:lnTo>
                    <a:lnTo>
                      <a:pt x="1016" y="794"/>
                    </a:lnTo>
                    <a:lnTo>
                      <a:pt x="1016" y="796"/>
                    </a:lnTo>
                    <a:lnTo>
                      <a:pt x="1014" y="796"/>
                    </a:lnTo>
                    <a:lnTo>
                      <a:pt x="1008" y="800"/>
                    </a:lnTo>
                    <a:lnTo>
                      <a:pt x="1004" y="802"/>
                    </a:lnTo>
                    <a:lnTo>
                      <a:pt x="1003" y="802"/>
                    </a:lnTo>
                    <a:lnTo>
                      <a:pt x="1001" y="802"/>
                    </a:lnTo>
                    <a:lnTo>
                      <a:pt x="1000" y="802"/>
                    </a:lnTo>
                    <a:lnTo>
                      <a:pt x="996" y="802"/>
                    </a:lnTo>
                    <a:lnTo>
                      <a:pt x="992" y="800"/>
                    </a:lnTo>
                    <a:lnTo>
                      <a:pt x="990" y="800"/>
                    </a:lnTo>
                    <a:lnTo>
                      <a:pt x="989" y="800"/>
                    </a:lnTo>
                    <a:lnTo>
                      <a:pt x="985" y="800"/>
                    </a:lnTo>
                    <a:lnTo>
                      <a:pt x="984" y="802"/>
                    </a:lnTo>
                    <a:lnTo>
                      <a:pt x="982" y="802"/>
                    </a:lnTo>
                    <a:lnTo>
                      <a:pt x="981" y="802"/>
                    </a:lnTo>
                    <a:lnTo>
                      <a:pt x="977" y="802"/>
                    </a:lnTo>
                    <a:lnTo>
                      <a:pt x="973" y="803"/>
                    </a:lnTo>
                    <a:lnTo>
                      <a:pt x="968" y="807"/>
                    </a:lnTo>
                    <a:lnTo>
                      <a:pt x="963" y="810"/>
                    </a:lnTo>
                    <a:lnTo>
                      <a:pt x="962" y="810"/>
                    </a:lnTo>
                    <a:lnTo>
                      <a:pt x="958" y="811"/>
                    </a:lnTo>
                    <a:lnTo>
                      <a:pt x="955" y="815"/>
                    </a:lnTo>
                    <a:lnTo>
                      <a:pt x="955" y="816"/>
                    </a:lnTo>
                    <a:lnTo>
                      <a:pt x="955" y="818"/>
                    </a:lnTo>
                    <a:lnTo>
                      <a:pt x="952" y="821"/>
                    </a:lnTo>
                    <a:lnTo>
                      <a:pt x="952" y="822"/>
                    </a:lnTo>
                    <a:lnTo>
                      <a:pt x="951" y="824"/>
                    </a:lnTo>
                    <a:lnTo>
                      <a:pt x="946" y="827"/>
                    </a:lnTo>
                    <a:lnTo>
                      <a:pt x="943" y="829"/>
                    </a:lnTo>
                    <a:lnTo>
                      <a:pt x="941" y="829"/>
                    </a:lnTo>
                    <a:lnTo>
                      <a:pt x="939" y="829"/>
                    </a:lnTo>
                    <a:lnTo>
                      <a:pt x="938" y="829"/>
                    </a:lnTo>
                    <a:lnTo>
                      <a:pt x="936" y="829"/>
                    </a:lnTo>
                    <a:lnTo>
                      <a:pt x="930" y="827"/>
                    </a:lnTo>
                    <a:lnTo>
                      <a:pt x="927" y="826"/>
                    </a:lnTo>
                    <a:lnTo>
                      <a:pt x="922" y="824"/>
                    </a:lnTo>
                    <a:lnTo>
                      <a:pt x="917" y="821"/>
                    </a:lnTo>
                    <a:lnTo>
                      <a:pt x="916" y="819"/>
                    </a:lnTo>
                    <a:lnTo>
                      <a:pt x="914" y="818"/>
                    </a:lnTo>
                    <a:lnTo>
                      <a:pt x="914" y="816"/>
                    </a:lnTo>
                    <a:lnTo>
                      <a:pt x="908" y="815"/>
                    </a:lnTo>
                    <a:lnTo>
                      <a:pt x="906" y="813"/>
                    </a:lnTo>
                    <a:lnTo>
                      <a:pt x="905" y="813"/>
                    </a:lnTo>
                    <a:lnTo>
                      <a:pt x="903" y="813"/>
                    </a:lnTo>
                    <a:lnTo>
                      <a:pt x="901" y="815"/>
                    </a:lnTo>
                    <a:lnTo>
                      <a:pt x="900" y="815"/>
                    </a:lnTo>
                    <a:lnTo>
                      <a:pt x="897" y="816"/>
                    </a:lnTo>
                    <a:lnTo>
                      <a:pt x="890" y="819"/>
                    </a:lnTo>
                    <a:lnTo>
                      <a:pt x="887" y="819"/>
                    </a:lnTo>
                    <a:lnTo>
                      <a:pt x="879" y="819"/>
                    </a:lnTo>
                    <a:lnTo>
                      <a:pt x="878" y="819"/>
                    </a:lnTo>
                    <a:lnTo>
                      <a:pt x="876" y="818"/>
                    </a:lnTo>
                    <a:lnTo>
                      <a:pt x="863" y="815"/>
                    </a:lnTo>
                    <a:lnTo>
                      <a:pt x="860" y="815"/>
                    </a:lnTo>
                    <a:lnTo>
                      <a:pt x="857" y="815"/>
                    </a:lnTo>
                    <a:lnTo>
                      <a:pt x="856" y="815"/>
                    </a:lnTo>
                    <a:lnTo>
                      <a:pt x="854" y="815"/>
                    </a:lnTo>
                    <a:lnTo>
                      <a:pt x="852" y="815"/>
                    </a:lnTo>
                    <a:lnTo>
                      <a:pt x="851" y="815"/>
                    </a:lnTo>
                    <a:lnTo>
                      <a:pt x="849" y="815"/>
                    </a:lnTo>
                    <a:lnTo>
                      <a:pt x="848" y="815"/>
                    </a:lnTo>
                    <a:lnTo>
                      <a:pt x="846" y="815"/>
                    </a:lnTo>
                    <a:lnTo>
                      <a:pt x="844" y="815"/>
                    </a:lnTo>
                    <a:lnTo>
                      <a:pt x="843" y="815"/>
                    </a:lnTo>
                    <a:lnTo>
                      <a:pt x="841" y="815"/>
                    </a:lnTo>
                    <a:lnTo>
                      <a:pt x="840" y="815"/>
                    </a:lnTo>
                    <a:lnTo>
                      <a:pt x="838" y="815"/>
                    </a:lnTo>
                    <a:lnTo>
                      <a:pt x="835" y="813"/>
                    </a:lnTo>
                    <a:lnTo>
                      <a:pt x="833" y="810"/>
                    </a:lnTo>
                    <a:lnTo>
                      <a:pt x="829" y="807"/>
                    </a:lnTo>
                    <a:lnTo>
                      <a:pt x="829" y="805"/>
                    </a:lnTo>
                    <a:lnTo>
                      <a:pt x="827" y="805"/>
                    </a:lnTo>
                    <a:lnTo>
                      <a:pt x="825" y="803"/>
                    </a:lnTo>
                    <a:lnTo>
                      <a:pt x="824" y="802"/>
                    </a:lnTo>
                    <a:lnTo>
                      <a:pt x="824" y="800"/>
                    </a:lnTo>
                    <a:lnTo>
                      <a:pt x="822" y="797"/>
                    </a:lnTo>
                    <a:lnTo>
                      <a:pt x="821" y="796"/>
                    </a:lnTo>
                    <a:lnTo>
                      <a:pt x="817" y="792"/>
                    </a:lnTo>
                    <a:lnTo>
                      <a:pt x="816" y="791"/>
                    </a:lnTo>
                    <a:lnTo>
                      <a:pt x="816" y="789"/>
                    </a:lnTo>
                    <a:lnTo>
                      <a:pt x="814" y="788"/>
                    </a:lnTo>
                    <a:lnTo>
                      <a:pt x="811" y="783"/>
                    </a:lnTo>
                    <a:lnTo>
                      <a:pt x="810" y="780"/>
                    </a:lnTo>
                    <a:lnTo>
                      <a:pt x="810" y="778"/>
                    </a:lnTo>
                    <a:lnTo>
                      <a:pt x="808" y="778"/>
                    </a:lnTo>
                    <a:lnTo>
                      <a:pt x="806" y="777"/>
                    </a:lnTo>
                    <a:lnTo>
                      <a:pt x="803" y="775"/>
                    </a:lnTo>
                    <a:lnTo>
                      <a:pt x="802" y="777"/>
                    </a:lnTo>
                    <a:lnTo>
                      <a:pt x="800" y="778"/>
                    </a:lnTo>
                    <a:lnTo>
                      <a:pt x="798" y="778"/>
                    </a:lnTo>
                    <a:lnTo>
                      <a:pt x="798" y="780"/>
                    </a:lnTo>
                    <a:lnTo>
                      <a:pt x="798" y="781"/>
                    </a:lnTo>
                    <a:lnTo>
                      <a:pt x="798" y="784"/>
                    </a:lnTo>
                    <a:lnTo>
                      <a:pt x="798" y="786"/>
                    </a:lnTo>
                    <a:lnTo>
                      <a:pt x="797" y="786"/>
                    </a:lnTo>
                    <a:lnTo>
                      <a:pt x="795" y="786"/>
                    </a:lnTo>
                    <a:lnTo>
                      <a:pt x="791" y="784"/>
                    </a:lnTo>
                    <a:lnTo>
                      <a:pt x="789" y="786"/>
                    </a:lnTo>
                    <a:lnTo>
                      <a:pt x="787" y="786"/>
                    </a:lnTo>
                    <a:lnTo>
                      <a:pt x="783" y="786"/>
                    </a:lnTo>
                    <a:lnTo>
                      <a:pt x="779" y="786"/>
                    </a:lnTo>
                    <a:lnTo>
                      <a:pt x="778" y="786"/>
                    </a:lnTo>
                    <a:lnTo>
                      <a:pt x="776" y="786"/>
                    </a:lnTo>
                    <a:lnTo>
                      <a:pt x="772" y="786"/>
                    </a:lnTo>
                    <a:lnTo>
                      <a:pt x="770" y="786"/>
                    </a:lnTo>
                    <a:lnTo>
                      <a:pt x="765" y="786"/>
                    </a:lnTo>
                    <a:lnTo>
                      <a:pt x="762" y="786"/>
                    </a:lnTo>
                    <a:lnTo>
                      <a:pt x="759" y="788"/>
                    </a:lnTo>
                    <a:lnTo>
                      <a:pt x="757" y="786"/>
                    </a:lnTo>
                    <a:lnTo>
                      <a:pt x="756" y="786"/>
                    </a:lnTo>
                    <a:lnTo>
                      <a:pt x="753" y="783"/>
                    </a:lnTo>
                    <a:lnTo>
                      <a:pt x="751" y="783"/>
                    </a:lnTo>
                    <a:lnTo>
                      <a:pt x="749" y="783"/>
                    </a:lnTo>
                    <a:lnTo>
                      <a:pt x="749" y="781"/>
                    </a:lnTo>
                    <a:lnTo>
                      <a:pt x="748" y="781"/>
                    </a:lnTo>
                    <a:lnTo>
                      <a:pt x="746" y="781"/>
                    </a:lnTo>
                    <a:lnTo>
                      <a:pt x="745" y="781"/>
                    </a:lnTo>
                    <a:lnTo>
                      <a:pt x="743" y="781"/>
                    </a:lnTo>
                    <a:lnTo>
                      <a:pt x="743" y="780"/>
                    </a:lnTo>
                    <a:lnTo>
                      <a:pt x="741" y="780"/>
                    </a:lnTo>
                    <a:lnTo>
                      <a:pt x="740" y="778"/>
                    </a:lnTo>
                    <a:lnTo>
                      <a:pt x="738" y="778"/>
                    </a:lnTo>
                    <a:lnTo>
                      <a:pt x="737" y="778"/>
                    </a:lnTo>
                    <a:lnTo>
                      <a:pt x="737" y="780"/>
                    </a:lnTo>
                    <a:lnTo>
                      <a:pt x="735" y="780"/>
                    </a:lnTo>
                    <a:lnTo>
                      <a:pt x="734" y="781"/>
                    </a:lnTo>
                    <a:lnTo>
                      <a:pt x="729" y="788"/>
                    </a:lnTo>
                    <a:lnTo>
                      <a:pt x="726" y="792"/>
                    </a:lnTo>
                    <a:lnTo>
                      <a:pt x="722" y="796"/>
                    </a:lnTo>
                    <a:lnTo>
                      <a:pt x="721" y="796"/>
                    </a:lnTo>
                    <a:lnTo>
                      <a:pt x="721" y="797"/>
                    </a:lnTo>
                    <a:lnTo>
                      <a:pt x="719" y="797"/>
                    </a:lnTo>
                    <a:lnTo>
                      <a:pt x="718" y="799"/>
                    </a:lnTo>
                    <a:lnTo>
                      <a:pt x="718" y="802"/>
                    </a:lnTo>
                    <a:lnTo>
                      <a:pt x="716" y="803"/>
                    </a:lnTo>
                    <a:lnTo>
                      <a:pt x="715" y="803"/>
                    </a:lnTo>
                    <a:lnTo>
                      <a:pt x="715" y="805"/>
                    </a:lnTo>
                    <a:lnTo>
                      <a:pt x="710" y="811"/>
                    </a:lnTo>
                    <a:lnTo>
                      <a:pt x="707" y="813"/>
                    </a:lnTo>
                    <a:lnTo>
                      <a:pt x="705" y="815"/>
                    </a:lnTo>
                    <a:lnTo>
                      <a:pt x="703" y="815"/>
                    </a:lnTo>
                    <a:lnTo>
                      <a:pt x="703" y="816"/>
                    </a:lnTo>
                    <a:lnTo>
                      <a:pt x="700" y="816"/>
                    </a:lnTo>
                    <a:lnTo>
                      <a:pt x="699" y="818"/>
                    </a:lnTo>
                    <a:lnTo>
                      <a:pt x="697" y="818"/>
                    </a:lnTo>
                    <a:lnTo>
                      <a:pt x="696" y="818"/>
                    </a:lnTo>
                    <a:lnTo>
                      <a:pt x="694" y="818"/>
                    </a:lnTo>
                    <a:lnTo>
                      <a:pt x="694" y="819"/>
                    </a:lnTo>
                    <a:lnTo>
                      <a:pt x="692" y="821"/>
                    </a:lnTo>
                    <a:lnTo>
                      <a:pt x="691" y="821"/>
                    </a:lnTo>
                    <a:lnTo>
                      <a:pt x="689" y="822"/>
                    </a:lnTo>
                    <a:lnTo>
                      <a:pt x="689" y="824"/>
                    </a:lnTo>
                    <a:lnTo>
                      <a:pt x="686" y="824"/>
                    </a:lnTo>
                    <a:lnTo>
                      <a:pt x="686" y="826"/>
                    </a:lnTo>
                    <a:lnTo>
                      <a:pt x="684" y="826"/>
                    </a:lnTo>
                    <a:lnTo>
                      <a:pt x="683" y="826"/>
                    </a:lnTo>
                    <a:lnTo>
                      <a:pt x="681" y="826"/>
                    </a:lnTo>
                    <a:lnTo>
                      <a:pt x="677" y="826"/>
                    </a:lnTo>
                    <a:lnTo>
                      <a:pt x="675" y="826"/>
                    </a:lnTo>
                    <a:lnTo>
                      <a:pt x="667" y="824"/>
                    </a:lnTo>
                    <a:lnTo>
                      <a:pt x="662" y="827"/>
                    </a:lnTo>
                    <a:lnTo>
                      <a:pt x="661" y="827"/>
                    </a:lnTo>
                    <a:lnTo>
                      <a:pt x="659" y="827"/>
                    </a:lnTo>
                    <a:lnTo>
                      <a:pt x="653" y="832"/>
                    </a:lnTo>
                    <a:lnTo>
                      <a:pt x="650" y="832"/>
                    </a:lnTo>
                    <a:lnTo>
                      <a:pt x="648" y="830"/>
                    </a:lnTo>
                    <a:lnTo>
                      <a:pt x="645" y="827"/>
                    </a:lnTo>
                    <a:lnTo>
                      <a:pt x="643" y="827"/>
                    </a:lnTo>
                    <a:lnTo>
                      <a:pt x="642" y="827"/>
                    </a:lnTo>
                    <a:lnTo>
                      <a:pt x="642" y="826"/>
                    </a:lnTo>
                    <a:lnTo>
                      <a:pt x="639" y="826"/>
                    </a:lnTo>
                    <a:lnTo>
                      <a:pt x="637" y="826"/>
                    </a:lnTo>
                    <a:lnTo>
                      <a:pt x="635" y="824"/>
                    </a:lnTo>
                    <a:lnTo>
                      <a:pt x="635" y="822"/>
                    </a:lnTo>
                    <a:lnTo>
                      <a:pt x="634" y="819"/>
                    </a:lnTo>
                    <a:lnTo>
                      <a:pt x="634" y="816"/>
                    </a:lnTo>
                    <a:lnTo>
                      <a:pt x="634" y="815"/>
                    </a:lnTo>
                    <a:lnTo>
                      <a:pt x="632" y="815"/>
                    </a:lnTo>
                    <a:lnTo>
                      <a:pt x="631" y="813"/>
                    </a:lnTo>
                    <a:lnTo>
                      <a:pt x="624" y="813"/>
                    </a:lnTo>
                    <a:lnTo>
                      <a:pt x="623" y="813"/>
                    </a:lnTo>
                    <a:lnTo>
                      <a:pt x="615" y="813"/>
                    </a:lnTo>
                    <a:lnTo>
                      <a:pt x="613" y="813"/>
                    </a:lnTo>
                    <a:lnTo>
                      <a:pt x="612" y="815"/>
                    </a:lnTo>
                    <a:lnTo>
                      <a:pt x="608" y="815"/>
                    </a:lnTo>
                    <a:lnTo>
                      <a:pt x="607" y="815"/>
                    </a:lnTo>
                    <a:lnTo>
                      <a:pt x="605" y="815"/>
                    </a:lnTo>
                    <a:lnTo>
                      <a:pt x="604" y="815"/>
                    </a:lnTo>
                    <a:lnTo>
                      <a:pt x="602" y="813"/>
                    </a:lnTo>
                    <a:lnTo>
                      <a:pt x="599" y="811"/>
                    </a:lnTo>
                    <a:lnTo>
                      <a:pt x="597" y="811"/>
                    </a:lnTo>
                    <a:lnTo>
                      <a:pt x="596" y="811"/>
                    </a:lnTo>
                    <a:lnTo>
                      <a:pt x="594" y="813"/>
                    </a:lnTo>
                    <a:lnTo>
                      <a:pt x="593" y="813"/>
                    </a:lnTo>
                    <a:lnTo>
                      <a:pt x="591" y="816"/>
                    </a:lnTo>
                    <a:lnTo>
                      <a:pt x="589" y="816"/>
                    </a:lnTo>
                    <a:lnTo>
                      <a:pt x="589" y="818"/>
                    </a:lnTo>
                    <a:lnTo>
                      <a:pt x="589" y="819"/>
                    </a:lnTo>
                    <a:lnTo>
                      <a:pt x="581" y="819"/>
                    </a:lnTo>
                    <a:lnTo>
                      <a:pt x="580" y="819"/>
                    </a:lnTo>
                    <a:lnTo>
                      <a:pt x="577" y="818"/>
                    </a:lnTo>
                    <a:lnTo>
                      <a:pt x="574" y="818"/>
                    </a:lnTo>
                    <a:lnTo>
                      <a:pt x="572" y="819"/>
                    </a:lnTo>
                    <a:lnTo>
                      <a:pt x="569" y="819"/>
                    </a:lnTo>
                    <a:lnTo>
                      <a:pt x="566" y="821"/>
                    </a:lnTo>
                    <a:lnTo>
                      <a:pt x="564" y="819"/>
                    </a:lnTo>
                    <a:lnTo>
                      <a:pt x="562" y="819"/>
                    </a:lnTo>
                    <a:lnTo>
                      <a:pt x="561" y="821"/>
                    </a:lnTo>
                    <a:lnTo>
                      <a:pt x="559" y="822"/>
                    </a:lnTo>
                    <a:lnTo>
                      <a:pt x="558" y="822"/>
                    </a:lnTo>
                    <a:lnTo>
                      <a:pt x="558" y="824"/>
                    </a:lnTo>
                    <a:lnTo>
                      <a:pt x="556" y="822"/>
                    </a:lnTo>
                    <a:lnTo>
                      <a:pt x="555" y="822"/>
                    </a:lnTo>
                    <a:lnTo>
                      <a:pt x="553" y="822"/>
                    </a:lnTo>
                    <a:lnTo>
                      <a:pt x="551" y="822"/>
                    </a:lnTo>
                    <a:lnTo>
                      <a:pt x="548" y="819"/>
                    </a:lnTo>
                    <a:lnTo>
                      <a:pt x="542" y="821"/>
                    </a:lnTo>
                    <a:lnTo>
                      <a:pt x="539" y="821"/>
                    </a:lnTo>
                    <a:lnTo>
                      <a:pt x="536" y="822"/>
                    </a:lnTo>
                    <a:lnTo>
                      <a:pt x="532" y="822"/>
                    </a:lnTo>
                    <a:lnTo>
                      <a:pt x="531" y="822"/>
                    </a:lnTo>
                    <a:lnTo>
                      <a:pt x="529" y="821"/>
                    </a:lnTo>
                    <a:lnTo>
                      <a:pt x="531" y="818"/>
                    </a:lnTo>
                    <a:lnTo>
                      <a:pt x="532" y="816"/>
                    </a:lnTo>
                    <a:lnTo>
                      <a:pt x="531" y="815"/>
                    </a:lnTo>
                    <a:lnTo>
                      <a:pt x="531" y="813"/>
                    </a:lnTo>
                    <a:lnTo>
                      <a:pt x="529" y="811"/>
                    </a:lnTo>
                    <a:lnTo>
                      <a:pt x="528" y="810"/>
                    </a:lnTo>
                    <a:lnTo>
                      <a:pt x="526" y="810"/>
                    </a:lnTo>
                    <a:lnTo>
                      <a:pt x="526" y="807"/>
                    </a:lnTo>
                    <a:lnTo>
                      <a:pt x="528" y="800"/>
                    </a:lnTo>
                    <a:lnTo>
                      <a:pt x="529" y="800"/>
                    </a:lnTo>
                    <a:lnTo>
                      <a:pt x="529" y="797"/>
                    </a:lnTo>
                    <a:lnTo>
                      <a:pt x="529" y="796"/>
                    </a:lnTo>
                    <a:lnTo>
                      <a:pt x="528" y="792"/>
                    </a:lnTo>
                    <a:lnTo>
                      <a:pt x="528" y="791"/>
                    </a:lnTo>
                    <a:lnTo>
                      <a:pt x="528" y="789"/>
                    </a:lnTo>
                    <a:lnTo>
                      <a:pt x="528" y="788"/>
                    </a:lnTo>
                    <a:lnTo>
                      <a:pt x="528" y="786"/>
                    </a:lnTo>
                    <a:lnTo>
                      <a:pt x="528" y="784"/>
                    </a:lnTo>
                    <a:lnTo>
                      <a:pt x="528" y="783"/>
                    </a:lnTo>
                    <a:lnTo>
                      <a:pt x="526" y="781"/>
                    </a:lnTo>
                    <a:lnTo>
                      <a:pt x="524" y="780"/>
                    </a:lnTo>
                    <a:lnTo>
                      <a:pt x="523" y="780"/>
                    </a:lnTo>
                    <a:lnTo>
                      <a:pt x="523" y="778"/>
                    </a:lnTo>
                    <a:lnTo>
                      <a:pt x="521" y="778"/>
                    </a:lnTo>
                    <a:lnTo>
                      <a:pt x="521" y="777"/>
                    </a:lnTo>
                    <a:lnTo>
                      <a:pt x="520" y="777"/>
                    </a:lnTo>
                    <a:lnTo>
                      <a:pt x="518" y="775"/>
                    </a:lnTo>
                    <a:lnTo>
                      <a:pt x="517" y="775"/>
                    </a:lnTo>
                    <a:lnTo>
                      <a:pt x="515" y="775"/>
                    </a:lnTo>
                    <a:lnTo>
                      <a:pt x="513" y="773"/>
                    </a:lnTo>
                    <a:lnTo>
                      <a:pt x="512" y="770"/>
                    </a:lnTo>
                    <a:lnTo>
                      <a:pt x="510" y="769"/>
                    </a:lnTo>
                    <a:lnTo>
                      <a:pt x="509" y="770"/>
                    </a:lnTo>
                    <a:lnTo>
                      <a:pt x="507" y="770"/>
                    </a:lnTo>
                    <a:lnTo>
                      <a:pt x="505" y="769"/>
                    </a:lnTo>
                    <a:lnTo>
                      <a:pt x="504" y="769"/>
                    </a:lnTo>
                    <a:lnTo>
                      <a:pt x="502" y="769"/>
                    </a:lnTo>
                    <a:lnTo>
                      <a:pt x="502" y="767"/>
                    </a:lnTo>
                    <a:lnTo>
                      <a:pt x="501" y="767"/>
                    </a:lnTo>
                    <a:lnTo>
                      <a:pt x="499" y="764"/>
                    </a:lnTo>
                    <a:lnTo>
                      <a:pt x="486" y="758"/>
                    </a:lnTo>
                    <a:lnTo>
                      <a:pt x="483" y="756"/>
                    </a:lnTo>
                    <a:lnTo>
                      <a:pt x="479" y="753"/>
                    </a:lnTo>
                    <a:lnTo>
                      <a:pt x="477" y="753"/>
                    </a:lnTo>
                    <a:lnTo>
                      <a:pt x="475" y="753"/>
                    </a:lnTo>
                    <a:lnTo>
                      <a:pt x="474" y="753"/>
                    </a:lnTo>
                    <a:lnTo>
                      <a:pt x="469" y="751"/>
                    </a:lnTo>
                    <a:lnTo>
                      <a:pt x="463" y="750"/>
                    </a:lnTo>
                    <a:lnTo>
                      <a:pt x="458" y="748"/>
                    </a:lnTo>
                    <a:lnTo>
                      <a:pt x="456" y="746"/>
                    </a:lnTo>
                    <a:lnTo>
                      <a:pt x="456" y="745"/>
                    </a:lnTo>
                    <a:lnTo>
                      <a:pt x="456" y="742"/>
                    </a:lnTo>
                    <a:lnTo>
                      <a:pt x="458" y="739"/>
                    </a:lnTo>
                    <a:lnTo>
                      <a:pt x="458" y="735"/>
                    </a:lnTo>
                    <a:lnTo>
                      <a:pt x="458" y="734"/>
                    </a:lnTo>
                    <a:lnTo>
                      <a:pt x="456" y="732"/>
                    </a:lnTo>
                    <a:lnTo>
                      <a:pt x="452" y="727"/>
                    </a:lnTo>
                    <a:lnTo>
                      <a:pt x="447" y="727"/>
                    </a:lnTo>
                    <a:lnTo>
                      <a:pt x="445" y="727"/>
                    </a:lnTo>
                    <a:lnTo>
                      <a:pt x="444" y="727"/>
                    </a:lnTo>
                    <a:lnTo>
                      <a:pt x="440" y="729"/>
                    </a:lnTo>
                    <a:lnTo>
                      <a:pt x="439" y="727"/>
                    </a:lnTo>
                    <a:lnTo>
                      <a:pt x="434" y="727"/>
                    </a:lnTo>
                    <a:lnTo>
                      <a:pt x="433" y="727"/>
                    </a:lnTo>
                    <a:lnTo>
                      <a:pt x="428" y="727"/>
                    </a:lnTo>
                    <a:lnTo>
                      <a:pt x="425" y="727"/>
                    </a:lnTo>
                    <a:lnTo>
                      <a:pt x="423" y="727"/>
                    </a:lnTo>
                    <a:lnTo>
                      <a:pt x="421" y="726"/>
                    </a:lnTo>
                    <a:lnTo>
                      <a:pt x="421" y="724"/>
                    </a:lnTo>
                    <a:lnTo>
                      <a:pt x="420" y="723"/>
                    </a:lnTo>
                    <a:lnTo>
                      <a:pt x="418" y="723"/>
                    </a:lnTo>
                    <a:lnTo>
                      <a:pt x="417" y="723"/>
                    </a:lnTo>
                    <a:lnTo>
                      <a:pt x="415" y="723"/>
                    </a:lnTo>
                    <a:lnTo>
                      <a:pt x="414" y="723"/>
                    </a:lnTo>
                    <a:lnTo>
                      <a:pt x="412" y="723"/>
                    </a:lnTo>
                    <a:lnTo>
                      <a:pt x="410" y="726"/>
                    </a:lnTo>
                    <a:lnTo>
                      <a:pt x="410" y="727"/>
                    </a:lnTo>
                    <a:lnTo>
                      <a:pt x="409" y="729"/>
                    </a:lnTo>
                    <a:lnTo>
                      <a:pt x="404" y="735"/>
                    </a:lnTo>
                    <a:lnTo>
                      <a:pt x="404" y="737"/>
                    </a:lnTo>
                    <a:lnTo>
                      <a:pt x="402" y="737"/>
                    </a:lnTo>
                    <a:lnTo>
                      <a:pt x="401" y="739"/>
                    </a:lnTo>
                    <a:lnTo>
                      <a:pt x="401" y="740"/>
                    </a:lnTo>
                    <a:lnTo>
                      <a:pt x="399" y="742"/>
                    </a:lnTo>
                    <a:lnTo>
                      <a:pt x="398" y="743"/>
                    </a:lnTo>
                    <a:lnTo>
                      <a:pt x="396" y="743"/>
                    </a:lnTo>
                    <a:lnTo>
                      <a:pt x="391" y="745"/>
                    </a:lnTo>
                    <a:lnTo>
                      <a:pt x="390" y="745"/>
                    </a:lnTo>
                    <a:lnTo>
                      <a:pt x="388" y="745"/>
                    </a:lnTo>
                    <a:lnTo>
                      <a:pt x="387" y="745"/>
                    </a:lnTo>
                    <a:lnTo>
                      <a:pt x="382" y="746"/>
                    </a:lnTo>
                    <a:lnTo>
                      <a:pt x="379" y="746"/>
                    </a:lnTo>
                    <a:lnTo>
                      <a:pt x="377" y="746"/>
                    </a:lnTo>
                    <a:lnTo>
                      <a:pt x="374" y="750"/>
                    </a:lnTo>
                    <a:lnTo>
                      <a:pt x="374" y="753"/>
                    </a:lnTo>
                    <a:lnTo>
                      <a:pt x="374" y="754"/>
                    </a:lnTo>
                    <a:lnTo>
                      <a:pt x="374" y="758"/>
                    </a:lnTo>
                    <a:lnTo>
                      <a:pt x="374" y="759"/>
                    </a:lnTo>
                    <a:lnTo>
                      <a:pt x="372" y="759"/>
                    </a:lnTo>
                    <a:lnTo>
                      <a:pt x="371" y="759"/>
                    </a:lnTo>
                    <a:lnTo>
                      <a:pt x="369" y="761"/>
                    </a:lnTo>
                    <a:lnTo>
                      <a:pt x="368" y="764"/>
                    </a:lnTo>
                    <a:lnTo>
                      <a:pt x="368" y="767"/>
                    </a:lnTo>
                    <a:lnTo>
                      <a:pt x="366" y="769"/>
                    </a:lnTo>
                    <a:lnTo>
                      <a:pt x="364" y="770"/>
                    </a:lnTo>
                    <a:lnTo>
                      <a:pt x="363" y="772"/>
                    </a:lnTo>
                    <a:lnTo>
                      <a:pt x="361" y="772"/>
                    </a:lnTo>
                    <a:lnTo>
                      <a:pt x="361" y="773"/>
                    </a:lnTo>
                    <a:lnTo>
                      <a:pt x="360" y="773"/>
                    </a:lnTo>
                    <a:lnTo>
                      <a:pt x="360" y="775"/>
                    </a:lnTo>
                    <a:lnTo>
                      <a:pt x="360" y="777"/>
                    </a:lnTo>
                    <a:lnTo>
                      <a:pt x="358" y="777"/>
                    </a:lnTo>
                    <a:lnTo>
                      <a:pt x="357" y="778"/>
                    </a:lnTo>
                    <a:lnTo>
                      <a:pt x="357" y="783"/>
                    </a:lnTo>
                    <a:lnTo>
                      <a:pt x="355" y="783"/>
                    </a:lnTo>
                    <a:lnTo>
                      <a:pt x="353" y="781"/>
                    </a:lnTo>
                    <a:lnTo>
                      <a:pt x="353" y="780"/>
                    </a:lnTo>
                    <a:lnTo>
                      <a:pt x="352" y="780"/>
                    </a:lnTo>
                    <a:lnTo>
                      <a:pt x="352" y="781"/>
                    </a:lnTo>
                    <a:lnTo>
                      <a:pt x="350" y="781"/>
                    </a:lnTo>
                    <a:lnTo>
                      <a:pt x="349" y="781"/>
                    </a:lnTo>
                    <a:lnTo>
                      <a:pt x="349" y="783"/>
                    </a:lnTo>
                    <a:lnTo>
                      <a:pt x="342" y="783"/>
                    </a:lnTo>
                    <a:lnTo>
                      <a:pt x="339" y="784"/>
                    </a:lnTo>
                    <a:lnTo>
                      <a:pt x="339" y="783"/>
                    </a:lnTo>
                    <a:lnTo>
                      <a:pt x="338" y="783"/>
                    </a:lnTo>
                    <a:lnTo>
                      <a:pt x="336" y="781"/>
                    </a:lnTo>
                    <a:lnTo>
                      <a:pt x="334" y="780"/>
                    </a:lnTo>
                    <a:lnTo>
                      <a:pt x="334" y="783"/>
                    </a:lnTo>
                    <a:lnTo>
                      <a:pt x="334" y="784"/>
                    </a:lnTo>
                    <a:lnTo>
                      <a:pt x="333" y="786"/>
                    </a:lnTo>
                    <a:lnTo>
                      <a:pt x="331" y="786"/>
                    </a:lnTo>
                    <a:lnTo>
                      <a:pt x="330" y="784"/>
                    </a:lnTo>
                    <a:lnTo>
                      <a:pt x="330" y="786"/>
                    </a:lnTo>
                    <a:lnTo>
                      <a:pt x="328" y="786"/>
                    </a:lnTo>
                    <a:lnTo>
                      <a:pt x="326" y="786"/>
                    </a:lnTo>
                    <a:lnTo>
                      <a:pt x="325" y="783"/>
                    </a:lnTo>
                    <a:lnTo>
                      <a:pt x="323" y="783"/>
                    </a:lnTo>
                    <a:lnTo>
                      <a:pt x="323" y="784"/>
                    </a:lnTo>
                    <a:lnTo>
                      <a:pt x="320" y="783"/>
                    </a:lnTo>
                    <a:lnTo>
                      <a:pt x="319" y="784"/>
                    </a:lnTo>
                    <a:lnTo>
                      <a:pt x="319" y="786"/>
                    </a:lnTo>
                    <a:lnTo>
                      <a:pt x="320" y="788"/>
                    </a:lnTo>
                    <a:lnTo>
                      <a:pt x="320" y="789"/>
                    </a:lnTo>
                    <a:lnTo>
                      <a:pt x="319" y="789"/>
                    </a:lnTo>
                    <a:lnTo>
                      <a:pt x="319" y="788"/>
                    </a:lnTo>
                    <a:lnTo>
                      <a:pt x="314" y="786"/>
                    </a:lnTo>
                    <a:lnTo>
                      <a:pt x="314" y="784"/>
                    </a:lnTo>
                    <a:lnTo>
                      <a:pt x="314" y="783"/>
                    </a:lnTo>
                    <a:lnTo>
                      <a:pt x="312" y="781"/>
                    </a:lnTo>
                    <a:lnTo>
                      <a:pt x="312" y="780"/>
                    </a:lnTo>
                    <a:lnTo>
                      <a:pt x="311" y="780"/>
                    </a:lnTo>
                    <a:lnTo>
                      <a:pt x="307" y="778"/>
                    </a:lnTo>
                    <a:lnTo>
                      <a:pt x="306" y="777"/>
                    </a:lnTo>
                    <a:lnTo>
                      <a:pt x="304" y="777"/>
                    </a:lnTo>
                    <a:lnTo>
                      <a:pt x="304" y="778"/>
                    </a:lnTo>
                    <a:lnTo>
                      <a:pt x="306" y="780"/>
                    </a:lnTo>
                    <a:lnTo>
                      <a:pt x="306" y="781"/>
                    </a:lnTo>
                    <a:lnTo>
                      <a:pt x="306" y="783"/>
                    </a:lnTo>
                    <a:lnTo>
                      <a:pt x="304" y="783"/>
                    </a:lnTo>
                    <a:lnTo>
                      <a:pt x="300" y="783"/>
                    </a:lnTo>
                    <a:lnTo>
                      <a:pt x="296" y="781"/>
                    </a:lnTo>
                    <a:lnTo>
                      <a:pt x="295" y="780"/>
                    </a:lnTo>
                    <a:lnTo>
                      <a:pt x="293" y="781"/>
                    </a:lnTo>
                    <a:lnTo>
                      <a:pt x="292" y="781"/>
                    </a:lnTo>
                    <a:lnTo>
                      <a:pt x="290" y="780"/>
                    </a:lnTo>
                    <a:lnTo>
                      <a:pt x="288" y="781"/>
                    </a:lnTo>
                    <a:lnTo>
                      <a:pt x="287" y="781"/>
                    </a:lnTo>
                    <a:lnTo>
                      <a:pt x="285" y="780"/>
                    </a:lnTo>
                    <a:lnTo>
                      <a:pt x="285" y="778"/>
                    </a:lnTo>
                    <a:lnTo>
                      <a:pt x="284" y="775"/>
                    </a:lnTo>
                    <a:lnTo>
                      <a:pt x="284" y="773"/>
                    </a:lnTo>
                    <a:lnTo>
                      <a:pt x="282" y="773"/>
                    </a:lnTo>
                    <a:lnTo>
                      <a:pt x="281" y="775"/>
                    </a:lnTo>
                    <a:lnTo>
                      <a:pt x="281" y="777"/>
                    </a:lnTo>
                    <a:lnTo>
                      <a:pt x="279" y="777"/>
                    </a:lnTo>
                    <a:lnTo>
                      <a:pt x="277" y="777"/>
                    </a:lnTo>
                    <a:lnTo>
                      <a:pt x="276" y="778"/>
                    </a:lnTo>
                    <a:lnTo>
                      <a:pt x="274" y="778"/>
                    </a:lnTo>
                    <a:lnTo>
                      <a:pt x="274" y="780"/>
                    </a:lnTo>
                    <a:lnTo>
                      <a:pt x="274" y="778"/>
                    </a:lnTo>
                    <a:lnTo>
                      <a:pt x="273" y="778"/>
                    </a:lnTo>
                    <a:lnTo>
                      <a:pt x="271" y="778"/>
                    </a:lnTo>
                    <a:lnTo>
                      <a:pt x="271" y="777"/>
                    </a:lnTo>
                    <a:lnTo>
                      <a:pt x="271" y="775"/>
                    </a:lnTo>
                    <a:lnTo>
                      <a:pt x="269" y="775"/>
                    </a:lnTo>
                    <a:lnTo>
                      <a:pt x="268" y="775"/>
                    </a:lnTo>
                    <a:lnTo>
                      <a:pt x="263" y="775"/>
                    </a:lnTo>
                    <a:lnTo>
                      <a:pt x="262" y="775"/>
                    </a:lnTo>
                    <a:lnTo>
                      <a:pt x="260" y="773"/>
                    </a:lnTo>
                    <a:lnTo>
                      <a:pt x="260" y="772"/>
                    </a:lnTo>
                    <a:lnTo>
                      <a:pt x="257" y="770"/>
                    </a:lnTo>
                    <a:lnTo>
                      <a:pt x="228" y="772"/>
                    </a:lnTo>
                    <a:lnTo>
                      <a:pt x="227" y="772"/>
                    </a:lnTo>
                    <a:lnTo>
                      <a:pt x="225" y="772"/>
                    </a:lnTo>
                    <a:lnTo>
                      <a:pt x="223" y="772"/>
                    </a:lnTo>
                    <a:lnTo>
                      <a:pt x="222" y="772"/>
                    </a:lnTo>
                    <a:lnTo>
                      <a:pt x="220" y="772"/>
                    </a:lnTo>
                    <a:lnTo>
                      <a:pt x="219" y="772"/>
                    </a:lnTo>
                    <a:lnTo>
                      <a:pt x="217" y="772"/>
                    </a:lnTo>
                    <a:lnTo>
                      <a:pt x="216" y="772"/>
                    </a:lnTo>
                    <a:lnTo>
                      <a:pt x="214" y="772"/>
                    </a:lnTo>
                    <a:lnTo>
                      <a:pt x="212" y="772"/>
                    </a:lnTo>
                    <a:lnTo>
                      <a:pt x="211" y="772"/>
                    </a:lnTo>
                    <a:lnTo>
                      <a:pt x="209" y="772"/>
                    </a:lnTo>
                    <a:lnTo>
                      <a:pt x="208" y="772"/>
                    </a:lnTo>
                    <a:lnTo>
                      <a:pt x="208" y="773"/>
                    </a:lnTo>
                    <a:lnTo>
                      <a:pt x="206" y="773"/>
                    </a:lnTo>
                    <a:lnTo>
                      <a:pt x="204" y="773"/>
                    </a:lnTo>
                    <a:lnTo>
                      <a:pt x="204" y="772"/>
                    </a:lnTo>
                    <a:lnTo>
                      <a:pt x="201" y="772"/>
                    </a:lnTo>
                    <a:lnTo>
                      <a:pt x="200" y="772"/>
                    </a:lnTo>
                    <a:lnTo>
                      <a:pt x="197" y="772"/>
                    </a:lnTo>
                    <a:lnTo>
                      <a:pt x="195" y="772"/>
                    </a:lnTo>
                    <a:lnTo>
                      <a:pt x="195" y="773"/>
                    </a:lnTo>
                    <a:lnTo>
                      <a:pt x="192" y="773"/>
                    </a:lnTo>
                    <a:lnTo>
                      <a:pt x="190" y="773"/>
                    </a:lnTo>
                    <a:lnTo>
                      <a:pt x="187" y="773"/>
                    </a:lnTo>
                    <a:lnTo>
                      <a:pt x="184" y="773"/>
                    </a:lnTo>
                    <a:lnTo>
                      <a:pt x="173" y="773"/>
                    </a:lnTo>
                    <a:lnTo>
                      <a:pt x="171" y="773"/>
                    </a:lnTo>
                    <a:lnTo>
                      <a:pt x="165" y="773"/>
                    </a:lnTo>
                    <a:lnTo>
                      <a:pt x="163" y="773"/>
                    </a:lnTo>
                    <a:lnTo>
                      <a:pt x="163" y="775"/>
                    </a:lnTo>
                    <a:lnTo>
                      <a:pt x="162" y="775"/>
                    </a:lnTo>
                    <a:lnTo>
                      <a:pt x="159" y="775"/>
                    </a:lnTo>
                    <a:lnTo>
                      <a:pt x="155" y="775"/>
                    </a:lnTo>
                    <a:lnTo>
                      <a:pt x="154" y="775"/>
                    </a:lnTo>
                    <a:lnTo>
                      <a:pt x="152" y="775"/>
                    </a:lnTo>
                    <a:lnTo>
                      <a:pt x="151" y="775"/>
                    </a:lnTo>
                    <a:lnTo>
                      <a:pt x="149" y="775"/>
                    </a:lnTo>
                    <a:lnTo>
                      <a:pt x="146" y="775"/>
                    </a:lnTo>
                    <a:lnTo>
                      <a:pt x="144" y="775"/>
                    </a:lnTo>
                    <a:lnTo>
                      <a:pt x="143" y="775"/>
                    </a:lnTo>
                    <a:lnTo>
                      <a:pt x="141" y="775"/>
                    </a:lnTo>
                    <a:lnTo>
                      <a:pt x="138" y="775"/>
                    </a:lnTo>
                    <a:lnTo>
                      <a:pt x="136" y="777"/>
                    </a:lnTo>
                    <a:lnTo>
                      <a:pt x="135" y="777"/>
                    </a:lnTo>
                    <a:lnTo>
                      <a:pt x="133" y="775"/>
                    </a:lnTo>
                    <a:lnTo>
                      <a:pt x="132" y="775"/>
                    </a:lnTo>
                    <a:lnTo>
                      <a:pt x="130" y="769"/>
                    </a:lnTo>
                    <a:lnTo>
                      <a:pt x="128" y="765"/>
                    </a:lnTo>
                    <a:lnTo>
                      <a:pt x="128" y="762"/>
                    </a:lnTo>
                    <a:lnTo>
                      <a:pt x="128" y="758"/>
                    </a:lnTo>
                    <a:lnTo>
                      <a:pt x="127" y="750"/>
                    </a:lnTo>
                    <a:lnTo>
                      <a:pt x="125" y="746"/>
                    </a:lnTo>
                    <a:lnTo>
                      <a:pt x="124" y="735"/>
                    </a:lnTo>
                    <a:lnTo>
                      <a:pt x="122" y="729"/>
                    </a:lnTo>
                    <a:lnTo>
                      <a:pt x="122" y="724"/>
                    </a:lnTo>
                    <a:lnTo>
                      <a:pt x="121" y="721"/>
                    </a:lnTo>
                    <a:lnTo>
                      <a:pt x="116" y="713"/>
                    </a:lnTo>
                    <a:lnTo>
                      <a:pt x="116" y="712"/>
                    </a:lnTo>
                    <a:lnTo>
                      <a:pt x="113" y="710"/>
                    </a:lnTo>
                    <a:lnTo>
                      <a:pt x="109" y="708"/>
                    </a:lnTo>
                    <a:lnTo>
                      <a:pt x="108" y="705"/>
                    </a:lnTo>
                    <a:lnTo>
                      <a:pt x="103" y="704"/>
                    </a:lnTo>
                    <a:lnTo>
                      <a:pt x="95" y="699"/>
                    </a:lnTo>
                    <a:lnTo>
                      <a:pt x="92" y="697"/>
                    </a:lnTo>
                    <a:lnTo>
                      <a:pt x="83" y="694"/>
                    </a:lnTo>
                    <a:lnTo>
                      <a:pt x="79" y="694"/>
                    </a:lnTo>
                    <a:lnTo>
                      <a:pt x="75" y="696"/>
                    </a:lnTo>
                    <a:lnTo>
                      <a:pt x="75" y="694"/>
                    </a:lnTo>
                    <a:lnTo>
                      <a:pt x="75" y="693"/>
                    </a:lnTo>
                    <a:lnTo>
                      <a:pt x="73" y="691"/>
                    </a:lnTo>
                    <a:lnTo>
                      <a:pt x="73" y="688"/>
                    </a:lnTo>
                    <a:lnTo>
                      <a:pt x="73" y="686"/>
                    </a:lnTo>
                    <a:lnTo>
                      <a:pt x="75" y="685"/>
                    </a:lnTo>
                    <a:lnTo>
                      <a:pt x="76" y="685"/>
                    </a:lnTo>
                    <a:lnTo>
                      <a:pt x="78" y="682"/>
                    </a:lnTo>
                    <a:lnTo>
                      <a:pt x="76" y="678"/>
                    </a:lnTo>
                    <a:lnTo>
                      <a:pt x="73" y="675"/>
                    </a:lnTo>
                    <a:lnTo>
                      <a:pt x="71" y="675"/>
                    </a:lnTo>
                    <a:lnTo>
                      <a:pt x="70" y="675"/>
                    </a:lnTo>
                    <a:lnTo>
                      <a:pt x="68" y="674"/>
                    </a:lnTo>
                    <a:lnTo>
                      <a:pt x="68" y="669"/>
                    </a:lnTo>
                    <a:lnTo>
                      <a:pt x="65" y="666"/>
                    </a:lnTo>
                    <a:lnTo>
                      <a:pt x="63" y="663"/>
                    </a:lnTo>
                    <a:lnTo>
                      <a:pt x="60" y="659"/>
                    </a:lnTo>
                    <a:lnTo>
                      <a:pt x="59" y="655"/>
                    </a:lnTo>
                    <a:lnTo>
                      <a:pt x="59" y="651"/>
                    </a:lnTo>
                    <a:lnTo>
                      <a:pt x="56" y="650"/>
                    </a:lnTo>
                    <a:lnTo>
                      <a:pt x="52" y="647"/>
                    </a:lnTo>
                    <a:lnTo>
                      <a:pt x="49" y="642"/>
                    </a:lnTo>
                    <a:lnTo>
                      <a:pt x="49" y="640"/>
                    </a:lnTo>
                    <a:lnTo>
                      <a:pt x="48" y="639"/>
                    </a:lnTo>
                    <a:lnTo>
                      <a:pt x="43" y="636"/>
                    </a:lnTo>
                    <a:lnTo>
                      <a:pt x="37" y="632"/>
                    </a:lnTo>
                    <a:lnTo>
                      <a:pt x="35" y="632"/>
                    </a:lnTo>
                    <a:lnTo>
                      <a:pt x="30" y="631"/>
                    </a:lnTo>
                    <a:lnTo>
                      <a:pt x="29" y="629"/>
                    </a:lnTo>
                    <a:lnTo>
                      <a:pt x="27" y="628"/>
                    </a:lnTo>
                    <a:lnTo>
                      <a:pt x="25" y="624"/>
                    </a:lnTo>
                    <a:lnTo>
                      <a:pt x="25" y="623"/>
                    </a:lnTo>
                    <a:lnTo>
                      <a:pt x="27" y="621"/>
                    </a:lnTo>
                    <a:lnTo>
                      <a:pt x="25" y="620"/>
                    </a:lnTo>
                    <a:lnTo>
                      <a:pt x="27" y="617"/>
                    </a:lnTo>
                    <a:lnTo>
                      <a:pt x="27" y="613"/>
                    </a:lnTo>
                    <a:lnTo>
                      <a:pt x="25" y="612"/>
                    </a:lnTo>
                    <a:lnTo>
                      <a:pt x="25" y="610"/>
                    </a:lnTo>
                    <a:lnTo>
                      <a:pt x="27" y="612"/>
                    </a:lnTo>
                    <a:lnTo>
                      <a:pt x="29" y="612"/>
                    </a:lnTo>
                    <a:lnTo>
                      <a:pt x="27" y="609"/>
                    </a:lnTo>
                    <a:lnTo>
                      <a:pt x="27" y="607"/>
                    </a:lnTo>
                    <a:lnTo>
                      <a:pt x="25" y="607"/>
                    </a:lnTo>
                    <a:lnTo>
                      <a:pt x="24" y="607"/>
                    </a:lnTo>
                    <a:lnTo>
                      <a:pt x="22" y="605"/>
                    </a:lnTo>
                    <a:lnTo>
                      <a:pt x="21" y="605"/>
                    </a:lnTo>
                    <a:lnTo>
                      <a:pt x="19" y="605"/>
                    </a:lnTo>
                    <a:lnTo>
                      <a:pt x="18" y="604"/>
                    </a:lnTo>
                    <a:lnTo>
                      <a:pt x="16" y="601"/>
                    </a:lnTo>
                    <a:lnTo>
                      <a:pt x="16" y="593"/>
                    </a:lnTo>
                    <a:lnTo>
                      <a:pt x="18" y="586"/>
                    </a:lnTo>
                    <a:lnTo>
                      <a:pt x="19" y="583"/>
                    </a:lnTo>
                    <a:lnTo>
                      <a:pt x="21" y="582"/>
                    </a:lnTo>
                    <a:lnTo>
                      <a:pt x="22" y="577"/>
                    </a:lnTo>
                    <a:lnTo>
                      <a:pt x="27" y="572"/>
                    </a:lnTo>
                    <a:lnTo>
                      <a:pt x="29" y="571"/>
                    </a:lnTo>
                    <a:lnTo>
                      <a:pt x="29" y="567"/>
                    </a:lnTo>
                    <a:lnTo>
                      <a:pt x="30" y="566"/>
                    </a:lnTo>
                    <a:lnTo>
                      <a:pt x="30" y="564"/>
                    </a:lnTo>
                    <a:lnTo>
                      <a:pt x="30" y="563"/>
                    </a:lnTo>
                    <a:lnTo>
                      <a:pt x="32" y="561"/>
                    </a:lnTo>
                    <a:lnTo>
                      <a:pt x="32" y="560"/>
                    </a:lnTo>
                    <a:lnTo>
                      <a:pt x="29" y="556"/>
                    </a:lnTo>
                    <a:lnTo>
                      <a:pt x="30" y="550"/>
                    </a:lnTo>
                    <a:lnTo>
                      <a:pt x="29" y="544"/>
                    </a:lnTo>
                    <a:lnTo>
                      <a:pt x="30" y="539"/>
                    </a:lnTo>
                    <a:lnTo>
                      <a:pt x="32" y="536"/>
                    </a:lnTo>
                    <a:lnTo>
                      <a:pt x="32" y="529"/>
                    </a:lnTo>
                    <a:lnTo>
                      <a:pt x="30" y="520"/>
                    </a:lnTo>
                    <a:lnTo>
                      <a:pt x="30" y="517"/>
                    </a:lnTo>
                    <a:lnTo>
                      <a:pt x="32" y="515"/>
                    </a:lnTo>
                    <a:lnTo>
                      <a:pt x="32" y="512"/>
                    </a:lnTo>
                    <a:lnTo>
                      <a:pt x="32" y="507"/>
                    </a:lnTo>
                    <a:lnTo>
                      <a:pt x="29" y="503"/>
                    </a:lnTo>
                    <a:lnTo>
                      <a:pt x="27" y="501"/>
                    </a:lnTo>
                    <a:lnTo>
                      <a:pt x="25" y="499"/>
                    </a:lnTo>
                    <a:lnTo>
                      <a:pt x="22" y="498"/>
                    </a:lnTo>
                    <a:lnTo>
                      <a:pt x="21" y="495"/>
                    </a:lnTo>
                    <a:lnTo>
                      <a:pt x="22" y="493"/>
                    </a:lnTo>
                    <a:lnTo>
                      <a:pt x="24" y="487"/>
                    </a:lnTo>
                    <a:lnTo>
                      <a:pt x="22" y="484"/>
                    </a:lnTo>
                    <a:lnTo>
                      <a:pt x="22" y="480"/>
                    </a:lnTo>
                    <a:lnTo>
                      <a:pt x="19" y="474"/>
                    </a:lnTo>
                    <a:lnTo>
                      <a:pt x="19" y="472"/>
                    </a:lnTo>
                    <a:lnTo>
                      <a:pt x="18" y="469"/>
                    </a:lnTo>
                    <a:lnTo>
                      <a:pt x="14" y="468"/>
                    </a:lnTo>
                    <a:lnTo>
                      <a:pt x="11" y="461"/>
                    </a:lnTo>
                    <a:lnTo>
                      <a:pt x="11" y="460"/>
                    </a:lnTo>
                    <a:lnTo>
                      <a:pt x="13" y="457"/>
                    </a:lnTo>
                    <a:lnTo>
                      <a:pt x="14" y="457"/>
                    </a:lnTo>
                    <a:lnTo>
                      <a:pt x="14" y="453"/>
                    </a:lnTo>
                    <a:lnTo>
                      <a:pt x="5" y="449"/>
                    </a:lnTo>
                    <a:lnTo>
                      <a:pt x="2" y="445"/>
                    </a:lnTo>
                    <a:lnTo>
                      <a:pt x="2" y="444"/>
                    </a:lnTo>
                    <a:lnTo>
                      <a:pt x="2" y="439"/>
                    </a:lnTo>
                    <a:lnTo>
                      <a:pt x="0" y="438"/>
                    </a:lnTo>
                    <a:lnTo>
                      <a:pt x="2" y="438"/>
                    </a:lnTo>
                    <a:lnTo>
                      <a:pt x="3" y="438"/>
                    </a:lnTo>
                    <a:lnTo>
                      <a:pt x="5" y="438"/>
                    </a:lnTo>
                    <a:lnTo>
                      <a:pt x="6" y="438"/>
                    </a:lnTo>
                    <a:lnTo>
                      <a:pt x="8" y="438"/>
                    </a:lnTo>
                    <a:lnTo>
                      <a:pt x="8" y="439"/>
                    </a:lnTo>
                    <a:lnTo>
                      <a:pt x="10" y="438"/>
                    </a:lnTo>
                    <a:lnTo>
                      <a:pt x="11" y="438"/>
                    </a:lnTo>
                    <a:lnTo>
                      <a:pt x="13" y="436"/>
                    </a:lnTo>
                    <a:lnTo>
                      <a:pt x="14" y="436"/>
                    </a:lnTo>
                    <a:lnTo>
                      <a:pt x="16" y="438"/>
                    </a:lnTo>
                    <a:lnTo>
                      <a:pt x="16" y="439"/>
                    </a:lnTo>
                    <a:lnTo>
                      <a:pt x="18" y="438"/>
                    </a:lnTo>
                    <a:lnTo>
                      <a:pt x="18" y="436"/>
                    </a:lnTo>
                    <a:lnTo>
                      <a:pt x="19" y="436"/>
                    </a:lnTo>
                    <a:lnTo>
                      <a:pt x="21" y="436"/>
                    </a:lnTo>
                    <a:lnTo>
                      <a:pt x="22" y="436"/>
                    </a:lnTo>
                    <a:lnTo>
                      <a:pt x="24" y="438"/>
                    </a:lnTo>
                    <a:lnTo>
                      <a:pt x="25" y="439"/>
                    </a:lnTo>
                    <a:lnTo>
                      <a:pt x="27" y="439"/>
                    </a:lnTo>
                    <a:lnTo>
                      <a:pt x="27" y="438"/>
                    </a:lnTo>
                    <a:lnTo>
                      <a:pt x="29" y="438"/>
                    </a:lnTo>
                    <a:lnTo>
                      <a:pt x="29" y="439"/>
                    </a:lnTo>
                    <a:lnTo>
                      <a:pt x="30" y="439"/>
                    </a:lnTo>
                    <a:lnTo>
                      <a:pt x="32" y="439"/>
                    </a:lnTo>
                    <a:lnTo>
                      <a:pt x="33" y="438"/>
                    </a:lnTo>
                    <a:lnTo>
                      <a:pt x="35" y="438"/>
                    </a:lnTo>
                    <a:lnTo>
                      <a:pt x="37" y="438"/>
                    </a:lnTo>
                    <a:lnTo>
                      <a:pt x="38" y="439"/>
                    </a:lnTo>
                    <a:lnTo>
                      <a:pt x="40" y="439"/>
                    </a:lnTo>
                    <a:lnTo>
                      <a:pt x="41" y="439"/>
                    </a:lnTo>
                    <a:lnTo>
                      <a:pt x="43" y="439"/>
                    </a:lnTo>
                    <a:lnTo>
                      <a:pt x="43" y="438"/>
                    </a:lnTo>
                    <a:lnTo>
                      <a:pt x="44" y="438"/>
                    </a:lnTo>
                    <a:lnTo>
                      <a:pt x="46" y="436"/>
                    </a:lnTo>
                    <a:lnTo>
                      <a:pt x="48" y="436"/>
                    </a:lnTo>
                    <a:lnTo>
                      <a:pt x="48" y="434"/>
                    </a:lnTo>
                    <a:lnTo>
                      <a:pt x="48" y="433"/>
                    </a:lnTo>
                    <a:lnTo>
                      <a:pt x="48" y="431"/>
                    </a:lnTo>
                    <a:lnTo>
                      <a:pt x="49" y="431"/>
                    </a:lnTo>
                    <a:lnTo>
                      <a:pt x="49" y="430"/>
                    </a:lnTo>
                    <a:lnTo>
                      <a:pt x="51" y="430"/>
                    </a:lnTo>
                    <a:lnTo>
                      <a:pt x="52" y="430"/>
                    </a:lnTo>
                    <a:lnTo>
                      <a:pt x="54" y="431"/>
                    </a:lnTo>
                    <a:lnTo>
                      <a:pt x="56" y="431"/>
                    </a:lnTo>
                    <a:lnTo>
                      <a:pt x="57" y="430"/>
                    </a:lnTo>
                    <a:lnTo>
                      <a:pt x="59" y="430"/>
                    </a:lnTo>
                    <a:lnTo>
                      <a:pt x="60" y="428"/>
                    </a:lnTo>
                    <a:lnTo>
                      <a:pt x="62" y="428"/>
                    </a:lnTo>
                    <a:lnTo>
                      <a:pt x="63" y="428"/>
                    </a:lnTo>
                    <a:lnTo>
                      <a:pt x="63" y="426"/>
                    </a:lnTo>
                    <a:lnTo>
                      <a:pt x="65" y="426"/>
                    </a:lnTo>
                    <a:lnTo>
                      <a:pt x="67" y="425"/>
                    </a:lnTo>
                    <a:lnTo>
                      <a:pt x="68" y="425"/>
                    </a:lnTo>
                    <a:lnTo>
                      <a:pt x="68" y="423"/>
                    </a:lnTo>
                    <a:lnTo>
                      <a:pt x="68" y="422"/>
                    </a:lnTo>
                    <a:lnTo>
                      <a:pt x="68" y="420"/>
                    </a:lnTo>
                    <a:lnTo>
                      <a:pt x="68" y="419"/>
                    </a:lnTo>
                    <a:lnTo>
                      <a:pt x="70" y="419"/>
                    </a:lnTo>
                    <a:lnTo>
                      <a:pt x="71" y="417"/>
                    </a:lnTo>
                    <a:lnTo>
                      <a:pt x="71" y="415"/>
                    </a:lnTo>
                    <a:lnTo>
                      <a:pt x="71" y="414"/>
                    </a:lnTo>
                    <a:lnTo>
                      <a:pt x="71" y="412"/>
                    </a:lnTo>
                    <a:lnTo>
                      <a:pt x="73" y="411"/>
                    </a:lnTo>
                    <a:lnTo>
                      <a:pt x="73" y="409"/>
                    </a:lnTo>
                    <a:lnTo>
                      <a:pt x="75" y="409"/>
                    </a:lnTo>
                    <a:lnTo>
                      <a:pt x="75" y="407"/>
                    </a:lnTo>
                    <a:lnTo>
                      <a:pt x="76" y="407"/>
                    </a:lnTo>
                    <a:lnTo>
                      <a:pt x="76" y="409"/>
                    </a:lnTo>
                    <a:lnTo>
                      <a:pt x="78" y="409"/>
                    </a:lnTo>
                    <a:lnTo>
                      <a:pt x="79" y="409"/>
                    </a:lnTo>
                    <a:lnTo>
                      <a:pt x="81" y="409"/>
                    </a:lnTo>
                    <a:lnTo>
                      <a:pt x="81" y="411"/>
                    </a:lnTo>
                    <a:lnTo>
                      <a:pt x="83" y="409"/>
                    </a:lnTo>
                    <a:lnTo>
                      <a:pt x="84" y="409"/>
                    </a:lnTo>
                    <a:lnTo>
                      <a:pt x="84" y="407"/>
                    </a:lnTo>
                    <a:lnTo>
                      <a:pt x="86" y="406"/>
                    </a:lnTo>
                    <a:lnTo>
                      <a:pt x="86" y="404"/>
                    </a:lnTo>
                    <a:lnTo>
                      <a:pt x="86" y="403"/>
                    </a:lnTo>
                    <a:lnTo>
                      <a:pt x="87" y="403"/>
                    </a:lnTo>
                    <a:lnTo>
                      <a:pt x="89" y="403"/>
                    </a:lnTo>
                    <a:lnTo>
                      <a:pt x="90" y="403"/>
                    </a:lnTo>
                    <a:lnTo>
                      <a:pt x="90" y="401"/>
                    </a:lnTo>
                    <a:lnTo>
                      <a:pt x="89" y="401"/>
                    </a:lnTo>
                    <a:lnTo>
                      <a:pt x="89" y="400"/>
                    </a:lnTo>
                    <a:lnTo>
                      <a:pt x="89" y="398"/>
                    </a:lnTo>
                    <a:lnTo>
                      <a:pt x="90" y="398"/>
                    </a:lnTo>
                    <a:lnTo>
                      <a:pt x="92" y="396"/>
                    </a:lnTo>
                    <a:lnTo>
                      <a:pt x="94" y="396"/>
                    </a:lnTo>
                    <a:lnTo>
                      <a:pt x="94" y="395"/>
                    </a:lnTo>
                    <a:lnTo>
                      <a:pt x="95" y="395"/>
                    </a:lnTo>
                    <a:lnTo>
                      <a:pt x="97" y="395"/>
                    </a:lnTo>
                    <a:lnTo>
                      <a:pt x="98" y="393"/>
                    </a:lnTo>
                    <a:lnTo>
                      <a:pt x="98" y="392"/>
                    </a:lnTo>
                    <a:lnTo>
                      <a:pt x="100" y="392"/>
                    </a:lnTo>
                    <a:lnTo>
                      <a:pt x="102" y="392"/>
                    </a:lnTo>
                    <a:lnTo>
                      <a:pt x="103" y="392"/>
                    </a:lnTo>
                    <a:lnTo>
                      <a:pt x="103" y="390"/>
                    </a:lnTo>
                    <a:lnTo>
                      <a:pt x="105" y="390"/>
                    </a:lnTo>
                    <a:lnTo>
                      <a:pt x="106" y="390"/>
                    </a:lnTo>
                    <a:lnTo>
                      <a:pt x="106" y="388"/>
                    </a:lnTo>
                    <a:lnTo>
                      <a:pt x="108" y="388"/>
                    </a:lnTo>
                    <a:lnTo>
                      <a:pt x="108" y="387"/>
                    </a:lnTo>
                    <a:lnTo>
                      <a:pt x="109" y="387"/>
                    </a:lnTo>
                    <a:lnTo>
                      <a:pt x="109" y="385"/>
                    </a:lnTo>
                    <a:lnTo>
                      <a:pt x="111" y="384"/>
                    </a:lnTo>
                    <a:lnTo>
                      <a:pt x="113" y="384"/>
                    </a:lnTo>
                    <a:lnTo>
                      <a:pt x="114" y="384"/>
                    </a:lnTo>
                    <a:lnTo>
                      <a:pt x="116" y="384"/>
                    </a:lnTo>
                    <a:lnTo>
                      <a:pt x="117" y="384"/>
                    </a:lnTo>
                    <a:lnTo>
                      <a:pt x="119" y="384"/>
                    </a:lnTo>
                    <a:lnTo>
                      <a:pt x="121" y="384"/>
                    </a:lnTo>
                    <a:lnTo>
                      <a:pt x="122" y="382"/>
                    </a:lnTo>
                    <a:lnTo>
                      <a:pt x="124" y="381"/>
                    </a:lnTo>
                    <a:lnTo>
                      <a:pt x="124" y="379"/>
                    </a:lnTo>
                    <a:lnTo>
                      <a:pt x="125" y="379"/>
                    </a:lnTo>
                    <a:lnTo>
                      <a:pt x="125" y="377"/>
                    </a:lnTo>
                    <a:lnTo>
                      <a:pt x="127" y="377"/>
                    </a:lnTo>
                    <a:lnTo>
                      <a:pt x="127" y="376"/>
                    </a:lnTo>
                    <a:lnTo>
                      <a:pt x="128" y="376"/>
                    </a:lnTo>
                    <a:lnTo>
                      <a:pt x="128" y="374"/>
                    </a:lnTo>
                    <a:lnTo>
                      <a:pt x="130" y="373"/>
                    </a:lnTo>
                    <a:lnTo>
                      <a:pt x="132" y="371"/>
                    </a:lnTo>
                    <a:lnTo>
                      <a:pt x="133" y="369"/>
                    </a:lnTo>
                    <a:lnTo>
                      <a:pt x="135" y="369"/>
                    </a:lnTo>
                    <a:lnTo>
                      <a:pt x="135" y="371"/>
                    </a:lnTo>
                    <a:lnTo>
                      <a:pt x="136" y="371"/>
                    </a:lnTo>
                    <a:lnTo>
                      <a:pt x="138" y="369"/>
                    </a:lnTo>
                    <a:lnTo>
                      <a:pt x="136" y="368"/>
                    </a:lnTo>
                    <a:lnTo>
                      <a:pt x="138" y="366"/>
                    </a:lnTo>
                    <a:lnTo>
                      <a:pt x="140" y="366"/>
                    </a:lnTo>
                    <a:lnTo>
                      <a:pt x="141" y="366"/>
                    </a:lnTo>
                    <a:lnTo>
                      <a:pt x="143" y="368"/>
                    </a:lnTo>
                    <a:lnTo>
                      <a:pt x="143" y="366"/>
                    </a:lnTo>
                    <a:lnTo>
                      <a:pt x="144" y="366"/>
                    </a:lnTo>
                    <a:lnTo>
                      <a:pt x="144" y="365"/>
                    </a:lnTo>
                    <a:lnTo>
                      <a:pt x="146" y="365"/>
                    </a:lnTo>
                    <a:lnTo>
                      <a:pt x="146" y="363"/>
                    </a:lnTo>
                    <a:lnTo>
                      <a:pt x="146" y="362"/>
                    </a:lnTo>
                    <a:lnTo>
                      <a:pt x="146" y="360"/>
                    </a:lnTo>
                    <a:lnTo>
                      <a:pt x="144" y="360"/>
                    </a:lnTo>
                    <a:lnTo>
                      <a:pt x="144" y="358"/>
                    </a:lnTo>
                    <a:lnTo>
                      <a:pt x="144" y="357"/>
                    </a:lnTo>
                    <a:lnTo>
                      <a:pt x="144" y="358"/>
                    </a:lnTo>
                    <a:lnTo>
                      <a:pt x="144" y="360"/>
                    </a:lnTo>
                    <a:lnTo>
                      <a:pt x="144" y="362"/>
                    </a:lnTo>
                    <a:lnTo>
                      <a:pt x="143" y="362"/>
                    </a:lnTo>
                    <a:lnTo>
                      <a:pt x="141" y="362"/>
                    </a:lnTo>
                    <a:lnTo>
                      <a:pt x="141" y="360"/>
                    </a:lnTo>
                    <a:lnTo>
                      <a:pt x="141" y="358"/>
                    </a:lnTo>
                    <a:lnTo>
                      <a:pt x="140" y="358"/>
                    </a:lnTo>
                    <a:lnTo>
                      <a:pt x="140" y="357"/>
                    </a:lnTo>
                    <a:lnTo>
                      <a:pt x="141" y="357"/>
                    </a:lnTo>
                    <a:lnTo>
                      <a:pt x="141" y="355"/>
                    </a:lnTo>
                    <a:lnTo>
                      <a:pt x="141" y="354"/>
                    </a:lnTo>
                    <a:lnTo>
                      <a:pt x="141" y="352"/>
                    </a:lnTo>
                    <a:lnTo>
                      <a:pt x="141" y="350"/>
                    </a:lnTo>
                    <a:lnTo>
                      <a:pt x="143" y="349"/>
                    </a:lnTo>
                    <a:lnTo>
                      <a:pt x="143" y="350"/>
                    </a:lnTo>
                    <a:lnTo>
                      <a:pt x="144" y="352"/>
                    </a:lnTo>
                    <a:lnTo>
                      <a:pt x="144" y="350"/>
                    </a:lnTo>
                    <a:lnTo>
                      <a:pt x="144" y="349"/>
                    </a:lnTo>
                    <a:lnTo>
                      <a:pt x="144" y="347"/>
                    </a:lnTo>
                    <a:lnTo>
                      <a:pt x="146" y="347"/>
                    </a:lnTo>
                    <a:lnTo>
                      <a:pt x="146" y="346"/>
                    </a:lnTo>
                    <a:lnTo>
                      <a:pt x="146" y="344"/>
                    </a:lnTo>
                    <a:lnTo>
                      <a:pt x="146" y="343"/>
                    </a:lnTo>
                    <a:lnTo>
                      <a:pt x="147" y="343"/>
                    </a:lnTo>
                    <a:lnTo>
                      <a:pt x="147" y="341"/>
                    </a:lnTo>
                    <a:lnTo>
                      <a:pt x="149" y="339"/>
                    </a:lnTo>
                    <a:lnTo>
                      <a:pt x="147" y="339"/>
                    </a:lnTo>
                    <a:lnTo>
                      <a:pt x="146" y="338"/>
                    </a:lnTo>
                    <a:lnTo>
                      <a:pt x="146" y="336"/>
                    </a:lnTo>
                    <a:lnTo>
                      <a:pt x="147" y="336"/>
                    </a:lnTo>
                    <a:lnTo>
                      <a:pt x="147" y="335"/>
                    </a:lnTo>
                    <a:lnTo>
                      <a:pt x="147" y="333"/>
                    </a:lnTo>
                    <a:lnTo>
                      <a:pt x="149" y="333"/>
                    </a:lnTo>
                    <a:lnTo>
                      <a:pt x="151" y="333"/>
                    </a:lnTo>
                    <a:lnTo>
                      <a:pt x="151" y="331"/>
                    </a:lnTo>
                    <a:lnTo>
                      <a:pt x="152" y="331"/>
                    </a:lnTo>
                    <a:lnTo>
                      <a:pt x="154" y="331"/>
                    </a:lnTo>
                    <a:lnTo>
                      <a:pt x="155" y="330"/>
                    </a:lnTo>
                    <a:lnTo>
                      <a:pt x="155" y="331"/>
                    </a:lnTo>
                    <a:lnTo>
                      <a:pt x="157" y="331"/>
                    </a:lnTo>
                    <a:lnTo>
                      <a:pt x="157" y="333"/>
                    </a:lnTo>
                    <a:lnTo>
                      <a:pt x="159" y="331"/>
                    </a:lnTo>
                    <a:lnTo>
                      <a:pt x="160" y="331"/>
                    </a:lnTo>
                    <a:lnTo>
                      <a:pt x="160" y="330"/>
                    </a:lnTo>
                    <a:lnTo>
                      <a:pt x="162" y="330"/>
                    </a:lnTo>
                    <a:lnTo>
                      <a:pt x="163" y="328"/>
                    </a:lnTo>
                    <a:lnTo>
                      <a:pt x="163" y="330"/>
                    </a:lnTo>
                    <a:lnTo>
                      <a:pt x="165" y="331"/>
                    </a:lnTo>
                    <a:lnTo>
                      <a:pt x="166" y="331"/>
                    </a:lnTo>
                    <a:lnTo>
                      <a:pt x="168" y="330"/>
                    </a:lnTo>
                    <a:lnTo>
                      <a:pt x="168" y="328"/>
                    </a:lnTo>
                    <a:lnTo>
                      <a:pt x="170" y="328"/>
                    </a:lnTo>
                    <a:lnTo>
                      <a:pt x="171" y="328"/>
                    </a:lnTo>
                    <a:lnTo>
                      <a:pt x="171" y="327"/>
                    </a:lnTo>
                    <a:lnTo>
                      <a:pt x="171" y="325"/>
                    </a:lnTo>
                    <a:lnTo>
                      <a:pt x="173" y="325"/>
                    </a:lnTo>
                    <a:lnTo>
                      <a:pt x="173" y="327"/>
                    </a:lnTo>
                    <a:lnTo>
                      <a:pt x="171" y="328"/>
                    </a:lnTo>
                    <a:lnTo>
                      <a:pt x="173" y="328"/>
                    </a:lnTo>
                    <a:lnTo>
                      <a:pt x="174" y="328"/>
                    </a:lnTo>
                    <a:lnTo>
                      <a:pt x="174" y="330"/>
                    </a:lnTo>
                    <a:lnTo>
                      <a:pt x="176" y="330"/>
                    </a:lnTo>
                    <a:lnTo>
                      <a:pt x="178" y="330"/>
                    </a:lnTo>
                    <a:lnTo>
                      <a:pt x="179" y="330"/>
                    </a:lnTo>
                    <a:lnTo>
                      <a:pt x="179" y="331"/>
                    </a:lnTo>
                    <a:lnTo>
                      <a:pt x="181" y="331"/>
                    </a:lnTo>
                    <a:lnTo>
                      <a:pt x="181" y="330"/>
                    </a:lnTo>
                    <a:lnTo>
                      <a:pt x="182" y="330"/>
                    </a:lnTo>
                    <a:lnTo>
                      <a:pt x="184" y="330"/>
                    </a:lnTo>
                    <a:lnTo>
                      <a:pt x="184" y="328"/>
                    </a:lnTo>
                    <a:lnTo>
                      <a:pt x="182" y="328"/>
                    </a:lnTo>
                    <a:lnTo>
                      <a:pt x="182" y="327"/>
                    </a:lnTo>
                    <a:lnTo>
                      <a:pt x="184" y="327"/>
                    </a:lnTo>
                    <a:lnTo>
                      <a:pt x="184" y="325"/>
                    </a:lnTo>
                    <a:lnTo>
                      <a:pt x="184" y="324"/>
                    </a:lnTo>
                    <a:lnTo>
                      <a:pt x="184" y="322"/>
                    </a:lnTo>
                    <a:lnTo>
                      <a:pt x="182" y="322"/>
                    </a:lnTo>
                    <a:lnTo>
                      <a:pt x="184" y="320"/>
                    </a:lnTo>
                    <a:lnTo>
                      <a:pt x="184" y="322"/>
                    </a:lnTo>
                    <a:lnTo>
                      <a:pt x="185" y="322"/>
                    </a:lnTo>
                    <a:lnTo>
                      <a:pt x="187" y="320"/>
                    </a:lnTo>
                    <a:lnTo>
                      <a:pt x="189" y="320"/>
                    </a:lnTo>
                    <a:lnTo>
                      <a:pt x="189" y="319"/>
                    </a:lnTo>
                    <a:lnTo>
                      <a:pt x="189" y="317"/>
                    </a:lnTo>
                    <a:lnTo>
                      <a:pt x="187" y="317"/>
                    </a:lnTo>
                    <a:lnTo>
                      <a:pt x="187" y="316"/>
                    </a:lnTo>
                    <a:lnTo>
                      <a:pt x="189" y="316"/>
                    </a:lnTo>
                    <a:lnTo>
                      <a:pt x="190" y="316"/>
                    </a:lnTo>
                    <a:lnTo>
                      <a:pt x="189" y="314"/>
                    </a:lnTo>
                    <a:lnTo>
                      <a:pt x="189" y="312"/>
                    </a:lnTo>
                    <a:lnTo>
                      <a:pt x="189" y="311"/>
                    </a:lnTo>
                    <a:lnTo>
                      <a:pt x="190" y="311"/>
                    </a:lnTo>
                    <a:lnTo>
                      <a:pt x="192" y="312"/>
                    </a:lnTo>
                    <a:lnTo>
                      <a:pt x="192" y="311"/>
                    </a:lnTo>
                    <a:lnTo>
                      <a:pt x="192" y="309"/>
                    </a:lnTo>
                    <a:lnTo>
                      <a:pt x="192" y="308"/>
                    </a:lnTo>
                    <a:lnTo>
                      <a:pt x="193" y="308"/>
                    </a:lnTo>
                    <a:lnTo>
                      <a:pt x="193" y="306"/>
                    </a:lnTo>
                    <a:lnTo>
                      <a:pt x="193" y="305"/>
                    </a:lnTo>
                    <a:lnTo>
                      <a:pt x="195" y="303"/>
                    </a:lnTo>
                    <a:lnTo>
                      <a:pt x="197" y="303"/>
                    </a:lnTo>
                    <a:lnTo>
                      <a:pt x="197" y="301"/>
                    </a:lnTo>
                    <a:lnTo>
                      <a:pt x="198" y="300"/>
                    </a:lnTo>
                    <a:lnTo>
                      <a:pt x="200" y="300"/>
                    </a:lnTo>
                    <a:lnTo>
                      <a:pt x="201" y="298"/>
                    </a:lnTo>
                    <a:lnTo>
                      <a:pt x="201" y="297"/>
                    </a:lnTo>
                    <a:lnTo>
                      <a:pt x="203" y="295"/>
                    </a:lnTo>
                    <a:lnTo>
                      <a:pt x="204" y="293"/>
                    </a:lnTo>
                    <a:lnTo>
                      <a:pt x="206" y="292"/>
                    </a:lnTo>
                    <a:lnTo>
                      <a:pt x="204" y="292"/>
                    </a:lnTo>
                    <a:lnTo>
                      <a:pt x="206" y="290"/>
                    </a:lnTo>
                    <a:lnTo>
                      <a:pt x="206" y="289"/>
                    </a:lnTo>
                    <a:lnTo>
                      <a:pt x="208" y="287"/>
                    </a:lnTo>
                    <a:lnTo>
                      <a:pt x="208" y="286"/>
                    </a:lnTo>
                    <a:lnTo>
                      <a:pt x="209" y="284"/>
                    </a:lnTo>
                    <a:lnTo>
                      <a:pt x="209" y="282"/>
                    </a:lnTo>
                    <a:lnTo>
                      <a:pt x="211" y="282"/>
                    </a:lnTo>
                    <a:lnTo>
                      <a:pt x="212" y="282"/>
                    </a:lnTo>
                    <a:lnTo>
                      <a:pt x="212" y="279"/>
                    </a:lnTo>
                    <a:lnTo>
                      <a:pt x="211" y="279"/>
                    </a:lnTo>
                    <a:lnTo>
                      <a:pt x="211" y="278"/>
                    </a:lnTo>
                    <a:lnTo>
                      <a:pt x="211" y="276"/>
                    </a:lnTo>
                    <a:lnTo>
                      <a:pt x="211" y="274"/>
                    </a:lnTo>
                    <a:lnTo>
                      <a:pt x="212" y="274"/>
                    </a:lnTo>
                    <a:lnTo>
                      <a:pt x="212" y="273"/>
                    </a:lnTo>
                    <a:lnTo>
                      <a:pt x="212" y="271"/>
                    </a:lnTo>
                    <a:lnTo>
                      <a:pt x="214" y="271"/>
                    </a:lnTo>
                    <a:lnTo>
                      <a:pt x="216" y="270"/>
                    </a:lnTo>
                    <a:lnTo>
                      <a:pt x="216" y="268"/>
                    </a:lnTo>
                    <a:lnTo>
                      <a:pt x="216" y="266"/>
                    </a:lnTo>
                    <a:lnTo>
                      <a:pt x="216" y="265"/>
                    </a:lnTo>
                    <a:lnTo>
                      <a:pt x="216" y="263"/>
                    </a:lnTo>
                    <a:lnTo>
                      <a:pt x="217" y="263"/>
                    </a:lnTo>
                    <a:lnTo>
                      <a:pt x="216" y="262"/>
                    </a:lnTo>
                    <a:lnTo>
                      <a:pt x="216" y="260"/>
                    </a:lnTo>
                    <a:lnTo>
                      <a:pt x="216" y="259"/>
                    </a:lnTo>
                    <a:lnTo>
                      <a:pt x="216" y="260"/>
                    </a:lnTo>
                    <a:lnTo>
                      <a:pt x="214" y="260"/>
                    </a:lnTo>
                    <a:lnTo>
                      <a:pt x="214" y="259"/>
                    </a:lnTo>
                    <a:lnTo>
                      <a:pt x="214" y="257"/>
                    </a:lnTo>
                    <a:lnTo>
                      <a:pt x="212" y="257"/>
                    </a:lnTo>
                    <a:lnTo>
                      <a:pt x="214" y="255"/>
                    </a:lnTo>
                    <a:lnTo>
                      <a:pt x="212" y="255"/>
                    </a:lnTo>
                    <a:lnTo>
                      <a:pt x="212" y="254"/>
                    </a:lnTo>
                    <a:lnTo>
                      <a:pt x="211" y="254"/>
                    </a:lnTo>
                    <a:lnTo>
                      <a:pt x="211" y="252"/>
                    </a:lnTo>
                    <a:lnTo>
                      <a:pt x="209" y="252"/>
                    </a:lnTo>
                    <a:lnTo>
                      <a:pt x="208" y="252"/>
                    </a:lnTo>
                    <a:lnTo>
                      <a:pt x="209" y="251"/>
                    </a:lnTo>
                    <a:lnTo>
                      <a:pt x="209" y="249"/>
                    </a:lnTo>
                    <a:lnTo>
                      <a:pt x="209" y="247"/>
                    </a:lnTo>
                    <a:lnTo>
                      <a:pt x="208" y="247"/>
                    </a:lnTo>
                    <a:lnTo>
                      <a:pt x="208" y="246"/>
                    </a:lnTo>
                    <a:lnTo>
                      <a:pt x="206" y="246"/>
                    </a:lnTo>
                    <a:lnTo>
                      <a:pt x="204" y="246"/>
                    </a:lnTo>
                    <a:lnTo>
                      <a:pt x="206" y="244"/>
                    </a:lnTo>
                    <a:lnTo>
                      <a:pt x="204" y="244"/>
                    </a:lnTo>
                    <a:lnTo>
                      <a:pt x="203" y="244"/>
                    </a:lnTo>
                    <a:lnTo>
                      <a:pt x="203" y="243"/>
                    </a:lnTo>
                    <a:lnTo>
                      <a:pt x="203" y="241"/>
                    </a:lnTo>
                    <a:lnTo>
                      <a:pt x="201" y="240"/>
                    </a:lnTo>
                    <a:lnTo>
                      <a:pt x="200" y="240"/>
                    </a:lnTo>
                    <a:lnTo>
                      <a:pt x="198" y="240"/>
                    </a:lnTo>
                    <a:lnTo>
                      <a:pt x="198" y="238"/>
                    </a:lnTo>
                    <a:lnTo>
                      <a:pt x="198" y="236"/>
                    </a:lnTo>
                    <a:lnTo>
                      <a:pt x="198" y="235"/>
                    </a:lnTo>
                    <a:lnTo>
                      <a:pt x="200" y="235"/>
                    </a:lnTo>
                    <a:lnTo>
                      <a:pt x="200" y="233"/>
                    </a:lnTo>
                    <a:lnTo>
                      <a:pt x="200" y="232"/>
                    </a:lnTo>
                    <a:lnTo>
                      <a:pt x="200" y="230"/>
                    </a:lnTo>
                    <a:lnTo>
                      <a:pt x="198" y="230"/>
                    </a:lnTo>
                    <a:lnTo>
                      <a:pt x="198" y="228"/>
                    </a:lnTo>
                    <a:lnTo>
                      <a:pt x="200" y="228"/>
                    </a:lnTo>
                    <a:lnTo>
                      <a:pt x="200" y="227"/>
                    </a:lnTo>
                    <a:lnTo>
                      <a:pt x="200" y="225"/>
                    </a:lnTo>
                    <a:lnTo>
                      <a:pt x="198" y="225"/>
                    </a:lnTo>
                    <a:lnTo>
                      <a:pt x="200" y="224"/>
                    </a:lnTo>
                    <a:lnTo>
                      <a:pt x="200" y="225"/>
                    </a:lnTo>
                    <a:lnTo>
                      <a:pt x="201" y="225"/>
                    </a:lnTo>
                    <a:lnTo>
                      <a:pt x="200" y="224"/>
                    </a:lnTo>
                    <a:lnTo>
                      <a:pt x="200" y="222"/>
                    </a:lnTo>
                    <a:lnTo>
                      <a:pt x="201" y="222"/>
                    </a:lnTo>
                    <a:lnTo>
                      <a:pt x="201" y="221"/>
                    </a:lnTo>
                    <a:lnTo>
                      <a:pt x="203" y="219"/>
                    </a:lnTo>
                    <a:lnTo>
                      <a:pt x="201" y="217"/>
                    </a:lnTo>
                    <a:lnTo>
                      <a:pt x="201" y="216"/>
                    </a:lnTo>
                    <a:lnTo>
                      <a:pt x="201" y="214"/>
                    </a:lnTo>
                    <a:lnTo>
                      <a:pt x="201" y="213"/>
                    </a:lnTo>
                    <a:lnTo>
                      <a:pt x="200" y="211"/>
                    </a:lnTo>
                    <a:lnTo>
                      <a:pt x="198" y="211"/>
                    </a:lnTo>
                    <a:lnTo>
                      <a:pt x="197" y="211"/>
                    </a:lnTo>
                    <a:lnTo>
                      <a:pt x="195" y="211"/>
                    </a:lnTo>
                    <a:lnTo>
                      <a:pt x="193" y="211"/>
                    </a:lnTo>
                    <a:lnTo>
                      <a:pt x="192" y="209"/>
                    </a:lnTo>
                    <a:lnTo>
                      <a:pt x="192" y="208"/>
                    </a:lnTo>
                    <a:lnTo>
                      <a:pt x="192" y="206"/>
                    </a:lnTo>
                    <a:lnTo>
                      <a:pt x="192" y="205"/>
                    </a:lnTo>
                    <a:lnTo>
                      <a:pt x="190" y="205"/>
                    </a:lnTo>
                    <a:lnTo>
                      <a:pt x="190" y="203"/>
                    </a:lnTo>
                    <a:lnTo>
                      <a:pt x="189" y="203"/>
                    </a:lnTo>
                    <a:lnTo>
                      <a:pt x="187" y="202"/>
                    </a:lnTo>
                    <a:lnTo>
                      <a:pt x="185" y="200"/>
                    </a:lnTo>
                    <a:lnTo>
                      <a:pt x="184" y="200"/>
                    </a:lnTo>
                    <a:lnTo>
                      <a:pt x="184" y="197"/>
                    </a:lnTo>
                    <a:lnTo>
                      <a:pt x="182" y="195"/>
                    </a:lnTo>
                    <a:lnTo>
                      <a:pt x="181" y="194"/>
                    </a:lnTo>
                    <a:lnTo>
                      <a:pt x="179" y="194"/>
                    </a:lnTo>
                    <a:lnTo>
                      <a:pt x="179" y="192"/>
                    </a:lnTo>
                    <a:lnTo>
                      <a:pt x="179" y="190"/>
                    </a:lnTo>
                    <a:lnTo>
                      <a:pt x="181" y="190"/>
                    </a:lnTo>
                    <a:lnTo>
                      <a:pt x="182" y="190"/>
                    </a:lnTo>
                    <a:lnTo>
                      <a:pt x="184" y="190"/>
                    </a:lnTo>
                    <a:lnTo>
                      <a:pt x="185" y="189"/>
                    </a:lnTo>
                    <a:lnTo>
                      <a:pt x="187" y="189"/>
                    </a:lnTo>
                    <a:lnTo>
                      <a:pt x="187" y="187"/>
                    </a:lnTo>
                    <a:lnTo>
                      <a:pt x="189" y="187"/>
                    </a:lnTo>
                    <a:lnTo>
                      <a:pt x="190" y="186"/>
                    </a:lnTo>
                    <a:lnTo>
                      <a:pt x="190" y="184"/>
                    </a:lnTo>
                    <a:lnTo>
                      <a:pt x="192" y="184"/>
                    </a:lnTo>
                    <a:lnTo>
                      <a:pt x="193" y="183"/>
                    </a:lnTo>
                    <a:lnTo>
                      <a:pt x="195" y="183"/>
                    </a:lnTo>
                    <a:lnTo>
                      <a:pt x="195" y="181"/>
                    </a:lnTo>
                    <a:lnTo>
                      <a:pt x="197" y="181"/>
                    </a:lnTo>
                    <a:lnTo>
                      <a:pt x="198" y="181"/>
                    </a:lnTo>
                    <a:lnTo>
                      <a:pt x="198" y="179"/>
                    </a:lnTo>
                    <a:lnTo>
                      <a:pt x="200" y="179"/>
                    </a:lnTo>
                    <a:lnTo>
                      <a:pt x="201" y="179"/>
                    </a:lnTo>
                    <a:lnTo>
                      <a:pt x="203" y="179"/>
                    </a:lnTo>
                    <a:lnTo>
                      <a:pt x="204" y="179"/>
                    </a:lnTo>
                    <a:lnTo>
                      <a:pt x="206" y="178"/>
                    </a:lnTo>
                    <a:lnTo>
                      <a:pt x="208" y="178"/>
                    </a:lnTo>
                    <a:lnTo>
                      <a:pt x="209" y="178"/>
                    </a:lnTo>
                    <a:lnTo>
                      <a:pt x="211" y="178"/>
                    </a:lnTo>
                    <a:lnTo>
                      <a:pt x="212" y="178"/>
                    </a:lnTo>
                    <a:lnTo>
                      <a:pt x="212" y="176"/>
                    </a:lnTo>
                    <a:lnTo>
                      <a:pt x="214" y="176"/>
                    </a:lnTo>
                    <a:lnTo>
                      <a:pt x="216" y="176"/>
                    </a:lnTo>
                    <a:lnTo>
                      <a:pt x="217" y="176"/>
                    </a:lnTo>
                    <a:lnTo>
                      <a:pt x="219" y="175"/>
                    </a:lnTo>
                    <a:lnTo>
                      <a:pt x="220" y="173"/>
                    </a:lnTo>
                    <a:lnTo>
                      <a:pt x="220" y="171"/>
                    </a:lnTo>
                    <a:lnTo>
                      <a:pt x="222" y="170"/>
                    </a:lnTo>
                    <a:lnTo>
                      <a:pt x="222" y="168"/>
                    </a:lnTo>
                    <a:lnTo>
                      <a:pt x="223" y="168"/>
                    </a:lnTo>
                    <a:lnTo>
                      <a:pt x="223" y="167"/>
                    </a:lnTo>
                    <a:lnTo>
                      <a:pt x="225" y="167"/>
                    </a:lnTo>
                    <a:lnTo>
                      <a:pt x="227" y="165"/>
                    </a:lnTo>
                    <a:lnTo>
                      <a:pt x="228" y="165"/>
                    </a:lnTo>
                    <a:lnTo>
                      <a:pt x="228" y="164"/>
                    </a:lnTo>
                    <a:lnTo>
                      <a:pt x="230" y="164"/>
                    </a:lnTo>
                    <a:lnTo>
                      <a:pt x="231" y="164"/>
                    </a:lnTo>
                    <a:lnTo>
                      <a:pt x="233" y="164"/>
                    </a:lnTo>
                    <a:lnTo>
                      <a:pt x="235" y="162"/>
                    </a:lnTo>
                    <a:lnTo>
                      <a:pt x="236" y="160"/>
                    </a:lnTo>
                    <a:lnTo>
                      <a:pt x="238" y="159"/>
                    </a:lnTo>
                    <a:lnTo>
                      <a:pt x="238" y="157"/>
                    </a:lnTo>
                    <a:lnTo>
                      <a:pt x="238" y="156"/>
                    </a:lnTo>
                    <a:lnTo>
                      <a:pt x="238" y="154"/>
                    </a:lnTo>
                    <a:lnTo>
                      <a:pt x="236" y="154"/>
                    </a:lnTo>
                    <a:lnTo>
                      <a:pt x="236" y="152"/>
                    </a:lnTo>
                    <a:lnTo>
                      <a:pt x="236" y="151"/>
                    </a:lnTo>
                    <a:lnTo>
                      <a:pt x="236" y="149"/>
                    </a:lnTo>
                    <a:lnTo>
                      <a:pt x="238" y="149"/>
                    </a:lnTo>
                    <a:lnTo>
                      <a:pt x="238" y="148"/>
                    </a:lnTo>
                    <a:lnTo>
                      <a:pt x="239" y="148"/>
                    </a:lnTo>
                    <a:lnTo>
                      <a:pt x="239" y="146"/>
                    </a:lnTo>
                    <a:lnTo>
                      <a:pt x="241" y="146"/>
                    </a:lnTo>
                    <a:lnTo>
                      <a:pt x="241" y="145"/>
                    </a:lnTo>
                    <a:lnTo>
                      <a:pt x="242" y="145"/>
                    </a:lnTo>
                    <a:lnTo>
                      <a:pt x="242" y="143"/>
                    </a:lnTo>
                    <a:lnTo>
                      <a:pt x="244" y="143"/>
                    </a:lnTo>
                    <a:lnTo>
                      <a:pt x="244" y="141"/>
                    </a:lnTo>
                    <a:lnTo>
                      <a:pt x="246" y="141"/>
                    </a:lnTo>
                    <a:lnTo>
                      <a:pt x="247" y="140"/>
                    </a:lnTo>
                    <a:lnTo>
                      <a:pt x="249" y="140"/>
                    </a:lnTo>
                    <a:lnTo>
                      <a:pt x="250" y="140"/>
                    </a:lnTo>
                    <a:lnTo>
                      <a:pt x="252" y="140"/>
                    </a:lnTo>
                    <a:lnTo>
                      <a:pt x="254" y="140"/>
                    </a:lnTo>
                    <a:lnTo>
                      <a:pt x="255" y="140"/>
                    </a:lnTo>
                    <a:lnTo>
                      <a:pt x="255" y="138"/>
                    </a:lnTo>
                    <a:lnTo>
                      <a:pt x="257" y="138"/>
                    </a:lnTo>
                    <a:lnTo>
                      <a:pt x="258" y="138"/>
                    </a:lnTo>
                    <a:lnTo>
                      <a:pt x="258" y="137"/>
                    </a:lnTo>
                    <a:lnTo>
                      <a:pt x="260" y="137"/>
                    </a:lnTo>
                    <a:lnTo>
                      <a:pt x="262" y="135"/>
                    </a:lnTo>
                    <a:lnTo>
                      <a:pt x="263" y="135"/>
                    </a:lnTo>
                    <a:lnTo>
                      <a:pt x="265" y="132"/>
                    </a:lnTo>
                    <a:lnTo>
                      <a:pt x="266" y="132"/>
                    </a:lnTo>
                    <a:lnTo>
                      <a:pt x="266" y="130"/>
                    </a:lnTo>
                    <a:lnTo>
                      <a:pt x="268" y="130"/>
                    </a:lnTo>
                    <a:lnTo>
                      <a:pt x="268" y="129"/>
                    </a:lnTo>
                    <a:lnTo>
                      <a:pt x="269" y="129"/>
                    </a:lnTo>
                    <a:lnTo>
                      <a:pt x="269" y="127"/>
                    </a:lnTo>
                    <a:lnTo>
                      <a:pt x="271" y="127"/>
                    </a:lnTo>
                    <a:lnTo>
                      <a:pt x="273" y="127"/>
                    </a:lnTo>
                    <a:lnTo>
                      <a:pt x="274" y="126"/>
                    </a:lnTo>
                    <a:lnTo>
                      <a:pt x="276" y="126"/>
                    </a:lnTo>
                    <a:lnTo>
                      <a:pt x="276" y="124"/>
                    </a:lnTo>
                    <a:lnTo>
                      <a:pt x="277" y="124"/>
                    </a:lnTo>
                    <a:lnTo>
                      <a:pt x="277" y="122"/>
                    </a:lnTo>
                    <a:lnTo>
                      <a:pt x="279" y="122"/>
                    </a:lnTo>
                    <a:lnTo>
                      <a:pt x="281" y="121"/>
                    </a:lnTo>
                    <a:lnTo>
                      <a:pt x="282" y="119"/>
                    </a:lnTo>
                    <a:lnTo>
                      <a:pt x="284" y="118"/>
                    </a:lnTo>
                    <a:lnTo>
                      <a:pt x="285" y="116"/>
                    </a:lnTo>
                    <a:lnTo>
                      <a:pt x="287" y="114"/>
                    </a:lnTo>
                    <a:lnTo>
                      <a:pt x="288" y="113"/>
                    </a:lnTo>
                    <a:lnTo>
                      <a:pt x="290" y="111"/>
                    </a:lnTo>
                    <a:lnTo>
                      <a:pt x="290" y="110"/>
                    </a:lnTo>
                    <a:lnTo>
                      <a:pt x="292" y="110"/>
                    </a:lnTo>
                    <a:lnTo>
                      <a:pt x="292" y="108"/>
                    </a:lnTo>
                    <a:lnTo>
                      <a:pt x="293" y="107"/>
                    </a:lnTo>
                    <a:lnTo>
                      <a:pt x="295" y="105"/>
                    </a:lnTo>
                    <a:lnTo>
                      <a:pt x="295" y="103"/>
                    </a:lnTo>
                    <a:lnTo>
                      <a:pt x="296" y="103"/>
                    </a:lnTo>
                    <a:lnTo>
                      <a:pt x="298" y="102"/>
                    </a:lnTo>
                    <a:lnTo>
                      <a:pt x="300" y="102"/>
                    </a:lnTo>
                    <a:lnTo>
                      <a:pt x="300" y="100"/>
                    </a:lnTo>
                    <a:lnTo>
                      <a:pt x="301" y="100"/>
                    </a:lnTo>
                    <a:lnTo>
                      <a:pt x="303" y="100"/>
                    </a:lnTo>
                    <a:lnTo>
                      <a:pt x="303" y="99"/>
                    </a:lnTo>
                    <a:lnTo>
                      <a:pt x="304" y="99"/>
                    </a:lnTo>
                    <a:lnTo>
                      <a:pt x="306" y="99"/>
                    </a:lnTo>
                    <a:lnTo>
                      <a:pt x="306" y="97"/>
                    </a:lnTo>
                    <a:lnTo>
                      <a:pt x="307" y="97"/>
                    </a:lnTo>
                    <a:lnTo>
                      <a:pt x="307" y="95"/>
                    </a:lnTo>
                    <a:lnTo>
                      <a:pt x="309" y="95"/>
                    </a:lnTo>
                    <a:lnTo>
                      <a:pt x="311" y="94"/>
                    </a:lnTo>
                    <a:lnTo>
                      <a:pt x="312" y="94"/>
                    </a:lnTo>
                    <a:lnTo>
                      <a:pt x="312" y="92"/>
                    </a:lnTo>
                    <a:lnTo>
                      <a:pt x="314" y="92"/>
                    </a:lnTo>
                    <a:lnTo>
                      <a:pt x="315" y="92"/>
                    </a:lnTo>
                    <a:lnTo>
                      <a:pt x="315" y="91"/>
                    </a:lnTo>
                    <a:lnTo>
                      <a:pt x="317" y="91"/>
                    </a:lnTo>
                    <a:lnTo>
                      <a:pt x="319" y="91"/>
                    </a:lnTo>
                    <a:lnTo>
                      <a:pt x="319" y="89"/>
                    </a:lnTo>
                    <a:lnTo>
                      <a:pt x="320" y="89"/>
                    </a:lnTo>
                    <a:lnTo>
                      <a:pt x="320" y="87"/>
                    </a:lnTo>
                    <a:lnTo>
                      <a:pt x="322" y="87"/>
                    </a:lnTo>
                    <a:lnTo>
                      <a:pt x="322" y="86"/>
                    </a:lnTo>
                    <a:lnTo>
                      <a:pt x="322" y="84"/>
                    </a:lnTo>
                    <a:lnTo>
                      <a:pt x="323" y="84"/>
                    </a:lnTo>
                    <a:lnTo>
                      <a:pt x="323" y="83"/>
                    </a:lnTo>
                    <a:lnTo>
                      <a:pt x="323" y="81"/>
                    </a:lnTo>
                    <a:lnTo>
                      <a:pt x="325" y="81"/>
                    </a:lnTo>
                    <a:lnTo>
                      <a:pt x="325" y="80"/>
                    </a:lnTo>
                    <a:lnTo>
                      <a:pt x="326" y="80"/>
                    </a:lnTo>
                    <a:lnTo>
                      <a:pt x="328" y="78"/>
                    </a:lnTo>
                    <a:lnTo>
                      <a:pt x="330" y="78"/>
                    </a:lnTo>
                    <a:lnTo>
                      <a:pt x="331" y="78"/>
                    </a:lnTo>
                    <a:lnTo>
                      <a:pt x="333" y="78"/>
                    </a:lnTo>
                    <a:lnTo>
                      <a:pt x="334" y="78"/>
                    </a:lnTo>
                    <a:lnTo>
                      <a:pt x="336" y="78"/>
                    </a:lnTo>
                    <a:lnTo>
                      <a:pt x="338" y="78"/>
                    </a:lnTo>
                    <a:lnTo>
                      <a:pt x="339" y="76"/>
                    </a:lnTo>
                    <a:lnTo>
                      <a:pt x="341" y="76"/>
                    </a:lnTo>
                    <a:lnTo>
                      <a:pt x="342" y="76"/>
                    </a:lnTo>
                    <a:lnTo>
                      <a:pt x="342" y="75"/>
                    </a:lnTo>
                    <a:lnTo>
                      <a:pt x="344" y="75"/>
                    </a:lnTo>
                    <a:lnTo>
                      <a:pt x="345" y="73"/>
                    </a:lnTo>
                    <a:lnTo>
                      <a:pt x="347" y="72"/>
                    </a:lnTo>
                    <a:lnTo>
                      <a:pt x="349" y="70"/>
                    </a:lnTo>
                    <a:lnTo>
                      <a:pt x="350" y="68"/>
                    </a:lnTo>
                    <a:lnTo>
                      <a:pt x="350" y="67"/>
                    </a:lnTo>
                    <a:lnTo>
                      <a:pt x="352" y="67"/>
                    </a:lnTo>
                    <a:lnTo>
                      <a:pt x="353" y="65"/>
                    </a:lnTo>
                    <a:lnTo>
                      <a:pt x="355" y="65"/>
                    </a:lnTo>
                    <a:lnTo>
                      <a:pt x="355" y="64"/>
                    </a:lnTo>
                    <a:lnTo>
                      <a:pt x="357" y="62"/>
                    </a:lnTo>
                    <a:lnTo>
                      <a:pt x="358" y="61"/>
                    </a:lnTo>
                    <a:lnTo>
                      <a:pt x="360" y="59"/>
                    </a:lnTo>
                    <a:lnTo>
                      <a:pt x="361" y="59"/>
                    </a:lnTo>
                    <a:lnTo>
                      <a:pt x="361" y="57"/>
                    </a:lnTo>
                    <a:lnTo>
                      <a:pt x="363" y="57"/>
                    </a:lnTo>
                    <a:lnTo>
                      <a:pt x="364" y="56"/>
                    </a:lnTo>
                    <a:lnTo>
                      <a:pt x="366" y="56"/>
                    </a:lnTo>
                    <a:lnTo>
                      <a:pt x="368" y="56"/>
                    </a:lnTo>
                    <a:lnTo>
                      <a:pt x="368" y="54"/>
                    </a:lnTo>
                    <a:lnTo>
                      <a:pt x="369" y="54"/>
                    </a:lnTo>
                    <a:lnTo>
                      <a:pt x="371" y="54"/>
                    </a:lnTo>
                    <a:lnTo>
                      <a:pt x="371" y="53"/>
                    </a:lnTo>
                    <a:lnTo>
                      <a:pt x="372" y="51"/>
                    </a:lnTo>
                    <a:lnTo>
                      <a:pt x="372" y="49"/>
                    </a:lnTo>
                    <a:lnTo>
                      <a:pt x="374" y="49"/>
                    </a:lnTo>
                    <a:lnTo>
                      <a:pt x="376" y="49"/>
                    </a:lnTo>
                    <a:lnTo>
                      <a:pt x="377" y="49"/>
                    </a:lnTo>
                    <a:lnTo>
                      <a:pt x="379" y="49"/>
                    </a:lnTo>
                    <a:lnTo>
                      <a:pt x="380" y="48"/>
                    </a:lnTo>
                    <a:lnTo>
                      <a:pt x="382" y="48"/>
                    </a:lnTo>
                    <a:lnTo>
                      <a:pt x="383" y="48"/>
                    </a:lnTo>
                    <a:lnTo>
                      <a:pt x="385" y="48"/>
                    </a:lnTo>
                    <a:lnTo>
                      <a:pt x="387" y="48"/>
                    </a:lnTo>
                    <a:lnTo>
                      <a:pt x="387" y="49"/>
                    </a:lnTo>
                    <a:lnTo>
                      <a:pt x="388" y="49"/>
                    </a:lnTo>
                    <a:lnTo>
                      <a:pt x="390" y="49"/>
                    </a:lnTo>
                    <a:lnTo>
                      <a:pt x="390" y="48"/>
                    </a:lnTo>
                    <a:lnTo>
                      <a:pt x="391" y="48"/>
                    </a:lnTo>
                    <a:lnTo>
                      <a:pt x="391" y="46"/>
                    </a:lnTo>
                    <a:lnTo>
                      <a:pt x="393" y="46"/>
                    </a:lnTo>
                    <a:lnTo>
                      <a:pt x="395" y="45"/>
                    </a:lnTo>
                    <a:lnTo>
                      <a:pt x="396" y="43"/>
                    </a:lnTo>
                    <a:lnTo>
                      <a:pt x="398" y="43"/>
                    </a:lnTo>
                    <a:lnTo>
                      <a:pt x="398" y="42"/>
                    </a:lnTo>
                    <a:lnTo>
                      <a:pt x="399" y="42"/>
                    </a:lnTo>
                    <a:lnTo>
                      <a:pt x="399" y="40"/>
                    </a:lnTo>
                    <a:lnTo>
                      <a:pt x="401" y="40"/>
                    </a:lnTo>
                    <a:lnTo>
                      <a:pt x="401" y="38"/>
                    </a:lnTo>
                    <a:lnTo>
                      <a:pt x="402" y="38"/>
                    </a:lnTo>
                    <a:lnTo>
                      <a:pt x="404" y="37"/>
                    </a:lnTo>
                    <a:lnTo>
                      <a:pt x="406" y="37"/>
                    </a:lnTo>
                    <a:lnTo>
                      <a:pt x="406" y="35"/>
                    </a:lnTo>
                    <a:lnTo>
                      <a:pt x="407" y="35"/>
                    </a:lnTo>
                    <a:lnTo>
                      <a:pt x="407" y="34"/>
                    </a:lnTo>
                    <a:lnTo>
                      <a:pt x="409" y="34"/>
                    </a:lnTo>
                    <a:lnTo>
                      <a:pt x="409" y="32"/>
                    </a:lnTo>
                    <a:lnTo>
                      <a:pt x="410" y="32"/>
                    </a:lnTo>
                    <a:lnTo>
                      <a:pt x="410" y="30"/>
                    </a:lnTo>
                    <a:lnTo>
                      <a:pt x="412" y="30"/>
                    </a:lnTo>
                    <a:lnTo>
                      <a:pt x="412" y="29"/>
                    </a:lnTo>
                    <a:lnTo>
                      <a:pt x="414" y="29"/>
                    </a:lnTo>
                    <a:lnTo>
                      <a:pt x="414" y="27"/>
                    </a:lnTo>
                    <a:lnTo>
                      <a:pt x="415" y="27"/>
                    </a:lnTo>
                    <a:lnTo>
                      <a:pt x="415" y="26"/>
                    </a:lnTo>
                    <a:lnTo>
                      <a:pt x="417" y="26"/>
                    </a:lnTo>
                    <a:lnTo>
                      <a:pt x="418" y="24"/>
                    </a:lnTo>
                    <a:lnTo>
                      <a:pt x="420" y="24"/>
                    </a:lnTo>
                    <a:lnTo>
                      <a:pt x="420" y="23"/>
                    </a:lnTo>
                    <a:lnTo>
                      <a:pt x="421" y="21"/>
                    </a:lnTo>
                    <a:lnTo>
                      <a:pt x="420" y="19"/>
                    </a:lnTo>
                    <a:lnTo>
                      <a:pt x="421" y="19"/>
                    </a:lnTo>
                    <a:lnTo>
                      <a:pt x="421" y="18"/>
                    </a:lnTo>
                    <a:lnTo>
                      <a:pt x="423" y="18"/>
                    </a:lnTo>
                    <a:lnTo>
                      <a:pt x="425" y="18"/>
                    </a:lnTo>
                    <a:lnTo>
                      <a:pt x="425" y="16"/>
                    </a:lnTo>
                    <a:lnTo>
                      <a:pt x="425" y="15"/>
                    </a:lnTo>
                    <a:lnTo>
                      <a:pt x="426" y="15"/>
                    </a:lnTo>
                    <a:lnTo>
                      <a:pt x="426" y="13"/>
                    </a:lnTo>
                    <a:lnTo>
                      <a:pt x="426" y="11"/>
                    </a:lnTo>
                    <a:lnTo>
                      <a:pt x="428" y="11"/>
                    </a:lnTo>
                    <a:lnTo>
                      <a:pt x="428" y="10"/>
                    </a:lnTo>
                    <a:lnTo>
                      <a:pt x="429" y="8"/>
                    </a:lnTo>
                    <a:lnTo>
                      <a:pt x="428" y="8"/>
                    </a:lnTo>
                    <a:lnTo>
                      <a:pt x="429" y="7"/>
                    </a:lnTo>
                    <a:lnTo>
                      <a:pt x="431" y="7"/>
                    </a:lnTo>
                    <a:lnTo>
                      <a:pt x="431" y="5"/>
                    </a:lnTo>
                    <a:lnTo>
                      <a:pt x="433" y="5"/>
                    </a:lnTo>
                    <a:lnTo>
                      <a:pt x="433" y="4"/>
                    </a:lnTo>
                    <a:lnTo>
                      <a:pt x="434" y="4"/>
                    </a:lnTo>
                    <a:lnTo>
                      <a:pt x="436" y="4"/>
                    </a:lnTo>
                    <a:lnTo>
                      <a:pt x="437" y="4"/>
                    </a:lnTo>
                    <a:lnTo>
                      <a:pt x="436" y="2"/>
                    </a:lnTo>
                    <a:lnTo>
                      <a:pt x="437" y="2"/>
                    </a:lnTo>
                    <a:lnTo>
                      <a:pt x="439" y="0"/>
                    </a:lnTo>
                    <a:close/>
                  </a:path>
                </a:pathLst>
              </a:custGeom>
              <a:solidFill>
                <a:srgbClr val="B4D7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38" name="Freeform 118"/>
              <p:cNvSpPr>
                <a:spLocks/>
              </p:cNvSpPr>
              <p:nvPr/>
            </p:nvSpPr>
            <p:spPr bwMode="auto">
              <a:xfrm>
                <a:off x="3941" y="3201"/>
                <a:ext cx="778" cy="718"/>
              </a:xfrm>
              <a:custGeom>
                <a:avLst/>
                <a:gdLst>
                  <a:gd name="T0" fmla="*/ 63 w 778"/>
                  <a:gd name="T1" fmla="*/ 24 h 718"/>
                  <a:gd name="T2" fmla="*/ 70 w 778"/>
                  <a:gd name="T3" fmla="*/ 54 h 718"/>
                  <a:gd name="T4" fmla="*/ 55 w 778"/>
                  <a:gd name="T5" fmla="*/ 99 h 718"/>
                  <a:gd name="T6" fmla="*/ 49 w 778"/>
                  <a:gd name="T7" fmla="*/ 130 h 718"/>
                  <a:gd name="T8" fmla="*/ 11 w 778"/>
                  <a:gd name="T9" fmla="*/ 168 h 718"/>
                  <a:gd name="T10" fmla="*/ 6 w 778"/>
                  <a:gd name="T11" fmla="*/ 195 h 718"/>
                  <a:gd name="T12" fmla="*/ 32 w 778"/>
                  <a:gd name="T13" fmla="*/ 203 h 718"/>
                  <a:gd name="T14" fmla="*/ 66 w 778"/>
                  <a:gd name="T15" fmla="*/ 203 h 718"/>
                  <a:gd name="T16" fmla="*/ 92 w 778"/>
                  <a:gd name="T17" fmla="*/ 195 h 718"/>
                  <a:gd name="T18" fmla="*/ 116 w 778"/>
                  <a:gd name="T19" fmla="*/ 171 h 718"/>
                  <a:gd name="T20" fmla="*/ 125 w 778"/>
                  <a:gd name="T21" fmla="*/ 176 h 718"/>
                  <a:gd name="T22" fmla="*/ 138 w 778"/>
                  <a:gd name="T23" fmla="*/ 184 h 718"/>
                  <a:gd name="T24" fmla="*/ 154 w 778"/>
                  <a:gd name="T25" fmla="*/ 181 h 718"/>
                  <a:gd name="T26" fmla="*/ 173 w 778"/>
                  <a:gd name="T27" fmla="*/ 178 h 718"/>
                  <a:gd name="T28" fmla="*/ 195 w 778"/>
                  <a:gd name="T29" fmla="*/ 181 h 718"/>
                  <a:gd name="T30" fmla="*/ 215 w 778"/>
                  <a:gd name="T31" fmla="*/ 175 h 718"/>
                  <a:gd name="T32" fmla="*/ 236 w 778"/>
                  <a:gd name="T33" fmla="*/ 152 h 718"/>
                  <a:gd name="T34" fmla="*/ 244 w 778"/>
                  <a:gd name="T35" fmla="*/ 137 h 718"/>
                  <a:gd name="T36" fmla="*/ 249 w 778"/>
                  <a:gd name="T37" fmla="*/ 124 h 718"/>
                  <a:gd name="T38" fmla="*/ 257 w 778"/>
                  <a:gd name="T39" fmla="*/ 138 h 718"/>
                  <a:gd name="T40" fmla="*/ 265 w 778"/>
                  <a:gd name="T41" fmla="*/ 162 h 718"/>
                  <a:gd name="T42" fmla="*/ 280 w 778"/>
                  <a:gd name="T43" fmla="*/ 184 h 718"/>
                  <a:gd name="T44" fmla="*/ 265 w 778"/>
                  <a:gd name="T45" fmla="*/ 222 h 718"/>
                  <a:gd name="T46" fmla="*/ 252 w 778"/>
                  <a:gd name="T47" fmla="*/ 249 h 718"/>
                  <a:gd name="T48" fmla="*/ 285 w 778"/>
                  <a:gd name="T49" fmla="*/ 251 h 718"/>
                  <a:gd name="T50" fmla="*/ 328 w 778"/>
                  <a:gd name="T51" fmla="*/ 222 h 718"/>
                  <a:gd name="T52" fmla="*/ 361 w 778"/>
                  <a:gd name="T53" fmla="*/ 183 h 718"/>
                  <a:gd name="T54" fmla="*/ 404 w 778"/>
                  <a:gd name="T55" fmla="*/ 156 h 718"/>
                  <a:gd name="T56" fmla="*/ 467 w 778"/>
                  <a:gd name="T57" fmla="*/ 127 h 718"/>
                  <a:gd name="T58" fmla="*/ 458 w 778"/>
                  <a:gd name="T59" fmla="*/ 156 h 718"/>
                  <a:gd name="T60" fmla="*/ 442 w 778"/>
                  <a:gd name="T61" fmla="*/ 181 h 718"/>
                  <a:gd name="T62" fmla="*/ 426 w 778"/>
                  <a:gd name="T63" fmla="*/ 200 h 718"/>
                  <a:gd name="T64" fmla="*/ 415 w 778"/>
                  <a:gd name="T65" fmla="*/ 216 h 718"/>
                  <a:gd name="T66" fmla="*/ 398 w 778"/>
                  <a:gd name="T67" fmla="*/ 227 h 718"/>
                  <a:gd name="T68" fmla="*/ 383 w 778"/>
                  <a:gd name="T69" fmla="*/ 243 h 718"/>
                  <a:gd name="T70" fmla="*/ 382 w 778"/>
                  <a:gd name="T71" fmla="*/ 266 h 718"/>
                  <a:gd name="T72" fmla="*/ 380 w 778"/>
                  <a:gd name="T73" fmla="*/ 289 h 718"/>
                  <a:gd name="T74" fmla="*/ 382 w 778"/>
                  <a:gd name="T75" fmla="*/ 303 h 718"/>
                  <a:gd name="T76" fmla="*/ 386 w 778"/>
                  <a:gd name="T77" fmla="*/ 325 h 718"/>
                  <a:gd name="T78" fmla="*/ 412 w 778"/>
                  <a:gd name="T79" fmla="*/ 336 h 718"/>
                  <a:gd name="T80" fmla="*/ 439 w 778"/>
                  <a:gd name="T81" fmla="*/ 350 h 718"/>
                  <a:gd name="T82" fmla="*/ 474 w 778"/>
                  <a:gd name="T83" fmla="*/ 362 h 718"/>
                  <a:gd name="T84" fmla="*/ 504 w 778"/>
                  <a:gd name="T85" fmla="*/ 369 h 718"/>
                  <a:gd name="T86" fmla="*/ 558 w 778"/>
                  <a:gd name="T87" fmla="*/ 381 h 718"/>
                  <a:gd name="T88" fmla="*/ 626 w 778"/>
                  <a:gd name="T89" fmla="*/ 396 h 718"/>
                  <a:gd name="T90" fmla="*/ 672 w 778"/>
                  <a:gd name="T91" fmla="*/ 415 h 718"/>
                  <a:gd name="T92" fmla="*/ 692 w 778"/>
                  <a:gd name="T93" fmla="*/ 431 h 718"/>
                  <a:gd name="T94" fmla="*/ 700 w 778"/>
                  <a:gd name="T95" fmla="*/ 452 h 718"/>
                  <a:gd name="T96" fmla="*/ 711 w 778"/>
                  <a:gd name="T97" fmla="*/ 471 h 718"/>
                  <a:gd name="T98" fmla="*/ 722 w 778"/>
                  <a:gd name="T99" fmla="*/ 491 h 718"/>
                  <a:gd name="T100" fmla="*/ 738 w 778"/>
                  <a:gd name="T101" fmla="*/ 518 h 718"/>
                  <a:gd name="T102" fmla="*/ 749 w 778"/>
                  <a:gd name="T103" fmla="*/ 550 h 718"/>
                  <a:gd name="T104" fmla="*/ 749 w 778"/>
                  <a:gd name="T105" fmla="*/ 571 h 718"/>
                  <a:gd name="T106" fmla="*/ 754 w 778"/>
                  <a:gd name="T107" fmla="*/ 593 h 718"/>
                  <a:gd name="T108" fmla="*/ 759 w 778"/>
                  <a:gd name="T109" fmla="*/ 615 h 718"/>
                  <a:gd name="T110" fmla="*/ 762 w 778"/>
                  <a:gd name="T111" fmla="*/ 634 h 718"/>
                  <a:gd name="T112" fmla="*/ 770 w 778"/>
                  <a:gd name="T113" fmla="*/ 651 h 718"/>
                  <a:gd name="T114" fmla="*/ 759 w 778"/>
                  <a:gd name="T115" fmla="*/ 677 h 718"/>
                  <a:gd name="T116" fmla="*/ 722 w 778"/>
                  <a:gd name="T117" fmla="*/ 685 h 718"/>
                  <a:gd name="T118" fmla="*/ 700 w 778"/>
                  <a:gd name="T119" fmla="*/ 713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78" h="718">
                    <a:moveTo>
                      <a:pt x="65" y="0"/>
                    </a:moveTo>
                    <a:lnTo>
                      <a:pt x="65" y="5"/>
                    </a:lnTo>
                    <a:lnTo>
                      <a:pt x="65" y="7"/>
                    </a:lnTo>
                    <a:lnTo>
                      <a:pt x="65" y="8"/>
                    </a:lnTo>
                    <a:lnTo>
                      <a:pt x="63" y="7"/>
                    </a:lnTo>
                    <a:lnTo>
                      <a:pt x="62" y="8"/>
                    </a:lnTo>
                    <a:lnTo>
                      <a:pt x="63" y="10"/>
                    </a:lnTo>
                    <a:lnTo>
                      <a:pt x="63" y="11"/>
                    </a:lnTo>
                    <a:lnTo>
                      <a:pt x="62" y="11"/>
                    </a:lnTo>
                    <a:lnTo>
                      <a:pt x="62" y="13"/>
                    </a:lnTo>
                    <a:lnTo>
                      <a:pt x="63" y="15"/>
                    </a:lnTo>
                    <a:lnTo>
                      <a:pt x="63" y="16"/>
                    </a:lnTo>
                    <a:lnTo>
                      <a:pt x="62" y="16"/>
                    </a:lnTo>
                    <a:lnTo>
                      <a:pt x="63" y="18"/>
                    </a:lnTo>
                    <a:lnTo>
                      <a:pt x="63" y="19"/>
                    </a:lnTo>
                    <a:lnTo>
                      <a:pt x="63" y="23"/>
                    </a:lnTo>
                    <a:lnTo>
                      <a:pt x="63" y="24"/>
                    </a:lnTo>
                    <a:lnTo>
                      <a:pt x="63" y="26"/>
                    </a:lnTo>
                    <a:lnTo>
                      <a:pt x="65" y="27"/>
                    </a:lnTo>
                    <a:lnTo>
                      <a:pt x="65" y="29"/>
                    </a:lnTo>
                    <a:lnTo>
                      <a:pt x="65" y="30"/>
                    </a:lnTo>
                    <a:lnTo>
                      <a:pt x="65" y="32"/>
                    </a:lnTo>
                    <a:lnTo>
                      <a:pt x="65" y="34"/>
                    </a:lnTo>
                    <a:lnTo>
                      <a:pt x="65" y="35"/>
                    </a:lnTo>
                    <a:lnTo>
                      <a:pt x="65" y="37"/>
                    </a:lnTo>
                    <a:lnTo>
                      <a:pt x="65" y="38"/>
                    </a:lnTo>
                    <a:lnTo>
                      <a:pt x="65" y="40"/>
                    </a:lnTo>
                    <a:lnTo>
                      <a:pt x="65" y="42"/>
                    </a:lnTo>
                    <a:lnTo>
                      <a:pt x="65" y="43"/>
                    </a:lnTo>
                    <a:lnTo>
                      <a:pt x="66" y="45"/>
                    </a:lnTo>
                    <a:lnTo>
                      <a:pt x="65" y="48"/>
                    </a:lnTo>
                    <a:lnTo>
                      <a:pt x="66" y="48"/>
                    </a:lnTo>
                    <a:lnTo>
                      <a:pt x="68" y="51"/>
                    </a:lnTo>
                    <a:lnTo>
                      <a:pt x="70" y="54"/>
                    </a:lnTo>
                    <a:lnTo>
                      <a:pt x="71" y="57"/>
                    </a:lnTo>
                    <a:lnTo>
                      <a:pt x="73" y="61"/>
                    </a:lnTo>
                    <a:lnTo>
                      <a:pt x="74" y="65"/>
                    </a:lnTo>
                    <a:lnTo>
                      <a:pt x="74" y="70"/>
                    </a:lnTo>
                    <a:lnTo>
                      <a:pt x="76" y="73"/>
                    </a:lnTo>
                    <a:lnTo>
                      <a:pt x="76" y="75"/>
                    </a:lnTo>
                    <a:lnTo>
                      <a:pt x="74" y="78"/>
                    </a:lnTo>
                    <a:lnTo>
                      <a:pt x="73" y="81"/>
                    </a:lnTo>
                    <a:lnTo>
                      <a:pt x="70" y="84"/>
                    </a:lnTo>
                    <a:lnTo>
                      <a:pt x="66" y="86"/>
                    </a:lnTo>
                    <a:lnTo>
                      <a:pt x="63" y="87"/>
                    </a:lnTo>
                    <a:lnTo>
                      <a:pt x="62" y="89"/>
                    </a:lnTo>
                    <a:lnTo>
                      <a:pt x="57" y="91"/>
                    </a:lnTo>
                    <a:lnTo>
                      <a:pt x="57" y="92"/>
                    </a:lnTo>
                    <a:lnTo>
                      <a:pt x="57" y="94"/>
                    </a:lnTo>
                    <a:lnTo>
                      <a:pt x="57" y="97"/>
                    </a:lnTo>
                    <a:lnTo>
                      <a:pt x="55" y="99"/>
                    </a:lnTo>
                    <a:lnTo>
                      <a:pt x="55" y="100"/>
                    </a:lnTo>
                    <a:lnTo>
                      <a:pt x="55" y="102"/>
                    </a:lnTo>
                    <a:lnTo>
                      <a:pt x="54" y="103"/>
                    </a:lnTo>
                    <a:lnTo>
                      <a:pt x="52" y="105"/>
                    </a:lnTo>
                    <a:lnTo>
                      <a:pt x="51" y="105"/>
                    </a:lnTo>
                    <a:lnTo>
                      <a:pt x="51" y="108"/>
                    </a:lnTo>
                    <a:lnTo>
                      <a:pt x="49" y="111"/>
                    </a:lnTo>
                    <a:lnTo>
                      <a:pt x="49" y="113"/>
                    </a:lnTo>
                    <a:lnTo>
                      <a:pt x="52" y="114"/>
                    </a:lnTo>
                    <a:lnTo>
                      <a:pt x="54" y="118"/>
                    </a:lnTo>
                    <a:lnTo>
                      <a:pt x="54" y="119"/>
                    </a:lnTo>
                    <a:lnTo>
                      <a:pt x="54" y="124"/>
                    </a:lnTo>
                    <a:lnTo>
                      <a:pt x="52" y="126"/>
                    </a:lnTo>
                    <a:lnTo>
                      <a:pt x="52" y="127"/>
                    </a:lnTo>
                    <a:lnTo>
                      <a:pt x="51" y="127"/>
                    </a:lnTo>
                    <a:lnTo>
                      <a:pt x="49" y="129"/>
                    </a:lnTo>
                    <a:lnTo>
                      <a:pt x="49" y="130"/>
                    </a:lnTo>
                    <a:lnTo>
                      <a:pt x="44" y="132"/>
                    </a:lnTo>
                    <a:lnTo>
                      <a:pt x="43" y="138"/>
                    </a:lnTo>
                    <a:lnTo>
                      <a:pt x="41" y="140"/>
                    </a:lnTo>
                    <a:lnTo>
                      <a:pt x="41" y="143"/>
                    </a:lnTo>
                    <a:lnTo>
                      <a:pt x="40" y="145"/>
                    </a:lnTo>
                    <a:lnTo>
                      <a:pt x="40" y="146"/>
                    </a:lnTo>
                    <a:lnTo>
                      <a:pt x="38" y="146"/>
                    </a:lnTo>
                    <a:lnTo>
                      <a:pt x="36" y="148"/>
                    </a:lnTo>
                    <a:lnTo>
                      <a:pt x="35" y="149"/>
                    </a:lnTo>
                    <a:lnTo>
                      <a:pt x="32" y="154"/>
                    </a:lnTo>
                    <a:lnTo>
                      <a:pt x="30" y="154"/>
                    </a:lnTo>
                    <a:lnTo>
                      <a:pt x="27" y="160"/>
                    </a:lnTo>
                    <a:lnTo>
                      <a:pt x="25" y="165"/>
                    </a:lnTo>
                    <a:lnTo>
                      <a:pt x="24" y="167"/>
                    </a:lnTo>
                    <a:lnTo>
                      <a:pt x="22" y="168"/>
                    </a:lnTo>
                    <a:lnTo>
                      <a:pt x="19" y="168"/>
                    </a:lnTo>
                    <a:lnTo>
                      <a:pt x="11" y="168"/>
                    </a:lnTo>
                    <a:lnTo>
                      <a:pt x="9" y="170"/>
                    </a:lnTo>
                    <a:lnTo>
                      <a:pt x="9" y="171"/>
                    </a:lnTo>
                    <a:lnTo>
                      <a:pt x="8" y="173"/>
                    </a:lnTo>
                    <a:lnTo>
                      <a:pt x="6" y="176"/>
                    </a:lnTo>
                    <a:lnTo>
                      <a:pt x="5" y="178"/>
                    </a:lnTo>
                    <a:lnTo>
                      <a:pt x="5" y="183"/>
                    </a:lnTo>
                    <a:lnTo>
                      <a:pt x="5" y="184"/>
                    </a:lnTo>
                    <a:lnTo>
                      <a:pt x="3" y="184"/>
                    </a:lnTo>
                    <a:lnTo>
                      <a:pt x="3" y="186"/>
                    </a:lnTo>
                    <a:lnTo>
                      <a:pt x="2" y="186"/>
                    </a:lnTo>
                    <a:lnTo>
                      <a:pt x="2" y="187"/>
                    </a:lnTo>
                    <a:lnTo>
                      <a:pt x="0" y="189"/>
                    </a:lnTo>
                    <a:lnTo>
                      <a:pt x="2" y="189"/>
                    </a:lnTo>
                    <a:lnTo>
                      <a:pt x="3" y="190"/>
                    </a:lnTo>
                    <a:lnTo>
                      <a:pt x="5" y="192"/>
                    </a:lnTo>
                    <a:lnTo>
                      <a:pt x="6" y="194"/>
                    </a:lnTo>
                    <a:lnTo>
                      <a:pt x="6" y="195"/>
                    </a:lnTo>
                    <a:lnTo>
                      <a:pt x="8" y="195"/>
                    </a:lnTo>
                    <a:lnTo>
                      <a:pt x="8" y="197"/>
                    </a:lnTo>
                    <a:lnTo>
                      <a:pt x="9" y="198"/>
                    </a:lnTo>
                    <a:lnTo>
                      <a:pt x="11" y="200"/>
                    </a:lnTo>
                    <a:lnTo>
                      <a:pt x="11" y="202"/>
                    </a:lnTo>
                    <a:lnTo>
                      <a:pt x="13" y="203"/>
                    </a:lnTo>
                    <a:lnTo>
                      <a:pt x="14" y="205"/>
                    </a:lnTo>
                    <a:lnTo>
                      <a:pt x="16" y="203"/>
                    </a:lnTo>
                    <a:lnTo>
                      <a:pt x="17" y="203"/>
                    </a:lnTo>
                    <a:lnTo>
                      <a:pt x="19" y="202"/>
                    </a:lnTo>
                    <a:lnTo>
                      <a:pt x="21" y="202"/>
                    </a:lnTo>
                    <a:lnTo>
                      <a:pt x="22" y="202"/>
                    </a:lnTo>
                    <a:lnTo>
                      <a:pt x="25" y="203"/>
                    </a:lnTo>
                    <a:lnTo>
                      <a:pt x="27" y="203"/>
                    </a:lnTo>
                    <a:lnTo>
                      <a:pt x="28" y="203"/>
                    </a:lnTo>
                    <a:lnTo>
                      <a:pt x="30" y="203"/>
                    </a:lnTo>
                    <a:lnTo>
                      <a:pt x="32" y="203"/>
                    </a:lnTo>
                    <a:lnTo>
                      <a:pt x="33" y="203"/>
                    </a:lnTo>
                    <a:lnTo>
                      <a:pt x="35" y="203"/>
                    </a:lnTo>
                    <a:lnTo>
                      <a:pt x="36" y="203"/>
                    </a:lnTo>
                    <a:lnTo>
                      <a:pt x="38" y="202"/>
                    </a:lnTo>
                    <a:lnTo>
                      <a:pt x="40" y="202"/>
                    </a:lnTo>
                    <a:lnTo>
                      <a:pt x="41" y="202"/>
                    </a:lnTo>
                    <a:lnTo>
                      <a:pt x="43" y="202"/>
                    </a:lnTo>
                    <a:lnTo>
                      <a:pt x="44" y="203"/>
                    </a:lnTo>
                    <a:lnTo>
                      <a:pt x="46" y="203"/>
                    </a:lnTo>
                    <a:lnTo>
                      <a:pt x="47" y="203"/>
                    </a:lnTo>
                    <a:lnTo>
                      <a:pt x="49" y="202"/>
                    </a:lnTo>
                    <a:lnTo>
                      <a:pt x="51" y="202"/>
                    </a:lnTo>
                    <a:lnTo>
                      <a:pt x="55" y="203"/>
                    </a:lnTo>
                    <a:lnTo>
                      <a:pt x="60" y="203"/>
                    </a:lnTo>
                    <a:lnTo>
                      <a:pt x="62" y="203"/>
                    </a:lnTo>
                    <a:lnTo>
                      <a:pt x="63" y="203"/>
                    </a:lnTo>
                    <a:lnTo>
                      <a:pt x="66" y="203"/>
                    </a:lnTo>
                    <a:lnTo>
                      <a:pt x="70" y="203"/>
                    </a:lnTo>
                    <a:lnTo>
                      <a:pt x="73" y="203"/>
                    </a:lnTo>
                    <a:lnTo>
                      <a:pt x="76" y="203"/>
                    </a:lnTo>
                    <a:lnTo>
                      <a:pt x="81" y="203"/>
                    </a:lnTo>
                    <a:lnTo>
                      <a:pt x="84" y="203"/>
                    </a:lnTo>
                    <a:lnTo>
                      <a:pt x="86" y="203"/>
                    </a:lnTo>
                    <a:lnTo>
                      <a:pt x="86" y="205"/>
                    </a:lnTo>
                    <a:lnTo>
                      <a:pt x="87" y="205"/>
                    </a:lnTo>
                    <a:lnTo>
                      <a:pt x="89" y="206"/>
                    </a:lnTo>
                    <a:lnTo>
                      <a:pt x="90" y="206"/>
                    </a:lnTo>
                    <a:lnTo>
                      <a:pt x="92" y="206"/>
                    </a:lnTo>
                    <a:lnTo>
                      <a:pt x="92" y="203"/>
                    </a:lnTo>
                    <a:lnTo>
                      <a:pt x="92" y="202"/>
                    </a:lnTo>
                    <a:lnTo>
                      <a:pt x="92" y="200"/>
                    </a:lnTo>
                    <a:lnTo>
                      <a:pt x="92" y="198"/>
                    </a:lnTo>
                    <a:lnTo>
                      <a:pt x="92" y="197"/>
                    </a:lnTo>
                    <a:lnTo>
                      <a:pt x="92" y="195"/>
                    </a:lnTo>
                    <a:lnTo>
                      <a:pt x="93" y="194"/>
                    </a:lnTo>
                    <a:lnTo>
                      <a:pt x="93" y="192"/>
                    </a:lnTo>
                    <a:lnTo>
                      <a:pt x="95" y="190"/>
                    </a:lnTo>
                    <a:lnTo>
                      <a:pt x="95" y="189"/>
                    </a:lnTo>
                    <a:lnTo>
                      <a:pt x="97" y="184"/>
                    </a:lnTo>
                    <a:lnTo>
                      <a:pt x="101" y="181"/>
                    </a:lnTo>
                    <a:lnTo>
                      <a:pt x="105" y="179"/>
                    </a:lnTo>
                    <a:lnTo>
                      <a:pt x="106" y="178"/>
                    </a:lnTo>
                    <a:lnTo>
                      <a:pt x="106" y="176"/>
                    </a:lnTo>
                    <a:lnTo>
                      <a:pt x="108" y="176"/>
                    </a:lnTo>
                    <a:lnTo>
                      <a:pt x="109" y="176"/>
                    </a:lnTo>
                    <a:lnTo>
                      <a:pt x="109" y="175"/>
                    </a:lnTo>
                    <a:lnTo>
                      <a:pt x="111" y="175"/>
                    </a:lnTo>
                    <a:lnTo>
                      <a:pt x="112" y="175"/>
                    </a:lnTo>
                    <a:lnTo>
                      <a:pt x="114" y="175"/>
                    </a:lnTo>
                    <a:lnTo>
                      <a:pt x="116" y="173"/>
                    </a:lnTo>
                    <a:lnTo>
                      <a:pt x="116" y="171"/>
                    </a:lnTo>
                    <a:lnTo>
                      <a:pt x="117" y="171"/>
                    </a:lnTo>
                    <a:lnTo>
                      <a:pt x="117" y="170"/>
                    </a:lnTo>
                    <a:lnTo>
                      <a:pt x="119" y="170"/>
                    </a:lnTo>
                    <a:lnTo>
                      <a:pt x="119" y="168"/>
                    </a:lnTo>
                    <a:lnTo>
                      <a:pt x="120" y="170"/>
                    </a:lnTo>
                    <a:lnTo>
                      <a:pt x="122" y="168"/>
                    </a:lnTo>
                    <a:lnTo>
                      <a:pt x="124" y="168"/>
                    </a:lnTo>
                    <a:lnTo>
                      <a:pt x="125" y="168"/>
                    </a:lnTo>
                    <a:lnTo>
                      <a:pt x="124" y="170"/>
                    </a:lnTo>
                    <a:lnTo>
                      <a:pt x="125" y="170"/>
                    </a:lnTo>
                    <a:lnTo>
                      <a:pt x="124" y="171"/>
                    </a:lnTo>
                    <a:lnTo>
                      <a:pt x="125" y="171"/>
                    </a:lnTo>
                    <a:lnTo>
                      <a:pt x="125" y="173"/>
                    </a:lnTo>
                    <a:lnTo>
                      <a:pt x="124" y="173"/>
                    </a:lnTo>
                    <a:lnTo>
                      <a:pt x="124" y="175"/>
                    </a:lnTo>
                    <a:lnTo>
                      <a:pt x="124" y="176"/>
                    </a:lnTo>
                    <a:lnTo>
                      <a:pt x="125" y="176"/>
                    </a:lnTo>
                    <a:lnTo>
                      <a:pt x="125" y="178"/>
                    </a:lnTo>
                    <a:lnTo>
                      <a:pt x="127" y="178"/>
                    </a:lnTo>
                    <a:lnTo>
                      <a:pt x="127" y="176"/>
                    </a:lnTo>
                    <a:lnTo>
                      <a:pt x="128" y="176"/>
                    </a:lnTo>
                    <a:lnTo>
                      <a:pt x="130" y="176"/>
                    </a:lnTo>
                    <a:lnTo>
                      <a:pt x="131" y="176"/>
                    </a:lnTo>
                    <a:lnTo>
                      <a:pt x="131" y="178"/>
                    </a:lnTo>
                    <a:lnTo>
                      <a:pt x="131" y="179"/>
                    </a:lnTo>
                    <a:lnTo>
                      <a:pt x="130" y="179"/>
                    </a:lnTo>
                    <a:lnTo>
                      <a:pt x="130" y="181"/>
                    </a:lnTo>
                    <a:lnTo>
                      <a:pt x="131" y="181"/>
                    </a:lnTo>
                    <a:lnTo>
                      <a:pt x="133" y="181"/>
                    </a:lnTo>
                    <a:lnTo>
                      <a:pt x="133" y="183"/>
                    </a:lnTo>
                    <a:lnTo>
                      <a:pt x="135" y="183"/>
                    </a:lnTo>
                    <a:lnTo>
                      <a:pt x="135" y="184"/>
                    </a:lnTo>
                    <a:lnTo>
                      <a:pt x="136" y="184"/>
                    </a:lnTo>
                    <a:lnTo>
                      <a:pt x="138" y="184"/>
                    </a:lnTo>
                    <a:lnTo>
                      <a:pt x="138" y="183"/>
                    </a:lnTo>
                    <a:lnTo>
                      <a:pt x="139" y="184"/>
                    </a:lnTo>
                    <a:lnTo>
                      <a:pt x="141" y="184"/>
                    </a:lnTo>
                    <a:lnTo>
                      <a:pt x="141" y="183"/>
                    </a:lnTo>
                    <a:lnTo>
                      <a:pt x="143" y="183"/>
                    </a:lnTo>
                    <a:lnTo>
                      <a:pt x="143" y="184"/>
                    </a:lnTo>
                    <a:lnTo>
                      <a:pt x="144" y="183"/>
                    </a:lnTo>
                    <a:lnTo>
                      <a:pt x="144" y="184"/>
                    </a:lnTo>
                    <a:lnTo>
                      <a:pt x="146" y="184"/>
                    </a:lnTo>
                    <a:lnTo>
                      <a:pt x="147" y="184"/>
                    </a:lnTo>
                    <a:lnTo>
                      <a:pt x="149" y="184"/>
                    </a:lnTo>
                    <a:lnTo>
                      <a:pt x="149" y="183"/>
                    </a:lnTo>
                    <a:lnTo>
                      <a:pt x="150" y="181"/>
                    </a:lnTo>
                    <a:lnTo>
                      <a:pt x="152" y="181"/>
                    </a:lnTo>
                    <a:lnTo>
                      <a:pt x="152" y="179"/>
                    </a:lnTo>
                    <a:lnTo>
                      <a:pt x="154" y="179"/>
                    </a:lnTo>
                    <a:lnTo>
                      <a:pt x="154" y="181"/>
                    </a:lnTo>
                    <a:lnTo>
                      <a:pt x="155" y="179"/>
                    </a:lnTo>
                    <a:lnTo>
                      <a:pt x="157" y="178"/>
                    </a:lnTo>
                    <a:lnTo>
                      <a:pt x="158" y="179"/>
                    </a:lnTo>
                    <a:lnTo>
                      <a:pt x="158" y="178"/>
                    </a:lnTo>
                    <a:lnTo>
                      <a:pt x="160" y="178"/>
                    </a:lnTo>
                    <a:lnTo>
                      <a:pt x="160" y="179"/>
                    </a:lnTo>
                    <a:lnTo>
                      <a:pt x="162" y="179"/>
                    </a:lnTo>
                    <a:lnTo>
                      <a:pt x="163" y="179"/>
                    </a:lnTo>
                    <a:lnTo>
                      <a:pt x="165" y="179"/>
                    </a:lnTo>
                    <a:lnTo>
                      <a:pt x="166" y="178"/>
                    </a:lnTo>
                    <a:lnTo>
                      <a:pt x="166" y="179"/>
                    </a:lnTo>
                    <a:lnTo>
                      <a:pt x="166" y="178"/>
                    </a:lnTo>
                    <a:lnTo>
                      <a:pt x="168" y="178"/>
                    </a:lnTo>
                    <a:lnTo>
                      <a:pt x="169" y="178"/>
                    </a:lnTo>
                    <a:lnTo>
                      <a:pt x="169" y="179"/>
                    </a:lnTo>
                    <a:lnTo>
                      <a:pt x="171" y="179"/>
                    </a:lnTo>
                    <a:lnTo>
                      <a:pt x="173" y="178"/>
                    </a:lnTo>
                    <a:lnTo>
                      <a:pt x="174" y="178"/>
                    </a:lnTo>
                    <a:lnTo>
                      <a:pt x="176" y="178"/>
                    </a:lnTo>
                    <a:lnTo>
                      <a:pt x="177" y="178"/>
                    </a:lnTo>
                    <a:lnTo>
                      <a:pt x="179" y="178"/>
                    </a:lnTo>
                    <a:lnTo>
                      <a:pt x="181" y="179"/>
                    </a:lnTo>
                    <a:lnTo>
                      <a:pt x="181" y="178"/>
                    </a:lnTo>
                    <a:lnTo>
                      <a:pt x="182" y="179"/>
                    </a:lnTo>
                    <a:lnTo>
                      <a:pt x="184" y="179"/>
                    </a:lnTo>
                    <a:lnTo>
                      <a:pt x="185" y="179"/>
                    </a:lnTo>
                    <a:lnTo>
                      <a:pt x="185" y="178"/>
                    </a:lnTo>
                    <a:lnTo>
                      <a:pt x="187" y="179"/>
                    </a:lnTo>
                    <a:lnTo>
                      <a:pt x="188" y="179"/>
                    </a:lnTo>
                    <a:lnTo>
                      <a:pt x="190" y="179"/>
                    </a:lnTo>
                    <a:lnTo>
                      <a:pt x="192" y="179"/>
                    </a:lnTo>
                    <a:lnTo>
                      <a:pt x="192" y="181"/>
                    </a:lnTo>
                    <a:lnTo>
                      <a:pt x="193" y="181"/>
                    </a:lnTo>
                    <a:lnTo>
                      <a:pt x="195" y="181"/>
                    </a:lnTo>
                    <a:lnTo>
                      <a:pt x="195" y="183"/>
                    </a:lnTo>
                    <a:lnTo>
                      <a:pt x="196" y="183"/>
                    </a:lnTo>
                    <a:lnTo>
                      <a:pt x="196" y="181"/>
                    </a:lnTo>
                    <a:lnTo>
                      <a:pt x="198" y="179"/>
                    </a:lnTo>
                    <a:lnTo>
                      <a:pt x="200" y="179"/>
                    </a:lnTo>
                    <a:lnTo>
                      <a:pt x="200" y="178"/>
                    </a:lnTo>
                    <a:lnTo>
                      <a:pt x="201" y="179"/>
                    </a:lnTo>
                    <a:lnTo>
                      <a:pt x="203" y="179"/>
                    </a:lnTo>
                    <a:lnTo>
                      <a:pt x="203" y="178"/>
                    </a:lnTo>
                    <a:lnTo>
                      <a:pt x="204" y="178"/>
                    </a:lnTo>
                    <a:lnTo>
                      <a:pt x="206" y="176"/>
                    </a:lnTo>
                    <a:lnTo>
                      <a:pt x="207" y="176"/>
                    </a:lnTo>
                    <a:lnTo>
                      <a:pt x="209" y="176"/>
                    </a:lnTo>
                    <a:lnTo>
                      <a:pt x="211" y="176"/>
                    </a:lnTo>
                    <a:lnTo>
                      <a:pt x="212" y="176"/>
                    </a:lnTo>
                    <a:lnTo>
                      <a:pt x="214" y="175"/>
                    </a:lnTo>
                    <a:lnTo>
                      <a:pt x="215" y="175"/>
                    </a:lnTo>
                    <a:lnTo>
                      <a:pt x="215" y="176"/>
                    </a:lnTo>
                    <a:lnTo>
                      <a:pt x="217" y="176"/>
                    </a:lnTo>
                    <a:lnTo>
                      <a:pt x="217" y="178"/>
                    </a:lnTo>
                    <a:lnTo>
                      <a:pt x="219" y="178"/>
                    </a:lnTo>
                    <a:lnTo>
                      <a:pt x="220" y="178"/>
                    </a:lnTo>
                    <a:lnTo>
                      <a:pt x="220" y="176"/>
                    </a:lnTo>
                    <a:lnTo>
                      <a:pt x="220" y="175"/>
                    </a:lnTo>
                    <a:lnTo>
                      <a:pt x="220" y="173"/>
                    </a:lnTo>
                    <a:lnTo>
                      <a:pt x="220" y="171"/>
                    </a:lnTo>
                    <a:lnTo>
                      <a:pt x="222" y="171"/>
                    </a:lnTo>
                    <a:lnTo>
                      <a:pt x="223" y="170"/>
                    </a:lnTo>
                    <a:lnTo>
                      <a:pt x="223" y="168"/>
                    </a:lnTo>
                    <a:lnTo>
                      <a:pt x="225" y="168"/>
                    </a:lnTo>
                    <a:lnTo>
                      <a:pt x="226" y="167"/>
                    </a:lnTo>
                    <a:lnTo>
                      <a:pt x="225" y="167"/>
                    </a:lnTo>
                    <a:lnTo>
                      <a:pt x="225" y="165"/>
                    </a:lnTo>
                    <a:lnTo>
                      <a:pt x="236" y="152"/>
                    </a:lnTo>
                    <a:lnTo>
                      <a:pt x="238" y="152"/>
                    </a:lnTo>
                    <a:lnTo>
                      <a:pt x="238" y="151"/>
                    </a:lnTo>
                    <a:lnTo>
                      <a:pt x="239" y="149"/>
                    </a:lnTo>
                    <a:lnTo>
                      <a:pt x="241" y="148"/>
                    </a:lnTo>
                    <a:lnTo>
                      <a:pt x="242" y="148"/>
                    </a:lnTo>
                    <a:lnTo>
                      <a:pt x="242" y="146"/>
                    </a:lnTo>
                    <a:lnTo>
                      <a:pt x="242" y="145"/>
                    </a:lnTo>
                    <a:lnTo>
                      <a:pt x="242" y="143"/>
                    </a:lnTo>
                    <a:lnTo>
                      <a:pt x="244" y="143"/>
                    </a:lnTo>
                    <a:lnTo>
                      <a:pt x="242" y="141"/>
                    </a:lnTo>
                    <a:lnTo>
                      <a:pt x="244" y="140"/>
                    </a:lnTo>
                    <a:lnTo>
                      <a:pt x="244" y="138"/>
                    </a:lnTo>
                    <a:lnTo>
                      <a:pt x="245" y="138"/>
                    </a:lnTo>
                    <a:lnTo>
                      <a:pt x="247" y="138"/>
                    </a:lnTo>
                    <a:lnTo>
                      <a:pt x="247" y="137"/>
                    </a:lnTo>
                    <a:lnTo>
                      <a:pt x="245" y="137"/>
                    </a:lnTo>
                    <a:lnTo>
                      <a:pt x="244" y="137"/>
                    </a:lnTo>
                    <a:lnTo>
                      <a:pt x="244" y="135"/>
                    </a:lnTo>
                    <a:lnTo>
                      <a:pt x="244" y="133"/>
                    </a:lnTo>
                    <a:lnTo>
                      <a:pt x="245" y="132"/>
                    </a:lnTo>
                    <a:lnTo>
                      <a:pt x="247" y="130"/>
                    </a:lnTo>
                    <a:lnTo>
                      <a:pt x="247" y="129"/>
                    </a:lnTo>
                    <a:lnTo>
                      <a:pt x="247" y="127"/>
                    </a:lnTo>
                    <a:lnTo>
                      <a:pt x="244" y="126"/>
                    </a:lnTo>
                    <a:lnTo>
                      <a:pt x="244" y="124"/>
                    </a:lnTo>
                    <a:lnTo>
                      <a:pt x="245" y="124"/>
                    </a:lnTo>
                    <a:lnTo>
                      <a:pt x="247" y="124"/>
                    </a:lnTo>
                    <a:lnTo>
                      <a:pt x="247" y="126"/>
                    </a:lnTo>
                    <a:lnTo>
                      <a:pt x="249" y="127"/>
                    </a:lnTo>
                    <a:lnTo>
                      <a:pt x="249" y="129"/>
                    </a:lnTo>
                    <a:lnTo>
                      <a:pt x="250" y="127"/>
                    </a:lnTo>
                    <a:lnTo>
                      <a:pt x="250" y="126"/>
                    </a:lnTo>
                    <a:lnTo>
                      <a:pt x="250" y="124"/>
                    </a:lnTo>
                    <a:lnTo>
                      <a:pt x="249" y="124"/>
                    </a:lnTo>
                    <a:lnTo>
                      <a:pt x="247" y="122"/>
                    </a:lnTo>
                    <a:lnTo>
                      <a:pt x="247" y="121"/>
                    </a:lnTo>
                    <a:lnTo>
                      <a:pt x="249" y="119"/>
                    </a:lnTo>
                    <a:lnTo>
                      <a:pt x="250" y="119"/>
                    </a:lnTo>
                    <a:lnTo>
                      <a:pt x="252" y="119"/>
                    </a:lnTo>
                    <a:lnTo>
                      <a:pt x="253" y="119"/>
                    </a:lnTo>
                    <a:lnTo>
                      <a:pt x="253" y="121"/>
                    </a:lnTo>
                    <a:lnTo>
                      <a:pt x="253" y="122"/>
                    </a:lnTo>
                    <a:lnTo>
                      <a:pt x="255" y="124"/>
                    </a:lnTo>
                    <a:lnTo>
                      <a:pt x="257" y="126"/>
                    </a:lnTo>
                    <a:lnTo>
                      <a:pt x="257" y="127"/>
                    </a:lnTo>
                    <a:lnTo>
                      <a:pt x="257" y="130"/>
                    </a:lnTo>
                    <a:lnTo>
                      <a:pt x="257" y="132"/>
                    </a:lnTo>
                    <a:lnTo>
                      <a:pt x="257" y="133"/>
                    </a:lnTo>
                    <a:lnTo>
                      <a:pt x="257" y="135"/>
                    </a:lnTo>
                    <a:lnTo>
                      <a:pt x="257" y="137"/>
                    </a:lnTo>
                    <a:lnTo>
                      <a:pt x="257" y="138"/>
                    </a:lnTo>
                    <a:lnTo>
                      <a:pt x="257" y="140"/>
                    </a:lnTo>
                    <a:lnTo>
                      <a:pt x="257" y="143"/>
                    </a:lnTo>
                    <a:lnTo>
                      <a:pt x="257" y="145"/>
                    </a:lnTo>
                    <a:lnTo>
                      <a:pt x="257" y="146"/>
                    </a:lnTo>
                    <a:lnTo>
                      <a:pt x="257" y="149"/>
                    </a:lnTo>
                    <a:lnTo>
                      <a:pt x="257" y="151"/>
                    </a:lnTo>
                    <a:lnTo>
                      <a:pt x="257" y="152"/>
                    </a:lnTo>
                    <a:lnTo>
                      <a:pt x="258" y="152"/>
                    </a:lnTo>
                    <a:lnTo>
                      <a:pt x="258" y="154"/>
                    </a:lnTo>
                    <a:lnTo>
                      <a:pt x="260" y="154"/>
                    </a:lnTo>
                    <a:lnTo>
                      <a:pt x="260" y="156"/>
                    </a:lnTo>
                    <a:lnTo>
                      <a:pt x="260" y="157"/>
                    </a:lnTo>
                    <a:lnTo>
                      <a:pt x="260" y="159"/>
                    </a:lnTo>
                    <a:lnTo>
                      <a:pt x="260" y="160"/>
                    </a:lnTo>
                    <a:lnTo>
                      <a:pt x="261" y="160"/>
                    </a:lnTo>
                    <a:lnTo>
                      <a:pt x="263" y="162"/>
                    </a:lnTo>
                    <a:lnTo>
                      <a:pt x="265" y="162"/>
                    </a:lnTo>
                    <a:lnTo>
                      <a:pt x="265" y="164"/>
                    </a:lnTo>
                    <a:lnTo>
                      <a:pt x="266" y="164"/>
                    </a:lnTo>
                    <a:lnTo>
                      <a:pt x="266" y="165"/>
                    </a:lnTo>
                    <a:lnTo>
                      <a:pt x="268" y="165"/>
                    </a:lnTo>
                    <a:lnTo>
                      <a:pt x="269" y="167"/>
                    </a:lnTo>
                    <a:lnTo>
                      <a:pt x="269" y="168"/>
                    </a:lnTo>
                    <a:lnTo>
                      <a:pt x="271" y="168"/>
                    </a:lnTo>
                    <a:lnTo>
                      <a:pt x="271" y="170"/>
                    </a:lnTo>
                    <a:lnTo>
                      <a:pt x="272" y="170"/>
                    </a:lnTo>
                    <a:lnTo>
                      <a:pt x="274" y="170"/>
                    </a:lnTo>
                    <a:lnTo>
                      <a:pt x="274" y="171"/>
                    </a:lnTo>
                    <a:lnTo>
                      <a:pt x="276" y="175"/>
                    </a:lnTo>
                    <a:lnTo>
                      <a:pt x="277" y="176"/>
                    </a:lnTo>
                    <a:lnTo>
                      <a:pt x="277" y="178"/>
                    </a:lnTo>
                    <a:lnTo>
                      <a:pt x="279" y="179"/>
                    </a:lnTo>
                    <a:lnTo>
                      <a:pt x="279" y="181"/>
                    </a:lnTo>
                    <a:lnTo>
                      <a:pt x="280" y="184"/>
                    </a:lnTo>
                    <a:lnTo>
                      <a:pt x="280" y="186"/>
                    </a:lnTo>
                    <a:lnTo>
                      <a:pt x="280" y="189"/>
                    </a:lnTo>
                    <a:lnTo>
                      <a:pt x="280" y="192"/>
                    </a:lnTo>
                    <a:lnTo>
                      <a:pt x="280" y="194"/>
                    </a:lnTo>
                    <a:lnTo>
                      <a:pt x="279" y="195"/>
                    </a:lnTo>
                    <a:lnTo>
                      <a:pt x="279" y="198"/>
                    </a:lnTo>
                    <a:lnTo>
                      <a:pt x="277" y="202"/>
                    </a:lnTo>
                    <a:lnTo>
                      <a:pt x="276" y="205"/>
                    </a:lnTo>
                    <a:lnTo>
                      <a:pt x="276" y="206"/>
                    </a:lnTo>
                    <a:lnTo>
                      <a:pt x="274" y="208"/>
                    </a:lnTo>
                    <a:lnTo>
                      <a:pt x="272" y="209"/>
                    </a:lnTo>
                    <a:lnTo>
                      <a:pt x="272" y="211"/>
                    </a:lnTo>
                    <a:lnTo>
                      <a:pt x="271" y="213"/>
                    </a:lnTo>
                    <a:lnTo>
                      <a:pt x="269" y="214"/>
                    </a:lnTo>
                    <a:lnTo>
                      <a:pt x="268" y="216"/>
                    </a:lnTo>
                    <a:lnTo>
                      <a:pt x="266" y="217"/>
                    </a:lnTo>
                    <a:lnTo>
                      <a:pt x="265" y="222"/>
                    </a:lnTo>
                    <a:lnTo>
                      <a:pt x="263" y="222"/>
                    </a:lnTo>
                    <a:lnTo>
                      <a:pt x="261" y="224"/>
                    </a:lnTo>
                    <a:lnTo>
                      <a:pt x="260" y="225"/>
                    </a:lnTo>
                    <a:lnTo>
                      <a:pt x="258" y="228"/>
                    </a:lnTo>
                    <a:lnTo>
                      <a:pt x="257" y="228"/>
                    </a:lnTo>
                    <a:lnTo>
                      <a:pt x="257" y="230"/>
                    </a:lnTo>
                    <a:lnTo>
                      <a:pt x="255" y="232"/>
                    </a:lnTo>
                    <a:lnTo>
                      <a:pt x="253" y="235"/>
                    </a:lnTo>
                    <a:lnTo>
                      <a:pt x="252" y="236"/>
                    </a:lnTo>
                    <a:lnTo>
                      <a:pt x="250" y="238"/>
                    </a:lnTo>
                    <a:lnTo>
                      <a:pt x="250" y="240"/>
                    </a:lnTo>
                    <a:lnTo>
                      <a:pt x="250" y="241"/>
                    </a:lnTo>
                    <a:lnTo>
                      <a:pt x="250" y="243"/>
                    </a:lnTo>
                    <a:lnTo>
                      <a:pt x="250" y="244"/>
                    </a:lnTo>
                    <a:lnTo>
                      <a:pt x="252" y="246"/>
                    </a:lnTo>
                    <a:lnTo>
                      <a:pt x="252" y="247"/>
                    </a:lnTo>
                    <a:lnTo>
                      <a:pt x="252" y="249"/>
                    </a:lnTo>
                    <a:lnTo>
                      <a:pt x="253" y="249"/>
                    </a:lnTo>
                    <a:lnTo>
                      <a:pt x="253" y="251"/>
                    </a:lnTo>
                    <a:lnTo>
                      <a:pt x="255" y="252"/>
                    </a:lnTo>
                    <a:lnTo>
                      <a:pt x="257" y="254"/>
                    </a:lnTo>
                    <a:lnTo>
                      <a:pt x="258" y="254"/>
                    </a:lnTo>
                    <a:lnTo>
                      <a:pt x="261" y="254"/>
                    </a:lnTo>
                    <a:lnTo>
                      <a:pt x="263" y="254"/>
                    </a:lnTo>
                    <a:lnTo>
                      <a:pt x="266" y="254"/>
                    </a:lnTo>
                    <a:lnTo>
                      <a:pt x="268" y="255"/>
                    </a:lnTo>
                    <a:lnTo>
                      <a:pt x="269" y="255"/>
                    </a:lnTo>
                    <a:lnTo>
                      <a:pt x="272" y="254"/>
                    </a:lnTo>
                    <a:lnTo>
                      <a:pt x="274" y="254"/>
                    </a:lnTo>
                    <a:lnTo>
                      <a:pt x="277" y="254"/>
                    </a:lnTo>
                    <a:lnTo>
                      <a:pt x="279" y="252"/>
                    </a:lnTo>
                    <a:lnTo>
                      <a:pt x="282" y="252"/>
                    </a:lnTo>
                    <a:lnTo>
                      <a:pt x="284" y="251"/>
                    </a:lnTo>
                    <a:lnTo>
                      <a:pt x="285" y="251"/>
                    </a:lnTo>
                    <a:lnTo>
                      <a:pt x="288" y="249"/>
                    </a:lnTo>
                    <a:lnTo>
                      <a:pt x="290" y="247"/>
                    </a:lnTo>
                    <a:lnTo>
                      <a:pt x="293" y="246"/>
                    </a:lnTo>
                    <a:lnTo>
                      <a:pt x="295" y="246"/>
                    </a:lnTo>
                    <a:lnTo>
                      <a:pt x="298" y="243"/>
                    </a:lnTo>
                    <a:lnTo>
                      <a:pt x="299" y="243"/>
                    </a:lnTo>
                    <a:lnTo>
                      <a:pt x="303" y="240"/>
                    </a:lnTo>
                    <a:lnTo>
                      <a:pt x="306" y="238"/>
                    </a:lnTo>
                    <a:lnTo>
                      <a:pt x="307" y="236"/>
                    </a:lnTo>
                    <a:lnTo>
                      <a:pt x="310" y="235"/>
                    </a:lnTo>
                    <a:lnTo>
                      <a:pt x="314" y="233"/>
                    </a:lnTo>
                    <a:lnTo>
                      <a:pt x="315" y="232"/>
                    </a:lnTo>
                    <a:lnTo>
                      <a:pt x="318" y="230"/>
                    </a:lnTo>
                    <a:lnTo>
                      <a:pt x="320" y="228"/>
                    </a:lnTo>
                    <a:lnTo>
                      <a:pt x="323" y="227"/>
                    </a:lnTo>
                    <a:lnTo>
                      <a:pt x="325" y="224"/>
                    </a:lnTo>
                    <a:lnTo>
                      <a:pt x="328" y="222"/>
                    </a:lnTo>
                    <a:lnTo>
                      <a:pt x="329" y="221"/>
                    </a:lnTo>
                    <a:lnTo>
                      <a:pt x="333" y="219"/>
                    </a:lnTo>
                    <a:lnTo>
                      <a:pt x="334" y="216"/>
                    </a:lnTo>
                    <a:lnTo>
                      <a:pt x="337" y="214"/>
                    </a:lnTo>
                    <a:lnTo>
                      <a:pt x="339" y="213"/>
                    </a:lnTo>
                    <a:lnTo>
                      <a:pt x="342" y="209"/>
                    </a:lnTo>
                    <a:lnTo>
                      <a:pt x="344" y="208"/>
                    </a:lnTo>
                    <a:lnTo>
                      <a:pt x="345" y="206"/>
                    </a:lnTo>
                    <a:lnTo>
                      <a:pt x="347" y="203"/>
                    </a:lnTo>
                    <a:lnTo>
                      <a:pt x="350" y="202"/>
                    </a:lnTo>
                    <a:lnTo>
                      <a:pt x="352" y="200"/>
                    </a:lnTo>
                    <a:lnTo>
                      <a:pt x="353" y="197"/>
                    </a:lnTo>
                    <a:lnTo>
                      <a:pt x="355" y="195"/>
                    </a:lnTo>
                    <a:lnTo>
                      <a:pt x="356" y="192"/>
                    </a:lnTo>
                    <a:lnTo>
                      <a:pt x="358" y="189"/>
                    </a:lnTo>
                    <a:lnTo>
                      <a:pt x="360" y="186"/>
                    </a:lnTo>
                    <a:lnTo>
                      <a:pt x="361" y="183"/>
                    </a:lnTo>
                    <a:lnTo>
                      <a:pt x="363" y="183"/>
                    </a:lnTo>
                    <a:lnTo>
                      <a:pt x="364" y="181"/>
                    </a:lnTo>
                    <a:lnTo>
                      <a:pt x="367" y="179"/>
                    </a:lnTo>
                    <a:lnTo>
                      <a:pt x="369" y="179"/>
                    </a:lnTo>
                    <a:lnTo>
                      <a:pt x="372" y="176"/>
                    </a:lnTo>
                    <a:lnTo>
                      <a:pt x="375" y="175"/>
                    </a:lnTo>
                    <a:lnTo>
                      <a:pt x="379" y="173"/>
                    </a:lnTo>
                    <a:lnTo>
                      <a:pt x="380" y="171"/>
                    </a:lnTo>
                    <a:lnTo>
                      <a:pt x="382" y="170"/>
                    </a:lnTo>
                    <a:lnTo>
                      <a:pt x="385" y="167"/>
                    </a:lnTo>
                    <a:lnTo>
                      <a:pt x="388" y="167"/>
                    </a:lnTo>
                    <a:lnTo>
                      <a:pt x="390" y="165"/>
                    </a:lnTo>
                    <a:lnTo>
                      <a:pt x="391" y="164"/>
                    </a:lnTo>
                    <a:lnTo>
                      <a:pt x="393" y="162"/>
                    </a:lnTo>
                    <a:lnTo>
                      <a:pt x="398" y="159"/>
                    </a:lnTo>
                    <a:lnTo>
                      <a:pt x="401" y="157"/>
                    </a:lnTo>
                    <a:lnTo>
                      <a:pt x="404" y="156"/>
                    </a:lnTo>
                    <a:lnTo>
                      <a:pt x="409" y="154"/>
                    </a:lnTo>
                    <a:lnTo>
                      <a:pt x="412" y="152"/>
                    </a:lnTo>
                    <a:lnTo>
                      <a:pt x="415" y="151"/>
                    </a:lnTo>
                    <a:lnTo>
                      <a:pt x="418" y="148"/>
                    </a:lnTo>
                    <a:lnTo>
                      <a:pt x="420" y="148"/>
                    </a:lnTo>
                    <a:lnTo>
                      <a:pt x="421" y="146"/>
                    </a:lnTo>
                    <a:lnTo>
                      <a:pt x="423" y="146"/>
                    </a:lnTo>
                    <a:lnTo>
                      <a:pt x="423" y="145"/>
                    </a:lnTo>
                    <a:lnTo>
                      <a:pt x="429" y="137"/>
                    </a:lnTo>
                    <a:lnTo>
                      <a:pt x="440" y="132"/>
                    </a:lnTo>
                    <a:lnTo>
                      <a:pt x="455" y="127"/>
                    </a:lnTo>
                    <a:lnTo>
                      <a:pt x="461" y="124"/>
                    </a:lnTo>
                    <a:lnTo>
                      <a:pt x="467" y="122"/>
                    </a:lnTo>
                    <a:lnTo>
                      <a:pt x="469" y="124"/>
                    </a:lnTo>
                    <a:lnTo>
                      <a:pt x="467" y="124"/>
                    </a:lnTo>
                    <a:lnTo>
                      <a:pt x="467" y="126"/>
                    </a:lnTo>
                    <a:lnTo>
                      <a:pt x="467" y="127"/>
                    </a:lnTo>
                    <a:lnTo>
                      <a:pt x="467" y="129"/>
                    </a:lnTo>
                    <a:lnTo>
                      <a:pt x="467" y="130"/>
                    </a:lnTo>
                    <a:lnTo>
                      <a:pt x="467" y="132"/>
                    </a:lnTo>
                    <a:lnTo>
                      <a:pt x="466" y="133"/>
                    </a:lnTo>
                    <a:lnTo>
                      <a:pt x="466" y="135"/>
                    </a:lnTo>
                    <a:lnTo>
                      <a:pt x="466" y="137"/>
                    </a:lnTo>
                    <a:lnTo>
                      <a:pt x="463" y="140"/>
                    </a:lnTo>
                    <a:lnTo>
                      <a:pt x="461" y="141"/>
                    </a:lnTo>
                    <a:lnTo>
                      <a:pt x="461" y="143"/>
                    </a:lnTo>
                    <a:lnTo>
                      <a:pt x="461" y="145"/>
                    </a:lnTo>
                    <a:lnTo>
                      <a:pt x="461" y="146"/>
                    </a:lnTo>
                    <a:lnTo>
                      <a:pt x="463" y="149"/>
                    </a:lnTo>
                    <a:lnTo>
                      <a:pt x="463" y="151"/>
                    </a:lnTo>
                    <a:lnTo>
                      <a:pt x="461" y="151"/>
                    </a:lnTo>
                    <a:lnTo>
                      <a:pt x="461" y="152"/>
                    </a:lnTo>
                    <a:lnTo>
                      <a:pt x="458" y="154"/>
                    </a:lnTo>
                    <a:lnTo>
                      <a:pt x="458" y="156"/>
                    </a:lnTo>
                    <a:lnTo>
                      <a:pt x="456" y="157"/>
                    </a:lnTo>
                    <a:lnTo>
                      <a:pt x="456" y="159"/>
                    </a:lnTo>
                    <a:lnTo>
                      <a:pt x="456" y="160"/>
                    </a:lnTo>
                    <a:lnTo>
                      <a:pt x="456" y="162"/>
                    </a:lnTo>
                    <a:lnTo>
                      <a:pt x="456" y="164"/>
                    </a:lnTo>
                    <a:lnTo>
                      <a:pt x="453" y="167"/>
                    </a:lnTo>
                    <a:lnTo>
                      <a:pt x="453" y="168"/>
                    </a:lnTo>
                    <a:lnTo>
                      <a:pt x="451" y="170"/>
                    </a:lnTo>
                    <a:lnTo>
                      <a:pt x="451" y="171"/>
                    </a:lnTo>
                    <a:lnTo>
                      <a:pt x="451" y="173"/>
                    </a:lnTo>
                    <a:lnTo>
                      <a:pt x="450" y="173"/>
                    </a:lnTo>
                    <a:lnTo>
                      <a:pt x="450" y="175"/>
                    </a:lnTo>
                    <a:lnTo>
                      <a:pt x="448" y="176"/>
                    </a:lnTo>
                    <a:lnTo>
                      <a:pt x="445" y="179"/>
                    </a:lnTo>
                    <a:lnTo>
                      <a:pt x="443" y="179"/>
                    </a:lnTo>
                    <a:lnTo>
                      <a:pt x="443" y="181"/>
                    </a:lnTo>
                    <a:lnTo>
                      <a:pt x="442" y="181"/>
                    </a:lnTo>
                    <a:lnTo>
                      <a:pt x="440" y="181"/>
                    </a:lnTo>
                    <a:lnTo>
                      <a:pt x="440" y="183"/>
                    </a:lnTo>
                    <a:lnTo>
                      <a:pt x="439" y="183"/>
                    </a:lnTo>
                    <a:lnTo>
                      <a:pt x="437" y="184"/>
                    </a:lnTo>
                    <a:lnTo>
                      <a:pt x="436" y="186"/>
                    </a:lnTo>
                    <a:lnTo>
                      <a:pt x="436" y="187"/>
                    </a:lnTo>
                    <a:lnTo>
                      <a:pt x="436" y="189"/>
                    </a:lnTo>
                    <a:lnTo>
                      <a:pt x="436" y="190"/>
                    </a:lnTo>
                    <a:lnTo>
                      <a:pt x="436" y="192"/>
                    </a:lnTo>
                    <a:lnTo>
                      <a:pt x="436" y="194"/>
                    </a:lnTo>
                    <a:lnTo>
                      <a:pt x="436" y="195"/>
                    </a:lnTo>
                    <a:lnTo>
                      <a:pt x="434" y="197"/>
                    </a:lnTo>
                    <a:lnTo>
                      <a:pt x="432" y="198"/>
                    </a:lnTo>
                    <a:lnTo>
                      <a:pt x="431" y="198"/>
                    </a:lnTo>
                    <a:lnTo>
                      <a:pt x="429" y="198"/>
                    </a:lnTo>
                    <a:lnTo>
                      <a:pt x="428" y="198"/>
                    </a:lnTo>
                    <a:lnTo>
                      <a:pt x="426" y="200"/>
                    </a:lnTo>
                    <a:lnTo>
                      <a:pt x="426" y="202"/>
                    </a:lnTo>
                    <a:lnTo>
                      <a:pt x="426" y="203"/>
                    </a:lnTo>
                    <a:lnTo>
                      <a:pt x="426" y="205"/>
                    </a:lnTo>
                    <a:lnTo>
                      <a:pt x="424" y="205"/>
                    </a:lnTo>
                    <a:lnTo>
                      <a:pt x="424" y="206"/>
                    </a:lnTo>
                    <a:lnTo>
                      <a:pt x="423" y="208"/>
                    </a:lnTo>
                    <a:lnTo>
                      <a:pt x="423" y="209"/>
                    </a:lnTo>
                    <a:lnTo>
                      <a:pt x="421" y="209"/>
                    </a:lnTo>
                    <a:lnTo>
                      <a:pt x="420" y="208"/>
                    </a:lnTo>
                    <a:lnTo>
                      <a:pt x="418" y="206"/>
                    </a:lnTo>
                    <a:lnTo>
                      <a:pt x="417" y="206"/>
                    </a:lnTo>
                    <a:lnTo>
                      <a:pt x="415" y="208"/>
                    </a:lnTo>
                    <a:lnTo>
                      <a:pt x="413" y="209"/>
                    </a:lnTo>
                    <a:lnTo>
                      <a:pt x="413" y="211"/>
                    </a:lnTo>
                    <a:lnTo>
                      <a:pt x="415" y="213"/>
                    </a:lnTo>
                    <a:lnTo>
                      <a:pt x="415" y="214"/>
                    </a:lnTo>
                    <a:lnTo>
                      <a:pt x="415" y="216"/>
                    </a:lnTo>
                    <a:lnTo>
                      <a:pt x="417" y="217"/>
                    </a:lnTo>
                    <a:lnTo>
                      <a:pt x="417" y="219"/>
                    </a:lnTo>
                    <a:lnTo>
                      <a:pt x="415" y="219"/>
                    </a:lnTo>
                    <a:lnTo>
                      <a:pt x="413" y="217"/>
                    </a:lnTo>
                    <a:lnTo>
                      <a:pt x="412" y="216"/>
                    </a:lnTo>
                    <a:lnTo>
                      <a:pt x="412" y="217"/>
                    </a:lnTo>
                    <a:lnTo>
                      <a:pt x="410" y="217"/>
                    </a:lnTo>
                    <a:lnTo>
                      <a:pt x="409" y="219"/>
                    </a:lnTo>
                    <a:lnTo>
                      <a:pt x="409" y="217"/>
                    </a:lnTo>
                    <a:lnTo>
                      <a:pt x="407" y="219"/>
                    </a:lnTo>
                    <a:lnTo>
                      <a:pt x="405" y="219"/>
                    </a:lnTo>
                    <a:lnTo>
                      <a:pt x="404" y="221"/>
                    </a:lnTo>
                    <a:lnTo>
                      <a:pt x="402" y="222"/>
                    </a:lnTo>
                    <a:lnTo>
                      <a:pt x="401" y="224"/>
                    </a:lnTo>
                    <a:lnTo>
                      <a:pt x="399" y="225"/>
                    </a:lnTo>
                    <a:lnTo>
                      <a:pt x="399" y="227"/>
                    </a:lnTo>
                    <a:lnTo>
                      <a:pt x="398" y="227"/>
                    </a:lnTo>
                    <a:lnTo>
                      <a:pt x="396" y="227"/>
                    </a:lnTo>
                    <a:lnTo>
                      <a:pt x="394" y="227"/>
                    </a:lnTo>
                    <a:lnTo>
                      <a:pt x="393" y="227"/>
                    </a:lnTo>
                    <a:lnTo>
                      <a:pt x="393" y="228"/>
                    </a:lnTo>
                    <a:lnTo>
                      <a:pt x="391" y="228"/>
                    </a:lnTo>
                    <a:lnTo>
                      <a:pt x="391" y="230"/>
                    </a:lnTo>
                    <a:lnTo>
                      <a:pt x="391" y="232"/>
                    </a:lnTo>
                    <a:lnTo>
                      <a:pt x="390" y="233"/>
                    </a:lnTo>
                    <a:lnTo>
                      <a:pt x="388" y="233"/>
                    </a:lnTo>
                    <a:lnTo>
                      <a:pt x="386" y="233"/>
                    </a:lnTo>
                    <a:lnTo>
                      <a:pt x="385" y="233"/>
                    </a:lnTo>
                    <a:lnTo>
                      <a:pt x="383" y="233"/>
                    </a:lnTo>
                    <a:lnTo>
                      <a:pt x="383" y="235"/>
                    </a:lnTo>
                    <a:lnTo>
                      <a:pt x="385" y="236"/>
                    </a:lnTo>
                    <a:lnTo>
                      <a:pt x="385" y="238"/>
                    </a:lnTo>
                    <a:lnTo>
                      <a:pt x="383" y="240"/>
                    </a:lnTo>
                    <a:lnTo>
                      <a:pt x="383" y="243"/>
                    </a:lnTo>
                    <a:lnTo>
                      <a:pt x="382" y="244"/>
                    </a:lnTo>
                    <a:lnTo>
                      <a:pt x="380" y="244"/>
                    </a:lnTo>
                    <a:lnTo>
                      <a:pt x="380" y="246"/>
                    </a:lnTo>
                    <a:lnTo>
                      <a:pt x="383" y="247"/>
                    </a:lnTo>
                    <a:lnTo>
                      <a:pt x="383" y="249"/>
                    </a:lnTo>
                    <a:lnTo>
                      <a:pt x="382" y="249"/>
                    </a:lnTo>
                    <a:lnTo>
                      <a:pt x="380" y="251"/>
                    </a:lnTo>
                    <a:lnTo>
                      <a:pt x="380" y="252"/>
                    </a:lnTo>
                    <a:lnTo>
                      <a:pt x="379" y="252"/>
                    </a:lnTo>
                    <a:lnTo>
                      <a:pt x="379" y="254"/>
                    </a:lnTo>
                    <a:lnTo>
                      <a:pt x="379" y="255"/>
                    </a:lnTo>
                    <a:lnTo>
                      <a:pt x="380" y="257"/>
                    </a:lnTo>
                    <a:lnTo>
                      <a:pt x="380" y="259"/>
                    </a:lnTo>
                    <a:lnTo>
                      <a:pt x="382" y="259"/>
                    </a:lnTo>
                    <a:lnTo>
                      <a:pt x="382" y="262"/>
                    </a:lnTo>
                    <a:lnTo>
                      <a:pt x="383" y="265"/>
                    </a:lnTo>
                    <a:lnTo>
                      <a:pt x="382" y="266"/>
                    </a:lnTo>
                    <a:lnTo>
                      <a:pt x="383" y="268"/>
                    </a:lnTo>
                    <a:lnTo>
                      <a:pt x="383" y="270"/>
                    </a:lnTo>
                    <a:lnTo>
                      <a:pt x="383" y="271"/>
                    </a:lnTo>
                    <a:lnTo>
                      <a:pt x="383" y="273"/>
                    </a:lnTo>
                    <a:lnTo>
                      <a:pt x="382" y="274"/>
                    </a:lnTo>
                    <a:lnTo>
                      <a:pt x="382" y="276"/>
                    </a:lnTo>
                    <a:lnTo>
                      <a:pt x="382" y="278"/>
                    </a:lnTo>
                    <a:lnTo>
                      <a:pt x="380" y="279"/>
                    </a:lnTo>
                    <a:lnTo>
                      <a:pt x="379" y="279"/>
                    </a:lnTo>
                    <a:lnTo>
                      <a:pt x="379" y="281"/>
                    </a:lnTo>
                    <a:lnTo>
                      <a:pt x="377" y="282"/>
                    </a:lnTo>
                    <a:lnTo>
                      <a:pt x="377" y="284"/>
                    </a:lnTo>
                    <a:lnTo>
                      <a:pt x="379" y="284"/>
                    </a:lnTo>
                    <a:lnTo>
                      <a:pt x="380" y="284"/>
                    </a:lnTo>
                    <a:lnTo>
                      <a:pt x="380" y="286"/>
                    </a:lnTo>
                    <a:lnTo>
                      <a:pt x="380" y="287"/>
                    </a:lnTo>
                    <a:lnTo>
                      <a:pt x="380" y="289"/>
                    </a:lnTo>
                    <a:lnTo>
                      <a:pt x="380" y="290"/>
                    </a:lnTo>
                    <a:lnTo>
                      <a:pt x="380" y="292"/>
                    </a:lnTo>
                    <a:lnTo>
                      <a:pt x="379" y="293"/>
                    </a:lnTo>
                    <a:lnTo>
                      <a:pt x="379" y="295"/>
                    </a:lnTo>
                    <a:lnTo>
                      <a:pt x="380" y="297"/>
                    </a:lnTo>
                    <a:lnTo>
                      <a:pt x="382" y="297"/>
                    </a:lnTo>
                    <a:lnTo>
                      <a:pt x="382" y="295"/>
                    </a:lnTo>
                    <a:lnTo>
                      <a:pt x="383" y="297"/>
                    </a:lnTo>
                    <a:lnTo>
                      <a:pt x="385" y="297"/>
                    </a:lnTo>
                    <a:lnTo>
                      <a:pt x="385" y="298"/>
                    </a:lnTo>
                    <a:lnTo>
                      <a:pt x="386" y="298"/>
                    </a:lnTo>
                    <a:lnTo>
                      <a:pt x="386" y="300"/>
                    </a:lnTo>
                    <a:lnTo>
                      <a:pt x="386" y="301"/>
                    </a:lnTo>
                    <a:lnTo>
                      <a:pt x="386" y="303"/>
                    </a:lnTo>
                    <a:lnTo>
                      <a:pt x="385" y="303"/>
                    </a:lnTo>
                    <a:lnTo>
                      <a:pt x="383" y="303"/>
                    </a:lnTo>
                    <a:lnTo>
                      <a:pt x="382" y="303"/>
                    </a:lnTo>
                    <a:lnTo>
                      <a:pt x="382" y="305"/>
                    </a:lnTo>
                    <a:lnTo>
                      <a:pt x="383" y="306"/>
                    </a:lnTo>
                    <a:lnTo>
                      <a:pt x="382" y="308"/>
                    </a:lnTo>
                    <a:lnTo>
                      <a:pt x="382" y="309"/>
                    </a:lnTo>
                    <a:lnTo>
                      <a:pt x="380" y="309"/>
                    </a:lnTo>
                    <a:lnTo>
                      <a:pt x="379" y="311"/>
                    </a:lnTo>
                    <a:lnTo>
                      <a:pt x="379" y="312"/>
                    </a:lnTo>
                    <a:lnTo>
                      <a:pt x="380" y="314"/>
                    </a:lnTo>
                    <a:lnTo>
                      <a:pt x="380" y="316"/>
                    </a:lnTo>
                    <a:lnTo>
                      <a:pt x="379" y="317"/>
                    </a:lnTo>
                    <a:lnTo>
                      <a:pt x="379" y="319"/>
                    </a:lnTo>
                    <a:lnTo>
                      <a:pt x="380" y="320"/>
                    </a:lnTo>
                    <a:lnTo>
                      <a:pt x="380" y="322"/>
                    </a:lnTo>
                    <a:lnTo>
                      <a:pt x="382" y="324"/>
                    </a:lnTo>
                    <a:lnTo>
                      <a:pt x="383" y="324"/>
                    </a:lnTo>
                    <a:lnTo>
                      <a:pt x="385" y="324"/>
                    </a:lnTo>
                    <a:lnTo>
                      <a:pt x="386" y="325"/>
                    </a:lnTo>
                    <a:lnTo>
                      <a:pt x="388" y="325"/>
                    </a:lnTo>
                    <a:lnTo>
                      <a:pt x="390" y="327"/>
                    </a:lnTo>
                    <a:lnTo>
                      <a:pt x="391" y="327"/>
                    </a:lnTo>
                    <a:lnTo>
                      <a:pt x="393" y="327"/>
                    </a:lnTo>
                    <a:lnTo>
                      <a:pt x="394" y="328"/>
                    </a:lnTo>
                    <a:lnTo>
                      <a:pt x="396" y="328"/>
                    </a:lnTo>
                    <a:lnTo>
                      <a:pt x="396" y="330"/>
                    </a:lnTo>
                    <a:lnTo>
                      <a:pt x="398" y="330"/>
                    </a:lnTo>
                    <a:lnTo>
                      <a:pt x="399" y="331"/>
                    </a:lnTo>
                    <a:lnTo>
                      <a:pt x="401" y="331"/>
                    </a:lnTo>
                    <a:lnTo>
                      <a:pt x="402" y="331"/>
                    </a:lnTo>
                    <a:lnTo>
                      <a:pt x="402" y="333"/>
                    </a:lnTo>
                    <a:lnTo>
                      <a:pt x="404" y="333"/>
                    </a:lnTo>
                    <a:lnTo>
                      <a:pt x="405" y="333"/>
                    </a:lnTo>
                    <a:lnTo>
                      <a:pt x="405" y="335"/>
                    </a:lnTo>
                    <a:lnTo>
                      <a:pt x="409" y="335"/>
                    </a:lnTo>
                    <a:lnTo>
                      <a:pt x="412" y="336"/>
                    </a:lnTo>
                    <a:lnTo>
                      <a:pt x="413" y="338"/>
                    </a:lnTo>
                    <a:lnTo>
                      <a:pt x="415" y="338"/>
                    </a:lnTo>
                    <a:lnTo>
                      <a:pt x="417" y="338"/>
                    </a:lnTo>
                    <a:lnTo>
                      <a:pt x="418" y="338"/>
                    </a:lnTo>
                    <a:lnTo>
                      <a:pt x="420" y="339"/>
                    </a:lnTo>
                    <a:lnTo>
                      <a:pt x="421" y="339"/>
                    </a:lnTo>
                    <a:lnTo>
                      <a:pt x="423" y="341"/>
                    </a:lnTo>
                    <a:lnTo>
                      <a:pt x="424" y="343"/>
                    </a:lnTo>
                    <a:lnTo>
                      <a:pt x="428" y="343"/>
                    </a:lnTo>
                    <a:lnTo>
                      <a:pt x="429" y="343"/>
                    </a:lnTo>
                    <a:lnTo>
                      <a:pt x="431" y="344"/>
                    </a:lnTo>
                    <a:lnTo>
                      <a:pt x="432" y="344"/>
                    </a:lnTo>
                    <a:lnTo>
                      <a:pt x="434" y="346"/>
                    </a:lnTo>
                    <a:lnTo>
                      <a:pt x="436" y="347"/>
                    </a:lnTo>
                    <a:lnTo>
                      <a:pt x="437" y="349"/>
                    </a:lnTo>
                    <a:lnTo>
                      <a:pt x="439" y="349"/>
                    </a:lnTo>
                    <a:lnTo>
                      <a:pt x="439" y="350"/>
                    </a:lnTo>
                    <a:lnTo>
                      <a:pt x="440" y="350"/>
                    </a:lnTo>
                    <a:lnTo>
                      <a:pt x="442" y="352"/>
                    </a:lnTo>
                    <a:lnTo>
                      <a:pt x="443" y="352"/>
                    </a:lnTo>
                    <a:lnTo>
                      <a:pt x="445" y="352"/>
                    </a:lnTo>
                    <a:lnTo>
                      <a:pt x="447" y="352"/>
                    </a:lnTo>
                    <a:lnTo>
                      <a:pt x="450" y="354"/>
                    </a:lnTo>
                    <a:lnTo>
                      <a:pt x="451" y="354"/>
                    </a:lnTo>
                    <a:lnTo>
                      <a:pt x="453" y="354"/>
                    </a:lnTo>
                    <a:lnTo>
                      <a:pt x="456" y="355"/>
                    </a:lnTo>
                    <a:lnTo>
                      <a:pt x="459" y="357"/>
                    </a:lnTo>
                    <a:lnTo>
                      <a:pt x="461" y="357"/>
                    </a:lnTo>
                    <a:lnTo>
                      <a:pt x="464" y="358"/>
                    </a:lnTo>
                    <a:lnTo>
                      <a:pt x="466" y="358"/>
                    </a:lnTo>
                    <a:lnTo>
                      <a:pt x="467" y="358"/>
                    </a:lnTo>
                    <a:lnTo>
                      <a:pt x="469" y="360"/>
                    </a:lnTo>
                    <a:lnTo>
                      <a:pt x="470" y="360"/>
                    </a:lnTo>
                    <a:lnTo>
                      <a:pt x="474" y="362"/>
                    </a:lnTo>
                    <a:lnTo>
                      <a:pt x="475" y="362"/>
                    </a:lnTo>
                    <a:lnTo>
                      <a:pt x="477" y="362"/>
                    </a:lnTo>
                    <a:lnTo>
                      <a:pt x="480" y="363"/>
                    </a:lnTo>
                    <a:lnTo>
                      <a:pt x="483" y="363"/>
                    </a:lnTo>
                    <a:lnTo>
                      <a:pt x="485" y="365"/>
                    </a:lnTo>
                    <a:lnTo>
                      <a:pt x="486" y="365"/>
                    </a:lnTo>
                    <a:lnTo>
                      <a:pt x="488" y="365"/>
                    </a:lnTo>
                    <a:lnTo>
                      <a:pt x="489" y="366"/>
                    </a:lnTo>
                    <a:lnTo>
                      <a:pt x="491" y="366"/>
                    </a:lnTo>
                    <a:lnTo>
                      <a:pt x="493" y="368"/>
                    </a:lnTo>
                    <a:lnTo>
                      <a:pt x="494" y="368"/>
                    </a:lnTo>
                    <a:lnTo>
                      <a:pt x="496" y="369"/>
                    </a:lnTo>
                    <a:lnTo>
                      <a:pt x="497" y="369"/>
                    </a:lnTo>
                    <a:lnTo>
                      <a:pt x="499" y="369"/>
                    </a:lnTo>
                    <a:lnTo>
                      <a:pt x="501" y="369"/>
                    </a:lnTo>
                    <a:lnTo>
                      <a:pt x="502" y="369"/>
                    </a:lnTo>
                    <a:lnTo>
                      <a:pt x="504" y="369"/>
                    </a:lnTo>
                    <a:lnTo>
                      <a:pt x="505" y="369"/>
                    </a:lnTo>
                    <a:lnTo>
                      <a:pt x="508" y="371"/>
                    </a:lnTo>
                    <a:lnTo>
                      <a:pt x="510" y="371"/>
                    </a:lnTo>
                    <a:lnTo>
                      <a:pt x="512" y="371"/>
                    </a:lnTo>
                    <a:lnTo>
                      <a:pt x="513" y="371"/>
                    </a:lnTo>
                    <a:lnTo>
                      <a:pt x="515" y="371"/>
                    </a:lnTo>
                    <a:lnTo>
                      <a:pt x="516" y="371"/>
                    </a:lnTo>
                    <a:lnTo>
                      <a:pt x="520" y="371"/>
                    </a:lnTo>
                    <a:lnTo>
                      <a:pt x="524" y="373"/>
                    </a:lnTo>
                    <a:lnTo>
                      <a:pt x="526" y="373"/>
                    </a:lnTo>
                    <a:lnTo>
                      <a:pt x="532" y="374"/>
                    </a:lnTo>
                    <a:lnTo>
                      <a:pt x="539" y="376"/>
                    </a:lnTo>
                    <a:lnTo>
                      <a:pt x="543" y="377"/>
                    </a:lnTo>
                    <a:lnTo>
                      <a:pt x="548" y="377"/>
                    </a:lnTo>
                    <a:lnTo>
                      <a:pt x="551" y="379"/>
                    </a:lnTo>
                    <a:lnTo>
                      <a:pt x="554" y="379"/>
                    </a:lnTo>
                    <a:lnTo>
                      <a:pt x="558" y="381"/>
                    </a:lnTo>
                    <a:lnTo>
                      <a:pt x="562" y="382"/>
                    </a:lnTo>
                    <a:lnTo>
                      <a:pt x="564" y="382"/>
                    </a:lnTo>
                    <a:lnTo>
                      <a:pt x="567" y="382"/>
                    </a:lnTo>
                    <a:lnTo>
                      <a:pt x="569" y="384"/>
                    </a:lnTo>
                    <a:lnTo>
                      <a:pt x="572" y="384"/>
                    </a:lnTo>
                    <a:lnTo>
                      <a:pt x="573" y="384"/>
                    </a:lnTo>
                    <a:lnTo>
                      <a:pt x="577" y="385"/>
                    </a:lnTo>
                    <a:lnTo>
                      <a:pt x="578" y="385"/>
                    </a:lnTo>
                    <a:lnTo>
                      <a:pt x="580" y="387"/>
                    </a:lnTo>
                    <a:lnTo>
                      <a:pt x="584" y="387"/>
                    </a:lnTo>
                    <a:lnTo>
                      <a:pt x="589" y="387"/>
                    </a:lnTo>
                    <a:lnTo>
                      <a:pt x="596" y="388"/>
                    </a:lnTo>
                    <a:lnTo>
                      <a:pt x="600" y="390"/>
                    </a:lnTo>
                    <a:lnTo>
                      <a:pt x="608" y="392"/>
                    </a:lnTo>
                    <a:lnTo>
                      <a:pt x="613" y="393"/>
                    </a:lnTo>
                    <a:lnTo>
                      <a:pt x="618" y="395"/>
                    </a:lnTo>
                    <a:lnTo>
                      <a:pt x="626" y="396"/>
                    </a:lnTo>
                    <a:lnTo>
                      <a:pt x="630" y="396"/>
                    </a:lnTo>
                    <a:lnTo>
                      <a:pt x="635" y="398"/>
                    </a:lnTo>
                    <a:lnTo>
                      <a:pt x="640" y="401"/>
                    </a:lnTo>
                    <a:lnTo>
                      <a:pt x="645" y="401"/>
                    </a:lnTo>
                    <a:lnTo>
                      <a:pt x="648" y="403"/>
                    </a:lnTo>
                    <a:lnTo>
                      <a:pt x="653" y="403"/>
                    </a:lnTo>
                    <a:lnTo>
                      <a:pt x="656" y="404"/>
                    </a:lnTo>
                    <a:lnTo>
                      <a:pt x="659" y="406"/>
                    </a:lnTo>
                    <a:lnTo>
                      <a:pt x="661" y="407"/>
                    </a:lnTo>
                    <a:lnTo>
                      <a:pt x="664" y="409"/>
                    </a:lnTo>
                    <a:lnTo>
                      <a:pt x="665" y="411"/>
                    </a:lnTo>
                    <a:lnTo>
                      <a:pt x="665" y="412"/>
                    </a:lnTo>
                    <a:lnTo>
                      <a:pt x="667" y="414"/>
                    </a:lnTo>
                    <a:lnTo>
                      <a:pt x="667" y="415"/>
                    </a:lnTo>
                    <a:lnTo>
                      <a:pt x="668" y="415"/>
                    </a:lnTo>
                    <a:lnTo>
                      <a:pt x="670" y="415"/>
                    </a:lnTo>
                    <a:lnTo>
                      <a:pt x="672" y="415"/>
                    </a:lnTo>
                    <a:lnTo>
                      <a:pt x="673" y="415"/>
                    </a:lnTo>
                    <a:lnTo>
                      <a:pt x="675" y="417"/>
                    </a:lnTo>
                    <a:lnTo>
                      <a:pt x="676" y="419"/>
                    </a:lnTo>
                    <a:lnTo>
                      <a:pt x="678" y="420"/>
                    </a:lnTo>
                    <a:lnTo>
                      <a:pt x="680" y="422"/>
                    </a:lnTo>
                    <a:lnTo>
                      <a:pt x="681" y="422"/>
                    </a:lnTo>
                    <a:lnTo>
                      <a:pt x="683" y="422"/>
                    </a:lnTo>
                    <a:lnTo>
                      <a:pt x="684" y="422"/>
                    </a:lnTo>
                    <a:lnTo>
                      <a:pt x="684" y="423"/>
                    </a:lnTo>
                    <a:lnTo>
                      <a:pt x="686" y="423"/>
                    </a:lnTo>
                    <a:lnTo>
                      <a:pt x="687" y="425"/>
                    </a:lnTo>
                    <a:lnTo>
                      <a:pt x="687" y="426"/>
                    </a:lnTo>
                    <a:lnTo>
                      <a:pt x="689" y="428"/>
                    </a:lnTo>
                    <a:lnTo>
                      <a:pt x="691" y="428"/>
                    </a:lnTo>
                    <a:lnTo>
                      <a:pt x="691" y="430"/>
                    </a:lnTo>
                    <a:lnTo>
                      <a:pt x="692" y="430"/>
                    </a:lnTo>
                    <a:lnTo>
                      <a:pt x="692" y="431"/>
                    </a:lnTo>
                    <a:lnTo>
                      <a:pt x="692" y="433"/>
                    </a:lnTo>
                    <a:lnTo>
                      <a:pt x="694" y="434"/>
                    </a:lnTo>
                    <a:lnTo>
                      <a:pt x="694" y="436"/>
                    </a:lnTo>
                    <a:lnTo>
                      <a:pt x="694" y="438"/>
                    </a:lnTo>
                    <a:lnTo>
                      <a:pt x="695" y="438"/>
                    </a:lnTo>
                    <a:lnTo>
                      <a:pt x="697" y="439"/>
                    </a:lnTo>
                    <a:lnTo>
                      <a:pt x="699" y="439"/>
                    </a:lnTo>
                    <a:lnTo>
                      <a:pt x="699" y="441"/>
                    </a:lnTo>
                    <a:lnTo>
                      <a:pt x="700" y="441"/>
                    </a:lnTo>
                    <a:lnTo>
                      <a:pt x="700" y="442"/>
                    </a:lnTo>
                    <a:lnTo>
                      <a:pt x="702" y="444"/>
                    </a:lnTo>
                    <a:lnTo>
                      <a:pt x="702" y="445"/>
                    </a:lnTo>
                    <a:lnTo>
                      <a:pt x="702" y="447"/>
                    </a:lnTo>
                    <a:lnTo>
                      <a:pt x="700" y="447"/>
                    </a:lnTo>
                    <a:lnTo>
                      <a:pt x="702" y="449"/>
                    </a:lnTo>
                    <a:lnTo>
                      <a:pt x="700" y="450"/>
                    </a:lnTo>
                    <a:lnTo>
                      <a:pt x="700" y="452"/>
                    </a:lnTo>
                    <a:lnTo>
                      <a:pt x="700" y="453"/>
                    </a:lnTo>
                    <a:lnTo>
                      <a:pt x="702" y="453"/>
                    </a:lnTo>
                    <a:lnTo>
                      <a:pt x="703" y="455"/>
                    </a:lnTo>
                    <a:lnTo>
                      <a:pt x="703" y="457"/>
                    </a:lnTo>
                    <a:lnTo>
                      <a:pt x="705" y="458"/>
                    </a:lnTo>
                    <a:lnTo>
                      <a:pt x="705" y="460"/>
                    </a:lnTo>
                    <a:lnTo>
                      <a:pt x="705" y="461"/>
                    </a:lnTo>
                    <a:lnTo>
                      <a:pt x="705" y="463"/>
                    </a:lnTo>
                    <a:lnTo>
                      <a:pt x="706" y="464"/>
                    </a:lnTo>
                    <a:lnTo>
                      <a:pt x="705" y="464"/>
                    </a:lnTo>
                    <a:lnTo>
                      <a:pt x="705" y="466"/>
                    </a:lnTo>
                    <a:lnTo>
                      <a:pt x="706" y="468"/>
                    </a:lnTo>
                    <a:lnTo>
                      <a:pt x="708" y="468"/>
                    </a:lnTo>
                    <a:lnTo>
                      <a:pt x="708" y="469"/>
                    </a:lnTo>
                    <a:lnTo>
                      <a:pt x="710" y="469"/>
                    </a:lnTo>
                    <a:lnTo>
                      <a:pt x="710" y="471"/>
                    </a:lnTo>
                    <a:lnTo>
                      <a:pt x="711" y="471"/>
                    </a:lnTo>
                    <a:lnTo>
                      <a:pt x="713" y="471"/>
                    </a:lnTo>
                    <a:lnTo>
                      <a:pt x="713" y="472"/>
                    </a:lnTo>
                    <a:lnTo>
                      <a:pt x="713" y="474"/>
                    </a:lnTo>
                    <a:lnTo>
                      <a:pt x="714" y="474"/>
                    </a:lnTo>
                    <a:lnTo>
                      <a:pt x="714" y="476"/>
                    </a:lnTo>
                    <a:lnTo>
                      <a:pt x="716" y="476"/>
                    </a:lnTo>
                    <a:lnTo>
                      <a:pt x="716" y="477"/>
                    </a:lnTo>
                    <a:lnTo>
                      <a:pt x="716" y="479"/>
                    </a:lnTo>
                    <a:lnTo>
                      <a:pt x="716" y="480"/>
                    </a:lnTo>
                    <a:lnTo>
                      <a:pt x="714" y="482"/>
                    </a:lnTo>
                    <a:lnTo>
                      <a:pt x="714" y="484"/>
                    </a:lnTo>
                    <a:lnTo>
                      <a:pt x="716" y="487"/>
                    </a:lnTo>
                    <a:lnTo>
                      <a:pt x="716" y="488"/>
                    </a:lnTo>
                    <a:lnTo>
                      <a:pt x="718" y="488"/>
                    </a:lnTo>
                    <a:lnTo>
                      <a:pt x="719" y="490"/>
                    </a:lnTo>
                    <a:lnTo>
                      <a:pt x="721" y="491"/>
                    </a:lnTo>
                    <a:lnTo>
                      <a:pt x="722" y="491"/>
                    </a:lnTo>
                    <a:lnTo>
                      <a:pt x="722" y="493"/>
                    </a:lnTo>
                    <a:lnTo>
                      <a:pt x="722" y="495"/>
                    </a:lnTo>
                    <a:lnTo>
                      <a:pt x="722" y="496"/>
                    </a:lnTo>
                    <a:lnTo>
                      <a:pt x="724" y="496"/>
                    </a:lnTo>
                    <a:lnTo>
                      <a:pt x="724" y="498"/>
                    </a:lnTo>
                    <a:lnTo>
                      <a:pt x="725" y="498"/>
                    </a:lnTo>
                    <a:lnTo>
                      <a:pt x="725" y="499"/>
                    </a:lnTo>
                    <a:lnTo>
                      <a:pt x="727" y="499"/>
                    </a:lnTo>
                    <a:lnTo>
                      <a:pt x="727" y="501"/>
                    </a:lnTo>
                    <a:lnTo>
                      <a:pt x="729" y="503"/>
                    </a:lnTo>
                    <a:lnTo>
                      <a:pt x="729" y="504"/>
                    </a:lnTo>
                    <a:lnTo>
                      <a:pt x="730" y="504"/>
                    </a:lnTo>
                    <a:lnTo>
                      <a:pt x="730" y="506"/>
                    </a:lnTo>
                    <a:lnTo>
                      <a:pt x="730" y="507"/>
                    </a:lnTo>
                    <a:lnTo>
                      <a:pt x="732" y="507"/>
                    </a:lnTo>
                    <a:lnTo>
                      <a:pt x="735" y="514"/>
                    </a:lnTo>
                    <a:lnTo>
                      <a:pt x="738" y="518"/>
                    </a:lnTo>
                    <a:lnTo>
                      <a:pt x="744" y="531"/>
                    </a:lnTo>
                    <a:lnTo>
                      <a:pt x="744" y="533"/>
                    </a:lnTo>
                    <a:lnTo>
                      <a:pt x="744" y="534"/>
                    </a:lnTo>
                    <a:lnTo>
                      <a:pt x="746" y="534"/>
                    </a:lnTo>
                    <a:lnTo>
                      <a:pt x="746" y="536"/>
                    </a:lnTo>
                    <a:lnTo>
                      <a:pt x="746" y="537"/>
                    </a:lnTo>
                    <a:lnTo>
                      <a:pt x="746" y="539"/>
                    </a:lnTo>
                    <a:lnTo>
                      <a:pt x="746" y="541"/>
                    </a:lnTo>
                    <a:lnTo>
                      <a:pt x="746" y="542"/>
                    </a:lnTo>
                    <a:lnTo>
                      <a:pt x="744" y="542"/>
                    </a:lnTo>
                    <a:lnTo>
                      <a:pt x="744" y="544"/>
                    </a:lnTo>
                    <a:lnTo>
                      <a:pt x="746" y="545"/>
                    </a:lnTo>
                    <a:lnTo>
                      <a:pt x="748" y="545"/>
                    </a:lnTo>
                    <a:lnTo>
                      <a:pt x="748" y="547"/>
                    </a:lnTo>
                    <a:lnTo>
                      <a:pt x="749" y="547"/>
                    </a:lnTo>
                    <a:lnTo>
                      <a:pt x="749" y="548"/>
                    </a:lnTo>
                    <a:lnTo>
                      <a:pt x="749" y="550"/>
                    </a:lnTo>
                    <a:lnTo>
                      <a:pt x="749" y="552"/>
                    </a:lnTo>
                    <a:lnTo>
                      <a:pt x="749" y="553"/>
                    </a:lnTo>
                    <a:lnTo>
                      <a:pt x="749" y="555"/>
                    </a:lnTo>
                    <a:lnTo>
                      <a:pt x="751" y="555"/>
                    </a:lnTo>
                    <a:lnTo>
                      <a:pt x="751" y="556"/>
                    </a:lnTo>
                    <a:lnTo>
                      <a:pt x="752" y="556"/>
                    </a:lnTo>
                    <a:lnTo>
                      <a:pt x="752" y="558"/>
                    </a:lnTo>
                    <a:lnTo>
                      <a:pt x="751" y="560"/>
                    </a:lnTo>
                    <a:lnTo>
                      <a:pt x="751" y="561"/>
                    </a:lnTo>
                    <a:lnTo>
                      <a:pt x="749" y="561"/>
                    </a:lnTo>
                    <a:lnTo>
                      <a:pt x="749" y="563"/>
                    </a:lnTo>
                    <a:lnTo>
                      <a:pt x="749" y="564"/>
                    </a:lnTo>
                    <a:lnTo>
                      <a:pt x="748" y="566"/>
                    </a:lnTo>
                    <a:lnTo>
                      <a:pt x="749" y="566"/>
                    </a:lnTo>
                    <a:lnTo>
                      <a:pt x="749" y="567"/>
                    </a:lnTo>
                    <a:lnTo>
                      <a:pt x="749" y="569"/>
                    </a:lnTo>
                    <a:lnTo>
                      <a:pt x="749" y="571"/>
                    </a:lnTo>
                    <a:lnTo>
                      <a:pt x="749" y="572"/>
                    </a:lnTo>
                    <a:lnTo>
                      <a:pt x="751" y="572"/>
                    </a:lnTo>
                    <a:lnTo>
                      <a:pt x="751" y="574"/>
                    </a:lnTo>
                    <a:lnTo>
                      <a:pt x="752" y="574"/>
                    </a:lnTo>
                    <a:lnTo>
                      <a:pt x="752" y="575"/>
                    </a:lnTo>
                    <a:lnTo>
                      <a:pt x="752" y="577"/>
                    </a:lnTo>
                    <a:lnTo>
                      <a:pt x="752" y="579"/>
                    </a:lnTo>
                    <a:lnTo>
                      <a:pt x="752" y="580"/>
                    </a:lnTo>
                    <a:lnTo>
                      <a:pt x="752" y="582"/>
                    </a:lnTo>
                    <a:lnTo>
                      <a:pt x="752" y="583"/>
                    </a:lnTo>
                    <a:lnTo>
                      <a:pt x="751" y="585"/>
                    </a:lnTo>
                    <a:lnTo>
                      <a:pt x="751" y="586"/>
                    </a:lnTo>
                    <a:lnTo>
                      <a:pt x="751" y="588"/>
                    </a:lnTo>
                    <a:lnTo>
                      <a:pt x="751" y="590"/>
                    </a:lnTo>
                    <a:lnTo>
                      <a:pt x="752" y="590"/>
                    </a:lnTo>
                    <a:lnTo>
                      <a:pt x="754" y="591"/>
                    </a:lnTo>
                    <a:lnTo>
                      <a:pt x="754" y="593"/>
                    </a:lnTo>
                    <a:lnTo>
                      <a:pt x="752" y="594"/>
                    </a:lnTo>
                    <a:lnTo>
                      <a:pt x="752" y="596"/>
                    </a:lnTo>
                    <a:lnTo>
                      <a:pt x="752" y="598"/>
                    </a:lnTo>
                    <a:lnTo>
                      <a:pt x="754" y="598"/>
                    </a:lnTo>
                    <a:lnTo>
                      <a:pt x="754" y="599"/>
                    </a:lnTo>
                    <a:lnTo>
                      <a:pt x="754" y="601"/>
                    </a:lnTo>
                    <a:lnTo>
                      <a:pt x="756" y="602"/>
                    </a:lnTo>
                    <a:lnTo>
                      <a:pt x="756" y="604"/>
                    </a:lnTo>
                    <a:lnTo>
                      <a:pt x="757" y="605"/>
                    </a:lnTo>
                    <a:lnTo>
                      <a:pt x="759" y="605"/>
                    </a:lnTo>
                    <a:lnTo>
                      <a:pt x="759" y="607"/>
                    </a:lnTo>
                    <a:lnTo>
                      <a:pt x="759" y="609"/>
                    </a:lnTo>
                    <a:lnTo>
                      <a:pt x="760" y="610"/>
                    </a:lnTo>
                    <a:lnTo>
                      <a:pt x="759" y="612"/>
                    </a:lnTo>
                    <a:lnTo>
                      <a:pt x="760" y="612"/>
                    </a:lnTo>
                    <a:lnTo>
                      <a:pt x="760" y="613"/>
                    </a:lnTo>
                    <a:lnTo>
                      <a:pt x="759" y="615"/>
                    </a:lnTo>
                    <a:lnTo>
                      <a:pt x="760" y="615"/>
                    </a:lnTo>
                    <a:lnTo>
                      <a:pt x="760" y="617"/>
                    </a:lnTo>
                    <a:lnTo>
                      <a:pt x="762" y="617"/>
                    </a:lnTo>
                    <a:lnTo>
                      <a:pt x="763" y="618"/>
                    </a:lnTo>
                    <a:lnTo>
                      <a:pt x="763" y="620"/>
                    </a:lnTo>
                    <a:lnTo>
                      <a:pt x="763" y="621"/>
                    </a:lnTo>
                    <a:lnTo>
                      <a:pt x="762" y="621"/>
                    </a:lnTo>
                    <a:lnTo>
                      <a:pt x="762" y="623"/>
                    </a:lnTo>
                    <a:lnTo>
                      <a:pt x="763" y="624"/>
                    </a:lnTo>
                    <a:lnTo>
                      <a:pt x="762" y="624"/>
                    </a:lnTo>
                    <a:lnTo>
                      <a:pt x="762" y="626"/>
                    </a:lnTo>
                    <a:lnTo>
                      <a:pt x="762" y="628"/>
                    </a:lnTo>
                    <a:lnTo>
                      <a:pt x="762" y="629"/>
                    </a:lnTo>
                    <a:lnTo>
                      <a:pt x="763" y="629"/>
                    </a:lnTo>
                    <a:lnTo>
                      <a:pt x="762" y="631"/>
                    </a:lnTo>
                    <a:lnTo>
                      <a:pt x="762" y="632"/>
                    </a:lnTo>
                    <a:lnTo>
                      <a:pt x="762" y="634"/>
                    </a:lnTo>
                    <a:lnTo>
                      <a:pt x="762" y="636"/>
                    </a:lnTo>
                    <a:lnTo>
                      <a:pt x="763" y="636"/>
                    </a:lnTo>
                    <a:lnTo>
                      <a:pt x="765" y="636"/>
                    </a:lnTo>
                    <a:lnTo>
                      <a:pt x="767" y="637"/>
                    </a:lnTo>
                    <a:lnTo>
                      <a:pt x="768" y="639"/>
                    </a:lnTo>
                    <a:lnTo>
                      <a:pt x="770" y="640"/>
                    </a:lnTo>
                    <a:lnTo>
                      <a:pt x="771" y="640"/>
                    </a:lnTo>
                    <a:lnTo>
                      <a:pt x="771" y="642"/>
                    </a:lnTo>
                    <a:lnTo>
                      <a:pt x="770" y="642"/>
                    </a:lnTo>
                    <a:lnTo>
                      <a:pt x="770" y="643"/>
                    </a:lnTo>
                    <a:lnTo>
                      <a:pt x="768" y="643"/>
                    </a:lnTo>
                    <a:lnTo>
                      <a:pt x="770" y="645"/>
                    </a:lnTo>
                    <a:lnTo>
                      <a:pt x="770" y="647"/>
                    </a:lnTo>
                    <a:lnTo>
                      <a:pt x="771" y="647"/>
                    </a:lnTo>
                    <a:lnTo>
                      <a:pt x="771" y="648"/>
                    </a:lnTo>
                    <a:lnTo>
                      <a:pt x="770" y="650"/>
                    </a:lnTo>
                    <a:lnTo>
                      <a:pt x="770" y="651"/>
                    </a:lnTo>
                    <a:lnTo>
                      <a:pt x="771" y="653"/>
                    </a:lnTo>
                    <a:lnTo>
                      <a:pt x="771" y="655"/>
                    </a:lnTo>
                    <a:lnTo>
                      <a:pt x="771" y="656"/>
                    </a:lnTo>
                    <a:lnTo>
                      <a:pt x="773" y="658"/>
                    </a:lnTo>
                    <a:lnTo>
                      <a:pt x="773" y="659"/>
                    </a:lnTo>
                    <a:lnTo>
                      <a:pt x="775" y="661"/>
                    </a:lnTo>
                    <a:lnTo>
                      <a:pt x="776" y="661"/>
                    </a:lnTo>
                    <a:lnTo>
                      <a:pt x="775" y="663"/>
                    </a:lnTo>
                    <a:lnTo>
                      <a:pt x="778" y="674"/>
                    </a:lnTo>
                    <a:lnTo>
                      <a:pt x="778" y="675"/>
                    </a:lnTo>
                    <a:lnTo>
                      <a:pt x="776" y="677"/>
                    </a:lnTo>
                    <a:lnTo>
                      <a:pt x="771" y="678"/>
                    </a:lnTo>
                    <a:lnTo>
                      <a:pt x="768" y="678"/>
                    </a:lnTo>
                    <a:lnTo>
                      <a:pt x="765" y="678"/>
                    </a:lnTo>
                    <a:lnTo>
                      <a:pt x="763" y="678"/>
                    </a:lnTo>
                    <a:lnTo>
                      <a:pt x="762" y="678"/>
                    </a:lnTo>
                    <a:lnTo>
                      <a:pt x="759" y="677"/>
                    </a:lnTo>
                    <a:lnTo>
                      <a:pt x="756" y="677"/>
                    </a:lnTo>
                    <a:lnTo>
                      <a:pt x="751" y="678"/>
                    </a:lnTo>
                    <a:lnTo>
                      <a:pt x="748" y="680"/>
                    </a:lnTo>
                    <a:lnTo>
                      <a:pt x="746" y="682"/>
                    </a:lnTo>
                    <a:lnTo>
                      <a:pt x="744" y="682"/>
                    </a:lnTo>
                    <a:lnTo>
                      <a:pt x="743" y="683"/>
                    </a:lnTo>
                    <a:lnTo>
                      <a:pt x="740" y="682"/>
                    </a:lnTo>
                    <a:lnTo>
                      <a:pt x="738" y="682"/>
                    </a:lnTo>
                    <a:lnTo>
                      <a:pt x="737" y="682"/>
                    </a:lnTo>
                    <a:lnTo>
                      <a:pt x="733" y="682"/>
                    </a:lnTo>
                    <a:lnTo>
                      <a:pt x="732" y="682"/>
                    </a:lnTo>
                    <a:lnTo>
                      <a:pt x="729" y="683"/>
                    </a:lnTo>
                    <a:lnTo>
                      <a:pt x="727" y="683"/>
                    </a:lnTo>
                    <a:lnTo>
                      <a:pt x="725" y="683"/>
                    </a:lnTo>
                    <a:lnTo>
                      <a:pt x="725" y="685"/>
                    </a:lnTo>
                    <a:lnTo>
                      <a:pt x="724" y="685"/>
                    </a:lnTo>
                    <a:lnTo>
                      <a:pt x="722" y="685"/>
                    </a:lnTo>
                    <a:lnTo>
                      <a:pt x="713" y="691"/>
                    </a:lnTo>
                    <a:lnTo>
                      <a:pt x="711" y="693"/>
                    </a:lnTo>
                    <a:lnTo>
                      <a:pt x="710" y="696"/>
                    </a:lnTo>
                    <a:lnTo>
                      <a:pt x="710" y="697"/>
                    </a:lnTo>
                    <a:lnTo>
                      <a:pt x="708" y="697"/>
                    </a:lnTo>
                    <a:lnTo>
                      <a:pt x="706" y="699"/>
                    </a:lnTo>
                    <a:lnTo>
                      <a:pt x="702" y="699"/>
                    </a:lnTo>
                    <a:lnTo>
                      <a:pt x="700" y="699"/>
                    </a:lnTo>
                    <a:lnTo>
                      <a:pt x="700" y="701"/>
                    </a:lnTo>
                    <a:lnTo>
                      <a:pt x="700" y="704"/>
                    </a:lnTo>
                    <a:lnTo>
                      <a:pt x="700" y="705"/>
                    </a:lnTo>
                    <a:lnTo>
                      <a:pt x="700" y="707"/>
                    </a:lnTo>
                    <a:lnTo>
                      <a:pt x="700" y="708"/>
                    </a:lnTo>
                    <a:lnTo>
                      <a:pt x="702" y="708"/>
                    </a:lnTo>
                    <a:lnTo>
                      <a:pt x="702" y="712"/>
                    </a:lnTo>
                    <a:lnTo>
                      <a:pt x="702" y="713"/>
                    </a:lnTo>
                    <a:lnTo>
                      <a:pt x="700" y="713"/>
                    </a:lnTo>
                    <a:lnTo>
                      <a:pt x="700" y="715"/>
                    </a:lnTo>
                    <a:lnTo>
                      <a:pt x="700" y="716"/>
                    </a:lnTo>
                    <a:lnTo>
                      <a:pt x="700" y="718"/>
                    </a:lnTo>
                    <a:lnTo>
                      <a:pt x="699" y="718"/>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39" name="Freeform 119"/>
              <p:cNvSpPr>
                <a:spLocks/>
              </p:cNvSpPr>
              <p:nvPr/>
            </p:nvSpPr>
            <p:spPr bwMode="auto">
              <a:xfrm>
                <a:off x="3567" y="3358"/>
                <a:ext cx="1073" cy="675"/>
              </a:xfrm>
              <a:custGeom>
                <a:avLst/>
                <a:gdLst>
                  <a:gd name="T0" fmla="*/ 1065 w 1073"/>
                  <a:gd name="T1" fmla="*/ 602 h 675"/>
                  <a:gd name="T2" fmla="*/ 1041 w 1073"/>
                  <a:gd name="T3" fmla="*/ 623 h 675"/>
                  <a:gd name="T4" fmla="*/ 1001 w 1073"/>
                  <a:gd name="T5" fmla="*/ 645 h 675"/>
                  <a:gd name="T6" fmla="*/ 955 w 1073"/>
                  <a:gd name="T7" fmla="*/ 659 h 675"/>
                  <a:gd name="T8" fmla="*/ 914 w 1073"/>
                  <a:gd name="T9" fmla="*/ 659 h 675"/>
                  <a:gd name="T10" fmla="*/ 854 w 1073"/>
                  <a:gd name="T11" fmla="*/ 658 h 675"/>
                  <a:gd name="T12" fmla="*/ 824 w 1073"/>
                  <a:gd name="T13" fmla="*/ 645 h 675"/>
                  <a:gd name="T14" fmla="*/ 798 w 1073"/>
                  <a:gd name="T15" fmla="*/ 623 h 675"/>
                  <a:gd name="T16" fmla="*/ 759 w 1073"/>
                  <a:gd name="T17" fmla="*/ 631 h 675"/>
                  <a:gd name="T18" fmla="*/ 735 w 1073"/>
                  <a:gd name="T19" fmla="*/ 623 h 675"/>
                  <a:gd name="T20" fmla="*/ 703 w 1073"/>
                  <a:gd name="T21" fmla="*/ 659 h 675"/>
                  <a:gd name="T22" fmla="*/ 675 w 1073"/>
                  <a:gd name="T23" fmla="*/ 669 h 675"/>
                  <a:gd name="T24" fmla="*/ 634 w 1073"/>
                  <a:gd name="T25" fmla="*/ 659 h 675"/>
                  <a:gd name="T26" fmla="*/ 594 w 1073"/>
                  <a:gd name="T27" fmla="*/ 656 h 675"/>
                  <a:gd name="T28" fmla="*/ 558 w 1073"/>
                  <a:gd name="T29" fmla="*/ 665 h 675"/>
                  <a:gd name="T30" fmla="*/ 529 w 1073"/>
                  <a:gd name="T31" fmla="*/ 654 h 675"/>
                  <a:gd name="T32" fmla="*/ 523 w 1073"/>
                  <a:gd name="T33" fmla="*/ 623 h 675"/>
                  <a:gd name="T34" fmla="*/ 501 w 1073"/>
                  <a:gd name="T35" fmla="*/ 610 h 675"/>
                  <a:gd name="T36" fmla="*/ 456 w 1073"/>
                  <a:gd name="T37" fmla="*/ 575 h 675"/>
                  <a:gd name="T38" fmla="*/ 415 w 1073"/>
                  <a:gd name="T39" fmla="*/ 566 h 675"/>
                  <a:gd name="T40" fmla="*/ 387 w 1073"/>
                  <a:gd name="T41" fmla="*/ 588 h 675"/>
                  <a:gd name="T42" fmla="*/ 361 w 1073"/>
                  <a:gd name="T43" fmla="*/ 615 h 675"/>
                  <a:gd name="T44" fmla="*/ 339 w 1073"/>
                  <a:gd name="T45" fmla="*/ 627 h 675"/>
                  <a:gd name="T46" fmla="*/ 319 w 1073"/>
                  <a:gd name="T47" fmla="*/ 627 h 675"/>
                  <a:gd name="T48" fmla="*/ 306 w 1073"/>
                  <a:gd name="T49" fmla="*/ 624 h 675"/>
                  <a:gd name="T50" fmla="*/ 281 w 1073"/>
                  <a:gd name="T51" fmla="*/ 620 h 675"/>
                  <a:gd name="T52" fmla="*/ 257 w 1073"/>
                  <a:gd name="T53" fmla="*/ 613 h 675"/>
                  <a:gd name="T54" fmla="*/ 204 w 1073"/>
                  <a:gd name="T55" fmla="*/ 616 h 675"/>
                  <a:gd name="T56" fmla="*/ 159 w 1073"/>
                  <a:gd name="T57" fmla="*/ 618 h 675"/>
                  <a:gd name="T58" fmla="*/ 128 w 1073"/>
                  <a:gd name="T59" fmla="*/ 605 h 675"/>
                  <a:gd name="T60" fmla="*/ 79 w 1073"/>
                  <a:gd name="T61" fmla="*/ 537 h 675"/>
                  <a:gd name="T62" fmla="*/ 63 w 1073"/>
                  <a:gd name="T63" fmla="*/ 506 h 675"/>
                  <a:gd name="T64" fmla="*/ 27 w 1073"/>
                  <a:gd name="T65" fmla="*/ 464 h 675"/>
                  <a:gd name="T66" fmla="*/ 16 w 1073"/>
                  <a:gd name="T67" fmla="*/ 436 h 675"/>
                  <a:gd name="T68" fmla="*/ 32 w 1073"/>
                  <a:gd name="T69" fmla="*/ 379 h 675"/>
                  <a:gd name="T70" fmla="*/ 19 w 1073"/>
                  <a:gd name="T71" fmla="*/ 315 h 675"/>
                  <a:gd name="T72" fmla="*/ 8 w 1073"/>
                  <a:gd name="T73" fmla="*/ 281 h 675"/>
                  <a:gd name="T74" fmla="*/ 29 w 1073"/>
                  <a:gd name="T75" fmla="*/ 281 h 675"/>
                  <a:gd name="T76" fmla="*/ 48 w 1073"/>
                  <a:gd name="T77" fmla="*/ 274 h 675"/>
                  <a:gd name="T78" fmla="*/ 68 w 1073"/>
                  <a:gd name="T79" fmla="*/ 265 h 675"/>
                  <a:gd name="T80" fmla="*/ 81 w 1073"/>
                  <a:gd name="T81" fmla="*/ 254 h 675"/>
                  <a:gd name="T82" fmla="*/ 94 w 1073"/>
                  <a:gd name="T83" fmla="*/ 238 h 675"/>
                  <a:gd name="T84" fmla="*/ 113 w 1073"/>
                  <a:gd name="T85" fmla="*/ 227 h 675"/>
                  <a:gd name="T86" fmla="*/ 133 w 1073"/>
                  <a:gd name="T87" fmla="*/ 212 h 675"/>
                  <a:gd name="T88" fmla="*/ 144 w 1073"/>
                  <a:gd name="T89" fmla="*/ 203 h 675"/>
                  <a:gd name="T90" fmla="*/ 143 w 1073"/>
                  <a:gd name="T91" fmla="*/ 192 h 675"/>
                  <a:gd name="T92" fmla="*/ 147 w 1073"/>
                  <a:gd name="T93" fmla="*/ 178 h 675"/>
                  <a:gd name="T94" fmla="*/ 165 w 1073"/>
                  <a:gd name="T95" fmla="*/ 174 h 675"/>
                  <a:gd name="T96" fmla="*/ 179 w 1073"/>
                  <a:gd name="T97" fmla="*/ 174 h 675"/>
                  <a:gd name="T98" fmla="*/ 189 w 1073"/>
                  <a:gd name="T99" fmla="*/ 163 h 675"/>
                  <a:gd name="T100" fmla="*/ 193 w 1073"/>
                  <a:gd name="T101" fmla="*/ 148 h 675"/>
                  <a:gd name="T102" fmla="*/ 209 w 1073"/>
                  <a:gd name="T103" fmla="*/ 125 h 675"/>
                  <a:gd name="T104" fmla="*/ 217 w 1073"/>
                  <a:gd name="T105" fmla="*/ 106 h 675"/>
                  <a:gd name="T106" fmla="*/ 209 w 1073"/>
                  <a:gd name="T107" fmla="*/ 92 h 675"/>
                  <a:gd name="T108" fmla="*/ 200 w 1073"/>
                  <a:gd name="T109" fmla="*/ 78 h 675"/>
                  <a:gd name="T110" fmla="*/ 203 w 1073"/>
                  <a:gd name="T111" fmla="*/ 62 h 675"/>
                  <a:gd name="T112" fmla="*/ 187 w 1073"/>
                  <a:gd name="T113" fmla="*/ 45 h 675"/>
                  <a:gd name="T114" fmla="*/ 190 w 1073"/>
                  <a:gd name="T115" fmla="*/ 27 h 675"/>
                  <a:gd name="T116" fmla="*/ 212 w 1073"/>
                  <a:gd name="T117" fmla="*/ 19 h 675"/>
                  <a:gd name="T118" fmla="*/ 233 w 1073"/>
                  <a:gd name="T119" fmla="*/ 7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3" h="675">
                    <a:moveTo>
                      <a:pt x="1073" y="561"/>
                    </a:moveTo>
                    <a:lnTo>
                      <a:pt x="1071" y="567"/>
                    </a:lnTo>
                    <a:lnTo>
                      <a:pt x="1069" y="570"/>
                    </a:lnTo>
                    <a:lnTo>
                      <a:pt x="1068" y="574"/>
                    </a:lnTo>
                    <a:lnTo>
                      <a:pt x="1068" y="575"/>
                    </a:lnTo>
                    <a:lnTo>
                      <a:pt x="1066" y="575"/>
                    </a:lnTo>
                    <a:lnTo>
                      <a:pt x="1063" y="580"/>
                    </a:lnTo>
                    <a:lnTo>
                      <a:pt x="1063" y="583"/>
                    </a:lnTo>
                    <a:lnTo>
                      <a:pt x="1061" y="586"/>
                    </a:lnTo>
                    <a:lnTo>
                      <a:pt x="1061" y="588"/>
                    </a:lnTo>
                    <a:lnTo>
                      <a:pt x="1061" y="589"/>
                    </a:lnTo>
                    <a:lnTo>
                      <a:pt x="1061" y="591"/>
                    </a:lnTo>
                    <a:lnTo>
                      <a:pt x="1063" y="593"/>
                    </a:lnTo>
                    <a:lnTo>
                      <a:pt x="1065" y="596"/>
                    </a:lnTo>
                    <a:lnTo>
                      <a:pt x="1065" y="597"/>
                    </a:lnTo>
                    <a:lnTo>
                      <a:pt x="1065" y="601"/>
                    </a:lnTo>
                    <a:lnTo>
                      <a:pt x="1065" y="602"/>
                    </a:lnTo>
                    <a:lnTo>
                      <a:pt x="1065" y="604"/>
                    </a:lnTo>
                    <a:lnTo>
                      <a:pt x="1065" y="605"/>
                    </a:lnTo>
                    <a:lnTo>
                      <a:pt x="1063" y="605"/>
                    </a:lnTo>
                    <a:lnTo>
                      <a:pt x="1061" y="607"/>
                    </a:lnTo>
                    <a:lnTo>
                      <a:pt x="1061" y="608"/>
                    </a:lnTo>
                    <a:lnTo>
                      <a:pt x="1060" y="612"/>
                    </a:lnTo>
                    <a:lnTo>
                      <a:pt x="1055" y="615"/>
                    </a:lnTo>
                    <a:lnTo>
                      <a:pt x="1054" y="618"/>
                    </a:lnTo>
                    <a:lnTo>
                      <a:pt x="1052" y="620"/>
                    </a:lnTo>
                    <a:lnTo>
                      <a:pt x="1050" y="620"/>
                    </a:lnTo>
                    <a:lnTo>
                      <a:pt x="1049" y="620"/>
                    </a:lnTo>
                    <a:lnTo>
                      <a:pt x="1047" y="620"/>
                    </a:lnTo>
                    <a:lnTo>
                      <a:pt x="1046" y="621"/>
                    </a:lnTo>
                    <a:lnTo>
                      <a:pt x="1044" y="621"/>
                    </a:lnTo>
                    <a:lnTo>
                      <a:pt x="1042" y="621"/>
                    </a:lnTo>
                    <a:lnTo>
                      <a:pt x="1042" y="623"/>
                    </a:lnTo>
                    <a:lnTo>
                      <a:pt x="1041" y="623"/>
                    </a:lnTo>
                    <a:lnTo>
                      <a:pt x="1039" y="623"/>
                    </a:lnTo>
                    <a:lnTo>
                      <a:pt x="1038" y="624"/>
                    </a:lnTo>
                    <a:lnTo>
                      <a:pt x="1033" y="626"/>
                    </a:lnTo>
                    <a:lnTo>
                      <a:pt x="1028" y="627"/>
                    </a:lnTo>
                    <a:lnTo>
                      <a:pt x="1027" y="629"/>
                    </a:lnTo>
                    <a:lnTo>
                      <a:pt x="1022" y="632"/>
                    </a:lnTo>
                    <a:lnTo>
                      <a:pt x="1020" y="634"/>
                    </a:lnTo>
                    <a:lnTo>
                      <a:pt x="1019" y="634"/>
                    </a:lnTo>
                    <a:lnTo>
                      <a:pt x="1017" y="635"/>
                    </a:lnTo>
                    <a:lnTo>
                      <a:pt x="1017" y="637"/>
                    </a:lnTo>
                    <a:lnTo>
                      <a:pt x="1016" y="637"/>
                    </a:lnTo>
                    <a:lnTo>
                      <a:pt x="1016" y="639"/>
                    </a:lnTo>
                    <a:lnTo>
                      <a:pt x="1014" y="639"/>
                    </a:lnTo>
                    <a:lnTo>
                      <a:pt x="1008" y="643"/>
                    </a:lnTo>
                    <a:lnTo>
                      <a:pt x="1004" y="645"/>
                    </a:lnTo>
                    <a:lnTo>
                      <a:pt x="1003" y="645"/>
                    </a:lnTo>
                    <a:lnTo>
                      <a:pt x="1001" y="645"/>
                    </a:lnTo>
                    <a:lnTo>
                      <a:pt x="1000" y="645"/>
                    </a:lnTo>
                    <a:lnTo>
                      <a:pt x="996" y="645"/>
                    </a:lnTo>
                    <a:lnTo>
                      <a:pt x="992" y="643"/>
                    </a:lnTo>
                    <a:lnTo>
                      <a:pt x="990" y="643"/>
                    </a:lnTo>
                    <a:lnTo>
                      <a:pt x="989" y="643"/>
                    </a:lnTo>
                    <a:lnTo>
                      <a:pt x="985" y="643"/>
                    </a:lnTo>
                    <a:lnTo>
                      <a:pt x="984" y="645"/>
                    </a:lnTo>
                    <a:lnTo>
                      <a:pt x="982" y="645"/>
                    </a:lnTo>
                    <a:lnTo>
                      <a:pt x="981" y="645"/>
                    </a:lnTo>
                    <a:lnTo>
                      <a:pt x="977" y="645"/>
                    </a:lnTo>
                    <a:lnTo>
                      <a:pt x="973" y="646"/>
                    </a:lnTo>
                    <a:lnTo>
                      <a:pt x="968" y="650"/>
                    </a:lnTo>
                    <a:lnTo>
                      <a:pt x="963" y="653"/>
                    </a:lnTo>
                    <a:lnTo>
                      <a:pt x="962" y="653"/>
                    </a:lnTo>
                    <a:lnTo>
                      <a:pt x="958" y="654"/>
                    </a:lnTo>
                    <a:lnTo>
                      <a:pt x="955" y="658"/>
                    </a:lnTo>
                    <a:lnTo>
                      <a:pt x="955" y="659"/>
                    </a:lnTo>
                    <a:lnTo>
                      <a:pt x="955" y="661"/>
                    </a:lnTo>
                    <a:lnTo>
                      <a:pt x="952" y="664"/>
                    </a:lnTo>
                    <a:lnTo>
                      <a:pt x="952" y="665"/>
                    </a:lnTo>
                    <a:lnTo>
                      <a:pt x="951" y="667"/>
                    </a:lnTo>
                    <a:lnTo>
                      <a:pt x="946" y="670"/>
                    </a:lnTo>
                    <a:lnTo>
                      <a:pt x="943" y="672"/>
                    </a:lnTo>
                    <a:lnTo>
                      <a:pt x="941" y="672"/>
                    </a:lnTo>
                    <a:lnTo>
                      <a:pt x="939" y="672"/>
                    </a:lnTo>
                    <a:lnTo>
                      <a:pt x="938" y="672"/>
                    </a:lnTo>
                    <a:lnTo>
                      <a:pt x="936" y="672"/>
                    </a:lnTo>
                    <a:lnTo>
                      <a:pt x="930" y="670"/>
                    </a:lnTo>
                    <a:lnTo>
                      <a:pt x="927" y="669"/>
                    </a:lnTo>
                    <a:lnTo>
                      <a:pt x="922" y="667"/>
                    </a:lnTo>
                    <a:lnTo>
                      <a:pt x="917" y="664"/>
                    </a:lnTo>
                    <a:lnTo>
                      <a:pt x="916" y="662"/>
                    </a:lnTo>
                    <a:lnTo>
                      <a:pt x="914" y="661"/>
                    </a:lnTo>
                    <a:lnTo>
                      <a:pt x="914" y="659"/>
                    </a:lnTo>
                    <a:lnTo>
                      <a:pt x="908" y="658"/>
                    </a:lnTo>
                    <a:lnTo>
                      <a:pt x="906" y="656"/>
                    </a:lnTo>
                    <a:lnTo>
                      <a:pt x="905" y="656"/>
                    </a:lnTo>
                    <a:lnTo>
                      <a:pt x="903" y="656"/>
                    </a:lnTo>
                    <a:lnTo>
                      <a:pt x="901" y="658"/>
                    </a:lnTo>
                    <a:lnTo>
                      <a:pt x="900" y="658"/>
                    </a:lnTo>
                    <a:lnTo>
                      <a:pt x="897" y="659"/>
                    </a:lnTo>
                    <a:lnTo>
                      <a:pt x="890" y="662"/>
                    </a:lnTo>
                    <a:lnTo>
                      <a:pt x="887" y="662"/>
                    </a:lnTo>
                    <a:lnTo>
                      <a:pt x="879" y="662"/>
                    </a:lnTo>
                    <a:lnTo>
                      <a:pt x="878" y="662"/>
                    </a:lnTo>
                    <a:lnTo>
                      <a:pt x="876" y="661"/>
                    </a:lnTo>
                    <a:lnTo>
                      <a:pt x="863" y="658"/>
                    </a:lnTo>
                    <a:lnTo>
                      <a:pt x="860" y="658"/>
                    </a:lnTo>
                    <a:lnTo>
                      <a:pt x="857" y="658"/>
                    </a:lnTo>
                    <a:lnTo>
                      <a:pt x="856" y="658"/>
                    </a:lnTo>
                    <a:lnTo>
                      <a:pt x="854" y="658"/>
                    </a:lnTo>
                    <a:lnTo>
                      <a:pt x="852" y="658"/>
                    </a:lnTo>
                    <a:lnTo>
                      <a:pt x="851" y="658"/>
                    </a:lnTo>
                    <a:lnTo>
                      <a:pt x="849" y="658"/>
                    </a:lnTo>
                    <a:lnTo>
                      <a:pt x="848" y="658"/>
                    </a:lnTo>
                    <a:lnTo>
                      <a:pt x="846" y="658"/>
                    </a:lnTo>
                    <a:lnTo>
                      <a:pt x="844" y="658"/>
                    </a:lnTo>
                    <a:lnTo>
                      <a:pt x="843" y="658"/>
                    </a:lnTo>
                    <a:lnTo>
                      <a:pt x="841" y="658"/>
                    </a:lnTo>
                    <a:lnTo>
                      <a:pt x="840" y="658"/>
                    </a:lnTo>
                    <a:lnTo>
                      <a:pt x="838" y="658"/>
                    </a:lnTo>
                    <a:lnTo>
                      <a:pt x="835" y="656"/>
                    </a:lnTo>
                    <a:lnTo>
                      <a:pt x="833" y="653"/>
                    </a:lnTo>
                    <a:lnTo>
                      <a:pt x="829" y="650"/>
                    </a:lnTo>
                    <a:lnTo>
                      <a:pt x="829" y="648"/>
                    </a:lnTo>
                    <a:lnTo>
                      <a:pt x="827" y="648"/>
                    </a:lnTo>
                    <a:lnTo>
                      <a:pt x="825" y="646"/>
                    </a:lnTo>
                    <a:lnTo>
                      <a:pt x="824" y="645"/>
                    </a:lnTo>
                    <a:lnTo>
                      <a:pt x="824" y="643"/>
                    </a:lnTo>
                    <a:lnTo>
                      <a:pt x="822" y="640"/>
                    </a:lnTo>
                    <a:lnTo>
                      <a:pt x="821" y="639"/>
                    </a:lnTo>
                    <a:lnTo>
                      <a:pt x="817" y="635"/>
                    </a:lnTo>
                    <a:lnTo>
                      <a:pt x="816" y="634"/>
                    </a:lnTo>
                    <a:lnTo>
                      <a:pt x="816" y="632"/>
                    </a:lnTo>
                    <a:lnTo>
                      <a:pt x="814" y="631"/>
                    </a:lnTo>
                    <a:lnTo>
                      <a:pt x="811" y="626"/>
                    </a:lnTo>
                    <a:lnTo>
                      <a:pt x="810" y="623"/>
                    </a:lnTo>
                    <a:lnTo>
                      <a:pt x="810" y="621"/>
                    </a:lnTo>
                    <a:lnTo>
                      <a:pt x="808" y="621"/>
                    </a:lnTo>
                    <a:lnTo>
                      <a:pt x="806" y="620"/>
                    </a:lnTo>
                    <a:lnTo>
                      <a:pt x="803" y="618"/>
                    </a:lnTo>
                    <a:lnTo>
                      <a:pt x="802" y="620"/>
                    </a:lnTo>
                    <a:lnTo>
                      <a:pt x="800" y="621"/>
                    </a:lnTo>
                    <a:lnTo>
                      <a:pt x="798" y="621"/>
                    </a:lnTo>
                    <a:lnTo>
                      <a:pt x="798" y="623"/>
                    </a:lnTo>
                    <a:lnTo>
                      <a:pt x="798" y="624"/>
                    </a:lnTo>
                    <a:lnTo>
                      <a:pt x="798" y="627"/>
                    </a:lnTo>
                    <a:lnTo>
                      <a:pt x="798" y="629"/>
                    </a:lnTo>
                    <a:lnTo>
                      <a:pt x="797" y="629"/>
                    </a:lnTo>
                    <a:lnTo>
                      <a:pt x="795" y="629"/>
                    </a:lnTo>
                    <a:lnTo>
                      <a:pt x="791" y="627"/>
                    </a:lnTo>
                    <a:lnTo>
                      <a:pt x="789" y="629"/>
                    </a:lnTo>
                    <a:lnTo>
                      <a:pt x="787" y="629"/>
                    </a:lnTo>
                    <a:lnTo>
                      <a:pt x="783" y="629"/>
                    </a:lnTo>
                    <a:lnTo>
                      <a:pt x="779" y="629"/>
                    </a:lnTo>
                    <a:lnTo>
                      <a:pt x="778" y="629"/>
                    </a:lnTo>
                    <a:lnTo>
                      <a:pt x="776" y="629"/>
                    </a:lnTo>
                    <a:lnTo>
                      <a:pt x="772" y="629"/>
                    </a:lnTo>
                    <a:lnTo>
                      <a:pt x="770" y="629"/>
                    </a:lnTo>
                    <a:lnTo>
                      <a:pt x="765" y="629"/>
                    </a:lnTo>
                    <a:lnTo>
                      <a:pt x="762" y="629"/>
                    </a:lnTo>
                    <a:lnTo>
                      <a:pt x="759" y="631"/>
                    </a:lnTo>
                    <a:lnTo>
                      <a:pt x="757" y="629"/>
                    </a:lnTo>
                    <a:lnTo>
                      <a:pt x="756" y="629"/>
                    </a:lnTo>
                    <a:lnTo>
                      <a:pt x="753" y="626"/>
                    </a:lnTo>
                    <a:lnTo>
                      <a:pt x="751" y="626"/>
                    </a:lnTo>
                    <a:lnTo>
                      <a:pt x="749" y="626"/>
                    </a:lnTo>
                    <a:lnTo>
                      <a:pt x="749" y="624"/>
                    </a:lnTo>
                    <a:lnTo>
                      <a:pt x="748" y="624"/>
                    </a:lnTo>
                    <a:lnTo>
                      <a:pt x="746" y="624"/>
                    </a:lnTo>
                    <a:lnTo>
                      <a:pt x="745" y="624"/>
                    </a:lnTo>
                    <a:lnTo>
                      <a:pt x="743" y="624"/>
                    </a:lnTo>
                    <a:lnTo>
                      <a:pt x="743" y="623"/>
                    </a:lnTo>
                    <a:lnTo>
                      <a:pt x="741" y="623"/>
                    </a:lnTo>
                    <a:lnTo>
                      <a:pt x="740" y="621"/>
                    </a:lnTo>
                    <a:lnTo>
                      <a:pt x="738" y="621"/>
                    </a:lnTo>
                    <a:lnTo>
                      <a:pt x="737" y="621"/>
                    </a:lnTo>
                    <a:lnTo>
                      <a:pt x="737" y="623"/>
                    </a:lnTo>
                    <a:lnTo>
                      <a:pt x="735" y="623"/>
                    </a:lnTo>
                    <a:lnTo>
                      <a:pt x="734" y="624"/>
                    </a:lnTo>
                    <a:lnTo>
                      <a:pt x="729" y="631"/>
                    </a:lnTo>
                    <a:lnTo>
                      <a:pt x="726" y="635"/>
                    </a:lnTo>
                    <a:lnTo>
                      <a:pt x="722" y="639"/>
                    </a:lnTo>
                    <a:lnTo>
                      <a:pt x="721" y="639"/>
                    </a:lnTo>
                    <a:lnTo>
                      <a:pt x="721" y="640"/>
                    </a:lnTo>
                    <a:lnTo>
                      <a:pt x="719" y="640"/>
                    </a:lnTo>
                    <a:lnTo>
                      <a:pt x="718" y="642"/>
                    </a:lnTo>
                    <a:lnTo>
                      <a:pt x="718" y="645"/>
                    </a:lnTo>
                    <a:lnTo>
                      <a:pt x="716" y="646"/>
                    </a:lnTo>
                    <a:lnTo>
                      <a:pt x="715" y="646"/>
                    </a:lnTo>
                    <a:lnTo>
                      <a:pt x="715" y="648"/>
                    </a:lnTo>
                    <a:lnTo>
                      <a:pt x="710" y="654"/>
                    </a:lnTo>
                    <a:lnTo>
                      <a:pt x="707" y="656"/>
                    </a:lnTo>
                    <a:lnTo>
                      <a:pt x="705" y="658"/>
                    </a:lnTo>
                    <a:lnTo>
                      <a:pt x="703" y="658"/>
                    </a:lnTo>
                    <a:lnTo>
                      <a:pt x="703" y="659"/>
                    </a:lnTo>
                    <a:lnTo>
                      <a:pt x="700" y="659"/>
                    </a:lnTo>
                    <a:lnTo>
                      <a:pt x="699" y="661"/>
                    </a:lnTo>
                    <a:lnTo>
                      <a:pt x="697" y="661"/>
                    </a:lnTo>
                    <a:lnTo>
                      <a:pt x="696" y="661"/>
                    </a:lnTo>
                    <a:lnTo>
                      <a:pt x="694" y="661"/>
                    </a:lnTo>
                    <a:lnTo>
                      <a:pt x="694" y="662"/>
                    </a:lnTo>
                    <a:lnTo>
                      <a:pt x="692" y="664"/>
                    </a:lnTo>
                    <a:lnTo>
                      <a:pt x="691" y="664"/>
                    </a:lnTo>
                    <a:lnTo>
                      <a:pt x="689" y="665"/>
                    </a:lnTo>
                    <a:lnTo>
                      <a:pt x="689" y="667"/>
                    </a:lnTo>
                    <a:lnTo>
                      <a:pt x="686" y="667"/>
                    </a:lnTo>
                    <a:lnTo>
                      <a:pt x="686" y="669"/>
                    </a:lnTo>
                    <a:lnTo>
                      <a:pt x="684" y="669"/>
                    </a:lnTo>
                    <a:lnTo>
                      <a:pt x="683" y="669"/>
                    </a:lnTo>
                    <a:lnTo>
                      <a:pt x="681" y="669"/>
                    </a:lnTo>
                    <a:lnTo>
                      <a:pt x="677" y="669"/>
                    </a:lnTo>
                    <a:lnTo>
                      <a:pt x="675" y="669"/>
                    </a:lnTo>
                    <a:lnTo>
                      <a:pt x="667" y="667"/>
                    </a:lnTo>
                    <a:lnTo>
                      <a:pt x="662" y="670"/>
                    </a:lnTo>
                    <a:lnTo>
                      <a:pt x="661" y="670"/>
                    </a:lnTo>
                    <a:lnTo>
                      <a:pt x="659" y="670"/>
                    </a:lnTo>
                    <a:lnTo>
                      <a:pt x="653" y="675"/>
                    </a:lnTo>
                    <a:lnTo>
                      <a:pt x="650" y="675"/>
                    </a:lnTo>
                    <a:lnTo>
                      <a:pt x="648" y="673"/>
                    </a:lnTo>
                    <a:lnTo>
                      <a:pt x="645" y="670"/>
                    </a:lnTo>
                    <a:lnTo>
                      <a:pt x="643" y="670"/>
                    </a:lnTo>
                    <a:lnTo>
                      <a:pt x="642" y="670"/>
                    </a:lnTo>
                    <a:lnTo>
                      <a:pt x="642" y="669"/>
                    </a:lnTo>
                    <a:lnTo>
                      <a:pt x="639" y="669"/>
                    </a:lnTo>
                    <a:lnTo>
                      <a:pt x="637" y="669"/>
                    </a:lnTo>
                    <a:lnTo>
                      <a:pt x="635" y="667"/>
                    </a:lnTo>
                    <a:lnTo>
                      <a:pt x="635" y="665"/>
                    </a:lnTo>
                    <a:lnTo>
                      <a:pt x="634" y="662"/>
                    </a:lnTo>
                    <a:lnTo>
                      <a:pt x="634" y="659"/>
                    </a:lnTo>
                    <a:lnTo>
                      <a:pt x="634" y="658"/>
                    </a:lnTo>
                    <a:lnTo>
                      <a:pt x="632" y="658"/>
                    </a:lnTo>
                    <a:lnTo>
                      <a:pt x="631" y="656"/>
                    </a:lnTo>
                    <a:lnTo>
                      <a:pt x="624" y="656"/>
                    </a:lnTo>
                    <a:lnTo>
                      <a:pt x="623" y="656"/>
                    </a:lnTo>
                    <a:lnTo>
                      <a:pt x="615" y="656"/>
                    </a:lnTo>
                    <a:lnTo>
                      <a:pt x="613" y="656"/>
                    </a:lnTo>
                    <a:lnTo>
                      <a:pt x="612" y="658"/>
                    </a:lnTo>
                    <a:lnTo>
                      <a:pt x="608" y="658"/>
                    </a:lnTo>
                    <a:lnTo>
                      <a:pt x="607" y="658"/>
                    </a:lnTo>
                    <a:lnTo>
                      <a:pt x="605" y="658"/>
                    </a:lnTo>
                    <a:lnTo>
                      <a:pt x="604" y="658"/>
                    </a:lnTo>
                    <a:lnTo>
                      <a:pt x="602" y="656"/>
                    </a:lnTo>
                    <a:lnTo>
                      <a:pt x="599" y="654"/>
                    </a:lnTo>
                    <a:lnTo>
                      <a:pt x="597" y="654"/>
                    </a:lnTo>
                    <a:lnTo>
                      <a:pt x="596" y="654"/>
                    </a:lnTo>
                    <a:lnTo>
                      <a:pt x="594" y="656"/>
                    </a:lnTo>
                    <a:lnTo>
                      <a:pt x="593" y="656"/>
                    </a:lnTo>
                    <a:lnTo>
                      <a:pt x="591" y="659"/>
                    </a:lnTo>
                    <a:lnTo>
                      <a:pt x="589" y="659"/>
                    </a:lnTo>
                    <a:lnTo>
                      <a:pt x="589" y="661"/>
                    </a:lnTo>
                    <a:lnTo>
                      <a:pt x="589" y="662"/>
                    </a:lnTo>
                    <a:lnTo>
                      <a:pt x="581" y="662"/>
                    </a:lnTo>
                    <a:lnTo>
                      <a:pt x="580" y="662"/>
                    </a:lnTo>
                    <a:lnTo>
                      <a:pt x="577" y="661"/>
                    </a:lnTo>
                    <a:lnTo>
                      <a:pt x="574" y="661"/>
                    </a:lnTo>
                    <a:lnTo>
                      <a:pt x="572" y="662"/>
                    </a:lnTo>
                    <a:lnTo>
                      <a:pt x="569" y="662"/>
                    </a:lnTo>
                    <a:lnTo>
                      <a:pt x="566" y="664"/>
                    </a:lnTo>
                    <a:lnTo>
                      <a:pt x="564" y="662"/>
                    </a:lnTo>
                    <a:lnTo>
                      <a:pt x="562" y="662"/>
                    </a:lnTo>
                    <a:lnTo>
                      <a:pt x="561" y="664"/>
                    </a:lnTo>
                    <a:lnTo>
                      <a:pt x="559" y="665"/>
                    </a:lnTo>
                    <a:lnTo>
                      <a:pt x="558" y="665"/>
                    </a:lnTo>
                    <a:lnTo>
                      <a:pt x="558" y="667"/>
                    </a:lnTo>
                    <a:lnTo>
                      <a:pt x="556" y="665"/>
                    </a:lnTo>
                    <a:lnTo>
                      <a:pt x="555" y="665"/>
                    </a:lnTo>
                    <a:lnTo>
                      <a:pt x="553" y="665"/>
                    </a:lnTo>
                    <a:lnTo>
                      <a:pt x="551" y="665"/>
                    </a:lnTo>
                    <a:lnTo>
                      <a:pt x="548" y="662"/>
                    </a:lnTo>
                    <a:lnTo>
                      <a:pt x="542" y="664"/>
                    </a:lnTo>
                    <a:lnTo>
                      <a:pt x="539" y="664"/>
                    </a:lnTo>
                    <a:lnTo>
                      <a:pt x="536" y="665"/>
                    </a:lnTo>
                    <a:lnTo>
                      <a:pt x="532" y="665"/>
                    </a:lnTo>
                    <a:lnTo>
                      <a:pt x="531" y="665"/>
                    </a:lnTo>
                    <a:lnTo>
                      <a:pt x="529" y="664"/>
                    </a:lnTo>
                    <a:lnTo>
                      <a:pt x="531" y="661"/>
                    </a:lnTo>
                    <a:lnTo>
                      <a:pt x="532" y="659"/>
                    </a:lnTo>
                    <a:lnTo>
                      <a:pt x="531" y="658"/>
                    </a:lnTo>
                    <a:lnTo>
                      <a:pt x="531" y="656"/>
                    </a:lnTo>
                    <a:lnTo>
                      <a:pt x="529" y="654"/>
                    </a:lnTo>
                    <a:lnTo>
                      <a:pt x="528" y="653"/>
                    </a:lnTo>
                    <a:lnTo>
                      <a:pt x="526" y="653"/>
                    </a:lnTo>
                    <a:lnTo>
                      <a:pt x="526" y="650"/>
                    </a:lnTo>
                    <a:lnTo>
                      <a:pt x="528" y="643"/>
                    </a:lnTo>
                    <a:lnTo>
                      <a:pt x="529" y="643"/>
                    </a:lnTo>
                    <a:lnTo>
                      <a:pt x="529" y="640"/>
                    </a:lnTo>
                    <a:lnTo>
                      <a:pt x="529" y="639"/>
                    </a:lnTo>
                    <a:lnTo>
                      <a:pt x="528" y="635"/>
                    </a:lnTo>
                    <a:lnTo>
                      <a:pt x="528" y="634"/>
                    </a:lnTo>
                    <a:lnTo>
                      <a:pt x="528" y="632"/>
                    </a:lnTo>
                    <a:lnTo>
                      <a:pt x="528" y="631"/>
                    </a:lnTo>
                    <a:lnTo>
                      <a:pt x="528" y="629"/>
                    </a:lnTo>
                    <a:lnTo>
                      <a:pt x="528" y="627"/>
                    </a:lnTo>
                    <a:lnTo>
                      <a:pt x="528" y="626"/>
                    </a:lnTo>
                    <a:lnTo>
                      <a:pt x="526" y="624"/>
                    </a:lnTo>
                    <a:lnTo>
                      <a:pt x="524" y="623"/>
                    </a:lnTo>
                    <a:lnTo>
                      <a:pt x="523" y="623"/>
                    </a:lnTo>
                    <a:lnTo>
                      <a:pt x="523" y="621"/>
                    </a:lnTo>
                    <a:lnTo>
                      <a:pt x="521" y="621"/>
                    </a:lnTo>
                    <a:lnTo>
                      <a:pt x="521" y="620"/>
                    </a:lnTo>
                    <a:lnTo>
                      <a:pt x="520" y="620"/>
                    </a:lnTo>
                    <a:lnTo>
                      <a:pt x="518" y="618"/>
                    </a:lnTo>
                    <a:lnTo>
                      <a:pt x="517" y="618"/>
                    </a:lnTo>
                    <a:lnTo>
                      <a:pt x="515" y="618"/>
                    </a:lnTo>
                    <a:lnTo>
                      <a:pt x="513" y="616"/>
                    </a:lnTo>
                    <a:lnTo>
                      <a:pt x="512" y="613"/>
                    </a:lnTo>
                    <a:lnTo>
                      <a:pt x="510" y="612"/>
                    </a:lnTo>
                    <a:lnTo>
                      <a:pt x="509" y="613"/>
                    </a:lnTo>
                    <a:lnTo>
                      <a:pt x="507" y="613"/>
                    </a:lnTo>
                    <a:lnTo>
                      <a:pt x="505" y="612"/>
                    </a:lnTo>
                    <a:lnTo>
                      <a:pt x="504" y="612"/>
                    </a:lnTo>
                    <a:lnTo>
                      <a:pt x="502" y="612"/>
                    </a:lnTo>
                    <a:lnTo>
                      <a:pt x="502" y="610"/>
                    </a:lnTo>
                    <a:lnTo>
                      <a:pt x="501" y="610"/>
                    </a:lnTo>
                    <a:lnTo>
                      <a:pt x="499" y="607"/>
                    </a:lnTo>
                    <a:lnTo>
                      <a:pt x="486" y="601"/>
                    </a:lnTo>
                    <a:lnTo>
                      <a:pt x="483" y="599"/>
                    </a:lnTo>
                    <a:lnTo>
                      <a:pt x="479" y="596"/>
                    </a:lnTo>
                    <a:lnTo>
                      <a:pt x="477" y="596"/>
                    </a:lnTo>
                    <a:lnTo>
                      <a:pt x="475" y="596"/>
                    </a:lnTo>
                    <a:lnTo>
                      <a:pt x="474" y="596"/>
                    </a:lnTo>
                    <a:lnTo>
                      <a:pt x="469" y="594"/>
                    </a:lnTo>
                    <a:lnTo>
                      <a:pt x="463" y="593"/>
                    </a:lnTo>
                    <a:lnTo>
                      <a:pt x="458" y="591"/>
                    </a:lnTo>
                    <a:lnTo>
                      <a:pt x="456" y="589"/>
                    </a:lnTo>
                    <a:lnTo>
                      <a:pt x="456" y="588"/>
                    </a:lnTo>
                    <a:lnTo>
                      <a:pt x="456" y="585"/>
                    </a:lnTo>
                    <a:lnTo>
                      <a:pt x="458" y="582"/>
                    </a:lnTo>
                    <a:lnTo>
                      <a:pt x="458" y="578"/>
                    </a:lnTo>
                    <a:lnTo>
                      <a:pt x="458" y="577"/>
                    </a:lnTo>
                    <a:lnTo>
                      <a:pt x="456" y="575"/>
                    </a:lnTo>
                    <a:lnTo>
                      <a:pt x="452" y="570"/>
                    </a:lnTo>
                    <a:lnTo>
                      <a:pt x="447" y="570"/>
                    </a:lnTo>
                    <a:lnTo>
                      <a:pt x="445" y="570"/>
                    </a:lnTo>
                    <a:lnTo>
                      <a:pt x="444" y="570"/>
                    </a:lnTo>
                    <a:lnTo>
                      <a:pt x="440" y="572"/>
                    </a:lnTo>
                    <a:lnTo>
                      <a:pt x="439" y="570"/>
                    </a:lnTo>
                    <a:lnTo>
                      <a:pt x="434" y="570"/>
                    </a:lnTo>
                    <a:lnTo>
                      <a:pt x="433" y="570"/>
                    </a:lnTo>
                    <a:lnTo>
                      <a:pt x="428" y="570"/>
                    </a:lnTo>
                    <a:lnTo>
                      <a:pt x="425" y="570"/>
                    </a:lnTo>
                    <a:lnTo>
                      <a:pt x="423" y="570"/>
                    </a:lnTo>
                    <a:lnTo>
                      <a:pt x="421" y="569"/>
                    </a:lnTo>
                    <a:lnTo>
                      <a:pt x="421" y="567"/>
                    </a:lnTo>
                    <a:lnTo>
                      <a:pt x="420" y="566"/>
                    </a:lnTo>
                    <a:lnTo>
                      <a:pt x="418" y="566"/>
                    </a:lnTo>
                    <a:lnTo>
                      <a:pt x="417" y="566"/>
                    </a:lnTo>
                    <a:lnTo>
                      <a:pt x="415" y="566"/>
                    </a:lnTo>
                    <a:lnTo>
                      <a:pt x="414" y="566"/>
                    </a:lnTo>
                    <a:lnTo>
                      <a:pt x="412" y="566"/>
                    </a:lnTo>
                    <a:lnTo>
                      <a:pt x="410" y="569"/>
                    </a:lnTo>
                    <a:lnTo>
                      <a:pt x="410" y="570"/>
                    </a:lnTo>
                    <a:lnTo>
                      <a:pt x="409" y="572"/>
                    </a:lnTo>
                    <a:lnTo>
                      <a:pt x="404" y="578"/>
                    </a:lnTo>
                    <a:lnTo>
                      <a:pt x="404" y="580"/>
                    </a:lnTo>
                    <a:lnTo>
                      <a:pt x="402" y="580"/>
                    </a:lnTo>
                    <a:lnTo>
                      <a:pt x="401" y="582"/>
                    </a:lnTo>
                    <a:lnTo>
                      <a:pt x="401" y="583"/>
                    </a:lnTo>
                    <a:lnTo>
                      <a:pt x="399" y="585"/>
                    </a:lnTo>
                    <a:lnTo>
                      <a:pt x="398" y="586"/>
                    </a:lnTo>
                    <a:lnTo>
                      <a:pt x="396" y="586"/>
                    </a:lnTo>
                    <a:lnTo>
                      <a:pt x="391" y="588"/>
                    </a:lnTo>
                    <a:lnTo>
                      <a:pt x="390" y="588"/>
                    </a:lnTo>
                    <a:lnTo>
                      <a:pt x="388" y="588"/>
                    </a:lnTo>
                    <a:lnTo>
                      <a:pt x="387" y="588"/>
                    </a:lnTo>
                    <a:lnTo>
                      <a:pt x="382" y="589"/>
                    </a:lnTo>
                    <a:lnTo>
                      <a:pt x="379" y="589"/>
                    </a:lnTo>
                    <a:lnTo>
                      <a:pt x="377" y="589"/>
                    </a:lnTo>
                    <a:lnTo>
                      <a:pt x="374" y="593"/>
                    </a:lnTo>
                    <a:lnTo>
                      <a:pt x="374" y="596"/>
                    </a:lnTo>
                    <a:lnTo>
                      <a:pt x="374" y="597"/>
                    </a:lnTo>
                    <a:lnTo>
                      <a:pt x="374" y="601"/>
                    </a:lnTo>
                    <a:lnTo>
                      <a:pt x="374" y="602"/>
                    </a:lnTo>
                    <a:lnTo>
                      <a:pt x="372" y="602"/>
                    </a:lnTo>
                    <a:lnTo>
                      <a:pt x="371" y="602"/>
                    </a:lnTo>
                    <a:lnTo>
                      <a:pt x="369" y="604"/>
                    </a:lnTo>
                    <a:lnTo>
                      <a:pt x="368" y="607"/>
                    </a:lnTo>
                    <a:lnTo>
                      <a:pt x="368" y="610"/>
                    </a:lnTo>
                    <a:lnTo>
                      <a:pt x="366" y="612"/>
                    </a:lnTo>
                    <a:lnTo>
                      <a:pt x="364" y="613"/>
                    </a:lnTo>
                    <a:lnTo>
                      <a:pt x="363" y="615"/>
                    </a:lnTo>
                    <a:lnTo>
                      <a:pt x="361" y="615"/>
                    </a:lnTo>
                    <a:lnTo>
                      <a:pt x="361" y="616"/>
                    </a:lnTo>
                    <a:lnTo>
                      <a:pt x="360" y="616"/>
                    </a:lnTo>
                    <a:lnTo>
                      <a:pt x="360" y="618"/>
                    </a:lnTo>
                    <a:lnTo>
                      <a:pt x="360" y="620"/>
                    </a:lnTo>
                    <a:lnTo>
                      <a:pt x="358" y="620"/>
                    </a:lnTo>
                    <a:lnTo>
                      <a:pt x="357" y="621"/>
                    </a:lnTo>
                    <a:lnTo>
                      <a:pt x="357" y="626"/>
                    </a:lnTo>
                    <a:lnTo>
                      <a:pt x="355" y="626"/>
                    </a:lnTo>
                    <a:lnTo>
                      <a:pt x="353" y="624"/>
                    </a:lnTo>
                    <a:lnTo>
                      <a:pt x="353" y="623"/>
                    </a:lnTo>
                    <a:lnTo>
                      <a:pt x="352" y="623"/>
                    </a:lnTo>
                    <a:lnTo>
                      <a:pt x="352" y="624"/>
                    </a:lnTo>
                    <a:lnTo>
                      <a:pt x="350" y="624"/>
                    </a:lnTo>
                    <a:lnTo>
                      <a:pt x="349" y="624"/>
                    </a:lnTo>
                    <a:lnTo>
                      <a:pt x="349" y="626"/>
                    </a:lnTo>
                    <a:lnTo>
                      <a:pt x="342" y="626"/>
                    </a:lnTo>
                    <a:lnTo>
                      <a:pt x="339" y="627"/>
                    </a:lnTo>
                    <a:lnTo>
                      <a:pt x="339" y="626"/>
                    </a:lnTo>
                    <a:lnTo>
                      <a:pt x="338" y="626"/>
                    </a:lnTo>
                    <a:lnTo>
                      <a:pt x="336" y="624"/>
                    </a:lnTo>
                    <a:lnTo>
                      <a:pt x="334" y="623"/>
                    </a:lnTo>
                    <a:lnTo>
                      <a:pt x="334" y="626"/>
                    </a:lnTo>
                    <a:lnTo>
                      <a:pt x="334" y="627"/>
                    </a:lnTo>
                    <a:lnTo>
                      <a:pt x="333" y="629"/>
                    </a:lnTo>
                    <a:lnTo>
                      <a:pt x="331" y="629"/>
                    </a:lnTo>
                    <a:lnTo>
                      <a:pt x="330" y="627"/>
                    </a:lnTo>
                    <a:lnTo>
                      <a:pt x="330" y="629"/>
                    </a:lnTo>
                    <a:lnTo>
                      <a:pt x="328" y="629"/>
                    </a:lnTo>
                    <a:lnTo>
                      <a:pt x="326" y="629"/>
                    </a:lnTo>
                    <a:lnTo>
                      <a:pt x="325" y="626"/>
                    </a:lnTo>
                    <a:lnTo>
                      <a:pt x="323" y="626"/>
                    </a:lnTo>
                    <a:lnTo>
                      <a:pt x="323" y="627"/>
                    </a:lnTo>
                    <a:lnTo>
                      <a:pt x="320" y="626"/>
                    </a:lnTo>
                    <a:lnTo>
                      <a:pt x="319" y="627"/>
                    </a:lnTo>
                    <a:lnTo>
                      <a:pt x="319" y="629"/>
                    </a:lnTo>
                    <a:lnTo>
                      <a:pt x="320" y="631"/>
                    </a:lnTo>
                    <a:lnTo>
                      <a:pt x="320" y="632"/>
                    </a:lnTo>
                    <a:lnTo>
                      <a:pt x="319" y="632"/>
                    </a:lnTo>
                    <a:lnTo>
                      <a:pt x="319" y="631"/>
                    </a:lnTo>
                    <a:lnTo>
                      <a:pt x="314" y="629"/>
                    </a:lnTo>
                    <a:lnTo>
                      <a:pt x="314" y="627"/>
                    </a:lnTo>
                    <a:lnTo>
                      <a:pt x="314" y="626"/>
                    </a:lnTo>
                    <a:lnTo>
                      <a:pt x="312" y="624"/>
                    </a:lnTo>
                    <a:lnTo>
                      <a:pt x="312" y="623"/>
                    </a:lnTo>
                    <a:lnTo>
                      <a:pt x="311" y="623"/>
                    </a:lnTo>
                    <a:lnTo>
                      <a:pt x="307" y="621"/>
                    </a:lnTo>
                    <a:lnTo>
                      <a:pt x="306" y="620"/>
                    </a:lnTo>
                    <a:lnTo>
                      <a:pt x="304" y="620"/>
                    </a:lnTo>
                    <a:lnTo>
                      <a:pt x="304" y="621"/>
                    </a:lnTo>
                    <a:lnTo>
                      <a:pt x="306" y="623"/>
                    </a:lnTo>
                    <a:lnTo>
                      <a:pt x="306" y="624"/>
                    </a:lnTo>
                    <a:lnTo>
                      <a:pt x="306" y="626"/>
                    </a:lnTo>
                    <a:lnTo>
                      <a:pt x="304" y="626"/>
                    </a:lnTo>
                    <a:lnTo>
                      <a:pt x="300" y="626"/>
                    </a:lnTo>
                    <a:lnTo>
                      <a:pt x="296" y="624"/>
                    </a:lnTo>
                    <a:lnTo>
                      <a:pt x="295" y="623"/>
                    </a:lnTo>
                    <a:lnTo>
                      <a:pt x="293" y="624"/>
                    </a:lnTo>
                    <a:lnTo>
                      <a:pt x="292" y="624"/>
                    </a:lnTo>
                    <a:lnTo>
                      <a:pt x="290" y="623"/>
                    </a:lnTo>
                    <a:lnTo>
                      <a:pt x="288" y="624"/>
                    </a:lnTo>
                    <a:lnTo>
                      <a:pt x="287" y="624"/>
                    </a:lnTo>
                    <a:lnTo>
                      <a:pt x="285" y="623"/>
                    </a:lnTo>
                    <a:lnTo>
                      <a:pt x="285" y="621"/>
                    </a:lnTo>
                    <a:lnTo>
                      <a:pt x="284" y="618"/>
                    </a:lnTo>
                    <a:lnTo>
                      <a:pt x="284" y="616"/>
                    </a:lnTo>
                    <a:lnTo>
                      <a:pt x="282" y="616"/>
                    </a:lnTo>
                    <a:lnTo>
                      <a:pt x="281" y="618"/>
                    </a:lnTo>
                    <a:lnTo>
                      <a:pt x="281" y="620"/>
                    </a:lnTo>
                    <a:lnTo>
                      <a:pt x="279" y="620"/>
                    </a:lnTo>
                    <a:lnTo>
                      <a:pt x="277" y="620"/>
                    </a:lnTo>
                    <a:lnTo>
                      <a:pt x="276" y="621"/>
                    </a:lnTo>
                    <a:lnTo>
                      <a:pt x="274" y="621"/>
                    </a:lnTo>
                    <a:lnTo>
                      <a:pt x="274" y="623"/>
                    </a:lnTo>
                    <a:lnTo>
                      <a:pt x="274" y="621"/>
                    </a:lnTo>
                    <a:lnTo>
                      <a:pt x="273" y="621"/>
                    </a:lnTo>
                    <a:lnTo>
                      <a:pt x="271" y="621"/>
                    </a:lnTo>
                    <a:lnTo>
                      <a:pt x="271" y="620"/>
                    </a:lnTo>
                    <a:lnTo>
                      <a:pt x="271" y="618"/>
                    </a:lnTo>
                    <a:lnTo>
                      <a:pt x="269" y="618"/>
                    </a:lnTo>
                    <a:lnTo>
                      <a:pt x="268" y="618"/>
                    </a:lnTo>
                    <a:lnTo>
                      <a:pt x="263" y="618"/>
                    </a:lnTo>
                    <a:lnTo>
                      <a:pt x="262" y="618"/>
                    </a:lnTo>
                    <a:lnTo>
                      <a:pt x="260" y="616"/>
                    </a:lnTo>
                    <a:lnTo>
                      <a:pt x="260" y="615"/>
                    </a:lnTo>
                    <a:lnTo>
                      <a:pt x="257" y="613"/>
                    </a:lnTo>
                    <a:lnTo>
                      <a:pt x="228" y="615"/>
                    </a:lnTo>
                    <a:lnTo>
                      <a:pt x="227" y="615"/>
                    </a:lnTo>
                    <a:lnTo>
                      <a:pt x="225" y="615"/>
                    </a:lnTo>
                    <a:lnTo>
                      <a:pt x="223" y="615"/>
                    </a:lnTo>
                    <a:lnTo>
                      <a:pt x="222" y="615"/>
                    </a:lnTo>
                    <a:lnTo>
                      <a:pt x="220" y="615"/>
                    </a:lnTo>
                    <a:lnTo>
                      <a:pt x="219" y="615"/>
                    </a:lnTo>
                    <a:lnTo>
                      <a:pt x="217" y="615"/>
                    </a:lnTo>
                    <a:lnTo>
                      <a:pt x="216" y="615"/>
                    </a:lnTo>
                    <a:lnTo>
                      <a:pt x="214" y="615"/>
                    </a:lnTo>
                    <a:lnTo>
                      <a:pt x="212" y="615"/>
                    </a:lnTo>
                    <a:lnTo>
                      <a:pt x="211" y="615"/>
                    </a:lnTo>
                    <a:lnTo>
                      <a:pt x="209" y="615"/>
                    </a:lnTo>
                    <a:lnTo>
                      <a:pt x="208" y="615"/>
                    </a:lnTo>
                    <a:lnTo>
                      <a:pt x="208" y="616"/>
                    </a:lnTo>
                    <a:lnTo>
                      <a:pt x="206" y="616"/>
                    </a:lnTo>
                    <a:lnTo>
                      <a:pt x="204" y="616"/>
                    </a:lnTo>
                    <a:lnTo>
                      <a:pt x="204" y="615"/>
                    </a:lnTo>
                    <a:lnTo>
                      <a:pt x="201" y="615"/>
                    </a:lnTo>
                    <a:lnTo>
                      <a:pt x="200" y="615"/>
                    </a:lnTo>
                    <a:lnTo>
                      <a:pt x="197" y="615"/>
                    </a:lnTo>
                    <a:lnTo>
                      <a:pt x="195" y="615"/>
                    </a:lnTo>
                    <a:lnTo>
                      <a:pt x="195" y="616"/>
                    </a:lnTo>
                    <a:lnTo>
                      <a:pt x="192" y="616"/>
                    </a:lnTo>
                    <a:lnTo>
                      <a:pt x="190" y="616"/>
                    </a:lnTo>
                    <a:lnTo>
                      <a:pt x="187" y="616"/>
                    </a:lnTo>
                    <a:lnTo>
                      <a:pt x="184" y="616"/>
                    </a:lnTo>
                    <a:lnTo>
                      <a:pt x="173" y="616"/>
                    </a:lnTo>
                    <a:lnTo>
                      <a:pt x="171" y="616"/>
                    </a:lnTo>
                    <a:lnTo>
                      <a:pt x="165" y="616"/>
                    </a:lnTo>
                    <a:lnTo>
                      <a:pt x="163" y="616"/>
                    </a:lnTo>
                    <a:lnTo>
                      <a:pt x="163" y="618"/>
                    </a:lnTo>
                    <a:lnTo>
                      <a:pt x="162" y="618"/>
                    </a:lnTo>
                    <a:lnTo>
                      <a:pt x="159" y="618"/>
                    </a:lnTo>
                    <a:lnTo>
                      <a:pt x="155" y="618"/>
                    </a:lnTo>
                    <a:lnTo>
                      <a:pt x="154" y="618"/>
                    </a:lnTo>
                    <a:lnTo>
                      <a:pt x="152" y="618"/>
                    </a:lnTo>
                    <a:lnTo>
                      <a:pt x="151" y="618"/>
                    </a:lnTo>
                    <a:lnTo>
                      <a:pt x="149" y="618"/>
                    </a:lnTo>
                    <a:lnTo>
                      <a:pt x="146" y="618"/>
                    </a:lnTo>
                    <a:lnTo>
                      <a:pt x="144" y="618"/>
                    </a:lnTo>
                    <a:lnTo>
                      <a:pt x="143" y="618"/>
                    </a:lnTo>
                    <a:lnTo>
                      <a:pt x="141" y="618"/>
                    </a:lnTo>
                    <a:lnTo>
                      <a:pt x="138" y="618"/>
                    </a:lnTo>
                    <a:lnTo>
                      <a:pt x="136" y="620"/>
                    </a:lnTo>
                    <a:lnTo>
                      <a:pt x="135" y="620"/>
                    </a:lnTo>
                    <a:lnTo>
                      <a:pt x="133" y="618"/>
                    </a:lnTo>
                    <a:lnTo>
                      <a:pt x="132" y="618"/>
                    </a:lnTo>
                    <a:lnTo>
                      <a:pt x="130" y="612"/>
                    </a:lnTo>
                    <a:lnTo>
                      <a:pt x="128" y="608"/>
                    </a:lnTo>
                    <a:lnTo>
                      <a:pt x="128" y="605"/>
                    </a:lnTo>
                    <a:lnTo>
                      <a:pt x="128" y="601"/>
                    </a:lnTo>
                    <a:lnTo>
                      <a:pt x="127" y="593"/>
                    </a:lnTo>
                    <a:lnTo>
                      <a:pt x="125" y="589"/>
                    </a:lnTo>
                    <a:lnTo>
                      <a:pt x="124" y="578"/>
                    </a:lnTo>
                    <a:lnTo>
                      <a:pt x="122" y="572"/>
                    </a:lnTo>
                    <a:lnTo>
                      <a:pt x="122" y="567"/>
                    </a:lnTo>
                    <a:lnTo>
                      <a:pt x="121" y="564"/>
                    </a:lnTo>
                    <a:lnTo>
                      <a:pt x="116" y="556"/>
                    </a:lnTo>
                    <a:lnTo>
                      <a:pt x="116" y="555"/>
                    </a:lnTo>
                    <a:lnTo>
                      <a:pt x="113" y="553"/>
                    </a:lnTo>
                    <a:lnTo>
                      <a:pt x="109" y="551"/>
                    </a:lnTo>
                    <a:lnTo>
                      <a:pt x="108" y="548"/>
                    </a:lnTo>
                    <a:lnTo>
                      <a:pt x="103" y="547"/>
                    </a:lnTo>
                    <a:lnTo>
                      <a:pt x="95" y="542"/>
                    </a:lnTo>
                    <a:lnTo>
                      <a:pt x="92" y="540"/>
                    </a:lnTo>
                    <a:lnTo>
                      <a:pt x="83" y="537"/>
                    </a:lnTo>
                    <a:lnTo>
                      <a:pt x="79" y="537"/>
                    </a:lnTo>
                    <a:lnTo>
                      <a:pt x="75" y="539"/>
                    </a:lnTo>
                    <a:lnTo>
                      <a:pt x="75" y="537"/>
                    </a:lnTo>
                    <a:lnTo>
                      <a:pt x="75" y="536"/>
                    </a:lnTo>
                    <a:lnTo>
                      <a:pt x="73" y="534"/>
                    </a:lnTo>
                    <a:lnTo>
                      <a:pt x="73" y="531"/>
                    </a:lnTo>
                    <a:lnTo>
                      <a:pt x="73" y="529"/>
                    </a:lnTo>
                    <a:lnTo>
                      <a:pt x="75" y="528"/>
                    </a:lnTo>
                    <a:lnTo>
                      <a:pt x="76" y="528"/>
                    </a:lnTo>
                    <a:lnTo>
                      <a:pt x="78" y="525"/>
                    </a:lnTo>
                    <a:lnTo>
                      <a:pt x="76" y="521"/>
                    </a:lnTo>
                    <a:lnTo>
                      <a:pt x="73" y="518"/>
                    </a:lnTo>
                    <a:lnTo>
                      <a:pt x="71" y="518"/>
                    </a:lnTo>
                    <a:lnTo>
                      <a:pt x="70" y="518"/>
                    </a:lnTo>
                    <a:lnTo>
                      <a:pt x="68" y="517"/>
                    </a:lnTo>
                    <a:lnTo>
                      <a:pt x="68" y="512"/>
                    </a:lnTo>
                    <a:lnTo>
                      <a:pt x="65" y="509"/>
                    </a:lnTo>
                    <a:lnTo>
                      <a:pt x="63" y="506"/>
                    </a:lnTo>
                    <a:lnTo>
                      <a:pt x="60" y="502"/>
                    </a:lnTo>
                    <a:lnTo>
                      <a:pt x="59" y="498"/>
                    </a:lnTo>
                    <a:lnTo>
                      <a:pt x="59" y="494"/>
                    </a:lnTo>
                    <a:lnTo>
                      <a:pt x="56" y="493"/>
                    </a:lnTo>
                    <a:lnTo>
                      <a:pt x="52" y="490"/>
                    </a:lnTo>
                    <a:lnTo>
                      <a:pt x="49" y="485"/>
                    </a:lnTo>
                    <a:lnTo>
                      <a:pt x="49" y="483"/>
                    </a:lnTo>
                    <a:lnTo>
                      <a:pt x="48" y="482"/>
                    </a:lnTo>
                    <a:lnTo>
                      <a:pt x="43" y="479"/>
                    </a:lnTo>
                    <a:lnTo>
                      <a:pt x="37" y="475"/>
                    </a:lnTo>
                    <a:lnTo>
                      <a:pt x="35" y="475"/>
                    </a:lnTo>
                    <a:lnTo>
                      <a:pt x="30" y="474"/>
                    </a:lnTo>
                    <a:lnTo>
                      <a:pt x="29" y="472"/>
                    </a:lnTo>
                    <a:lnTo>
                      <a:pt x="27" y="471"/>
                    </a:lnTo>
                    <a:lnTo>
                      <a:pt x="25" y="467"/>
                    </a:lnTo>
                    <a:lnTo>
                      <a:pt x="25" y="466"/>
                    </a:lnTo>
                    <a:lnTo>
                      <a:pt x="27" y="464"/>
                    </a:lnTo>
                    <a:lnTo>
                      <a:pt x="25" y="463"/>
                    </a:lnTo>
                    <a:lnTo>
                      <a:pt x="27" y="460"/>
                    </a:lnTo>
                    <a:lnTo>
                      <a:pt x="27" y="456"/>
                    </a:lnTo>
                    <a:lnTo>
                      <a:pt x="25" y="455"/>
                    </a:lnTo>
                    <a:lnTo>
                      <a:pt x="25" y="453"/>
                    </a:lnTo>
                    <a:lnTo>
                      <a:pt x="27" y="455"/>
                    </a:lnTo>
                    <a:lnTo>
                      <a:pt x="29" y="455"/>
                    </a:lnTo>
                    <a:lnTo>
                      <a:pt x="27" y="452"/>
                    </a:lnTo>
                    <a:lnTo>
                      <a:pt x="27" y="450"/>
                    </a:lnTo>
                    <a:lnTo>
                      <a:pt x="25" y="450"/>
                    </a:lnTo>
                    <a:lnTo>
                      <a:pt x="24" y="450"/>
                    </a:lnTo>
                    <a:lnTo>
                      <a:pt x="22" y="448"/>
                    </a:lnTo>
                    <a:lnTo>
                      <a:pt x="21" y="448"/>
                    </a:lnTo>
                    <a:lnTo>
                      <a:pt x="19" y="448"/>
                    </a:lnTo>
                    <a:lnTo>
                      <a:pt x="18" y="447"/>
                    </a:lnTo>
                    <a:lnTo>
                      <a:pt x="16" y="444"/>
                    </a:lnTo>
                    <a:lnTo>
                      <a:pt x="16" y="436"/>
                    </a:lnTo>
                    <a:lnTo>
                      <a:pt x="18" y="429"/>
                    </a:lnTo>
                    <a:lnTo>
                      <a:pt x="19" y="426"/>
                    </a:lnTo>
                    <a:lnTo>
                      <a:pt x="21" y="425"/>
                    </a:lnTo>
                    <a:lnTo>
                      <a:pt x="22" y="420"/>
                    </a:lnTo>
                    <a:lnTo>
                      <a:pt x="27" y="415"/>
                    </a:lnTo>
                    <a:lnTo>
                      <a:pt x="29" y="414"/>
                    </a:lnTo>
                    <a:lnTo>
                      <a:pt x="29" y="410"/>
                    </a:lnTo>
                    <a:lnTo>
                      <a:pt x="30" y="409"/>
                    </a:lnTo>
                    <a:lnTo>
                      <a:pt x="30" y="407"/>
                    </a:lnTo>
                    <a:lnTo>
                      <a:pt x="30" y="406"/>
                    </a:lnTo>
                    <a:lnTo>
                      <a:pt x="32" y="404"/>
                    </a:lnTo>
                    <a:lnTo>
                      <a:pt x="32" y="403"/>
                    </a:lnTo>
                    <a:lnTo>
                      <a:pt x="29" y="399"/>
                    </a:lnTo>
                    <a:lnTo>
                      <a:pt x="30" y="393"/>
                    </a:lnTo>
                    <a:lnTo>
                      <a:pt x="29" y="387"/>
                    </a:lnTo>
                    <a:lnTo>
                      <a:pt x="30" y="382"/>
                    </a:lnTo>
                    <a:lnTo>
                      <a:pt x="32" y="379"/>
                    </a:lnTo>
                    <a:lnTo>
                      <a:pt x="32" y="372"/>
                    </a:lnTo>
                    <a:lnTo>
                      <a:pt x="30" y="363"/>
                    </a:lnTo>
                    <a:lnTo>
                      <a:pt x="30" y="360"/>
                    </a:lnTo>
                    <a:lnTo>
                      <a:pt x="32" y="358"/>
                    </a:lnTo>
                    <a:lnTo>
                      <a:pt x="32" y="355"/>
                    </a:lnTo>
                    <a:lnTo>
                      <a:pt x="32" y="350"/>
                    </a:lnTo>
                    <a:lnTo>
                      <a:pt x="29" y="346"/>
                    </a:lnTo>
                    <a:lnTo>
                      <a:pt x="27" y="344"/>
                    </a:lnTo>
                    <a:lnTo>
                      <a:pt x="25" y="342"/>
                    </a:lnTo>
                    <a:lnTo>
                      <a:pt x="22" y="341"/>
                    </a:lnTo>
                    <a:lnTo>
                      <a:pt x="21" y="338"/>
                    </a:lnTo>
                    <a:lnTo>
                      <a:pt x="22" y="336"/>
                    </a:lnTo>
                    <a:lnTo>
                      <a:pt x="24" y="330"/>
                    </a:lnTo>
                    <a:lnTo>
                      <a:pt x="22" y="327"/>
                    </a:lnTo>
                    <a:lnTo>
                      <a:pt x="22" y="323"/>
                    </a:lnTo>
                    <a:lnTo>
                      <a:pt x="19" y="317"/>
                    </a:lnTo>
                    <a:lnTo>
                      <a:pt x="19" y="315"/>
                    </a:lnTo>
                    <a:lnTo>
                      <a:pt x="18" y="312"/>
                    </a:lnTo>
                    <a:lnTo>
                      <a:pt x="14" y="311"/>
                    </a:lnTo>
                    <a:lnTo>
                      <a:pt x="11" y="304"/>
                    </a:lnTo>
                    <a:lnTo>
                      <a:pt x="11" y="303"/>
                    </a:lnTo>
                    <a:lnTo>
                      <a:pt x="13" y="300"/>
                    </a:lnTo>
                    <a:lnTo>
                      <a:pt x="14" y="300"/>
                    </a:lnTo>
                    <a:lnTo>
                      <a:pt x="14" y="296"/>
                    </a:lnTo>
                    <a:lnTo>
                      <a:pt x="5" y="292"/>
                    </a:lnTo>
                    <a:lnTo>
                      <a:pt x="2" y="288"/>
                    </a:lnTo>
                    <a:lnTo>
                      <a:pt x="2" y="287"/>
                    </a:lnTo>
                    <a:lnTo>
                      <a:pt x="2" y="282"/>
                    </a:lnTo>
                    <a:lnTo>
                      <a:pt x="0" y="281"/>
                    </a:lnTo>
                    <a:lnTo>
                      <a:pt x="2" y="281"/>
                    </a:lnTo>
                    <a:lnTo>
                      <a:pt x="3" y="281"/>
                    </a:lnTo>
                    <a:lnTo>
                      <a:pt x="5" y="281"/>
                    </a:lnTo>
                    <a:lnTo>
                      <a:pt x="6" y="281"/>
                    </a:lnTo>
                    <a:lnTo>
                      <a:pt x="8" y="281"/>
                    </a:lnTo>
                    <a:lnTo>
                      <a:pt x="8" y="282"/>
                    </a:lnTo>
                    <a:lnTo>
                      <a:pt x="10" y="281"/>
                    </a:lnTo>
                    <a:lnTo>
                      <a:pt x="11" y="281"/>
                    </a:lnTo>
                    <a:lnTo>
                      <a:pt x="13" y="279"/>
                    </a:lnTo>
                    <a:lnTo>
                      <a:pt x="14" y="279"/>
                    </a:lnTo>
                    <a:lnTo>
                      <a:pt x="16" y="281"/>
                    </a:lnTo>
                    <a:lnTo>
                      <a:pt x="16" y="282"/>
                    </a:lnTo>
                    <a:lnTo>
                      <a:pt x="18" y="281"/>
                    </a:lnTo>
                    <a:lnTo>
                      <a:pt x="18" y="279"/>
                    </a:lnTo>
                    <a:lnTo>
                      <a:pt x="19" y="279"/>
                    </a:lnTo>
                    <a:lnTo>
                      <a:pt x="21" y="279"/>
                    </a:lnTo>
                    <a:lnTo>
                      <a:pt x="22" y="279"/>
                    </a:lnTo>
                    <a:lnTo>
                      <a:pt x="24" y="281"/>
                    </a:lnTo>
                    <a:lnTo>
                      <a:pt x="25" y="282"/>
                    </a:lnTo>
                    <a:lnTo>
                      <a:pt x="27" y="282"/>
                    </a:lnTo>
                    <a:lnTo>
                      <a:pt x="27" y="281"/>
                    </a:lnTo>
                    <a:lnTo>
                      <a:pt x="29" y="281"/>
                    </a:lnTo>
                    <a:lnTo>
                      <a:pt x="29" y="282"/>
                    </a:lnTo>
                    <a:lnTo>
                      <a:pt x="30" y="282"/>
                    </a:lnTo>
                    <a:lnTo>
                      <a:pt x="32" y="282"/>
                    </a:lnTo>
                    <a:lnTo>
                      <a:pt x="33" y="281"/>
                    </a:lnTo>
                    <a:lnTo>
                      <a:pt x="35" y="281"/>
                    </a:lnTo>
                    <a:lnTo>
                      <a:pt x="37" y="281"/>
                    </a:lnTo>
                    <a:lnTo>
                      <a:pt x="38" y="282"/>
                    </a:lnTo>
                    <a:lnTo>
                      <a:pt x="40" y="282"/>
                    </a:lnTo>
                    <a:lnTo>
                      <a:pt x="41" y="282"/>
                    </a:lnTo>
                    <a:lnTo>
                      <a:pt x="43" y="282"/>
                    </a:lnTo>
                    <a:lnTo>
                      <a:pt x="43" y="281"/>
                    </a:lnTo>
                    <a:lnTo>
                      <a:pt x="44" y="281"/>
                    </a:lnTo>
                    <a:lnTo>
                      <a:pt x="46" y="279"/>
                    </a:lnTo>
                    <a:lnTo>
                      <a:pt x="48" y="279"/>
                    </a:lnTo>
                    <a:lnTo>
                      <a:pt x="48" y="277"/>
                    </a:lnTo>
                    <a:lnTo>
                      <a:pt x="48" y="276"/>
                    </a:lnTo>
                    <a:lnTo>
                      <a:pt x="48" y="274"/>
                    </a:lnTo>
                    <a:lnTo>
                      <a:pt x="49" y="274"/>
                    </a:lnTo>
                    <a:lnTo>
                      <a:pt x="49" y="273"/>
                    </a:lnTo>
                    <a:lnTo>
                      <a:pt x="51" y="273"/>
                    </a:lnTo>
                    <a:lnTo>
                      <a:pt x="52" y="273"/>
                    </a:lnTo>
                    <a:lnTo>
                      <a:pt x="54" y="274"/>
                    </a:lnTo>
                    <a:lnTo>
                      <a:pt x="56" y="274"/>
                    </a:lnTo>
                    <a:lnTo>
                      <a:pt x="57" y="273"/>
                    </a:lnTo>
                    <a:lnTo>
                      <a:pt x="59" y="273"/>
                    </a:lnTo>
                    <a:lnTo>
                      <a:pt x="60" y="271"/>
                    </a:lnTo>
                    <a:lnTo>
                      <a:pt x="62" y="271"/>
                    </a:lnTo>
                    <a:lnTo>
                      <a:pt x="63" y="271"/>
                    </a:lnTo>
                    <a:lnTo>
                      <a:pt x="63" y="269"/>
                    </a:lnTo>
                    <a:lnTo>
                      <a:pt x="65" y="269"/>
                    </a:lnTo>
                    <a:lnTo>
                      <a:pt x="67" y="268"/>
                    </a:lnTo>
                    <a:lnTo>
                      <a:pt x="68" y="268"/>
                    </a:lnTo>
                    <a:lnTo>
                      <a:pt x="68" y="266"/>
                    </a:lnTo>
                    <a:lnTo>
                      <a:pt x="68" y="265"/>
                    </a:lnTo>
                    <a:lnTo>
                      <a:pt x="68" y="263"/>
                    </a:lnTo>
                    <a:lnTo>
                      <a:pt x="68" y="262"/>
                    </a:lnTo>
                    <a:lnTo>
                      <a:pt x="70" y="262"/>
                    </a:lnTo>
                    <a:lnTo>
                      <a:pt x="71" y="260"/>
                    </a:lnTo>
                    <a:lnTo>
                      <a:pt x="71" y="258"/>
                    </a:lnTo>
                    <a:lnTo>
                      <a:pt x="71" y="257"/>
                    </a:lnTo>
                    <a:lnTo>
                      <a:pt x="71" y="255"/>
                    </a:lnTo>
                    <a:lnTo>
                      <a:pt x="73" y="254"/>
                    </a:lnTo>
                    <a:lnTo>
                      <a:pt x="73" y="252"/>
                    </a:lnTo>
                    <a:lnTo>
                      <a:pt x="75" y="252"/>
                    </a:lnTo>
                    <a:lnTo>
                      <a:pt x="75" y="250"/>
                    </a:lnTo>
                    <a:lnTo>
                      <a:pt x="76" y="250"/>
                    </a:lnTo>
                    <a:lnTo>
                      <a:pt x="76" y="252"/>
                    </a:lnTo>
                    <a:lnTo>
                      <a:pt x="78" y="252"/>
                    </a:lnTo>
                    <a:lnTo>
                      <a:pt x="79" y="252"/>
                    </a:lnTo>
                    <a:lnTo>
                      <a:pt x="81" y="252"/>
                    </a:lnTo>
                    <a:lnTo>
                      <a:pt x="81" y="254"/>
                    </a:lnTo>
                    <a:lnTo>
                      <a:pt x="83" y="252"/>
                    </a:lnTo>
                    <a:lnTo>
                      <a:pt x="84" y="252"/>
                    </a:lnTo>
                    <a:lnTo>
                      <a:pt x="84" y="250"/>
                    </a:lnTo>
                    <a:lnTo>
                      <a:pt x="86" y="249"/>
                    </a:lnTo>
                    <a:lnTo>
                      <a:pt x="86" y="247"/>
                    </a:lnTo>
                    <a:lnTo>
                      <a:pt x="86" y="246"/>
                    </a:lnTo>
                    <a:lnTo>
                      <a:pt x="87" y="246"/>
                    </a:lnTo>
                    <a:lnTo>
                      <a:pt x="89" y="246"/>
                    </a:lnTo>
                    <a:lnTo>
                      <a:pt x="90" y="246"/>
                    </a:lnTo>
                    <a:lnTo>
                      <a:pt x="90" y="244"/>
                    </a:lnTo>
                    <a:lnTo>
                      <a:pt x="89" y="244"/>
                    </a:lnTo>
                    <a:lnTo>
                      <a:pt x="89" y="243"/>
                    </a:lnTo>
                    <a:lnTo>
                      <a:pt x="89" y="241"/>
                    </a:lnTo>
                    <a:lnTo>
                      <a:pt x="90" y="241"/>
                    </a:lnTo>
                    <a:lnTo>
                      <a:pt x="92" y="239"/>
                    </a:lnTo>
                    <a:lnTo>
                      <a:pt x="94" y="239"/>
                    </a:lnTo>
                    <a:lnTo>
                      <a:pt x="94" y="238"/>
                    </a:lnTo>
                    <a:lnTo>
                      <a:pt x="95" y="238"/>
                    </a:lnTo>
                    <a:lnTo>
                      <a:pt x="97" y="238"/>
                    </a:lnTo>
                    <a:lnTo>
                      <a:pt x="98" y="236"/>
                    </a:lnTo>
                    <a:lnTo>
                      <a:pt x="98" y="235"/>
                    </a:lnTo>
                    <a:lnTo>
                      <a:pt x="100" y="235"/>
                    </a:lnTo>
                    <a:lnTo>
                      <a:pt x="102" y="235"/>
                    </a:lnTo>
                    <a:lnTo>
                      <a:pt x="103" y="235"/>
                    </a:lnTo>
                    <a:lnTo>
                      <a:pt x="103" y="233"/>
                    </a:lnTo>
                    <a:lnTo>
                      <a:pt x="105" y="233"/>
                    </a:lnTo>
                    <a:lnTo>
                      <a:pt x="106" y="233"/>
                    </a:lnTo>
                    <a:lnTo>
                      <a:pt x="106" y="231"/>
                    </a:lnTo>
                    <a:lnTo>
                      <a:pt x="108" y="231"/>
                    </a:lnTo>
                    <a:lnTo>
                      <a:pt x="108" y="230"/>
                    </a:lnTo>
                    <a:lnTo>
                      <a:pt x="109" y="230"/>
                    </a:lnTo>
                    <a:lnTo>
                      <a:pt x="109" y="228"/>
                    </a:lnTo>
                    <a:lnTo>
                      <a:pt x="111" y="227"/>
                    </a:lnTo>
                    <a:lnTo>
                      <a:pt x="113" y="227"/>
                    </a:lnTo>
                    <a:lnTo>
                      <a:pt x="114" y="227"/>
                    </a:lnTo>
                    <a:lnTo>
                      <a:pt x="116" y="227"/>
                    </a:lnTo>
                    <a:lnTo>
                      <a:pt x="117" y="227"/>
                    </a:lnTo>
                    <a:lnTo>
                      <a:pt x="119" y="227"/>
                    </a:lnTo>
                    <a:lnTo>
                      <a:pt x="121" y="227"/>
                    </a:lnTo>
                    <a:lnTo>
                      <a:pt x="122" y="225"/>
                    </a:lnTo>
                    <a:lnTo>
                      <a:pt x="124" y="224"/>
                    </a:lnTo>
                    <a:lnTo>
                      <a:pt x="124" y="222"/>
                    </a:lnTo>
                    <a:lnTo>
                      <a:pt x="125" y="222"/>
                    </a:lnTo>
                    <a:lnTo>
                      <a:pt x="125" y="220"/>
                    </a:lnTo>
                    <a:lnTo>
                      <a:pt x="127" y="220"/>
                    </a:lnTo>
                    <a:lnTo>
                      <a:pt x="127" y="219"/>
                    </a:lnTo>
                    <a:lnTo>
                      <a:pt x="128" y="219"/>
                    </a:lnTo>
                    <a:lnTo>
                      <a:pt x="128" y="217"/>
                    </a:lnTo>
                    <a:lnTo>
                      <a:pt x="130" y="216"/>
                    </a:lnTo>
                    <a:lnTo>
                      <a:pt x="132" y="214"/>
                    </a:lnTo>
                    <a:lnTo>
                      <a:pt x="133" y="212"/>
                    </a:lnTo>
                    <a:lnTo>
                      <a:pt x="135" y="212"/>
                    </a:lnTo>
                    <a:lnTo>
                      <a:pt x="135" y="214"/>
                    </a:lnTo>
                    <a:lnTo>
                      <a:pt x="136" y="214"/>
                    </a:lnTo>
                    <a:lnTo>
                      <a:pt x="138" y="212"/>
                    </a:lnTo>
                    <a:lnTo>
                      <a:pt x="136" y="211"/>
                    </a:lnTo>
                    <a:lnTo>
                      <a:pt x="138" y="209"/>
                    </a:lnTo>
                    <a:lnTo>
                      <a:pt x="140" y="209"/>
                    </a:lnTo>
                    <a:lnTo>
                      <a:pt x="141" y="209"/>
                    </a:lnTo>
                    <a:lnTo>
                      <a:pt x="143" y="211"/>
                    </a:lnTo>
                    <a:lnTo>
                      <a:pt x="143" y="209"/>
                    </a:lnTo>
                    <a:lnTo>
                      <a:pt x="144" y="209"/>
                    </a:lnTo>
                    <a:lnTo>
                      <a:pt x="144" y="208"/>
                    </a:lnTo>
                    <a:lnTo>
                      <a:pt x="146" y="208"/>
                    </a:lnTo>
                    <a:lnTo>
                      <a:pt x="146" y="206"/>
                    </a:lnTo>
                    <a:lnTo>
                      <a:pt x="146" y="205"/>
                    </a:lnTo>
                    <a:lnTo>
                      <a:pt x="146" y="203"/>
                    </a:lnTo>
                    <a:lnTo>
                      <a:pt x="144" y="203"/>
                    </a:lnTo>
                    <a:lnTo>
                      <a:pt x="144" y="201"/>
                    </a:lnTo>
                    <a:lnTo>
                      <a:pt x="144" y="200"/>
                    </a:lnTo>
                    <a:lnTo>
                      <a:pt x="144" y="201"/>
                    </a:lnTo>
                    <a:lnTo>
                      <a:pt x="144" y="203"/>
                    </a:lnTo>
                    <a:lnTo>
                      <a:pt x="144" y="205"/>
                    </a:lnTo>
                    <a:lnTo>
                      <a:pt x="143" y="205"/>
                    </a:lnTo>
                    <a:lnTo>
                      <a:pt x="141" y="205"/>
                    </a:lnTo>
                    <a:lnTo>
                      <a:pt x="141" y="203"/>
                    </a:lnTo>
                    <a:lnTo>
                      <a:pt x="141" y="201"/>
                    </a:lnTo>
                    <a:lnTo>
                      <a:pt x="140" y="201"/>
                    </a:lnTo>
                    <a:lnTo>
                      <a:pt x="140" y="200"/>
                    </a:lnTo>
                    <a:lnTo>
                      <a:pt x="141" y="200"/>
                    </a:lnTo>
                    <a:lnTo>
                      <a:pt x="141" y="198"/>
                    </a:lnTo>
                    <a:lnTo>
                      <a:pt x="141" y="197"/>
                    </a:lnTo>
                    <a:lnTo>
                      <a:pt x="141" y="195"/>
                    </a:lnTo>
                    <a:lnTo>
                      <a:pt x="141" y="193"/>
                    </a:lnTo>
                    <a:lnTo>
                      <a:pt x="143" y="192"/>
                    </a:lnTo>
                    <a:lnTo>
                      <a:pt x="143" y="193"/>
                    </a:lnTo>
                    <a:lnTo>
                      <a:pt x="144" y="195"/>
                    </a:lnTo>
                    <a:lnTo>
                      <a:pt x="144" y="193"/>
                    </a:lnTo>
                    <a:lnTo>
                      <a:pt x="144" y="192"/>
                    </a:lnTo>
                    <a:lnTo>
                      <a:pt x="144" y="190"/>
                    </a:lnTo>
                    <a:lnTo>
                      <a:pt x="146" y="190"/>
                    </a:lnTo>
                    <a:lnTo>
                      <a:pt x="146" y="189"/>
                    </a:lnTo>
                    <a:lnTo>
                      <a:pt x="146" y="187"/>
                    </a:lnTo>
                    <a:lnTo>
                      <a:pt x="146" y="186"/>
                    </a:lnTo>
                    <a:lnTo>
                      <a:pt x="147" y="186"/>
                    </a:lnTo>
                    <a:lnTo>
                      <a:pt x="147" y="184"/>
                    </a:lnTo>
                    <a:lnTo>
                      <a:pt x="149" y="182"/>
                    </a:lnTo>
                    <a:lnTo>
                      <a:pt x="147" y="182"/>
                    </a:lnTo>
                    <a:lnTo>
                      <a:pt x="146" y="181"/>
                    </a:lnTo>
                    <a:lnTo>
                      <a:pt x="146" y="179"/>
                    </a:lnTo>
                    <a:lnTo>
                      <a:pt x="147" y="179"/>
                    </a:lnTo>
                    <a:lnTo>
                      <a:pt x="147" y="178"/>
                    </a:lnTo>
                    <a:lnTo>
                      <a:pt x="147" y="176"/>
                    </a:lnTo>
                    <a:lnTo>
                      <a:pt x="149" y="176"/>
                    </a:lnTo>
                    <a:lnTo>
                      <a:pt x="151" y="176"/>
                    </a:lnTo>
                    <a:lnTo>
                      <a:pt x="151" y="174"/>
                    </a:lnTo>
                    <a:lnTo>
                      <a:pt x="152" y="174"/>
                    </a:lnTo>
                    <a:lnTo>
                      <a:pt x="154" y="174"/>
                    </a:lnTo>
                    <a:lnTo>
                      <a:pt x="155" y="173"/>
                    </a:lnTo>
                    <a:lnTo>
                      <a:pt x="155" y="174"/>
                    </a:lnTo>
                    <a:lnTo>
                      <a:pt x="157" y="174"/>
                    </a:lnTo>
                    <a:lnTo>
                      <a:pt x="157" y="176"/>
                    </a:lnTo>
                    <a:lnTo>
                      <a:pt x="159" y="174"/>
                    </a:lnTo>
                    <a:lnTo>
                      <a:pt x="160" y="174"/>
                    </a:lnTo>
                    <a:lnTo>
                      <a:pt x="160" y="173"/>
                    </a:lnTo>
                    <a:lnTo>
                      <a:pt x="162" y="173"/>
                    </a:lnTo>
                    <a:lnTo>
                      <a:pt x="163" y="171"/>
                    </a:lnTo>
                    <a:lnTo>
                      <a:pt x="163" y="173"/>
                    </a:lnTo>
                    <a:lnTo>
                      <a:pt x="165" y="174"/>
                    </a:lnTo>
                    <a:lnTo>
                      <a:pt x="166" y="174"/>
                    </a:lnTo>
                    <a:lnTo>
                      <a:pt x="168" y="173"/>
                    </a:lnTo>
                    <a:lnTo>
                      <a:pt x="168" y="171"/>
                    </a:lnTo>
                    <a:lnTo>
                      <a:pt x="170" y="171"/>
                    </a:lnTo>
                    <a:lnTo>
                      <a:pt x="171" y="171"/>
                    </a:lnTo>
                    <a:lnTo>
                      <a:pt x="171" y="170"/>
                    </a:lnTo>
                    <a:lnTo>
                      <a:pt x="171" y="168"/>
                    </a:lnTo>
                    <a:lnTo>
                      <a:pt x="173" y="168"/>
                    </a:lnTo>
                    <a:lnTo>
                      <a:pt x="173" y="170"/>
                    </a:lnTo>
                    <a:lnTo>
                      <a:pt x="171" y="171"/>
                    </a:lnTo>
                    <a:lnTo>
                      <a:pt x="173" y="171"/>
                    </a:lnTo>
                    <a:lnTo>
                      <a:pt x="174" y="171"/>
                    </a:lnTo>
                    <a:lnTo>
                      <a:pt x="174" y="173"/>
                    </a:lnTo>
                    <a:lnTo>
                      <a:pt x="176" y="173"/>
                    </a:lnTo>
                    <a:lnTo>
                      <a:pt x="178" y="173"/>
                    </a:lnTo>
                    <a:lnTo>
                      <a:pt x="179" y="173"/>
                    </a:lnTo>
                    <a:lnTo>
                      <a:pt x="179" y="174"/>
                    </a:lnTo>
                    <a:lnTo>
                      <a:pt x="181" y="174"/>
                    </a:lnTo>
                    <a:lnTo>
                      <a:pt x="181" y="173"/>
                    </a:lnTo>
                    <a:lnTo>
                      <a:pt x="182" y="173"/>
                    </a:lnTo>
                    <a:lnTo>
                      <a:pt x="184" y="173"/>
                    </a:lnTo>
                    <a:lnTo>
                      <a:pt x="184" y="171"/>
                    </a:lnTo>
                    <a:lnTo>
                      <a:pt x="182" y="171"/>
                    </a:lnTo>
                    <a:lnTo>
                      <a:pt x="182" y="170"/>
                    </a:lnTo>
                    <a:lnTo>
                      <a:pt x="184" y="170"/>
                    </a:lnTo>
                    <a:lnTo>
                      <a:pt x="184" y="168"/>
                    </a:lnTo>
                    <a:lnTo>
                      <a:pt x="184" y="167"/>
                    </a:lnTo>
                    <a:lnTo>
                      <a:pt x="184" y="165"/>
                    </a:lnTo>
                    <a:lnTo>
                      <a:pt x="182" y="165"/>
                    </a:lnTo>
                    <a:lnTo>
                      <a:pt x="184" y="163"/>
                    </a:lnTo>
                    <a:lnTo>
                      <a:pt x="184" y="165"/>
                    </a:lnTo>
                    <a:lnTo>
                      <a:pt x="185" y="165"/>
                    </a:lnTo>
                    <a:lnTo>
                      <a:pt x="187" y="163"/>
                    </a:lnTo>
                    <a:lnTo>
                      <a:pt x="189" y="163"/>
                    </a:lnTo>
                    <a:lnTo>
                      <a:pt x="189" y="162"/>
                    </a:lnTo>
                    <a:lnTo>
                      <a:pt x="189" y="160"/>
                    </a:lnTo>
                    <a:lnTo>
                      <a:pt x="187" y="160"/>
                    </a:lnTo>
                    <a:lnTo>
                      <a:pt x="187" y="159"/>
                    </a:lnTo>
                    <a:lnTo>
                      <a:pt x="189" y="159"/>
                    </a:lnTo>
                    <a:lnTo>
                      <a:pt x="190" y="159"/>
                    </a:lnTo>
                    <a:lnTo>
                      <a:pt x="189" y="157"/>
                    </a:lnTo>
                    <a:lnTo>
                      <a:pt x="189" y="155"/>
                    </a:lnTo>
                    <a:lnTo>
                      <a:pt x="189" y="154"/>
                    </a:lnTo>
                    <a:lnTo>
                      <a:pt x="190" y="154"/>
                    </a:lnTo>
                    <a:lnTo>
                      <a:pt x="192" y="155"/>
                    </a:lnTo>
                    <a:lnTo>
                      <a:pt x="192" y="154"/>
                    </a:lnTo>
                    <a:lnTo>
                      <a:pt x="192" y="152"/>
                    </a:lnTo>
                    <a:lnTo>
                      <a:pt x="192" y="151"/>
                    </a:lnTo>
                    <a:lnTo>
                      <a:pt x="193" y="151"/>
                    </a:lnTo>
                    <a:lnTo>
                      <a:pt x="193" y="149"/>
                    </a:lnTo>
                    <a:lnTo>
                      <a:pt x="193" y="148"/>
                    </a:lnTo>
                    <a:lnTo>
                      <a:pt x="195" y="146"/>
                    </a:lnTo>
                    <a:lnTo>
                      <a:pt x="197" y="146"/>
                    </a:lnTo>
                    <a:lnTo>
                      <a:pt x="197" y="144"/>
                    </a:lnTo>
                    <a:lnTo>
                      <a:pt x="198" y="143"/>
                    </a:lnTo>
                    <a:lnTo>
                      <a:pt x="200" y="143"/>
                    </a:lnTo>
                    <a:lnTo>
                      <a:pt x="201" y="141"/>
                    </a:lnTo>
                    <a:lnTo>
                      <a:pt x="201" y="140"/>
                    </a:lnTo>
                    <a:lnTo>
                      <a:pt x="203" y="138"/>
                    </a:lnTo>
                    <a:lnTo>
                      <a:pt x="204" y="136"/>
                    </a:lnTo>
                    <a:lnTo>
                      <a:pt x="206" y="135"/>
                    </a:lnTo>
                    <a:lnTo>
                      <a:pt x="204" y="135"/>
                    </a:lnTo>
                    <a:lnTo>
                      <a:pt x="206" y="133"/>
                    </a:lnTo>
                    <a:lnTo>
                      <a:pt x="206" y="132"/>
                    </a:lnTo>
                    <a:lnTo>
                      <a:pt x="208" y="130"/>
                    </a:lnTo>
                    <a:lnTo>
                      <a:pt x="208" y="129"/>
                    </a:lnTo>
                    <a:lnTo>
                      <a:pt x="209" y="127"/>
                    </a:lnTo>
                    <a:lnTo>
                      <a:pt x="209" y="125"/>
                    </a:lnTo>
                    <a:lnTo>
                      <a:pt x="211" y="125"/>
                    </a:lnTo>
                    <a:lnTo>
                      <a:pt x="212" y="125"/>
                    </a:lnTo>
                    <a:lnTo>
                      <a:pt x="212" y="122"/>
                    </a:lnTo>
                    <a:lnTo>
                      <a:pt x="211" y="122"/>
                    </a:lnTo>
                    <a:lnTo>
                      <a:pt x="211" y="121"/>
                    </a:lnTo>
                    <a:lnTo>
                      <a:pt x="211" y="119"/>
                    </a:lnTo>
                    <a:lnTo>
                      <a:pt x="211" y="117"/>
                    </a:lnTo>
                    <a:lnTo>
                      <a:pt x="212" y="117"/>
                    </a:lnTo>
                    <a:lnTo>
                      <a:pt x="212" y="116"/>
                    </a:lnTo>
                    <a:lnTo>
                      <a:pt x="212" y="114"/>
                    </a:lnTo>
                    <a:lnTo>
                      <a:pt x="214" y="114"/>
                    </a:lnTo>
                    <a:lnTo>
                      <a:pt x="216" y="113"/>
                    </a:lnTo>
                    <a:lnTo>
                      <a:pt x="216" y="111"/>
                    </a:lnTo>
                    <a:lnTo>
                      <a:pt x="216" y="109"/>
                    </a:lnTo>
                    <a:lnTo>
                      <a:pt x="216" y="108"/>
                    </a:lnTo>
                    <a:lnTo>
                      <a:pt x="216" y="106"/>
                    </a:lnTo>
                    <a:lnTo>
                      <a:pt x="217" y="106"/>
                    </a:lnTo>
                    <a:lnTo>
                      <a:pt x="216" y="105"/>
                    </a:lnTo>
                    <a:lnTo>
                      <a:pt x="216" y="103"/>
                    </a:lnTo>
                    <a:lnTo>
                      <a:pt x="216" y="102"/>
                    </a:lnTo>
                    <a:lnTo>
                      <a:pt x="216" y="103"/>
                    </a:lnTo>
                    <a:lnTo>
                      <a:pt x="214" y="103"/>
                    </a:lnTo>
                    <a:lnTo>
                      <a:pt x="214" y="102"/>
                    </a:lnTo>
                    <a:lnTo>
                      <a:pt x="214" y="100"/>
                    </a:lnTo>
                    <a:lnTo>
                      <a:pt x="212" y="100"/>
                    </a:lnTo>
                    <a:lnTo>
                      <a:pt x="214" y="98"/>
                    </a:lnTo>
                    <a:lnTo>
                      <a:pt x="212" y="98"/>
                    </a:lnTo>
                    <a:lnTo>
                      <a:pt x="212" y="97"/>
                    </a:lnTo>
                    <a:lnTo>
                      <a:pt x="211" y="97"/>
                    </a:lnTo>
                    <a:lnTo>
                      <a:pt x="211" y="95"/>
                    </a:lnTo>
                    <a:lnTo>
                      <a:pt x="209" y="95"/>
                    </a:lnTo>
                    <a:lnTo>
                      <a:pt x="208" y="95"/>
                    </a:lnTo>
                    <a:lnTo>
                      <a:pt x="209" y="94"/>
                    </a:lnTo>
                    <a:lnTo>
                      <a:pt x="209" y="92"/>
                    </a:lnTo>
                    <a:lnTo>
                      <a:pt x="209" y="90"/>
                    </a:lnTo>
                    <a:lnTo>
                      <a:pt x="208" y="90"/>
                    </a:lnTo>
                    <a:lnTo>
                      <a:pt x="208" y="89"/>
                    </a:lnTo>
                    <a:lnTo>
                      <a:pt x="206" y="89"/>
                    </a:lnTo>
                    <a:lnTo>
                      <a:pt x="204" y="89"/>
                    </a:lnTo>
                    <a:lnTo>
                      <a:pt x="206" y="87"/>
                    </a:lnTo>
                    <a:lnTo>
                      <a:pt x="204" y="87"/>
                    </a:lnTo>
                    <a:lnTo>
                      <a:pt x="203" y="87"/>
                    </a:lnTo>
                    <a:lnTo>
                      <a:pt x="203" y="86"/>
                    </a:lnTo>
                    <a:lnTo>
                      <a:pt x="203" y="84"/>
                    </a:lnTo>
                    <a:lnTo>
                      <a:pt x="201" y="83"/>
                    </a:lnTo>
                    <a:lnTo>
                      <a:pt x="200" y="83"/>
                    </a:lnTo>
                    <a:lnTo>
                      <a:pt x="198" y="83"/>
                    </a:lnTo>
                    <a:lnTo>
                      <a:pt x="198" y="81"/>
                    </a:lnTo>
                    <a:lnTo>
                      <a:pt x="198" y="79"/>
                    </a:lnTo>
                    <a:lnTo>
                      <a:pt x="198" y="78"/>
                    </a:lnTo>
                    <a:lnTo>
                      <a:pt x="200" y="78"/>
                    </a:lnTo>
                    <a:lnTo>
                      <a:pt x="200" y="76"/>
                    </a:lnTo>
                    <a:lnTo>
                      <a:pt x="200" y="75"/>
                    </a:lnTo>
                    <a:lnTo>
                      <a:pt x="200" y="73"/>
                    </a:lnTo>
                    <a:lnTo>
                      <a:pt x="198" y="73"/>
                    </a:lnTo>
                    <a:lnTo>
                      <a:pt x="198" y="71"/>
                    </a:lnTo>
                    <a:lnTo>
                      <a:pt x="200" y="71"/>
                    </a:lnTo>
                    <a:lnTo>
                      <a:pt x="200" y="70"/>
                    </a:lnTo>
                    <a:lnTo>
                      <a:pt x="200" y="68"/>
                    </a:lnTo>
                    <a:lnTo>
                      <a:pt x="198" y="68"/>
                    </a:lnTo>
                    <a:lnTo>
                      <a:pt x="200" y="67"/>
                    </a:lnTo>
                    <a:lnTo>
                      <a:pt x="200" y="68"/>
                    </a:lnTo>
                    <a:lnTo>
                      <a:pt x="201" y="68"/>
                    </a:lnTo>
                    <a:lnTo>
                      <a:pt x="200" y="67"/>
                    </a:lnTo>
                    <a:lnTo>
                      <a:pt x="200" y="65"/>
                    </a:lnTo>
                    <a:lnTo>
                      <a:pt x="201" y="65"/>
                    </a:lnTo>
                    <a:lnTo>
                      <a:pt x="201" y="64"/>
                    </a:lnTo>
                    <a:lnTo>
                      <a:pt x="203" y="62"/>
                    </a:lnTo>
                    <a:lnTo>
                      <a:pt x="201" y="60"/>
                    </a:lnTo>
                    <a:lnTo>
                      <a:pt x="201" y="59"/>
                    </a:lnTo>
                    <a:lnTo>
                      <a:pt x="201" y="57"/>
                    </a:lnTo>
                    <a:lnTo>
                      <a:pt x="201" y="56"/>
                    </a:lnTo>
                    <a:lnTo>
                      <a:pt x="200" y="54"/>
                    </a:lnTo>
                    <a:lnTo>
                      <a:pt x="198" y="54"/>
                    </a:lnTo>
                    <a:lnTo>
                      <a:pt x="197" y="54"/>
                    </a:lnTo>
                    <a:lnTo>
                      <a:pt x="195" y="54"/>
                    </a:lnTo>
                    <a:lnTo>
                      <a:pt x="193" y="54"/>
                    </a:lnTo>
                    <a:lnTo>
                      <a:pt x="192" y="52"/>
                    </a:lnTo>
                    <a:lnTo>
                      <a:pt x="192" y="51"/>
                    </a:lnTo>
                    <a:lnTo>
                      <a:pt x="192" y="49"/>
                    </a:lnTo>
                    <a:lnTo>
                      <a:pt x="192" y="48"/>
                    </a:lnTo>
                    <a:lnTo>
                      <a:pt x="190" y="48"/>
                    </a:lnTo>
                    <a:lnTo>
                      <a:pt x="190" y="46"/>
                    </a:lnTo>
                    <a:lnTo>
                      <a:pt x="189" y="46"/>
                    </a:lnTo>
                    <a:lnTo>
                      <a:pt x="187" y="45"/>
                    </a:lnTo>
                    <a:lnTo>
                      <a:pt x="185" y="43"/>
                    </a:lnTo>
                    <a:lnTo>
                      <a:pt x="184" y="43"/>
                    </a:lnTo>
                    <a:lnTo>
                      <a:pt x="184" y="40"/>
                    </a:lnTo>
                    <a:lnTo>
                      <a:pt x="182" y="38"/>
                    </a:lnTo>
                    <a:lnTo>
                      <a:pt x="181" y="37"/>
                    </a:lnTo>
                    <a:lnTo>
                      <a:pt x="179" y="37"/>
                    </a:lnTo>
                    <a:lnTo>
                      <a:pt x="179" y="35"/>
                    </a:lnTo>
                    <a:lnTo>
                      <a:pt x="179" y="33"/>
                    </a:lnTo>
                    <a:lnTo>
                      <a:pt x="181" y="33"/>
                    </a:lnTo>
                    <a:lnTo>
                      <a:pt x="182" y="33"/>
                    </a:lnTo>
                    <a:lnTo>
                      <a:pt x="184" y="33"/>
                    </a:lnTo>
                    <a:lnTo>
                      <a:pt x="185" y="32"/>
                    </a:lnTo>
                    <a:lnTo>
                      <a:pt x="187" y="32"/>
                    </a:lnTo>
                    <a:lnTo>
                      <a:pt x="187" y="30"/>
                    </a:lnTo>
                    <a:lnTo>
                      <a:pt x="189" y="30"/>
                    </a:lnTo>
                    <a:lnTo>
                      <a:pt x="190" y="29"/>
                    </a:lnTo>
                    <a:lnTo>
                      <a:pt x="190" y="27"/>
                    </a:lnTo>
                    <a:lnTo>
                      <a:pt x="192" y="27"/>
                    </a:lnTo>
                    <a:lnTo>
                      <a:pt x="193" y="26"/>
                    </a:lnTo>
                    <a:lnTo>
                      <a:pt x="195" y="26"/>
                    </a:lnTo>
                    <a:lnTo>
                      <a:pt x="195" y="24"/>
                    </a:lnTo>
                    <a:lnTo>
                      <a:pt x="197" y="24"/>
                    </a:lnTo>
                    <a:lnTo>
                      <a:pt x="198" y="24"/>
                    </a:lnTo>
                    <a:lnTo>
                      <a:pt x="198" y="22"/>
                    </a:lnTo>
                    <a:lnTo>
                      <a:pt x="200" y="22"/>
                    </a:lnTo>
                    <a:lnTo>
                      <a:pt x="201" y="22"/>
                    </a:lnTo>
                    <a:lnTo>
                      <a:pt x="203" y="22"/>
                    </a:lnTo>
                    <a:lnTo>
                      <a:pt x="204" y="22"/>
                    </a:lnTo>
                    <a:lnTo>
                      <a:pt x="206" y="21"/>
                    </a:lnTo>
                    <a:lnTo>
                      <a:pt x="208" y="21"/>
                    </a:lnTo>
                    <a:lnTo>
                      <a:pt x="209" y="21"/>
                    </a:lnTo>
                    <a:lnTo>
                      <a:pt x="211" y="21"/>
                    </a:lnTo>
                    <a:lnTo>
                      <a:pt x="212" y="21"/>
                    </a:lnTo>
                    <a:lnTo>
                      <a:pt x="212" y="19"/>
                    </a:lnTo>
                    <a:lnTo>
                      <a:pt x="214" y="19"/>
                    </a:lnTo>
                    <a:lnTo>
                      <a:pt x="216" y="19"/>
                    </a:lnTo>
                    <a:lnTo>
                      <a:pt x="217" y="19"/>
                    </a:lnTo>
                    <a:lnTo>
                      <a:pt x="219" y="18"/>
                    </a:lnTo>
                    <a:lnTo>
                      <a:pt x="220" y="16"/>
                    </a:lnTo>
                    <a:lnTo>
                      <a:pt x="220" y="14"/>
                    </a:lnTo>
                    <a:lnTo>
                      <a:pt x="222" y="13"/>
                    </a:lnTo>
                    <a:lnTo>
                      <a:pt x="222" y="11"/>
                    </a:lnTo>
                    <a:lnTo>
                      <a:pt x="223" y="11"/>
                    </a:lnTo>
                    <a:lnTo>
                      <a:pt x="223" y="10"/>
                    </a:lnTo>
                    <a:lnTo>
                      <a:pt x="225" y="10"/>
                    </a:lnTo>
                    <a:lnTo>
                      <a:pt x="227" y="8"/>
                    </a:lnTo>
                    <a:lnTo>
                      <a:pt x="228" y="8"/>
                    </a:lnTo>
                    <a:lnTo>
                      <a:pt x="228" y="7"/>
                    </a:lnTo>
                    <a:lnTo>
                      <a:pt x="230" y="7"/>
                    </a:lnTo>
                    <a:lnTo>
                      <a:pt x="231" y="7"/>
                    </a:lnTo>
                    <a:lnTo>
                      <a:pt x="233" y="7"/>
                    </a:lnTo>
                    <a:lnTo>
                      <a:pt x="235" y="5"/>
                    </a:lnTo>
                    <a:lnTo>
                      <a:pt x="236" y="3"/>
                    </a:lnTo>
                    <a:lnTo>
                      <a:pt x="238" y="2"/>
                    </a:lnTo>
                    <a:lnTo>
                      <a:pt x="238" y="0"/>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40" name="Freeform 120"/>
              <p:cNvSpPr>
                <a:spLocks/>
              </p:cNvSpPr>
              <p:nvPr/>
            </p:nvSpPr>
            <p:spPr bwMode="auto">
              <a:xfrm>
                <a:off x="3803" y="3201"/>
                <a:ext cx="203" cy="157"/>
              </a:xfrm>
              <a:custGeom>
                <a:avLst/>
                <a:gdLst>
                  <a:gd name="T0" fmla="*/ 0 w 203"/>
                  <a:gd name="T1" fmla="*/ 154 h 157"/>
                  <a:gd name="T2" fmla="*/ 2 w 203"/>
                  <a:gd name="T3" fmla="*/ 149 h 157"/>
                  <a:gd name="T4" fmla="*/ 5 w 203"/>
                  <a:gd name="T5" fmla="*/ 146 h 157"/>
                  <a:gd name="T6" fmla="*/ 8 w 203"/>
                  <a:gd name="T7" fmla="*/ 143 h 157"/>
                  <a:gd name="T8" fmla="*/ 13 w 203"/>
                  <a:gd name="T9" fmla="*/ 140 h 157"/>
                  <a:gd name="T10" fmla="*/ 19 w 203"/>
                  <a:gd name="T11" fmla="*/ 140 h 157"/>
                  <a:gd name="T12" fmla="*/ 22 w 203"/>
                  <a:gd name="T13" fmla="*/ 137 h 157"/>
                  <a:gd name="T14" fmla="*/ 29 w 203"/>
                  <a:gd name="T15" fmla="*/ 132 h 157"/>
                  <a:gd name="T16" fmla="*/ 32 w 203"/>
                  <a:gd name="T17" fmla="*/ 129 h 157"/>
                  <a:gd name="T18" fmla="*/ 37 w 203"/>
                  <a:gd name="T19" fmla="*/ 127 h 157"/>
                  <a:gd name="T20" fmla="*/ 41 w 203"/>
                  <a:gd name="T21" fmla="*/ 124 h 157"/>
                  <a:gd name="T22" fmla="*/ 46 w 203"/>
                  <a:gd name="T23" fmla="*/ 119 h 157"/>
                  <a:gd name="T24" fmla="*/ 52 w 203"/>
                  <a:gd name="T25" fmla="*/ 113 h 157"/>
                  <a:gd name="T26" fmla="*/ 56 w 203"/>
                  <a:gd name="T27" fmla="*/ 108 h 157"/>
                  <a:gd name="T28" fmla="*/ 60 w 203"/>
                  <a:gd name="T29" fmla="*/ 103 h 157"/>
                  <a:gd name="T30" fmla="*/ 65 w 203"/>
                  <a:gd name="T31" fmla="*/ 100 h 157"/>
                  <a:gd name="T32" fmla="*/ 70 w 203"/>
                  <a:gd name="T33" fmla="*/ 99 h 157"/>
                  <a:gd name="T34" fmla="*/ 73 w 203"/>
                  <a:gd name="T35" fmla="*/ 95 h 157"/>
                  <a:gd name="T36" fmla="*/ 78 w 203"/>
                  <a:gd name="T37" fmla="*/ 92 h 157"/>
                  <a:gd name="T38" fmla="*/ 83 w 203"/>
                  <a:gd name="T39" fmla="*/ 91 h 157"/>
                  <a:gd name="T40" fmla="*/ 86 w 203"/>
                  <a:gd name="T41" fmla="*/ 87 h 157"/>
                  <a:gd name="T42" fmla="*/ 87 w 203"/>
                  <a:gd name="T43" fmla="*/ 83 h 157"/>
                  <a:gd name="T44" fmla="*/ 90 w 203"/>
                  <a:gd name="T45" fmla="*/ 80 h 157"/>
                  <a:gd name="T46" fmla="*/ 97 w 203"/>
                  <a:gd name="T47" fmla="*/ 78 h 157"/>
                  <a:gd name="T48" fmla="*/ 103 w 203"/>
                  <a:gd name="T49" fmla="*/ 76 h 157"/>
                  <a:gd name="T50" fmla="*/ 108 w 203"/>
                  <a:gd name="T51" fmla="*/ 75 h 157"/>
                  <a:gd name="T52" fmla="*/ 114 w 203"/>
                  <a:gd name="T53" fmla="*/ 68 h 157"/>
                  <a:gd name="T54" fmla="*/ 119 w 203"/>
                  <a:gd name="T55" fmla="*/ 65 h 157"/>
                  <a:gd name="T56" fmla="*/ 124 w 203"/>
                  <a:gd name="T57" fmla="*/ 59 h 157"/>
                  <a:gd name="T58" fmla="*/ 128 w 203"/>
                  <a:gd name="T59" fmla="*/ 56 h 157"/>
                  <a:gd name="T60" fmla="*/ 133 w 203"/>
                  <a:gd name="T61" fmla="*/ 54 h 157"/>
                  <a:gd name="T62" fmla="*/ 136 w 203"/>
                  <a:gd name="T63" fmla="*/ 49 h 157"/>
                  <a:gd name="T64" fmla="*/ 143 w 203"/>
                  <a:gd name="T65" fmla="*/ 49 h 157"/>
                  <a:gd name="T66" fmla="*/ 149 w 203"/>
                  <a:gd name="T67" fmla="*/ 48 h 157"/>
                  <a:gd name="T68" fmla="*/ 154 w 203"/>
                  <a:gd name="T69" fmla="*/ 49 h 157"/>
                  <a:gd name="T70" fmla="*/ 157 w 203"/>
                  <a:gd name="T71" fmla="*/ 46 h 157"/>
                  <a:gd name="T72" fmla="*/ 162 w 203"/>
                  <a:gd name="T73" fmla="*/ 42 h 157"/>
                  <a:gd name="T74" fmla="*/ 165 w 203"/>
                  <a:gd name="T75" fmla="*/ 38 h 157"/>
                  <a:gd name="T76" fmla="*/ 170 w 203"/>
                  <a:gd name="T77" fmla="*/ 35 h 157"/>
                  <a:gd name="T78" fmla="*/ 173 w 203"/>
                  <a:gd name="T79" fmla="*/ 32 h 157"/>
                  <a:gd name="T80" fmla="*/ 176 w 203"/>
                  <a:gd name="T81" fmla="*/ 29 h 157"/>
                  <a:gd name="T82" fmla="*/ 179 w 203"/>
                  <a:gd name="T83" fmla="*/ 26 h 157"/>
                  <a:gd name="T84" fmla="*/ 184 w 203"/>
                  <a:gd name="T85" fmla="*/ 23 h 157"/>
                  <a:gd name="T86" fmla="*/ 185 w 203"/>
                  <a:gd name="T87" fmla="*/ 18 h 157"/>
                  <a:gd name="T88" fmla="*/ 189 w 203"/>
                  <a:gd name="T89" fmla="*/ 15 h 157"/>
                  <a:gd name="T90" fmla="*/ 192 w 203"/>
                  <a:gd name="T91" fmla="*/ 11 h 157"/>
                  <a:gd name="T92" fmla="*/ 193 w 203"/>
                  <a:gd name="T93" fmla="*/ 7 h 157"/>
                  <a:gd name="T94" fmla="*/ 197 w 203"/>
                  <a:gd name="T95" fmla="*/ 4 h 157"/>
                  <a:gd name="T96" fmla="*/ 200 w 203"/>
                  <a:gd name="T97"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3" h="157">
                    <a:moveTo>
                      <a:pt x="2" y="157"/>
                    </a:moveTo>
                    <a:lnTo>
                      <a:pt x="2" y="156"/>
                    </a:lnTo>
                    <a:lnTo>
                      <a:pt x="2" y="154"/>
                    </a:lnTo>
                    <a:lnTo>
                      <a:pt x="0" y="154"/>
                    </a:lnTo>
                    <a:lnTo>
                      <a:pt x="0" y="152"/>
                    </a:lnTo>
                    <a:lnTo>
                      <a:pt x="0" y="151"/>
                    </a:lnTo>
                    <a:lnTo>
                      <a:pt x="0" y="149"/>
                    </a:lnTo>
                    <a:lnTo>
                      <a:pt x="2" y="149"/>
                    </a:lnTo>
                    <a:lnTo>
                      <a:pt x="2" y="148"/>
                    </a:lnTo>
                    <a:lnTo>
                      <a:pt x="3" y="148"/>
                    </a:lnTo>
                    <a:lnTo>
                      <a:pt x="3" y="146"/>
                    </a:lnTo>
                    <a:lnTo>
                      <a:pt x="5" y="146"/>
                    </a:lnTo>
                    <a:lnTo>
                      <a:pt x="5" y="145"/>
                    </a:lnTo>
                    <a:lnTo>
                      <a:pt x="6" y="145"/>
                    </a:lnTo>
                    <a:lnTo>
                      <a:pt x="6" y="143"/>
                    </a:lnTo>
                    <a:lnTo>
                      <a:pt x="8" y="143"/>
                    </a:lnTo>
                    <a:lnTo>
                      <a:pt x="8" y="141"/>
                    </a:lnTo>
                    <a:lnTo>
                      <a:pt x="10" y="141"/>
                    </a:lnTo>
                    <a:lnTo>
                      <a:pt x="11" y="140"/>
                    </a:lnTo>
                    <a:lnTo>
                      <a:pt x="13" y="140"/>
                    </a:lnTo>
                    <a:lnTo>
                      <a:pt x="14" y="140"/>
                    </a:lnTo>
                    <a:lnTo>
                      <a:pt x="16" y="140"/>
                    </a:lnTo>
                    <a:lnTo>
                      <a:pt x="18" y="140"/>
                    </a:lnTo>
                    <a:lnTo>
                      <a:pt x="19" y="140"/>
                    </a:lnTo>
                    <a:lnTo>
                      <a:pt x="19" y="138"/>
                    </a:lnTo>
                    <a:lnTo>
                      <a:pt x="21" y="138"/>
                    </a:lnTo>
                    <a:lnTo>
                      <a:pt x="22" y="138"/>
                    </a:lnTo>
                    <a:lnTo>
                      <a:pt x="22" y="137"/>
                    </a:lnTo>
                    <a:lnTo>
                      <a:pt x="24" y="137"/>
                    </a:lnTo>
                    <a:lnTo>
                      <a:pt x="26" y="135"/>
                    </a:lnTo>
                    <a:lnTo>
                      <a:pt x="27" y="135"/>
                    </a:lnTo>
                    <a:lnTo>
                      <a:pt x="29" y="132"/>
                    </a:lnTo>
                    <a:lnTo>
                      <a:pt x="30" y="132"/>
                    </a:lnTo>
                    <a:lnTo>
                      <a:pt x="30" y="130"/>
                    </a:lnTo>
                    <a:lnTo>
                      <a:pt x="32" y="130"/>
                    </a:lnTo>
                    <a:lnTo>
                      <a:pt x="32" y="129"/>
                    </a:lnTo>
                    <a:lnTo>
                      <a:pt x="33" y="129"/>
                    </a:lnTo>
                    <a:lnTo>
                      <a:pt x="33" y="127"/>
                    </a:lnTo>
                    <a:lnTo>
                      <a:pt x="35" y="127"/>
                    </a:lnTo>
                    <a:lnTo>
                      <a:pt x="37" y="127"/>
                    </a:lnTo>
                    <a:lnTo>
                      <a:pt x="38" y="126"/>
                    </a:lnTo>
                    <a:lnTo>
                      <a:pt x="40" y="126"/>
                    </a:lnTo>
                    <a:lnTo>
                      <a:pt x="40" y="124"/>
                    </a:lnTo>
                    <a:lnTo>
                      <a:pt x="41" y="124"/>
                    </a:lnTo>
                    <a:lnTo>
                      <a:pt x="41" y="122"/>
                    </a:lnTo>
                    <a:lnTo>
                      <a:pt x="43" y="122"/>
                    </a:lnTo>
                    <a:lnTo>
                      <a:pt x="45" y="121"/>
                    </a:lnTo>
                    <a:lnTo>
                      <a:pt x="46" y="119"/>
                    </a:lnTo>
                    <a:lnTo>
                      <a:pt x="48" y="118"/>
                    </a:lnTo>
                    <a:lnTo>
                      <a:pt x="49" y="116"/>
                    </a:lnTo>
                    <a:lnTo>
                      <a:pt x="51" y="114"/>
                    </a:lnTo>
                    <a:lnTo>
                      <a:pt x="52" y="113"/>
                    </a:lnTo>
                    <a:lnTo>
                      <a:pt x="54" y="111"/>
                    </a:lnTo>
                    <a:lnTo>
                      <a:pt x="54" y="110"/>
                    </a:lnTo>
                    <a:lnTo>
                      <a:pt x="56" y="110"/>
                    </a:lnTo>
                    <a:lnTo>
                      <a:pt x="56" y="108"/>
                    </a:lnTo>
                    <a:lnTo>
                      <a:pt x="57" y="107"/>
                    </a:lnTo>
                    <a:lnTo>
                      <a:pt x="59" y="105"/>
                    </a:lnTo>
                    <a:lnTo>
                      <a:pt x="59" y="103"/>
                    </a:lnTo>
                    <a:lnTo>
                      <a:pt x="60" y="103"/>
                    </a:lnTo>
                    <a:lnTo>
                      <a:pt x="62" y="102"/>
                    </a:lnTo>
                    <a:lnTo>
                      <a:pt x="64" y="102"/>
                    </a:lnTo>
                    <a:lnTo>
                      <a:pt x="64" y="100"/>
                    </a:lnTo>
                    <a:lnTo>
                      <a:pt x="65" y="100"/>
                    </a:lnTo>
                    <a:lnTo>
                      <a:pt x="67" y="100"/>
                    </a:lnTo>
                    <a:lnTo>
                      <a:pt x="67" y="99"/>
                    </a:lnTo>
                    <a:lnTo>
                      <a:pt x="68" y="99"/>
                    </a:lnTo>
                    <a:lnTo>
                      <a:pt x="70" y="99"/>
                    </a:lnTo>
                    <a:lnTo>
                      <a:pt x="70" y="97"/>
                    </a:lnTo>
                    <a:lnTo>
                      <a:pt x="71" y="97"/>
                    </a:lnTo>
                    <a:lnTo>
                      <a:pt x="71" y="95"/>
                    </a:lnTo>
                    <a:lnTo>
                      <a:pt x="73" y="95"/>
                    </a:lnTo>
                    <a:lnTo>
                      <a:pt x="75" y="94"/>
                    </a:lnTo>
                    <a:lnTo>
                      <a:pt x="76" y="94"/>
                    </a:lnTo>
                    <a:lnTo>
                      <a:pt x="76" y="92"/>
                    </a:lnTo>
                    <a:lnTo>
                      <a:pt x="78" y="92"/>
                    </a:lnTo>
                    <a:lnTo>
                      <a:pt x="79" y="92"/>
                    </a:lnTo>
                    <a:lnTo>
                      <a:pt x="79" y="91"/>
                    </a:lnTo>
                    <a:lnTo>
                      <a:pt x="81" y="91"/>
                    </a:lnTo>
                    <a:lnTo>
                      <a:pt x="83" y="91"/>
                    </a:lnTo>
                    <a:lnTo>
                      <a:pt x="83" y="89"/>
                    </a:lnTo>
                    <a:lnTo>
                      <a:pt x="84" y="89"/>
                    </a:lnTo>
                    <a:lnTo>
                      <a:pt x="84" y="87"/>
                    </a:lnTo>
                    <a:lnTo>
                      <a:pt x="86" y="87"/>
                    </a:lnTo>
                    <a:lnTo>
                      <a:pt x="86" y="86"/>
                    </a:lnTo>
                    <a:lnTo>
                      <a:pt x="86" y="84"/>
                    </a:lnTo>
                    <a:lnTo>
                      <a:pt x="87" y="84"/>
                    </a:lnTo>
                    <a:lnTo>
                      <a:pt x="87" y="83"/>
                    </a:lnTo>
                    <a:lnTo>
                      <a:pt x="87" y="81"/>
                    </a:lnTo>
                    <a:lnTo>
                      <a:pt x="89" y="81"/>
                    </a:lnTo>
                    <a:lnTo>
                      <a:pt x="89" y="80"/>
                    </a:lnTo>
                    <a:lnTo>
                      <a:pt x="90" y="80"/>
                    </a:lnTo>
                    <a:lnTo>
                      <a:pt x="92" y="78"/>
                    </a:lnTo>
                    <a:lnTo>
                      <a:pt x="94" y="78"/>
                    </a:lnTo>
                    <a:lnTo>
                      <a:pt x="95" y="78"/>
                    </a:lnTo>
                    <a:lnTo>
                      <a:pt x="97" y="78"/>
                    </a:lnTo>
                    <a:lnTo>
                      <a:pt x="98" y="78"/>
                    </a:lnTo>
                    <a:lnTo>
                      <a:pt x="100" y="78"/>
                    </a:lnTo>
                    <a:lnTo>
                      <a:pt x="102" y="78"/>
                    </a:lnTo>
                    <a:lnTo>
                      <a:pt x="103" y="76"/>
                    </a:lnTo>
                    <a:lnTo>
                      <a:pt x="105" y="76"/>
                    </a:lnTo>
                    <a:lnTo>
                      <a:pt x="106" y="76"/>
                    </a:lnTo>
                    <a:lnTo>
                      <a:pt x="106" y="75"/>
                    </a:lnTo>
                    <a:lnTo>
                      <a:pt x="108" y="75"/>
                    </a:lnTo>
                    <a:lnTo>
                      <a:pt x="109" y="73"/>
                    </a:lnTo>
                    <a:lnTo>
                      <a:pt x="111" y="72"/>
                    </a:lnTo>
                    <a:lnTo>
                      <a:pt x="113" y="70"/>
                    </a:lnTo>
                    <a:lnTo>
                      <a:pt x="114" y="68"/>
                    </a:lnTo>
                    <a:lnTo>
                      <a:pt x="114" y="67"/>
                    </a:lnTo>
                    <a:lnTo>
                      <a:pt x="116" y="67"/>
                    </a:lnTo>
                    <a:lnTo>
                      <a:pt x="117" y="65"/>
                    </a:lnTo>
                    <a:lnTo>
                      <a:pt x="119" y="65"/>
                    </a:lnTo>
                    <a:lnTo>
                      <a:pt x="119" y="64"/>
                    </a:lnTo>
                    <a:lnTo>
                      <a:pt x="121" y="62"/>
                    </a:lnTo>
                    <a:lnTo>
                      <a:pt x="122" y="61"/>
                    </a:lnTo>
                    <a:lnTo>
                      <a:pt x="124" y="59"/>
                    </a:lnTo>
                    <a:lnTo>
                      <a:pt x="125" y="59"/>
                    </a:lnTo>
                    <a:lnTo>
                      <a:pt x="125" y="57"/>
                    </a:lnTo>
                    <a:lnTo>
                      <a:pt x="127" y="57"/>
                    </a:lnTo>
                    <a:lnTo>
                      <a:pt x="128" y="56"/>
                    </a:lnTo>
                    <a:lnTo>
                      <a:pt x="130" y="56"/>
                    </a:lnTo>
                    <a:lnTo>
                      <a:pt x="132" y="56"/>
                    </a:lnTo>
                    <a:lnTo>
                      <a:pt x="132" y="54"/>
                    </a:lnTo>
                    <a:lnTo>
                      <a:pt x="133" y="54"/>
                    </a:lnTo>
                    <a:lnTo>
                      <a:pt x="135" y="54"/>
                    </a:lnTo>
                    <a:lnTo>
                      <a:pt x="135" y="53"/>
                    </a:lnTo>
                    <a:lnTo>
                      <a:pt x="136" y="51"/>
                    </a:lnTo>
                    <a:lnTo>
                      <a:pt x="136" y="49"/>
                    </a:lnTo>
                    <a:lnTo>
                      <a:pt x="138" y="49"/>
                    </a:lnTo>
                    <a:lnTo>
                      <a:pt x="140" y="49"/>
                    </a:lnTo>
                    <a:lnTo>
                      <a:pt x="141" y="49"/>
                    </a:lnTo>
                    <a:lnTo>
                      <a:pt x="143" y="49"/>
                    </a:lnTo>
                    <a:lnTo>
                      <a:pt x="144" y="48"/>
                    </a:lnTo>
                    <a:lnTo>
                      <a:pt x="146" y="48"/>
                    </a:lnTo>
                    <a:lnTo>
                      <a:pt x="147" y="48"/>
                    </a:lnTo>
                    <a:lnTo>
                      <a:pt x="149" y="48"/>
                    </a:lnTo>
                    <a:lnTo>
                      <a:pt x="151" y="48"/>
                    </a:lnTo>
                    <a:lnTo>
                      <a:pt x="151" y="49"/>
                    </a:lnTo>
                    <a:lnTo>
                      <a:pt x="152" y="49"/>
                    </a:lnTo>
                    <a:lnTo>
                      <a:pt x="154" y="49"/>
                    </a:lnTo>
                    <a:lnTo>
                      <a:pt x="154" y="48"/>
                    </a:lnTo>
                    <a:lnTo>
                      <a:pt x="155" y="48"/>
                    </a:lnTo>
                    <a:lnTo>
                      <a:pt x="155" y="46"/>
                    </a:lnTo>
                    <a:lnTo>
                      <a:pt x="157" y="46"/>
                    </a:lnTo>
                    <a:lnTo>
                      <a:pt x="159" y="45"/>
                    </a:lnTo>
                    <a:lnTo>
                      <a:pt x="160" y="43"/>
                    </a:lnTo>
                    <a:lnTo>
                      <a:pt x="162" y="43"/>
                    </a:lnTo>
                    <a:lnTo>
                      <a:pt x="162" y="42"/>
                    </a:lnTo>
                    <a:lnTo>
                      <a:pt x="163" y="42"/>
                    </a:lnTo>
                    <a:lnTo>
                      <a:pt x="163" y="40"/>
                    </a:lnTo>
                    <a:lnTo>
                      <a:pt x="165" y="40"/>
                    </a:lnTo>
                    <a:lnTo>
                      <a:pt x="165" y="38"/>
                    </a:lnTo>
                    <a:lnTo>
                      <a:pt x="166" y="38"/>
                    </a:lnTo>
                    <a:lnTo>
                      <a:pt x="168" y="37"/>
                    </a:lnTo>
                    <a:lnTo>
                      <a:pt x="170" y="37"/>
                    </a:lnTo>
                    <a:lnTo>
                      <a:pt x="170" y="35"/>
                    </a:lnTo>
                    <a:lnTo>
                      <a:pt x="171" y="35"/>
                    </a:lnTo>
                    <a:lnTo>
                      <a:pt x="171" y="34"/>
                    </a:lnTo>
                    <a:lnTo>
                      <a:pt x="173" y="34"/>
                    </a:lnTo>
                    <a:lnTo>
                      <a:pt x="173" y="32"/>
                    </a:lnTo>
                    <a:lnTo>
                      <a:pt x="174" y="32"/>
                    </a:lnTo>
                    <a:lnTo>
                      <a:pt x="174" y="30"/>
                    </a:lnTo>
                    <a:lnTo>
                      <a:pt x="176" y="30"/>
                    </a:lnTo>
                    <a:lnTo>
                      <a:pt x="176" y="29"/>
                    </a:lnTo>
                    <a:lnTo>
                      <a:pt x="178" y="29"/>
                    </a:lnTo>
                    <a:lnTo>
                      <a:pt x="178" y="27"/>
                    </a:lnTo>
                    <a:lnTo>
                      <a:pt x="179" y="27"/>
                    </a:lnTo>
                    <a:lnTo>
                      <a:pt x="179" y="26"/>
                    </a:lnTo>
                    <a:lnTo>
                      <a:pt x="181" y="26"/>
                    </a:lnTo>
                    <a:lnTo>
                      <a:pt x="182" y="24"/>
                    </a:lnTo>
                    <a:lnTo>
                      <a:pt x="184" y="24"/>
                    </a:lnTo>
                    <a:lnTo>
                      <a:pt x="184" y="23"/>
                    </a:lnTo>
                    <a:lnTo>
                      <a:pt x="185" y="21"/>
                    </a:lnTo>
                    <a:lnTo>
                      <a:pt x="184" y="19"/>
                    </a:lnTo>
                    <a:lnTo>
                      <a:pt x="185" y="19"/>
                    </a:lnTo>
                    <a:lnTo>
                      <a:pt x="185" y="18"/>
                    </a:lnTo>
                    <a:lnTo>
                      <a:pt x="187" y="18"/>
                    </a:lnTo>
                    <a:lnTo>
                      <a:pt x="189" y="18"/>
                    </a:lnTo>
                    <a:lnTo>
                      <a:pt x="189" y="16"/>
                    </a:lnTo>
                    <a:lnTo>
                      <a:pt x="189" y="15"/>
                    </a:lnTo>
                    <a:lnTo>
                      <a:pt x="190" y="15"/>
                    </a:lnTo>
                    <a:lnTo>
                      <a:pt x="190" y="13"/>
                    </a:lnTo>
                    <a:lnTo>
                      <a:pt x="190" y="11"/>
                    </a:lnTo>
                    <a:lnTo>
                      <a:pt x="192" y="11"/>
                    </a:lnTo>
                    <a:lnTo>
                      <a:pt x="192" y="10"/>
                    </a:lnTo>
                    <a:lnTo>
                      <a:pt x="193" y="8"/>
                    </a:lnTo>
                    <a:lnTo>
                      <a:pt x="192" y="8"/>
                    </a:lnTo>
                    <a:lnTo>
                      <a:pt x="193" y="7"/>
                    </a:lnTo>
                    <a:lnTo>
                      <a:pt x="195" y="7"/>
                    </a:lnTo>
                    <a:lnTo>
                      <a:pt x="195" y="5"/>
                    </a:lnTo>
                    <a:lnTo>
                      <a:pt x="197" y="5"/>
                    </a:lnTo>
                    <a:lnTo>
                      <a:pt x="197" y="4"/>
                    </a:lnTo>
                    <a:lnTo>
                      <a:pt x="198" y="4"/>
                    </a:lnTo>
                    <a:lnTo>
                      <a:pt x="200" y="4"/>
                    </a:lnTo>
                    <a:lnTo>
                      <a:pt x="201" y="4"/>
                    </a:lnTo>
                    <a:lnTo>
                      <a:pt x="200" y="2"/>
                    </a:lnTo>
                    <a:lnTo>
                      <a:pt x="201" y="2"/>
                    </a:lnTo>
                    <a:lnTo>
                      <a:pt x="203" y="0"/>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41" name="Freeform 121"/>
              <p:cNvSpPr>
                <a:spLocks/>
              </p:cNvSpPr>
              <p:nvPr/>
            </p:nvSpPr>
            <p:spPr bwMode="auto">
              <a:xfrm>
                <a:off x="2474" y="909"/>
                <a:ext cx="1310" cy="751"/>
              </a:xfrm>
              <a:custGeom>
                <a:avLst/>
                <a:gdLst>
                  <a:gd name="T0" fmla="*/ 1012 w 1310"/>
                  <a:gd name="T1" fmla="*/ 48 h 751"/>
                  <a:gd name="T2" fmla="*/ 1065 w 1310"/>
                  <a:gd name="T3" fmla="*/ 89 h 751"/>
                  <a:gd name="T4" fmla="*/ 1128 w 1310"/>
                  <a:gd name="T5" fmla="*/ 119 h 751"/>
                  <a:gd name="T6" fmla="*/ 1204 w 1310"/>
                  <a:gd name="T7" fmla="*/ 117 h 751"/>
                  <a:gd name="T8" fmla="*/ 1285 w 1310"/>
                  <a:gd name="T9" fmla="*/ 116 h 751"/>
                  <a:gd name="T10" fmla="*/ 1302 w 1310"/>
                  <a:gd name="T11" fmla="*/ 178 h 751"/>
                  <a:gd name="T12" fmla="*/ 1285 w 1310"/>
                  <a:gd name="T13" fmla="*/ 249 h 751"/>
                  <a:gd name="T14" fmla="*/ 1234 w 1310"/>
                  <a:gd name="T15" fmla="*/ 258 h 751"/>
                  <a:gd name="T16" fmla="*/ 1207 w 1310"/>
                  <a:gd name="T17" fmla="*/ 290 h 751"/>
                  <a:gd name="T18" fmla="*/ 1206 w 1310"/>
                  <a:gd name="T19" fmla="*/ 376 h 751"/>
                  <a:gd name="T20" fmla="*/ 1202 w 1310"/>
                  <a:gd name="T21" fmla="*/ 453 h 751"/>
                  <a:gd name="T22" fmla="*/ 1176 w 1310"/>
                  <a:gd name="T23" fmla="*/ 496 h 751"/>
                  <a:gd name="T24" fmla="*/ 1141 w 1310"/>
                  <a:gd name="T25" fmla="*/ 556 h 751"/>
                  <a:gd name="T26" fmla="*/ 1076 w 1310"/>
                  <a:gd name="T27" fmla="*/ 582 h 751"/>
                  <a:gd name="T28" fmla="*/ 1016 w 1310"/>
                  <a:gd name="T29" fmla="*/ 609 h 751"/>
                  <a:gd name="T30" fmla="*/ 960 w 1310"/>
                  <a:gd name="T31" fmla="*/ 624 h 751"/>
                  <a:gd name="T32" fmla="*/ 901 w 1310"/>
                  <a:gd name="T33" fmla="*/ 609 h 751"/>
                  <a:gd name="T34" fmla="*/ 846 w 1310"/>
                  <a:gd name="T35" fmla="*/ 591 h 751"/>
                  <a:gd name="T36" fmla="*/ 795 w 1310"/>
                  <a:gd name="T37" fmla="*/ 569 h 751"/>
                  <a:gd name="T38" fmla="*/ 732 w 1310"/>
                  <a:gd name="T39" fmla="*/ 575 h 751"/>
                  <a:gd name="T40" fmla="*/ 661 w 1310"/>
                  <a:gd name="T41" fmla="*/ 586 h 751"/>
                  <a:gd name="T42" fmla="*/ 597 w 1310"/>
                  <a:gd name="T43" fmla="*/ 585 h 751"/>
                  <a:gd name="T44" fmla="*/ 536 w 1310"/>
                  <a:gd name="T45" fmla="*/ 585 h 751"/>
                  <a:gd name="T46" fmla="*/ 499 w 1310"/>
                  <a:gd name="T47" fmla="*/ 621 h 751"/>
                  <a:gd name="T48" fmla="*/ 486 w 1310"/>
                  <a:gd name="T49" fmla="*/ 667 h 751"/>
                  <a:gd name="T50" fmla="*/ 471 w 1310"/>
                  <a:gd name="T51" fmla="*/ 697 h 751"/>
                  <a:gd name="T52" fmla="*/ 436 w 1310"/>
                  <a:gd name="T53" fmla="*/ 664 h 751"/>
                  <a:gd name="T54" fmla="*/ 402 w 1310"/>
                  <a:gd name="T55" fmla="*/ 721 h 751"/>
                  <a:gd name="T56" fmla="*/ 344 w 1310"/>
                  <a:gd name="T57" fmla="*/ 713 h 751"/>
                  <a:gd name="T58" fmla="*/ 282 w 1310"/>
                  <a:gd name="T59" fmla="*/ 732 h 751"/>
                  <a:gd name="T60" fmla="*/ 255 w 1310"/>
                  <a:gd name="T61" fmla="*/ 716 h 751"/>
                  <a:gd name="T62" fmla="*/ 176 w 1310"/>
                  <a:gd name="T63" fmla="*/ 624 h 751"/>
                  <a:gd name="T64" fmla="*/ 157 w 1310"/>
                  <a:gd name="T65" fmla="*/ 664 h 751"/>
                  <a:gd name="T66" fmla="*/ 108 w 1310"/>
                  <a:gd name="T67" fmla="*/ 685 h 751"/>
                  <a:gd name="T68" fmla="*/ 64 w 1310"/>
                  <a:gd name="T69" fmla="*/ 705 h 751"/>
                  <a:gd name="T70" fmla="*/ 48 w 1310"/>
                  <a:gd name="T71" fmla="*/ 650 h 751"/>
                  <a:gd name="T72" fmla="*/ 60 w 1310"/>
                  <a:gd name="T73" fmla="*/ 593 h 751"/>
                  <a:gd name="T74" fmla="*/ 38 w 1310"/>
                  <a:gd name="T75" fmla="*/ 529 h 751"/>
                  <a:gd name="T76" fmla="*/ 8 w 1310"/>
                  <a:gd name="T77" fmla="*/ 477 h 751"/>
                  <a:gd name="T78" fmla="*/ 6 w 1310"/>
                  <a:gd name="T79" fmla="*/ 407 h 751"/>
                  <a:gd name="T80" fmla="*/ 40 w 1310"/>
                  <a:gd name="T81" fmla="*/ 358 h 751"/>
                  <a:gd name="T82" fmla="*/ 105 w 1310"/>
                  <a:gd name="T83" fmla="*/ 361 h 751"/>
                  <a:gd name="T84" fmla="*/ 176 w 1310"/>
                  <a:gd name="T85" fmla="*/ 361 h 751"/>
                  <a:gd name="T86" fmla="*/ 254 w 1310"/>
                  <a:gd name="T87" fmla="*/ 346 h 751"/>
                  <a:gd name="T88" fmla="*/ 319 w 1310"/>
                  <a:gd name="T89" fmla="*/ 355 h 751"/>
                  <a:gd name="T90" fmla="*/ 357 w 1310"/>
                  <a:gd name="T91" fmla="*/ 374 h 751"/>
                  <a:gd name="T92" fmla="*/ 401 w 1310"/>
                  <a:gd name="T93" fmla="*/ 360 h 751"/>
                  <a:gd name="T94" fmla="*/ 441 w 1310"/>
                  <a:gd name="T95" fmla="*/ 377 h 751"/>
                  <a:gd name="T96" fmla="*/ 472 w 1310"/>
                  <a:gd name="T97" fmla="*/ 426 h 751"/>
                  <a:gd name="T98" fmla="*/ 482 w 1310"/>
                  <a:gd name="T99" fmla="*/ 387 h 751"/>
                  <a:gd name="T100" fmla="*/ 536 w 1310"/>
                  <a:gd name="T101" fmla="*/ 369 h 751"/>
                  <a:gd name="T102" fmla="*/ 589 w 1310"/>
                  <a:gd name="T103" fmla="*/ 404 h 751"/>
                  <a:gd name="T104" fmla="*/ 650 w 1310"/>
                  <a:gd name="T105" fmla="*/ 409 h 751"/>
                  <a:gd name="T106" fmla="*/ 708 w 1310"/>
                  <a:gd name="T107" fmla="*/ 384 h 751"/>
                  <a:gd name="T108" fmla="*/ 745 w 1310"/>
                  <a:gd name="T109" fmla="*/ 331 h 751"/>
                  <a:gd name="T110" fmla="*/ 757 w 1310"/>
                  <a:gd name="T111" fmla="*/ 266 h 751"/>
                  <a:gd name="T112" fmla="*/ 789 w 1310"/>
                  <a:gd name="T113" fmla="*/ 209 h 751"/>
                  <a:gd name="T114" fmla="*/ 841 w 1310"/>
                  <a:gd name="T115" fmla="*/ 200 h 751"/>
                  <a:gd name="T116" fmla="*/ 802 w 1310"/>
                  <a:gd name="T117" fmla="*/ 152 h 751"/>
                  <a:gd name="T118" fmla="*/ 833 w 1310"/>
                  <a:gd name="T119" fmla="*/ 116 h 751"/>
                  <a:gd name="T120" fmla="*/ 876 w 1310"/>
                  <a:gd name="T121" fmla="*/ 111 h 751"/>
                  <a:gd name="T122" fmla="*/ 900 w 1310"/>
                  <a:gd name="T123" fmla="*/ 49 h 751"/>
                  <a:gd name="T124" fmla="*/ 932 w 1310"/>
                  <a:gd name="T125" fmla="*/ 7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0" h="751">
                    <a:moveTo>
                      <a:pt x="955" y="22"/>
                    </a:moveTo>
                    <a:lnTo>
                      <a:pt x="957" y="22"/>
                    </a:lnTo>
                    <a:lnTo>
                      <a:pt x="958" y="22"/>
                    </a:lnTo>
                    <a:lnTo>
                      <a:pt x="960" y="22"/>
                    </a:lnTo>
                    <a:lnTo>
                      <a:pt x="962" y="22"/>
                    </a:lnTo>
                    <a:lnTo>
                      <a:pt x="962" y="21"/>
                    </a:lnTo>
                    <a:lnTo>
                      <a:pt x="963" y="21"/>
                    </a:lnTo>
                    <a:lnTo>
                      <a:pt x="965" y="21"/>
                    </a:lnTo>
                    <a:lnTo>
                      <a:pt x="966" y="21"/>
                    </a:lnTo>
                    <a:lnTo>
                      <a:pt x="968" y="21"/>
                    </a:lnTo>
                    <a:lnTo>
                      <a:pt x="970" y="21"/>
                    </a:lnTo>
                    <a:lnTo>
                      <a:pt x="970" y="22"/>
                    </a:lnTo>
                    <a:lnTo>
                      <a:pt x="971" y="22"/>
                    </a:lnTo>
                    <a:lnTo>
                      <a:pt x="973" y="24"/>
                    </a:lnTo>
                    <a:lnTo>
                      <a:pt x="974" y="24"/>
                    </a:lnTo>
                    <a:lnTo>
                      <a:pt x="974" y="26"/>
                    </a:lnTo>
                    <a:lnTo>
                      <a:pt x="976" y="26"/>
                    </a:lnTo>
                    <a:lnTo>
                      <a:pt x="976" y="27"/>
                    </a:lnTo>
                    <a:lnTo>
                      <a:pt x="978" y="27"/>
                    </a:lnTo>
                    <a:lnTo>
                      <a:pt x="979" y="27"/>
                    </a:lnTo>
                    <a:lnTo>
                      <a:pt x="979" y="29"/>
                    </a:lnTo>
                    <a:lnTo>
                      <a:pt x="981" y="29"/>
                    </a:lnTo>
                    <a:lnTo>
                      <a:pt x="982" y="30"/>
                    </a:lnTo>
                    <a:lnTo>
                      <a:pt x="984" y="30"/>
                    </a:lnTo>
                    <a:lnTo>
                      <a:pt x="985" y="32"/>
                    </a:lnTo>
                    <a:lnTo>
                      <a:pt x="987" y="32"/>
                    </a:lnTo>
                    <a:lnTo>
                      <a:pt x="989" y="34"/>
                    </a:lnTo>
                    <a:lnTo>
                      <a:pt x="990" y="34"/>
                    </a:lnTo>
                    <a:lnTo>
                      <a:pt x="990" y="35"/>
                    </a:lnTo>
                    <a:lnTo>
                      <a:pt x="992" y="35"/>
                    </a:lnTo>
                    <a:lnTo>
                      <a:pt x="993" y="35"/>
                    </a:lnTo>
                    <a:lnTo>
                      <a:pt x="993" y="37"/>
                    </a:lnTo>
                    <a:lnTo>
                      <a:pt x="995" y="37"/>
                    </a:lnTo>
                    <a:lnTo>
                      <a:pt x="997" y="37"/>
                    </a:lnTo>
                    <a:lnTo>
                      <a:pt x="998" y="37"/>
                    </a:lnTo>
                    <a:lnTo>
                      <a:pt x="1000" y="37"/>
                    </a:lnTo>
                    <a:lnTo>
                      <a:pt x="1001" y="37"/>
                    </a:lnTo>
                    <a:lnTo>
                      <a:pt x="1003" y="37"/>
                    </a:lnTo>
                    <a:lnTo>
                      <a:pt x="1004" y="37"/>
                    </a:lnTo>
                    <a:lnTo>
                      <a:pt x="1006" y="37"/>
                    </a:lnTo>
                    <a:lnTo>
                      <a:pt x="1008" y="37"/>
                    </a:lnTo>
                    <a:lnTo>
                      <a:pt x="1009" y="37"/>
                    </a:lnTo>
                    <a:lnTo>
                      <a:pt x="1009" y="38"/>
                    </a:lnTo>
                    <a:lnTo>
                      <a:pt x="1011" y="38"/>
                    </a:lnTo>
                    <a:lnTo>
                      <a:pt x="1011" y="40"/>
                    </a:lnTo>
                    <a:lnTo>
                      <a:pt x="1012" y="41"/>
                    </a:lnTo>
                    <a:lnTo>
                      <a:pt x="1012" y="43"/>
                    </a:lnTo>
                    <a:lnTo>
                      <a:pt x="1011" y="43"/>
                    </a:lnTo>
                    <a:lnTo>
                      <a:pt x="1012" y="45"/>
                    </a:lnTo>
                    <a:lnTo>
                      <a:pt x="1012" y="46"/>
                    </a:lnTo>
                    <a:lnTo>
                      <a:pt x="1012" y="48"/>
                    </a:lnTo>
                    <a:lnTo>
                      <a:pt x="1014" y="48"/>
                    </a:lnTo>
                    <a:lnTo>
                      <a:pt x="1014" y="49"/>
                    </a:lnTo>
                    <a:lnTo>
                      <a:pt x="1016" y="49"/>
                    </a:lnTo>
                    <a:lnTo>
                      <a:pt x="1016" y="51"/>
                    </a:lnTo>
                    <a:lnTo>
                      <a:pt x="1017" y="53"/>
                    </a:lnTo>
                    <a:lnTo>
                      <a:pt x="1019" y="54"/>
                    </a:lnTo>
                    <a:lnTo>
                      <a:pt x="1020" y="54"/>
                    </a:lnTo>
                    <a:lnTo>
                      <a:pt x="1022" y="56"/>
                    </a:lnTo>
                    <a:lnTo>
                      <a:pt x="1022" y="57"/>
                    </a:lnTo>
                    <a:lnTo>
                      <a:pt x="1023" y="57"/>
                    </a:lnTo>
                    <a:lnTo>
                      <a:pt x="1025" y="59"/>
                    </a:lnTo>
                    <a:lnTo>
                      <a:pt x="1027" y="59"/>
                    </a:lnTo>
                    <a:lnTo>
                      <a:pt x="1027" y="60"/>
                    </a:lnTo>
                    <a:lnTo>
                      <a:pt x="1028" y="60"/>
                    </a:lnTo>
                    <a:lnTo>
                      <a:pt x="1030" y="60"/>
                    </a:lnTo>
                    <a:lnTo>
                      <a:pt x="1030" y="62"/>
                    </a:lnTo>
                    <a:lnTo>
                      <a:pt x="1031" y="62"/>
                    </a:lnTo>
                    <a:lnTo>
                      <a:pt x="1033" y="62"/>
                    </a:lnTo>
                    <a:lnTo>
                      <a:pt x="1033" y="64"/>
                    </a:lnTo>
                    <a:lnTo>
                      <a:pt x="1035" y="64"/>
                    </a:lnTo>
                    <a:lnTo>
                      <a:pt x="1036" y="64"/>
                    </a:lnTo>
                    <a:lnTo>
                      <a:pt x="1038" y="64"/>
                    </a:lnTo>
                    <a:lnTo>
                      <a:pt x="1038" y="65"/>
                    </a:lnTo>
                    <a:lnTo>
                      <a:pt x="1039" y="65"/>
                    </a:lnTo>
                    <a:lnTo>
                      <a:pt x="1041" y="65"/>
                    </a:lnTo>
                    <a:lnTo>
                      <a:pt x="1042" y="67"/>
                    </a:lnTo>
                    <a:lnTo>
                      <a:pt x="1044" y="67"/>
                    </a:lnTo>
                    <a:lnTo>
                      <a:pt x="1044" y="68"/>
                    </a:lnTo>
                    <a:lnTo>
                      <a:pt x="1046" y="68"/>
                    </a:lnTo>
                    <a:lnTo>
                      <a:pt x="1046" y="70"/>
                    </a:lnTo>
                    <a:lnTo>
                      <a:pt x="1047" y="70"/>
                    </a:lnTo>
                    <a:lnTo>
                      <a:pt x="1047" y="72"/>
                    </a:lnTo>
                    <a:lnTo>
                      <a:pt x="1049" y="73"/>
                    </a:lnTo>
                    <a:lnTo>
                      <a:pt x="1050" y="73"/>
                    </a:lnTo>
                    <a:lnTo>
                      <a:pt x="1050" y="75"/>
                    </a:lnTo>
                    <a:lnTo>
                      <a:pt x="1052" y="75"/>
                    </a:lnTo>
                    <a:lnTo>
                      <a:pt x="1052" y="76"/>
                    </a:lnTo>
                    <a:lnTo>
                      <a:pt x="1054" y="76"/>
                    </a:lnTo>
                    <a:lnTo>
                      <a:pt x="1054" y="78"/>
                    </a:lnTo>
                    <a:lnTo>
                      <a:pt x="1055" y="78"/>
                    </a:lnTo>
                    <a:lnTo>
                      <a:pt x="1057" y="78"/>
                    </a:lnTo>
                    <a:lnTo>
                      <a:pt x="1058" y="79"/>
                    </a:lnTo>
                    <a:lnTo>
                      <a:pt x="1060" y="79"/>
                    </a:lnTo>
                    <a:lnTo>
                      <a:pt x="1061" y="79"/>
                    </a:lnTo>
                    <a:lnTo>
                      <a:pt x="1061" y="81"/>
                    </a:lnTo>
                    <a:lnTo>
                      <a:pt x="1061" y="83"/>
                    </a:lnTo>
                    <a:lnTo>
                      <a:pt x="1061" y="84"/>
                    </a:lnTo>
                    <a:lnTo>
                      <a:pt x="1061" y="86"/>
                    </a:lnTo>
                    <a:lnTo>
                      <a:pt x="1063" y="86"/>
                    </a:lnTo>
                    <a:lnTo>
                      <a:pt x="1063" y="87"/>
                    </a:lnTo>
                    <a:lnTo>
                      <a:pt x="1065" y="89"/>
                    </a:lnTo>
                    <a:lnTo>
                      <a:pt x="1065" y="91"/>
                    </a:lnTo>
                    <a:lnTo>
                      <a:pt x="1066" y="91"/>
                    </a:lnTo>
                    <a:lnTo>
                      <a:pt x="1066" y="92"/>
                    </a:lnTo>
                    <a:lnTo>
                      <a:pt x="1068" y="94"/>
                    </a:lnTo>
                    <a:lnTo>
                      <a:pt x="1068" y="95"/>
                    </a:lnTo>
                    <a:lnTo>
                      <a:pt x="1069" y="95"/>
                    </a:lnTo>
                    <a:lnTo>
                      <a:pt x="1069" y="97"/>
                    </a:lnTo>
                    <a:lnTo>
                      <a:pt x="1071" y="97"/>
                    </a:lnTo>
                    <a:lnTo>
                      <a:pt x="1071" y="98"/>
                    </a:lnTo>
                    <a:lnTo>
                      <a:pt x="1073" y="98"/>
                    </a:lnTo>
                    <a:lnTo>
                      <a:pt x="1073" y="100"/>
                    </a:lnTo>
                    <a:lnTo>
                      <a:pt x="1074" y="100"/>
                    </a:lnTo>
                    <a:lnTo>
                      <a:pt x="1076" y="100"/>
                    </a:lnTo>
                    <a:lnTo>
                      <a:pt x="1077" y="100"/>
                    </a:lnTo>
                    <a:lnTo>
                      <a:pt x="1079" y="100"/>
                    </a:lnTo>
                    <a:lnTo>
                      <a:pt x="1080" y="100"/>
                    </a:lnTo>
                    <a:lnTo>
                      <a:pt x="1082" y="100"/>
                    </a:lnTo>
                    <a:lnTo>
                      <a:pt x="1084" y="100"/>
                    </a:lnTo>
                    <a:lnTo>
                      <a:pt x="1085" y="100"/>
                    </a:lnTo>
                    <a:lnTo>
                      <a:pt x="1087" y="100"/>
                    </a:lnTo>
                    <a:lnTo>
                      <a:pt x="1088" y="100"/>
                    </a:lnTo>
                    <a:lnTo>
                      <a:pt x="1090" y="98"/>
                    </a:lnTo>
                    <a:lnTo>
                      <a:pt x="1092" y="98"/>
                    </a:lnTo>
                    <a:lnTo>
                      <a:pt x="1092" y="97"/>
                    </a:lnTo>
                    <a:lnTo>
                      <a:pt x="1093" y="97"/>
                    </a:lnTo>
                    <a:lnTo>
                      <a:pt x="1095" y="97"/>
                    </a:lnTo>
                    <a:lnTo>
                      <a:pt x="1096" y="97"/>
                    </a:lnTo>
                    <a:lnTo>
                      <a:pt x="1096" y="98"/>
                    </a:lnTo>
                    <a:lnTo>
                      <a:pt x="1098" y="98"/>
                    </a:lnTo>
                    <a:lnTo>
                      <a:pt x="1099" y="100"/>
                    </a:lnTo>
                    <a:lnTo>
                      <a:pt x="1101" y="102"/>
                    </a:lnTo>
                    <a:lnTo>
                      <a:pt x="1101" y="103"/>
                    </a:lnTo>
                    <a:lnTo>
                      <a:pt x="1103" y="103"/>
                    </a:lnTo>
                    <a:lnTo>
                      <a:pt x="1104" y="105"/>
                    </a:lnTo>
                    <a:lnTo>
                      <a:pt x="1106" y="106"/>
                    </a:lnTo>
                    <a:lnTo>
                      <a:pt x="1107" y="106"/>
                    </a:lnTo>
                    <a:lnTo>
                      <a:pt x="1109" y="108"/>
                    </a:lnTo>
                    <a:lnTo>
                      <a:pt x="1111" y="108"/>
                    </a:lnTo>
                    <a:lnTo>
                      <a:pt x="1112" y="108"/>
                    </a:lnTo>
                    <a:lnTo>
                      <a:pt x="1112" y="110"/>
                    </a:lnTo>
                    <a:lnTo>
                      <a:pt x="1114" y="110"/>
                    </a:lnTo>
                    <a:lnTo>
                      <a:pt x="1115" y="111"/>
                    </a:lnTo>
                    <a:lnTo>
                      <a:pt x="1117" y="113"/>
                    </a:lnTo>
                    <a:lnTo>
                      <a:pt x="1118" y="113"/>
                    </a:lnTo>
                    <a:lnTo>
                      <a:pt x="1120" y="113"/>
                    </a:lnTo>
                    <a:lnTo>
                      <a:pt x="1122" y="114"/>
                    </a:lnTo>
                    <a:lnTo>
                      <a:pt x="1123" y="114"/>
                    </a:lnTo>
                    <a:lnTo>
                      <a:pt x="1123" y="116"/>
                    </a:lnTo>
                    <a:lnTo>
                      <a:pt x="1125" y="117"/>
                    </a:lnTo>
                    <a:lnTo>
                      <a:pt x="1126" y="119"/>
                    </a:lnTo>
                    <a:lnTo>
                      <a:pt x="1128" y="119"/>
                    </a:lnTo>
                    <a:lnTo>
                      <a:pt x="1130" y="119"/>
                    </a:lnTo>
                    <a:lnTo>
                      <a:pt x="1131" y="119"/>
                    </a:lnTo>
                    <a:lnTo>
                      <a:pt x="1131" y="117"/>
                    </a:lnTo>
                    <a:lnTo>
                      <a:pt x="1133" y="117"/>
                    </a:lnTo>
                    <a:lnTo>
                      <a:pt x="1134" y="117"/>
                    </a:lnTo>
                    <a:lnTo>
                      <a:pt x="1134" y="116"/>
                    </a:lnTo>
                    <a:lnTo>
                      <a:pt x="1136" y="116"/>
                    </a:lnTo>
                    <a:lnTo>
                      <a:pt x="1137" y="116"/>
                    </a:lnTo>
                    <a:lnTo>
                      <a:pt x="1137" y="117"/>
                    </a:lnTo>
                    <a:lnTo>
                      <a:pt x="1139" y="117"/>
                    </a:lnTo>
                    <a:lnTo>
                      <a:pt x="1141" y="117"/>
                    </a:lnTo>
                    <a:lnTo>
                      <a:pt x="1142" y="117"/>
                    </a:lnTo>
                    <a:lnTo>
                      <a:pt x="1144" y="117"/>
                    </a:lnTo>
                    <a:lnTo>
                      <a:pt x="1145" y="117"/>
                    </a:lnTo>
                    <a:lnTo>
                      <a:pt x="1147" y="117"/>
                    </a:lnTo>
                    <a:lnTo>
                      <a:pt x="1149" y="117"/>
                    </a:lnTo>
                    <a:lnTo>
                      <a:pt x="1150" y="117"/>
                    </a:lnTo>
                    <a:lnTo>
                      <a:pt x="1152" y="117"/>
                    </a:lnTo>
                    <a:lnTo>
                      <a:pt x="1153" y="117"/>
                    </a:lnTo>
                    <a:lnTo>
                      <a:pt x="1155" y="117"/>
                    </a:lnTo>
                    <a:lnTo>
                      <a:pt x="1156" y="117"/>
                    </a:lnTo>
                    <a:lnTo>
                      <a:pt x="1158" y="117"/>
                    </a:lnTo>
                    <a:lnTo>
                      <a:pt x="1160" y="117"/>
                    </a:lnTo>
                    <a:lnTo>
                      <a:pt x="1161" y="117"/>
                    </a:lnTo>
                    <a:lnTo>
                      <a:pt x="1163" y="117"/>
                    </a:lnTo>
                    <a:lnTo>
                      <a:pt x="1164" y="117"/>
                    </a:lnTo>
                    <a:lnTo>
                      <a:pt x="1166" y="117"/>
                    </a:lnTo>
                    <a:lnTo>
                      <a:pt x="1168" y="117"/>
                    </a:lnTo>
                    <a:lnTo>
                      <a:pt x="1169" y="117"/>
                    </a:lnTo>
                    <a:lnTo>
                      <a:pt x="1171" y="117"/>
                    </a:lnTo>
                    <a:lnTo>
                      <a:pt x="1172" y="117"/>
                    </a:lnTo>
                    <a:lnTo>
                      <a:pt x="1174" y="117"/>
                    </a:lnTo>
                    <a:lnTo>
                      <a:pt x="1176" y="117"/>
                    </a:lnTo>
                    <a:lnTo>
                      <a:pt x="1177" y="117"/>
                    </a:lnTo>
                    <a:lnTo>
                      <a:pt x="1179" y="117"/>
                    </a:lnTo>
                    <a:lnTo>
                      <a:pt x="1180" y="117"/>
                    </a:lnTo>
                    <a:lnTo>
                      <a:pt x="1182" y="117"/>
                    </a:lnTo>
                    <a:lnTo>
                      <a:pt x="1183" y="117"/>
                    </a:lnTo>
                    <a:lnTo>
                      <a:pt x="1185" y="117"/>
                    </a:lnTo>
                    <a:lnTo>
                      <a:pt x="1187" y="117"/>
                    </a:lnTo>
                    <a:lnTo>
                      <a:pt x="1188" y="117"/>
                    </a:lnTo>
                    <a:lnTo>
                      <a:pt x="1190" y="117"/>
                    </a:lnTo>
                    <a:lnTo>
                      <a:pt x="1191" y="117"/>
                    </a:lnTo>
                    <a:lnTo>
                      <a:pt x="1193" y="117"/>
                    </a:lnTo>
                    <a:lnTo>
                      <a:pt x="1195" y="117"/>
                    </a:lnTo>
                    <a:lnTo>
                      <a:pt x="1196" y="117"/>
                    </a:lnTo>
                    <a:lnTo>
                      <a:pt x="1198" y="117"/>
                    </a:lnTo>
                    <a:lnTo>
                      <a:pt x="1199" y="117"/>
                    </a:lnTo>
                    <a:lnTo>
                      <a:pt x="1201" y="117"/>
                    </a:lnTo>
                    <a:lnTo>
                      <a:pt x="1202" y="117"/>
                    </a:lnTo>
                    <a:lnTo>
                      <a:pt x="1204" y="117"/>
                    </a:lnTo>
                    <a:lnTo>
                      <a:pt x="1206" y="117"/>
                    </a:lnTo>
                    <a:lnTo>
                      <a:pt x="1207" y="116"/>
                    </a:lnTo>
                    <a:lnTo>
                      <a:pt x="1209" y="116"/>
                    </a:lnTo>
                    <a:lnTo>
                      <a:pt x="1210" y="116"/>
                    </a:lnTo>
                    <a:lnTo>
                      <a:pt x="1212" y="116"/>
                    </a:lnTo>
                    <a:lnTo>
                      <a:pt x="1214" y="116"/>
                    </a:lnTo>
                    <a:lnTo>
                      <a:pt x="1215" y="116"/>
                    </a:lnTo>
                    <a:lnTo>
                      <a:pt x="1217" y="116"/>
                    </a:lnTo>
                    <a:lnTo>
                      <a:pt x="1218" y="116"/>
                    </a:lnTo>
                    <a:lnTo>
                      <a:pt x="1220" y="116"/>
                    </a:lnTo>
                    <a:lnTo>
                      <a:pt x="1221" y="116"/>
                    </a:lnTo>
                    <a:lnTo>
                      <a:pt x="1223" y="116"/>
                    </a:lnTo>
                    <a:lnTo>
                      <a:pt x="1225" y="116"/>
                    </a:lnTo>
                    <a:lnTo>
                      <a:pt x="1226" y="116"/>
                    </a:lnTo>
                    <a:lnTo>
                      <a:pt x="1228" y="116"/>
                    </a:lnTo>
                    <a:lnTo>
                      <a:pt x="1229" y="116"/>
                    </a:lnTo>
                    <a:lnTo>
                      <a:pt x="1231" y="116"/>
                    </a:lnTo>
                    <a:lnTo>
                      <a:pt x="1233" y="116"/>
                    </a:lnTo>
                    <a:lnTo>
                      <a:pt x="1234" y="116"/>
                    </a:lnTo>
                    <a:lnTo>
                      <a:pt x="1236" y="116"/>
                    </a:lnTo>
                    <a:lnTo>
                      <a:pt x="1237" y="116"/>
                    </a:lnTo>
                    <a:lnTo>
                      <a:pt x="1239" y="116"/>
                    </a:lnTo>
                    <a:lnTo>
                      <a:pt x="1240" y="116"/>
                    </a:lnTo>
                    <a:lnTo>
                      <a:pt x="1242" y="116"/>
                    </a:lnTo>
                    <a:lnTo>
                      <a:pt x="1244" y="116"/>
                    </a:lnTo>
                    <a:lnTo>
                      <a:pt x="1245" y="116"/>
                    </a:lnTo>
                    <a:lnTo>
                      <a:pt x="1247" y="116"/>
                    </a:lnTo>
                    <a:lnTo>
                      <a:pt x="1248" y="116"/>
                    </a:lnTo>
                    <a:lnTo>
                      <a:pt x="1250" y="116"/>
                    </a:lnTo>
                    <a:lnTo>
                      <a:pt x="1252" y="116"/>
                    </a:lnTo>
                    <a:lnTo>
                      <a:pt x="1253" y="116"/>
                    </a:lnTo>
                    <a:lnTo>
                      <a:pt x="1255" y="116"/>
                    </a:lnTo>
                    <a:lnTo>
                      <a:pt x="1256" y="116"/>
                    </a:lnTo>
                    <a:lnTo>
                      <a:pt x="1258" y="116"/>
                    </a:lnTo>
                    <a:lnTo>
                      <a:pt x="1259" y="116"/>
                    </a:lnTo>
                    <a:lnTo>
                      <a:pt x="1261" y="116"/>
                    </a:lnTo>
                    <a:lnTo>
                      <a:pt x="1263" y="116"/>
                    </a:lnTo>
                    <a:lnTo>
                      <a:pt x="1264" y="116"/>
                    </a:lnTo>
                    <a:lnTo>
                      <a:pt x="1266" y="116"/>
                    </a:lnTo>
                    <a:lnTo>
                      <a:pt x="1267" y="116"/>
                    </a:lnTo>
                    <a:lnTo>
                      <a:pt x="1269" y="116"/>
                    </a:lnTo>
                    <a:lnTo>
                      <a:pt x="1271" y="116"/>
                    </a:lnTo>
                    <a:lnTo>
                      <a:pt x="1272" y="116"/>
                    </a:lnTo>
                    <a:lnTo>
                      <a:pt x="1274" y="116"/>
                    </a:lnTo>
                    <a:lnTo>
                      <a:pt x="1275" y="116"/>
                    </a:lnTo>
                    <a:lnTo>
                      <a:pt x="1277" y="116"/>
                    </a:lnTo>
                    <a:lnTo>
                      <a:pt x="1278" y="116"/>
                    </a:lnTo>
                    <a:lnTo>
                      <a:pt x="1280" y="116"/>
                    </a:lnTo>
                    <a:lnTo>
                      <a:pt x="1282" y="116"/>
                    </a:lnTo>
                    <a:lnTo>
                      <a:pt x="1283" y="116"/>
                    </a:lnTo>
                    <a:lnTo>
                      <a:pt x="1285" y="116"/>
                    </a:lnTo>
                    <a:lnTo>
                      <a:pt x="1286" y="116"/>
                    </a:lnTo>
                    <a:lnTo>
                      <a:pt x="1288" y="116"/>
                    </a:lnTo>
                    <a:lnTo>
                      <a:pt x="1290" y="116"/>
                    </a:lnTo>
                    <a:lnTo>
                      <a:pt x="1291" y="116"/>
                    </a:lnTo>
                    <a:lnTo>
                      <a:pt x="1293" y="116"/>
                    </a:lnTo>
                    <a:lnTo>
                      <a:pt x="1294" y="116"/>
                    </a:lnTo>
                    <a:lnTo>
                      <a:pt x="1296" y="116"/>
                    </a:lnTo>
                    <a:lnTo>
                      <a:pt x="1297" y="116"/>
                    </a:lnTo>
                    <a:lnTo>
                      <a:pt x="1299" y="116"/>
                    </a:lnTo>
                    <a:lnTo>
                      <a:pt x="1301" y="116"/>
                    </a:lnTo>
                    <a:lnTo>
                      <a:pt x="1302" y="116"/>
                    </a:lnTo>
                    <a:lnTo>
                      <a:pt x="1304" y="116"/>
                    </a:lnTo>
                    <a:lnTo>
                      <a:pt x="1305" y="116"/>
                    </a:lnTo>
                    <a:lnTo>
                      <a:pt x="1310" y="121"/>
                    </a:lnTo>
                    <a:lnTo>
                      <a:pt x="1310" y="122"/>
                    </a:lnTo>
                    <a:lnTo>
                      <a:pt x="1310" y="124"/>
                    </a:lnTo>
                    <a:lnTo>
                      <a:pt x="1310" y="125"/>
                    </a:lnTo>
                    <a:lnTo>
                      <a:pt x="1310" y="127"/>
                    </a:lnTo>
                    <a:lnTo>
                      <a:pt x="1309" y="129"/>
                    </a:lnTo>
                    <a:lnTo>
                      <a:pt x="1309" y="130"/>
                    </a:lnTo>
                    <a:lnTo>
                      <a:pt x="1309" y="132"/>
                    </a:lnTo>
                    <a:lnTo>
                      <a:pt x="1309" y="133"/>
                    </a:lnTo>
                    <a:lnTo>
                      <a:pt x="1309" y="135"/>
                    </a:lnTo>
                    <a:lnTo>
                      <a:pt x="1309" y="137"/>
                    </a:lnTo>
                    <a:lnTo>
                      <a:pt x="1307" y="138"/>
                    </a:lnTo>
                    <a:lnTo>
                      <a:pt x="1307" y="140"/>
                    </a:lnTo>
                    <a:lnTo>
                      <a:pt x="1307" y="141"/>
                    </a:lnTo>
                    <a:lnTo>
                      <a:pt x="1307" y="143"/>
                    </a:lnTo>
                    <a:lnTo>
                      <a:pt x="1307" y="144"/>
                    </a:lnTo>
                    <a:lnTo>
                      <a:pt x="1307" y="146"/>
                    </a:lnTo>
                    <a:lnTo>
                      <a:pt x="1307" y="148"/>
                    </a:lnTo>
                    <a:lnTo>
                      <a:pt x="1305" y="149"/>
                    </a:lnTo>
                    <a:lnTo>
                      <a:pt x="1305" y="151"/>
                    </a:lnTo>
                    <a:lnTo>
                      <a:pt x="1305" y="152"/>
                    </a:lnTo>
                    <a:lnTo>
                      <a:pt x="1305" y="154"/>
                    </a:lnTo>
                    <a:lnTo>
                      <a:pt x="1305" y="156"/>
                    </a:lnTo>
                    <a:lnTo>
                      <a:pt x="1305" y="157"/>
                    </a:lnTo>
                    <a:lnTo>
                      <a:pt x="1305" y="159"/>
                    </a:lnTo>
                    <a:lnTo>
                      <a:pt x="1305" y="160"/>
                    </a:lnTo>
                    <a:lnTo>
                      <a:pt x="1304" y="160"/>
                    </a:lnTo>
                    <a:lnTo>
                      <a:pt x="1304" y="162"/>
                    </a:lnTo>
                    <a:lnTo>
                      <a:pt x="1304" y="163"/>
                    </a:lnTo>
                    <a:lnTo>
                      <a:pt x="1304" y="165"/>
                    </a:lnTo>
                    <a:lnTo>
                      <a:pt x="1304" y="167"/>
                    </a:lnTo>
                    <a:lnTo>
                      <a:pt x="1304" y="168"/>
                    </a:lnTo>
                    <a:lnTo>
                      <a:pt x="1302" y="170"/>
                    </a:lnTo>
                    <a:lnTo>
                      <a:pt x="1302" y="171"/>
                    </a:lnTo>
                    <a:lnTo>
                      <a:pt x="1302" y="173"/>
                    </a:lnTo>
                    <a:lnTo>
                      <a:pt x="1302" y="175"/>
                    </a:lnTo>
                    <a:lnTo>
                      <a:pt x="1302" y="176"/>
                    </a:lnTo>
                    <a:lnTo>
                      <a:pt x="1302" y="178"/>
                    </a:lnTo>
                    <a:lnTo>
                      <a:pt x="1301" y="179"/>
                    </a:lnTo>
                    <a:lnTo>
                      <a:pt x="1301" y="181"/>
                    </a:lnTo>
                    <a:lnTo>
                      <a:pt x="1301" y="182"/>
                    </a:lnTo>
                    <a:lnTo>
                      <a:pt x="1301" y="184"/>
                    </a:lnTo>
                    <a:lnTo>
                      <a:pt x="1301" y="186"/>
                    </a:lnTo>
                    <a:lnTo>
                      <a:pt x="1299" y="186"/>
                    </a:lnTo>
                    <a:lnTo>
                      <a:pt x="1299" y="187"/>
                    </a:lnTo>
                    <a:lnTo>
                      <a:pt x="1299" y="189"/>
                    </a:lnTo>
                    <a:lnTo>
                      <a:pt x="1299" y="190"/>
                    </a:lnTo>
                    <a:lnTo>
                      <a:pt x="1299" y="192"/>
                    </a:lnTo>
                    <a:lnTo>
                      <a:pt x="1297" y="192"/>
                    </a:lnTo>
                    <a:lnTo>
                      <a:pt x="1297" y="194"/>
                    </a:lnTo>
                    <a:lnTo>
                      <a:pt x="1297" y="195"/>
                    </a:lnTo>
                    <a:lnTo>
                      <a:pt x="1297" y="197"/>
                    </a:lnTo>
                    <a:lnTo>
                      <a:pt x="1297" y="198"/>
                    </a:lnTo>
                    <a:lnTo>
                      <a:pt x="1296" y="200"/>
                    </a:lnTo>
                    <a:lnTo>
                      <a:pt x="1296" y="201"/>
                    </a:lnTo>
                    <a:lnTo>
                      <a:pt x="1296" y="203"/>
                    </a:lnTo>
                    <a:lnTo>
                      <a:pt x="1296" y="205"/>
                    </a:lnTo>
                    <a:lnTo>
                      <a:pt x="1296" y="206"/>
                    </a:lnTo>
                    <a:lnTo>
                      <a:pt x="1294" y="206"/>
                    </a:lnTo>
                    <a:lnTo>
                      <a:pt x="1294" y="208"/>
                    </a:lnTo>
                    <a:lnTo>
                      <a:pt x="1294" y="209"/>
                    </a:lnTo>
                    <a:lnTo>
                      <a:pt x="1294" y="211"/>
                    </a:lnTo>
                    <a:lnTo>
                      <a:pt x="1293" y="213"/>
                    </a:lnTo>
                    <a:lnTo>
                      <a:pt x="1293" y="214"/>
                    </a:lnTo>
                    <a:lnTo>
                      <a:pt x="1293" y="216"/>
                    </a:lnTo>
                    <a:lnTo>
                      <a:pt x="1293" y="217"/>
                    </a:lnTo>
                    <a:lnTo>
                      <a:pt x="1291" y="219"/>
                    </a:lnTo>
                    <a:lnTo>
                      <a:pt x="1291" y="220"/>
                    </a:lnTo>
                    <a:lnTo>
                      <a:pt x="1291" y="222"/>
                    </a:lnTo>
                    <a:lnTo>
                      <a:pt x="1291" y="224"/>
                    </a:lnTo>
                    <a:lnTo>
                      <a:pt x="1290" y="224"/>
                    </a:lnTo>
                    <a:lnTo>
                      <a:pt x="1290" y="225"/>
                    </a:lnTo>
                    <a:lnTo>
                      <a:pt x="1290" y="227"/>
                    </a:lnTo>
                    <a:lnTo>
                      <a:pt x="1290" y="228"/>
                    </a:lnTo>
                    <a:lnTo>
                      <a:pt x="1290" y="230"/>
                    </a:lnTo>
                    <a:lnTo>
                      <a:pt x="1290" y="232"/>
                    </a:lnTo>
                    <a:lnTo>
                      <a:pt x="1288" y="232"/>
                    </a:lnTo>
                    <a:lnTo>
                      <a:pt x="1288" y="233"/>
                    </a:lnTo>
                    <a:lnTo>
                      <a:pt x="1288" y="235"/>
                    </a:lnTo>
                    <a:lnTo>
                      <a:pt x="1288" y="236"/>
                    </a:lnTo>
                    <a:lnTo>
                      <a:pt x="1288" y="238"/>
                    </a:lnTo>
                    <a:lnTo>
                      <a:pt x="1286" y="238"/>
                    </a:lnTo>
                    <a:lnTo>
                      <a:pt x="1286" y="239"/>
                    </a:lnTo>
                    <a:lnTo>
                      <a:pt x="1286" y="241"/>
                    </a:lnTo>
                    <a:lnTo>
                      <a:pt x="1286" y="243"/>
                    </a:lnTo>
                    <a:lnTo>
                      <a:pt x="1285" y="244"/>
                    </a:lnTo>
                    <a:lnTo>
                      <a:pt x="1285" y="246"/>
                    </a:lnTo>
                    <a:lnTo>
                      <a:pt x="1285" y="247"/>
                    </a:lnTo>
                    <a:lnTo>
                      <a:pt x="1285" y="249"/>
                    </a:lnTo>
                    <a:lnTo>
                      <a:pt x="1283" y="249"/>
                    </a:lnTo>
                    <a:lnTo>
                      <a:pt x="1283" y="251"/>
                    </a:lnTo>
                    <a:lnTo>
                      <a:pt x="1283" y="252"/>
                    </a:lnTo>
                    <a:lnTo>
                      <a:pt x="1283" y="254"/>
                    </a:lnTo>
                    <a:lnTo>
                      <a:pt x="1282" y="254"/>
                    </a:lnTo>
                    <a:lnTo>
                      <a:pt x="1282" y="255"/>
                    </a:lnTo>
                    <a:lnTo>
                      <a:pt x="1280" y="255"/>
                    </a:lnTo>
                    <a:lnTo>
                      <a:pt x="1278" y="257"/>
                    </a:lnTo>
                    <a:lnTo>
                      <a:pt x="1277" y="257"/>
                    </a:lnTo>
                    <a:lnTo>
                      <a:pt x="1275" y="257"/>
                    </a:lnTo>
                    <a:lnTo>
                      <a:pt x="1275" y="258"/>
                    </a:lnTo>
                    <a:lnTo>
                      <a:pt x="1274" y="258"/>
                    </a:lnTo>
                    <a:lnTo>
                      <a:pt x="1272" y="258"/>
                    </a:lnTo>
                    <a:lnTo>
                      <a:pt x="1272" y="260"/>
                    </a:lnTo>
                    <a:lnTo>
                      <a:pt x="1271" y="260"/>
                    </a:lnTo>
                    <a:lnTo>
                      <a:pt x="1269" y="260"/>
                    </a:lnTo>
                    <a:lnTo>
                      <a:pt x="1267" y="262"/>
                    </a:lnTo>
                    <a:lnTo>
                      <a:pt x="1266" y="262"/>
                    </a:lnTo>
                    <a:lnTo>
                      <a:pt x="1264" y="263"/>
                    </a:lnTo>
                    <a:lnTo>
                      <a:pt x="1263" y="263"/>
                    </a:lnTo>
                    <a:lnTo>
                      <a:pt x="1261" y="265"/>
                    </a:lnTo>
                    <a:lnTo>
                      <a:pt x="1259" y="265"/>
                    </a:lnTo>
                    <a:lnTo>
                      <a:pt x="1259" y="266"/>
                    </a:lnTo>
                    <a:lnTo>
                      <a:pt x="1258" y="266"/>
                    </a:lnTo>
                    <a:lnTo>
                      <a:pt x="1258" y="268"/>
                    </a:lnTo>
                    <a:lnTo>
                      <a:pt x="1256" y="270"/>
                    </a:lnTo>
                    <a:lnTo>
                      <a:pt x="1255" y="270"/>
                    </a:lnTo>
                    <a:lnTo>
                      <a:pt x="1253" y="270"/>
                    </a:lnTo>
                    <a:lnTo>
                      <a:pt x="1253" y="271"/>
                    </a:lnTo>
                    <a:lnTo>
                      <a:pt x="1252" y="271"/>
                    </a:lnTo>
                    <a:lnTo>
                      <a:pt x="1252" y="273"/>
                    </a:lnTo>
                    <a:lnTo>
                      <a:pt x="1250" y="273"/>
                    </a:lnTo>
                    <a:lnTo>
                      <a:pt x="1248" y="273"/>
                    </a:lnTo>
                    <a:lnTo>
                      <a:pt x="1247" y="273"/>
                    </a:lnTo>
                    <a:lnTo>
                      <a:pt x="1245" y="273"/>
                    </a:lnTo>
                    <a:lnTo>
                      <a:pt x="1244" y="273"/>
                    </a:lnTo>
                    <a:lnTo>
                      <a:pt x="1242" y="273"/>
                    </a:lnTo>
                    <a:lnTo>
                      <a:pt x="1242" y="274"/>
                    </a:lnTo>
                    <a:lnTo>
                      <a:pt x="1240" y="273"/>
                    </a:lnTo>
                    <a:lnTo>
                      <a:pt x="1239" y="273"/>
                    </a:lnTo>
                    <a:lnTo>
                      <a:pt x="1239" y="271"/>
                    </a:lnTo>
                    <a:lnTo>
                      <a:pt x="1237" y="271"/>
                    </a:lnTo>
                    <a:lnTo>
                      <a:pt x="1237" y="270"/>
                    </a:lnTo>
                    <a:lnTo>
                      <a:pt x="1236" y="270"/>
                    </a:lnTo>
                    <a:lnTo>
                      <a:pt x="1236" y="268"/>
                    </a:lnTo>
                    <a:lnTo>
                      <a:pt x="1236" y="266"/>
                    </a:lnTo>
                    <a:lnTo>
                      <a:pt x="1236" y="265"/>
                    </a:lnTo>
                    <a:lnTo>
                      <a:pt x="1236" y="263"/>
                    </a:lnTo>
                    <a:lnTo>
                      <a:pt x="1236" y="262"/>
                    </a:lnTo>
                    <a:lnTo>
                      <a:pt x="1234" y="260"/>
                    </a:lnTo>
                    <a:lnTo>
                      <a:pt x="1234" y="258"/>
                    </a:lnTo>
                    <a:lnTo>
                      <a:pt x="1233" y="258"/>
                    </a:lnTo>
                    <a:lnTo>
                      <a:pt x="1233" y="257"/>
                    </a:lnTo>
                    <a:lnTo>
                      <a:pt x="1231" y="257"/>
                    </a:lnTo>
                    <a:lnTo>
                      <a:pt x="1229" y="255"/>
                    </a:lnTo>
                    <a:lnTo>
                      <a:pt x="1228" y="255"/>
                    </a:lnTo>
                    <a:lnTo>
                      <a:pt x="1228" y="254"/>
                    </a:lnTo>
                    <a:lnTo>
                      <a:pt x="1226" y="254"/>
                    </a:lnTo>
                    <a:lnTo>
                      <a:pt x="1225" y="254"/>
                    </a:lnTo>
                    <a:lnTo>
                      <a:pt x="1225" y="252"/>
                    </a:lnTo>
                    <a:lnTo>
                      <a:pt x="1223" y="252"/>
                    </a:lnTo>
                    <a:lnTo>
                      <a:pt x="1221" y="252"/>
                    </a:lnTo>
                    <a:lnTo>
                      <a:pt x="1221" y="251"/>
                    </a:lnTo>
                    <a:lnTo>
                      <a:pt x="1220" y="251"/>
                    </a:lnTo>
                    <a:lnTo>
                      <a:pt x="1218" y="249"/>
                    </a:lnTo>
                    <a:lnTo>
                      <a:pt x="1217" y="247"/>
                    </a:lnTo>
                    <a:lnTo>
                      <a:pt x="1215" y="246"/>
                    </a:lnTo>
                    <a:lnTo>
                      <a:pt x="1214" y="244"/>
                    </a:lnTo>
                    <a:lnTo>
                      <a:pt x="1212" y="243"/>
                    </a:lnTo>
                    <a:lnTo>
                      <a:pt x="1210" y="241"/>
                    </a:lnTo>
                    <a:lnTo>
                      <a:pt x="1210" y="239"/>
                    </a:lnTo>
                    <a:lnTo>
                      <a:pt x="1209" y="239"/>
                    </a:lnTo>
                    <a:lnTo>
                      <a:pt x="1209" y="238"/>
                    </a:lnTo>
                    <a:lnTo>
                      <a:pt x="1207" y="239"/>
                    </a:lnTo>
                    <a:lnTo>
                      <a:pt x="1207" y="241"/>
                    </a:lnTo>
                    <a:lnTo>
                      <a:pt x="1207" y="243"/>
                    </a:lnTo>
                    <a:lnTo>
                      <a:pt x="1207" y="244"/>
                    </a:lnTo>
                    <a:lnTo>
                      <a:pt x="1207" y="246"/>
                    </a:lnTo>
                    <a:lnTo>
                      <a:pt x="1207" y="247"/>
                    </a:lnTo>
                    <a:lnTo>
                      <a:pt x="1207" y="249"/>
                    </a:lnTo>
                    <a:lnTo>
                      <a:pt x="1206" y="251"/>
                    </a:lnTo>
                    <a:lnTo>
                      <a:pt x="1207" y="258"/>
                    </a:lnTo>
                    <a:lnTo>
                      <a:pt x="1207" y="260"/>
                    </a:lnTo>
                    <a:lnTo>
                      <a:pt x="1207" y="262"/>
                    </a:lnTo>
                    <a:lnTo>
                      <a:pt x="1207" y="263"/>
                    </a:lnTo>
                    <a:lnTo>
                      <a:pt x="1207" y="265"/>
                    </a:lnTo>
                    <a:lnTo>
                      <a:pt x="1207" y="266"/>
                    </a:lnTo>
                    <a:lnTo>
                      <a:pt x="1207" y="268"/>
                    </a:lnTo>
                    <a:lnTo>
                      <a:pt x="1207" y="270"/>
                    </a:lnTo>
                    <a:lnTo>
                      <a:pt x="1207" y="271"/>
                    </a:lnTo>
                    <a:lnTo>
                      <a:pt x="1207" y="273"/>
                    </a:lnTo>
                    <a:lnTo>
                      <a:pt x="1207" y="274"/>
                    </a:lnTo>
                    <a:lnTo>
                      <a:pt x="1207" y="276"/>
                    </a:lnTo>
                    <a:lnTo>
                      <a:pt x="1207" y="277"/>
                    </a:lnTo>
                    <a:lnTo>
                      <a:pt x="1207" y="279"/>
                    </a:lnTo>
                    <a:lnTo>
                      <a:pt x="1207" y="281"/>
                    </a:lnTo>
                    <a:lnTo>
                      <a:pt x="1207" y="282"/>
                    </a:lnTo>
                    <a:lnTo>
                      <a:pt x="1207" y="284"/>
                    </a:lnTo>
                    <a:lnTo>
                      <a:pt x="1207" y="285"/>
                    </a:lnTo>
                    <a:lnTo>
                      <a:pt x="1207" y="287"/>
                    </a:lnTo>
                    <a:lnTo>
                      <a:pt x="1207" y="289"/>
                    </a:lnTo>
                    <a:lnTo>
                      <a:pt x="1207" y="290"/>
                    </a:lnTo>
                    <a:lnTo>
                      <a:pt x="1207" y="292"/>
                    </a:lnTo>
                    <a:lnTo>
                      <a:pt x="1207" y="293"/>
                    </a:lnTo>
                    <a:lnTo>
                      <a:pt x="1207" y="295"/>
                    </a:lnTo>
                    <a:lnTo>
                      <a:pt x="1207" y="296"/>
                    </a:lnTo>
                    <a:lnTo>
                      <a:pt x="1207" y="298"/>
                    </a:lnTo>
                    <a:lnTo>
                      <a:pt x="1209" y="300"/>
                    </a:lnTo>
                    <a:lnTo>
                      <a:pt x="1207" y="306"/>
                    </a:lnTo>
                    <a:lnTo>
                      <a:pt x="1207" y="308"/>
                    </a:lnTo>
                    <a:lnTo>
                      <a:pt x="1207" y="309"/>
                    </a:lnTo>
                    <a:lnTo>
                      <a:pt x="1207" y="311"/>
                    </a:lnTo>
                    <a:lnTo>
                      <a:pt x="1207" y="312"/>
                    </a:lnTo>
                    <a:lnTo>
                      <a:pt x="1207" y="314"/>
                    </a:lnTo>
                    <a:lnTo>
                      <a:pt x="1207" y="315"/>
                    </a:lnTo>
                    <a:lnTo>
                      <a:pt x="1206" y="317"/>
                    </a:lnTo>
                    <a:lnTo>
                      <a:pt x="1206" y="319"/>
                    </a:lnTo>
                    <a:lnTo>
                      <a:pt x="1206" y="320"/>
                    </a:lnTo>
                    <a:lnTo>
                      <a:pt x="1206" y="322"/>
                    </a:lnTo>
                    <a:lnTo>
                      <a:pt x="1206" y="323"/>
                    </a:lnTo>
                    <a:lnTo>
                      <a:pt x="1206" y="325"/>
                    </a:lnTo>
                    <a:lnTo>
                      <a:pt x="1206" y="327"/>
                    </a:lnTo>
                    <a:lnTo>
                      <a:pt x="1206" y="328"/>
                    </a:lnTo>
                    <a:lnTo>
                      <a:pt x="1206" y="330"/>
                    </a:lnTo>
                    <a:lnTo>
                      <a:pt x="1206" y="331"/>
                    </a:lnTo>
                    <a:lnTo>
                      <a:pt x="1206" y="333"/>
                    </a:lnTo>
                    <a:lnTo>
                      <a:pt x="1206" y="335"/>
                    </a:lnTo>
                    <a:lnTo>
                      <a:pt x="1206" y="336"/>
                    </a:lnTo>
                    <a:lnTo>
                      <a:pt x="1206" y="338"/>
                    </a:lnTo>
                    <a:lnTo>
                      <a:pt x="1206" y="339"/>
                    </a:lnTo>
                    <a:lnTo>
                      <a:pt x="1206" y="341"/>
                    </a:lnTo>
                    <a:lnTo>
                      <a:pt x="1206" y="342"/>
                    </a:lnTo>
                    <a:lnTo>
                      <a:pt x="1206" y="344"/>
                    </a:lnTo>
                    <a:lnTo>
                      <a:pt x="1206" y="346"/>
                    </a:lnTo>
                    <a:lnTo>
                      <a:pt x="1206" y="347"/>
                    </a:lnTo>
                    <a:lnTo>
                      <a:pt x="1206" y="349"/>
                    </a:lnTo>
                    <a:lnTo>
                      <a:pt x="1206" y="350"/>
                    </a:lnTo>
                    <a:lnTo>
                      <a:pt x="1206" y="352"/>
                    </a:lnTo>
                    <a:lnTo>
                      <a:pt x="1206" y="354"/>
                    </a:lnTo>
                    <a:lnTo>
                      <a:pt x="1206" y="355"/>
                    </a:lnTo>
                    <a:lnTo>
                      <a:pt x="1206" y="357"/>
                    </a:lnTo>
                    <a:lnTo>
                      <a:pt x="1206" y="358"/>
                    </a:lnTo>
                    <a:lnTo>
                      <a:pt x="1206" y="360"/>
                    </a:lnTo>
                    <a:lnTo>
                      <a:pt x="1206" y="361"/>
                    </a:lnTo>
                    <a:lnTo>
                      <a:pt x="1206" y="363"/>
                    </a:lnTo>
                    <a:lnTo>
                      <a:pt x="1206" y="365"/>
                    </a:lnTo>
                    <a:lnTo>
                      <a:pt x="1206" y="366"/>
                    </a:lnTo>
                    <a:lnTo>
                      <a:pt x="1206" y="368"/>
                    </a:lnTo>
                    <a:lnTo>
                      <a:pt x="1206" y="369"/>
                    </a:lnTo>
                    <a:lnTo>
                      <a:pt x="1206" y="371"/>
                    </a:lnTo>
                    <a:lnTo>
                      <a:pt x="1206" y="373"/>
                    </a:lnTo>
                    <a:lnTo>
                      <a:pt x="1206" y="374"/>
                    </a:lnTo>
                    <a:lnTo>
                      <a:pt x="1206" y="376"/>
                    </a:lnTo>
                    <a:lnTo>
                      <a:pt x="1206" y="377"/>
                    </a:lnTo>
                    <a:lnTo>
                      <a:pt x="1206" y="379"/>
                    </a:lnTo>
                    <a:lnTo>
                      <a:pt x="1206" y="380"/>
                    </a:lnTo>
                    <a:lnTo>
                      <a:pt x="1206" y="382"/>
                    </a:lnTo>
                    <a:lnTo>
                      <a:pt x="1206" y="384"/>
                    </a:lnTo>
                    <a:lnTo>
                      <a:pt x="1206" y="385"/>
                    </a:lnTo>
                    <a:lnTo>
                      <a:pt x="1206" y="387"/>
                    </a:lnTo>
                    <a:lnTo>
                      <a:pt x="1206" y="388"/>
                    </a:lnTo>
                    <a:lnTo>
                      <a:pt x="1206" y="390"/>
                    </a:lnTo>
                    <a:lnTo>
                      <a:pt x="1206" y="392"/>
                    </a:lnTo>
                    <a:lnTo>
                      <a:pt x="1206" y="393"/>
                    </a:lnTo>
                    <a:lnTo>
                      <a:pt x="1206" y="395"/>
                    </a:lnTo>
                    <a:lnTo>
                      <a:pt x="1206" y="396"/>
                    </a:lnTo>
                    <a:lnTo>
                      <a:pt x="1206" y="398"/>
                    </a:lnTo>
                    <a:lnTo>
                      <a:pt x="1206" y="399"/>
                    </a:lnTo>
                    <a:lnTo>
                      <a:pt x="1206" y="401"/>
                    </a:lnTo>
                    <a:lnTo>
                      <a:pt x="1204" y="401"/>
                    </a:lnTo>
                    <a:lnTo>
                      <a:pt x="1204" y="403"/>
                    </a:lnTo>
                    <a:lnTo>
                      <a:pt x="1204" y="404"/>
                    </a:lnTo>
                    <a:lnTo>
                      <a:pt x="1204" y="406"/>
                    </a:lnTo>
                    <a:lnTo>
                      <a:pt x="1204" y="407"/>
                    </a:lnTo>
                    <a:lnTo>
                      <a:pt x="1204" y="409"/>
                    </a:lnTo>
                    <a:lnTo>
                      <a:pt x="1204" y="411"/>
                    </a:lnTo>
                    <a:lnTo>
                      <a:pt x="1204" y="412"/>
                    </a:lnTo>
                    <a:lnTo>
                      <a:pt x="1204" y="414"/>
                    </a:lnTo>
                    <a:lnTo>
                      <a:pt x="1204" y="415"/>
                    </a:lnTo>
                    <a:lnTo>
                      <a:pt x="1204" y="417"/>
                    </a:lnTo>
                    <a:lnTo>
                      <a:pt x="1204" y="418"/>
                    </a:lnTo>
                    <a:lnTo>
                      <a:pt x="1204" y="420"/>
                    </a:lnTo>
                    <a:lnTo>
                      <a:pt x="1204" y="422"/>
                    </a:lnTo>
                    <a:lnTo>
                      <a:pt x="1204" y="423"/>
                    </a:lnTo>
                    <a:lnTo>
                      <a:pt x="1204" y="425"/>
                    </a:lnTo>
                    <a:lnTo>
                      <a:pt x="1204" y="426"/>
                    </a:lnTo>
                    <a:lnTo>
                      <a:pt x="1204" y="428"/>
                    </a:lnTo>
                    <a:lnTo>
                      <a:pt x="1204" y="430"/>
                    </a:lnTo>
                    <a:lnTo>
                      <a:pt x="1204" y="431"/>
                    </a:lnTo>
                    <a:lnTo>
                      <a:pt x="1204" y="433"/>
                    </a:lnTo>
                    <a:lnTo>
                      <a:pt x="1204" y="434"/>
                    </a:lnTo>
                    <a:lnTo>
                      <a:pt x="1204" y="436"/>
                    </a:lnTo>
                    <a:lnTo>
                      <a:pt x="1204" y="437"/>
                    </a:lnTo>
                    <a:lnTo>
                      <a:pt x="1204" y="439"/>
                    </a:lnTo>
                    <a:lnTo>
                      <a:pt x="1204" y="441"/>
                    </a:lnTo>
                    <a:lnTo>
                      <a:pt x="1204" y="442"/>
                    </a:lnTo>
                    <a:lnTo>
                      <a:pt x="1202" y="442"/>
                    </a:lnTo>
                    <a:lnTo>
                      <a:pt x="1202" y="444"/>
                    </a:lnTo>
                    <a:lnTo>
                      <a:pt x="1202" y="445"/>
                    </a:lnTo>
                    <a:lnTo>
                      <a:pt x="1202" y="447"/>
                    </a:lnTo>
                    <a:lnTo>
                      <a:pt x="1202" y="449"/>
                    </a:lnTo>
                    <a:lnTo>
                      <a:pt x="1202" y="450"/>
                    </a:lnTo>
                    <a:lnTo>
                      <a:pt x="1202" y="452"/>
                    </a:lnTo>
                    <a:lnTo>
                      <a:pt x="1202" y="453"/>
                    </a:lnTo>
                    <a:lnTo>
                      <a:pt x="1202" y="455"/>
                    </a:lnTo>
                    <a:lnTo>
                      <a:pt x="1202" y="456"/>
                    </a:lnTo>
                    <a:lnTo>
                      <a:pt x="1202" y="458"/>
                    </a:lnTo>
                    <a:lnTo>
                      <a:pt x="1202" y="460"/>
                    </a:lnTo>
                    <a:lnTo>
                      <a:pt x="1202" y="461"/>
                    </a:lnTo>
                    <a:lnTo>
                      <a:pt x="1202" y="463"/>
                    </a:lnTo>
                    <a:lnTo>
                      <a:pt x="1202" y="464"/>
                    </a:lnTo>
                    <a:lnTo>
                      <a:pt x="1202" y="466"/>
                    </a:lnTo>
                    <a:lnTo>
                      <a:pt x="1202" y="468"/>
                    </a:lnTo>
                    <a:lnTo>
                      <a:pt x="1202" y="469"/>
                    </a:lnTo>
                    <a:lnTo>
                      <a:pt x="1202" y="471"/>
                    </a:lnTo>
                    <a:lnTo>
                      <a:pt x="1202" y="472"/>
                    </a:lnTo>
                    <a:lnTo>
                      <a:pt x="1202" y="474"/>
                    </a:lnTo>
                    <a:lnTo>
                      <a:pt x="1202" y="475"/>
                    </a:lnTo>
                    <a:lnTo>
                      <a:pt x="1202" y="477"/>
                    </a:lnTo>
                    <a:lnTo>
                      <a:pt x="1202" y="479"/>
                    </a:lnTo>
                    <a:lnTo>
                      <a:pt x="1202" y="480"/>
                    </a:lnTo>
                    <a:lnTo>
                      <a:pt x="1202" y="482"/>
                    </a:lnTo>
                    <a:lnTo>
                      <a:pt x="1202" y="483"/>
                    </a:lnTo>
                    <a:lnTo>
                      <a:pt x="1202" y="485"/>
                    </a:lnTo>
                    <a:lnTo>
                      <a:pt x="1201" y="485"/>
                    </a:lnTo>
                    <a:lnTo>
                      <a:pt x="1199" y="485"/>
                    </a:lnTo>
                    <a:lnTo>
                      <a:pt x="1198" y="485"/>
                    </a:lnTo>
                    <a:lnTo>
                      <a:pt x="1198" y="487"/>
                    </a:lnTo>
                    <a:lnTo>
                      <a:pt x="1196" y="487"/>
                    </a:lnTo>
                    <a:lnTo>
                      <a:pt x="1196" y="485"/>
                    </a:lnTo>
                    <a:lnTo>
                      <a:pt x="1195" y="487"/>
                    </a:lnTo>
                    <a:lnTo>
                      <a:pt x="1193" y="487"/>
                    </a:lnTo>
                    <a:lnTo>
                      <a:pt x="1191" y="485"/>
                    </a:lnTo>
                    <a:lnTo>
                      <a:pt x="1193" y="485"/>
                    </a:lnTo>
                    <a:lnTo>
                      <a:pt x="1191" y="483"/>
                    </a:lnTo>
                    <a:lnTo>
                      <a:pt x="1190" y="483"/>
                    </a:lnTo>
                    <a:lnTo>
                      <a:pt x="1188" y="483"/>
                    </a:lnTo>
                    <a:lnTo>
                      <a:pt x="1187" y="483"/>
                    </a:lnTo>
                    <a:lnTo>
                      <a:pt x="1187" y="482"/>
                    </a:lnTo>
                    <a:lnTo>
                      <a:pt x="1185" y="482"/>
                    </a:lnTo>
                    <a:lnTo>
                      <a:pt x="1183" y="482"/>
                    </a:lnTo>
                    <a:lnTo>
                      <a:pt x="1183" y="483"/>
                    </a:lnTo>
                    <a:lnTo>
                      <a:pt x="1182" y="483"/>
                    </a:lnTo>
                    <a:lnTo>
                      <a:pt x="1180" y="485"/>
                    </a:lnTo>
                    <a:lnTo>
                      <a:pt x="1180" y="487"/>
                    </a:lnTo>
                    <a:lnTo>
                      <a:pt x="1180" y="488"/>
                    </a:lnTo>
                    <a:lnTo>
                      <a:pt x="1180" y="490"/>
                    </a:lnTo>
                    <a:lnTo>
                      <a:pt x="1180" y="491"/>
                    </a:lnTo>
                    <a:lnTo>
                      <a:pt x="1180" y="493"/>
                    </a:lnTo>
                    <a:lnTo>
                      <a:pt x="1180" y="494"/>
                    </a:lnTo>
                    <a:lnTo>
                      <a:pt x="1179" y="494"/>
                    </a:lnTo>
                    <a:lnTo>
                      <a:pt x="1179" y="496"/>
                    </a:lnTo>
                    <a:lnTo>
                      <a:pt x="1177" y="496"/>
                    </a:lnTo>
                    <a:lnTo>
                      <a:pt x="1177" y="498"/>
                    </a:lnTo>
                    <a:lnTo>
                      <a:pt x="1176" y="496"/>
                    </a:lnTo>
                    <a:lnTo>
                      <a:pt x="1176" y="498"/>
                    </a:lnTo>
                    <a:lnTo>
                      <a:pt x="1174" y="499"/>
                    </a:lnTo>
                    <a:lnTo>
                      <a:pt x="1172" y="499"/>
                    </a:lnTo>
                    <a:lnTo>
                      <a:pt x="1172" y="501"/>
                    </a:lnTo>
                    <a:lnTo>
                      <a:pt x="1171" y="501"/>
                    </a:lnTo>
                    <a:lnTo>
                      <a:pt x="1169" y="502"/>
                    </a:lnTo>
                    <a:lnTo>
                      <a:pt x="1168" y="504"/>
                    </a:lnTo>
                    <a:lnTo>
                      <a:pt x="1168" y="506"/>
                    </a:lnTo>
                    <a:lnTo>
                      <a:pt x="1166" y="506"/>
                    </a:lnTo>
                    <a:lnTo>
                      <a:pt x="1166" y="507"/>
                    </a:lnTo>
                    <a:lnTo>
                      <a:pt x="1164" y="507"/>
                    </a:lnTo>
                    <a:lnTo>
                      <a:pt x="1164" y="509"/>
                    </a:lnTo>
                    <a:lnTo>
                      <a:pt x="1163" y="509"/>
                    </a:lnTo>
                    <a:lnTo>
                      <a:pt x="1161" y="510"/>
                    </a:lnTo>
                    <a:lnTo>
                      <a:pt x="1161" y="512"/>
                    </a:lnTo>
                    <a:lnTo>
                      <a:pt x="1160" y="512"/>
                    </a:lnTo>
                    <a:lnTo>
                      <a:pt x="1160" y="514"/>
                    </a:lnTo>
                    <a:lnTo>
                      <a:pt x="1156" y="526"/>
                    </a:lnTo>
                    <a:lnTo>
                      <a:pt x="1156" y="528"/>
                    </a:lnTo>
                    <a:lnTo>
                      <a:pt x="1155" y="528"/>
                    </a:lnTo>
                    <a:lnTo>
                      <a:pt x="1155" y="529"/>
                    </a:lnTo>
                    <a:lnTo>
                      <a:pt x="1155" y="531"/>
                    </a:lnTo>
                    <a:lnTo>
                      <a:pt x="1155" y="533"/>
                    </a:lnTo>
                    <a:lnTo>
                      <a:pt x="1156" y="533"/>
                    </a:lnTo>
                    <a:lnTo>
                      <a:pt x="1156" y="534"/>
                    </a:lnTo>
                    <a:lnTo>
                      <a:pt x="1158" y="536"/>
                    </a:lnTo>
                    <a:lnTo>
                      <a:pt x="1158" y="537"/>
                    </a:lnTo>
                    <a:lnTo>
                      <a:pt x="1160" y="539"/>
                    </a:lnTo>
                    <a:lnTo>
                      <a:pt x="1160" y="540"/>
                    </a:lnTo>
                    <a:lnTo>
                      <a:pt x="1160" y="542"/>
                    </a:lnTo>
                    <a:lnTo>
                      <a:pt x="1161" y="542"/>
                    </a:lnTo>
                    <a:lnTo>
                      <a:pt x="1161" y="544"/>
                    </a:lnTo>
                    <a:lnTo>
                      <a:pt x="1160" y="544"/>
                    </a:lnTo>
                    <a:lnTo>
                      <a:pt x="1158" y="544"/>
                    </a:lnTo>
                    <a:lnTo>
                      <a:pt x="1156" y="544"/>
                    </a:lnTo>
                    <a:lnTo>
                      <a:pt x="1156" y="545"/>
                    </a:lnTo>
                    <a:lnTo>
                      <a:pt x="1155" y="545"/>
                    </a:lnTo>
                    <a:lnTo>
                      <a:pt x="1153" y="545"/>
                    </a:lnTo>
                    <a:lnTo>
                      <a:pt x="1152" y="545"/>
                    </a:lnTo>
                    <a:lnTo>
                      <a:pt x="1150" y="545"/>
                    </a:lnTo>
                    <a:lnTo>
                      <a:pt x="1149" y="545"/>
                    </a:lnTo>
                    <a:lnTo>
                      <a:pt x="1147" y="545"/>
                    </a:lnTo>
                    <a:lnTo>
                      <a:pt x="1145" y="545"/>
                    </a:lnTo>
                    <a:lnTo>
                      <a:pt x="1144" y="547"/>
                    </a:lnTo>
                    <a:lnTo>
                      <a:pt x="1142" y="548"/>
                    </a:lnTo>
                    <a:lnTo>
                      <a:pt x="1142" y="550"/>
                    </a:lnTo>
                    <a:lnTo>
                      <a:pt x="1142" y="552"/>
                    </a:lnTo>
                    <a:lnTo>
                      <a:pt x="1142" y="553"/>
                    </a:lnTo>
                    <a:lnTo>
                      <a:pt x="1142" y="555"/>
                    </a:lnTo>
                    <a:lnTo>
                      <a:pt x="1141" y="555"/>
                    </a:lnTo>
                    <a:lnTo>
                      <a:pt x="1141" y="556"/>
                    </a:lnTo>
                    <a:lnTo>
                      <a:pt x="1141" y="558"/>
                    </a:lnTo>
                    <a:lnTo>
                      <a:pt x="1139" y="558"/>
                    </a:lnTo>
                    <a:lnTo>
                      <a:pt x="1139" y="559"/>
                    </a:lnTo>
                    <a:lnTo>
                      <a:pt x="1137" y="559"/>
                    </a:lnTo>
                    <a:lnTo>
                      <a:pt x="1136" y="559"/>
                    </a:lnTo>
                    <a:lnTo>
                      <a:pt x="1136" y="561"/>
                    </a:lnTo>
                    <a:lnTo>
                      <a:pt x="1134" y="561"/>
                    </a:lnTo>
                    <a:lnTo>
                      <a:pt x="1133" y="561"/>
                    </a:lnTo>
                    <a:lnTo>
                      <a:pt x="1131" y="561"/>
                    </a:lnTo>
                    <a:lnTo>
                      <a:pt x="1130" y="561"/>
                    </a:lnTo>
                    <a:lnTo>
                      <a:pt x="1128" y="561"/>
                    </a:lnTo>
                    <a:lnTo>
                      <a:pt x="1126" y="561"/>
                    </a:lnTo>
                    <a:lnTo>
                      <a:pt x="1125" y="561"/>
                    </a:lnTo>
                    <a:lnTo>
                      <a:pt x="1125" y="563"/>
                    </a:lnTo>
                    <a:lnTo>
                      <a:pt x="1123" y="563"/>
                    </a:lnTo>
                    <a:lnTo>
                      <a:pt x="1123" y="564"/>
                    </a:lnTo>
                    <a:lnTo>
                      <a:pt x="1122" y="564"/>
                    </a:lnTo>
                    <a:lnTo>
                      <a:pt x="1122" y="566"/>
                    </a:lnTo>
                    <a:lnTo>
                      <a:pt x="1120" y="566"/>
                    </a:lnTo>
                    <a:lnTo>
                      <a:pt x="1120" y="567"/>
                    </a:lnTo>
                    <a:lnTo>
                      <a:pt x="1118" y="567"/>
                    </a:lnTo>
                    <a:lnTo>
                      <a:pt x="1117" y="569"/>
                    </a:lnTo>
                    <a:lnTo>
                      <a:pt x="1115" y="569"/>
                    </a:lnTo>
                    <a:lnTo>
                      <a:pt x="1114" y="569"/>
                    </a:lnTo>
                    <a:lnTo>
                      <a:pt x="1112" y="569"/>
                    </a:lnTo>
                    <a:lnTo>
                      <a:pt x="1111" y="569"/>
                    </a:lnTo>
                    <a:lnTo>
                      <a:pt x="1109" y="571"/>
                    </a:lnTo>
                    <a:lnTo>
                      <a:pt x="1107" y="571"/>
                    </a:lnTo>
                    <a:lnTo>
                      <a:pt x="1106" y="571"/>
                    </a:lnTo>
                    <a:lnTo>
                      <a:pt x="1104" y="571"/>
                    </a:lnTo>
                    <a:lnTo>
                      <a:pt x="1103" y="572"/>
                    </a:lnTo>
                    <a:lnTo>
                      <a:pt x="1101" y="572"/>
                    </a:lnTo>
                    <a:lnTo>
                      <a:pt x="1099" y="572"/>
                    </a:lnTo>
                    <a:lnTo>
                      <a:pt x="1098" y="572"/>
                    </a:lnTo>
                    <a:lnTo>
                      <a:pt x="1098" y="574"/>
                    </a:lnTo>
                    <a:lnTo>
                      <a:pt x="1096" y="574"/>
                    </a:lnTo>
                    <a:lnTo>
                      <a:pt x="1095" y="574"/>
                    </a:lnTo>
                    <a:lnTo>
                      <a:pt x="1093" y="574"/>
                    </a:lnTo>
                    <a:lnTo>
                      <a:pt x="1092" y="574"/>
                    </a:lnTo>
                    <a:lnTo>
                      <a:pt x="1090" y="575"/>
                    </a:lnTo>
                    <a:lnTo>
                      <a:pt x="1088" y="575"/>
                    </a:lnTo>
                    <a:lnTo>
                      <a:pt x="1088" y="577"/>
                    </a:lnTo>
                    <a:lnTo>
                      <a:pt x="1087" y="577"/>
                    </a:lnTo>
                    <a:lnTo>
                      <a:pt x="1087" y="578"/>
                    </a:lnTo>
                    <a:lnTo>
                      <a:pt x="1085" y="578"/>
                    </a:lnTo>
                    <a:lnTo>
                      <a:pt x="1084" y="580"/>
                    </a:lnTo>
                    <a:lnTo>
                      <a:pt x="1082" y="582"/>
                    </a:lnTo>
                    <a:lnTo>
                      <a:pt x="1080" y="582"/>
                    </a:lnTo>
                    <a:lnTo>
                      <a:pt x="1079" y="583"/>
                    </a:lnTo>
                    <a:lnTo>
                      <a:pt x="1077" y="583"/>
                    </a:lnTo>
                    <a:lnTo>
                      <a:pt x="1076" y="582"/>
                    </a:lnTo>
                    <a:lnTo>
                      <a:pt x="1074" y="582"/>
                    </a:lnTo>
                    <a:lnTo>
                      <a:pt x="1073" y="583"/>
                    </a:lnTo>
                    <a:lnTo>
                      <a:pt x="1071" y="583"/>
                    </a:lnTo>
                    <a:lnTo>
                      <a:pt x="1069" y="583"/>
                    </a:lnTo>
                    <a:lnTo>
                      <a:pt x="1068" y="583"/>
                    </a:lnTo>
                    <a:lnTo>
                      <a:pt x="1066" y="585"/>
                    </a:lnTo>
                    <a:lnTo>
                      <a:pt x="1065" y="585"/>
                    </a:lnTo>
                    <a:lnTo>
                      <a:pt x="1063" y="585"/>
                    </a:lnTo>
                    <a:lnTo>
                      <a:pt x="1061" y="585"/>
                    </a:lnTo>
                    <a:lnTo>
                      <a:pt x="1061" y="586"/>
                    </a:lnTo>
                    <a:lnTo>
                      <a:pt x="1060" y="586"/>
                    </a:lnTo>
                    <a:lnTo>
                      <a:pt x="1058" y="586"/>
                    </a:lnTo>
                    <a:lnTo>
                      <a:pt x="1057" y="586"/>
                    </a:lnTo>
                    <a:lnTo>
                      <a:pt x="1057" y="588"/>
                    </a:lnTo>
                    <a:lnTo>
                      <a:pt x="1055" y="588"/>
                    </a:lnTo>
                    <a:lnTo>
                      <a:pt x="1055" y="590"/>
                    </a:lnTo>
                    <a:lnTo>
                      <a:pt x="1054" y="590"/>
                    </a:lnTo>
                    <a:lnTo>
                      <a:pt x="1054" y="591"/>
                    </a:lnTo>
                    <a:lnTo>
                      <a:pt x="1052" y="593"/>
                    </a:lnTo>
                    <a:lnTo>
                      <a:pt x="1050" y="594"/>
                    </a:lnTo>
                    <a:lnTo>
                      <a:pt x="1049" y="594"/>
                    </a:lnTo>
                    <a:lnTo>
                      <a:pt x="1047" y="596"/>
                    </a:lnTo>
                    <a:lnTo>
                      <a:pt x="1046" y="596"/>
                    </a:lnTo>
                    <a:lnTo>
                      <a:pt x="1046" y="597"/>
                    </a:lnTo>
                    <a:lnTo>
                      <a:pt x="1044" y="597"/>
                    </a:lnTo>
                    <a:lnTo>
                      <a:pt x="1042" y="599"/>
                    </a:lnTo>
                    <a:lnTo>
                      <a:pt x="1041" y="599"/>
                    </a:lnTo>
                    <a:lnTo>
                      <a:pt x="1041" y="601"/>
                    </a:lnTo>
                    <a:lnTo>
                      <a:pt x="1041" y="602"/>
                    </a:lnTo>
                    <a:lnTo>
                      <a:pt x="1039" y="602"/>
                    </a:lnTo>
                    <a:lnTo>
                      <a:pt x="1039" y="604"/>
                    </a:lnTo>
                    <a:lnTo>
                      <a:pt x="1039" y="605"/>
                    </a:lnTo>
                    <a:lnTo>
                      <a:pt x="1038" y="605"/>
                    </a:lnTo>
                    <a:lnTo>
                      <a:pt x="1038" y="607"/>
                    </a:lnTo>
                    <a:lnTo>
                      <a:pt x="1038" y="609"/>
                    </a:lnTo>
                    <a:lnTo>
                      <a:pt x="1036" y="609"/>
                    </a:lnTo>
                    <a:lnTo>
                      <a:pt x="1035" y="609"/>
                    </a:lnTo>
                    <a:lnTo>
                      <a:pt x="1033" y="609"/>
                    </a:lnTo>
                    <a:lnTo>
                      <a:pt x="1031" y="607"/>
                    </a:lnTo>
                    <a:lnTo>
                      <a:pt x="1030" y="607"/>
                    </a:lnTo>
                    <a:lnTo>
                      <a:pt x="1028" y="607"/>
                    </a:lnTo>
                    <a:lnTo>
                      <a:pt x="1027" y="607"/>
                    </a:lnTo>
                    <a:lnTo>
                      <a:pt x="1025" y="607"/>
                    </a:lnTo>
                    <a:lnTo>
                      <a:pt x="1023" y="607"/>
                    </a:lnTo>
                    <a:lnTo>
                      <a:pt x="1022" y="607"/>
                    </a:lnTo>
                    <a:lnTo>
                      <a:pt x="1020" y="607"/>
                    </a:lnTo>
                    <a:lnTo>
                      <a:pt x="1020" y="609"/>
                    </a:lnTo>
                    <a:lnTo>
                      <a:pt x="1019" y="609"/>
                    </a:lnTo>
                    <a:lnTo>
                      <a:pt x="1017" y="609"/>
                    </a:lnTo>
                    <a:lnTo>
                      <a:pt x="1017" y="610"/>
                    </a:lnTo>
                    <a:lnTo>
                      <a:pt x="1016" y="609"/>
                    </a:lnTo>
                    <a:lnTo>
                      <a:pt x="1016" y="610"/>
                    </a:lnTo>
                    <a:lnTo>
                      <a:pt x="1014" y="610"/>
                    </a:lnTo>
                    <a:lnTo>
                      <a:pt x="1012" y="612"/>
                    </a:lnTo>
                    <a:lnTo>
                      <a:pt x="1011" y="612"/>
                    </a:lnTo>
                    <a:lnTo>
                      <a:pt x="1011" y="613"/>
                    </a:lnTo>
                    <a:lnTo>
                      <a:pt x="1009" y="613"/>
                    </a:lnTo>
                    <a:lnTo>
                      <a:pt x="1008" y="615"/>
                    </a:lnTo>
                    <a:lnTo>
                      <a:pt x="1008" y="616"/>
                    </a:lnTo>
                    <a:lnTo>
                      <a:pt x="1008" y="618"/>
                    </a:lnTo>
                    <a:lnTo>
                      <a:pt x="1008" y="620"/>
                    </a:lnTo>
                    <a:lnTo>
                      <a:pt x="1006" y="620"/>
                    </a:lnTo>
                    <a:lnTo>
                      <a:pt x="1006" y="621"/>
                    </a:lnTo>
                    <a:lnTo>
                      <a:pt x="1004" y="621"/>
                    </a:lnTo>
                    <a:lnTo>
                      <a:pt x="1003" y="621"/>
                    </a:lnTo>
                    <a:lnTo>
                      <a:pt x="1001" y="620"/>
                    </a:lnTo>
                    <a:lnTo>
                      <a:pt x="1000" y="618"/>
                    </a:lnTo>
                    <a:lnTo>
                      <a:pt x="998" y="618"/>
                    </a:lnTo>
                    <a:lnTo>
                      <a:pt x="998" y="616"/>
                    </a:lnTo>
                    <a:lnTo>
                      <a:pt x="997" y="616"/>
                    </a:lnTo>
                    <a:lnTo>
                      <a:pt x="995" y="615"/>
                    </a:lnTo>
                    <a:lnTo>
                      <a:pt x="993" y="615"/>
                    </a:lnTo>
                    <a:lnTo>
                      <a:pt x="993" y="616"/>
                    </a:lnTo>
                    <a:lnTo>
                      <a:pt x="993" y="618"/>
                    </a:lnTo>
                    <a:lnTo>
                      <a:pt x="993" y="620"/>
                    </a:lnTo>
                    <a:lnTo>
                      <a:pt x="992" y="620"/>
                    </a:lnTo>
                    <a:lnTo>
                      <a:pt x="992" y="621"/>
                    </a:lnTo>
                    <a:lnTo>
                      <a:pt x="992" y="623"/>
                    </a:lnTo>
                    <a:lnTo>
                      <a:pt x="992" y="624"/>
                    </a:lnTo>
                    <a:lnTo>
                      <a:pt x="990" y="626"/>
                    </a:lnTo>
                    <a:lnTo>
                      <a:pt x="990" y="628"/>
                    </a:lnTo>
                    <a:lnTo>
                      <a:pt x="989" y="629"/>
                    </a:lnTo>
                    <a:lnTo>
                      <a:pt x="987" y="631"/>
                    </a:lnTo>
                    <a:lnTo>
                      <a:pt x="985" y="631"/>
                    </a:lnTo>
                    <a:lnTo>
                      <a:pt x="984" y="631"/>
                    </a:lnTo>
                    <a:lnTo>
                      <a:pt x="982" y="631"/>
                    </a:lnTo>
                    <a:lnTo>
                      <a:pt x="981" y="631"/>
                    </a:lnTo>
                    <a:lnTo>
                      <a:pt x="979" y="631"/>
                    </a:lnTo>
                    <a:lnTo>
                      <a:pt x="978" y="631"/>
                    </a:lnTo>
                    <a:lnTo>
                      <a:pt x="978" y="629"/>
                    </a:lnTo>
                    <a:lnTo>
                      <a:pt x="976" y="629"/>
                    </a:lnTo>
                    <a:lnTo>
                      <a:pt x="974" y="629"/>
                    </a:lnTo>
                    <a:lnTo>
                      <a:pt x="974" y="628"/>
                    </a:lnTo>
                    <a:lnTo>
                      <a:pt x="973" y="628"/>
                    </a:lnTo>
                    <a:lnTo>
                      <a:pt x="970" y="626"/>
                    </a:lnTo>
                    <a:lnTo>
                      <a:pt x="968" y="624"/>
                    </a:lnTo>
                    <a:lnTo>
                      <a:pt x="966" y="624"/>
                    </a:lnTo>
                    <a:lnTo>
                      <a:pt x="966" y="623"/>
                    </a:lnTo>
                    <a:lnTo>
                      <a:pt x="965" y="623"/>
                    </a:lnTo>
                    <a:lnTo>
                      <a:pt x="963" y="623"/>
                    </a:lnTo>
                    <a:lnTo>
                      <a:pt x="962" y="623"/>
                    </a:lnTo>
                    <a:lnTo>
                      <a:pt x="960" y="624"/>
                    </a:lnTo>
                    <a:lnTo>
                      <a:pt x="958" y="624"/>
                    </a:lnTo>
                    <a:lnTo>
                      <a:pt x="957" y="624"/>
                    </a:lnTo>
                    <a:lnTo>
                      <a:pt x="955" y="624"/>
                    </a:lnTo>
                    <a:lnTo>
                      <a:pt x="954" y="624"/>
                    </a:lnTo>
                    <a:lnTo>
                      <a:pt x="952" y="624"/>
                    </a:lnTo>
                    <a:lnTo>
                      <a:pt x="951" y="624"/>
                    </a:lnTo>
                    <a:lnTo>
                      <a:pt x="949" y="624"/>
                    </a:lnTo>
                    <a:lnTo>
                      <a:pt x="949" y="623"/>
                    </a:lnTo>
                    <a:lnTo>
                      <a:pt x="947" y="623"/>
                    </a:lnTo>
                    <a:lnTo>
                      <a:pt x="947" y="621"/>
                    </a:lnTo>
                    <a:lnTo>
                      <a:pt x="947" y="620"/>
                    </a:lnTo>
                    <a:lnTo>
                      <a:pt x="947" y="621"/>
                    </a:lnTo>
                    <a:lnTo>
                      <a:pt x="946" y="621"/>
                    </a:lnTo>
                    <a:lnTo>
                      <a:pt x="944" y="621"/>
                    </a:lnTo>
                    <a:lnTo>
                      <a:pt x="944" y="620"/>
                    </a:lnTo>
                    <a:lnTo>
                      <a:pt x="944" y="618"/>
                    </a:lnTo>
                    <a:lnTo>
                      <a:pt x="943" y="618"/>
                    </a:lnTo>
                    <a:lnTo>
                      <a:pt x="943" y="616"/>
                    </a:lnTo>
                    <a:lnTo>
                      <a:pt x="941" y="616"/>
                    </a:lnTo>
                    <a:lnTo>
                      <a:pt x="941" y="615"/>
                    </a:lnTo>
                    <a:lnTo>
                      <a:pt x="939" y="615"/>
                    </a:lnTo>
                    <a:lnTo>
                      <a:pt x="938" y="615"/>
                    </a:lnTo>
                    <a:lnTo>
                      <a:pt x="936" y="616"/>
                    </a:lnTo>
                    <a:lnTo>
                      <a:pt x="935" y="616"/>
                    </a:lnTo>
                    <a:lnTo>
                      <a:pt x="933" y="616"/>
                    </a:lnTo>
                    <a:lnTo>
                      <a:pt x="932" y="616"/>
                    </a:lnTo>
                    <a:lnTo>
                      <a:pt x="932" y="618"/>
                    </a:lnTo>
                    <a:lnTo>
                      <a:pt x="930" y="618"/>
                    </a:lnTo>
                    <a:lnTo>
                      <a:pt x="930" y="616"/>
                    </a:lnTo>
                    <a:lnTo>
                      <a:pt x="928" y="618"/>
                    </a:lnTo>
                    <a:lnTo>
                      <a:pt x="927" y="618"/>
                    </a:lnTo>
                    <a:lnTo>
                      <a:pt x="925" y="620"/>
                    </a:lnTo>
                    <a:lnTo>
                      <a:pt x="924" y="620"/>
                    </a:lnTo>
                    <a:lnTo>
                      <a:pt x="924" y="618"/>
                    </a:lnTo>
                    <a:lnTo>
                      <a:pt x="922" y="618"/>
                    </a:lnTo>
                    <a:lnTo>
                      <a:pt x="920" y="616"/>
                    </a:lnTo>
                    <a:lnTo>
                      <a:pt x="919" y="616"/>
                    </a:lnTo>
                    <a:lnTo>
                      <a:pt x="917" y="615"/>
                    </a:lnTo>
                    <a:lnTo>
                      <a:pt x="916" y="615"/>
                    </a:lnTo>
                    <a:lnTo>
                      <a:pt x="914" y="615"/>
                    </a:lnTo>
                    <a:lnTo>
                      <a:pt x="913" y="615"/>
                    </a:lnTo>
                    <a:lnTo>
                      <a:pt x="911" y="615"/>
                    </a:lnTo>
                    <a:lnTo>
                      <a:pt x="909" y="615"/>
                    </a:lnTo>
                    <a:lnTo>
                      <a:pt x="908" y="615"/>
                    </a:lnTo>
                    <a:lnTo>
                      <a:pt x="906" y="613"/>
                    </a:lnTo>
                    <a:lnTo>
                      <a:pt x="905" y="613"/>
                    </a:lnTo>
                    <a:lnTo>
                      <a:pt x="905" y="612"/>
                    </a:lnTo>
                    <a:lnTo>
                      <a:pt x="903" y="612"/>
                    </a:lnTo>
                    <a:lnTo>
                      <a:pt x="903" y="610"/>
                    </a:lnTo>
                    <a:lnTo>
                      <a:pt x="901" y="610"/>
                    </a:lnTo>
                    <a:lnTo>
                      <a:pt x="901" y="609"/>
                    </a:lnTo>
                    <a:lnTo>
                      <a:pt x="900" y="609"/>
                    </a:lnTo>
                    <a:lnTo>
                      <a:pt x="900" y="607"/>
                    </a:lnTo>
                    <a:lnTo>
                      <a:pt x="898" y="607"/>
                    </a:lnTo>
                    <a:lnTo>
                      <a:pt x="897" y="607"/>
                    </a:lnTo>
                    <a:lnTo>
                      <a:pt x="897" y="605"/>
                    </a:lnTo>
                    <a:lnTo>
                      <a:pt x="897" y="604"/>
                    </a:lnTo>
                    <a:lnTo>
                      <a:pt x="897" y="602"/>
                    </a:lnTo>
                    <a:lnTo>
                      <a:pt x="897" y="601"/>
                    </a:lnTo>
                    <a:lnTo>
                      <a:pt x="895" y="601"/>
                    </a:lnTo>
                    <a:lnTo>
                      <a:pt x="894" y="601"/>
                    </a:lnTo>
                    <a:lnTo>
                      <a:pt x="894" y="599"/>
                    </a:lnTo>
                    <a:lnTo>
                      <a:pt x="892" y="599"/>
                    </a:lnTo>
                    <a:lnTo>
                      <a:pt x="892" y="597"/>
                    </a:lnTo>
                    <a:lnTo>
                      <a:pt x="892" y="596"/>
                    </a:lnTo>
                    <a:lnTo>
                      <a:pt x="890" y="596"/>
                    </a:lnTo>
                    <a:lnTo>
                      <a:pt x="890" y="594"/>
                    </a:lnTo>
                    <a:lnTo>
                      <a:pt x="889" y="596"/>
                    </a:lnTo>
                    <a:lnTo>
                      <a:pt x="887" y="596"/>
                    </a:lnTo>
                    <a:lnTo>
                      <a:pt x="887" y="594"/>
                    </a:lnTo>
                    <a:lnTo>
                      <a:pt x="887" y="596"/>
                    </a:lnTo>
                    <a:lnTo>
                      <a:pt x="886" y="596"/>
                    </a:lnTo>
                    <a:lnTo>
                      <a:pt x="884" y="596"/>
                    </a:lnTo>
                    <a:lnTo>
                      <a:pt x="882" y="594"/>
                    </a:lnTo>
                    <a:lnTo>
                      <a:pt x="881" y="594"/>
                    </a:lnTo>
                    <a:lnTo>
                      <a:pt x="881" y="596"/>
                    </a:lnTo>
                    <a:lnTo>
                      <a:pt x="879" y="596"/>
                    </a:lnTo>
                    <a:lnTo>
                      <a:pt x="879" y="594"/>
                    </a:lnTo>
                    <a:lnTo>
                      <a:pt x="878" y="593"/>
                    </a:lnTo>
                    <a:lnTo>
                      <a:pt x="876" y="593"/>
                    </a:lnTo>
                    <a:lnTo>
                      <a:pt x="875" y="593"/>
                    </a:lnTo>
                    <a:lnTo>
                      <a:pt x="873" y="594"/>
                    </a:lnTo>
                    <a:lnTo>
                      <a:pt x="871" y="593"/>
                    </a:lnTo>
                    <a:lnTo>
                      <a:pt x="870" y="593"/>
                    </a:lnTo>
                    <a:lnTo>
                      <a:pt x="868" y="591"/>
                    </a:lnTo>
                    <a:lnTo>
                      <a:pt x="867" y="591"/>
                    </a:lnTo>
                    <a:lnTo>
                      <a:pt x="865" y="593"/>
                    </a:lnTo>
                    <a:lnTo>
                      <a:pt x="863" y="593"/>
                    </a:lnTo>
                    <a:lnTo>
                      <a:pt x="862" y="594"/>
                    </a:lnTo>
                    <a:lnTo>
                      <a:pt x="860" y="593"/>
                    </a:lnTo>
                    <a:lnTo>
                      <a:pt x="859" y="593"/>
                    </a:lnTo>
                    <a:lnTo>
                      <a:pt x="859" y="591"/>
                    </a:lnTo>
                    <a:lnTo>
                      <a:pt x="857" y="593"/>
                    </a:lnTo>
                    <a:lnTo>
                      <a:pt x="856" y="593"/>
                    </a:lnTo>
                    <a:lnTo>
                      <a:pt x="854" y="593"/>
                    </a:lnTo>
                    <a:lnTo>
                      <a:pt x="854" y="591"/>
                    </a:lnTo>
                    <a:lnTo>
                      <a:pt x="852" y="591"/>
                    </a:lnTo>
                    <a:lnTo>
                      <a:pt x="851" y="591"/>
                    </a:lnTo>
                    <a:lnTo>
                      <a:pt x="849" y="591"/>
                    </a:lnTo>
                    <a:lnTo>
                      <a:pt x="848" y="593"/>
                    </a:lnTo>
                    <a:lnTo>
                      <a:pt x="848" y="591"/>
                    </a:lnTo>
                    <a:lnTo>
                      <a:pt x="846" y="591"/>
                    </a:lnTo>
                    <a:lnTo>
                      <a:pt x="846" y="590"/>
                    </a:lnTo>
                    <a:lnTo>
                      <a:pt x="844" y="590"/>
                    </a:lnTo>
                    <a:lnTo>
                      <a:pt x="844" y="588"/>
                    </a:lnTo>
                    <a:lnTo>
                      <a:pt x="843" y="588"/>
                    </a:lnTo>
                    <a:lnTo>
                      <a:pt x="841" y="588"/>
                    </a:lnTo>
                    <a:lnTo>
                      <a:pt x="840" y="586"/>
                    </a:lnTo>
                    <a:lnTo>
                      <a:pt x="838" y="586"/>
                    </a:lnTo>
                    <a:lnTo>
                      <a:pt x="837" y="586"/>
                    </a:lnTo>
                    <a:lnTo>
                      <a:pt x="837" y="585"/>
                    </a:lnTo>
                    <a:lnTo>
                      <a:pt x="835" y="585"/>
                    </a:lnTo>
                    <a:lnTo>
                      <a:pt x="833" y="585"/>
                    </a:lnTo>
                    <a:lnTo>
                      <a:pt x="832" y="585"/>
                    </a:lnTo>
                    <a:lnTo>
                      <a:pt x="830" y="585"/>
                    </a:lnTo>
                    <a:lnTo>
                      <a:pt x="829" y="585"/>
                    </a:lnTo>
                    <a:lnTo>
                      <a:pt x="827" y="585"/>
                    </a:lnTo>
                    <a:lnTo>
                      <a:pt x="825" y="583"/>
                    </a:lnTo>
                    <a:lnTo>
                      <a:pt x="824" y="583"/>
                    </a:lnTo>
                    <a:lnTo>
                      <a:pt x="822" y="582"/>
                    </a:lnTo>
                    <a:lnTo>
                      <a:pt x="822" y="583"/>
                    </a:lnTo>
                    <a:lnTo>
                      <a:pt x="821" y="582"/>
                    </a:lnTo>
                    <a:lnTo>
                      <a:pt x="821" y="583"/>
                    </a:lnTo>
                    <a:lnTo>
                      <a:pt x="819" y="583"/>
                    </a:lnTo>
                    <a:lnTo>
                      <a:pt x="819" y="585"/>
                    </a:lnTo>
                    <a:lnTo>
                      <a:pt x="818" y="585"/>
                    </a:lnTo>
                    <a:lnTo>
                      <a:pt x="818" y="583"/>
                    </a:lnTo>
                    <a:lnTo>
                      <a:pt x="816" y="585"/>
                    </a:lnTo>
                    <a:lnTo>
                      <a:pt x="816" y="583"/>
                    </a:lnTo>
                    <a:lnTo>
                      <a:pt x="814" y="583"/>
                    </a:lnTo>
                    <a:lnTo>
                      <a:pt x="813" y="585"/>
                    </a:lnTo>
                    <a:lnTo>
                      <a:pt x="813" y="586"/>
                    </a:lnTo>
                    <a:lnTo>
                      <a:pt x="811" y="586"/>
                    </a:lnTo>
                    <a:lnTo>
                      <a:pt x="810" y="588"/>
                    </a:lnTo>
                    <a:lnTo>
                      <a:pt x="808" y="586"/>
                    </a:lnTo>
                    <a:lnTo>
                      <a:pt x="806" y="586"/>
                    </a:lnTo>
                    <a:lnTo>
                      <a:pt x="805" y="585"/>
                    </a:lnTo>
                    <a:lnTo>
                      <a:pt x="803" y="585"/>
                    </a:lnTo>
                    <a:lnTo>
                      <a:pt x="802" y="585"/>
                    </a:lnTo>
                    <a:lnTo>
                      <a:pt x="802" y="583"/>
                    </a:lnTo>
                    <a:lnTo>
                      <a:pt x="800" y="583"/>
                    </a:lnTo>
                    <a:lnTo>
                      <a:pt x="800" y="582"/>
                    </a:lnTo>
                    <a:lnTo>
                      <a:pt x="800" y="580"/>
                    </a:lnTo>
                    <a:lnTo>
                      <a:pt x="802" y="580"/>
                    </a:lnTo>
                    <a:lnTo>
                      <a:pt x="802" y="578"/>
                    </a:lnTo>
                    <a:lnTo>
                      <a:pt x="803" y="577"/>
                    </a:lnTo>
                    <a:lnTo>
                      <a:pt x="803" y="575"/>
                    </a:lnTo>
                    <a:lnTo>
                      <a:pt x="802" y="575"/>
                    </a:lnTo>
                    <a:lnTo>
                      <a:pt x="802" y="574"/>
                    </a:lnTo>
                    <a:lnTo>
                      <a:pt x="800" y="572"/>
                    </a:lnTo>
                    <a:lnTo>
                      <a:pt x="799" y="571"/>
                    </a:lnTo>
                    <a:lnTo>
                      <a:pt x="797" y="571"/>
                    </a:lnTo>
                    <a:lnTo>
                      <a:pt x="795" y="569"/>
                    </a:lnTo>
                    <a:lnTo>
                      <a:pt x="794" y="569"/>
                    </a:lnTo>
                    <a:lnTo>
                      <a:pt x="792" y="569"/>
                    </a:lnTo>
                    <a:lnTo>
                      <a:pt x="791" y="569"/>
                    </a:lnTo>
                    <a:lnTo>
                      <a:pt x="789" y="569"/>
                    </a:lnTo>
                    <a:lnTo>
                      <a:pt x="789" y="571"/>
                    </a:lnTo>
                    <a:lnTo>
                      <a:pt x="789" y="569"/>
                    </a:lnTo>
                    <a:lnTo>
                      <a:pt x="787" y="569"/>
                    </a:lnTo>
                    <a:lnTo>
                      <a:pt x="786" y="569"/>
                    </a:lnTo>
                    <a:lnTo>
                      <a:pt x="784" y="569"/>
                    </a:lnTo>
                    <a:lnTo>
                      <a:pt x="783" y="567"/>
                    </a:lnTo>
                    <a:lnTo>
                      <a:pt x="783" y="569"/>
                    </a:lnTo>
                    <a:lnTo>
                      <a:pt x="781" y="569"/>
                    </a:lnTo>
                    <a:lnTo>
                      <a:pt x="781" y="567"/>
                    </a:lnTo>
                    <a:lnTo>
                      <a:pt x="779" y="569"/>
                    </a:lnTo>
                    <a:lnTo>
                      <a:pt x="778" y="569"/>
                    </a:lnTo>
                    <a:lnTo>
                      <a:pt x="776" y="569"/>
                    </a:lnTo>
                    <a:lnTo>
                      <a:pt x="776" y="571"/>
                    </a:lnTo>
                    <a:lnTo>
                      <a:pt x="775" y="571"/>
                    </a:lnTo>
                    <a:lnTo>
                      <a:pt x="773" y="571"/>
                    </a:lnTo>
                    <a:lnTo>
                      <a:pt x="772" y="571"/>
                    </a:lnTo>
                    <a:lnTo>
                      <a:pt x="772" y="569"/>
                    </a:lnTo>
                    <a:lnTo>
                      <a:pt x="770" y="571"/>
                    </a:lnTo>
                    <a:lnTo>
                      <a:pt x="770" y="572"/>
                    </a:lnTo>
                    <a:lnTo>
                      <a:pt x="768" y="572"/>
                    </a:lnTo>
                    <a:lnTo>
                      <a:pt x="767" y="572"/>
                    </a:lnTo>
                    <a:lnTo>
                      <a:pt x="767" y="574"/>
                    </a:lnTo>
                    <a:lnTo>
                      <a:pt x="765" y="574"/>
                    </a:lnTo>
                    <a:lnTo>
                      <a:pt x="764" y="574"/>
                    </a:lnTo>
                    <a:lnTo>
                      <a:pt x="762" y="574"/>
                    </a:lnTo>
                    <a:lnTo>
                      <a:pt x="760" y="574"/>
                    </a:lnTo>
                    <a:lnTo>
                      <a:pt x="759" y="575"/>
                    </a:lnTo>
                    <a:lnTo>
                      <a:pt x="757" y="577"/>
                    </a:lnTo>
                    <a:lnTo>
                      <a:pt x="756" y="577"/>
                    </a:lnTo>
                    <a:lnTo>
                      <a:pt x="754" y="577"/>
                    </a:lnTo>
                    <a:lnTo>
                      <a:pt x="753" y="577"/>
                    </a:lnTo>
                    <a:lnTo>
                      <a:pt x="751" y="577"/>
                    </a:lnTo>
                    <a:lnTo>
                      <a:pt x="751" y="578"/>
                    </a:lnTo>
                    <a:lnTo>
                      <a:pt x="749" y="577"/>
                    </a:lnTo>
                    <a:lnTo>
                      <a:pt x="748" y="577"/>
                    </a:lnTo>
                    <a:lnTo>
                      <a:pt x="746" y="577"/>
                    </a:lnTo>
                    <a:lnTo>
                      <a:pt x="745" y="577"/>
                    </a:lnTo>
                    <a:lnTo>
                      <a:pt x="743" y="575"/>
                    </a:lnTo>
                    <a:lnTo>
                      <a:pt x="741" y="575"/>
                    </a:lnTo>
                    <a:lnTo>
                      <a:pt x="740" y="575"/>
                    </a:lnTo>
                    <a:lnTo>
                      <a:pt x="738" y="575"/>
                    </a:lnTo>
                    <a:lnTo>
                      <a:pt x="738" y="577"/>
                    </a:lnTo>
                    <a:lnTo>
                      <a:pt x="737" y="577"/>
                    </a:lnTo>
                    <a:lnTo>
                      <a:pt x="735" y="578"/>
                    </a:lnTo>
                    <a:lnTo>
                      <a:pt x="734" y="578"/>
                    </a:lnTo>
                    <a:lnTo>
                      <a:pt x="734" y="577"/>
                    </a:lnTo>
                    <a:lnTo>
                      <a:pt x="732" y="575"/>
                    </a:lnTo>
                    <a:lnTo>
                      <a:pt x="730" y="575"/>
                    </a:lnTo>
                    <a:lnTo>
                      <a:pt x="729" y="575"/>
                    </a:lnTo>
                    <a:lnTo>
                      <a:pt x="729" y="574"/>
                    </a:lnTo>
                    <a:lnTo>
                      <a:pt x="727" y="574"/>
                    </a:lnTo>
                    <a:lnTo>
                      <a:pt x="727" y="572"/>
                    </a:lnTo>
                    <a:lnTo>
                      <a:pt x="726" y="572"/>
                    </a:lnTo>
                    <a:lnTo>
                      <a:pt x="726" y="571"/>
                    </a:lnTo>
                    <a:lnTo>
                      <a:pt x="724" y="571"/>
                    </a:lnTo>
                    <a:lnTo>
                      <a:pt x="722" y="571"/>
                    </a:lnTo>
                    <a:lnTo>
                      <a:pt x="721" y="572"/>
                    </a:lnTo>
                    <a:lnTo>
                      <a:pt x="719" y="571"/>
                    </a:lnTo>
                    <a:lnTo>
                      <a:pt x="719" y="572"/>
                    </a:lnTo>
                    <a:lnTo>
                      <a:pt x="718" y="572"/>
                    </a:lnTo>
                    <a:lnTo>
                      <a:pt x="716" y="572"/>
                    </a:lnTo>
                    <a:lnTo>
                      <a:pt x="715" y="572"/>
                    </a:lnTo>
                    <a:lnTo>
                      <a:pt x="713" y="572"/>
                    </a:lnTo>
                    <a:lnTo>
                      <a:pt x="711" y="572"/>
                    </a:lnTo>
                    <a:lnTo>
                      <a:pt x="710" y="572"/>
                    </a:lnTo>
                    <a:lnTo>
                      <a:pt x="708" y="572"/>
                    </a:lnTo>
                    <a:lnTo>
                      <a:pt x="708" y="574"/>
                    </a:lnTo>
                    <a:lnTo>
                      <a:pt x="707" y="574"/>
                    </a:lnTo>
                    <a:lnTo>
                      <a:pt x="705" y="574"/>
                    </a:lnTo>
                    <a:lnTo>
                      <a:pt x="703" y="572"/>
                    </a:lnTo>
                    <a:lnTo>
                      <a:pt x="703" y="574"/>
                    </a:lnTo>
                    <a:lnTo>
                      <a:pt x="702" y="574"/>
                    </a:lnTo>
                    <a:lnTo>
                      <a:pt x="700" y="575"/>
                    </a:lnTo>
                    <a:lnTo>
                      <a:pt x="699" y="575"/>
                    </a:lnTo>
                    <a:lnTo>
                      <a:pt x="697" y="575"/>
                    </a:lnTo>
                    <a:lnTo>
                      <a:pt x="696" y="575"/>
                    </a:lnTo>
                    <a:lnTo>
                      <a:pt x="694" y="577"/>
                    </a:lnTo>
                    <a:lnTo>
                      <a:pt x="692" y="577"/>
                    </a:lnTo>
                    <a:lnTo>
                      <a:pt x="692" y="578"/>
                    </a:lnTo>
                    <a:lnTo>
                      <a:pt x="691" y="578"/>
                    </a:lnTo>
                    <a:lnTo>
                      <a:pt x="689" y="578"/>
                    </a:lnTo>
                    <a:lnTo>
                      <a:pt x="688" y="578"/>
                    </a:lnTo>
                    <a:lnTo>
                      <a:pt x="688" y="577"/>
                    </a:lnTo>
                    <a:lnTo>
                      <a:pt x="686" y="577"/>
                    </a:lnTo>
                    <a:lnTo>
                      <a:pt x="686" y="578"/>
                    </a:lnTo>
                    <a:lnTo>
                      <a:pt x="684" y="578"/>
                    </a:lnTo>
                    <a:lnTo>
                      <a:pt x="683" y="578"/>
                    </a:lnTo>
                    <a:lnTo>
                      <a:pt x="681" y="580"/>
                    </a:lnTo>
                    <a:lnTo>
                      <a:pt x="680" y="580"/>
                    </a:lnTo>
                    <a:lnTo>
                      <a:pt x="678" y="580"/>
                    </a:lnTo>
                    <a:lnTo>
                      <a:pt x="670" y="585"/>
                    </a:lnTo>
                    <a:lnTo>
                      <a:pt x="669" y="586"/>
                    </a:lnTo>
                    <a:lnTo>
                      <a:pt x="667" y="586"/>
                    </a:lnTo>
                    <a:lnTo>
                      <a:pt x="665" y="586"/>
                    </a:lnTo>
                    <a:lnTo>
                      <a:pt x="665" y="585"/>
                    </a:lnTo>
                    <a:lnTo>
                      <a:pt x="664" y="585"/>
                    </a:lnTo>
                    <a:lnTo>
                      <a:pt x="662" y="586"/>
                    </a:lnTo>
                    <a:lnTo>
                      <a:pt x="661" y="586"/>
                    </a:lnTo>
                    <a:lnTo>
                      <a:pt x="661" y="588"/>
                    </a:lnTo>
                    <a:lnTo>
                      <a:pt x="661" y="590"/>
                    </a:lnTo>
                    <a:lnTo>
                      <a:pt x="659" y="591"/>
                    </a:lnTo>
                    <a:lnTo>
                      <a:pt x="659" y="593"/>
                    </a:lnTo>
                    <a:lnTo>
                      <a:pt x="658" y="593"/>
                    </a:lnTo>
                    <a:lnTo>
                      <a:pt x="656" y="593"/>
                    </a:lnTo>
                    <a:lnTo>
                      <a:pt x="654" y="593"/>
                    </a:lnTo>
                    <a:lnTo>
                      <a:pt x="653" y="591"/>
                    </a:lnTo>
                    <a:lnTo>
                      <a:pt x="651" y="591"/>
                    </a:lnTo>
                    <a:lnTo>
                      <a:pt x="651" y="593"/>
                    </a:lnTo>
                    <a:lnTo>
                      <a:pt x="650" y="593"/>
                    </a:lnTo>
                    <a:lnTo>
                      <a:pt x="650" y="594"/>
                    </a:lnTo>
                    <a:lnTo>
                      <a:pt x="648" y="594"/>
                    </a:lnTo>
                    <a:lnTo>
                      <a:pt x="646" y="594"/>
                    </a:lnTo>
                    <a:lnTo>
                      <a:pt x="645" y="594"/>
                    </a:lnTo>
                    <a:lnTo>
                      <a:pt x="645" y="596"/>
                    </a:lnTo>
                    <a:lnTo>
                      <a:pt x="643" y="596"/>
                    </a:lnTo>
                    <a:lnTo>
                      <a:pt x="643" y="594"/>
                    </a:lnTo>
                    <a:lnTo>
                      <a:pt x="642" y="596"/>
                    </a:lnTo>
                    <a:lnTo>
                      <a:pt x="640" y="596"/>
                    </a:lnTo>
                    <a:lnTo>
                      <a:pt x="640" y="594"/>
                    </a:lnTo>
                    <a:lnTo>
                      <a:pt x="639" y="594"/>
                    </a:lnTo>
                    <a:lnTo>
                      <a:pt x="637" y="594"/>
                    </a:lnTo>
                    <a:lnTo>
                      <a:pt x="635" y="596"/>
                    </a:lnTo>
                    <a:lnTo>
                      <a:pt x="634" y="594"/>
                    </a:lnTo>
                    <a:lnTo>
                      <a:pt x="632" y="594"/>
                    </a:lnTo>
                    <a:lnTo>
                      <a:pt x="631" y="594"/>
                    </a:lnTo>
                    <a:lnTo>
                      <a:pt x="629" y="594"/>
                    </a:lnTo>
                    <a:lnTo>
                      <a:pt x="627" y="596"/>
                    </a:lnTo>
                    <a:lnTo>
                      <a:pt x="626" y="596"/>
                    </a:lnTo>
                    <a:lnTo>
                      <a:pt x="624" y="596"/>
                    </a:lnTo>
                    <a:lnTo>
                      <a:pt x="623" y="596"/>
                    </a:lnTo>
                    <a:lnTo>
                      <a:pt x="621" y="596"/>
                    </a:lnTo>
                    <a:lnTo>
                      <a:pt x="620" y="596"/>
                    </a:lnTo>
                    <a:lnTo>
                      <a:pt x="618" y="596"/>
                    </a:lnTo>
                    <a:lnTo>
                      <a:pt x="616" y="596"/>
                    </a:lnTo>
                    <a:lnTo>
                      <a:pt x="615" y="596"/>
                    </a:lnTo>
                    <a:lnTo>
                      <a:pt x="613" y="596"/>
                    </a:lnTo>
                    <a:lnTo>
                      <a:pt x="612" y="596"/>
                    </a:lnTo>
                    <a:lnTo>
                      <a:pt x="610" y="594"/>
                    </a:lnTo>
                    <a:lnTo>
                      <a:pt x="610" y="593"/>
                    </a:lnTo>
                    <a:lnTo>
                      <a:pt x="608" y="593"/>
                    </a:lnTo>
                    <a:lnTo>
                      <a:pt x="607" y="593"/>
                    </a:lnTo>
                    <a:lnTo>
                      <a:pt x="605" y="591"/>
                    </a:lnTo>
                    <a:lnTo>
                      <a:pt x="604" y="591"/>
                    </a:lnTo>
                    <a:lnTo>
                      <a:pt x="604" y="590"/>
                    </a:lnTo>
                    <a:lnTo>
                      <a:pt x="602" y="590"/>
                    </a:lnTo>
                    <a:lnTo>
                      <a:pt x="601" y="588"/>
                    </a:lnTo>
                    <a:lnTo>
                      <a:pt x="599" y="588"/>
                    </a:lnTo>
                    <a:lnTo>
                      <a:pt x="597" y="586"/>
                    </a:lnTo>
                    <a:lnTo>
                      <a:pt x="597" y="585"/>
                    </a:lnTo>
                    <a:lnTo>
                      <a:pt x="597" y="583"/>
                    </a:lnTo>
                    <a:lnTo>
                      <a:pt x="597" y="582"/>
                    </a:lnTo>
                    <a:lnTo>
                      <a:pt x="596" y="582"/>
                    </a:lnTo>
                    <a:lnTo>
                      <a:pt x="596" y="580"/>
                    </a:lnTo>
                    <a:lnTo>
                      <a:pt x="596" y="578"/>
                    </a:lnTo>
                    <a:lnTo>
                      <a:pt x="594" y="578"/>
                    </a:lnTo>
                    <a:lnTo>
                      <a:pt x="593" y="578"/>
                    </a:lnTo>
                    <a:lnTo>
                      <a:pt x="593" y="577"/>
                    </a:lnTo>
                    <a:lnTo>
                      <a:pt x="591" y="575"/>
                    </a:lnTo>
                    <a:lnTo>
                      <a:pt x="589" y="575"/>
                    </a:lnTo>
                    <a:lnTo>
                      <a:pt x="588" y="574"/>
                    </a:lnTo>
                    <a:lnTo>
                      <a:pt x="586" y="575"/>
                    </a:lnTo>
                    <a:lnTo>
                      <a:pt x="585" y="577"/>
                    </a:lnTo>
                    <a:lnTo>
                      <a:pt x="583" y="577"/>
                    </a:lnTo>
                    <a:lnTo>
                      <a:pt x="583" y="578"/>
                    </a:lnTo>
                    <a:lnTo>
                      <a:pt x="581" y="578"/>
                    </a:lnTo>
                    <a:lnTo>
                      <a:pt x="580" y="578"/>
                    </a:lnTo>
                    <a:lnTo>
                      <a:pt x="580" y="580"/>
                    </a:lnTo>
                    <a:lnTo>
                      <a:pt x="578" y="580"/>
                    </a:lnTo>
                    <a:lnTo>
                      <a:pt x="577" y="580"/>
                    </a:lnTo>
                    <a:lnTo>
                      <a:pt x="575" y="580"/>
                    </a:lnTo>
                    <a:lnTo>
                      <a:pt x="574" y="582"/>
                    </a:lnTo>
                    <a:lnTo>
                      <a:pt x="572" y="582"/>
                    </a:lnTo>
                    <a:lnTo>
                      <a:pt x="570" y="583"/>
                    </a:lnTo>
                    <a:lnTo>
                      <a:pt x="569" y="583"/>
                    </a:lnTo>
                    <a:lnTo>
                      <a:pt x="567" y="583"/>
                    </a:lnTo>
                    <a:lnTo>
                      <a:pt x="566" y="583"/>
                    </a:lnTo>
                    <a:lnTo>
                      <a:pt x="564" y="583"/>
                    </a:lnTo>
                    <a:lnTo>
                      <a:pt x="562" y="583"/>
                    </a:lnTo>
                    <a:lnTo>
                      <a:pt x="561" y="583"/>
                    </a:lnTo>
                    <a:lnTo>
                      <a:pt x="559" y="583"/>
                    </a:lnTo>
                    <a:lnTo>
                      <a:pt x="559" y="582"/>
                    </a:lnTo>
                    <a:lnTo>
                      <a:pt x="558" y="582"/>
                    </a:lnTo>
                    <a:lnTo>
                      <a:pt x="556" y="580"/>
                    </a:lnTo>
                    <a:lnTo>
                      <a:pt x="555" y="580"/>
                    </a:lnTo>
                    <a:lnTo>
                      <a:pt x="553" y="580"/>
                    </a:lnTo>
                    <a:lnTo>
                      <a:pt x="553" y="578"/>
                    </a:lnTo>
                    <a:lnTo>
                      <a:pt x="551" y="578"/>
                    </a:lnTo>
                    <a:lnTo>
                      <a:pt x="550" y="578"/>
                    </a:lnTo>
                    <a:lnTo>
                      <a:pt x="548" y="578"/>
                    </a:lnTo>
                    <a:lnTo>
                      <a:pt x="547" y="578"/>
                    </a:lnTo>
                    <a:lnTo>
                      <a:pt x="545" y="578"/>
                    </a:lnTo>
                    <a:lnTo>
                      <a:pt x="543" y="578"/>
                    </a:lnTo>
                    <a:lnTo>
                      <a:pt x="542" y="578"/>
                    </a:lnTo>
                    <a:lnTo>
                      <a:pt x="540" y="578"/>
                    </a:lnTo>
                    <a:lnTo>
                      <a:pt x="540" y="580"/>
                    </a:lnTo>
                    <a:lnTo>
                      <a:pt x="539" y="580"/>
                    </a:lnTo>
                    <a:lnTo>
                      <a:pt x="539" y="582"/>
                    </a:lnTo>
                    <a:lnTo>
                      <a:pt x="537" y="583"/>
                    </a:lnTo>
                    <a:lnTo>
                      <a:pt x="537" y="585"/>
                    </a:lnTo>
                    <a:lnTo>
                      <a:pt x="536" y="585"/>
                    </a:lnTo>
                    <a:lnTo>
                      <a:pt x="536" y="586"/>
                    </a:lnTo>
                    <a:lnTo>
                      <a:pt x="534" y="586"/>
                    </a:lnTo>
                    <a:lnTo>
                      <a:pt x="534" y="588"/>
                    </a:lnTo>
                    <a:lnTo>
                      <a:pt x="532" y="588"/>
                    </a:lnTo>
                    <a:lnTo>
                      <a:pt x="531" y="588"/>
                    </a:lnTo>
                    <a:lnTo>
                      <a:pt x="531" y="590"/>
                    </a:lnTo>
                    <a:lnTo>
                      <a:pt x="529" y="590"/>
                    </a:lnTo>
                    <a:lnTo>
                      <a:pt x="528" y="591"/>
                    </a:lnTo>
                    <a:lnTo>
                      <a:pt x="526" y="591"/>
                    </a:lnTo>
                    <a:lnTo>
                      <a:pt x="524" y="591"/>
                    </a:lnTo>
                    <a:lnTo>
                      <a:pt x="524" y="593"/>
                    </a:lnTo>
                    <a:lnTo>
                      <a:pt x="523" y="593"/>
                    </a:lnTo>
                    <a:lnTo>
                      <a:pt x="521" y="593"/>
                    </a:lnTo>
                    <a:lnTo>
                      <a:pt x="520" y="593"/>
                    </a:lnTo>
                    <a:lnTo>
                      <a:pt x="518" y="594"/>
                    </a:lnTo>
                    <a:lnTo>
                      <a:pt x="517" y="594"/>
                    </a:lnTo>
                    <a:lnTo>
                      <a:pt x="515" y="594"/>
                    </a:lnTo>
                    <a:lnTo>
                      <a:pt x="515" y="596"/>
                    </a:lnTo>
                    <a:lnTo>
                      <a:pt x="513" y="596"/>
                    </a:lnTo>
                    <a:lnTo>
                      <a:pt x="512" y="596"/>
                    </a:lnTo>
                    <a:lnTo>
                      <a:pt x="510" y="596"/>
                    </a:lnTo>
                    <a:lnTo>
                      <a:pt x="509" y="596"/>
                    </a:lnTo>
                    <a:lnTo>
                      <a:pt x="507" y="596"/>
                    </a:lnTo>
                    <a:lnTo>
                      <a:pt x="507" y="597"/>
                    </a:lnTo>
                    <a:lnTo>
                      <a:pt x="505" y="597"/>
                    </a:lnTo>
                    <a:lnTo>
                      <a:pt x="504" y="597"/>
                    </a:lnTo>
                    <a:lnTo>
                      <a:pt x="502" y="597"/>
                    </a:lnTo>
                    <a:lnTo>
                      <a:pt x="501" y="597"/>
                    </a:lnTo>
                    <a:lnTo>
                      <a:pt x="499" y="597"/>
                    </a:lnTo>
                    <a:lnTo>
                      <a:pt x="498" y="597"/>
                    </a:lnTo>
                    <a:lnTo>
                      <a:pt x="496" y="596"/>
                    </a:lnTo>
                    <a:lnTo>
                      <a:pt x="496" y="597"/>
                    </a:lnTo>
                    <a:lnTo>
                      <a:pt x="494" y="597"/>
                    </a:lnTo>
                    <a:lnTo>
                      <a:pt x="494" y="599"/>
                    </a:lnTo>
                    <a:lnTo>
                      <a:pt x="496" y="599"/>
                    </a:lnTo>
                    <a:lnTo>
                      <a:pt x="496" y="601"/>
                    </a:lnTo>
                    <a:lnTo>
                      <a:pt x="496" y="602"/>
                    </a:lnTo>
                    <a:lnTo>
                      <a:pt x="496" y="604"/>
                    </a:lnTo>
                    <a:lnTo>
                      <a:pt x="498" y="604"/>
                    </a:lnTo>
                    <a:lnTo>
                      <a:pt x="498" y="605"/>
                    </a:lnTo>
                    <a:lnTo>
                      <a:pt x="498" y="607"/>
                    </a:lnTo>
                    <a:lnTo>
                      <a:pt x="498" y="609"/>
                    </a:lnTo>
                    <a:lnTo>
                      <a:pt x="499" y="609"/>
                    </a:lnTo>
                    <a:lnTo>
                      <a:pt x="499" y="610"/>
                    </a:lnTo>
                    <a:lnTo>
                      <a:pt x="499" y="612"/>
                    </a:lnTo>
                    <a:lnTo>
                      <a:pt x="499" y="613"/>
                    </a:lnTo>
                    <a:lnTo>
                      <a:pt x="499" y="615"/>
                    </a:lnTo>
                    <a:lnTo>
                      <a:pt x="499" y="616"/>
                    </a:lnTo>
                    <a:lnTo>
                      <a:pt x="499" y="618"/>
                    </a:lnTo>
                    <a:lnTo>
                      <a:pt x="499" y="620"/>
                    </a:lnTo>
                    <a:lnTo>
                      <a:pt x="499" y="621"/>
                    </a:lnTo>
                    <a:lnTo>
                      <a:pt x="499" y="623"/>
                    </a:lnTo>
                    <a:lnTo>
                      <a:pt x="499" y="624"/>
                    </a:lnTo>
                    <a:lnTo>
                      <a:pt x="498" y="624"/>
                    </a:lnTo>
                    <a:lnTo>
                      <a:pt x="498" y="626"/>
                    </a:lnTo>
                    <a:lnTo>
                      <a:pt x="496" y="628"/>
                    </a:lnTo>
                    <a:lnTo>
                      <a:pt x="496" y="629"/>
                    </a:lnTo>
                    <a:lnTo>
                      <a:pt x="496" y="631"/>
                    </a:lnTo>
                    <a:lnTo>
                      <a:pt x="494" y="631"/>
                    </a:lnTo>
                    <a:lnTo>
                      <a:pt x="494" y="632"/>
                    </a:lnTo>
                    <a:lnTo>
                      <a:pt x="494" y="634"/>
                    </a:lnTo>
                    <a:lnTo>
                      <a:pt x="494" y="635"/>
                    </a:lnTo>
                    <a:lnTo>
                      <a:pt x="494" y="637"/>
                    </a:lnTo>
                    <a:lnTo>
                      <a:pt x="493" y="639"/>
                    </a:lnTo>
                    <a:lnTo>
                      <a:pt x="491" y="639"/>
                    </a:lnTo>
                    <a:lnTo>
                      <a:pt x="490" y="639"/>
                    </a:lnTo>
                    <a:lnTo>
                      <a:pt x="488" y="639"/>
                    </a:lnTo>
                    <a:lnTo>
                      <a:pt x="486" y="639"/>
                    </a:lnTo>
                    <a:lnTo>
                      <a:pt x="485" y="639"/>
                    </a:lnTo>
                    <a:lnTo>
                      <a:pt x="483" y="639"/>
                    </a:lnTo>
                    <a:lnTo>
                      <a:pt x="482" y="639"/>
                    </a:lnTo>
                    <a:lnTo>
                      <a:pt x="482" y="640"/>
                    </a:lnTo>
                    <a:lnTo>
                      <a:pt x="482" y="642"/>
                    </a:lnTo>
                    <a:lnTo>
                      <a:pt x="483" y="642"/>
                    </a:lnTo>
                    <a:lnTo>
                      <a:pt x="483" y="643"/>
                    </a:lnTo>
                    <a:lnTo>
                      <a:pt x="483" y="645"/>
                    </a:lnTo>
                    <a:lnTo>
                      <a:pt x="483" y="647"/>
                    </a:lnTo>
                    <a:lnTo>
                      <a:pt x="482" y="647"/>
                    </a:lnTo>
                    <a:lnTo>
                      <a:pt x="480" y="648"/>
                    </a:lnTo>
                    <a:lnTo>
                      <a:pt x="479" y="648"/>
                    </a:lnTo>
                    <a:lnTo>
                      <a:pt x="477" y="648"/>
                    </a:lnTo>
                    <a:lnTo>
                      <a:pt x="477" y="650"/>
                    </a:lnTo>
                    <a:lnTo>
                      <a:pt x="475" y="650"/>
                    </a:lnTo>
                    <a:lnTo>
                      <a:pt x="474" y="650"/>
                    </a:lnTo>
                    <a:lnTo>
                      <a:pt x="474" y="651"/>
                    </a:lnTo>
                    <a:lnTo>
                      <a:pt x="474" y="653"/>
                    </a:lnTo>
                    <a:lnTo>
                      <a:pt x="475" y="653"/>
                    </a:lnTo>
                    <a:lnTo>
                      <a:pt x="475" y="654"/>
                    </a:lnTo>
                    <a:lnTo>
                      <a:pt x="477" y="656"/>
                    </a:lnTo>
                    <a:lnTo>
                      <a:pt x="477" y="658"/>
                    </a:lnTo>
                    <a:lnTo>
                      <a:pt x="479" y="658"/>
                    </a:lnTo>
                    <a:lnTo>
                      <a:pt x="479" y="659"/>
                    </a:lnTo>
                    <a:lnTo>
                      <a:pt x="479" y="661"/>
                    </a:lnTo>
                    <a:lnTo>
                      <a:pt x="479" y="662"/>
                    </a:lnTo>
                    <a:lnTo>
                      <a:pt x="480" y="662"/>
                    </a:lnTo>
                    <a:lnTo>
                      <a:pt x="480" y="661"/>
                    </a:lnTo>
                    <a:lnTo>
                      <a:pt x="482" y="661"/>
                    </a:lnTo>
                    <a:lnTo>
                      <a:pt x="482" y="662"/>
                    </a:lnTo>
                    <a:lnTo>
                      <a:pt x="483" y="662"/>
                    </a:lnTo>
                    <a:lnTo>
                      <a:pt x="485" y="664"/>
                    </a:lnTo>
                    <a:lnTo>
                      <a:pt x="486" y="666"/>
                    </a:lnTo>
                    <a:lnTo>
                      <a:pt x="486" y="667"/>
                    </a:lnTo>
                    <a:lnTo>
                      <a:pt x="488" y="669"/>
                    </a:lnTo>
                    <a:lnTo>
                      <a:pt x="488" y="670"/>
                    </a:lnTo>
                    <a:lnTo>
                      <a:pt x="488" y="672"/>
                    </a:lnTo>
                    <a:lnTo>
                      <a:pt x="490" y="672"/>
                    </a:lnTo>
                    <a:lnTo>
                      <a:pt x="491" y="672"/>
                    </a:lnTo>
                    <a:lnTo>
                      <a:pt x="493" y="670"/>
                    </a:lnTo>
                    <a:lnTo>
                      <a:pt x="494" y="670"/>
                    </a:lnTo>
                    <a:lnTo>
                      <a:pt x="496" y="670"/>
                    </a:lnTo>
                    <a:lnTo>
                      <a:pt x="498" y="670"/>
                    </a:lnTo>
                    <a:lnTo>
                      <a:pt x="499" y="670"/>
                    </a:lnTo>
                    <a:lnTo>
                      <a:pt x="501" y="672"/>
                    </a:lnTo>
                    <a:lnTo>
                      <a:pt x="502" y="672"/>
                    </a:lnTo>
                    <a:lnTo>
                      <a:pt x="502" y="673"/>
                    </a:lnTo>
                    <a:lnTo>
                      <a:pt x="504" y="673"/>
                    </a:lnTo>
                    <a:lnTo>
                      <a:pt x="504" y="675"/>
                    </a:lnTo>
                    <a:lnTo>
                      <a:pt x="504" y="677"/>
                    </a:lnTo>
                    <a:lnTo>
                      <a:pt x="504" y="678"/>
                    </a:lnTo>
                    <a:lnTo>
                      <a:pt x="504" y="680"/>
                    </a:lnTo>
                    <a:lnTo>
                      <a:pt x="505" y="680"/>
                    </a:lnTo>
                    <a:lnTo>
                      <a:pt x="505" y="681"/>
                    </a:lnTo>
                    <a:lnTo>
                      <a:pt x="505" y="683"/>
                    </a:lnTo>
                    <a:lnTo>
                      <a:pt x="507" y="683"/>
                    </a:lnTo>
                    <a:lnTo>
                      <a:pt x="505" y="685"/>
                    </a:lnTo>
                    <a:lnTo>
                      <a:pt x="504" y="685"/>
                    </a:lnTo>
                    <a:lnTo>
                      <a:pt x="502" y="685"/>
                    </a:lnTo>
                    <a:lnTo>
                      <a:pt x="502" y="686"/>
                    </a:lnTo>
                    <a:lnTo>
                      <a:pt x="501" y="686"/>
                    </a:lnTo>
                    <a:lnTo>
                      <a:pt x="499" y="686"/>
                    </a:lnTo>
                    <a:lnTo>
                      <a:pt x="499" y="688"/>
                    </a:lnTo>
                    <a:lnTo>
                      <a:pt x="498" y="688"/>
                    </a:lnTo>
                    <a:lnTo>
                      <a:pt x="496" y="688"/>
                    </a:lnTo>
                    <a:lnTo>
                      <a:pt x="496" y="689"/>
                    </a:lnTo>
                    <a:lnTo>
                      <a:pt x="494" y="689"/>
                    </a:lnTo>
                    <a:lnTo>
                      <a:pt x="493" y="689"/>
                    </a:lnTo>
                    <a:lnTo>
                      <a:pt x="491" y="689"/>
                    </a:lnTo>
                    <a:lnTo>
                      <a:pt x="491" y="691"/>
                    </a:lnTo>
                    <a:lnTo>
                      <a:pt x="490" y="691"/>
                    </a:lnTo>
                    <a:lnTo>
                      <a:pt x="488" y="691"/>
                    </a:lnTo>
                    <a:lnTo>
                      <a:pt x="486" y="691"/>
                    </a:lnTo>
                    <a:lnTo>
                      <a:pt x="485" y="691"/>
                    </a:lnTo>
                    <a:lnTo>
                      <a:pt x="483" y="692"/>
                    </a:lnTo>
                    <a:lnTo>
                      <a:pt x="482" y="692"/>
                    </a:lnTo>
                    <a:lnTo>
                      <a:pt x="480" y="692"/>
                    </a:lnTo>
                    <a:lnTo>
                      <a:pt x="480" y="694"/>
                    </a:lnTo>
                    <a:lnTo>
                      <a:pt x="479" y="694"/>
                    </a:lnTo>
                    <a:lnTo>
                      <a:pt x="477" y="696"/>
                    </a:lnTo>
                    <a:lnTo>
                      <a:pt x="475" y="696"/>
                    </a:lnTo>
                    <a:lnTo>
                      <a:pt x="474" y="696"/>
                    </a:lnTo>
                    <a:lnTo>
                      <a:pt x="472" y="696"/>
                    </a:lnTo>
                    <a:lnTo>
                      <a:pt x="472" y="697"/>
                    </a:lnTo>
                    <a:lnTo>
                      <a:pt x="471" y="697"/>
                    </a:lnTo>
                    <a:lnTo>
                      <a:pt x="469" y="697"/>
                    </a:lnTo>
                    <a:lnTo>
                      <a:pt x="467" y="697"/>
                    </a:lnTo>
                    <a:lnTo>
                      <a:pt x="466" y="697"/>
                    </a:lnTo>
                    <a:lnTo>
                      <a:pt x="464" y="697"/>
                    </a:lnTo>
                    <a:lnTo>
                      <a:pt x="464" y="699"/>
                    </a:lnTo>
                    <a:lnTo>
                      <a:pt x="463" y="699"/>
                    </a:lnTo>
                    <a:lnTo>
                      <a:pt x="461" y="699"/>
                    </a:lnTo>
                    <a:lnTo>
                      <a:pt x="460" y="699"/>
                    </a:lnTo>
                    <a:lnTo>
                      <a:pt x="458" y="699"/>
                    </a:lnTo>
                    <a:lnTo>
                      <a:pt x="458" y="700"/>
                    </a:lnTo>
                    <a:lnTo>
                      <a:pt x="456" y="700"/>
                    </a:lnTo>
                    <a:lnTo>
                      <a:pt x="455" y="700"/>
                    </a:lnTo>
                    <a:lnTo>
                      <a:pt x="455" y="699"/>
                    </a:lnTo>
                    <a:lnTo>
                      <a:pt x="455" y="697"/>
                    </a:lnTo>
                    <a:lnTo>
                      <a:pt x="456" y="697"/>
                    </a:lnTo>
                    <a:lnTo>
                      <a:pt x="456" y="696"/>
                    </a:lnTo>
                    <a:lnTo>
                      <a:pt x="456" y="694"/>
                    </a:lnTo>
                    <a:lnTo>
                      <a:pt x="456" y="692"/>
                    </a:lnTo>
                    <a:lnTo>
                      <a:pt x="458" y="692"/>
                    </a:lnTo>
                    <a:lnTo>
                      <a:pt x="458" y="691"/>
                    </a:lnTo>
                    <a:lnTo>
                      <a:pt x="458" y="689"/>
                    </a:lnTo>
                    <a:lnTo>
                      <a:pt x="456" y="689"/>
                    </a:lnTo>
                    <a:lnTo>
                      <a:pt x="456" y="688"/>
                    </a:lnTo>
                    <a:lnTo>
                      <a:pt x="455" y="686"/>
                    </a:lnTo>
                    <a:lnTo>
                      <a:pt x="455" y="685"/>
                    </a:lnTo>
                    <a:lnTo>
                      <a:pt x="455" y="683"/>
                    </a:lnTo>
                    <a:lnTo>
                      <a:pt x="455" y="681"/>
                    </a:lnTo>
                    <a:lnTo>
                      <a:pt x="455" y="680"/>
                    </a:lnTo>
                    <a:lnTo>
                      <a:pt x="453" y="680"/>
                    </a:lnTo>
                    <a:lnTo>
                      <a:pt x="453" y="678"/>
                    </a:lnTo>
                    <a:lnTo>
                      <a:pt x="453" y="677"/>
                    </a:lnTo>
                    <a:lnTo>
                      <a:pt x="453" y="675"/>
                    </a:lnTo>
                    <a:lnTo>
                      <a:pt x="453" y="673"/>
                    </a:lnTo>
                    <a:lnTo>
                      <a:pt x="452" y="673"/>
                    </a:lnTo>
                    <a:lnTo>
                      <a:pt x="452" y="672"/>
                    </a:lnTo>
                    <a:lnTo>
                      <a:pt x="450" y="672"/>
                    </a:lnTo>
                    <a:lnTo>
                      <a:pt x="448" y="672"/>
                    </a:lnTo>
                    <a:lnTo>
                      <a:pt x="447" y="672"/>
                    </a:lnTo>
                    <a:lnTo>
                      <a:pt x="445" y="672"/>
                    </a:lnTo>
                    <a:lnTo>
                      <a:pt x="445" y="670"/>
                    </a:lnTo>
                    <a:lnTo>
                      <a:pt x="444" y="670"/>
                    </a:lnTo>
                    <a:lnTo>
                      <a:pt x="444" y="669"/>
                    </a:lnTo>
                    <a:lnTo>
                      <a:pt x="444" y="667"/>
                    </a:lnTo>
                    <a:lnTo>
                      <a:pt x="442" y="667"/>
                    </a:lnTo>
                    <a:lnTo>
                      <a:pt x="442" y="666"/>
                    </a:lnTo>
                    <a:lnTo>
                      <a:pt x="442" y="664"/>
                    </a:lnTo>
                    <a:lnTo>
                      <a:pt x="441" y="664"/>
                    </a:lnTo>
                    <a:lnTo>
                      <a:pt x="439" y="664"/>
                    </a:lnTo>
                    <a:lnTo>
                      <a:pt x="437" y="666"/>
                    </a:lnTo>
                    <a:lnTo>
                      <a:pt x="437" y="664"/>
                    </a:lnTo>
                    <a:lnTo>
                      <a:pt x="436" y="664"/>
                    </a:lnTo>
                    <a:lnTo>
                      <a:pt x="434" y="664"/>
                    </a:lnTo>
                    <a:lnTo>
                      <a:pt x="434" y="667"/>
                    </a:lnTo>
                    <a:lnTo>
                      <a:pt x="433" y="669"/>
                    </a:lnTo>
                    <a:lnTo>
                      <a:pt x="431" y="670"/>
                    </a:lnTo>
                    <a:lnTo>
                      <a:pt x="428" y="672"/>
                    </a:lnTo>
                    <a:lnTo>
                      <a:pt x="426" y="673"/>
                    </a:lnTo>
                    <a:lnTo>
                      <a:pt x="422" y="675"/>
                    </a:lnTo>
                    <a:lnTo>
                      <a:pt x="418" y="673"/>
                    </a:lnTo>
                    <a:lnTo>
                      <a:pt x="417" y="673"/>
                    </a:lnTo>
                    <a:lnTo>
                      <a:pt x="415" y="673"/>
                    </a:lnTo>
                    <a:lnTo>
                      <a:pt x="415" y="675"/>
                    </a:lnTo>
                    <a:lnTo>
                      <a:pt x="414" y="675"/>
                    </a:lnTo>
                    <a:lnTo>
                      <a:pt x="414" y="677"/>
                    </a:lnTo>
                    <a:lnTo>
                      <a:pt x="414" y="678"/>
                    </a:lnTo>
                    <a:lnTo>
                      <a:pt x="412" y="678"/>
                    </a:lnTo>
                    <a:lnTo>
                      <a:pt x="412" y="680"/>
                    </a:lnTo>
                    <a:lnTo>
                      <a:pt x="412" y="681"/>
                    </a:lnTo>
                    <a:lnTo>
                      <a:pt x="412" y="683"/>
                    </a:lnTo>
                    <a:lnTo>
                      <a:pt x="410" y="685"/>
                    </a:lnTo>
                    <a:lnTo>
                      <a:pt x="410" y="686"/>
                    </a:lnTo>
                    <a:lnTo>
                      <a:pt x="410" y="688"/>
                    </a:lnTo>
                    <a:lnTo>
                      <a:pt x="409" y="688"/>
                    </a:lnTo>
                    <a:lnTo>
                      <a:pt x="409" y="689"/>
                    </a:lnTo>
                    <a:lnTo>
                      <a:pt x="409" y="691"/>
                    </a:lnTo>
                    <a:lnTo>
                      <a:pt x="409" y="692"/>
                    </a:lnTo>
                    <a:lnTo>
                      <a:pt x="407" y="694"/>
                    </a:lnTo>
                    <a:lnTo>
                      <a:pt x="407" y="696"/>
                    </a:lnTo>
                    <a:lnTo>
                      <a:pt x="407" y="697"/>
                    </a:lnTo>
                    <a:lnTo>
                      <a:pt x="407" y="699"/>
                    </a:lnTo>
                    <a:lnTo>
                      <a:pt x="406" y="699"/>
                    </a:lnTo>
                    <a:lnTo>
                      <a:pt x="406" y="700"/>
                    </a:lnTo>
                    <a:lnTo>
                      <a:pt x="407" y="702"/>
                    </a:lnTo>
                    <a:lnTo>
                      <a:pt x="409" y="704"/>
                    </a:lnTo>
                    <a:lnTo>
                      <a:pt x="410" y="704"/>
                    </a:lnTo>
                    <a:lnTo>
                      <a:pt x="410" y="705"/>
                    </a:lnTo>
                    <a:lnTo>
                      <a:pt x="412" y="707"/>
                    </a:lnTo>
                    <a:lnTo>
                      <a:pt x="412" y="708"/>
                    </a:lnTo>
                    <a:lnTo>
                      <a:pt x="410" y="708"/>
                    </a:lnTo>
                    <a:lnTo>
                      <a:pt x="410" y="710"/>
                    </a:lnTo>
                    <a:lnTo>
                      <a:pt x="410" y="712"/>
                    </a:lnTo>
                    <a:lnTo>
                      <a:pt x="409" y="713"/>
                    </a:lnTo>
                    <a:lnTo>
                      <a:pt x="410" y="713"/>
                    </a:lnTo>
                    <a:lnTo>
                      <a:pt x="410" y="715"/>
                    </a:lnTo>
                    <a:lnTo>
                      <a:pt x="410" y="716"/>
                    </a:lnTo>
                    <a:lnTo>
                      <a:pt x="410" y="718"/>
                    </a:lnTo>
                    <a:lnTo>
                      <a:pt x="409" y="718"/>
                    </a:lnTo>
                    <a:lnTo>
                      <a:pt x="407" y="718"/>
                    </a:lnTo>
                    <a:lnTo>
                      <a:pt x="406" y="719"/>
                    </a:lnTo>
                    <a:lnTo>
                      <a:pt x="404" y="719"/>
                    </a:lnTo>
                    <a:lnTo>
                      <a:pt x="404" y="721"/>
                    </a:lnTo>
                    <a:lnTo>
                      <a:pt x="402" y="721"/>
                    </a:lnTo>
                    <a:lnTo>
                      <a:pt x="402" y="723"/>
                    </a:lnTo>
                    <a:lnTo>
                      <a:pt x="401" y="724"/>
                    </a:lnTo>
                    <a:lnTo>
                      <a:pt x="401" y="726"/>
                    </a:lnTo>
                    <a:lnTo>
                      <a:pt x="399" y="726"/>
                    </a:lnTo>
                    <a:lnTo>
                      <a:pt x="399" y="727"/>
                    </a:lnTo>
                    <a:lnTo>
                      <a:pt x="398" y="727"/>
                    </a:lnTo>
                    <a:lnTo>
                      <a:pt x="398" y="729"/>
                    </a:lnTo>
                    <a:lnTo>
                      <a:pt x="398" y="731"/>
                    </a:lnTo>
                    <a:lnTo>
                      <a:pt x="398" y="732"/>
                    </a:lnTo>
                    <a:lnTo>
                      <a:pt x="396" y="732"/>
                    </a:lnTo>
                    <a:lnTo>
                      <a:pt x="396" y="734"/>
                    </a:lnTo>
                    <a:lnTo>
                      <a:pt x="395" y="734"/>
                    </a:lnTo>
                    <a:lnTo>
                      <a:pt x="393" y="734"/>
                    </a:lnTo>
                    <a:lnTo>
                      <a:pt x="391" y="734"/>
                    </a:lnTo>
                    <a:lnTo>
                      <a:pt x="390" y="734"/>
                    </a:lnTo>
                    <a:lnTo>
                      <a:pt x="388" y="734"/>
                    </a:lnTo>
                    <a:lnTo>
                      <a:pt x="387" y="734"/>
                    </a:lnTo>
                    <a:lnTo>
                      <a:pt x="385" y="732"/>
                    </a:lnTo>
                    <a:lnTo>
                      <a:pt x="383" y="732"/>
                    </a:lnTo>
                    <a:lnTo>
                      <a:pt x="382" y="732"/>
                    </a:lnTo>
                    <a:lnTo>
                      <a:pt x="380" y="731"/>
                    </a:lnTo>
                    <a:lnTo>
                      <a:pt x="379" y="731"/>
                    </a:lnTo>
                    <a:lnTo>
                      <a:pt x="379" y="729"/>
                    </a:lnTo>
                    <a:lnTo>
                      <a:pt x="377" y="729"/>
                    </a:lnTo>
                    <a:lnTo>
                      <a:pt x="376" y="729"/>
                    </a:lnTo>
                    <a:lnTo>
                      <a:pt x="374" y="727"/>
                    </a:lnTo>
                    <a:lnTo>
                      <a:pt x="372" y="727"/>
                    </a:lnTo>
                    <a:lnTo>
                      <a:pt x="371" y="727"/>
                    </a:lnTo>
                    <a:lnTo>
                      <a:pt x="371" y="726"/>
                    </a:lnTo>
                    <a:lnTo>
                      <a:pt x="369" y="726"/>
                    </a:lnTo>
                    <a:lnTo>
                      <a:pt x="369" y="724"/>
                    </a:lnTo>
                    <a:lnTo>
                      <a:pt x="368" y="724"/>
                    </a:lnTo>
                    <a:lnTo>
                      <a:pt x="368" y="723"/>
                    </a:lnTo>
                    <a:lnTo>
                      <a:pt x="366" y="723"/>
                    </a:lnTo>
                    <a:lnTo>
                      <a:pt x="364" y="721"/>
                    </a:lnTo>
                    <a:lnTo>
                      <a:pt x="363" y="721"/>
                    </a:lnTo>
                    <a:lnTo>
                      <a:pt x="361" y="719"/>
                    </a:lnTo>
                    <a:lnTo>
                      <a:pt x="360" y="719"/>
                    </a:lnTo>
                    <a:lnTo>
                      <a:pt x="360" y="718"/>
                    </a:lnTo>
                    <a:lnTo>
                      <a:pt x="358" y="718"/>
                    </a:lnTo>
                    <a:lnTo>
                      <a:pt x="357" y="716"/>
                    </a:lnTo>
                    <a:lnTo>
                      <a:pt x="355" y="716"/>
                    </a:lnTo>
                    <a:lnTo>
                      <a:pt x="353" y="716"/>
                    </a:lnTo>
                    <a:lnTo>
                      <a:pt x="353" y="715"/>
                    </a:lnTo>
                    <a:lnTo>
                      <a:pt x="352" y="715"/>
                    </a:lnTo>
                    <a:lnTo>
                      <a:pt x="350" y="715"/>
                    </a:lnTo>
                    <a:lnTo>
                      <a:pt x="349" y="715"/>
                    </a:lnTo>
                    <a:lnTo>
                      <a:pt x="347" y="715"/>
                    </a:lnTo>
                    <a:lnTo>
                      <a:pt x="345" y="715"/>
                    </a:lnTo>
                    <a:lnTo>
                      <a:pt x="344" y="715"/>
                    </a:lnTo>
                    <a:lnTo>
                      <a:pt x="344" y="713"/>
                    </a:lnTo>
                    <a:lnTo>
                      <a:pt x="342" y="713"/>
                    </a:lnTo>
                    <a:lnTo>
                      <a:pt x="342" y="712"/>
                    </a:lnTo>
                    <a:lnTo>
                      <a:pt x="341" y="712"/>
                    </a:lnTo>
                    <a:lnTo>
                      <a:pt x="339" y="712"/>
                    </a:lnTo>
                    <a:lnTo>
                      <a:pt x="339" y="710"/>
                    </a:lnTo>
                    <a:lnTo>
                      <a:pt x="338" y="710"/>
                    </a:lnTo>
                    <a:lnTo>
                      <a:pt x="336" y="710"/>
                    </a:lnTo>
                    <a:lnTo>
                      <a:pt x="334" y="708"/>
                    </a:lnTo>
                    <a:lnTo>
                      <a:pt x="333" y="708"/>
                    </a:lnTo>
                    <a:lnTo>
                      <a:pt x="331" y="708"/>
                    </a:lnTo>
                    <a:lnTo>
                      <a:pt x="330" y="708"/>
                    </a:lnTo>
                    <a:lnTo>
                      <a:pt x="328" y="708"/>
                    </a:lnTo>
                    <a:lnTo>
                      <a:pt x="328" y="710"/>
                    </a:lnTo>
                    <a:lnTo>
                      <a:pt x="326" y="710"/>
                    </a:lnTo>
                    <a:lnTo>
                      <a:pt x="325" y="710"/>
                    </a:lnTo>
                    <a:lnTo>
                      <a:pt x="323" y="710"/>
                    </a:lnTo>
                    <a:lnTo>
                      <a:pt x="322" y="710"/>
                    </a:lnTo>
                    <a:lnTo>
                      <a:pt x="320" y="710"/>
                    </a:lnTo>
                    <a:lnTo>
                      <a:pt x="319" y="712"/>
                    </a:lnTo>
                    <a:lnTo>
                      <a:pt x="317" y="712"/>
                    </a:lnTo>
                    <a:lnTo>
                      <a:pt x="315" y="712"/>
                    </a:lnTo>
                    <a:lnTo>
                      <a:pt x="314" y="712"/>
                    </a:lnTo>
                    <a:lnTo>
                      <a:pt x="314" y="713"/>
                    </a:lnTo>
                    <a:lnTo>
                      <a:pt x="312" y="713"/>
                    </a:lnTo>
                    <a:lnTo>
                      <a:pt x="311" y="713"/>
                    </a:lnTo>
                    <a:lnTo>
                      <a:pt x="309" y="713"/>
                    </a:lnTo>
                    <a:lnTo>
                      <a:pt x="309" y="715"/>
                    </a:lnTo>
                    <a:lnTo>
                      <a:pt x="307" y="715"/>
                    </a:lnTo>
                    <a:lnTo>
                      <a:pt x="306" y="715"/>
                    </a:lnTo>
                    <a:lnTo>
                      <a:pt x="306" y="716"/>
                    </a:lnTo>
                    <a:lnTo>
                      <a:pt x="304" y="716"/>
                    </a:lnTo>
                    <a:lnTo>
                      <a:pt x="303" y="716"/>
                    </a:lnTo>
                    <a:lnTo>
                      <a:pt x="303" y="718"/>
                    </a:lnTo>
                    <a:lnTo>
                      <a:pt x="301" y="718"/>
                    </a:lnTo>
                    <a:lnTo>
                      <a:pt x="300" y="719"/>
                    </a:lnTo>
                    <a:lnTo>
                      <a:pt x="298" y="719"/>
                    </a:lnTo>
                    <a:lnTo>
                      <a:pt x="298" y="721"/>
                    </a:lnTo>
                    <a:lnTo>
                      <a:pt x="296" y="721"/>
                    </a:lnTo>
                    <a:lnTo>
                      <a:pt x="296" y="723"/>
                    </a:lnTo>
                    <a:lnTo>
                      <a:pt x="295" y="723"/>
                    </a:lnTo>
                    <a:lnTo>
                      <a:pt x="293" y="724"/>
                    </a:lnTo>
                    <a:lnTo>
                      <a:pt x="292" y="724"/>
                    </a:lnTo>
                    <a:lnTo>
                      <a:pt x="292" y="726"/>
                    </a:lnTo>
                    <a:lnTo>
                      <a:pt x="290" y="726"/>
                    </a:lnTo>
                    <a:lnTo>
                      <a:pt x="290" y="727"/>
                    </a:lnTo>
                    <a:lnTo>
                      <a:pt x="288" y="727"/>
                    </a:lnTo>
                    <a:lnTo>
                      <a:pt x="287" y="729"/>
                    </a:lnTo>
                    <a:lnTo>
                      <a:pt x="285" y="731"/>
                    </a:lnTo>
                    <a:lnTo>
                      <a:pt x="284" y="731"/>
                    </a:lnTo>
                    <a:lnTo>
                      <a:pt x="284" y="732"/>
                    </a:lnTo>
                    <a:lnTo>
                      <a:pt x="282" y="732"/>
                    </a:lnTo>
                    <a:lnTo>
                      <a:pt x="282" y="734"/>
                    </a:lnTo>
                    <a:lnTo>
                      <a:pt x="281" y="734"/>
                    </a:lnTo>
                    <a:lnTo>
                      <a:pt x="281" y="735"/>
                    </a:lnTo>
                    <a:lnTo>
                      <a:pt x="279" y="735"/>
                    </a:lnTo>
                    <a:lnTo>
                      <a:pt x="279" y="737"/>
                    </a:lnTo>
                    <a:lnTo>
                      <a:pt x="277" y="737"/>
                    </a:lnTo>
                    <a:lnTo>
                      <a:pt x="277" y="738"/>
                    </a:lnTo>
                    <a:lnTo>
                      <a:pt x="276" y="738"/>
                    </a:lnTo>
                    <a:lnTo>
                      <a:pt x="274" y="738"/>
                    </a:lnTo>
                    <a:lnTo>
                      <a:pt x="273" y="740"/>
                    </a:lnTo>
                    <a:lnTo>
                      <a:pt x="271" y="740"/>
                    </a:lnTo>
                    <a:lnTo>
                      <a:pt x="271" y="742"/>
                    </a:lnTo>
                    <a:lnTo>
                      <a:pt x="269" y="742"/>
                    </a:lnTo>
                    <a:lnTo>
                      <a:pt x="269" y="743"/>
                    </a:lnTo>
                    <a:lnTo>
                      <a:pt x="269" y="745"/>
                    </a:lnTo>
                    <a:lnTo>
                      <a:pt x="268" y="745"/>
                    </a:lnTo>
                    <a:lnTo>
                      <a:pt x="268" y="746"/>
                    </a:lnTo>
                    <a:lnTo>
                      <a:pt x="266" y="746"/>
                    </a:lnTo>
                    <a:lnTo>
                      <a:pt x="265" y="748"/>
                    </a:lnTo>
                    <a:lnTo>
                      <a:pt x="263" y="750"/>
                    </a:lnTo>
                    <a:lnTo>
                      <a:pt x="262" y="751"/>
                    </a:lnTo>
                    <a:lnTo>
                      <a:pt x="260" y="751"/>
                    </a:lnTo>
                    <a:lnTo>
                      <a:pt x="258" y="751"/>
                    </a:lnTo>
                    <a:lnTo>
                      <a:pt x="257" y="750"/>
                    </a:lnTo>
                    <a:lnTo>
                      <a:pt x="255" y="750"/>
                    </a:lnTo>
                    <a:lnTo>
                      <a:pt x="255" y="748"/>
                    </a:lnTo>
                    <a:lnTo>
                      <a:pt x="255" y="746"/>
                    </a:lnTo>
                    <a:lnTo>
                      <a:pt x="255" y="745"/>
                    </a:lnTo>
                    <a:lnTo>
                      <a:pt x="255" y="743"/>
                    </a:lnTo>
                    <a:lnTo>
                      <a:pt x="257" y="743"/>
                    </a:lnTo>
                    <a:lnTo>
                      <a:pt x="257" y="742"/>
                    </a:lnTo>
                    <a:lnTo>
                      <a:pt x="258" y="742"/>
                    </a:lnTo>
                    <a:lnTo>
                      <a:pt x="258" y="740"/>
                    </a:lnTo>
                    <a:lnTo>
                      <a:pt x="258" y="738"/>
                    </a:lnTo>
                    <a:lnTo>
                      <a:pt x="258" y="737"/>
                    </a:lnTo>
                    <a:lnTo>
                      <a:pt x="258" y="735"/>
                    </a:lnTo>
                    <a:lnTo>
                      <a:pt x="258" y="734"/>
                    </a:lnTo>
                    <a:lnTo>
                      <a:pt x="260" y="734"/>
                    </a:lnTo>
                    <a:lnTo>
                      <a:pt x="260" y="732"/>
                    </a:lnTo>
                    <a:lnTo>
                      <a:pt x="260" y="731"/>
                    </a:lnTo>
                    <a:lnTo>
                      <a:pt x="260" y="729"/>
                    </a:lnTo>
                    <a:lnTo>
                      <a:pt x="260" y="727"/>
                    </a:lnTo>
                    <a:lnTo>
                      <a:pt x="260" y="726"/>
                    </a:lnTo>
                    <a:lnTo>
                      <a:pt x="260" y="724"/>
                    </a:lnTo>
                    <a:lnTo>
                      <a:pt x="260" y="723"/>
                    </a:lnTo>
                    <a:lnTo>
                      <a:pt x="258" y="721"/>
                    </a:lnTo>
                    <a:lnTo>
                      <a:pt x="258" y="719"/>
                    </a:lnTo>
                    <a:lnTo>
                      <a:pt x="257" y="719"/>
                    </a:lnTo>
                    <a:lnTo>
                      <a:pt x="257" y="718"/>
                    </a:lnTo>
                    <a:lnTo>
                      <a:pt x="257" y="716"/>
                    </a:lnTo>
                    <a:lnTo>
                      <a:pt x="255" y="716"/>
                    </a:lnTo>
                    <a:lnTo>
                      <a:pt x="255" y="715"/>
                    </a:lnTo>
                    <a:lnTo>
                      <a:pt x="255" y="713"/>
                    </a:lnTo>
                    <a:lnTo>
                      <a:pt x="255" y="712"/>
                    </a:lnTo>
                    <a:lnTo>
                      <a:pt x="255" y="710"/>
                    </a:lnTo>
                    <a:lnTo>
                      <a:pt x="255" y="708"/>
                    </a:lnTo>
                    <a:lnTo>
                      <a:pt x="255" y="707"/>
                    </a:lnTo>
                    <a:lnTo>
                      <a:pt x="255" y="705"/>
                    </a:lnTo>
                    <a:lnTo>
                      <a:pt x="255" y="704"/>
                    </a:lnTo>
                    <a:lnTo>
                      <a:pt x="254" y="702"/>
                    </a:lnTo>
                    <a:lnTo>
                      <a:pt x="254" y="700"/>
                    </a:lnTo>
                    <a:lnTo>
                      <a:pt x="254" y="699"/>
                    </a:lnTo>
                    <a:lnTo>
                      <a:pt x="254" y="697"/>
                    </a:lnTo>
                    <a:lnTo>
                      <a:pt x="254" y="696"/>
                    </a:lnTo>
                    <a:lnTo>
                      <a:pt x="254" y="694"/>
                    </a:lnTo>
                    <a:lnTo>
                      <a:pt x="254" y="692"/>
                    </a:lnTo>
                    <a:lnTo>
                      <a:pt x="254" y="691"/>
                    </a:lnTo>
                    <a:lnTo>
                      <a:pt x="252" y="691"/>
                    </a:lnTo>
                    <a:lnTo>
                      <a:pt x="252" y="689"/>
                    </a:lnTo>
                    <a:lnTo>
                      <a:pt x="252" y="688"/>
                    </a:lnTo>
                    <a:lnTo>
                      <a:pt x="252" y="686"/>
                    </a:lnTo>
                    <a:lnTo>
                      <a:pt x="252" y="685"/>
                    </a:lnTo>
                    <a:lnTo>
                      <a:pt x="252" y="683"/>
                    </a:lnTo>
                    <a:lnTo>
                      <a:pt x="252" y="681"/>
                    </a:lnTo>
                    <a:lnTo>
                      <a:pt x="252" y="680"/>
                    </a:lnTo>
                    <a:lnTo>
                      <a:pt x="252" y="678"/>
                    </a:lnTo>
                    <a:lnTo>
                      <a:pt x="252" y="677"/>
                    </a:lnTo>
                    <a:lnTo>
                      <a:pt x="250" y="675"/>
                    </a:lnTo>
                    <a:lnTo>
                      <a:pt x="250" y="673"/>
                    </a:lnTo>
                    <a:lnTo>
                      <a:pt x="250" y="672"/>
                    </a:lnTo>
                    <a:lnTo>
                      <a:pt x="250" y="670"/>
                    </a:lnTo>
                    <a:lnTo>
                      <a:pt x="250" y="669"/>
                    </a:lnTo>
                    <a:lnTo>
                      <a:pt x="250" y="667"/>
                    </a:lnTo>
                    <a:lnTo>
                      <a:pt x="250" y="666"/>
                    </a:lnTo>
                    <a:lnTo>
                      <a:pt x="250" y="664"/>
                    </a:lnTo>
                    <a:lnTo>
                      <a:pt x="252" y="662"/>
                    </a:lnTo>
                    <a:lnTo>
                      <a:pt x="252" y="661"/>
                    </a:lnTo>
                    <a:lnTo>
                      <a:pt x="252" y="659"/>
                    </a:lnTo>
                    <a:lnTo>
                      <a:pt x="252" y="658"/>
                    </a:lnTo>
                    <a:lnTo>
                      <a:pt x="252" y="656"/>
                    </a:lnTo>
                    <a:lnTo>
                      <a:pt x="252" y="654"/>
                    </a:lnTo>
                    <a:lnTo>
                      <a:pt x="219" y="631"/>
                    </a:lnTo>
                    <a:lnTo>
                      <a:pt x="192" y="631"/>
                    </a:lnTo>
                    <a:lnTo>
                      <a:pt x="182" y="631"/>
                    </a:lnTo>
                    <a:lnTo>
                      <a:pt x="182" y="629"/>
                    </a:lnTo>
                    <a:lnTo>
                      <a:pt x="181" y="629"/>
                    </a:lnTo>
                    <a:lnTo>
                      <a:pt x="179" y="629"/>
                    </a:lnTo>
                    <a:lnTo>
                      <a:pt x="179" y="628"/>
                    </a:lnTo>
                    <a:lnTo>
                      <a:pt x="178" y="628"/>
                    </a:lnTo>
                    <a:lnTo>
                      <a:pt x="178" y="626"/>
                    </a:lnTo>
                    <a:lnTo>
                      <a:pt x="176" y="626"/>
                    </a:lnTo>
                    <a:lnTo>
                      <a:pt x="176" y="624"/>
                    </a:lnTo>
                    <a:lnTo>
                      <a:pt x="176" y="623"/>
                    </a:lnTo>
                    <a:lnTo>
                      <a:pt x="174" y="621"/>
                    </a:lnTo>
                    <a:lnTo>
                      <a:pt x="173" y="620"/>
                    </a:lnTo>
                    <a:lnTo>
                      <a:pt x="171" y="620"/>
                    </a:lnTo>
                    <a:lnTo>
                      <a:pt x="170" y="620"/>
                    </a:lnTo>
                    <a:lnTo>
                      <a:pt x="168" y="620"/>
                    </a:lnTo>
                    <a:lnTo>
                      <a:pt x="166" y="620"/>
                    </a:lnTo>
                    <a:lnTo>
                      <a:pt x="166" y="618"/>
                    </a:lnTo>
                    <a:lnTo>
                      <a:pt x="165" y="618"/>
                    </a:lnTo>
                    <a:lnTo>
                      <a:pt x="163" y="618"/>
                    </a:lnTo>
                    <a:lnTo>
                      <a:pt x="163" y="620"/>
                    </a:lnTo>
                    <a:lnTo>
                      <a:pt x="162" y="620"/>
                    </a:lnTo>
                    <a:lnTo>
                      <a:pt x="162" y="621"/>
                    </a:lnTo>
                    <a:lnTo>
                      <a:pt x="160" y="623"/>
                    </a:lnTo>
                    <a:lnTo>
                      <a:pt x="160" y="624"/>
                    </a:lnTo>
                    <a:lnTo>
                      <a:pt x="160" y="626"/>
                    </a:lnTo>
                    <a:lnTo>
                      <a:pt x="159" y="628"/>
                    </a:lnTo>
                    <a:lnTo>
                      <a:pt x="159" y="629"/>
                    </a:lnTo>
                    <a:lnTo>
                      <a:pt x="157" y="629"/>
                    </a:lnTo>
                    <a:lnTo>
                      <a:pt x="155" y="631"/>
                    </a:lnTo>
                    <a:lnTo>
                      <a:pt x="154" y="631"/>
                    </a:lnTo>
                    <a:lnTo>
                      <a:pt x="154" y="632"/>
                    </a:lnTo>
                    <a:lnTo>
                      <a:pt x="152" y="632"/>
                    </a:lnTo>
                    <a:lnTo>
                      <a:pt x="152" y="634"/>
                    </a:lnTo>
                    <a:lnTo>
                      <a:pt x="152" y="635"/>
                    </a:lnTo>
                    <a:lnTo>
                      <a:pt x="151" y="637"/>
                    </a:lnTo>
                    <a:lnTo>
                      <a:pt x="151" y="639"/>
                    </a:lnTo>
                    <a:lnTo>
                      <a:pt x="149" y="640"/>
                    </a:lnTo>
                    <a:lnTo>
                      <a:pt x="151" y="642"/>
                    </a:lnTo>
                    <a:lnTo>
                      <a:pt x="151" y="643"/>
                    </a:lnTo>
                    <a:lnTo>
                      <a:pt x="151" y="645"/>
                    </a:lnTo>
                    <a:lnTo>
                      <a:pt x="149" y="645"/>
                    </a:lnTo>
                    <a:lnTo>
                      <a:pt x="147" y="647"/>
                    </a:lnTo>
                    <a:lnTo>
                      <a:pt x="146" y="647"/>
                    </a:lnTo>
                    <a:lnTo>
                      <a:pt x="146" y="648"/>
                    </a:lnTo>
                    <a:lnTo>
                      <a:pt x="146" y="650"/>
                    </a:lnTo>
                    <a:lnTo>
                      <a:pt x="146" y="651"/>
                    </a:lnTo>
                    <a:lnTo>
                      <a:pt x="146" y="653"/>
                    </a:lnTo>
                    <a:lnTo>
                      <a:pt x="147" y="654"/>
                    </a:lnTo>
                    <a:lnTo>
                      <a:pt x="149" y="656"/>
                    </a:lnTo>
                    <a:lnTo>
                      <a:pt x="151" y="656"/>
                    </a:lnTo>
                    <a:lnTo>
                      <a:pt x="152" y="656"/>
                    </a:lnTo>
                    <a:lnTo>
                      <a:pt x="152" y="658"/>
                    </a:lnTo>
                    <a:lnTo>
                      <a:pt x="154" y="658"/>
                    </a:lnTo>
                    <a:lnTo>
                      <a:pt x="155" y="658"/>
                    </a:lnTo>
                    <a:lnTo>
                      <a:pt x="155" y="659"/>
                    </a:lnTo>
                    <a:lnTo>
                      <a:pt x="157" y="659"/>
                    </a:lnTo>
                    <a:lnTo>
                      <a:pt x="157" y="661"/>
                    </a:lnTo>
                    <a:lnTo>
                      <a:pt x="155" y="661"/>
                    </a:lnTo>
                    <a:lnTo>
                      <a:pt x="155" y="662"/>
                    </a:lnTo>
                    <a:lnTo>
                      <a:pt x="157" y="664"/>
                    </a:lnTo>
                    <a:lnTo>
                      <a:pt x="157" y="666"/>
                    </a:lnTo>
                    <a:lnTo>
                      <a:pt x="157" y="667"/>
                    </a:lnTo>
                    <a:lnTo>
                      <a:pt x="159" y="667"/>
                    </a:lnTo>
                    <a:lnTo>
                      <a:pt x="159" y="669"/>
                    </a:lnTo>
                    <a:lnTo>
                      <a:pt x="159" y="670"/>
                    </a:lnTo>
                    <a:lnTo>
                      <a:pt x="160" y="670"/>
                    </a:lnTo>
                    <a:lnTo>
                      <a:pt x="160" y="672"/>
                    </a:lnTo>
                    <a:lnTo>
                      <a:pt x="160" y="673"/>
                    </a:lnTo>
                    <a:lnTo>
                      <a:pt x="160" y="675"/>
                    </a:lnTo>
                    <a:lnTo>
                      <a:pt x="162" y="677"/>
                    </a:lnTo>
                    <a:lnTo>
                      <a:pt x="162" y="678"/>
                    </a:lnTo>
                    <a:lnTo>
                      <a:pt x="160" y="680"/>
                    </a:lnTo>
                    <a:lnTo>
                      <a:pt x="160" y="681"/>
                    </a:lnTo>
                    <a:lnTo>
                      <a:pt x="159" y="681"/>
                    </a:lnTo>
                    <a:lnTo>
                      <a:pt x="159" y="683"/>
                    </a:lnTo>
                    <a:lnTo>
                      <a:pt x="157" y="685"/>
                    </a:lnTo>
                    <a:lnTo>
                      <a:pt x="157" y="686"/>
                    </a:lnTo>
                    <a:lnTo>
                      <a:pt x="155" y="686"/>
                    </a:lnTo>
                    <a:lnTo>
                      <a:pt x="154" y="688"/>
                    </a:lnTo>
                    <a:lnTo>
                      <a:pt x="152" y="688"/>
                    </a:lnTo>
                    <a:lnTo>
                      <a:pt x="151" y="688"/>
                    </a:lnTo>
                    <a:lnTo>
                      <a:pt x="149" y="688"/>
                    </a:lnTo>
                    <a:lnTo>
                      <a:pt x="147" y="688"/>
                    </a:lnTo>
                    <a:lnTo>
                      <a:pt x="146" y="688"/>
                    </a:lnTo>
                    <a:lnTo>
                      <a:pt x="146" y="686"/>
                    </a:lnTo>
                    <a:lnTo>
                      <a:pt x="144" y="686"/>
                    </a:lnTo>
                    <a:lnTo>
                      <a:pt x="143" y="686"/>
                    </a:lnTo>
                    <a:lnTo>
                      <a:pt x="141" y="686"/>
                    </a:lnTo>
                    <a:lnTo>
                      <a:pt x="140" y="686"/>
                    </a:lnTo>
                    <a:lnTo>
                      <a:pt x="138" y="686"/>
                    </a:lnTo>
                    <a:lnTo>
                      <a:pt x="136" y="686"/>
                    </a:lnTo>
                    <a:lnTo>
                      <a:pt x="135" y="686"/>
                    </a:lnTo>
                    <a:lnTo>
                      <a:pt x="133" y="686"/>
                    </a:lnTo>
                    <a:lnTo>
                      <a:pt x="132" y="686"/>
                    </a:lnTo>
                    <a:lnTo>
                      <a:pt x="130" y="686"/>
                    </a:lnTo>
                    <a:lnTo>
                      <a:pt x="128" y="686"/>
                    </a:lnTo>
                    <a:lnTo>
                      <a:pt x="127" y="686"/>
                    </a:lnTo>
                    <a:lnTo>
                      <a:pt x="127" y="685"/>
                    </a:lnTo>
                    <a:lnTo>
                      <a:pt x="125" y="685"/>
                    </a:lnTo>
                    <a:lnTo>
                      <a:pt x="124" y="685"/>
                    </a:lnTo>
                    <a:lnTo>
                      <a:pt x="122" y="685"/>
                    </a:lnTo>
                    <a:lnTo>
                      <a:pt x="121" y="685"/>
                    </a:lnTo>
                    <a:lnTo>
                      <a:pt x="121" y="683"/>
                    </a:lnTo>
                    <a:lnTo>
                      <a:pt x="119" y="683"/>
                    </a:lnTo>
                    <a:lnTo>
                      <a:pt x="117" y="683"/>
                    </a:lnTo>
                    <a:lnTo>
                      <a:pt x="116" y="683"/>
                    </a:lnTo>
                    <a:lnTo>
                      <a:pt x="114" y="683"/>
                    </a:lnTo>
                    <a:lnTo>
                      <a:pt x="113" y="685"/>
                    </a:lnTo>
                    <a:lnTo>
                      <a:pt x="111" y="685"/>
                    </a:lnTo>
                    <a:lnTo>
                      <a:pt x="109" y="685"/>
                    </a:lnTo>
                    <a:lnTo>
                      <a:pt x="108" y="685"/>
                    </a:lnTo>
                    <a:lnTo>
                      <a:pt x="106" y="685"/>
                    </a:lnTo>
                    <a:lnTo>
                      <a:pt x="105" y="685"/>
                    </a:lnTo>
                    <a:lnTo>
                      <a:pt x="103" y="686"/>
                    </a:lnTo>
                    <a:lnTo>
                      <a:pt x="102" y="686"/>
                    </a:lnTo>
                    <a:lnTo>
                      <a:pt x="100" y="686"/>
                    </a:lnTo>
                    <a:lnTo>
                      <a:pt x="98" y="686"/>
                    </a:lnTo>
                    <a:lnTo>
                      <a:pt x="97" y="686"/>
                    </a:lnTo>
                    <a:lnTo>
                      <a:pt x="95" y="688"/>
                    </a:lnTo>
                    <a:lnTo>
                      <a:pt x="94" y="688"/>
                    </a:lnTo>
                    <a:lnTo>
                      <a:pt x="92" y="688"/>
                    </a:lnTo>
                    <a:lnTo>
                      <a:pt x="90" y="688"/>
                    </a:lnTo>
                    <a:lnTo>
                      <a:pt x="90" y="689"/>
                    </a:lnTo>
                    <a:lnTo>
                      <a:pt x="89" y="691"/>
                    </a:lnTo>
                    <a:lnTo>
                      <a:pt x="89" y="692"/>
                    </a:lnTo>
                    <a:lnTo>
                      <a:pt x="87" y="694"/>
                    </a:lnTo>
                    <a:lnTo>
                      <a:pt x="87" y="696"/>
                    </a:lnTo>
                    <a:lnTo>
                      <a:pt x="86" y="697"/>
                    </a:lnTo>
                    <a:lnTo>
                      <a:pt x="86" y="699"/>
                    </a:lnTo>
                    <a:lnTo>
                      <a:pt x="84" y="700"/>
                    </a:lnTo>
                    <a:lnTo>
                      <a:pt x="84" y="702"/>
                    </a:lnTo>
                    <a:lnTo>
                      <a:pt x="84" y="704"/>
                    </a:lnTo>
                    <a:lnTo>
                      <a:pt x="83" y="705"/>
                    </a:lnTo>
                    <a:lnTo>
                      <a:pt x="83" y="707"/>
                    </a:lnTo>
                    <a:lnTo>
                      <a:pt x="83" y="708"/>
                    </a:lnTo>
                    <a:lnTo>
                      <a:pt x="81" y="710"/>
                    </a:lnTo>
                    <a:lnTo>
                      <a:pt x="81" y="712"/>
                    </a:lnTo>
                    <a:lnTo>
                      <a:pt x="81" y="713"/>
                    </a:lnTo>
                    <a:lnTo>
                      <a:pt x="79" y="715"/>
                    </a:lnTo>
                    <a:lnTo>
                      <a:pt x="79" y="716"/>
                    </a:lnTo>
                    <a:lnTo>
                      <a:pt x="79" y="718"/>
                    </a:lnTo>
                    <a:lnTo>
                      <a:pt x="78" y="719"/>
                    </a:lnTo>
                    <a:lnTo>
                      <a:pt x="78" y="721"/>
                    </a:lnTo>
                    <a:lnTo>
                      <a:pt x="76" y="721"/>
                    </a:lnTo>
                    <a:lnTo>
                      <a:pt x="76" y="723"/>
                    </a:lnTo>
                    <a:lnTo>
                      <a:pt x="75" y="723"/>
                    </a:lnTo>
                    <a:lnTo>
                      <a:pt x="75" y="721"/>
                    </a:lnTo>
                    <a:lnTo>
                      <a:pt x="73" y="721"/>
                    </a:lnTo>
                    <a:lnTo>
                      <a:pt x="73" y="719"/>
                    </a:lnTo>
                    <a:lnTo>
                      <a:pt x="73" y="718"/>
                    </a:lnTo>
                    <a:lnTo>
                      <a:pt x="73" y="716"/>
                    </a:lnTo>
                    <a:lnTo>
                      <a:pt x="71" y="716"/>
                    </a:lnTo>
                    <a:lnTo>
                      <a:pt x="71" y="715"/>
                    </a:lnTo>
                    <a:lnTo>
                      <a:pt x="71" y="713"/>
                    </a:lnTo>
                    <a:lnTo>
                      <a:pt x="70" y="713"/>
                    </a:lnTo>
                    <a:lnTo>
                      <a:pt x="68" y="712"/>
                    </a:lnTo>
                    <a:lnTo>
                      <a:pt x="67" y="710"/>
                    </a:lnTo>
                    <a:lnTo>
                      <a:pt x="67" y="708"/>
                    </a:lnTo>
                    <a:lnTo>
                      <a:pt x="65" y="708"/>
                    </a:lnTo>
                    <a:lnTo>
                      <a:pt x="65" y="707"/>
                    </a:lnTo>
                    <a:lnTo>
                      <a:pt x="65" y="705"/>
                    </a:lnTo>
                    <a:lnTo>
                      <a:pt x="64" y="705"/>
                    </a:lnTo>
                    <a:lnTo>
                      <a:pt x="64" y="704"/>
                    </a:lnTo>
                    <a:lnTo>
                      <a:pt x="62" y="704"/>
                    </a:lnTo>
                    <a:lnTo>
                      <a:pt x="62" y="702"/>
                    </a:lnTo>
                    <a:lnTo>
                      <a:pt x="62" y="700"/>
                    </a:lnTo>
                    <a:lnTo>
                      <a:pt x="60" y="700"/>
                    </a:lnTo>
                    <a:lnTo>
                      <a:pt x="60" y="699"/>
                    </a:lnTo>
                    <a:lnTo>
                      <a:pt x="59" y="699"/>
                    </a:lnTo>
                    <a:lnTo>
                      <a:pt x="59" y="697"/>
                    </a:lnTo>
                    <a:lnTo>
                      <a:pt x="57" y="696"/>
                    </a:lnTo>
                    <a:lnTo>
                      <a:pt x="57" y="694"/>
                    </a:lnTo>
                    <a:lnTo>
                      <a:pt x="57" y="692"/>
                    </a:lnTo>
                    <a:lnTo>
                      <a:pt x="56" y="691"/>
                    </a:lnTo>
                    <a:lnTo>
                      <a:pt x="56" y="689"/>
                    </a:lnTo>
                    <a:lnTo>
                      <a:pt x="57" y="689"/>
                    </a:lnTo>
                    <a:lnTo>
                      <a:pt x="57" y="688"/>
                    </a:lnTo>
                    <a:lnTo>
                      <a:pt x="57" y="686"/>
                    </a:lnTo>
                    <a:lnTo>
                      <a:pt x="59" y="686"/>
                    </a:lnTo>
                    <a:lnTo>
                      <a:pt x="59" y="685"/>
                    </a:lnTo>
                    <a:lnTo>
                      <a:pt x="57" y="685"/>
                    </a:lnTo>
                    <a:lnTo>
                      <a:pt x="57" y="683"/>
                    </a:lnTo>
                    <a:lnTo>
                      <a:pt x="57" y="681"/>
                    </a:lnTo>
                    <a:lnTo>
                      <a:pt x="56" y="683"/>
                    </a:lnTo>
                    <a:lnTo>
                      <a:pt x="54" y="683"/>
                    </a:lnTo>
                    <a:lnTo>
                      <a:pt x="52" y="683"/>
                    </a:lnTo>
                    <a:lnTo>
                      <a:pt x="52" y="681"/>
                    </a:lnTo>
                    <a:lnTo>
                      <a:pt x="52" y="680"/>
                    </a:lnTo>
                    <a:lnTo>
                      <a:pt x="52" y="678"/>
                    </a:lnTo>
                    <a:lnTo>
                      <a:pt x="51" y="677"/>
                    </a:lnTo>
                    <a:lnTo>
                      <a:pt x="52" y="675"/>
                    </a:lnTo>
                    <a:lnTo>
                      <a:pt x="52" y="673"/>
                    </a:lnTo>
                    <a:lnTo>
                      <a:pt x="52" y="672"/>
                    </a:lnTo>
                    <a:lnTo>
                      <a:pt x="51" y="672"/>
                    </a:lnTo>
                    <a:lnTo>
                      <a:pt x="51" y="670"/>
                    </a:lnTo>
                    <a:lnTo>
                      <a:pt x="51" y="669"/>
                    </a:lnTo>
                    <a:lnTo>
                      <a:pt x="51" y="667"/>
                    </a:lnTo>
                    <a:lnTo>
                      <a:pt x="51" y="666"/>
                    </a:lnTo>
                    <a:lnTo>
                      <a:pt x="52" y="664"/>
                    </a:lnTo>
                    <a:lnTo>
                      <a:pt x="51" y="664"/>
                    </a:lnTo>
                    <a:lnTo>
                      <a:pt x="51" y="662"/>
                    </a:lnTo>
                    <a:lnTo>
                      <a:pt x="49" y="662"/>
                    </a:lnTo>
                    <a:lnTo>
                      <a:pt x="49" y="661"/>
                    </a:lnTo>
                    <a:lnTo>
                      <a:pt x="49" y="659"/>
                    </a:lnTo>
                    <a:lnTo>
                      <a:pt x="49" y="658"/>
                    </a:lnTo>
                    <a:lnTo>
                      <a:pt x="48" y="658"/>
                    </a:lnTo>
                    <a:lnTo>
                      <a:pt x="48" y="656"/>
                    </a:lnTo>
                    <a:lnTo>
                      <a:pt x="46" y="656"/>
                    </a:lnTo>
                    <a:lnTo>
                      <a:pt x="46" y="654"/>
                    </a:lnTo>
                    <a:lnTo>
                      <a:pt x="46" y="653"/>
                    </a:lnTo>
                    <a:lnTo>
                      <a:pt x="46" y="651"/>
                    </a:lnTo>
                    <a:lnTo>
                      <a:pt x="46" y="650"/>
                    </a:lnTo>
                    <a:lnTo>
                      <a:pt x="48" y="650"/>
                    </a:lnTo>
                    <a:lnTo>
                      <a:pt x="48" y="648"/>
                    </a:lnTo>
                    <a:lnTo>
                      <a:pt x="48" y="647"/>
                    </a:lnTo>
                    <a:lnTo>
                      <a:pt x="48" y="645"/>
                    </a:lnTo>
                    <a:lnTo>
                      <a:pt x="49" y="645"/>
                    </a:lnTo>
                    <a:lnTo>
                      <a:pt x="49" y="643"/>
                    </a:lnTo>
                    <a:lnTo>
                      <a:pt x="51" y="642"/>
                    </a:lnTo>
                    <a:lnTo>
                      <a:pt x="51" y="640"/>
                    </a:lnTo>
                    <a:lnTo>
                      <a:pt x="51" y="639"/>
                    </a:lnTo>
                    <a:lnTo>
                      <a:pt x="51" y="637"/>
                    </a:lnTo>
                    <a:lnTo>
                      <a:pt x="51" y="635"/>
                    </a:lnTo>
                    <a:lnTo>
                      <a:pt x="51" y="634"/>
                    </a:lnTo>
                    <a:lnTo>
                      <a:pt x="52" y="632"/>
                    </a:lnTo>
                    <a:lnTo>
                      <a:pt x="52" y="631"/>
                    </a:lnTo>
                    <a:lnTo>
                      <a:pt x="52" y="629"/>
                    </a:lnTo>
                    <a:lnTo>
                      <a:pt x="52" y="628"/>
                    </a:lnTo>
                    <a:lnTo>
                      <a:pt x="54" y="628"/>
                    </a:lnTo>
                    <a:lnTo>
                      <a:pt x="56" y="628"/>
                    </a:lnTo>
                    <a:lnTo>
                      <a:pt x="56" y="626"/>
                    </a:lnTo>
                    <a:lnTo>
                      <a:pt x="56" y="624"/>
                    </a:lnTo>
                    <a:lnTo>
                      <a:pt x="56" y="623"/>
                    </a:lnTo>
                    <a:lnTo>
                      <a:pt x="56" y="621"/>
                    </a:lnTo>
                    <a:lnTo>
                      <a:pt x="56" y="620"/>
                    </a:lnTo>
                    <a:lnTo>
                      <a:pt x="57" y="621"/>
                    </a:lnTo>
                    <a:lnTo>
                      <a:pt x="59" y="621"/>
                    </a:lnTo>
                    <a:lnTo>
                      <a:pt x="59" y="620"/>
                    </a:lnTo>
                    <a:lnTo>
                      <a:pt x="60" y="618"/>
                    </a:lnTo>
                    <a:lnTo>
                      <a:pt x="60" y="616"/>
                    </a:lnTo>
                    <a:lnTo>
                      <a:pt x="62" y="616"/>
                    </a:lnTo>
                    <a:lnTo>
                      <a:pt x="62" y="615"/>
                    </a:lnTo>
                    <a:lnTo>
                      <a:pt x="62" y="613"/>
                    </a:lnTo>
                    <a:lnTo>
                      <a:pt x="64" y="613"/>
                    </a:lnTo>
                    <a:lnTo>
                      <a:pt x="62" y="612"/>
                    </a:lnTo>
                    <a:lnTo>
                      <a:pt x="60" y="612"/>
                    </a:lnTo>
                    <a:lnTo>
                      <a:pt x="60" y="610"/>
                    </a:lnTo>
                    <a:lnTo>
                      <a:pt x="62" y="610"/>
                    </a:lnTo>
                    <a:lnTo>
                      <a:pt x="62" y="609"/>
                    </a:lnTo>
                    <a:lnTo>
                      <a:pt x="60" y="609"/>
                    </a:lnTo>
                    <a:lnTo>
                      <a:pt x="60" y="607"/>
                    </a:lnTo>
                    <a:lnTo>
                      <a:pt x="62" y="607"/>
                    </a:lnTo>
                    <a:lnTo>
                      <a:pt x="62" y="605"/>
                    </a:lnTo>
                    <a:lnTo>
                      <a:pt x="62" y="604"/>
                    </a:lnTo>
                    <a:lnTo>
                      <a:pt x="62" y="602"/>
                    </a:lnTo>
                    <a:lnTo>
                      <a:pt x="60" y="602"/>
                    </a:lnTo>
                    <a:lnTo>
                      <a:pt x="62" y="601"/>
                    </a:lnTo>
                    <a:lnTo>
                      <a:pt x="62" y="599"/>
                    </a:lnTo>
                    <a:lnTo>
                      <a:pt x="62" y="597"/>
                    </a:lnTo>
                    <a:lnTo>
                      <a:pt x="62" y="596"/>
                    </a:lnTo>
                    <a:lnTo>
                      <a:pt x="60" y="596"/>
                    </a:lnTo>
                    <a:lnTo>
                      <a:pt x="60" y="594"/>
                    </a:lnTo>
                    <a:lnTo>
                      <a:pt x="62" y="594"/>
                    </a:lnTo>
                    <a:lnTo>
                      <a:pt x="60" y="593"/>
                    </a:lnTo>
                    <a:lnTo>
                      <a:pt x="60" y="591"/>
                    </a:lnTo>
                    <a:lnTo>
                      <a:pt x="59" y="591"/>
                    </a:lnTo>
                    <a:lnTo>
                      <a:pt x="59" y="590"/>
                    </a:lnTo>
                    <a:lnTo>
                      <a:pt x="59" y="588"/>
                    </a:lnTo>
                    <a:lnTo>
                      <a:pt x="59" y="586"/>
                    </a:lnTo>
                    <a:lnTo>
                      <a:pt x="59" y="585"/>
                    </a:lnTo>
                    <a:lnTo>
                      <a:pt x="57" y="585"/>
                    </a:lnTo>
                    <a:lnTo>
                      <a:pt x="57" y="583"/>
                    </a:lnTo>
                    <a:lnTo>
                      <a:pt x="57" y="582"/>
                    </a:lnTo>
                    <a:lnTo>
                      <a:pt x="57" y="580"/>
                    </a:lnTo>
                    <a:lnTo>
                      <a:pt x="56" y="578"/>
                    </a:lnTo>
                    <a:lnTo>
                      <a:pt x="56" y="577"/>
                    </a:lnTo>
                    <a:lnTo>
                      <a:pt x="54" y="577"/>
                    </a:lnTo>
                    <a:lnTo>
                      <a:pt x="54" y="575"/>
                    </a:lnTo>
                    <a:lnTo>
                      <a:pt x="54" y="574"/>
                    </a:lnTo>
                    <a:lnTo>
                      <a:pt x="54" y="572"/>
                    </a:lnTo>
                    <a:lnTo>
                      <a:pt x="54" y="571"/>
                    </a:lnTo>
                    <a:lnTo>
                      <a:pt x="54" y="569"/>
                    </a:lnTo>
                    <a:lnTo>
                      <a:pt x="52" y="569"/>
                    </a:lnTo>
                    <a:lnTo>
                      <a:pt x="54" y="569"/>
                    </a:lnTo>
                    <a:lnTo>
                      <a:pt x="54" y="567"/>
                    </a:lnTo>
                    <a:lnTo>
                      <a:pt x="54" y="566"/>
                    </a:lnTo>
                    <a:lnTo>
                      <a:pt x="54" y="564"/>
                    </a:lnTo>
                    <a:lnTo>
                      <a:pt x="54" y="563"/>
                    </a:lnTo>
                    <a:lnTo>
                      <a:pt x="52" y="563"/>
                    </a:lnTo>
                    <a:lnTo>
                      <a:pt x="52" y="561"/>
                    </a:lnTo>
                    <a:lnTo>
                      <a:pt x="51" y="559"/>
                    </a:lnTo>
                    <a:lnTo>
                      <a:pt x="51" y="558"/>
                    </a:lnTo>
                    <a:lnTo>
                      <a:pt x="51" y="556"/>
                    </a:lnTo>
                    <a:lnTo>
                      <a:pt x="52" y="556"/>
                    </a:lnTo>
                    <a:lnTo>
                      <a:pt x="52" y="555"/>
                    </a:lnTo>
                    <a:lnTo>
                      <a:pt x="51" y="555"/>
                    </a:lnTo>
                    <a:lnTo>
                      <a:pt x="51" y="553"/>
                    </a:lnTo>
                    <a:lnTo>
                      <a:pt x="49" y="552"/>
                    </a:lnTo>
                    <a:lnTo>
                      <a:pt x="49" y="550"/>
                    </a:lnTo>
                    <a:lnTo>
                      <a:pt x="48" y="550"/>
                    </a:lnTo>
                    <a:lnTo>
                      <a:pt x="48" y="548"/>
                    </a:lnTo>
                    <a:lnTo>
                      <a:pt x="46" y="548"/>
                    </a:lnTo>
                    <a:lnTo>
                      <a:pt x="46" y="547"/>
                    </a:lnTo>
                    <a:lnTo>
                      <a:pt x="45" y="547"/>
                    </a:lnTo>
                    <a:lnTo>
                      <a:pt x="45" y="545"/>
                    </a:lnTo>
                    <a:lnTo>
                      <a:pt x="45" y="544"/>
                    </a:lnTo>
                    <a:lnTo>
                      <a:pt x="43" y="542"/>
                    </a:lnTo>
                    <a:lnTo>
                      <a:pt x="41" y="540"/>
                    </a:lnTo>
                    <a:lnTo>
                      <a:pt x="41" y="539"/>
                    </a:lnTo>
                    <a:lnTo>
                      <a:pt x="41" y="537"/>
                    </a:lnTo>
                    <a:lnTo>
                      <a:pt x="41" y="536"/>
                    </a:lnTo>
                    <a:lnTo>
                      <a:pt x="41" y="534"/>
                    </a:lnTo>
                    <a:lnTo>
                      <a:pt x="41" y="533"/>
                    </a:lnTo>
                    <a:lnTo>
                      <a:pt x="40" y="531"/>
                    </a:lnTo>
                    <a:lnTo>
                      <a:pt x="38" y="529"/>
                    </a:lnTo>
                    <a:lnTo>
                      <a:pt x="38" y="528"/>
                    </a:lnTo>
                    <a:lnTo>
                      <a:pt x="37" y="528"/>
                    </a:lnTo>
                    <a:lnTo>
                      <a:pt x="37" y="526"/>
                    </a:lnTo>
                    <a:lnTo>
                      <a:pt x="35" y="526"/>
                    </a:lnTo>
                    <a:lnTo>
                      <a:pt x="35" y="525"/>
                    </a:lnTo>
                    <a:lnTo>
                      <a:pt x="33" y="525"/>
                    </a:lnTo>
                    <a:lnTo>
                      <a:pt x="32" y="523"/>
                    </a:lnTo>
                    <a:lnTo>
                      <a:pt x="30" y="521"/>
                    </a:lnTo>
                    <a:lnTo>
                      <a:pt x="29" y="521"/>
                    </a:lnTo>
                    <a:lnTo>
                      <a:pt x="29" y="520"/>
                    </a:lnTo>
                    <a:lnTo>
                      <a:pt x="27" y="518"/>
                    </a:lnTo>
                    <a:lnTo>
                      <a:pt x="25" y="518"/>
                    </a:lnTo>
                    <a:lnTo>
                      <a:pt x="25" y="517"/>
                    </a:lnTo>
                    <a:lnTo>
                      <a:pt x="24" y="517"/>
                    </a:lnTo>
                    <a:lnTo>
                      <a:pt x="24" y="515"/>
                    </a:lnTo>
                    <a:lnTo>
                      <a:pt x="22" y="515"/>
                    </a:lnTo>
                    <a:lnTo>
                      <a:pt x="22" y="514"/>
                    </a:lnTo>
                    <a:lnTo>
                      <a:pt x="21" y="514"/>
                    </a:lnTo>
                    <a:lnTo>
                      <a:pt x="21" y="512"/>
                    </a:lnTo>
                    <a:lnTo>
                      <a:pt x="19" y="512"/>
                    </a:lnTo>
                    <a:lnTo>
                      <a:pt x="19" y="510"/>
                    </a:lnTo>
                    <a:lnTo>
                      <a:pt x="18" y="510"/>
                    </a:lnTo>
                    <a:lnTo>
                      <a:pt x="18" y="509"/>
                    </a:lnTo>
                    <a:lnTo>
                      <a:pt x="16" y="509"/>
                    </a:lnTo>
                    <a:lnTo>
                      <a:pt x="16" y="507"/>
                    </a:lnTo>
                    <a:lnTo>
                      <a:pt x="14" y="506"/>
                    </a:lnTo>
                    <a:lnTo>
                      <a:pt x="13" y="504"/>
                    </a:lnTo>
                    <a:lnTo>
                      <a:pt x="13" y="502"/>
                    </a:lnTo>
                    <a:lnTo>
                      <a:pt x="11" y="502"/>
                    </a:lnTo>
                    <a:lnTo>
                      <a:pt x="13" y="502"/>
                    </a:lnTo>
                    <a:lnTo>
                      <a:pt x="13" y="501"/>
                    </a:lnTo>
                    <a:lnTo>
                      <a:pt x="11" y="499"/>
                    </a:lnTo>
                    <a:lnTo>
                      <a:pt x="13" y="499"/>
                    </a:lnTo>
                    <a:lnTo>
                      <a:pt x="13" y="498"/>
                    </a:lnTo>
                    <a:lnTo>
                      <a:pt x="11" y="498"/>
                    </a:lnTo>
                    <a:lnTo>
                      <a:pt x="11" y="496"/>
                    </a:lnTo>
                    <a:lnTo>
                      <a:pt x="11" y="494"/>
                    </a:lnTo>
                    <a:lnTo>
                      <a:pt x="11" y="493"/>
                    </a:lnTo>
                    <a:lnTo>
                      <a:pt x="11" y="491"/>
                    </a:lnTo>
                    <a:lnTo>
                      <a:pt x="10" y="490"/>
                    </a:lnTo>
                    <a:lnTo>
                      <a:pt x="10" y="488"/>
                    </a:lnTo>
                    <a:lnTo>
                      <a:pt x="8" y="488"/>
                    </a:lnTo>
                    <a:lnTo>
                      <a:pt x="8" y="487"/>
                    </a:lnTo>
                    <a:lnTo>
                      <a:pt x="8" y="485"/>
                    </a:lnTo>
                    <a:lnTo>
                      <a:pt x="8" y="483"/>
                    </a:lnTo>
                    <a:lnTo>
                      <a:pt x="8" y="482"/>
                    </a:lnTo>
                    <a:lnTo>
                      <a:pt x="8" y="480"/>
                    </a:lnTo>
                    <a:lnTo>
                      <a:pt x="10" y="480"/>
                    </a:lnTo>
                    <a:lnTo>
                      <a:pt x="10" y="479"/>
                    </a:lnTo>
                    <a:lnTo>
                      <a:pt x="10" y="477"/>
                    </a:lnTo>
                    <a:lnTo>
                      <a:pt x="8" y="477"/>
                    </a:lnTo>
                    <a:lnTo>
                      <a:pt x="8" y="475"/>
                    </a:lnTo>
                    <a:lnTo>
                      <a:pt x="8" y="474"/>
                    </a:lnTo>
                    <a:lnTo>
                      <a:pt x="8" y="472"/>
                    </a:lnTo>
                    <a:lnTo>
                      <a:pt x="8" y="471"/>
                    </a:lnTo>
                    <a:lnTo>
                      <a:pt x="10" y="471"/>
                    </a:lnTo>
                    <a:lnTo>
                      <a:pt x="8" y="469"/>
                    </a:lnTo>
                    <a:lnTo>
                      <a:pt x="8" y="468"/>
                    </a:lnTo>
                    <a:lnTo>
                      <a:pt x="8" y="466"/>
                    </a:lnTo>
                    <a:lnTo>
                      <a:pt x="6" y="464"/>
                    </a:lnTo>
                    <a:lnTo>
                      <a:pt x="8" y="464"/>
                    </a:lnTo>
                    <a:lnTo>
                      <a:pt x="8" y="463"/>
                    </a:lnTo>
                    <a:lnTo>
                      <a:pt x="8" y="461"/>
                    </a:lnTo>
                    <a:lnTo>
                      <a:pt x="8" y="460"/>
                    </a:lnTo>
                    <a:lnTo>
                      <a:pt x="8" y="458"/>
                    </a:lnTo>
                    <a:lnTo>
                      <a:pt x="8" y="456"/>
                    </a:lnTo>
                    <a:lnTo>
                      <a:pt x="8" y="455"/>
                    </a:lnTo>
                    <a:lnTo>
                      <a:pt x="8" y="453"/>
                    </a:lnTo>
                    <a:lnTo>
                      <a:pt x="6" y="453"/>
                    </a:lnTo>
                    <a:lnTo>
                      <a:pt x="6" y="452"/>
                    </a:lnTo>
                    <a:lnTo>
                      <a:pt x="5" y="452"/>
                    </a:lnTo>
                    <a:lnTo>
                      <a:pt x="5" y="450"/>
                    </a:lnTo>
                    <a:lnTo>
                      <a:pt x="3" y="450"/>
                    </a:lnTo>
                    <a:lnTo>
                      <a:pt x="3" y="449"/>
                    </a:lnTo>
                    <a:lnTo>
                      <a:pt x="3" y="447"/>
                    </a:lnTo>
                    <a:lnTo>
                      <a:pt x="3" y="445"/>
                    </a:lnTo>
                    <a:lnTo>
                      <a:pt x="5" y="445"/>
                    </a:lnTo>
                    <a:lnTo>
                      <a:pt x="5" y="444"/>
                    </a:lnTo>
                    <a:lnTo>
                      <a:pt x="6" y="442"/>
                    </a:lnTo>
                    <a:lnTo>
                      <a:pt x="6" y="441"/>
                    </a:lnTo>
                    <a:lnTo>
                      <a:pt x="6" y="439"/>
                    </a:lnTo>
                    <a:lnTo>
                      <a:pt x="6" y="437"/>
                    </a:lnTo>
                    <a:lnTo>
                      <a:pt x="8" y="436"/>
                    </a:lnTo>
                    <a:lnTo>
                      <a:pt x="8" y="434"/>
                    </a:lnTo>
                    <a:lnTo>
                      <a:pt x="6" y="433"/>
                    </a:lnTo>
                    <a:lnTo>
                      <a:pt x="6" y="431"/>
                    </a:lnTo>
                    <a:lnTo>
                      <a:pt x="5" y="431"/>
                    </a:lnTo>
                    <a:lnTo>
                      <a:pt x="5" y="430"/>
                    </a:lnTo>
                    <a:lnTo>
                      <a:pt x="3" y="428"/>
                    </a:lnTo>
                    <a:lnTo>
                      <a:pt x="3" y="426"/>
                    </a:lnTo>
                    <a:lnTo>
                      <a:pt x="2" y="425"/>
                    </a:lnTo>
                    <a:lnTo>
                      <a:pt x="0" y="423"/>
                    </a:lnTo>
                    <a:lnTo>
                      <a:pt x="0" y="422"/>
                    </a:lnTo>
                    <a:lnTo>
                      <a:pt x="0" y="418"/>
                    </a:lnTo>
                    <a:lnTo>
                      <a:pt x="2" y="418"/>
                    </a:lnTo>
                    <a:lnTo>
                      <a:pt x="2" y="417"/>
                    </a:lnTo>
                    <a:lnTo>
                      <a:pt x="3" y="414"/>
                    </a:lnTo>
                    <a:lnTo>
                      <a:pt x="3" y="412"/>
                    </a:lnTo>
                    <a:lnTo>
                      <a:pt x="3" y="411"/>
                    </a:lnTo>
                    <a:lnTo>
                      <a:pt x="3" y="409"/>
                    </a:lnTo>
                    <a:lnTo>
                      <a:pt x="5" y="407"/>
                    </a:lnTo>
                    <a:lnTo>
                      <a:pt x="6" y="407"/>
                    </a:lnTo>
                    <a:lnTo>
                      <a:pt x="6" y="406"/>
                    </a:lnTo>
                    <a:lnTo>
                      <a:pt x="8" y="406"/>
                    </a:lnTo>
                    <a:lnTo>
                      <a:pt x="8" y="404"/>
                    </a:lnTo>
                    <a:lnTo>
                      <a:pt x="8" y="403"/>
                    </a:lnTo>
                    <a:lnTo>
                      <a:pt x="10" y="403"/>
                    </a:lnTo>
                    <a:lnTo>
                      <a:pt x="10" y="401"/>
                    </a:lnTo>
                    <a:lnTo>
                      <a:pt x="11" y="401"/>
                    </a:lnTo>
                    <a:lnTo>
                      <a:pt x="11" y="399"/>
                    </a:lnTo>
                    <a:lnTo>
                      <a:pt x="13" y="398"/>
                    </a:lnTo>
                    <a:lnTo>
                      <a:pt x="11" y="396"/>
                    </a:lnTo>
                    <a:lnTo>
                      <a:pt x="10" y="395"/>
                    </a:lnTo>
                    <a:lnTo>
                      <a:pt x="10" y="393"/>
                    </a:lnTo>
                    <a:lnTo>
                      <a:pt x="10" y="392"/>
                    </a:lnTo>
                    <a:lnTo>
                      <a:pt x="8" y="392"/>
                    </a:lnTo>
                    <a:lnTo>
                      <a:pt x="8" y="390"/>
                    </a:lnTo>
                    <a:lnTo>
                      <a:pt x="8" y="388"/>
                    </a:lnTo>
                    <a:lnTo>
                      <a:pt x="6" y="387"/>
                    </a:lnTo>
                    <a:lnTo>
                      <a:pt x="6" y="385"/>
                    </a:lnTo>
                    <a:lnTo>
                      <a:pt x="6" y="384"/>
                    </a:lnTo>
                    <a:lnTo>
                      <a:pt x="6" y="382"/>
                    </a:lnTo>
                    <a:lnTo>
                      <a:pt x="8" y="380"/>
                    </a:lnTo>
                    <a:lnTo>
                      <a:pt x="10" y="380"/>
                    </a:lnTo>
                    <a:lnTo>
                      <a:pt x="11" y="379"/>
                    </a:lnTo>
                    <a:lnTo>
                      <a:pt x="13" y="379"/>
                    </a:lnTo>
                    <a:lnTo>
                      <a:pt x="14" y="379"/>
                    </a:lnTo>
                    <a:lnTo>
                      <a:pt x="14" y="377"/>
                    </a:lnTo>
                    <a:lnTo>
                      <a:pt x="16" y="377"/>
                    </a:lnTo>
                    <a:lnTo>
                      <a:pt x="18" y="377"/>
                    </a:lnTo>
                    <a:lnTo>
                      <a:pt x="18" y="376"/>
                    </a:lnTo>
                    <a:lnTo>
                      <a:pt x="19" y="376"/>
                    </a:lnTo>
                    <a:lnTo>
                      <a:pt x="21" y="376"/>
                    </a:lnTo>
                    <a:lnTo>
                      <a:pt x="21" y="374"/>
                    </a:lnTo>
                    <a:lnTo>
                      <a:pt x="22" y="374"/>
                    </a:lnTo>
                    <a:lnTo>
                      <a:pt x="22" y="373"/>
                    </a:lnTo>
                    <a:lnTo>
                      <a:pt x="24" y="373"/>
                    </a:lnTo>
                    <a:lnTo>
                      <a:pt x="25" y="371"/>
                    </a:lnTo>
                    <a:lnTo>
                      <a:pt x="27" y="369"/>
                    </a:lnTo>
                    <a:lnTo>
                      <a:pt x="29" y="369"/>
                    </a:lnTo>
                    <a:lnTo>
                      <a:pt x="29" y="368"/>
                    </a:lnTo>
                    <a:lnTo>
                      <a:pt x="30" y="368"/>
                    </a:lnTo>
                    <a:lnTo>
                      <a:pt x="30" y="366"/>
                    </a:lnTo>
                    <a:lnTo>
                      <a:pt x="32" y="366"/>
                    </a:lnTo>
                    <a:lnTo>
                      <a:pt x="32" y="365"/>
                    </a:lnTo>
                    <a:lnTo>
                      <a:pt x="33" y="365"/>
                    </a:lnTo>
                    <a:lnTo>
                      <a:pt x="33" y="363"/>
                    </a:lnTo>
                    <a:lnTo>
                      <a:pt x="35" y="363"/>
                    </a:lnTo>
                    <a:lnTo>
                      <a:pt x="37" y="361"/>
                    </a:lnTo>
                    <a:lnTo>
                      <a:pt x="38" y="361"/>
                    </a:lnTo>
                    <a:lnTo>
                      <a:pt x="38" y="360"/>
                    </a:lnTo>
                    <a:lnTo>
                      <a:pt x="40" y="360"/>
                    </a:lnTo>
                    <a:lnTo>
                      <a:pt x="40" y="358"/>
                    </a:lnTo>
                    <a:lnTo>
                      <a:pt x="41" y="358"/>
                    </a:lnTo>
                    <a:lnTo>
                      <a:pt x="41" y="357"/>
                    </a:lnTo>
                    <a:lnTo>
                      <a:pt x="43" y="357"/>
                    </a:lnTo>
                    <a:lnTo>
                      <a:pt x="43" y="355"/>
                    </a:lnTo>
                    <a:lnTo>
                      <a:pt x="45" y="355"/>
                    </a:lnTo>
                    <a:lnTo>
                      <a:pt x="46" y="355"/>
                    </a:lnTo>
                    <a:lnTo>
                      <a:pt x="48" y="354"/>
                    </a:lnTo>
                    <a:lnTo>
                      <a:pt x="49" y="354"/>
                    </a:lnTo>
                    <a:lnTo>
                      <a:pt x="51" y="354"/>
                    </a:lnTo>
                    <a:lnTo>
                      <a:pt x="52" y="354"/>
                    </a:lnTo>
                    <a:lnTo>
                      <a:pt x="52" y="352"/>
                    </a:lnTo>
                    <a:lnTo>
                      <a:pt x="54" y="352"/>
                    </a:lnTo>
                    <a:lnTo>
                      <a:pt x="56" y="352"/>
                    </a:lnTo>
                    <a:lnTo>
                      <a:pt x="57" y="352"/>
                    </a:lnTo>
                    <a:lnTo>
                      <a:pt x="59" y="352"/>
                    </a:lnTo>
                    <a:lnTo>
                      <a:pt x="60" y="352"/>
                    </a:lnTo>
                    <a:lnTo>
                      <a:pt x="62" y="350"/>
                    </a:lnTo>
                    <a:lnTo>
                      <a:pt x="64" y="350"/>
                    </a:lnTo>
                    <a:lnTo>
                      <a:pt x="65" y="350"/>
                    </a:lnTo>
                    <a:lnTo>
                      <a:pt x="67" y="350"/>
                    </a:lnTo>
                    <a:lnTo>
                      <a:pt x="68" y="350"/>
                    </a:lnTo>
                    <a:lnTo>
                      <a:pt x="70" y="350"/>
                    </a:lnTo>
                    <a:lnTo>
                      <a:pt x="71" y="350"/>
                    </a:lnTo>
                    <a:lnTo>
                      <a:pt x="73" y="350"/>
                    </a:lnTo>
                    <a:lnTo>
                      <a:pt x="75" y="352"/>
                    </a:lnTo>
                    <a:lnTo>
                      <a:pt x="76" y="352"/>
                    </a:lnTo>
                    <a:lnTo>
                      <a:pt x="78" y="354"/>
                    </a:lnTo>
                    <a:lnTo>
                      <a:pt x="79" y="354"/>
                    </a:lnTo>
                    <a:lnTo>
                      <a:pt x="81" y="355"/>
                    </a:lnTo>
                    <a:lnTo>
                      <a:pt x="81" y="357"/>
                    </a:lnTo>
                    <a:lnTo>
                      <a:pt x="83" y="357"/>
                    </a:lnTo>
                    <a:lnTo>
                      <a:pt x="83" y="358"/>
                    </a:lnTo>
                    <a:lnTo>
                      <a:pt x="83" y="360"/>
                    </a:lnTo>
                    <a:lnTo>
                      <a:pt x="84" y="361"/>
                    </a:lnTo>
                    <a:lnTo>
                      <a:pt x="83" y="363"/>
                    </a:lnTo>
                    <a:lnTo>
                      <a:pt x="83" y="365"/>
                    </a:lnTo>
                    <a:lnTo>
                      <a:pt x="84" y="366"/>
                    </a:lnTo>
                    <a:lnTo>
                      <a:pt x="86" y="366"/>
                    </a:lnTo>
                    <a:lnTo>
                      <a:pt x="87" y="368"/>
                    </a:lnTo>
                    <a:lnTo>
                      <a:pt x="87" y="369"/>
                    </a:lnTo>
                    <a:lnTo>
                      <a:pt x="89" y="369"/>
                    </a:lnTo>
                    <a:lnTo>
                      <a:pt x="92" y="373"/>
                    </a:lnTo>
                    <a:lnTo>
                      <a:pt x="94" y="373"/>
                    </a:lnTo>
                    <a:lnTo>
                      <a:pt x="95" y="374"/>
                    </a:lnTo>
                    <a:lnTo>
                      <a:pt x="95" y="376"/>
                    </a:lnTo>
                    <a:lnTo>
                      <a:pt x="97" y="376"/>
                    </a:lnTo>
                    <a:lnTo>
                      <a:pt x="98" y="376"/>
                    </a:lnTo>
                    <a:lnTo>
                      <a:pt x="100" y="374"/>
                    </a:lnTo>
                    <a:lnTo>
                      <a:pt x="100" y="373"/>
                    </a:lnTo>
                    <a:lnTo>
                      <a:pt x="103" y="365"/>
                    </a:lnTo>
                    <a:lnTo>
                      <a:pt x="105" y="361"/>
                    </a:lnTo>
                    <a:lnTo>
                      <a:pt x="105" y="360"/>
                    </a:lnTo>
                    <a:lnTo>
                      <a:pt x="105" y="358"/>
                    </a:lnTo>
                    <a:lnTo>
                      <a:pt x="106" y="355"/>
                    </a:lnTo>
                    <a:lnTo>
                      <a:pt x="108" y="354"/>
                    </a:lnTo>
                    <a:lnTo>
                      <a:pt x="109" y="355"/>
                    </a:lnTo>
                    <a:lnTo>
                      <a:pt x="111" y="355"/>
                    </a:lnTo>
                    <a:lnTo>
                      <a:pt x="113" y="357"/>
                    </a:lnTo>
                    <a:lnTo>
                      <a:pt x="114" y="357"/>
                    </a:lnTo>
                    <a:lnTo>
                      <a:pt x="114" y="358"/>
                    </a:lnTo>
                    <a:lnTo>
                      <a:pt x="116" y="358"/>
                    </a:lnTo>
                    <a:lnTo>
                      <a:pt x="117" y="357"/>
                    </a:lnTo>
                    <a:lnTo>
                      <a:pt x="117" y="355"/>
                    </a:lnTo>
                    <a:lnTo>
                      <a:pt x="119" y="354"/>
                    </a:lnTo>
                    <a:lnTo>
                      <a:pt x="119" y="352"/>
                    </a:lnTo>
                    <a:lnTo>
                      <a:pt x="119" y="350"/>
                    </a:lnTo>
                    <a:lnTo>
                      <a:pt x="121" y="349"/>
                    </a:lnTo>
                    <a:lnTo>
                      <a:pt x="122" y="350"/>
                    </a:lnTo>
                    <a:lnTo>
                      <a:pt x="124" y="350"/>
                    </a:lnTo>
                    <a:lnTo>
                      <a:pt x="125" y="352"/>
                    </a:lnTo>
                    <a:lnTo>
                      <a:pt x="127" y="352"/>
                    </a:lnTo>
                    <a:lnTo>
                      <a:pt x="127" y="354"/>
                    </a:lnTo>
                    <a:lnTo>
                      <a:pt x="128" y="354"/>
                    </a:lnTo>
                    <a:lnTo>
                      <a:pt x="132" y="354"/>
                    </a:lnTo>
                    <a:lnTo>
                      <a:pt x="133" y="355"/>
                    </a:lnTo>
                    <a:lnTo>
                      <a:pt x="135" y="355"/>
                    </a:lnTo>
                    <a:lnTo>
                      <a:pt x="136" y="355"/>
                    </a:lnTo>
                    <a:lnTo>
                      <a:pt x="138" y="355"/>
                    </a:lnTo>
                    <a:lnTo>
                      <a:pt x="141" y="354"/>
                    </a:lnTo>
                    <a:lnTo>
                      <a:pt x="144" y="350"/>
                    </a:lnTo>
                    <a:lnTo>
                      <a:pt x="146" y="349"/>
                    </a:lnTo>
                    <a:lnTo>
                      <a:pt x="147" y="347"/>
                    </a:lnTo>
                    <a:lnTo>
                      <a:pt x="147" y="346"/>
                    </a:lnTo>
                    <a:lnTo>
                      <a:pt x="149" y="346"/>
                    </a:lnTo>
                    <a:lnTo>
                      <a:pt x="151" y="344"/>
                    </a:lnTo>
                    <a:lnTo>
                      <a:pt x="152" y="344"/>
                    </a:lnTo>
                    <a:lnTo>
                      <a:pt x="154" y="344"/>
                    </a:lnTo>
                    <a:lnTo>
                      <a:pt x="155" y="346"/>
                    </a:lnTo>
                    <a:lnTo>
                      <a:pt x="157" y="347"/>
                    </a:lnTo>
                    <a:lnTo>
                      <a:pt x="159" y="349"/>
                    </a:lnTo>
                    <a:lnTo>
                      <a:pt x="160" y="349"/>
                    </a:lnTo>
                    <a:lnTo>
                      <a:pt x="163" y="350"/>
                    </a:lnTo>
                    <a:lnTo>
                      <a:pt x="165" y="354"/>
                    </a:lnTo>
                    <a:lnTo>
                      <a:pt x="165" y="355"/>
                    </a:lnTo>
                    <a:lnTo>
                      <a:pt x="166" y="354"/>
                    </a:lnTo>
                    <a:lnTo>
                      <a:pt x="168" y="354"/>
                    </a:lnTo>
                    <a:lnTo>
                      <a:pt x="170" y="354"/>
                    </a:lnTo>
                    <a:lnTo>
                      <a:pt x="171" y="355"/>
                    </a:lnTo>
                    <a:lnTo>
                      <a:pt x="171" y="357"/>
                    </a:lnTo>
                    <a:lnTo>
                      <a:pt x="173" y="358"/>
                    </a:lnTo>
                    <a:lnTo>
                      <a:pt x="174" y="360"/>
                    </a:lnTo>
                    <a:lnTo>
                      <a:pt x="176" y="361"/>
                    </a:lnTo>
                    <a:lnTo>
                      <a:pt x="178" y="361"/>
                    </a:lnTo>
                    <a:lnTo>
                      <a:pt x="184" y="371"/>
                    </a:lnTo>
                    <a:lnTo>
                      <a:pt x="185" y="369"/>
                    </a:lnTo>
                    <a:lnTo>
                      <a:pt x="187" y="369"/>
                    </a:lnTo>
                    <a:lnTo>
                      <a:pt x="189" y="368"/>
                    </a:lnTo>
                    <a:lnTo>
                      <a:pt x="190" y="368"/>
                    </a:lnTo>
                    <a:lnTo>
                      <a:pt x="192" y="366"/>
                    </a:lnTo>
                    <a:lnTo>
                      <a:pt x="193" y="366"/>
                    </a:lnTo>
                    <a:lnTo>
                      <a:pt x="193" y="365"/>
                    </a:lnTo>
                    <a:lnTo>
                      <a:pt x="195" y="365"/>
                    </a:lnTo>
                    <a:lnTo>
                      <a:pt x="197" y="363"/>
                    </a:lnTo>
                    <a:lnTo>
                      <a:pt x="198" y="363"/>
                    </a:lnTo>
                    <a:lnTo>
                      <a:pt x="200" y="363"/>
                    </a:lnTo>
                    <a:lnTo>
                      <a:pt x="201" y="361"/>
                    </a:lnTo>
                    <a:lnTo>
                      <a:pt x="201" y="360"/>
                    </a:lnTo>
                    <a:lnTo>
                      <a:pt x="203" y="360"/>
                    </a:lnTo>
                    <a:lnTo>
                      <a:pt x="204" y="358"/>
                    </a:lnTo>
                    <a:lnTo>
                      <a:pt x="206" y="357"/>
                    </a:lnTo>
                    <a:lnTo>
                      <a:pt x="208" y="357"/>
                    </a:lnTo>
                    <a:lnTo>
                      <a:pt x="209" y="357"/>
                    </a:lnTo>
                    <a:lnTo>
                      <a:pt x="211" y="357"/>
                    </a:lnTo>
                    <a:lnTo>
                      <a:pt x="211" y="355"/>
                    </a:lnTo>
                    <a:lnTo>
                      <a:pt x="212" y="354"/>
                    </a:lnTo>
                    <a:lnTo>
                      <a:pt x="212" y="352"/>
                    </a:lnTo>
                    <a:lnTo>
                      <a:pt x="214" y="352"/>
                    </a:lnTo>
                    <a:lnTo>
                      <a:pt x="216" y="352"/>
                    </a:lnTo>
                    <a:lnTo>
                      <a:pt x="216" y="350"/>
                    </a:lnTo>
                    <a:lnTo>
                      <a:pt x="217" y="350"/>
                    </a:lnTo>
                    <a:lnTo>
                      <a:pt x="219" y="352"/>
                    </a:lnTo>
                    <a:lnTo>
                      <a:pt x="220" y="350"/>
                    </a:lnTo>
                    <a:lnTo>
                      <a:pt x="222" y="350"/>
                    </a:lnTo>
                    <a:lnTo>
                      <a:pt x="224" y="350"/>
                    </a:lnTo>
                    <a:lnTo>
                      <a:pt x="225" y="350"/>
                    </a:lnTo>
                    <a:lnTo>
                      <a:pt x="228" y="350"/>
                    </a:lnTo>
                    <a:lnTo>
                      <a:pt x="230" y="349"/>
                    </a:lnTo>
                    <a:lnTo>
                      <a:pt x="231" y="349"/>
                    </a:lnTo>
                    <a:lnTo>
                      <a:pt x="233" y="349"/>
                    </a:lnTo>
                    <a:lnTo>
                      <a:pt x="235" y="349"/>
                    </a:lnTo>
                    <a:lnTo>
                      <a:pt x="236" y="349"/>
                    </a:lnTo>
                    <a:lnTo>
                      <a:pt x="238" y="349"/>
                    </a:lnTo>
                    <a:lnTo>
                      <a:pt x="239" y="349"/>
                    </a:lnTo>
                    <a:lnTo>
                      <a:pt x="241" y="349"/>
                    </a:lnTo>
                    <a:lnTo>
                      <a:pt x="243" y="349"/>
                    </a:lnTo>
                    <a:lnTo>
                      <a:pt x="243" y="347"/>
                    </a:lnTo>
                    <a:lnTo>
                      <a:pt x="244" y="347"/>
                    </a:lnTo>
                    <a:lnTo>
                      <a:pt x="246" y="347"/>
                    </a:lnTo>
                    <a:lnTo>
                      <a:pt x="247" y="346"/>
                    </a:lnTo>
                    <a:lnTo>
                      <a:pt x="249" y="346"/>
                    </a:lnTo>
                    <a:lnTo>
                      <a:pt x="250" y="346"/>
                    </a:lnTo>
                    <a:lnTo>
                      <a:pt x="252" y="346"/>
                    </a:lnTo>
                    <a:lnTo>
                      <a:pt x="254" y="346"/>
                    </a:lnTo>
                    <a:lnTo>
                      <a:pt x="255" y="346"/>
                    </a:lnTo>
                    <a:lnTo>
                      <a:pt x="257" y="346"/>
                    </a:lnTo>
                    <a:lnTo>
                      <a:pt x="258" y="346"/>
                    </a:lnTo>
                    <a:lnTo>
                      <a:pt x="260" y="346"/>
                    </a:lnTo>
                    <a:lnTo>
                      <a:pt x="262" y="347"/>
                    </a:lnTo>
                    <a:lnTo>
                      <a:pt x="263" y="346"/>
                    </a:lnTo>
                    <a:lnTo>
                      <a:pt x="263" y="347"/>
                    </a:lnTo>
                    <a:lnTo>
                      <a:pt x="265" y="347"/>
                    </a:lnTo>
                    <a:lnTo>
                      <a:pt x="266" y="347"/>
                    </a:lnTo>
                    <a:lnTo>
                      <a:pt x="268" y="347"/>
                    </a:lnTo>
                    <a:lnTo>
                      <a:pt x="269" y="349"/>
                    </a:lnTo>
                    <a:lnTo>
                      <a:pt x="271" y="350"/>
                    </a:lnTo>
                    <a:lnTo>
                      <a:pt x="273" y="350"/>
                    </a:lnTo>
                    <a:lnTo>
                      <a:pt x="274" y="350"/>
                    </a:lnTo>
                    <a:lnTo>
                      <a:pt x="276" y="350"/>
                    </a:lnTo>
                    <a:lnTo>
                      <a:pt x="276" y="349"/>
                    </a:lnTo>
                    <a:lnTo>
                      <a:pt x="277" y="349"/>
                    </a:lnTo>
                    <a:lnTo>
                      <a:pt x="279" y="349"/>
                    </a:lnTo>
                    <a:lnTo>
                      <a:pt x="281" y="347"/>
                    </a:lnTo>
                    <a:lnTo>
                      <a:pt x="282" y="347"/>
                    </a:lnTo>
                    <a:lnTo>
                      <a:pt x="282" y="346"/>
                    </a:lnTo>
                    <a:lnTo>
                      <a:pt x="284" y="346"/>
                    </a:lnTo>
                    <a:lnTo>
                      <a:pt x="284" y="344"/>
                    </a:lnTo>
                    <a:lnTo>
                      <a:pt x="285" y="344"/>
                    </a:lnTo>
                    <a:lnTo>
                      <a:pt x="287" y="344"/>
                    </a:lnTo>
                    <a:lnTo>
                      <a:pt x="288" y="344"/>
                    </a:lnTo>
                    <a:lnTo>
                      <a:pt x="290" y="346"/>
                    </a:lnTo>
                    <a:lnTo>
                      <a:pt x="292" y="346"/>
                    </a:lnTo>
                    <a:lnTo>
                      <a:pt x="293" y="346"/>
                    </a:lnTo>
                    <a:lnTo>
                      <a:pt x="295" y="346"/>
                    </a:lnTo>
                    <a:lnTo>
                      <a:pt x="296" y="346"/>
                    </a:lnTo>
                    <a:lnTo>
                      <a:pt x="296" y="347"/>
                    </a:lnTo>
                    <a:lnTo>
                      <a:pt x="298" y="347"/>
                    </a:lnTo>
                    <a:lnTo>
                      <a:pt x="300" y="347"/>
                    </a:lnTo>
                    <a:lnTo>
                      <a:pt x="301" y="347"/>
                    </a:lnTo>
                    <a:lnTo>
                      <a:pt x="303" y="347"/>
                    </a:lnTo>
                    <a:lnTo>
                      <a:pt x="303" y="349"/>
                    </a:lnTo>
                    <a:lnTo>
                      <a:pt x="304" y="349"/>
                    </a:lnTo>
                    <a:lnTo>
                      <a:pt x="306" y="349"/>
                    </a:lnTo>
                    <a:lnTo>
                      <a:pt x="307" y="349"/>
                    </a:lnTo>
                    <a:lnTo>
                      <a:pt x="307" y="350"/>
                    </a:lnTo>
                    <a:lnTo>
                      <a:pt x="309" y="350"/>
                    </a:lnTo>
                    <a:lnTo>
                      <a:pt x="311" y="350"/>
                    </a:lnTo>
                    <a:lnTo>
                      <a:pt x="311" y="352"/>
                    </a:lnTo>
                    <a:lnTo>
                      <a:pt x="312" y="352"/>
                    </a:lnTo>
                    <a:lnTo>
                      <a:pt x="312" y="354"/>
                    </a:lnTo>
                    <a:lnTo>
                      <a:pt x="314" y="354"/>
                    </a:lnTo>
                    <a:lnTo>
                      <a:pt x="315" y="354"/>
                    </a:lnTo>
                    <a:lnTo>
                      <a:pt x="317" y="354"/>
                    </a:lnTo>
                    <a:lnTo>
                      <a:pt x="319" y="354"/>
                    </a:lnTo>
                    <a:lnTo>
                      <a:pt x="319" y="355"/>
                    </a:lnTo>
                    <a:lnTo>
                      <a:pt x="317" y="357"/>
                    </a:lnTo>
                    <a:lnTo>
                      <a:pt x="317" y="358"/>
                    </a:lnTo>
                    <a:lnTo>
                      <a:pt x="315" y="360"/>
                    </a:lnTo>
                    <a:lnTo>
                      <a:pt x="315" y="361"/>
                    </a:lnTo>
                    <a:lnTo>
                      <a:pt x="315" y="363"/>
                    </a:lnTo>
                    <a:lnTo>
                      <a:pt x="315" y="365"/>
                    </a:lnTo>
                    <a:lnTo>
                      <a:pt x="315" y="366"/>
                    </a:lnTo>
                    <a:lnTo>
                      <a:pt x="315" y="368"/>
                    </a:lnTo>
                    <a:lnTo>
                      <a:pt x="315" y="369"/>
                    </a:lnTo>
                    <a:lnTo>
                      <a:pt x="315" y="371"/>
                    </a:lnTo>
                    <a:lnTo>
                      <a:pt x="317" y="371"/>
                    </a:lnTo>
                    <a:lnTo>
                      <a:pt x="319" y="371"/>
                    </a:lnTo>
                    <a:lnTo>
                      <a:pt x="320" y="371"/>
                    </a:lnTo>
                    <a:lnTo>
                      <a:pt x="322" y="373"/>
                    </a:lnTo>
                    <a:lnTo>
                      <a:pt x="323" y="371"/>
                    </a:lnTo>
                    <a:lnTo>
                      <a:pt x="325" y="369"/>
                    </a:lnTo>
                    <a:lnTo>
                      <a:pt x="326" y="368"/>
                    </a:lnTo>
                    <a:lnTo>
                      <a:pt x="326" y="366"/>
                    </a:lnTo>
                    <a:lnTo>
                      <a:pt x="328" y="366"/>
                    </a:lnTo>
                    <a:lnTo>
                      <a:pt x="328" y="365"/>
                    </a:lnTo>
                    <a:lnTo>
                      <a:pt x="330" y="365"/>
                    </a:lnTo>
                    <a:lnTo>
                      <a:pt x="331" y="363"/>
                    </a:lnTo>
                    <a:lnTo>
                      <a:pt x="333" y="363"/>
                    </a:lnTo>
                    <a:lnTo>
                      <a:pt x="333" y="361"/>
                    </a:lnTo>
                    <a:lnTo>
                      <a:pt x="334" y="361"/>
                    </a:lnTo>
                    <a:lnTo>
                      <a:pt x="334" y="360"/>
                    </a:lnTo>
                    <a:lnTo>
                      <a:pt x="336" y="360"/>
                    </a:lnTo>
                    <a:lnTo>
                      <a:pt x="338" y="360"/>
                    </a:lnTo>
                    <a:lnTo>
                      <a:pt x="339" y="360"/>
                    </a:lnTo>
                    <a:lnTo>
                      <a:pt x="341" y="360"/>
                    </a:lnTo>
                    <a:lnTo>
                      <a:pt x="341" y="358"/>
                    </a:lnTo>
                    <a:lnTo>
                      <a:pt x="342" y="358"/>
                    </a:lnTo>
                    <a:lnTo>
                      <a:pt x="344" y="358"/>
                    </a:lnTo>
                    <a:lnTo>
                      <a:pt x="345" y="360"/>
                    </a:lnTo>
                    <a:lnTo>
                      <a:pt x="347" y="360"/>
                    </a:lnTo>
                    <a:lnTo>
                      <a:pt x="349" y="360"/>
                    </a:lnTo>
                    <a:lnTo>
                      <a:pt x="350" y="361"/>
                    </a:lnTo>
                    <a:lnTo>
                      <a:pt x="352" y="361"/>
                    </a:lnTo>
                    <a:lnTo>
                      <a:pt x="353" y="361"/>
                    </a:lnTo>
                    <a:lnTo>
                      <a:pt x="353" y="363"/>
                    </a:lnTo>
                    <a:lnTo>
                      <a:pt x="355" y="363"/>
                    </a:lnTo>
                    <a:lnTo>
                      <a:pt x="357" y="363"/>
                    </a:lnTo>
                    <a:lnTo>
                      <a:pt x="357" y="365"/>
                    </a:lnTo>
                    <a:lnTo>
                      <a:pt x="357" y="366"/>
                    </a:lnTo>
                    <a:lnTo>
                      <a:pt x="357" y="368"/>
                    </a:lnTo>
                    <a:lnTo>
                      <a:pt x="355" y="368"/>
                    </a:lnTo>
                    <a:lnTo>
                      <a:pt x="355" y="369"/>
                    </a:lnTo>
                    <a:lnTo>
                      <a:pt x="355" y="371"/>
                    </a:lnTo>
                    <a:lnTo>
                      <a:pt x="357" y="371"/>
                    </a:lnTo>
                    <a:lnTo>
                      <a:pt x="357" y="373"/>
                    </a:lnTo>
                    <a:lnTo>
                      <a:pt x="357" y="374"/>
                    </a:lnTo>
                    <a:lnTo>
                      <a:pt x="357" y="376"/>
                    </a:lnTo>
                    <a:lnTo>
                      <a:pt x="358" y="376"/>
                    </a:lnTo>
                    <a:lnTo>
                      <a:pt x="358" y="377"/>
                    </a:lnTo>
                    <a:lnTo>
                      <a:pt x="358" y="379"/>
                    </a:lnTo>
                    <a:lnTo>
                      <a:pt x="357" y="379"/>
                    </a:lnTo>
                    <a:lnTo>
                      <a:pt x="358" y="380"/>
                    </a:lnTo>
                    <a:lnTo>
                      <a:pt x="360" y="382"/>
                    </a:lnTo>
                    <a:lnTo>
                      <a:pt x="361" y="382"/>
                    </a:lnTo>
                    <a:lnTo>
                      <a:pt x="361" y="384"/>
                    </a:lnTo>
                    <a:lnTo>
                      <a:pt x="363" y="384"/>
                    </a:lnTo>
                    <a:lnTo>
                      <a:pt x="364" y="384"/>
                    </a:lnTo>
                    <a:lnTo>
                      <a:pt x="366" y="385"/>
                    </a:lnTo>
                    <a:lnTo>
                      <a:pt x="368" y="385"/>
                    </a:lnTo>
                    <a:lnTo>
                      <a:pt x="369" y="385"/>
                    </a:lnTo>
                    <a:lnTo>
                      <a:pt x="371" y="385"/>
                    </a:lnTo>
                    <a:lnTo>
                      <a:pt x="371" y="387"/>
                    </a:lnTo>
                    <a:lnTo>
                      <a:pt x="372" y="387"/>
                    </a:lnTo>
                    <a:lnTo>
                      <a:pt x="374" y="387"/>
                    </a:lnTo>
                    <a:lnTo>
                      <a:pt x="374" y="388"/>
                    </a:lnTo>
                    <a:lnTo>
                      <a:pt x="376" y="388"/>
                    </a:lnTo>
                    <a:lnTo>
                      <a:pt x="377" y="387"/>
                    </a:lnTo>
                    <a:lnTo>
                      <a:pt x="377" y="385"/>
                    </a:lnTo>
                    <a:lnTo>
                      <a:pt x="379" y="385"/>
                    </a:lnTo>
                    <a:lnTo>
                      <a:pt x="379" y="384"/>
                    </a:lnTo>
                    <a:lnTo>
                      <a:pt x="379" y="382"/>
                    </a:lnTo>
                    <a:lnTo>
                      <a:pt x="379" y="380"/>
                    </a:lnTo>
                    <a:lnTo>
                      <a:pt x="380" y="380"/>
                    </a:lnTo>
                    <a:lnTo>
                      <a:pt x="380" y="379"/>
                    </a:lnTo>
                    <a:lnTo>
                      <a:pt x="380" y="377"/>
                    </a:lnTo>
                    <a:lnTo>
                      <a:pt x="380" y="376"/>
                    </a:lnTo>
                    <a:lnTo>
                      <a:pt x="380" y="374"/>
                    </a:lnTo>
                    <a:lnTo>
                      <a:pt x="382" y="374"/>
                    </a:lnTo>
                    <a:lnTo>
                      <a:pt x="382" y="373"/>
                    </a:lnTo>
                    <a:lnTo>
                      <a:pt x="383" y="371"/>
                    </a:lnTo>
                    <a:lnTo>
                      <a:pt x="383" y="369"/>
                    </a:lnTo>
                    <a:lnTo>
                      <a:pt x="385" y="369"/>
                    </a:lnTo>
                    <a:lnTo>
                      <a:pt x="385" y="368"/>
                    </a:lnTo>
                    <a:lnTo>
                      <a:pt x="387" y="366"/>
                    </a:lnTo>
                    <a:lnTo>
                      <a:pt x="388" y="366"/>
                    </a:lnTo>
                    <a:lnTo>
                      <a:pt x="390" y="366"/>
                    </a:lnTo>
                    <a:lnTo>
                      <a:pt x="391" y="366"/>
                    </a:lnTo>
                    <a:lnTo>
                      <a:pt x="393" y="366"/>
                    </a:lnTo>
                    <a:lnTo>
                      <a:pt x="393" y="365"/>
                    </a:lnTo>
                    <a:lnTo>
                      <a:pt x="395" y="365"/>
                    </a:lnTo>
                    <a:lnTo>
                      <a:pt x="396" y="365"/>
                    </a:lnTo>
                    <a:lnTo>
                      <a:pt x="396" y="363"/>
                    </a:lnTo>
                    <a:lnTo>
                      <a:pt x="398" y="363"/>
                    </a:lnTo>
                    <a:lnTo>
                      <a:pt x="398" y="361"/>
                    </a:lnTo>
                    <a:lnTo>
                      <a:pt x="399" y="361"/>
                    </a:lnTo>
                    <a:lnTo>
                      <a:pt x="399" y="360"/>
                    </a:lnTo>
                    <a:lnTo>
                      <a:pt x="401" y="360"/>
                    </a:lnTo>
                    <a:lnTo>
                      <a:pt x="401" y="358"/>
                    </a:lnTo>
                    <a:lnTo>
                      <a:pt x="401" y="357"/>
                    </a:lnTo>
                    <a:lnTo>
                      <a:pt x="402" y="357"/>
                    </a:lnTo>
                    <a:lnTo>
                      <a:pt x="402" y="355"/>
                    </a:lnTo>
                    <a:lnTo>
                      <a:pt x="404" y="355"/>
                    </a:lnTo>
                    <a:lnTo>
                      <a:pt x="404" y="354"/>
                    </a:lnTo>
                    <a:lnTo>
                      <a:pt x="406" y="354"/>
                    </a:lnTo>
                    <a:lnTo>
                      <a:pt x="407" y="354"/>
                    </a:lnTo>
                    <a:lnTo>
                      <a:pt x="409" y="354"/>
                    </a:lnTo>
                    <a:lnTo>
                      <a:pt x="410" y="354"/>
                    </a:lnTo>
                    <a:lnTo>
                      <a:pt x="412" y="354"/>
                    </a:lnTo>
                    <a:lnTo>
                      <a:pt x="414" y="354"/>
                    </a:lnTo>
                    <a:lnTo>
                      <a:pt x="415" y="352"/>
                    </a:lnTo>
                    <a:lnTo>
                      <a:pt x="417" y="352"/>
                    </a:lnTo>
                    <a:lnTo>
                      <a:pt x="417" y="350"/>
                    </a:lnTo>
                    <a:lnTo>
                      <a:pt x="418" y="350"/>
                    </a:lnTo>
                    <a:lnTo>
                      <a:pt x="418" y="349"/>
                    </a:lnTo>
                    <a:lnTo>
                      <a:pt x="420" y="349"/>
                    </a:lnTo>
                    <a:lnTo>
                      <a:pt x="420" y="347"/>
                    </a:lnTo>
                    <a:lnTo>
                      <a:pt x="422" y="347"/>
                    </a:lnTo>
                    <a:lnTo>
                      <a:pt x="423" y="347"/>
                    </a:lnTo>
                    <a:lnTo>
                      <a:pt x="425" y="346"/>
                    </a:lnTo>
                    <a:lnTo>
                      <a:pt x="425" y="347"/>
                    </a:lnTo>
                    <a:lnTo>
                      <a:pt x="426" y="347"/>
                    </a:lnTo>
                    <a:lnTo>
                      <a:pt x="428" y="346"/>
                    </a:lnTo>
                    <a:lnTo>
                      <a:pt x="428" y="347"/>
                    </a:lnTo>
                    <a:lnTo>
                      <a:pt x="429" y="347"/>
                    </a:lnTo>
                    <a:lnTo>
                      <a:pt x="431" y="347"/>
                    </a:lnTo>
                    <a:lnTo>
                      <a:pt x="433" y="347"/>
                    </a:lnTo>
                    <a:lnTo>
                      <a:pt x="434" y="349"/>
                    </a:lnTo>
                    <a:lnTo>
                      <a:pt x="436" y="350"/>
                    </a:lnTo>
                    <a:lnTo>
                      <a:pt x="436" y="352"/>
                    </a:lnTo>
                    <a:lnTo>
                      <a:pt x="436" y="354"/>
                    </a:lnTo>
                    <a:lnTo>
                      <a:pt x="436" y="355"/>
                    </a:lnTo>
                    <a:lnTo>
                      <a:pt x="436" y="357"/>
                    </a:lnTo>
                    <a:lnTo>
                      <a:pt x="436" y="358"/>
                    </a:lnTo>
                    <a:lnTo>
                      <a:pt x="436" y="360"/>
                    </a:lnTo>
                    <a:lnTo>
                      <a:pt x="437" y="361"/>
                    </a:lnTo>
                    <a:lnTo>
                      <a:pt x="437" y="363"/>
                    </a:lnTo>
                    <a:lnTo>
                      <a:pt x="437" y="365"/>
                    </a:lnTo>
                    <a:lnTo>
                      <a:pt x="437" y="366"/>
                    </a:lnTo>
                    <a:lnTo>
                      <a:pt x="439" y="366"/>
                    </a:lnTo>
                    <a:lnTo>
                      <a:pt x="439" y="368"/>
                    </a:lnTo>
                    <a:lnTo>
                      <a:pt x="439" y="369"/>
                    </a:lnTo>
                    <a:lnTo>
                      <a:pt x="439" y="371"/>
                    </a:lnTo>
                    <a:lnTo>
                      <a:pt x="441" y="371"/>
                    </a:lnTo>
                    <a:lnTo>
                      <a:pt x="441" y="373"/>
                    </a:lnTo>
                    <a:lnTo>
                      <a:pt x="441" y="374"/>
                    </a:lnTo>
                    <a:lnTo>
                      <a:pt x="441" y="376"/>
                    </a:lnTo>
                    <a:lnTo>
                      <a:pt x="439" y="377"/>
                    </a:lnTo>
                    <a:lnTo>
                      <a:pt x="441" y="377"/>
                    </a:lnTo>
                    <a:lnTo>
                      <a:pt x="441" y="379"/>
                    </a:lnTo>
                    <a:lnTo>
                      <a:pt x="441" y="380"/>
                    </a:lnTo>
                    <a:lnTo>
                      <a:pt x="441" y="382"/>
                    </a:lnTo>
                    <a:lnTo>
                      <a:pt x="441" y="384"/>
                    </a:lnTo>
                    <a:lnTo>
                      <a:pt x="439" y="384"/>
                    </a:lnTo>
                    <a:lnTo>
                      <a:pt x="439" y="385"/>
                    </a:lnTo>
                    <a:lnTo>
                      <a:pt x="439" y="387"/>
                    </a:lnTo>
                    <a:lnTo>
                      <a:pt x="437" y="388"/>
                    </a:lnTo>
                    <a:lnTo>
                      <a:pt x="437" y="390"/>
                    </a:lnTo>
                    <a:lnTo>
                      <a:pt x="437" y="392"/>
                    </a:lnTo>
                    <a:lnTo>
                      <a:pt x="437" y="393"/>
                    </a:lnTo>
                    <a:lnTo>
                      <a:pt x="437" y="395"/>
                    </a:lnTo>
                    <a:lnTo>
                      <a:pt x="436" y="395"/>
                    </a:lnTo>
                    <a:lnTo>
                      <a:pt x="436" y="396"/>
                    </a:lnTo>
                    <a:lnTo>
                      <a:pt x="436" y="398"/>
                    </a:lnTo>
                    <a:lnTo>
                      <a:pt x="434" y="399"/>
                    </a:lnTo>
                    <a:lnTo>
                      <a:pt x="436" y="401"/>
                    </a:lnTo>
                    <a:lnTo>
                      <a:pt x="436" y="403"/>
                    </a:lnTo>
                    <a:lnTo>
                      <a:pt x="436" y="404"/>
                    </a:lnTo>
                    <a:lnTo>
                      <a:pt x="437" y="404"/>
                    </a:lnTo>
                    <a:lnTo>
                      <a:pt x="437" y="406"/>
                    </a:lnTo>
                    <a:lnTo>
                      <a:pt x="439" y="406"/>
                    </a:lnTo>
                    <a:lnTo>
                      <a:pt x="439" y="407"/>
                    </a:lnTo>
                    <a:lnTo>
                      <a:pt x="441" y="407"/>
                    </a:lnTo>
                    <a:lnTo>
                      <a:pt x="441" y="409"/>
                    </a:lnTo>
                    <a:lnTo>
                      <a:pt x="442" y="409"/>
                    </a:lnTo>
                    <a:lnTo>
                      <a:pt x="444" y="409"/>
                    </a:lnTo>
                    <a:lnTo>
                      <a:pt x="445" y="409"/>
                    </a:lnTo>
                    <a:lnTo>
                      <a:pt x="447" y="411"/>
                    </a:lnTo>
                    <a:lnTo>
                      <a:pt x="448" y="411"/>
                    </a:lnTo>
                    <a:lnTo>
                      <a:pt x="450" y="411"/>
                    </a:lnTo>
                    <a:lnTo>
                      <a:pt x="452" y="411"/>
                    </a:lnTo>
                    <a:lnTo>
                      <a:pt x="452" y="412"/>
                    </a:lnTo>
                    <a:lnTo>
                      <a:pt x="453" y="412"/>
                    </a:lnTo>
                    <a:lnTo>
                      <a:pt x="453" y="414"/>
                    </a:lnTo>
                    <a:lnTo>
                      <a:pt x="455" y="414"/>
                    </a:lnTo>
                    <a:lnTo>
                      <a:pt x="456" y="415"/>
                    </a:lnTo>
                    <a:lnTo>
                      <a:pt x="458" y="415"/>
                    </a:lnTo>
                    <a:lnTo>
                      <a:pt x="458" y="417"/>
                    </a:lnTo>
                    <a:lnTo>
                      <a:pt x="460" y="417"/>
                    </a:lnTo>
                    <a:lnTo>
                      <a:pt x="460" y="418"/>
                    </a:lnTo>
                    <a:lnTo>
                      <a:pt x="461" y="418"/>
                    </a:lnTo>
                    <a:lnTo>
                      <a:pt x="463" y="420"/>
                    </a:lnTo>
                    <a:lnTo>
                      <a:pt x="464" y="420"/>
                    </a:lnTo>
                    <a:lnTo>
                      <a:pt x="464" y="422"/>
                    </a:lnTo>
                    <a:lnTo>
                      <a:pt x="466" y="422"/>
                    </a:lnTo>
                    <a:lnTo>
                      <a:pt x="467" y="423"/>
                    </a:lnTo>
                    <a:lnTo>
                      <a:pt x="469" y="423"/>
                    </a:lnTo>
                    <a:lnTo>
                      <a:pt x="471" y="423"/>
                    </a:lnTo>
                    <a:lnTo>
                      <a:pt x="471" y="425"/>
                    </a:lnTo>
                    <a:lnTo>
                      <a:pt x="472" y="426"/>
                    </a:lnTo>
                    <a:lnTo>
                      <a:pt x="474" y="428"/>
                    </a:lnTo>
                    <a:lnTo>
                      <a:pt x="475" y="428"/>
                    </a:lnTo>
                    <a:lnTo>
                      <a:pt x="475" y="430"/>
                    </a:lnTo>
                    <a:lnTo>
                      <a:pt x="477" y="430"/>
                    </a:lnTo>
                    <a:lnTo>
                      <a:pt x="479" y="430"/>
                    </a:lnTo>
                    <a:lnTo>
                      <a:pt x="480" y="431"/>
                    </a:lnTo>
                    <a:lnTo>
                      <a:pt x="482" y="431"/>
                    </a:lnTo>
                    <a:lnTo>
                      <a:pt x="483" y="431"/>
                    </a:lnTo>
                    <a:lnTo>
                      <a:pt x="485" y="431"/>
                    </a:lnTo>
                    <a:lnTo>
                      <a:pt x="485" y="433"/>
                    </a:lnTo>
                    <a:lnTo>
                      <a:pt x="486" y="433"/>
                    </a:lnTo>
                    <a:lnTo>
                      <a:pt x="486" y="431"/>
                    </a:lnTo>
                    <a:lnTo>
                      <a:pt x="486" y="430"/>
                    </a:lnTo>
                    <a:lnTo>
                      <a:pt x="486" y="428"/>
                    </a:lnTo>
                    <a:lnTo>
                      <a:pt x="486" y="426"/>
                    </a:lnTo>
                    <a:lnTo>
                      <a:pt x="486" y="425"/>
                    </a:lnTo>
                    <a:lnTo>
                      <a:pt x="486" y="423"/>
                    </a:lnTo>
                    <a:lnTo>
                      <a:pt x="486" y="422"/>
                    </a:lnTo>
                    <a:lnTo>
                      <a:pt x="488" y="420"/>
                    </a:lnTo>
                    <a:lnTo>
                      <a:pt x="488" y="418"/>
                    </a:lnTo>
                    <a:lnTo>
                      <a:pt x="488" y="417"/>
                    </a:lnTo>
                    <a:lnTo>
                      <a:pt x="486" y="417"/>
                    </a:lnTo>
                    <a:lnTo>
                      <a:pt x="486" y="418"/>
                    </a:lnTo>
                    <a:lnTo>
                      <a:pt x="485" y="418"/>
                    </a:lnTo>
                    <a:lnTo>
                      <a:pt x="483" y="418"/>
                    </a:lnTo>
                    <a:lnTo>
                      <a:pt x="482" y="418"/>
                    </a:lnTo>
                    <a:lnTo>
                      <a:pt x="480" y="418"/>
                    </a:lnTo>
                    <a:lnTo>
                      <a:pt x="479" y="418"/>
                    </a:lnTo>
                    <a:lnTo>
                      <a:pt x="477" y="418"/>
                    </a:lnTo>
                    <a:lnTo>
                      <a:pt x="477" y="417"/>
                    </a:lnTo>
                    <a:lnTo>
                      <a:pt x="477" y="415"/>
                    </a:lnTo>
                    <a:lnTo>
                      <a:pt x="477" y="414"/>
                    </a:lnTo>
                    <a:lnTo>
                      <a:pt x="477" y="412"/>
                    </a:lnTo>
                    <a:lnTo>
                      <a:pt x="479" y="411"/>
                    </a:lnTo>
                    <a:lnTo>
                      <a:pt x="479" y="409"/>
                    </a:lnTo>
                    <a:lnTo>
                      <a:pt x="479" y="407"/>
                    </a:lnTo>
                    <a:lnTo>
                      <a:pt x="479" y="406"/>
                    </a:lnTo>
                    <a:lnTo>
                      <a:pt x="480" y="406"/>
                    </a:lnTo>
                    <a:lnTo>
                      <a:pt x="480" y="404"/>
                    </a:lnTo>
                    <a:lnTo>
                      <a:pt x="480" y="403"/>
                    </a:lnTo>
                    <a:lnTo>
                      <a:pt x="482" y="401"/>
                    </a:lnTo>
                    <a:lnTo>
                      <a:pt x="482" y="399"/>
                    </a:lnTo>
                    <a:lnTo>
                      <a:pt x="482" y="398"/>
                    </a:lnTo>
                    <a:lnTo>
                      <a:pt x="482" y="396"/>
                    </a:lnTo>
                    <a:lnTo>
                      <a:pt x="482" y="395"/>
                    </a:lnTo>
                    <a:lnTo>
                      <a:pt x="483" y="393"/>
                    </a:lnTo>
                    <a:lnTo>
                      <a:pt x="483" y="392"/>
                    </a:lnTo>
                    <a:lnTo>
                      <a:pt x="483" y="390"/>
                    </a:lnTo>
                    <a:lnTo>
                      <a:pt x="483" y="388"/>
                    </a:lnTo>
                    <a:lnTo>
                      <a:pt x="483" y="387"/>
                    </a:lnTo>
                    <a:lnTo>
                      <a:pt x="482" y="387"/>
                    </a:lnTo>
                    <a:lnTo>
                      <a:pt x="482" y="385"/>
                    </a:lnTo>
                    <a:lnTo>
                      <a:pt x="482" y="384"/>
                    </a:lnTo>
                    <a:lnTo>
                      <a:pt x="483" y="384"/>
                    </a:lnTo>
                    <a:lnTo>
                      <a:pt x="483" y="385"/>
                    </a:lnTo>
                    <a:lnTo>
                      <a:pt x="485" y="385"/>
                    </a:lnTo>
                    <a:lnTo>
                      <a:pt x="486" y="385"/>
                    </a:lnTo>
                    <a:lnTo>
                      <a:pt x="488" y="385"/>
                    </a:lnTo>
                    <a:lnTo>
                      <a:pt x="490" y="385"/>
                    </a:lnTo>
                    <a:lnTo>
                      <a:pt x="491" y="387"/>
                    </a:lnTo>
                    <a:lnTo>
                      <a:pt x="491" y="388"/>
                    </a:lnTo>
                    <a:lnTo>
                      <a:pt x="493" y="388"/>
                    </a:lnTo>
                    <a:lnTo>
                      <a:pt x="494" y="388"/>
                    </a:lnTo>
                    <a:lnTo>
                      <a:pt x="496" y="388"/>
                    </a:lnTo>
                    <a:lnTo>
                      <a:pt x="498" y="388"/>
                    </a:lnTo>
                    <a:lnTo>
                      <a:pt x="498" y="387"/>
                    </a:lnTo>
                    <a:lnTo>
                      <a:pt x="499" y="387"/>
                    </a:lnTo>
                    <a:lnTo>
                      <a:pt x="501" y="387"/>
                    </a:lnTo>
                    <a:lnTo>
                      <a:pt x="501" y="385"/>
                    </a:lnTo>
                    <a:lnTo>
                      <a:pt x="501" y="384"/>
                    </a:lnTo>
                    <a:lnTo>
                      <a:pt x="502" y="384"/>
                    </a:lnTo>
                    <a:lnTo>
                      <a:pt x="504" y="384"/>
                    </a:lnTo>
                    <a:lnTo>
                      <a:pt x="504" y="382"/>
                    </a:lnTo>
                    <a:lnTo>
                      <a:pt x="505" y="382"/>
                    </a:lnTo>
                    <a:lnTo>
                      <a:pt x="505" y="380"/>
                    </a:lnTo>
                    <a:lnTo>
                      <a:pt x="507" y="379"/>
                    </a:lnTo>
                    <a:lnTo>
                      <a:pt x="509" y="377"/>
                    </a:lnTo>
                    <a:lnTo>
                      <a:pt x="509" y="376"/>
                    </a:lnTo>
                    <a:lnTo>
                      <a:pt x="509" y="374"/>
                    </a:lnTo>
                    <a:lnTo>
                      <a:pt x="510" y="374"/>
                    </a:lnTo>
                    <a:lnTo>
                      <a:pt x="510" y="373"/>
                    </a:lnTo>
                    <a:lnTo>
                      <a:pt x="510" y="371"/>
                    </a:lnTo>
                    <a:lnTo>
                      <a:pt x="510" y="369"/>
                    </a:lnTo>
                    <a:lnTo>
                      <a:pt x="512" y="368"/>
                    </a:lnTo>
                    <a:lnTo>
                      <a:pt x="512" y="366"/>
                    </a:lnTo>
                    <a:lnTo>
                      <a:pt x="513" y="366"/>
                    </a:lnTo>
                    <a:lnTo>
                      <a:pt x="515" y="368"/>
                    </a:lnTo>
                    <a:lnTo>
                      <a:pt x="517" y="368"/>
                    </a:lnTo>
                    <a:lnTo>
                      <a:pt x="517" y="369"/>
                    </a:lnTo>
                    <a:lnTo>
                      <a:pt x="518" y="369"/>
                    </a:lnTo>
                    <a:lnTo>
                      <a:pt x="520" y="369"/>
                    </a:lnTo>
                    <a:lnTo>
                      <a:pt x="520" y="371"/>
                    </a:lnTo>
                    <a:lnTo>
                      <a:pt x="521" y="371"/>
                    </a:lnTo>
                    <a:lnTo>
                      <a:pt x="523" y="371"/>
                    </a:lnTo>
                    <a:lnTo>
                      <a:pt x="524" y="371"/>
                    </a:lnTo>
                    <a:lnTo>
                      <a:pt x="526" y="371"/>
                    </a:lnTo>
                    <a:lnTo>
                      <a:pt x="528" y="371"/>
                    </a:lnTo>
                    <a:lnTo>
                      <a:pt x="529" y="369"/>
                    </a:lnTo>
                    <a:lnTo>
                      <a:pt x="531" y="369"/>
                    </a:lnTo>
                    <a:lnTo>
                      <a:pt x="532" y="369"/>
                    </a:lnTo>
                    <a:lnTo>
                      <a:pt x="534" y="369"/>
                    </a:lnTo>
                    <a:lnTo>
                      <a:pt x="536" y="369"/>
                    </a:lnTo>
                    <a:lnTo>
                      <a:pt x="536" y="368"/>
                    </a:lnTo>
                    <a:lnTo>
                      <a:pt x="537" y="368"/>
                    </a:lnTo>
                    <a:lnTo>
                      <a:pt x="537" y="366"/>
                    </a:lnTo>
                    <a:lnTo>
                      <a:pt x="539" y="366"/>
                    </a:lnTo>
                    <a:lnTo>
                      <a:pt x="539" y="365"/>
                    </a:lnTo>
                    <a:lnTo>
                      <a:pt x="539" y="363"/>
                    </a:lnTo>
                    <a:lnTo>
                      <a:pt x="545" y="365"/>
                    </a:lnTo>
                    <a:lnTo>
                      <a:pt x="545" y="366"/>
                    </a:lnTo>
                    <a:lnTo>
                      <a:pt x="547" y="366"/>
                    </a:lnTo>
                    <a:lnTo>
                      <a:pt x="547" y="368"/>
                    </a:lnTo>
                    <a:lnTo>
                      <a:pt x="548" y="368"/>
                    </a:lnTo>
                    <a:lnTo>
                      <a:pt x="548" y="369"/>
                    </a:lnTo>
                    <a:lnTo>
                      <a:pt x="550" y="369"/>
                    </a:lnTo>
                    <a:lnTo>
                      <a:pt x="551" y="371"/>
                    </a:lnTo>
                    <a:lnTo>
                      <a:pt x="553" y="373"/>
                    </a:lnTo>
                    <a:lnTo>
                      <a:pt x="555" y="374"/>
                    </a:lnTo>
                    <a:lnTo>
                      <a:pt x="556" y="376"/>
                    </a:lnTo>
                    <a:lnTo>
                      <a:pt x="558" y="377"/>
                    </a:lnTo>
                    <a:lnTo>
                      <a:pt x="559" y="377"/>
                    </a:lnTo>
                    <a:lnTo>
                      <a:pt x="559" y="379"/>
                    </a:lnTo>
                    <a:lnTo>
                      <a:pt x="562" y="380"/>
                    </a:lnTo>
                    <a:lnTo>
                      <a:pt x="562" y="382"/>
                    </a:lnTo>
                    <a:lnTo>
                      <a:pt x="564" y="382"/>
                    </a:lnTo>
                    <a:lnTo>
                      <a:pt x="566" y="384"/>
                    </a:lnTo>
                    <a:lnTo>
                      <a:pt x="567" y="385"/>
                    </a:lnTo>
                    <a:lnTo>
                      <a:pt x="569" y="385"/>
                    </a:lnTo>
                    <a:lnTo>
                      <a:pt x="569" y="387"/>
                    </a:lnTo>
                    <a:lnTo>
                      <a:pt x="569" y="388"/>
                    </a:lnTo>
                    <a:lnTo>
                      <a:pt x="569" y="390"/>
                    </a:lnTo>
                    <a:lnTo>
                      <a:pt x="569" y="392"/>
                    </a:lnTo>
                    <a:lnTo>
                      <a:pt x="569" y="393"/>
                    </a:lnTo>
                    <a:lnTo>
                      <a:pt x="569" y="395"/>
                    </a:lnTo>
                    <a:lnTo>
                      <a:pt x="569" y="396"/>
                    </a:lnTo>
                    <a:lnTo>
                      <a:pt x="569" y="398"/>
                    </a:lnTo>
                    <a:lnTo>
                      <a:pt x="569" y="399"/>
                    </a:lnTo>
                    <a:lnTo>
                      <a:pt x="570" y="399"/>
                    </a:lnTo>
                    <a:lnTo>
                      <a:pt x="570" y="401"/>
                    </a:lnTo>
                    <a:lnTo>
                      <a:pt x="572" y="401"/>
                    </a:lnTo>
                    <a:lnTo>
                      <a:pt x="574" y="401"/>
                    </a:lnTo>
                    <a:lnTo>
                      <a:pt x="574" y="399"/>
                    </a:lnTo>
                    <a:lnTo>
                      <a:pt x="575" y="399"/>
                    </a:lnTo>
                    <a:lnTo>
                      <a:pt x="577" y="399"/>
                    </a:lnTo>
                    <a:lnTo>
                      <a:pt x="578" y="399"/>
                    </a:lnTo>
                    <a:lnTo>
                      <a:pt x="580" y="399"/>
                    </a:lnTo>
                    <a:lnTo>
                      <a:pt x="581" y="401"/>
                    </a:lnTo>
                    <a:lnTo>
                      <a:pt x="583" y="401"/>
                    </a:lnTo>
                    <a:lnTo>
                      <a:pt x="585" y="401"/>
                    </a:lnTo>
                    <a:lnTo>
                      <a:pt x="586" y="401"/>
                    </a:lnTo>
                    <a:lnTo>
                      <a:pt x="588" y="401"/>
                    </a:lnTo>
                    <a:lnTo>
                      <a:pt x="588" y="403"/>
                    </a:lnTo>
                    <a:lnTo>
                      <a:pt x="589" y="404"/>
                    </a:lnTo>
                    <a:lnTo>
                      <a:pt x="589" y="406"/>
                    </a:lnTo>
                    <a:lnTo>
                      <a:pt x="591" y="406"/>
                    </a:lnTo>
                    <a:lnTo>
                      <a:pt x="591" y="407"/>
                    </a:lnTo>
                    <a:lnTo>
                      <a:pt x="593" y="407"/>
                    </a:lnTo>
                    <a:lnTo>
                      <a:pt x="594" y="409"/>
                    </a:lnTo>
                    <a:lnTo>
                      <a:pt x="596" y="409"/>
                    </a:lnTo>
                    <a:lnTo>
                      <a:pt x="597" y="409"/>
                    </a:lnTo>
                    <a:lnTo>
                      <a:pt x="599" y="409"/>
                    </a:lnTo>
                    <a:lnTo>
                      <a:pt x="601" y="409"/>
                    </a:lnTo>
                    <a:lnTo>
                      <a:pt x="602" y="411"/>
                    </a:lnTo>
                    <a:lnTo>
                      <a:pt x="604" y="411"/>
                    </a:lnTo>
                    <a:lnTo>
                      <a:pt x="604" y="409"/>
                    </a:lnTo>
                    <a:lnTo>
                      <a:pt x="605" y="409"/>
                    </a:lnTo>
                    <a:lnTo>
                      <a:pt x="607" y="411"/>
                    </a:lnTo>
                    <a:lnTo>
                      <a:pt x="608" y="411"/>
                    </a:lnTo>
                    <a:lnTo>
                      <a:pt x="608" y="412"/>
                    </a:lnTo>
                    <a:lnTo>
                      <a:pt x="610" y="412"/>
                    </a:lnTo>
                    <a:lnTo>
                      <a:pt x="612" y="414"/>
                    </a:lnTo>
                    <a:lnTo>
                      <a:pt x="613" y="415"/>
                    </a:lnTo>
                    <a:lnTo>
                      <a:pt x="615" y="417"/>
                    </a:lnTo>
                    <a:lnTo>
                      <a:pt x="616" y="418"/>
                    </a:lnTo>
                    <a:lnTo>
                      <a:pt x="618" y="420"/>
                    </a:lnTo>
                    <a:lnTo>
                      <a:pt x="620" y="420"/>
                    </a:lnTo>
                    <a:lnTo>
                      <a:pt x="621" y="422"/>
                    </a:lnTo>
                    <a:lnTo>
                      <a:pt x="621" y="423"/>
                    </a:lnTo>
                    <a:lnTo>
                      <a:pt x="623" y="423"/>
                    </a:lnTo>
                    <a:lnTo>
                      <a:pt x="624" y="423"/>
                    </a:lnTo>
                    <a:lnTo>
                      <a:pt x="626" y="423"/>
                    </a:lnTo>
                    <a:lnTo>
                      <a:pt x="627" y="423"/>
                    </a:lnTo>
                    <a:lnTo>
                      <a:pt x="629" y="423"/>
                    </a:lnTo>
                    <a:lnTo>
                      <a:pt x="631" y="423"/>
                    </a:lnTo>
                    <a:lnTo>
                      <a:pt x="632" y="423"/>
                    </a:lnTo>
                    <a:lnTo>
                      <a:pt x="632" y="425"/>
                    </a:lnTo>
                    <a:lnTo>
                      <a:pt x="634" y="425"/>
                    </a:lnTo>
                    <a:lnTo>
                      <a:pt x="635" y="425"/>
                    </a:lnTo>
                    <a:lnTo>
                      <a:pt x="637" y="425"/>
                    </a:lnTo>
                    <a:lnTo>
                      <a:pt x="637" y="423"/>
                    </a:lnTo>
                    <a:lnTo>
                      <a:pt x="639" y="423"/>
                    </a:lnTo>
                    <a:lnTo>
                      <a:pt x="639" y="422"/>
                    </a:lnTo>
                    <a:lnTo>
                      <a:pt x="639" y="420"/>
                    </a:lnTo>
                    <a:lnTo>
                      <a:pt x="639" y="418"/>
                    </a:lnTo>
                    <a:lnTo>
                      <a:pt x="640" y="418"/>
                    </a:lnTo>
                    <a:lnTo>
                      <a:pt x="640" y="417"/>
                    </a:lnTo>
                    <a:lnTo>
                      <a:pt x="642" y="417"/>
                    </a:lnTo>
                    <a:lnTo>
                      <a:pt x="642" y="415"/>
                    </a:lnTo>
                    <a:lnTo>
                      <a:pt x="643" y="415"/>
                    </a:lnTo>
                    <a:lnTo>
                      <a:pt x="645" y="414"/>
                    </a:lnTo>
                    <a:lnTo>
                      <a:pt x="646" y="412"/>
                    </a:lnTo>
                    <a:lnTo>
                      <a:pt x="648" y="411"/>
                    </a:lnTo>
                    <a:lnTo>
                      <a:pt x="648" y="409"/>
                    </a:lnTo>
                    <a:lnTo>
                      <a:pt x="650" y="409"/>
                    </a:lnTo>
                    <a:lnTo>
                      <a:pt x="650" y="407"/>
                    </a:lnTo>
                    <a:lnTo>
                      <a:pt x="650" y="406"/>
                    </a:lnTo>
                    <a:lnTo>
                      <a:pt x="651" y="404"/>
                    </a:lnTo>
                    <a:lnTo>
                      <a:pt x="651" y="403"/>
                    </a:lnTo>
                    <a:lnTo>
                      <a:pt x="651" y="401"/>
                    </a:lnTo>
                    <a:lnTo>
                      <a:pt x="653" y="399"/>
                    </a:lnTo>
                    <a:lnTo>
                      <a:pt x="653" y="398"/>
                    </a:lnTo>
                    <a:lnTo>
                      <a:pt x="653" y="396"/>
                    </a:lnTo>
                    <a:lnTo>
                      <a:pt x="654" y="395"/>
                    </a:lnTo>
                    <a:lnTo>
                      <a:pt x="654" y="393"/>
                    </a:lnTo>
                    <a:lnTo>
                      <a:pt x="656" y="392"/>
                    </a:lnTo>
                    <a:lnTo>
                      <a:pt x="656" y="390"/>
                    </a:lnTo>
                    <a:lnTo>
                      <a:pt x="658" y="390"/>
                    </a:lnTo>
                    <a:lnTo>
                      <a:pt x="658" y="388"/>
                    </a:lnTo>
                    <a:lnTo>
                      <a:pt x="659" y="388"/>
                    </a:lnTo>
                    <a:lnTo>
                      <a:pt x="659" y="387"/>
                    </a:lnTo>
                    <a:lnTo>
                      <a:pt x="661" y="387"/>
                    </a:lnTo>
                    <a:lnTo>
                      <a:pt x="661" y="385"/>
                    </a:lnTo>
                    <a:lnTo>
                      <a:pt x="662" y="385"/>
                    </a:lnTo>
                    <a:lnTo>
                      <a:pt x="664" y="385"/>
                    </a:lnTo>
                    <a:lnTo>
                      <a:pt x="665" y="385"/>
                    </a:lnTo>
                    <a:lnTo>
                      <a:pt x="667" y="385"/>
                    </a:lnTo>
                    <a:lnTo>
                      <a:pt x="669" y="385"/>
                    </a:lnTo>
                    <a:lnTo>
                      <a:pt x="670" y="385"/>
                    </a:lnTo>
                    <a:lnTo>
                      <a:pt x="672" y="385"/>
                    </a:lnTo>
                    <a:lnTo>
                      <a:pt x="673" y="385"/>
                    </a:lnTo>
                    <a:lnTo>
                      <a:pt x="675" y="385"/>
                    </a:lnTo>
                    <a:lnTo>
                      <a:pt x="677" y="387"/>
                    </a:lnTo>
                    <a:lnTo>
                      <a:pt x="678" y="387"/>
                    </a:lnTo>
                    <a:lnTo>
                      <a:pt x="680" y="387"/>
                    </a:lnTo>
                    <a:lnTo>
                      <a:pt x="681" y="387"/>
                    </a:lnTo>
                    <a:lnTo>
                      <a:pt x="681" y="388"/>
                    </a:lnTo>
                    <a:lnTo>
                      <a:pt x="683" y="388"/>
                    </a:lnTo>
                    <a:lnTo>
                      <a:pt x="684" y="388"/>
                    </a:lnTo>
                    <a:lnTo>
                      <a:pt x="686" y="388"/>
                    </a:lnTo>
                    <a:lnTo>
                      <a:pt x="688" y="390"/>
                    </a:lnTo>
                    <a:lnTo>
                      <a:pt x="689" y="390"/>
                    </a:lnTo>
                    <a:lnTo>
                      <a:pt x="691" y="390"/>
                    </a:lnTo>
                    <a:lnTo>
                      <a:pt x="692" y="390"/>
                    </a:lnTo>
                    <a:lnTo>
                      <a:pt x="694" y="390"/>
                    </a:lnTo>
                    <a:lnTo>
                      <a:pt x="696" y="388"/>
                    </a:lnTo>
                    <a:lnTo>
                      <a:pt x="697" y="387"/>
                    </a:lnTo>
                    <a:lnTo>
                      <a:pt x="699" y="385"/>
                    </a:lnTo>
                    <a:lnTo>
                      <a:pt x="700" y="384"/>
                    </a:lnTo>
                    <a:lnTo>
                      <a:pt x="702" y="384"/>
                    </a:lnTo>
                    <a:lnTo>
                      <a:pt x="702" y="382"/>
                    </a:lnTo>
                    <a:lnTo>
                      <a:pt x="703" y="382"/>
                    </a:lnTo>
                    <a:lnTo>
                      <a:pt x="705" y="382"/>
                    </a:lnTo>
                    <a:lnTo>
                      <a:pt x="707" y="382"/>
                    </a:lnTo>
                    <a:lnTo>
                      <a:pt x="708" y="382"/>
                    </a:lnTo>
                    <a:lnTo>
                      <a:pt x="708" y="384"/>
                    </a:lnTo>
                    <a:lnTo>
                      <a:pt x="710" y="384"/>
                    </a:lnTo>
                    <a:lnTo>
                      <a:pt x="711" y="384"/>
                    </a:lnTo>
                    <a:lnTo>
                      <a:pt x="713" y="384"/>
                    </a:lnTo>
                    <a:lnTo>
                      <a:pt x="715" y="384"/>
                    </a:lnTo>
                    <a:lnTo>
                      <a:pt x="716" y="384"/>
                    </a:lnTo>
                    <a:lnTo>
                      <a:pt x="718" y="382"/>
                    </a:lnTo>
                    <a:lnTo>
                      <a:pt x="719" y="382"/>
                    </a:lnTo>
                    <a:lnTo>
                      <a:pt x="721" y="382"/>
                    </a:lnTo>
                    <a:lnTo>
                      <a:pt x="722" y="380"/>
                    </a:lnTo>
                    <a:lnTo>
                      <a:pt x="722" y="379"/>
                    </a:lnTo>
                    <a:lnTo>
                      <a:pt x="724" y="379"/>
                    </a:lnTo>
                    <a:lnTo>
                      <a:pt x="726" y="377"/>
                    </a:lnTo>
                    <a:lnTo>
                      <a:pt x="726" y="376"/>
                    </a:lnTo>
                    <a:lnTo>
                      <a:pt x="726" y="374"/>
                    </a:lnTo>
                    <a:lnTo>
                      <a:pt x="726" y="373"/>
                    </a:lnTo>
                    <a:lnTo>
                      <a:pt x="727" y="371"/>
                    </a:lnTo>
                    <a:lnTo>
                      <a:pt x="727" y="369"/>
                    </a:lnTo>
                    <a:lnTo>
                      <a:pt x="727" y="368"/>
                    </a:lnTo>
                    <a:lnTo>
                      <a:pt x="727" y="366"/>
                    </a:lnTo>
                    <a:lnTo>
                      <a:pt x="729" y="366"/>
                    </a:lnTo>
                    <a:lnTo>
                      <a:pt x="729" y="365"/>
                    </a:lnTo>
                    <a:lnTo>
                      <a:pt x="729" y="363"/>
                    </a:lnTo>
                    <a:lnTo>
                      <a:pt x="729" y="361"/>
                    </a:lnTo>
                    <a:lnTo>
                      <a:pt x="729" y="360"/>
                    </a:lnTo>
                    <a:lnTo>
                      <a:pt x="729" y="358"/>
                    </a:lnTo>
                    <a:lnTo>
                      <a:pt x="730" y="358"/>
                    </a:lnTo>
                    <a:lnTo>
                      <a:pt x="730" y="357"/>
                    </a:lnTo>
                    <a:lnTo>
                      <a:pt x="730" y="355"/>
                    </a:lnTo>
                    <a:lnTo>
                      <a:pt x="730" y="354"/>
                    </a:lnTo>
                    <a:lnTo>
                      <a:pt x="730" y="352"/>
                    </a:lnTo>
                    <a:lnTo>
                      <a:pt x="730" y="350"/>
                    </a:lnTo>
                    <a:lnTo>
                      <a:pt x="732" y="349"/>
                    </a:lnTo>
                    <a:lnTo>
                      <a:pt x="732" y="347"/>
                    </a:lnTo>
                    <a:lnTo>
                      <a:pt x="734" y="347"/>
                    </a:lnTo>
                    <a:lnTo>
                      <a:pt x="734" y="346"/>
                    </a:lnTo>
                    <a:lnTo>
                      <a:pt x="735" y="346"/>
                    </a:lnTo>
                    <a:lnTo>
                      <a:pt x="737" y="346"/>
                    </a:lnTo>
                    <a:lnTo>
                      <a:pt x="738" y="346"/>
                    </a:lnTo>
                    <a:lnTo>
                      <a:pt x="740" y="344"/>
                    </a:lnTo>
                    <a:lnTo>
                      <a:pt x="741" y="344"/>
                    </a:lnTo>
                    <a:lnTo>
                      <a:pt x="741" y="342"/>
                    </a:lnTo>
                    <a:lnTo>
                      <a:pt x="743" y="342"/>
                    </a:lnTo>
                    <a:lnTo>
                      <a:pt x="743" y="341"/>
                    </a:lnTo>
                    <a:lnTo>
                      <a:pt x="745" y="341"/>
                    </a:lnTo>
                    <a:lnTo>
                      <a:pt x="746" y="339"/>
                    </a:lnTo>
                    <a:lnTo>
                      <a:pt x="746" y="338"/>
                    </a:lnTo>
                    <a:lnTo>
                      <a:pt x="746" y="336"/>
                    </a:lnTo>
                    <a:lnTo>
                      <a:pt x="746" y="335"/>
                    </a:lnTo>
                    <a:lnTo>
                      <a:pt x="746" y="333"/>
                    </a:lnTo>
                    <a:lnTo>
                      <a:pt x="745" y="333"/>
                    </a:lnTo>
                    <a:lnTo>
                      <a:pt x="745" y="331"/>
                    </a:lnTo>
                    <a:lnTo>
                      <a:pt x="746" y="330"/>
                    </a:lnTo>
                    <a:lnTo>
                      <a:pt x="746" y="328"/>
                    </a:lnTo>
                    <a:lnTo>
                      <a:pt x="745" y="325"/>
                    </a:lnTo>
                    <a:lnTo>
                      <a:pt x="746" y="323"/>
                    </a:lnTo>
                    <a:lnTo>
                      <a:pt x="746" y="322"/>
                    </a:lnTo>
                    <a:lnTo>
                      <a:pt x="746" y="320"/>
                    </a:lnTo>
                    <a:lnTo>
                      <a:pt x="746" y="319"/>
                    </a:lnTo>
                    <a:lnTo>
                      <a:pt x="746" y="317"/>
                    </a:lnTo>
                    <a:lnTo>
                      <a:pt x="748" y="315"/>
                    </a:lnTo>
                    <a:lnTo>
                      <a:pt x="748" y="314"/>
                    </a:lnTo>
                    <a:lnTo>
                      <a:pt x="748" y="312"/>
                    </a:lnTo>
                    <a:lnTo>
                      <a:pt x="748" y="311"/>
                    </a:lnTo>
                    <a:lnTo>
                      <a:pt x="746" y="311"/>
                    </a:lnTo>
                    <a:lnTo>
                      <a:pt x="746" y="309"/>
                    </a:lnTo>
                    <a:lnTo>
                      <a:pt x="746" y="308"/>
                    </a:lnTo>
                    <a:lnTo>
                      <a:pt x="748" y="308"/>
                    </a:lnTo>
                    <a:lnTo>
                      <a:pt x="749" y="308"/>
                    </a:lnTo>
                    <a:lnTo>
                      <a:pt x="749" y="306"/>
                    </a:lnTo>
                    <a:lnTo>
                      <a:pt x="751" y="306"/>
                    </a:lnTo>
                    <a:lnTo>
                      <a:pt x="753" y="304"/>
                    </a:lnTo>
                    <a:lnTo>
                      <a:pt x="753" y="303"/>
                    </a:lnTo>
                    <a:lnTo>
                      <a:pt x="753" y="301"/>
                    </a:lnTo>
                    <a:lnTo>
                      <a:pt x="753" y="300"/>
                    </a:lnTo>
                    <a:lnTo>
                      <a:pt x="753" y="298"/>
                    </a:lnTo>
                    <a:lnTo>
                      <a:pt x="753" y="296"/>
                    </a:lnTo>
                    <a:lnTo>
                      <a:pt x="754" y="295"/>
                    </a:lnTo>
                    <a:lnTo>
                      <a:pt x="754" y="293"/>
                    </a:lnTo>
                    <a:lnTo>
                      <a:pt x="756" y="293"/>
                    </a:lnTo>
                    <a:lnTo>
                      <a:pt x="756" y="292"/>
                    </a:lnTo>
                    <a:lnTo>
                      <a:pt x="756" y="290"/>
                    </a:lnTo>
                    <a:lnTo>
                      <a:pt x="757" y="289"/>
                    </a:lnTo>
                    <a:lnTo>
                      <a:pt x="757" y="287"/>
                    </a:lnTo>
                    <a:lnTo>
                      <a:pt x="757" y="285"/>
                    </a:lnTo>
                    <a:lnTo>
                      <a:pt x="757" y="284"/>
                    </a:lnTo>
                    <a:lnTo>
                      <a:pt x="759" y="284"/>
                    </a:lnTo>
                    <a:lnTo>
                      <a:pt x="759" y="282"/>
                    </a:lnTo>
                    <a:lnTo>
                      <a:pt x="759" y="281"/>
                    </a:lnTo>
                    <a:lnTo>
                      <a:pt x="759" y="279"/>
                    </a:lnTo>
                    <a:lnTo>
                      <a:pt x="759" y="277"/>
                    </a:lnTo>
                    <a:lnTo>
                      <a:pt x="759" y="276"/>
                    </a:lnTo>
                    <a:lnTo>
                      <a:pt x="760" y="274"/>
                    </a:lnTo>
                    <a:lnTo>
                      <a:pt x="760" y="276"/>
                    </a:lnTo>
                    <a:lnTo>
                      <a:pt x="762" y="274"/>
                    </a:lnTo>
                    <a:lnTo>
                      <a:pt x="762" y="273"/>
                    </a:lnTo>
                    <a:lnTo>
                      <a:pt x="760" y="273"/>
                    </a:lnTo>
                    <a:lnTo>
                      <a:pt x="760" y="271"/>
                    </a:lnTo>
                    <a:lnTo>
                      <a:pt x="759" y="271"/>
                    </a:lnTo>
                    <a:lnTo>
                      <a:pt x="759" y="270"/>
                    </a:lnTo>
                    <a:lnTo>
                      <a:pt x="757" y="270"/>
                    </a:lnTo>
                    <a:lnTo>
                      <a:pt x="757" y="268"/>
                    </a:lnTo>
                    <a:lnTo>
                      <a:pt x="757" y="266"/>
                    </a:lnTo>
                    <a:lnTo>
                      <a:pt x="757" y="265"/>
                    </a:lnTo>
                    <a:lnTo>
                      <a:pt x="757" y="263"/>
                    </a:lnTo>
                    <a:lnTo>
                      <a:pt x="756" y="262"/>
                    </a:lnTo>
                    <a:lnTo>
                      <a:pt x="756" y="260"/>
                    </a:lnTo>
                    <a:lnTo>
                      <a:pt x="756" y="258"/>
                    </a:lnTo>
                    <a:lnTo>
                      <a:pt x="756" y="257"/>
                    </a:lnTo>
                    <a:lnTo>
                      <a:pt x="756" y="255"/>
                    </a:lnTo>
                    <a:lnTo>
                      <a:pt x="754" y="254"/>
                    </a:lnTo>
                    <a:lnTo>
                      <a:pt x="754" y="252"/>
                    </a:lnTo>
                    <a:lnTo>
                      <a:pt x="754" y="251"/>
                    </a:lnTo>
                    <a:lnTo>
                      <a:pt x="754" y="249"/>
                    </a:lnTo>
                    <a:lnTo>
                      <a:pt x="754" y="247"/>
                    </a:lnTo>
                    <a:lnTo>
                      <a:pt x="753" y="247"/>
                    </a:lnTo>
                    <a:lnTo>
                      <a:pt x="753" y="246"/>
                    </a:lnTo>
                    <a:lnTo>
                      <a:pt x="751" y="246"/>
                    </a:lnTo>
                    <a:lnTo>
                      <a:pt x="751" y="244"/>
                    </a:lnTo>
                    <a:lnTo>
                      <a:pt x="751" y="243"/>
                    </a:lnTo>
                    <a:lnTo>
                      <a:pt x="751" y="241"/>
                    </a:lnTo>
                    <a:lnTo>
                      <a:pt x="751" y="239"/>
                    </a:lnTo>
                    <a:lnTo>
                      <a:pt x="751" y="238"/>
                    </a:lnTo>
                    <a:lnTo>
                      <a:pt x="751" y="236"/>
                    </a:lnTo>
                    <a:lnTo>
                      <a:pt x="751" y="235"/>
                    </a:lnTo>
                    <a:lnTo>
                      <a:pt x="751" y="233"/>
                    </a:lnTo>
                    <a:lnTo>
                      <a:pt x="751" y="232"/>
                    </a:lnTo>
                    <a:lnTo>
                      <a:pt x="751" y="230"/>
                    </a:lnTo>
                    <a:lnTo>
                      <a:pt x="753" y="230"/>
                    </a:lnTo>
                    <a:lnTo>
                      <a:pt x="753" y="228"/>
                    </a:lnTo>
                    <a:lnTo>
                      <a:pt x="765" y="227"/>
                    </a:lnTo>
                    <a:lnTo>
                      <a:pt x="765" y="225"/>
                    </a:lnTo>
                    <a:lnTo>
                      <a:pt x="767" y="225"/>
                    </a:lnTo>
                    <a:lnTo>
                      <a:pt x="767" y="224"/>
                    </a:lnTo>
                    <a:lnTo>
                      <a:pt x="767" y="222"/>
                    </a:lnTo>
                    <a:lnTo>
                      <a:pt x="768" y="222"/>
                    </a:lnTo>
                    <a:lnTo>
                      <a:pt x="768" y="220"/>
                    </a:lnTo>
                    <a:lnTo>
                      <a:pt x="770" y="219"/>
                    </a:lnTo>
                    <a:lnTo>
                      <a:pt x="770" y="217"/>
                    </a:lnTo>
                    <a:lnTo>
                      <a:pt x="772" y="217"/>
                    </a:lnTo>
                    <a:lnTo>
                      <a:pt x="773" y="217"/>
                    </a:lnTo>
                    <a:lnTo>
                      <a:pt x="775" y="216"/>
                    </a:lnTo>
                    <a:lnTo>
                      <a:pt x="776" y="216"/>
                    </a:lnTo>
                    <a:lnTo>
                      <a:pt x="778" y="216"/>
                    </a:lnTo>
                    <a:lnTo>
                      <a:pt x="779" y="216"/>
                    </a:lnTo>
                    <a:lnTo>
                      <a:pt x="779" y="214"/>
                    </a:lnTo>
                    <a:lnTo>
                      <a:pt x="781" y="214"/>
                    </a:lnTo>
                    <a:lnTo>
                      <a:pt x="783" y="214"/>
                    </a:lnTo>
                    <a:lnTo>
                      <a:pt x="783" y="213"/>
                    </a:lnTo>
                    <a:lnTo>
                      <a:pt x="784" y="213"/>
                    </a:lnTo>
                    <a:lnTo>
                      <a:pt x="786" y="211"/>
                    </a:lnTo>
                    <a:lnTo>
                      <a:pt x="787" y="211"/>
                    </a:lnTo>
                    <a:lnTo>
                      <a:pt x="787" y="209"/>
                    </a:lnTo>
                    <a:lnTo>
                      <a:pt x="789" y="209"/>
                    </a:lnTo>
                    <a:lnTo>
                      <a:pt x="789" y="208"/>
                    </a:lnTo>
                    <a:lnTo>
                      <a:pt x="791" y="208"/>
                    </a:lnTo>
                    <a:lnTo>
                      <a:pt x="791" y="206"/>
                    </a:lnTo>
                    <a:lnTo>
                      <a:pt x="792" y="206"/>
                    </a:lnTo>
                    <a:lnTo>
                      <a:pt x="792" y="208"/>
                    </a:lnTo>
                    <a:lnTo>
                      <a:pt x="794" y="208"/>
                    </a:lnTo>
                    <a:lnTo>
                      <a:pt x="794" y="209"/>
                    </a:lnTo>
                    <a:lnTo>
                      <a:pt x="795" y="209"/>
                    </a:lnTo>
                    <a:lnTo>
                      <a:pt x="795" y="208"/>
                    </a:lnTo>
                    <a:lnTo>
                      <a:pt x="797" y="208"/>
                    </a:lnTo>
                    <a:lnTo>
                      <a:pt x="797" y="209"/>
                    </a:lnTo>
                    <a:lnTo>
                      <a:pt x="799" y="209"/>
                    </a:lnTo>
                    <a:lnTo>
                      <a:pt x="799" y="211"/>
                    </a:lnTo>
                    <a:lnTo>
                      <a:pt x="800" y="213"/>
                    </a:lnTo>
                    <a:lnTo>
                      <a:pt x="802" y="213"/>
                    </a:lnTo>
                    <a:lnTo>
                      <a:pt x="803" y="214"/>
                    </a:lnTo>
                    <a:lnTo>
                      <a:pt x="803" y="216"/>
                    </a:lnTo>
                    <a:lnTo>
                      <a:pt x="805" y="216"/>
                    </a:lnTo>
                    <a:lnTo>
                      <a:pt x="806" y="216"/>
                    </a:lnTo>
                    <a:lnTo>
                      <a:pt x="808" y="216"/>
                    </a:lnTo>
                    <a:lnTo>
                      <a:pt x="810" y="216"/>
                    </a:lnTo>
                    <a:lnTo>
                      <a:pt x="811" y="216"/>
                    </a:lnTo>
                    <a:lnTo>
                      <a:pt x="811" y="214"/>
                    </a:lnTo>
                    <a:lnTo>
                      <a:pt x="813" y="214"/>
                    </a:lnTo>
                    <a:lnTo>
                      <a:pt x="814" y="214"/>
                    </a:lnTo>
                    <a:lnTo>
                      <a:pt x="816" y="214"/>
                    </a:lnTo>
                    <a:lnTo>
                      <a:pt x="816" y="213"/>
                    </a:lnTo>
                    <a:lnTo>
                      <a:pt x="818" y="213"/>
                    </a:lnTo>
                    <a:lnTo>
                      <a:pt x="819" y="211"/>
                    </a:lnTo>
                    <a:lnTo>
                      <a:pt x="821" y="211"/>
                    </a:lnTo>
                    <a:lnTo>
                      <a:pt x="821" y="209"/>
                    </a:lnTo>
                    <a:lnTo>
                      <a:pt x="822" y="209"/>
                    </a:lnTo>
                    <a:lnTo>
                      <a:pt x="822" y="208"/>
                    </a:lnTo>
                    <a:lnTo>
                      <a:pt x="824" y="208"/>
                    </a:lnTo>
                    <a:lnTo>
                      <a:pt x="824" y="206"/>
                    </a:lnTo>
                    <a:lnTo>
                      <a:pt x="825" y="206"/>
                    </a:lnTo>
                    <a:lnTo>
                      <a:pt x="825" y="205"/>
                    </a:lnTo>
                    <a:lnTo>
                      <a:pt x="827" y="205"/>
                    </a:lnTo>
                    <a:lnTo>
                      <a:pt x="827" y="203"/>
                    </a:lnTo>
                    <a:lnTo>
                      <a:pt x="829" y="203"/>
                    </a:lnTo>
                    <a:lnTo>
                      <a:pt x="830" y="203"/>
                    </a:lnTo>
                    <a:lnTo>
                      <a:pt x="832" y="203"/>
                    </a:lnTo>
                    <a:lnTo>
                      <a:pt x="832" y="205"/>
                    </a:lnTo>
                    <a:lnTo>
                      <a:pt x="833" y="205"/>
                    </a:lnTo>
                    <a:lnTo>
                      <a:pt x="835" y="205"/>
                    </a:lnTo>
                    <a:lnTo>
                      <a:pt x="837" y="203"/>
                    </a:lnTo>
                    <a:lnTo>
                      <a:pt x="838" y="203"/>
                    </a:lnTo>
                    <a:lnTo>
                      <a:pt x="840" y="203"/>
                    </a:lnTo>
                    <a:lnTo>
                      <a:pt x="841" y="203"/>
                    </a:lnTo>
                    <a:lnTo>
                      <a:pt x="841" y="201"/>
                    </a:lnTo>
                    <a:lnTo>
                      <a:pt x="841" y="200"/>
                    </a:lnTo>
                    <a:lnTo>
                      <a:pt x="843" y="200"/>
                    </a:lnTo>
                    <a:lnTo>
                      <a:pt x="843" y="198"/>
                    </a:lnTo>
                    <a:lnTo>
                      <a:pt x="844" y="197"/>
                    </a:lnTo>
                    <a:lnTo>
                      <a:pt x="844" y="195"/>
                    </a:lnTo>
                    <a:lnTo>
                      <a:pt x="844" y="194"/>
                    </a:lnTo>
                    <a:lnTo>
                      <a:pt x="844" y="192"/>
                    </a:lnTo>
                    <a:lnTo>
                      <a:pt x="844" y="190"/>
                    </a:lnTo>
                    <a:lnTo>
                      <a:pt x="844" y="189"/>
                    </a:lnTo>
                    <a:lnTo>
                      <a:pt x="844" y="187"/>
                    </a:lnTo>
                    <a:lnTo>
                      <a:pt x="844" y="186"/>
                    </a:lnTo>
                    <a:lnTo>
                      <a:pt x="844" y="184"/>
                    </a:lnTo>
                    <a:lnTo>
                      <a:pt x="844" y="182"/>
                    </a:lnTo>
                    <a:lnTo>
                      <a:pt x="844" y="181"/>
                    </a:lnTo>
                    <a:lnTo>
                      <a:pt x="843" y="179"/>
                    </a:lnTo>
                    <a:lnTo>
                      <a:pt x="843" y="178"/>
                    </a:lnTo>
                    <a:lnTo>
                      <a:pt x="843" y="176"/>
                    </a:lnTo>
                    <a:lnTo>
                      <a:pt x="841" y="175"/>
                    </a:lnTo>
                    <a:lnTo>
                      <a:pt x="840" y="175"/>
                    </a:lnTo>
                    <a:lnTo>
                      <a:pt x="840" y="173"/>
                    </a:lnTo>
                    <a:lnTo>
                      <a:pt x="838" y="173"/>
                    </a:lnTo>
                    <a:lnTo>
                      <a:pt x="838" y="171"/>
                    </a:lnTo>
                    <a:lnTo>
                      <a:pt x="837" y="171"/>
                    </a:lnTo>
                    <a:lnTo>
                      <a:pt x="835" y="171"/>
                    </a:lnTo>
                    <a:lnTo>
                      <a:pt x="835" y="170"/>
                    </a:lnTo>
                    <a:lnTo>
                      <a:pt x="833" y="170"/>
                    </a:lnTo>
                    <a:lnTo>
                      <a:pt x="833" y="168"/>
                    </a:lnTo>
                    <a:lnTo>
                      <a:pt x="832" y="168"/>
                    </a:lnTo>
                    <a:lnTo>
                      <a:pt x="830" y="168"/>
                    </a:lnTo>
                    <a:lnTo>
                      <a:pt x="830" y="167"/>
                    </a:lnTo>
                    <a:lnTo>
                      <a:pt x="829" y="167"/>
                    </a:lnTo>
                    <a:lnTo>
                      <a:pt x="827" y="165"/>
                    </a:lnTo>
                    <a:lnTo>
                      <a:pt x="825" y="165"/>
                    </a:lnTo>
                    <a:lnTo>
                      <a:pt x="825" y="163"/>
                    </a:lnTo>
                    <a:lnTo>
                      <a:pt x="824" y="163"/>
                    </a:lnTo>
                    <a:lnTo>
                      <a:pt x="822" y="163"/>
                    </a:lnTo>
                    <a:lnTo>
                      <a:pt x="822" y="162"/>
                    </a:lnTo>
                    <a:lnTo>
                      <a:pt x="821" y="162"/>
                    </a:lnTo>
                    <a:lnTo>
                      <a:pt x="819" y="162"/>
                    </a:lnTo>
                    <a:lnTo>
                      <a:pt x="819" y="160"/>
                    </a:lnTo>
                    <a:lnTo>
                      <a:pt x="818" y="160"/>
                    </a:lnTo>
                    <a:lnTo>
                      <a:pt x="816" y="160"/>
                    </a:lnTo>
                    <a:lnTo>
                      <a:pt x="816" y="159"/>
                    </a:lnTo>
                    <a:lnTo>
                      <a:pt x="814" y="159"/>
                    </a:lnTo>
                    <a:lnTo>
                      <a:pt x="813" y="157"/>
                    </a:lnTo>
                    <a:lnTo>
                      <a:pt x="811" y="157"/>
                    </a:lnTo>
                    <a:lnTo>
                      <a:pt x="810" y="156"/>
                    </a:lnTo>
                    <a:lnTo>
                      <a:pt x="808" y="156"/>
                    </a:lnTo>
                    <a:lnTo>
                      <a:pt x="806" y="154"/>
                    </a:lnTo>
                    <a:lnTo>
                      <a:pt x="805" y="154"/>
                    </a:lnTo>
                    <a:lnTo>
                      <a:pt x="803" y="152"/>
                    </a:lnTo>
                    <a:lnTo>
                      <a:pt x="802" y="152"/>
                    </a:lnTo>
                    <a:lnTo>
                      <a:pt x="800" y="151"/>
                    </a:lnTo>
                    <a:lnTo>
                      <a:pt x="799" y="151"/>
                    </a:lnTo>
                    <a:lnTo>
                      <a:pt x="799" y="149"/>
                    </a:lnTo>
                    <a:lnTo>
                      <a:pt x="797" y="149"/>
                    </a:lnTo>
                    <a:lnTo>
                      <a:pt x="795" y="149"/>
                    </a:lnTo>
                    <a:lnTo>
                      <a:pt x="795" y="148"/>
                    </a:lnTo>
                    <a:lnTo>
                      <a:pt x="794" y="148"/>
                    </a:lnTo>
                    <a:lnTo>
                      <a:pt x="794" y="146"/>
                    </a:lnTo>
                    <a:lnTo>
                      <a:pt x="794" y="144"/>
                    </a:lnTo>
                    <a:lnTo>
                      <a:pt x="794" y="143"/>
                    </a:lnTo>
                    <a:lnTo>
                      <a:pt x="794" y="141"/>
                    </a:lnTo>
                    <a:lnTo>
                      <a:pt x="794" y="140"/>
                    </a:lnTo>
                    <a:lnTo>
                      <a:pt x="795" y="140"/>
                    </a:lnTo>
                    <a:lnTo>
                      <a:pt x="795" y="138"/>
                    </a:lnTo>
                    <a:lnTo>
                      <a:pt x="795" y="137"/>
                    </a:lnTo>
                    <a:lnTo>
                      <a:pt x="797" y="137"/>
                    </a:lnTo>
                    <a:lnTo>
                      <a:pt x="797" y="135"/>
                    </a:lnTo>
                    <a:lnTo>
                      <a:pt x="797" y="133"/>
                    </a:lnTo>
                    <a:lnTo>
                      <a:pt x="799" y="132"/>
                    </a:lnTo>
                    <a:lnTo>
                      <a:pt x="799" y="130"/>
                    </a:lnTo>
                    <a:lnTo>
                      <a:pt x="800" y="130"/>
                    </a:lnTo>
                    <a:lnTo>
                      <a:pt x="800" y="129"/>
                    </a:lnTo>
                    <a:lnTo>
                      <a:pt x="800" y="127"/>
                    </a:lnTo>
                    <a:lnTo>
                      <a:pt x="802" y="125"/>
                    </a:lnTo>
                    <a:lnTo>
                      <a:pt x="802" y="124"/>
                    </a:lnTo>
                    <a:lnTo>
                      <a:pt x="803" y="122"/>
                    </a:lnTo>
                    <a:lnTo>
                      <a:pt x="803" y="121"/>
                    </a:lnTo>
                    <a:lnTo>
                      <a:pt x="805" y="121"/>
                    </a:lnTo>
                    <a:lnTo>
                      <a:pt x="805" y="119"/>
                    </a:lnTo>
                    <a:lnTo>
                      <a:pt x="806" y="119"/>
                    </a:lnTo>
                    <a:lnTo>
                      <a:pt x="808" y="117"/>
                    </a:lnTo>
                    <a:lnTo>
                      <a:pt x="810" y="117"/>
                    </a:lnTo>
                    <a:lnTo>
                      <a:pt x="810" y="116"/>
                    </a:lnTo>
                    <a:lnTo>
                      <a:pt x="811" y="116"/>
                    </a:lnTo>
                    <a:lnTo>
                      <a:pt x="813" y="114"/>
                    </a:lnTo>
                    <a:lnTo>
                      <a:pt x="814" y="114"/>
                    </a:lnTo>
                    <a:lnTo>
                      <a:pt x="814" y="113"/>
                    </a:lnTo>
                    <a:lnTo>
                      <a:pt x="816" y="113"/>
                    </a:lnTo>
                    <a:lnTo>
                      <a:pt x="816" y="111"/>
                    </a:lnTo>
                    <a:lnTo>
                      <a:pt x="818" y="111"/>
                    </a:lnTo>
                    <a:lnTo>
                      <a:pt x="819" y="111"/>
                    </a:lnTo>
                    <a:lnTo>
                      <a:pt x="821" y="111"/>
                    </a:lnTo>
                    <a:lnTo>
                      <a:pt x="822" y="111"/>
                    </a:lnTo>
                    <a:lnTo>
                      <a:pt x="824" y="111"/>
                    </a:lnTo>
                    <a:lnTo>
                      <a:pt x="825" y="111"/>
                    </a:lnTo>
                    <a:lnTo>
                      <a:pt x="827" y="111"/>
                    </a:lnTo>
                    <a:lnTo>
                      <a:pt x="829" y="113"/>
                    </a:lnTo>
                    <a:lnTo>
                      <a:pt x="830" y="113"/>
                    </a:lnTo>
                    <a:lnTo>
                      <a:pt x="832" y="114"/>
                    </a:lnTo>
                    <a:lnTo>
                      <a:pt x="833" y="114"/>
                    </a:lnTo>
                    <a:lnTo>
                      <a:pt x="833" y="116"/>
                    </a:lnTo>
                    <a:lnTo>
                      <a:pt x="835" y="116"/>
                    </a:lnTo>
                    <a:lnTo>
                      <a:pt x="837" y="116"/>
                    </a:lnTo>
                    <a:lnTo>
                      <a:pt x="837" y="117"/>
                    </a:lnTo>
                    <a:lnTo>
                      <a:pt x="838" y="117"/>
                    </a:lnTo>
                    <a:lnTo>
                      <a:pt x="840" y="117"/>
                    </a:lnTo>
                    <a:lnTo>
                      <a:pt x="840" y="119"/>
                    </a:lnTo>
                    <a:lnTo>
                      <a:pt x="841" y="119"/>
                    </a:lnTo>
                    <a:lnTo>
                      <a:pt x="843" y="119"/>
                    </a:lnTo>
                    <a:lnTo>
                      <a:pt x="844" y="119"/>
                    </a:lnTo>
                    <a:lnTo>
                      <a:pt x="846" y="119"/>
                    </a:lnTo>
                    <a:lnTo>
                      <a:pt x="848" y="121"/>
                    </a:lnTo>
                    <a:lnTo>
                      <a:pt x="849" y="121"/>
                    </a:lnTo>
                    <a:lnTo>
                      <a:pt x="851" y="121"/>
                    </a:lnTo>
                    <a:lnTo>
                      <a:pt x="852" y="121"/>
                    </a:lnTo>
                    <a:lnTo>
                      <a:pt x="854" y="121"/>
                    </a:lnTo>
                    <a:lnTo>
                      <a:pt x="856" y="119"/>
                    </a:lnTo>
                    <a:lnTo>
                      <a:pt x="857" y="119"/>
                    </a:lnTo>
                    <a:lnTo>
                      <a:pt x="859" y="121"/>
                    </a:lnTo>
                    <a:lnTo>
                      <a:pt x="859" y="122"/>
                    </a:lnTo>
                    <a:lnTo>
                      <a:pt x="860" y="122"/>
                    </a:lnTo>
                    <a:lnTo>
                      <a:pt x="862" y="122"/>
                    </a:lnTo>
                    <a:lnTo>
                      <a:pt x="862" y="124"/>
                    </a:lnTo>
                    <a:lnTo>
                      <a:pt x="863" y="124"/>
                    </a:lnTo>
                    <a:lnTo>
                      <a:pt x="865" y="124"/>
                    </a:lnTo>
                    <a:lnTo>
                      <a:pt x="865" y="122"/>
                    </a:lnTo>
                    <a:lnTo>
                      <a:pt x="867" y="122"/>
                    </a:lnTo>
                    <a:lnTo>
                      <a:pt x="868" y="122"/>
                    </a:lnTo>
                    <a:lnTo>
                      <a:pt x="870" y="122"/>
                    </a:lnTo>
                    <a:lnTo>
                      <a:pt x="871" y="122"/>
                    </a:lnTo>
                    <a:lnTo>
                      <a:pt x="871" y="124"/>
                    </a:lnTo>
                    <a:lnTo>
                      <a:pt x="873" y="124"/>
                    </a:lnTo>
                    <a:lnTo>
                      <a:pt x="875" y="124"/>
                    </a:lnTo>
                    <a:lnTo>
                      <a:pt x="876" y="124"/>
                    </a:lnTo>
                    <a:lnTo>
                      <a:pt x="878" y="125"/>
                    </a:lnTo>
                    <a:lnTo>
                      <a:pt x="879" y="125"/>
                    </a:lnTo>
                    <a:lnTo>
                      <a:pt x="881" y="125"/>
                    </a:lnTo>
                    <a:lnTo>
                      <a:pt x="882" y="125"/>
                    </a:lnTo>
                    <a:lnTo>
                      <a:pt x="882" y="124"/>
                    </a:lnTo>
                    <a:lnTo>
                      <a:pt x="884" y="124"/>
                    </a:lnTo>
                    <a:lnTo>
                      <a:pt x="882" y="122"/>
                    </a:lnTo>
                    <a:lnTo>
                      <a:pt x="882" y="121"/>
                    </a:lnTo>
                    <a:lnTo>
                      <a:pt x="882" y="119"/>
                    </a:lnTo>
                    <a:lnTo>
                      <a:pt x="881" y="119"/>
                    </a:lnTo>
                    <a:lnTo>
                      <a:pt x="881" y="117"/>
                    </a:lnTo>
                    <a:lnTo>
                      <a:pt x="879" y="117"/>
                    </a:lnTo>
                    <a:lnTo>
                      <a:pt x="879" y="116"/>
                    </a:lnTo>
                    <a:lnTo>
                      <a:pt x="878" y="116"/>
                    </a:lnTo>
                    <a:lnTo>
                      <a:pt x="878" y="114"/>
                    </a:lnTo>
                    <a:lnTo>
                      <a:pt x="878" y="113"/>
                    </a:lnTo>
                    <a:lnTo>
                      <a:pt x="876" y="113"/>
                    </a:lnTo>
                    <a:lnTo>
                      <a:pt x="876" y="111"/>
                    </a:lnTo>
                    <a:lnTo>
                      <a:pt x="878" y="110"/>
                    </a:lnTo>
                    <a:lnTo>
                      <a:pt x="878" y="108"/>
                    </a:lnTo>
                    <a:lnTo>
                      <a:pt x="879" y="106"/>
                    </a:lnTo>
                    <a:lnTo>
                      <a:pt x="879" y="105"/>
                    </a:lnTo>
                    <a:lnTo>
                      <a:pt x="881" y="105"/>
                    </a:lnTo>
                    <a:lnTo>
                      <a:pt x="881" y="103"/>
                    </a:lnTo>
                    <a:lnTo>
                      <a:pt x="882" y="103"/>
                    </a:lnTo>
                    <a:lnTo>
                      <a:pt x="882" y="102"/>
                    </a:lnTo>
                    <a:lnTo>
                      <a:pt x="884" y="102"/>
                    </a:lnTo>
                    <a:lnTo>
                      <a:pt x="884" y="100"/>
                    </a:lnTo>
                    <a:lnTo>
                      <a:pt x="886" y="100"/>
                    </a:lnTo>
                    <a:lnTo>
                      <a:pt x="886" y="98"/>
                    </a:lnTo>
                    <a:lnTo>
                      <a:pt x="887" y="98"/>
                    </a:lnTo>
                    <a:lnTo>
                      <a:pt x="887" y="97"/>
                    </a:lnTo>
                    <a:lnTo>
                      <a:pt x="889" y="95"/>
                    </a:lnTo>
                    <a:lnTo>
                      <a:pt x="889" y="94"/>
                    </a:lnTo>
                    <a:lnTo>
                      <a:pt x="889" y="92"/>
                    </a:lnTo>
                    <a:lnTo>
                      <a:pt x="889" y="91"/>
                    </a:lnTo>
                    <a:lnTo>
                      <a:pt x="889" y="89"/>
                    </a:lnTo>
                    <a:lnTo>
                      <a:pt x="889" y="87"/>
                    </a:lnTo>
                    <a:lnTo>
                      <a:pt x="890" y="87"/>
                    </a:lnTo>
                    <a:lnTo>
                      <a:pt x="890" y="86"/>
                    </a:lnTo>
                    <a:lnTo>
                      <a:pt x="890" y="84"/>
                    </a:lnTo>
                    <a:lnTo>
                      <a:pt x="890" y="83"/>
                    </a:lnTo>
                    <a:lnTo>
                      <a:pt x="890" y="81"/>
                    </a:lnTo>
                    <a:lnTo>
                      <a:pt x="890" y="79"/>
                    </a:lnTo>
                    <a:lnTo>
                      <a:pt x="890" y="78"/>
                    </a:lnTo>
                    <a:lnTo>
                      <a:pt x="890" y="76"/>
                    </a:lnTo>
                    <a:lnTo>
                      <a:pt x="890" y="75"/>
                    </a:lnTo>
                    <a:lnTo>
                      <a:pt x="890" y="73"/>
                    </a:lnTo>
                    <a:lnTo>
                      <a:pt x="890" y="72"/>
                    </a:lnTo>
                    <a:lnTo>
                      <a:pt x="890" y="70"/>
                    </a:lnTo>
                    <a:lnTo>
                      <a:pt x="890" y="68"/>
                    </a:lnTo>
                    <a:lnTo>
                      <a:pt x="890" y="67"/>
                    </a:lnTo>
                    <a:lnTo>
                      <a:pt x="890" y="65"/>
                    </a:lnTo>
                    <a:lnTo>
                      <a:pt x="890" y="64"/>
                    </a:lnTo>
                    <a:lnTo>
                      <a:pt x="892" y="64"/>
                    </a:lnTo>
                    <a:lnTo>
                      <a:pt x="892" y="62"/>
                    </a:lnTo>
                    <a:lnTo>
                      <a:pt x="892" y="60"/>
                    </a:lnTo>
                    <a:lnTo>
                      <a:pt x="894" y="60"/>
                    </a:lnTo>
                    <a:lnTo>
                      <a:pt x="894" y="59"/>
                    </a:lnTo>
                    <a:lnTo>
                      <a:pt x="895" y="59"/>
                    </a:lnTo>
                    <a:lnTo>
                      <a:pt x="895" y="57"/>
                    </a:lnTo>
                    <a:lnTo>
                      <a:pt x="897" y="57"/>
                    </a:lnTo>
                    <a:lnTo>
                      <a:pt x="897" y="56"/>
                    </a:lnTo>
                    <a:lnTo>
                      <a:pt x="898" y="56"/>
                    </a:lnTo>
                    <a:lnTo>
                      <a:pt x="898" y="54"/>
                    </a:lnTo>
                    <a:lnTo>
                      <a:pt x="898" y="53"/>
                    </a:lnTo>
                    <a:lnTo>
                      <a:pt x="900" y="53"/>
                    </a:lnTo>
                    <a:lnTo>
                      <a:pt x="900" y="51"/>
                    </a:lnTo>
                    <a:lnTo>
                      <a:pt x="900" y="49"/>
                    </a:lnTo>
                    <a:lnTo>
                      <a:pt x="901" y="49"/>
                    </a:lnTo>
                    <a:lnTo>
                      <a:pt x="901" y="48"/>
                    </a:lnTo>
                    <a:lnTo>
                      <a:pt x="901" y="46"/>
                    </a:lnTo>
                    <a:lnTo>
                      <a:pt x="901" y="45"/>
                    </a:lnTo>
                    <a:lnTo>
                      <a:pt x="903" y="45"/>
                    </a:lnTo>
                    <a:lnTo>
                      <a:pt x="903" y="43"/>
                    </a:lnTo>
                    <a:lnTo>
                      <a:pt x="903" y="41"/>
                    </a:lnTo>
                    <a:lnTo>
                      <a:pt x="905" y="40"/>
                    </a:lnTo>
                    <a:lnTo>
                      <a:pt x="905" y="38"/>
                    </a:lnTo>
                    <a:lnTo>
                      <a:pt x="906" y="38"/>
                    </a:lnTo>
                    <a:lnTo>
                      <a:pt x="906" y="37"/>
                    </a:lnTo>
                    <a:lnTo>
                      <a:pt x="906" y="35"/>
                    </a:lnTo>
                    <a:lnTo>
                      <a:pt x="908" y="35"/>
                    </a:lnTo>
                    <a:lnTo>
                      <a:pt x="908" y="34"/>
                    </a:lnTo>
                    <a:lnTo>
                      <a:pt x="909" y="34"/>
                    </a:lnTo>
                    <a:lnTo>
                      <a:pt x="909" y="32"/>
                    </a:lnTo>
                    <a:lnTo>
                      <a:pt x="909" y="30"/>
                    </a:lnTo>
                    <a:lnTo>
                      <a:pt x="911" y="30"/>
                    </a:lnTo>
                    <a:lnTo>
                      <a:pt x="911" y="29"/>
                    </a:lnTo>
                    <a:lnTo>
                      <a:pt x="911" y="27"/>
                    </a:lnTo>
                    <a:lnTo>
                      <a:pt x="913" y="26"/>
                    </a:lnTo>
                    <a:lnTo>
                      <a:pt x="913" y="24"/>
                    </a:lnTo>
                    <a:lnTo>
                      <a:pt x="913" y="22"/>
                    </a:lnTo>
                    <a:lnTo>
                      <a:pt x="914" y="22"/>
                    </a:lnTo>
                    <a:lnTo>
                      <a:pt x="914" y="21"/>
                    </a:lnTo>
                    <a:lnTo>
                      <a:pt x="914" y="19"/>
                    </a:lnTo>
                    <a:lnTo>
                      <a:pt x="914" y="18"/>
                    </a:lnTo>
                    <a:lnTo>
                      <a:pt x="916" y="16"/>
                    </a:lnTo>
                    <a:lnTo>
                      <a:pt x="916" y="15"/>
                    </a:lnTo>
                    <a:lnTo>
                      <a:pt x="916" y="13"/>
                    </a:lnTo>
                    <a:lnTo>
                      <a:pt x="916" y="11"/>
                    </a:lnTo>
                    <a:lnTo>
                      <a:pt x="916" y="10"/>
                    </a:lnTo>
                    <a:lnTo>
                      <a:pt x="917" y="10"/>
                    </a:lnTo>
                    <a:lnTo>
                      <a:pt x="917" y="8"/>
                    </a:lnTo>
                    <a:lnTo>
                      <a:pt x="917" y="7"/>
                    </a:lnTo>
                    <a:lnTo>
                      <a:pt x="917" y="5"/>
                    </a:lnTo>
                    <a:lnTo>
                      <a:pt x="919" y="5"/>
                    </a:lnTo>
                    <a:lnTo>
                      <a:pt x="919" y="3"/>
                    </a:lnTo>
                    <a:lnTo>
                      <a:pt x="919" y="2"/>
                    </a:lnTo>
                    <a:lnTo>
                      <a:pt x="920" y="2"/>
                    </a:lnTo>
                    <a:lnTo>
                      <a:pt x="920" y="0"/>
                    </a:lnTo>
                    <a:lnTo>
                      <a:pt x="922" y="0"/>
                    </a:lnTo>
                    <a:lnTo>
                      <a:pt x="924" y="0"/>
                    </a:lnTo>
                    <a:lnTo>
                      <a:pt x="925" y="0"/>
                    </a:lnTo>
                    <a:lnTo>
                      <a:pt x="925" y="2"/>
                    </a:lnTo>
                    <a:lnTo>
                      <a:pt x="927" y="2"/>
                    </a:lnTo>
                    <a:lnTo>
                      <a:pt x="928" y="2"/>
                    </a:lnTo>
                    <a:lnTo>
                      <a:pt x="928" y="3"/>
                    </a:lnTo>
                    <a:lnTo>
                      <a:pt x="930" y="3"/>
                    </a:lnTo>
                    <a:lnTo>
                      <a:pt x="930" y="5"/>
                    </a:lnTo>
                    <a:lnTo>
                      <a:pt x="932" y="7"/>
                    </a:lnTo>
                    <a:lnTo>
                      <a:pt x="932" y="8"/>
                    </a:lnTo>
                    <a:lnTo>
                      <a:pt x="933" y="8"/>
                    </a:lnTo>
                    <a:lnTo>
                      <a:pt x="933" y="10"/>
                    </a:lnTo>
                    <a:lnTo>
                      <a:pt x="935" y="10"/>
                    </a:lnTo>
                    <a:lnTo>
                      <a:pt x="936" y="11"/>
                    </a:lnTo>
                    <a:lnTo>
                      <a:pt x="938" y="13"/>
                    </a:lnTo>
                    <a:lnTo>
                      <a:pt x="939" y="13"/>
                    </a:lnTo>
                    <a:lnTo>
                      <a:pt x="939" y="15"/>
                    </a:lnTo>
                    <a:lnTo>
                      <a:pt x="941" y="15"/>
                    </a:lnTo>
                    <a:lnTo>
                      <a:pt x="941" y="16"/>
                    </a:lnTo>
                    <a:lnTo>
                      <a:pt x="943" y="18"/>
                    </a:lnTo>
                    <a:lnTo>
                      <a:pt x="943" y="19"/>
                    </a:lnTo>
                    <a:lnTo>
                      <a:pt x="944" y="19"/>
                    </a:lnTo>
                    <a:lnTo>
                      <a:pt x="946" y="19"/>
                    </a:lnTo>
                    <a:lnTo>
                      <a:pt x="946" y="21"/>
                    </a:lnTo>
                    <a:lnTo>
                      <a:pt x="947" y="21"/>
                    </a:lnTo>
                    <a:lnTo>
                      <a:pt x="949" y="21"/>
                    </a:lnTo>
                    <a:lnTo>
                      <a:pt x="951" y="21"/>
                    </a:lnTo>
                    <a:lnTo>
                      <a:pt x="951" y="22"/>
                    </a:lnTo>
                    <a:lnTo>
                      <a:pt x="952" y="22"/>
                    </a:lnTo>
                    <a:lnTo>
                      <a:pt x="954" y="22"/>
                    </a:lnTo>
                    <a:lnTo>
                      <a:pt x="955" y="22"/>
                    </a:lnTo>
                    <a:close/>
                  </a:path>
                </a:pathLst>
              </a:custGeom>
              <a:solidFill>
                <a:srgbClr val="D3FF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42" name="Freeform 122"/>
              <p:cNvSpPr>
                <a:spLocks/>
              </p:cNvSpPr>
              <p:nvPr/>
            </p:nvSpPr>
            <p:spPr bwMode="auto">
              <a:xfrm>
                <a:off x="3201" y="930"/>
                <a:ext cx="583" cy="610"/>
              </a:xfrm>
              <a:custGeom>
                <a:avLst/>
                <a:gdLst>
                  <a:gd name="T0" fmla="*/ 249 w 583"/>
                  <a:gd name="T1" fmla="*/ 5 h 610"/>
                  <a:gd name="T2" fmla="*/ 270 w 583"/>
                  <a:gd name="T3" fmla="*/ 16 h 610"/>
                  <a:gd name="T4" fmla="*/ 285 w 583"/>
                  <a:gd name="T5" fmla="*/ 27 h 610"/>
                  <a:gd name="T6" fmla="*/ 304 w 583"/>
                  <a:gd name="T7" fmla="*/ 41 h 610"/>
                  <a:gd name="T8" fmla="*/ 323 w 583"/>
                  <a:gd name="T9" fmla="*/ 52 h 610"/>
                  <a:gd name="T10" fmla="*/ 338 w 583"/>
                  <a:gd name="T11" fmla="*/ 68 h 610"/>
                  <a:gd name="T12" fmla="*/ 355 w 583"/>
                  <a:gd name="T13" fmla="*/ 79 h 610"/>
                  <a:gd name="T14" fmla="*/ 377 w 583"/>
                  <a:gd name="T15" fmla="*/ 84 h 610"/>
                  <a:gd name="T16" fmla="*/ 401 w 583"/>
                  <a:gd name="T17" fmla="*/ 98 h 610"/>
                  <a:gd name="T18" fmla="*/ 423 w 583"/>
                  <a:gd name="T19" fmla="*/ 96 h 610"/>
                  <a:gd name="T20" fmla="*/ 450 w 583"/>
                  <a:gd name="T21" fmla="*/ 96 h 610"/>
                  <a:gd name="T22" fmla="*/ 477 w 583"/>
                  <a:gd name="T23" fmla="*/ 96 h 610"/>
                  <a:gd name="T24" fmla="*/ 504 w 583"/>
                  <a:gd name="T25" fmla="*/ 95 h 610"/>
                  <a:gd name="T26" fmla="*/ 531 w 583"/>
                  <a:gd name="T27" fmla="*/ 95 h 610"/>
                  <a:gd name="T28" fmla="*/ 558 w 583"/>
                  <a:gd name="T29" fmla="*/ 95 h 610"/>
                  <a:gd name="T30" fmla="*/ 583 w 583"/>
                  <a:gd name="T31" fmla="*/ 104 h 610"/>
                  <a:gd name="T32" fmla="*/ 578 w 583"/>
                  <a:gd name="T33" fmla="*/ 131 h 610"/>
                  <a:gd name="T34" fmla="*/ 575 w 583"/>
                  <a:gd name="T35" fmla="*/ 157 h 610"/>
                  <a:gd name="T36" fmla="*/ 569 w 583"/>
                  <a:gd name="T37" fmla="*/ 180 h 610"/>
                  <a:gd name="T38" fmla="*/ 563 w 583"/>
                  <a:gd name="T39" fmla="*/ 204 h 610"/>
                  <a:gd name="T40" fmla="*/ 558 w 583"/>
                  <a:gd name="T41" fmla="*/ 228 h 610"/>
                  <a:gd name="T42" fmla="*/ 540 w 583"/>
                  <a:gd name="T43" fmla="*/ 241 h 610"/>
                  <a:gd name="T44" fmla="*/ 520 w 583"/>
                  <a:gd name="T45" fmla="*/ 252 h 610"/>
                  <a:gd name="T46" fmla="*/ 507 w 583"/>
                  <a:gd name="T47" fmla="*/ 237 h 610"/>
                  <a:gd name="T48" fmla="*/ 487 w 583"/>
                  <a:gd name="T49" fmla="*/ 223 h 610"/>
                  <a:gd name="T50" fmla="*/ 480 w 583"/>
                  <a:gd name="T51" fmla="*/ 242 h 610"/>
                  <a:gd name="T52" fmla="*/ 480 w 583"/>
                  <a:gd name="T53" fmla="*/ 269 h 610"/>
                  <a:gd name="T54" fmla="*/ 479 w 583"/>
                  <a:gd name="T55" fmla="*/ 301 h 610"/>
                  <a:gd name="T56" fmla="*/ 479 w 583"/>
                  <a:gd name="T57" fmla="*/ 328 h 610"/>
                  <a:gd name="T58" fmla="*/ 479 w 583"/>
                  <a:gd name="T59" fmla="*/ 355 h 610"/>
                  <a:gd name="T60" fmla="*/ 477 w 583"/>
                  <a:gd name="T61" fmla="*/ 380 h 610"/>
                  <a:gd name="T62" fmla="*/ 477 w 583"/>
                  <a:gd name="T63" fmla="*/ 407 h 610"/>
                  <a:gd name="T64" fmla="*/ 475 w 583"/>
                  <a:gd name="T65" fmla="*/ 432 h 610"/>
                  <a:gd name="T66" fmla="*/ 475 w 583"/>
                  <a:gd name="T67" fmla="*/ 459 h 610"/>
                  <a:gd name="T68" fmla="*/ 460 w 583"/>
                  <a:gd name="T69" fmla="*/ 462 h 610"/>
                  <a:gd name="T70" fmla="*/ 449 w 583"/>
                  <a:gd name="T71" fmla="*/ 475 h 610"/>
                  <a:gd name="T72" fmla="*/ 433 w 583"/>
                  <a:gd name="T73" fmla="*/ 493 h 610"/>
                  <a:gd name="T74" fmla="*/ 431 w 583"/>
                  <a:gd name="T75" fmla="*/ 523 h 610"/>
                  <a:gd name="T76" fmla="*/ 414 w 583"/>
                  <a:gd name="T77" fmla="*/ 535 h 610"/>
                  <a:gd name="T78" fmla="*/ 395 w 583"/>
                  <a:gd name="T79" fmla="*/ 543 h 610"/>
                  <a:gd name="T80" fmla="*/ 371 w 583"/>
                  <a:gd name="T81" fmla="*/ 551 h 610"/>
                  <a:gd name="T82" fmla="*/ 349 w 583"/>
                  <a:gd name="T83" fmla="*/ 561 h 610"/>
                  <a:gd name="T84" fmla="*/ 327 w 583"/>
                  <a:gd name="T85" fmla="*/ 569 h 610"/>
                  <a:gd name="T86" fmla="*/ 311 w 583"/>
                  <a:gd name="T87" fmla="*/ 586 h 610"/>
                  <a:gd name="T88" fmla="*/ 289 w 583"/>
                  <a:gd name="T89" fmla="*/ 588 h 610"/>
                  <a:gd name="T90" fmla="*/ 271 w 583"/>
                  <a:gd name="T91" fmla="*/ 597 h 610"/>
                  <a:gd name="T92" fmla="*/ 257 w 583"/>
                  <a:gd name="T93" fmla="*/ 610 h 610"/>
                  <a:gd name="T94" fmla="*/ 233 w 583"/>
                  <a:gd name="T95" fmla="*/ 603 h 610"/>
                  <a:gd name="T96" fmla="*/ 216 w 583"/>
                  <a:gd name="T97" fmla="*/ 597 h 610"/>
                  <a:gd name="T98" fmla="*/ 197 w 583"/>
                  <a:gd name="T99" fmla="*/ 597 h 610"/>
                  <a:gd name="T100" fmla="*/ 174 w 583"/>
                  <a:gd name="T101" fmla="*/ 588 h 610"/>
                  <a:gd name="T102" fmla="*/ 162 w 583"/>
                  <a:gd name="T103" fmla="*/ 575 h 610"/>
                  <a:gd name="T104" fmla="*/ 141 w 583"/>
                  <a:gd name="T105" fmla="*/ 570 h 610"/>
                  <a:gd name="T106" fmla="*/ 119 w 583"/>
                  <a:gd name="T107" fmla="*/ 570 h 610"/>
                  <a:gd name="T108" fmla="*/ 97 w 583"/>
                  <a:gd name="T109" fmla="*/ 562 h 610"/>
                  <a:gd name="T110" fmla="*/ 79 w 583"/>
                  <a:gd name="T111" fmla="*/ 565 h 610"/>
                  <a:gd name="T112" fmla="*/ 68 w 583"/>
                  <a:gd name="T113" fmla="*/ 548 h 610"/>
                  <a:gd name="T114" fmla="*/ 49 w 583"/>
                  <a:gd name="T115" fmla="*/ 550 h 610"/>
                  <a:gd name="T116" fmla="*/ 27 w 583"/>
                  <a:gd name="T117" fmla="*/ 556 h 610"/>
                  <a:gd name="T118" fmla="*/ 5 w 583"/>
                  <a:gd name="T119" fmla="*/ 554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3" h="610">
                    <a:moveTo>
                      <a:pt x="228" y="1"/>
                    </a:moveTo>
                    <a:lnTo>
                      <a:pt x="230" y="1"/>
                    </a:lnTo>
                    <a:lnTo>
                      <a:pt x="231" y="1"/>
                    </a:lnTo>
                    <a:lnTo>
                      <a:pt x="233" y="1"/>
                    </a:lnTo>
                    <a:lnTo>
                      <a:pt x="235" y="1"/>
                    </a:lnTo>
                    <a:lnTo>
                      <a:pt x="235" y="0"/>
                    </a:lnTo>
                    <a:lnTo>
                      <a:pt x="236" y="0"/>
                    </a:lnTo>
                    <a:lnTo>
                      <a:pt x="238" y="0"/>
                    </a:lnTo>
                    <a:lnTo>
                      <a:pt x="239" y="0"/>
                    </a:lnTo>
                    <a:lnTo>
                      <a:pt x="241" y="0"/>
                    </a:lnTo>
                    <a:lnTo>
                      <a:pt x="243" y="0"/>
                    </a:lnTo>
                    <a:lnTo>
                      <a:pt x="243" y="1"/>
                    </a:lnTo>
                    <a:lnTo>
                      <a:pt x="244" y="1"/>
                    </a:lnTo>
                    <a:lnTo>
                      <a:pt x="246" y="3"/>
                    </a:lnTo>
                    <a:lnTo>
                      <a:pt x="247" y="3"/>
                    </a:lnTo>
                    <a:lnTo>
                      <a:pt x="247" y="5"/>
                    </a:lnTo>
                    <a:lnTo>
                      <a:pt x="249" y="5"/>
                    </a:lnTo>
                    <a:lnTo>
                      <a:pt x="249" y="6"/>
                    </a:lnTo>
                    <a:lnTo>
                      <a:pt x="251" y="6"/>
                    </a:lnTo>
                    <a:lnTo>
                      <a:pt x="252" y="6"/>
                    </a:lnTo>
                    <a:lnTo>
                      <a:pt x="252" y="8"/>
                    </a:lnTo>
                    <a:lnTo>
                      <a:pt x="254" y="8"/>
                    </a:lnTo>
                    <a:lnTo>
                      <a:pt x="255" y="9"/>
                    </a:lnTo>
                    <a:lnTo>
                      <a:pt x="257" y="9"/>
                    </a:lnTo>
                    <a:lnTo>
                      <a:pt x="258" y="11"/>
                    </a:lnTo>
                    <a:lnTo>
                      <a:pt x="260" y="11"/>
                    </a:lnTo>
                    <a:lnTo>
                      <a:pt x="262" y="13"/>
                    </a:lnTo>
                    <a:lnTo>
                      <a:pt x="263" y="13"/>
                    </a:lnTo>
                    <a:lnTo>
                      <a:pt x="263" y="14"/>
                    </a:lnTo>
                    <a:lnTo>
                      <a:pt x="265" y="14"/>
                    </a:lnTo>
                    <a:lnTo>
                      <a:pt x="266" y="14"/>
                    </a:lnTo>
                    <a:lnTo>
                      <a:pt x="266" y="16"/>
                    </a:lnTo>
                    <a:lnTo>
                      <a:pt x="268" y="16"/>
                    </a:lnTo>
                    <a:lnTo>
                      <a:pt x="270" y="16"/>
                    </a:lnTo>
                    <a:lnTo>
                      <a:pt x="271" y="16"/>
                    </a:lnTo>
                    <a:lnTo>
                      <a:pt x="273" y="16"/>
                    </a:lnTo>
                    <a:lnTo>
                      <a:pt x="274" y="16"/>
                    </a:lnTo>
                    <a:lnTo>
                      <a:pt x="276" y="16"/>
                    </a:lnTo>
                    <a:lnTo>
                      <a:pt x="277" y="16"/>
                    </a:lnTo>
                    <a:lnTo>
                      <a:pt x="279" y="16"/>
                    </a:lnTo>
                    <a:lnTo>
                      <a:pt x="281" y="16"/>
                    </a:lnTo>
                    <a:lnTo>
                      <a:pt x="282" y="16"/>
                    </a:lnTo>
                    <a:lnTo>
                      <a:pt x="282" y="17"/>
                    </a:lnTo>
                    <a:lnTo>
                      <a:pt x="284" y="17"/>
                    </a:lnTo>
                    <a:lnTo>
                      <a:pt x="284" y="19"/>
                    </a:lnTo>
                    <a:lnTo>
                      <a:pt x="285" y="20"/>
                    </a:lnTo>
                    <a:lnTo>
                      <a:pt x="285" y="22"/>
                    </a:lnTo>
                    <a:lnTo>
                      <a:pt x="284" y="22"/>
                    </a:lnTo>
                    <a:lnTo>
                      <a:pt x="285" y="24"/>
                    </a:lnTo>
                    <a:lnTo>
                      <a:pt x="285" y="25"/>
                    </a:lnTo>
                    <a:lnTo>
                      <a:pt x="285" y="27"/>
                    </a:lnTo>
                    <a:lnTo>
                      <a:pt x="287" y="27"/>
                    </a:lnTo>
                    <a:lnTo>
                      <a:pt x="287" y="28"/>
                    </a:lnTo>
                    <a:lnTo>
                      <a:pt x="289" y="28"/>
                    </a:lnTo>
                    <a:lnTo>
                      <a:pt x="289" y="30"/>
                    </a:lnTo>
                    <a:lnTo>
                      <a:pt x="290" y="32"/>
                    </a:lnTo>
                    <a:lnTo>
                      <a:pt x="292" y="33"/>
                    </a:lnTo>
                    <a:lnTo>
                      <a:pt x="293" y="33"/>
                    </a:lnTo>
                    <a:lnTo>
                      <a:pt x="295" y="35"/>
                    </a:lnTo>
                    <a:lnTo>
                      <a:pt x="295" y="36"/>
                    </a:lnTo>
                    <a:lnTo>
                      <a:pt x="296" y="36"/>
                    </a:lnTo>
                    <a:lnTo>
                      <a:pt x="298" y="38"/>
                    </a:lnTo>
                    <a:lnTo>
                      <a:pt x="300" y="38"/>
                    </a:lnTo>
                    <a:lnTo>
                      <a:pt x="300" y="39"/>
                    </a:lnTo>
                    <a:lnTo>
                      <a:pt x="301" y="39"/>
                    </a:lnTo>
                    <a:lnTo>
                      <a:pt x="303" y="39"/>
                    </a:lnTo>
                    <a:lnTo>
                      <a:pt x="303" y="41"/>
                    </a:lnTo>
                    <a:lnTo>
                      <a:pt x="304" y="41"/>
                    </a:lnTo>
                    <a:lnTo>
                      <a:pt x="306" y="41"/>
                    </a:lnTo>
                    <a:lnTo>
                      <a:pt x="306" y="43"/>
                    </a:lnTo>
                    <a:lnTo>
                      <a:pt x="308" y="43"/>
                    </a:lnTo>
                    <a:lnTo>
                      <a:pt x="309" y="43"/>
                    </a:lnTo>
                    <a:lnTo>
                      <a:pt x="311" y="43"/>
                    </a:lnTo>
                    <a:lnTo>
                      <a:pt x="311" y="44"/>
                    </a:lnTo>
                    <a:lnTo>
                      <a:pt x="312" y="44"/>
                    </a:lnTo>
                    <a:lnTo>
                      <a:pt x="314" y="44"/>
                    </a:lnTo>
                    <a:lnTo>
                      <a:pt x="315" y="46"/>
                    </a:lnTo>
                    <a:lnTo>
                      <a:pt x="317" y="46"/>
                    </a:lnTo>
                    <a:lnTo>
                      <a:pt x="317" y="47"/>
                    </a:lnTo>
                    <a:lnTo>
                      <a:pt x="319" y="47"/>
                    </a:lnTo>
                    <a:lnTo>
                      <a:pt x="319" y="49"/>
                    </a:lnTo>
                    <a:lnTo>
                      <a:pt x="320" y="49"/>
                    </a:lnTo>
                    <a:lnTo>
                      <a:pt x="320" y="51"/>
                    </a:lnTo>
                    <a:lnTo>
                      <a:pt x="322" y="52"/>
                    </a:lnTo>
                    <a:lnTo>
                      <a:pt x="323" y="52"/>
                    </a:lnTo>
                    <a:lnTo>
                      <a:pt x="323" y="54"/>
                    </a:lnTo>
                    <a:lnTo>
                      <a:pt x="325" y="54"/>
                    </a:lnTo>
                    <a:lnTo>
                      <a:pt x="325" y="55"/>
                    </a:lnTo>
                    <a:lnTo>
                      <a:pt x="327" y="55"/>
                    </a:lnTo>
                    <a:lnTo>
                      <a:pt x="327" y="57"/>
                    </a:lnTo>
                    <a:lnTo>
                      <a:pt x="328" y="57"/>
                    </a:lnTo>
                    <a:lnTo>
                      <a:pt x="330" y="57"/>
                    </a:lnTo>
                    <a:lnTo>
                      <a:pt x="331" y="58"/>
                    </a:lnTo>
                    <a:lnTo>
                      <a:pt x="333" y="58"/>
                    </a:lnTo>
                    <a:lnTo>
                      <a:pt x="334" y="58"/>
                    </a:lnTo>
                    <a:lnTo>
                      <a:pt x="334" y="60"/>
                    </a:lnTo>
                    <a:lnTo>
                      <a:pt x="334" y="62"/>
                    </a:lnTo>
                    <a:lnTo>
                      <a:pt x="334" y="63"/>
                    </a:lnTo>
                    <a:lnTo>
                      <a:pt x="334" y="65"/>
                    </a:lnTo>
                    <a:lnTo>
                      <a:pt x="336" y="65"/>
                    </a:lnTo>
                    <a:lnTo>
                      <a:pt x="336" y="66"/>
                    </a:lnTo>
                    <a:lnTo>
                      <a:pt x="338" y="68"/>
                    </a:lnTo>
                    <a:lnTo>
                      <a:pt x="338" y="70"/>
                    </a:lnTo>
                    <a:lnTo>
                      <a:pt x="339" y="70"/>
                    </a:lnTo>
                    <a:lnTo>
                      <a:pt x="339" y="71"/>
                    </a:lnTo>
                    <a:lnTo>
                      <a:pt x="341" y="73"/>
                    </a:lnTo>
                    <a:lnTo>
                      <a:pt x="341" y="74"/>
                    </a:lnTo>
                    <a:lnTo>
                      <a:pt x="342" y="74"/>
                    </a:lnTo>
                    <a:lnTo>
                      <a:pt x="342" y="76"/>
                    </a:lnTo>
                    <a:lnTo>
                      <a:pt x="344" y="76"/>
                    </a:lnTo>
                    <a:lnTo>
                      <a:pt x="344" y="77"/>
                    </a:lnTo>
                    <a:lnTo>
                      <a:pt x="346" y="77"/>
                    </a:lnTo>
                    <a:lnTo>
                      <a:pt x="346" y="79"/>
                    </a:lnTo>
                    <a:lnTo>
                      <a:pt x="347" y="79"/>
                    </a:lnTo>
                    <a:lnTo>
                      <a:pt x="349" y="79"/>
                    </a:lnTo>
                    <a:lnTo>
                      <a:pt x="350" y="79"/>
                    </a:lnTo>
                    <a:lnTo>
                      <a:pt x="352" y="79"/>
                    </a:lnTo>
                    <a:lnTo>
                      <a:pt x="353" y="79"/>
                    </a:lnTo>
                    <a:lnTo>
                      <a:pt x="355" y="79"/>
                    </a:lnTo>
                    <a:lnTo>
                      <a:pt x="357" y="79"/>
                    </a:lnTo>
                    <a:lnTo>
                      <a:pt x="358" y="79"/>
                    </a:lnTo>
                    <a:lnTo>
                      <a:pt x="360" y="79"/>
                    </a:lnTo>
                    <a:lnTo>
                      <a:pt x="361" y="79"/>
                    </a:lnTo>
                    <a:lnTo>
                      <a:pt x="363" y="77"/>
                    </a:lnTo>
                    <a:lnTo>
                      <a:pt x="365" y="77"/>
                    </a:lnTo>
                    <a:lnTo>
                      <a:pt x="365" y="76"/>
                    </a:lnTo>
                    <a:lnTo>
                      <a:pt x="366" y="76"/>
                    </a:lnTo>
                    <a:lnTo>
                      <a:pt x="368" y="76"/>
                    </a:lnTo>
                    <a:lnTo>
                      <a:pt x="369" y="76"/>
                    </a:lnTo>
                    <a:lnTo>
                      <a:pt x="369" y="77"/>
                    </a:lnTo>
                    <a:lnTo>
                      <a:pt x="371" y="77"/>
                    </a:lnTo>
                    <a:lnTo>
                      <a:pt x="372" y="79"/>
                    </a:lnTo>
                    <a:lnTo>
                      <a:pt x="374" y="81"/>
                    </a:lnTo>
                    <a:lnTo>
                      <a:pt x="374" y="82"/>
                    </a:lnTo>
                    <a:lnTo>
                      <a:pt x="376" y="82"/>
                    </a:lnTo>
                    <a:lnTo>
                      <a:pt x="377" y="84"/>
                    </a:lnTo>
                    <a:lnTo>
                      <a:pt x="379" y="85"/>
                    </a:lnTo>
                    <a:lnTo>
                      <a:pt x="380" y="85"/>
                    </a:lnTo>
                    <a:lnTo>
                      <a:pt x="382" y="87"/>
                    </a:lnTo>
                    <a:lnTo>
                      <a:pt x="384" y="87"/>
                    </a:lnTo>
                    <a:lnTo>
                      <a:pt x="385" y="87"/>
                    </a:lnTo>
                    <a:lnTo>
                      <a:pt x="385" y="89"/>
                    </a:lnTo>
                    <a:lnTo>
                      <a:pt x="387" y="89"/>
                    </a:lnTo>
                    <a:lnTo>
                      <a:pt x="388" y="90"/>
                    </a:lnTo>
                    <a:lnTo>
                      <a:pt x="390" y="92"/>
                    </a:lnTo>
                    <a:lnTo>
                      <a:pt x="391" y="92"/>
                    </a:lnTo>
                    <a:lnTo>
                      <a:pt x="393" y="92"/>
                    </a:lnTo>
                    <a:lnTo>
                      <a:pt x="395" y="93"/>
                    </a:lnTo>
                    <a:lnTo>
                      <a:pt x="396" y="93"/>
                    </a:lnTo>
                    <a:lnTo>
                      <a:pt x="396" y="95"/>
                    </a:lnTo>
                    <a:lnTo>
                      <a:pt x="398" y="96"/>
                    </a:lnTo>
                    <a:lnTo>
                      <a:pt x="399" y="98"/>
                    </a:lnTo>
                    <a:lnTo>
                      <a:pt x="401" y="98"/>
                    </a:lnTo>
                    <a:lnTo>
                      <a:pt x="403" y="98"/>
                    </a:lnTo>
                    <a:lnTo>
                      <a:pt x="404" y="98"/>
                    </a:lnTo>
                    <a:lnTo>
                      <a:pt x="404" y="96"/>
                    </a:lnTo>
                    <a:lnTo>
                      <a:pt x="406" y="96"/>
                    </a:lnTo>
                    <a:lnTo>
                      <a:pt x="407" y="96"/>
                    </a:lnTo>
                    <a:lnTo>
                      <a:pt x="407" y="95"/>
                    </a:lnTo>
                    <a:lnTo>
                      <a:pt x="409" y="95"/>
                    </a:lnTo>
                    <a:lnTo>
                      <a:pt x="410" y="95"/>
                    </a:lnTo>
                    <a:lnTo>
                      <a:pt x="410" y="96"/>
                    </a:lnTo>
                    <a:lnTo>
                      <a:pt x="412" y="96"/>
                    </a:lnTo>
                    <a:lnTo>
                      <a:pt x="414" y="96"/>
                    </a:lnTo>
                    <a:lnTo>
                      <a:pt x="415" y="96"/>
                    </a:lnTo>
                    <a:lnTo>
                      <a:pt x="417" y="96"/>
                    </a:lnTo>
                    <a:lnTo>
                      <a:pt x="418" y="96"/>
                    </a:lnTo>
                    <a:lnTo>
                      <a:pt x="420" y="96"/>
                    </a:lnTo>
                    <a:lnTo>
                      <a:pt x="422" y="96"/>
                    </a:lnTo>
                    <a:lnTo>
                      <a:pt x="423" y="96"/>
                    </a:lnTo>
                    <a:lnTo>
                      <a:pt x="425" y="96"/>
                    </a:lnTo>
                    <a:lnTo>
                      <a:pt x="426" y="96"/>
                    </a:lnTo>
                    <a:lnTo>
                      <a:pt x="428" y="96"/>
                    </a:lnTo>
                    <a:lnTo>
                      <a:pt x="429" y="96"/>
                    </a:lnTo>
                    <a:lnTo>
                      <a:pt x="431" y="96"/>
                    </a:lnTo>
                    <a:lnTo>
                      <a:pt x="433" y="96"/>
                    </a:lnTo>
                    <a:lnTo>
                      <a:pt x="434" y="96"/>
                    </a:lnTo>
                    <a:lnTo>
                      <a:pt x="436" y="96"/>
                    </a:lnTo>
                    <a:lnTo>
                      <a:pt x="437" y="96"/>
                    </a:lnTo>
                    <a:lnTo>
                      <a:pt x="439" y="96"/>
                    </a:lnTo>
                    <a:lnTo>
                      <a:pt x="441" y="96"/>
                    </a:lnTo>
                    <a:lnTo>
                      <a:pt x="442" y="96"/>
                    </a:lnTo>
                    <a:lnTo>
                      <a:pt x="444" y="96"/>
                    </a:lnTo>
                    <a:lnTo>
                      <a:pt x="445" y="96"/>
                    </a:lnTo>
                    <a:lnTo>
                      <a:pt x="447" y="96"/>
                    </a:lnTo>
                    <a:lnTo>
                      <a:pt x="449" y="96"/>
                    </a:lnTo>
                    <a:lnTo>
                      <a:pt x="450" y="96"/>
                    </a:lnTo>
                    <a:lnTo>
                      <a:pt x="452" y="96"/>
                    </a:lnTo>
                    <a:lnTo>
                      <a:pt x="453" y="96"/>
                    </a:lnTo>
                    <a:lnTo>
                      <a:pt x="455" y="96"/>
                    </a:lnTo>
                    <a:lnTo>
                      <a:pt x="456" y="96"/>
                    </a:lnTo>
                    <a:lnTo>
                      <a:pt x="458" y="96"/>
                    </a:lnTo>
                    <a:lnTo>
                      <a:pt x="460" y="96"/>
                    </a:lnTo>
                    <a:lnTo>
                      <a:pt x="461" y="96"/>
                    </a:lnTo>
                    <a:lnTo>
                      <a:pt x="463" y="96"/>
                    </a:lnTo>
                    <a:lnTo>
                      <a:pt x="464" y="96"/>
                    </a:lnTo>
                    <a:lnTo>
                      <a:pt x="466" y="96"/>
                    </a:lnTo>
                    <a:lnTo>
                      <a:pt x="468" y="96"/>
                    </a:lnTo>
                    <a:lnTo>
                      <a:pt x="469" y="96"/>
                    </a:lnTo>
                    <a:lnTo>
                      <a:pt x="471" y="96"/>
                    </a:lnTo>
                    <a:lnTo>
                      <a:pt x="472" y="96"/>
                    </a:lnTo>
                    <a:lnTo>
                      <a:pt x="474" y="96"/>
                    </a:lnTo>
                    <a:lnTo>
                      <a:pt x="475" y="96"/>
                    </a:lnTo>
                    <a:lnTo>
                      <a:pt x="477" y="96"/>
                    </a:lnTo>
                    <a:lnTo>
                      <a:pt x="479" y="96"/>
                    </a:lnTo>
                    <a:lnTo>
                      <a:pt x="480" y="95"/>
                    </a:lnTo>
                    <a:lnTo>
                      <a:pt x="482" y="95"/>
                    </a:lnTo>
                    <a:lnTo>
                      <a:pt x="483" y="95"/>
                    </a:lnTo>
                    <a:lnTo>
                      <a:pt x="485" y="95"/>
                    </a:lnTo>
                    <a:lnTo>
                      <a:pt x="487" y="95"/>
                    </a:lnTo>
                    <a:lnTo>
                      <a:pt x="488" y="95"/>
                    </a:lnTo>
                    <a:lnTo>
                      <a:pt x="490" y="95"/>
                    </a:lnTo>
                    <a:lnTo>
                      <a:pt x="491" y="95"/>
                    </a:lnTo>
                    <a:lnTo>
                      <a:pt x="493" y="95"/>
                    </a:lnTo>
                    <a:lnTo>
                      <a:pt x="494" y="95"/>
                    </a:lnTo>
                    <a:lnTo>
                      <a:pt x="496" y="95"/>
                    </a:lnTo>
                    <a:lnTo>
                      <a:pt x="498" y="95"/>
                    </a:lnTo>
                    <a:lnTo>
                      <a:pt x="499" y="95"/>
                    </a:lnTo>
                    <a:lnTo>
                      <a:pt x="501" y="95"/>
                    </a:lnTo>
                    <a:lnTo>
                      <a:pt x="502" y="95"/>
                    </a:lnTo>
                    <a:lnTo>
                      <a:pt x="504" y="95"/>
                    </a:lnTo>
                    <a:lnTo>
                      <a:pt x="506" y="95"/>
                    </a:lnTo>
                    <a:lnTo>
                      <a:pt x="507" y="95"/>
                    </a:lnTo>
                    <a:lnTo>
                      <a:pt x="509" y="95"/>
                    </a:lnTo>
                    <a:lnTo>
                      <a:pt x="510" y="95"/>
                    </a:lnTo>
                    <a:lnTo>
                      <a:pt x="512" y="95"/>
                    </a:lnTo>
                    <a:lnTo>
                      <a:pt x="513" y="95"/>
                    </a:lnTo>
                    <a:lnTo>
                      <a:pt x="515" y="95"/>
                    </a:lnTo>
                    <a:lnTo>
                      <a:pt x="517" y="95"/>
                    </a:lnTo>
                    <a:lnTo>
                      <a:pt x="518" y="95"/>
                    </a:lnTo>
                    <a:lnTo>
                      <a:pt x="520" y="95"/>
                    </a:lnTo>
                    <a:lnTo>
                      <a:pt x="521" y="95"/>
                    </a:lnTo>
                    <a:lnTo>
                      <a:pt x="523" y="95"/>
                    </a:lnTo>
                    <a:lnTo>
                      <a:pt x="525" y="95"/>
                    </a:lnTo>
                    <a:lnTo>
                      <a:pt x="526" y="95"/>
                    </a:lnTo>
                    <a:lnTo>
                      <a:pt x="528" y="95"/>
                    </a:lnTo>
                    <a:lnTo>
                      <a:pt x="529" y="95"/>
                    </a:lnTo>
                    <a:lnTo>
                      <a:pt x="531" y="95"/>
                    </a:lnTo>
                    <a:lnTo>
                      <a:pt x="532" y="95"/>
                    </a:lnTo>
                    <a:lnTo>
                      <a:pt x="534" y="95"/>
                    </a:lnTo>
                    <a:lnTo>
                      <a:pt x="536" y="95"/>
                    </a:lnTo>
                    <a:lnTo>
                      <a:pt x="537" y="95"/>
                    </a:lnTo>
                    <a:lnTo>
                      <a:pt x="539" y="95"/>
                    </a:lnTo>
                    <a:lnTo>
                      <a:pt x="540" y="95"/>
                    </a:lnTo>
                    <a:lnTo>
                      <a:pt x="542" y="95"/>
                    </a:lnTo>
                    <a:lnTo>
                      <a:pt x="544" y="95"/>
                    </a:lnTo>
                    <a:lnTo>
                      <a:pt x="545" y="95"/>
                    </a:lnTo>
                    <a:lnTo>
                      <a:pt x="547" y="95"/>
                    </a:lnTo>
                    <a:lnTo>
                      <a:pt x="548" y="95"/>
                    </a:lnTo>
                    <a:lnTo>
                      <a:pt x="550" y="95"/>
                    </a:lnTo>
                    <a:lnTo>
                      <a:pt x="551" y="95"/>
                    </a:lnTo>
                    <a:lnTo>
                      <a:pt x="553" y="95"/>
                    </a:lnTo>
                    <a:lnTo>
                      <a:pt x="555" y="95"/>
                    </a:lnTo>
                    <a:lnTo>
                      <a:pt x="556" y="95"/>
                    </a:lnTo>
                    <a:lnTo>
                      <a:pt x="558" y="95"/>
                    </a:lnTo>
                    <a:lnTo>
                      <a:pt x="559" y="95"/>
                    </a:lnTo>
                    <a:lnTo>
                      <a:pt x="561" y="95"/>
                    </a:lnTo>
                    <a:lnTo>
                      <a:pt x="563" y="95"/>
                    </a:lnTo>
                    <a:lnTo>
                      <a:pt x="564" y="95"/>
                    </a:lnTo>
                    <a:lnTo>
                      <a:pt x="566" y="95"/>
                    </a:lnTo>
                    <a:lnTo>
                      <a:pt x="567" y="95"/>
                    </a:lnTo>
                    <a:lnTo>
                      <a:pt x="569" y="95"/>
                    </a:lnTo>
                    <a:lnTo>
                      <a:pt x="570" y="95"/>
                    </a:lnTo>
                    <a:lnTo>
                      <a:pt x="572" y="95"/>
                    </a:lnTo>
                    <a:lnTo>
                      <a:pt x="574" y="95"/>
                    </a:lnTo>
                    <a:lnTo>
                      <a:pt x="575" y="95"/>
                    </a:lnTo>
                    <a:lnTo>
                      <a:pt x="577" y="95"/>
                    </a:lnTo>
                    <a:lnTo>
                      <a:pt x="578" y="95"/>
                    </a:lnTo>
                    <a:lnTo>
                      <a:pt x="583" y="100"/>
                    </a:lnTo>
                    <a:lnTo>
                      <a:pt x="583" y="101"/>
                    </a:lnTo>
                    <a:lnTo>
                      <a:pt x="583" y="103"/>
                    </a:lnTo>
                    <a:lnTo>
                      <a:pt x="583" y="104"/>
                    </a:lnTo>
                    <a:lnTo>
                      <a:pt x="583" y="106"/>
                    </a:lnTo>
                    <a:lnTo>
                      <a:pt x="582" y="108"/>
                    </a:lnTo>
                    <a:lnTo>
                      <a:pt x="582" y="109"/>
                    </a:lnTo>
                    <a:lnTo>
                      <a:pt x="582" y="111"/>
                    </a:lnTo>
                    <a:lnTo>
                      <a:pt x="582" y="112"/>
                    </a:lnTo>
                    <a:lnTo>
                      <a:pt x="582" y="114"/>
                    </a:lnTo>
                    <a:lnTo>
                      <a:pt x="582" y="116"/>
                    </a:lnTo>
                    <a:lnTo>
                      <a:pt x="580" y="117"/>
                    </a:lnTo>
                    <a:lnTo>
                      <a:pt x="580" y="119"/>
                    </a:lnTo>
                    <a:lnTo>
                      <a:pt x="580" y="120"/>
                    </a:lnTo>
                    <a:lnTo>
                      <a:pt x="580" y="122"/>
                    </a:lnTo>
                    <a:lnTo>
                      <a:pt x="580" y="123"/>
                    </a:lnTo>
                    <a:lnTo>
                      <a:pt x="580" y="125"/>
                    </a:lnTo>
                    <a:lnTo>
                      <a:pt x="580" y="127"/>
                    </a:lnTo>
                    <a:lnTo>
                      <a:pt x="578" y="128"/>
                    </a:lnTo>
                    <a:lnTo>
                      <a:pt x="578" y="130"/>
                    </a:lnTo>
                    <a:lnTo>
                      <a:pt x="578" y="131"/>
                    </a:lnTo>
                    <a:lnTo>
                      <a:pt x="578" y="133"/>
                    </a:lnTo>
                    <a:lnTo>
                      <a:pt x="578" y="135"/>
                    </a:lnTo>
                    <a:lnTo>
                      <a:pt x="578" y="136"/>
                    </a:lnTo>
                    <a:lnTo>
                      <a:pt x="578" y="138"/>
                    </a:lnTo>
                    <a:lnTo>
                      <a:pt x="578" y="139"/>
                    </a:lnTo>
                    <a:lnTo>
                      <a:pt x="577" y="139"/>
                    </a:lnTo>
                    <a:lnTo>
                      <a:pt x="577" y="141"/>
                    </a:lnTo>
                    <a:lnTo>
                      <a:pt x="577" y="142"/>
                    </a:lnTo>
                    <a:lnTo>
                      <a:pt x="577" y="144"/>
                    </a:lnTo>
                    <a:lnTo>
                      <a:pt x="577" y="146"/>
                    </a:lnTo>
                    <a:lnTo>
                      <a:pt x="577" y="147"/>
                    </a:lnTo>
                    <a:lnTo>
                      <a:pt x="575" y="149"/>
                    </a:lnTo>
                    <a:lnTo>
                      <a:pt x="575" y="150"/>
                    </a:lnTo>
                    <a:lnTo>
                      <a:pt x="575" y="152"/>
                    </a:lnTo>
                    <a:lnTo>
                      <a:pt x="575" y="154"/>
                    </a:lnTo>
                    <a:lnTo>
                      <a:pt x="575" y="155"/>
                    </a:lnTo>
                    <a:lnTo>
                      <a:pt x="575" y="157"/>
                    </a:lnTo>
                    <a:lnTo>
                      <a:pt x="574" y="158"/>
                    </a:lnTo>
                    <a:lnTo>
                      <a:pt x="574" y="160"/>
                    </a:lnTo>
                    <a:lnTo>
                      <a:pt x="574" y="161"/>
                    </a:lnTo>
                    <a:lnTo>
                      <a:pt x="574" y="163"/>
                    </a:lnTo>
                    <a:lnTo>
                      <a:pt x="574" y="165"/>
                    </a:lnTo>
                    <a:lnTo>
                      <a:pt x="572" y="165"/>
                    </a:lnTo>
                    <a:lnTo>
                      <a:pt x="572" y="166"/>
                    </a:lnTo>
                    <a:lnTo>
                      <a:pt x="572" y="168"/>
                    </a:lnTo>
                    <a:lnTo>
                      <a:pt x="572" y="169"/>
                    </a:lnTo>
                    <a:lnTo>
                      <a:pt x="572" y="171"/>
                    </a:lnTo>
                    <a:lnTo>
                      <a:pt x="570" y="171"/>
                    </a:lnTo>
                    <a:lnTo>
                      <a:pt x="570" y="173"/>
                    </a:lnTo>
                    <a:lnTo>
                      <a:pt x="570" y="174"/>
                    </a:lnTo>
                    <a:lnTo>
                      <a:pt x="570" y="176"/>
                    </a:lnTo>
                    <a:lnTo>
                      <a:pt x="570" y="177"/>
                    </a:lnTo>
                    <a:lnTo>
                      <a:pt x="569" y="179"/>
                    </a:lnTo>
                    <a:lnTo>
                      <a:pt x="569" y="180"/>
                    </a:lnTo>
                    <a:lnTo>
                      <a:pt x="569" y="182"/>
                    </a:lnTo>
                    <a:lnTo>
                      <a:pt x="569" y="184"/>
                    </a:lnTo>
                    <a:lnTo>
                      <a:pt x="569" y="185"/>
                    </a:lnTo>
                    <a:lnTo>
                      <a:pt x="567" y="185"/>
                    </a:lnTo>
                    <a:lnTo>
                      <a:pt x="567" y="187"/>
                    </a:lnTo>
                    <a:lnTo>
                      <a:pt x="567" y="188"/>
                    </a:lnTo>
                    <a:lnTo>
                      <a:pt x="567" y="190"/>
                    </a:lnTo>
                    <a:lnTo>
                      <a:pt x="566" y="192"/>
                    </a:lnTo>
                    <a:lnTo>
                      <a:pt x="566" y="193"/>
                    </a:lnTo>
                    <a:lnTo>
                      <a:pt x="566" y="195"/>
                    </a:lnTo>
                    <a:lnTo>
                      <a:pt x="566" y="196"/>
                    </a:lnTo>
                    <a:lnTo>
                      <a:pt x="564" y="198"/>
                    </a:lnTo>
                    <a:lnTo>
                      <a:pt x="564" y="199"/>
                    </a:lnTo>
                    <a:lnTo>
                      <a:pt x="564" y="201"/>
                    </a:lnTo>
                    <a:lnTo>
                      <a:pt x="564" y="203"/>
                    </a:lnTo>
                    <a:lnTo>
                      <a:pt x="563" y="203"/>
                    </a:lnTo>
                    <a:lnTo>
                      <a:pt x="563" y="204"/>
                    </a:lnTo>
                    <a:lnTo>
                      <a:pt x="563" y="206"/>
                    </a:lnTo>
                    <a:lnTo>
                      <a:pt x="563" y="207"/>
                    </a:lnTo>
                    <a:lnTo>
                      <a:pt x="563" y="209"/>
                    </a:lnTo>
                    <a:lnTo>
                      <a:pt x="563" y="211"/>
                    </a:lnTo>
                    <a:lnTo>
                      <a:pt x="561" y="211"/>
                    </a:lnTo>
                    <a:lnTo>
                      <a:pt x="561" y="212"/>
                    </a:lnTo>
                    <a:lnTo>
                      <a:pt x="561" y="214"/>
                    </a:lnTo>
                    <a:lnTo>
                      <a:pt x="561" y="215"/>
                    </a:lnTo>
                    <a:lnTo>
                      <a:pt x="561" y="217"/>
                    </a:lnTo>
                    <a:lnTo>
                      <a:pt x="559" y="217"/>
                    </a:lnTo>
                    <a:lnTo>
                      <a:pt x="559" y="218"/>
                    </a:lnTo>
                    <a:lnTo>
                      <a:pt x="559" y="220"/>
                    </a:lnTo>
                    <a:lnTo>
                      <a:pt x="559" y="222"/>
                    </a:lnTo>
                    <a:lnTo>
                      <a:pt x="558" y="223"/>
                    </a:lnTo>
                    <a:lnTo>
                      <a:pt x="558" y="225"/>
                    </a:lnTo>
                    <a:lnTo>
                      <a:pt x="558" y="226"/>
                    </a:lnTo>
                    <a:lnTo>
                      <a:pt x="558" y="228"/>
                    </a:lnTo>
                    <a:lnTo>
                      <a:pt x="556" y="228"/>
                    </a:lnTo>
                    <a:lnTo>
                      <a:pt x="556" y="230"/>
                    </a:lnTo>
                    <a:lnTo>
                      <a:pt x="556" y="231"/>
                    </a:lnTo>
                    <a:lnTo>
                      <a:pt x="556" y="233"/>
                    </a:lnTo>
                    <a:lnTo>
                      <a:pt x="555" y="233"/>
                    </a:lnTo>
                    <a:lnTo>
                      <a:pt x="555" y="234"/>
                    </a:lnTo>
                    <a:lnTo>
                      <a:pt x="553" y="234"/>
                    </a:lnTo>
                    <a:lnTo>
                      <a:pt x="551" y="236"/>
                    </a:lnTo>
                    <a:lnTo>
                      <a:pt x="550" y="236"/>
                    </a:lnTo>
                    <a:lnTo>
                      <a:pt x="548" y="236"/>
                    </a:lnTo>
                    <a:lnTo>
                      <a:pt x="548" y="237"/>
                    </a:lnTo>
                    <a:lnTo>
                      <a:pt x="547" y="237"/>
                    </a:lnTo>
                    <a:lnTo>
                      <a:pt x="545" y="237"/>
                    </a:lnTo>
                    <a:lnTo>
                      <a:pt x="545" y="239"/>
                    </a:lnTo>
                    <a:lnTo>
                      <a:pt x="544" y="239"/>
                    </a:lnTo>
                    <a:lnTo>
                      <a:pt x="542" y="239"/>
                    </a:lnTo>
                    <a:lnTo>
                      <a:pt x="540" y="241"/>
                    </a:lnTo>
                    <a:lnTo>
                      <a:pt x="539" y="241"/>
                    </a:lnTo>
                    <a:lnTo>
                      <a:pt x="537" y="242"/>
                    </a:lnTo>
                    <a:lnTo>
                      <a:pt x="536" y="242"/>
                    </a:lnTo>
                    <a:lnTo>
                      <a:pt x="534" y="244"/>
                    </a:lnTo>
                    <a:lnTo>
                      <a:pt x="532" y="244"/>
                    </a:lnTo>
                    <a:lnTo>
                      <a:pt x="532" y="245"/>
                    </a:lnTo>
                    <a:lnTo>
                      <a:pt x="531" y="245"/>
                    </a:lnTo>
                    <a:lnTo>
                      <a:pt x="531" y="247"/>
                    </a:lnTo>
                    <a:lnTo>
                      <a:pt x="529" y="249"/>
                    </a:lnTo>
                    <a:lnTo>
                      <a:pt x="528" y="249"/>
                    </a:lnTo>
                    <a:lnTo>
                      <a:pt x="526" y="249"/>
                    </a:lnTo>
                    <a:lnTo>
                      <a:pt x="526" y="250"/>
                    </a:lnTo>
                    <a:lnTo>
                      <a:pt x="525" y="250"/>
                    </a:lnTo>
                    <a:lnTo>
                      <a:pt x="525" y="252"/>
                    </a:lnTo>
                    <a:lnTo>
                      <a:pt x="523" y="252"/>
                    </a:lnTo>
                    <a:lnTo>
                      <a:pt x="521" y="252"/>
                    </a:lnTo>
                    <a:lnTo>
                      <a:pt x="520" y="252"/>
                    </a:lnTo>
                    <a:lnTo>
                      <a:pt x="518" y="252"/>
                    </a:lnTo>
                    <a:lnTo>
                      <a:pt x="517" y="252"/>
                    </a:lnTo>
                    <a:lnTo>
                      <a:pt x="515" y="252"/>
                    </a:lnTo>
                    <a:lnTo>
                      <a:pt x="515" y="253"/>
                    </a:lnTo>
                    <a:lnTo>
                      <a:pt x="513" y="252"/>
                    </a:lnTo>
                    <a:lnTo>
                      <a:pt x="512" y="252"/>
                    </a:lnTo>
                    <a:lnTo>
                      <a:pt x="512" y="250"/>
                    </a:lnTo>
                    <a:lnTo>
                      <a:pt x="510" y="250"/>
                    </a:lnTo>
                    <a:lnTo>
                      <a:pt x="510" y="249"/>
                    </a:lnTo>
                    <a:lnTo>
                      <a:pt x="509" y="249"/>
                    </a:lnTo>
                    <a:lnTo>
                      <a:pt x="509" y="247"/>
                    </a:lnTo>
                    <a:lnTo>
                      <a:pt x="509" y="245"/>
                    </a:lnTo>
                    <a:lnTo>
                      <a:pt x="509" y="244"/>
                    </a:lnTo>
                    <a:lnTo>
                      <a:pt x="509" y="242"/>
                    </a:lnTo>
                    <a:lnTo>
                      <a:pt x="509" y="241"/>
                    </a:lnTo>
                    <a:lnTo>
                      <a:pt x="507" y="239"/>
                    </a:lnTo>
                    <a:lnTo>
                      <a:pt x="507" y="237"/>
                    </a:lnTo>
                    <a:lnTo>
                      <a:pt x="506" y="237"/>
                    </a:lnTo>
                    <a:lnTo>
                      <a:pt x="506" y="236"/>
                    </a:lnTo>
                    <a:lnTo>
                      <a:pt x="504" y="236"/>
                    </a:lnTo>
                    <a:lnTo>
                      <a:pt x="502" y="234"/>
                    </a:lnTo>
                    <a:lnTo>
                      <a:pt x="501" y="234"/>
                    </a:lnTo>
                    <a:lnTo>
                      <a:pt x="501" y="233"/>
                    </a:lnTo>
                    <a:lnTo>
                      <a:pt x="499" y="233"/>
                    </a:lnTo>
                    <a:lnTo>
                      <a:pt x="498" y="233"/>
                    </a:lnTo>
                    <a:lnTo>
                      <a:pt x="498" y="231"/>
                    </a:lnTo>
                    <a:lnTo>
                      <a:pt x="496" y="231"/>
                    </a:lnTo>
                    <a:lnTo>
                      <a:pt x="494" y="231"/>
                    </a:lnTo>
                    <a:lnTo>
                      <a:pt x="494" y="230"/>
                    </a:lnTo>
                    <a:lnTo>
                      <a:pt x="493" y="230"/>
                    </a:lnTo>
                    <a:lnTo>
                      <a:pt x="491" y="228"/>
                    </a:lnTo>
                    <a:lnTo>
                      <a:pt x="490" y="226"/>
                    </a:lnTo>
                    <a:lnTo>
                      <a:pt x="488" y="225"/>
                    </a:lnTo>
                    <a:lnTo>
                      <a:pt x="487" y="223"/>
                    </a:lnTo>
                    <a:lnTo>
                      <a:pt x="485" y="222"/>
                    </a:lnTo>
                    <a:lnTo>
                      <a:pt x="483" y="220"/>
                    </a:lnTo>
                    <a:lnTo>
                      <a:pt x="483" y="218"/>
                    </a:lnTo>
                    <a:lnTo>
                      <a:pt x="482" y="218"/>
                    </a:lnTo>
                    <a:lnTo>
                      <a:pt x="482" y="217"/>
                    </a:lnTo>
                    <a:lnTo>
                      <a:pt x="480" y="218"/>
                    </a:lnTo>
                    <a:lnTo>
                      <a:pt x="480" y="220"/>
                    </a:lnTo>
                    <a:lnTo>
                      <a:pt x="480" y="222"/>
                    </a:lnTo>
                    <a:lnTo>
                      <a:pt x="480" y="223"/>
                    </a:lnTo>
                    <a:lnTo>
                      <a:pt x="480" y="225"/>
                    </a:lnTo>
                    <a:lnTo>
                      <a:pt x="480" y="226"/>
                    </a:lnTo>
                    <a:lnTo>
                      <a:pt x="480" y="228"/>
                    </a:lnTo>
                    <a:lnTo>
                      <a:pt x="479" y="230"/>
                    </a:lnTo>
                    <a:lnTo>
                      <a:pt x="480" y="237"/>
                    </a:lnTo>
                    <a:lnTo>
                      <a:pt x="480" y="239"/>
                    </a:lnTo>
                    <a:lnTo>
                      <a:pt x="480" y="241"/>
                    </a:lnTo>
                    <a:lnTo>
                      <a:pt x="480" y="242"/>
                    </a:lnTo>
                    <a:lnTo>
                      <a:pt x="480" y="244"/>
                    </a:lnTo>
                    <a:lnTo>
                      <a:pt x="480" y="245"/>
                    </a:lnTo>
                    <a:lnTo>
                      <a:pt x="480" y="247"/>
                    </a:lnTo>
                    <a:lnTo>
                      <a:pt x="480" y="249"/>
                    </a:lnTo>
                    <a:lnTo>
                      <a:pt x="480" y="250"/>
                    </a:lnTo>
                    <a:lnTo>
                      <a:pt x="480" y="252"/>
                    </a:lnTo>
                    <a:lnTo>
                      <a:pt x="480" y="253"/>
                    </a:lnTo>
                    <a:lnTo>
                      <a:pt x="480" y="255"/>
                    </a:lnTo>
                    <a:lnTo>
                      <a:pt x="480" y="256"/>
                    </a:lnTo>
                    <a:lnTo>
                      <a:pt x="480" y="258"/>
                    </a:lnTo>
                    <a:lnTo>
                      <a:pt x="480" y="260"/>
                    </a:lnTo>
                    <a:lnTo>
                      <a:pt x="480" y="261"/>
                    </a:lnTo>
                    <a:lnTo>
                      <a:pt x="480" y="263"/>
                    </a:lnTo>
                    <a:lnTo>
                      <a:pt x="480" y="264"/>
                    </a:lnTo>
                    <a:lnTo>
                      <a:pt x="480" y="266"/>
                    </a:lnTo>
                    <a:lnTo>
                      <a:pt x="480" y="268"/>
                    </a:lnTo>
                    <a:lnTo>
                      <a:pt x="480" y="269"/>
                    </a:lnTo>
                    <a:lnTo>
                      <a:pt x="480" y="271"/>
                    </a:lnTo>
                    <a:lnTo>
                      <a:pt x="480" y="272"/>
                    </a:lnTo>
                    <a:lnTo>
                      <a:pt x="480" y="274"/>
                    </a:lnTo>
                    <a:lnTo>
                      <a:pt x="480" y="275"/>
                    </a:lnTo>
                    <a:lnTo>
                      <a:pt x="480" y="277"/>
                    </a:lnTo>
                    <a:lnTo>
                      <a:pt x="482" y="279"/>
                    </a:lnTo>
                    <a:lnTo>
                      <a:pt x="480" y="285"/>
                    </a:lnTo>
                    <a:lnTo>
                      <a:pt x="480" y="287"/>
                    </a:lnTo>
                    <a:lnTo>
                      <a:pt x="480" y="288"/>
                    </a:lnTo>
                    <a:lnTo>
                      <a:pt x="480" y="290"/>
                    </a:lnTo>
                    <a:lnTo>
                      <a:pt x="480" y="291"/>
                    </a:lnTo>
                    <a:lnTo>
                      <a:pt x="480" y="293"/>
                    </a:lnTo>
                    <a:lnTo>
                      <a:pt x="480" y="294"/>
                    </a:lnTo>
                    <a:lnTo>
                      <a:pt x="479" y="296"/>
                    </a:lnTo>
                    <a:lnTo>
                      <a:pt x="479" y="298"/>
                    </a:lnTo>
                    <a:lnTo>
                      <a:pt x="479" y="299"/>
                    </a:lnTo>
                    <a:lnTo>
                      <a:pt x="479" y="301"/>
                    </a:lnTo>
                    <a:lnTo>
                      <a:pt x="479" y="302"/>
                    </a:lnTo>
                    <a:lnTo>
                      <a:pt x="479" y="304"/>
                    </a:lnTo>
                    <a:lnTo>
                      <a:pt x="479" y="306"/>
                    </a:lnTo>
                    <a:lnTo>
                      <a:pt x="479" y="307"/>
                    </a:lnTo>
                    <a:lnTo>
                      <a:pt x="479" y="309"/>
                    </a:lnTo>
                    <a:lnTo>
                      <a:pt x="479" y="310"/>
                    </a:lnTo>
                    <a:lnTo>
                      <a:pt x="479" y="312"/>
                    </a:lnTo>
                    <a:lnTo>
                      <a:pt x="479" y="314"/>
                    </a:lnTo>
                    <a:lnTo>
                      <a:pt x="479" y="315"/>
                    </a:lnTo>
                    <a:lnTo>
                      <a:pt x="479" y="317"/>
                    </a:lnTo>
                    <a:lnTo>
                      <a:pt x="479" y="318"/>
                    </a:lnTo>
                    <a:lnTo>
                      <a:pt x="479" y="320"/>
                    </a:lnTo>
                    <a:lnTo>
                      <a:pt x="479" y="321"/>
                    </a:lnTo>
                    <a:lnTo>
                      <a:pt x="479" y="323"/>
                    </a:lnTo>
                    <a:lnTo>
                      <a:pt x="479" y="325"/>
                    </a:lnTo>
                    <a:lnTo>
                      <a:pt x="479" y="326"/>
                    </a:lnTo>
                    <a:lnTo>
                      <a:pt x="479" y="328"/>
                    </a:lnTo>
                    <a:lnTo>
                      <a:pt x="479" y="329"/>
                    </a:lnTo>
                    <a:lnTo>
                      <a:pt x="479" y="331"/>
                    </a:lnTo>
                    <a:lnTo>
                      <a:pt x="479" y="333"/>
                    </a:lnTo>
                    <a:lnTo>
                      <a:pt x="479" y="334"/>
                    </a:lnTo>
                    <a:lnTo>
                      <a:pt x="479" y="336"/>
                    </a:lnTo>
                    <a:lnTo>
                      <a:pt x="479" y="337"/>
                    </a:lnTo>
                    <a:lnTo>
                      <a:pt x="479" y="339"/>
                    </a:lnTo>
                    <a:lnTo>
                      <a:pt x="479" y="340"/>
                    </a:lnTo>
                    <a:lnTo>
                      <a:pt x="479" y="342"/>
                    </a:lnTo>
                    <a:lnTo>
                      <a:pt x="479" y="344"/>
                    </a:lnTo>
                    <a:lnTo>
                      <a:pt x="479" y="345"/>
                    </a:lnTo>
                    <a:lnTo>
                      <a:pt x="479" y="347"/>
                    </a:lnTo>
                    <a:lnTo>
                      <a:pt x="479" y="348"/>
                    </a:lnTo>
                    <a:lnTo>
                      <a:pt x="479" y="350"/>
                    </a:lnTo>
                    <a:lnTo>
                      <a:pt x="479" y="352"/>
                    </a:lnTo>
                    <a:lnTo>
                      <a:pt x="479" y="353"/>
                    </a:lnTo>
                    <a:lnTo>
                      <a:pt x="479" y="355"/>
                    </a:lnTo>
                    <a:lnTo>
                      <a:pt x="479" y="356"/>
                    </a:lnTo>
                    <a:lnTo>
                      <a:pt x="479" y="358"/>
                    </a:lnTo>
                    <a:lnTo>
                      <a:pt x="479" y="359"/>
                    </a:lnTo>
                    <a:lnTo>
                      <a:pt x="479" y="361"/>
                    </a:lnTo>
                    <a:lnTo>
                      <a:pt x="479" y="363"/>
                    </a:lnTo>
                    <a:lnTo>
                      <a:pt x="479" y="364"/>
                    </a:lnTo>
                    <a:lnTo>
                      <a:pt x="479" y="366"/>
                    </a:lnTo>
                    <a:lnTo>
                      <a:pt x="479" y="367"/>
                    </a:lnTo>
                    <a:lnTo>
                      <a:pt x="479" y="369"/>
                    </a:lnTo>
                    <a:lnTo>
                      <a:pt x="479" y="371"/>
                    </a:lnTo>
                    <a:lnTo>
                      <a:pt x="479" y="372"/>
                    </a:lnTo>
                    <a:lnTo>
                      <a:pt x="479" y="374"/>
                    </a:lnTo>
                    <a:lnTo>
                      <a:pt x="479" y="375"/>
                    </a:lnTo>
                    <a:lnTo>
                      <a:pt x="479" y="377"/>
                    </a:lnTo>
                    <a:lnTo>
                      <a:pt x="479" y="378"/>
                    </a:lnTo>
                    <a:lnTo>
                      <a:pt x="479" y="380"/>
                    </a:lnTo>
                    <a:lnTo>
                      <a:pt x="477" y="380"/>
                    </a:lnTo>
                    <a:lnTo>
                      <a:pt x="477" y="382"/>
                    </a:lnTo>
                    <a:lnTo>
                      <a:pt x="477" y="383"/>
                    </a:lnTo>
                    <a:lnTo>
                      <a:pt x="477" y="385"/>
                    </a:lnTo>
                    <a:lnTo>
                      <a:pt x="477" y="386"/>
                    </a:lnTo>
                    <a:lnTo>
                      <a:pt x="477" y="388"/>
                    </a:lnTo>
                    <a:lnTo>
                      <a:pt x="477" y="390"/>
                    </a:lnTo>
                    <a:lnTo>
                      <a:pt x="477" y="391"/>
                    </a:lnTo>
                    <a:lnTo>
                      <a:pt x="477" y="393"/>
                    </a:lnTo>
                    <a:lnTo>
                      <a:pt x="477" y="394"/>
                    </a:lnTo>
                    <a:lnTo>
                      <a:pt x="477" y="396"/>
                    </a:lnTo>
                    <a:lnTo>
                      <a:pt x="477" y="397"/>
                    </a:lnTo>
                    <a:lnTo>
                      <a:pt x="477" y="399"/>
                    </a:lnTo>
                    <a:lnTo>
                      <a:pt x="477" y="401"/>
                    </a:lnTo>
                    <a:lnTo>
                      <a:pt x="477" y="402"/>
                    </a:lnTo>
                    <a:lnTo>
                      <a:pt x="477" y="404"/>
                    </a:lnTo>
                    <a:lnTo>
                      <a:pt x="477" y="405"/>
                    </a:lnTo>
                    <a:lnTo>
                      <a:pt x="477" y="407"/>
                    </a:lnTo>
                    <a:lnTo>
                      <a:pt x="477" y="409"/>
                    </a:lnTo>
                    <a:lnTo>
                      <a:pt x="477" y="410"/>
                    </a:lnTo>
                    <a:lnTo>
                      <a:pt x="477" y="412"/>
                    </a:lnTo>
                    <a:lnTo>
                      <a:pt x="477" y="413"/>
                    </a:lnTo>
                    <a:lnTo>
                      <a:pt x="477" y="415"/>
                    </a:lnTo>
                    <a:lnTo>
                      <a:pt x="477" y="416"/>
                    </a:lnTo>
                    <a:lnTo>
                      <a:pt x="477" y="418"/>
                    </a:lnTo>
                    <a:lnTo>
                      <a:pt x="477" y="420"/>
                    </a:lnTo>
                    <a:lnTo>
                      <a:pt x="477" y="421"/>
                    </a:lnTo>
                    <a:lnTo>
                      <a:pt x="475" y="421"/>
                    </a:lnTo>
                    <a:lnTo>
                      <a:pt x="475" y="423"/>
                    </a:lnTo>
                    <a:lnTo>
                      <a:pt x="475" y="424"/>
                    </a:lnTo>
                    <a:lnTo>
                      <a:pt x="475" y="426"/>
                    </a:lnTo>
                    <a:lnTo>
                      <a:pt x="475" y="428"/>
                    </a:lnTo>
                    <a:lnTo>
                      <a:pt x="475" y="429"/>
                    </a:lnTo>
                    <a:lnTo>
                      <a:pt x="475" y="431"/>
                    </a:lnTo>
                    <a:lnTo>
                      <a:pt x="475" y="432"/>
                    </a:lnTo>
                    <a:lnTo>
                      <a:pt x="475" y="434"/>
                    </a:lnTo>
                    <a:lnTo>
                      <a:pt x="475" y="435"/>
                    </a:lnTo>
                    <a:lnTo>
                      <a:pt x="475" y="437"/>
                    </a:lnTo>
                    <a:lnTo>
                      <a:pt x="475" y="439"/>
                    </a:lnTo>
                    <a:lnTo>
                      <a:pt x="475" y="440"/>
                    </a:lnTo>
                    <a:lnTo>
                      <a:pt x="475" y="442"/>
                    </a:lnTo>
                    <a:lnTo>
                      <a:pt x="475" y="443"/>
                    </a:lnTo>
                    <a:lnTo>
                      <a:pt x="475" y="445"/>
                    </a:lnTo>
                    <a:lnTo>
                      <a:pt x="475" y="447"/>
                    </a:lnTo>
                    <a:lnTo>
                      <a:pt x="475" y="448"/>
                    </a:lnTo>
                    <a:lnTo>
                      <a:pt x="475" y="450"/>
                    </a:lnTo>
                    <a:lnTo>
                      <a:pt x="475" y="451"/>
                    </a:lnTo>
                    <a:lnTo>
                      <a:pt x="475" y="453"/>
                    </a:lnTo>
                    <a:lnTo>
                      <a:pt x="475" y="454"/>
                    </a:lnTo>
                    <a:lnTo>
                      <a:pt x="475" y="456"/>
                    </a:lnTo>
                    <a:lnTo>
                      <a:pt x="475" y="458"/>
                    </a:lnTo>
                    <a:lnTo>
                      <a:pt x="475" y="459"/>
                    </a:lnTo>
                    <a:lnTo>
                      <a:pt x="475" y="461"/>
                    </a:lnTo>
                    <a:lnTo>
                      <a:pt x="475" y="462"/>
                    </a:lnTo>
                    <a:lnTo>
                      <a:pt x="475" y="464"/>
                    </a:lnTo>
                    <a:lnTo>
                      <a:pt x="474" y="464"/>
                    </a:lnTo>
                    <a:lnTo>
                      <a:pt x="472" y="464"/>
                    </a:lnTo>
                    <a:lnTo>
                      <a:pt x="471" y="464"/>
                    </a:lnTo>
                    <a:lnTo>
                      <a:pt x="471" y="466"/>
                    </a:lnTo>
                    <a:lnTo>
                      <a:pt x="469" y="466"/>
                    </a:lnTo>
                    <a:lnTo>
                      <a:pt x="469" y="464"/>
                    </a:lnTo>
                    <a:lnTo>
                      <a:pt x="468" y="466"/>
                    </a:lnTo>
                    <a:lnTo>
                      <a:pt x="466" y="466"/>
                    </a:lnTo>
                    <a:lnTo>
                      <a:pt x="464" y="464"/>
                    </a:lnTo>
                    <a:lnTo>
                      <a:pt x="466" y="464"/>
                    </a:lnTo>
                    <a:lnTo>
                      <a:pt x="464" y="462"/>
                    </a:lnTo>
                    <a:lnTo>
                      <a:pt x="463" y="462"/>
                    </a:lnTo>
                    <a:lnTo>
                      <a:pt x="461" y="462"/>
                    </a:lnTo>
                    <a:lnTo>
                      <a:pt x="460" y="462"/>
                    </a:lnTo>
                    <a:lnTo>
                      <a:pt x="460" y="461"/>
                    </a:lnTo>
                    <a:lnTo>
                      <a:pt x="458" y="461"/>
                    </a:lnTo>
                    <a:lnTo>
                      <a:pt x="456" y="461"/>
                    </a:lnTo>
                    <a:lnTo>
                      <a:pt x="456" y="462"/>
                    </a:lnTo>
                    <a:lnTo>
                      <a:pt x="455" y="462"/>
                    </a:lnTo>
                    <a:lnTo>
                      <a:pt x="453" y="464"/>
                    </a:lnTo>
                    <a:lnTo>
                      <a:pt x="453" y="466"/>
                    </a:lnTo>
                    <a:lnTo>
                      <a:pt x="453" y="467"/>
                    </a:lnTo>
                    <a:lnTo>
                      <a:pt x="453" y="469"/>
                    </a:lnTo>
                    <a:lnTo>
                      <a:pt x="453" y="470"/>
                    </a:lnTo>
                    <a:lnTo>
                      <a:pt x="453" y="472"/>
                    </a:lnTo>
                    <a:lnTo>
                      <a:pt x="453" y="473"/>
                    </a:lnTo>
                    <a:lnTo>
                      <a:pt x="452" y="473"/>
                    </a:lnTo>
                    <a:lnTo>
                      <a:pt x="452" y="475"/>
                    </a:lnTo>
                    <a:lnTo>
                      <a:pt x="450" y="475"/>
                    </a:lnTo>
                    <a:lnTo>
                      <a:pt x="450" y="477"/>
                    </a:lnTo>
                    <a:lnTo>
                      <a:pt x="449" y="475"/>
                    </a:lnTo>
                    <a:lnTo>
                      <a:pt x="449" y="477"/>
                    </a:lnTo>
                    <a:lnTo>
                      <a:pt x="447" y="478"/>
                    </a:lnTo>
                    <a:lnTo>
                      <a:pt x="445" y="478"/>
                    </a:lnTo>
                    <a:lnTo>
                      <a:pt x="445" y="480"/>
                    </a:lnTo>
                    <a:lnTo>
                      <a:pt x="444" y="480"/>
                    </a:lnTo>
                    <a:lnTo>
                      <a:pt x="442" y="481"/>
                    </a:lnTo>
                    <a:lnTo>
                      <a:pt x="441" y="483"/>
                    </a:lnTo>
                    <a:lnTo>
                      <a:pt x="441" y="485"/>
                    </a:lnTo>
                    <a:lnTo>
                      <a:pt x="439" y="485"/>
                    </a:lnTo>
                    <a:lnTo>
                      <a:pt x="439" y="486"/>
                    </a:lnTo>
                    <a:lnTo>
                      <a:pt x="437" y="486"/>
                    </a:lnTo>
                    <a:lnTo>
                      <a:pt x="437" y="488"/>
                    </a:lnTo>
                    <a:lnTo>
                      <a:pt x="436" y="488"/>
                    </a:lnTo>
                    <a:lnTo>
                      <a:pt x="434" y="489"/>
                    </a:lnTo>
                    <a:lnTo>
                      <a:pt x="434" y="491"/>
                    </a:lnTo>
                    <a:lnTo>
                      <a:pt x="433" y="491"/>
                    </a:lnTo>
                    <a:lnTo>
                      <a:pt x="433" y="493"/>
                    </a:lnTo>
                    <a:lnTo>
                      <a:pt x="429" y="505"/>
                    </a:lnTo>
                    <a:lnTo>
                      <a:pt x="429" y="507"/>
                    </a:lnTo>
                    <a:lnTo>
                      <a:pt x="428" y="507"/>
                    </a:lnTo>
                    <a:lnTo>
                      <a:pt x="428" y="508"/>
                    </a:lnTo>
                    <a:lnTo>
                      <a:pt x="428" y="510"/>
                    </a:lnTo>
                    <a:lnTo>
                      <a:pt x="428" y="512"/>
                    </a:lnTo>
                    <a:lnTo>
                      <a:pt x="429" y="512"/>
                    </a:lnTo>
                    <a:lnTo>
                      <a:pt x="429" y="513"/>
                    </a:lnTo>
                    <a:lnTo>
                      <a:pt x="431" y="515"/>
                    </a:lnTo>
                    <a:lnTo>
                      <a:pt x="431" y="516"/>
                    </a:lnTo>
                    <a:lnTo>
                      <a:pt x="433" y="518"/>
                    </a:lnTo>
                    <a:lnTo>
                      <a:pt x="433" y="519"/>
                    </a:lnTo>
                    <a:lnTo>
                      <a:pt x="433" y="521"/>
                    </a:lnTo>
                    <a:lnTo>
                      <a:pt x="434" y="521"/>
                    </a:lnTo>
                    <a:lnTo>
                      <a:pt x="434" y="523"/>
                    </a:lnTo>
                    <a:lnTo>
                      <a:pt x="433" y="523"/>
                    </a:lnTo>
                    <a:lnTo>
                      <a:pt x="431" y="523"/>
                    </a:lnTo>
                    <a:lnTo>
                      <a:pt x="429" y="523"/>
                    </a:lnTo>
                    <a:lnTo>
                      <a:pt x="429" y="524"/>
                    </a:lnTo>
                    <a:lnTo>
                      <a:pt x="428" y="524"/>
                    </a:lnTo>
                    <a:lnTo>
                      <a:pt x="426" y="524"/>
                    </a:lnTo>
                    <a:lnTo>
                      <a:pt x="425" y="524"/>
                    </a:lnTo>
                    <a:lnTo>
                      <a:pt x="423" y="524"/>
                    </a:lnTo>
                    <a:lnTo>
                      <a:pt x="422" y="524"/>
                    </a:lnTo>
                    <a:lnTo>
                      <a:pt x="420" y="524"/>
                    </a:lnTo>
                    <a:lnTo>
                      <a:pt x="418" y="524"/>
                    </a:lnTo>
                    <a:lnTo>
                      <a:pt x="417" y="526"/>
                    </a:lnTo>
                    <a:lnTo>
                      <a:pt x="415" y="527"/>
                    </a:lnTo>
                    <a:lnTo>
                      <a:pt x="415" y="529"/>
                    </a:lnTo>
                    <a:lnTo>
                      <a:pt x="415" y="531"/>
                    </a:lnTo>
                    <a:lnTo>
                      <a:pt x="415" y="532"/>
                    </a:lnTo>
                    <a:lnTo>
                      <a:pt x="415" y="534"/>
                    </a:lnTo>
                    <a:lnTo>
                      <a:pt x="414" y="534"/>
                    </a:lnTo>
                    <a:lnTo>
                      <a:pt x="414" y="535"/>
                    </a:lnTo>
                    <a:lnTo>
                      <a:pt x="414" y="537"/>
                    </a:lnTo>
                    <a:lnTo>
                      <a:pt x="412" y="537"/>
                    </a:lnTo>
                    <a:lnTo>
                      <a:pt x="412" y="538"/>
                    </a:lnTo>
                    <a:lnTo>
                      <a:pt x="410" y="538"/>
                    </a:lnTo>
                    <a:lnTo>
                      <a:pt x="409" y="538"/>
                    </a:lnTo>
                    <a:lnTo>
                      <a:pt x="409" y="540"/>
                    </a:lnTo>
                    <a:lnTo>
                      <a:pt x="407" y="540"/>
                    </a:lnTo>
                    <a:lnTo>
                      <a:pt x="406" y="540"/>
                    </a:lnTo>
                    <a:lnTo>
                      <a:pt x="404" y="540"/>
                    </a:lnTo>
                    <a:lnTo>
                      <a:pt x="403" y="540"/>
                    </a:lnTo>
                    <a:lnTo>
                      <a:pt x="401" y="540"/>
                    </a:lnTo>
                    <a:lnTo>
                      <a:pt x="399" y="540"/>
                    </a:lnTo>
                    <a:lnTo>
                      <a:pt x="398" y="540"/>
                    </a:lnTo>
                    <a:lnTo>
                      <a:pt x="398" y="542"/>
                    </a:lnTo>
                    <a:lnTo>
                      <a:pt x="396" y="542"/>
                    </a:lnTo>
                    <a:lnTo>
                      <a:pt x="396" y="543"/>
                    </a:lnTo>
                    <a:lnTo>
                      <a:pt x="395" y="543"/>
                    </a:lnTo>
                    <a:lnTo>
                      <a:pt x="395" y="545"/>
                    </a:lnTo>
                    <a:lnTo>
                      <a:pt x="393" y="545"/>
                    </a:lnTo>
                    <a:lnTo>
                      <a:pt x="393" y="546"/>
                    </a:lnTo>
                    <a:lnTo>
                      <a:pt x="391" y="546"/>
                    </a:lnTo>
                    <a:lnTo>
                      <a:pt x="390" y="548"/>
                    </a:lnTo>
                    <a:lnTo>
                      <a:pt x="388" y="548"/>
                    </a:lnTo>
                    <a:lnTo>
                      <a:pt x="387" y="548"/>
                    </a:lnTo>
                    <a:lnTo>
                      <a:pt x="385" y="548"/>
                    </a:lnTo>
                    <a:lnTo>
                      <a:pt x="384" y="548"/>
                    </a:lnTo>
                    <a:lnTo>
                      <a:pt x="382" y="550"/>
                    </a:lnTo>
                    <a:lnTo>
                      <a:pt x="380" y="550"/>
                    </a:lnTo>
                    <a:lnTo>
                      <a:pt x="379" y="550"/>
                    </a:lnTo>
                    <a:lnTo>
                      <a:pt x="377" y="550"/>
                    </a:lnTo>
                    <a:lnTo>
                      <a:pt x="376" y="551"/>
                    </a:lnTo>
                    <a:lnTo>
                      <a:pt x="374" y="551"/>
                    </a:lnTo>
                    <a:lnTo>
                      <a:pt x="372" y="551"/>
                    </a:lnTo>
                    <a:lnTo>
                      <a:pt x="371" y="551"/>
                    </a:lnTo>
                    <a:lnTo>
                      <a:pt x="371" y="553"/>
                    </a:lnTo>
                    <a:lnTo>
                      <a:pt x="369" y="553"/>
                    </a:lnTo>
                    <a:lnTo>
                      <a:pt x="368" y="553"/>
                    </a:lnTo>
                    <a:lnTo>
                      <a:pt x="366" y="553"/>
                    </a:lnTo>
                    <a:lnTo>
                      <a:pt x="365" y="553"/>
                    </a:lnTo>
                    <a:lnTo>
                      <a:pt x="363" y="554"/>
                    </a:lnTo>
                    <a:lnTo>
                      <a:pt x="361" y="554"/>
                    </a:lnTo>
                    <a:lnTo>
                      <a:pt x="361" y="556"/>
                    </a:lnTo>
                    <a:lnTo>
                      <a:pt x="360" y="556"/>
                    </a:lnTo>
                    <a:lnTo>
                      <a:pt x="360" y="557"/>
                    </a:lnTo>
                    <a:lnTo>
                      <a:pt x="358" y="557"/>
                    </a:lnTo>
                    <a:lnTo>
                      <a:pt x="357" y="559"/>
                    </a:lnTo>
                    <a:lnTo>
                      <a:pt x="355" y="561"/>
                    </a:lnTo>
                    <a:lnTo>
                      <a:pt x="353" y="561"/>
                    </a:lnTo>
                    <a:lnTo>
                      <a:pt x="352" y="562"/>
                    </a:lnTo>
                    <a:lnTo>
                      <a:pt x="350" y="562"/>
                    </a:lnTo>
                    <a:lnTo>
                      <a:pt x="349" y="561"/>
                    </a:lnTo>
                    <a:lnTo>
                      <a:pt x="347" y="561"/>
                    </a:lnTo>
                    <a:lnTo>
                      <a:pt x="346" y="562"/>
                    </a:lnTo>
                    <a:lnTo>
                      <a:pt x="344" y="562"/>
                    </a:lnTo>
                    <a:lnTo>
                      <a:pt x="342" y="562"/>
                    </a:lnTo>
                    <a:lnTo>
                      <a:pt x="341" y="562"/>
                    </a:lnTo>
                    <a:lnTo>
                      <a:pt x="339" y="564"/>
                    </a:lnTo>
                    <a:lnTo>
                      <a:pt x="338" y="564"/>
                    </a:lnTo>
                    <a:lnTo>
                      <a:pt x="336" y="564"/>
                    </a:lnTo>
                    <a:lnTo>
                      <a:pt x="334" y="564"/>
                    </a:lnTo>
                    <a:lnTo>
                      <a:pt x="334" y="565"/>
                    </a:lnTo>
                    <a:lnTo>
                      <a:pt x="333" y="565"/>
                    </a:lnTo>
                    <a:lnTo>
                      <a:pt x="331" y="565"/>
                    </a:lnTo>
                    <a:lnTo>
                      <a:pt x="330" y="565"/>
                    </a:lnTo>
                    <a:lnTo>
                      <a:pt x="330" y="567"/>
                    </a:lnTo>
                    <a:lnTo>
                      <a:pt x="328" y="567"/>
                    </a:lnTo>
                    <a:lnTo>
                      <a:pt x="328" y="569"/>
                    </a:lnTo>
                    <a:lnTo>
                      <a:pt x="327" y="569"/>
                    </a:lnTo>
                    <a:lnTo>
                      <a:pt x="327" y="570"/>
                    </a:lnTo>
                    <a:lnTo>
                      <a:pt x="325" y="572"/>
                    </a:lnTo>
                    <a:lnTo>
                      <a:pt x="323" y="573"/>
                    </a:lnTo>
                    <a:lnTo>
                      <a:pt x="322" y="573"/>
                    </a:lnTo>
                    <a:lnTo>
                      <a:pt x="320" y="575"/>
                    </a:lnTo>
                    <a:lnTo>
                      <a:pt x="319" y="575"/>
                    </a:lnTo>
                    <a:lnTo>
                      <a:pt x="319" y="576"/>
                    </a:lnTo>
                    <a:lnTo>
                      <a:pt x="317" y="576"/>
                    </a:lnTo>
                    <a:lnTo>
                      <a:pt x="315" y="578"/>
                    </a:lnTo>
                    <a:lnTo>
                      <a:pt x="314" y="578"/>
                    </a:lnTo>
                    <a:lnTo>
                      <a:pt x="314" y="580"/>
                    </a:lnTo>
                    <a:lnTo>
                      <a:pt x="314" y="581"/>
                    </a:lnTo>
                    <a:lnTo>
                      <a:pt x="312" y="581"/>
                    </a:lnTo>
                    <a:lnTo>
                      <a:pt x="312" y="583"/>
                    </a:lnTo>
                    <a:lnTo>
                      <a:pt x="312" y="584"/>
                    </a:lnTo>
                    <a:lnTo>
                      <a:pt x="311" y="584"/>
                    </a:lnTo>
                    <a:lnTo>
                      <a:pt x="311" y="586"/>
                    </a:lnTo>
                    <a:lnTo>
                      <a:pt x="311" y="588"/>
                    </a:lnTo>
                    <a:lnTo>
                      <a:pt x="309" y="588"/>
                    </a:lnTo>
                    <a:lnTo>
                      <a:pt x="308" y="588"/>
                    </a:lnTo>
                    <a:lnTo>
                      <a:pt x="306" y="588"/>
                    </a:lnTo>
                    <a:lnTo>
                      <a:pt x="304" y="586"/>
                    </a:lnTo>
                    <a:lnTo>
                      <a:pt x="303" y="586"/>
                    </a:lnTo>
                    <a:lnTo>
                      <a:pt x="301" y="586"/>
                    </a:lnTo>
                    <a:lnTo>
                      <a:pt x="300" y="586"/>
                    </a:lnTo>
                    <a:lnTo>
                      <a:pt x="298" y="586"/>
                    </a:lnTo>
                    <a:lnTo>
                      <a:pt x="296" y="586"/>
                    </a:lnTo>
                    <a:lnTo>
                      <a:pt x="295" y="586"/>
                    </a:lnTo>
                    <a:lnTo>
                      <a:pt x="293" y="586"/>
                    </a:lnTo>
                    <a:lnTo>
                      <a:pt x="293" y="588"/>
                    </a:lnTo>
                    <a:lnTo>
                      <a:pt x="292" y="588"/>
                    </a:lnTo>
                    <a:lnTo>
                      <a:pt x="290" y="588"/>
                    </a:lnTo>
                    <a:lnTo>
                      <a:pt x="290" y="589"/>
                    </a:lnTo>
                    <a:lnTo>
                      <a:pt x="289" y="588"/>
                    </a:lnTo>
                    <a:lnTo>
                      <a:pt x="289" y="589"/>
                    </a:lnTo>
                    <a:lnTo>
                      <a:pt x="287" y="589"/>
                    </a:lnTo>
                    <a:lnTo>
                      <a:pt x="285" y="591"/>
                    </a:lnTo>
                    <a:lnTo>
                      <a:pt x="284" y="591"/>
                    </a:lnTo>
                    <a:lnTo>
                      <a:pt x="284" y="592"/>
                    </a:lnTo>
                    <a:lnTo>
                      <a:pt x="282" y="592"/>
                    </a:lnTo>
                    <a:lnTo>
                      <a:pt x="281" y="594"/>
                    </a:lnTo>
                    <a:lnTo>
                      <a:pt x="281" y="595"/>
                    </a:lnTo>
                    <a:lnTo>
                      <a:pt x="281" y="597"/>
                    </a:lnTo>
                    <a:lnTo>
                      <a:pt x="281" y="599"/>
                    </a:lnTo>
                    <a:lnTo>
                      <a:pt x="279" y="599"/>
                    </a:lnTo>
                    <a:lnTo>
                      <a:pt x="279" y="600"/>
                    </a:lnTo>
                    <a:lnTo>
                      <a:pt x="277" y="600"/>
                    </a:lnTo>
                    <a:lnTo>
                      <a:pt x="276" y="600"/>
                    </a:lnTo>
                    <a:lnTo>
                      <a:pt x="274" y="599"/>
                    </a:lnTo>
                    <a:lnTo>
                      <a:pt x="273" y="597"/>
                    </a:lnTo>
                    <a:lnTo>
                      <a:pt x="271" y="597"/>
                    </a:lnTo>
                    <a:lnTo>
                      <a:pt x="271" y="595"/>
                    </a:lnTo>
                    <a:lnTo>
                      <a:pt x="270" y="595"/>
                    </a:lnTo>
                    <a:lnTo>
                      <a:pt x="268" y="594"/>
                    </a:lnTo>
                    <a:lnTo>
                      <a:pt x="266" y="594"/>
                    </a:lnTo>
                    <a:lnTo>
                      <a:pt x="266" y="595"/>
                    </a:lnTo>
                    <a:lnTo>
                      <a:pt x="266" y="597"/>
                    </a:lnTo>
                    <a:lnTo>
                      <a:pt x="266" y="599"/>
                    </a:lnTo>
                    <a:lnTo>
                      <a:pt x="265" y="599"/>
                    </a:lnTo>
                    <a:lnTo>
                      <a:pt x="265" y="600"/>
                    </a:lnTo>
                    <a:lnTo>
                      <a:pt x="265" y="602"/>
                    </a:lnTo>
                    <a:lnTo>
                      <a:pt x="265" y="603"/>
                    </a:lnTo>
                    <a:lnTo>
                      <a:pt x="263" y="605"/>
                    </a:lnTo>
                    <a:lnTo>
                      <a:pt x="263" y="607"/>
                    </a:lnTo>
                    <a:lnTo>
                      <a:pt x="262" y="608"/>
                    </a:lnTo>
                    <a:lnTo>
                      <a:pt x="260" y="610"/>
                    </a:lnTo>
                    <a:lnTo>
                      <a:pt x="258" y="610"/>
                    </a:lnTo>
                    <a:lnTo>
                      <a:pt x="257" y="610"/>
                    </a:lnTo>
                    <a:lnTo>
                      <a:pt x="255" y="610"/>
                    </a:lnTo>
                    <a:lnTo>
                      <a:pt x="254" y="610"/>
                    </a:lnTo>
                    <a:lnTo>
                      <a:pt x="252" y="610"/>
                    </a:lnTo>
                    <a:lnTo>
                      <a:pt x="251" y="610"/>
                    </a:lnTo>
                    <a:lnTo>
                      <a:pt x="251" y="608"/>
                    </a:lnTo>
                    <a:lnTo>
                      <a:pt x="249" y="608"/>
                    </a:lnTo>
                    <a:lnTo>
                      <a:pt x="247" y="608"/>
                    </a:lnTo>
                    <a:lnTo>
                      <a:pt x="247" y="607"/>
                    </a:lnTo>
                    <a:lnTo>
                      <a:pt x="246" y="607"/>
                    </a:lnTo>
                    <a:lnTo>
                      <a:pt x="243" y="605"/>
                    </a:lnTo>
                    <a:lnTo>
                      <a:pt x="241" y="603"/>
                    </a:lnTo>
                    <a:lnTo>
                      <a:pt x="239" y="603"/>
                    </a:lnTo>
                    <a:lnTo>
                      <a:pt x="239" y="602"/>
                    </a:lnTo>
                    <a:lnTo>
                      <a:pt x="238" y="602"/>
                    </a:lnTo>
                    <a:lnTo>
                      <a:pt x="236" y="602"/>
                    </a:lnTo>
                    <a:lnTo>
                      <a:pt x="235" y="602"/>
                    </a:lnTo>
                    <a:lnTo>
                      <a:pt x="233" y="603"/>
                    </a:lnTo>
                    <a:lnTo>
                      <a:pt x="231" y="603"/>
                    </a:lnTo>
                    <a:lnTo>
                      <a:pt x="230" y="603"/>
                    </a:lnTo>
                    <a:lnTo>
                      <a:pt x="228" y="603"/>
                    </a:lnTo>
                    <a:lnTo>
                      <a:pt x="227" y="603"/>
                    </a:lnTo>
                    <a:lnTo>
                      <a:pt x="225" y="603"/>
                    </a:lnTo>
                    <a:lnTo>
                      <a:pt x="224" y="603"/>
                    </a:lnTo>
                    <a:lnTo>
                      <a:pt x="222" y="603"/>
                    </a:lnTo>
                    <a:lnTo>
                      <a:pt x="222" y="602"/>
                    </a:lnTo>
                    <a:lnTo>
                      <a:pt x="220" y="602"/>
                    </a:lnTo>
                    <a:lnTo>
                      <a:pt x="220" y="600"/>
                    </a:lnTo>
                    <a:lnTo>
                      <a:pt x="220" y="599"/>
                    </a:lnTo>
                    <a:lnTo>
                      <a:pt x="220" y="600"/>
                    </a:lnTo>
                    <a:lnTo>
                      <a:pt x="219" y="600"/>
                    </a:lnTo>
                    <a:lnTo>
                      <a:pt x="217" y="600"/>
                    </a:lnTo>
                    <a:lnTo>
                      <a:pt x="217" y="599"/>
                    </a:lnTo>
                    <a:lnTo>
                      <a:pt x="217" y="597"/>
                    </a:lnTo>
                    <a:lnTo>
                      <a:pt x="216" y="597"/>
                    </a:lnTo>
                    <a:lnTo>
                      <a:pt x="216" y="595"/>
                    </a:lnTo>
                    <a:lnTo>
                      <a:pt x="214" y="595"/>
                    </a:lnTo>
                    <a:lnTo>
                      <a:pt x="214" y="594"/>
                    </a:lnTo>
                    <a:lnTo>
                      <a:pt x="212" y="594"/>
                    </a:lnTo>
                    <a:lnTo>
                      <a:pt x="211" y="594"/>
                    </a:lnTo>
                    <a:lnTo>
                      <a:pt x="209" y="595"/>
                    </a:lnTo>
                    <a:lnTo>
                      <a:pt x="208" y="595"/>
                    </a:lnTo>
                    <a:lnTo>
                      <a:pt x="206" y="595"/>
                    </a:lnTo>
                    <a:lnTo>
                      <a:pt x="205" y="595"/>
                    </a:lnTo>
                    <a:lnTo>
                      <a:pt x="205" y="597"/>
                    </a:lnTo>
                    <a:lnTo>
                      <a:pt x="203" y="597"/>
                    </a:lnTo>
                    <a:lnTo>
                      <a:pt x="203" y="595"/>
                    </a:lnTo>
                    <a:lnTo>
                      <a:pt x="201" y="597"/>
                    </a:lnTo>
                    <a:lnTo>
                      <a:pt x="200" y="597"/>
                    </a:lnTo>
                    <a:lnTo>
                      <a:pt x="198" y="599"/>
                    </a:lnTo>
                    <a:lnTo>
                      <a:pt x="197" y="599"/>
                    </a:lnTo>
                    <a:lnTo>
                      <a:pt x="197" y="597"/>
                    </a:lnTo>
                    <a:lnTo>
                      <a:pt x="195" y="597"/>
                    </a:lnTo>
                    <a:lnTo>
                      <a:pt x="193" y="595"/>
                    </a:lnTo>
                    <a:lnTo>
                      <a:pt x="192" y="595"/>
                    </a:lnTo>
                    <a:lnTo>
                      <a:pt x="190" y="594"/>
                    </a:lnTo>
                    <a:lnTo>
                      <a:pt x="189" y="594"/>
                    </a:lnTo>
                    <a:lnTo>
                      <a:pt x="187" y="594"/>
                    </a:lnTo>
                    <a:lnTo>
                      <a:pt x="186" y="594"/>
                    </a:lnTo>
                    <a:lnTo>
                      <a:pt x="184" y="594"/>
                    </a:lnTo>
                    <a:lnTo>
                      <a:pt x="182" y="594"/>
                    </a:lnTo>
                    <a:lnTo>
                      <a:pt x="181" y="594"/>
                    </a:lnTo>
                    <a:lnTo>
                      <a:pt x="179" y="592"/>
                    </a:lnTo>
                    <a:lnTo>
                      <a:pt x="178" y="592"/>
                    </a:lnTo>
                    <a:lnTo>
                      <a:pt x="178" y="591"/>
                    </a:lnTo>
                    <a:lnTo>
                      <a:pt x="176" y="591"/>
                    </a:lnTo>
                    <a:lnTo>
                      <a:pt x="176" y="589"/>
                    </a:lnTo>
                    <a:lnTo>
                      <a:pt x="174" y="589"/>
                    </a:lnTo>
                    <a:lnTo>
                      <a:pt x="174" y="588"/>
                    </a:lnTo>
                    <a:lnTo>
                      <a:pt x="173" y="588"/>
                    </a:lnTo>
                    <a:lnTo>
                      <a:pt x="173" y="586"/>
                    </a:lnTo>
                    <a:lnTo>
                      <a:pt x="171" y="586"/>
                    </a:lnTo>
                    <a:lnTo>
                      <a:pt x="170" y="586"/>
                    </a:lnTo>
                    <a:lnTo>
                      <a:pt x="170" y="584"/>
                    </a:lnTo>
                    <a:lnTo>
                      <a:pt x="170" y="583"/>
                    </a:lnTo>
                    <a:lnTo>
                      <a:pt x="170" y="581"/>
                    </a:lnTo>
                    <a:lnTo>
                      <a:pt x="170" y="580"/>
                    </a:lnTo>
                    <a:lnTo>
                      <a:pt x="168" y="580"/>
                    </a:lnTo>
                    <a:lnTo>
                      <a:pt x="167" y="580"/>
                    </a:lnTo>
                    <a:lnTo>
                      <a:pt x="167" y="578"/>
                    </a:lnTo>
                    <a:lnTo>
                      <a:pt x="165" y="578"/>
                    </a:lnTo>
                    <a:lnTo>
                      <a:pt x="165" y="576"/>
                    </a:lnTo>
                    <a:lnTo>
                      <a:pt x="165" y="575"/>
                    </a:lnTo>
                    <a:lnTo>
                      <a:pt x="163" y="575"/>
                    </a:lnTo>
                    <a:lnTo>
                      <a:pt x="163" y="573"/>
                    </a:lnTo>
                    <a:lnTo>
                      <a:pt x="162" y="575"/>
                    </a:lnTo>
                    <a:lnTo>
                      <a:pt x="160" y="575"/>
                    </a:lnTo>
                    <a:lnTo>
                      <a:pt x="160" y="573"/>
                    </a:lnTo>
                    <a:lnTo>
                      <a:pt x="160" y="575"/>
                    </a:lnTo>
                    <a:lnTo>
                      <a:pt x="159" y="575"/>
                    </a:lnTo>
                    <a:lnTo>
                      <a:pt x="157" y="575"/>
                    </a:lnTo>
                    <a:lnTo>
                      <a:pt x="155" y="573"/>
                    </a:lnTo>
                    <a:lnTo>
                      <a:pt x="154" y="573"/>
                    </a:lnTo>
                    <a:lnTo>
                      <a:pt x="154" y="575"/>
                    </a:lnTo>
                    <a:lnTo>
                      <a:pt x="152" y="575"/>
                    </a:lnTo>
                    <a:lnTo>
                      <a:pt x="152" y="573"/>
                    </a:lnTo>
                    <a:lnTo>
                      <a:pt x="151" y="572"/>
                    </a:lnTo>
                    <a:lnTo>
                      <a:pt x="149" y="572"/>
                    </a:lnTo>
                    <a:lnTo>
                      <a:pt x="148" y="572"/>
                    </a:lnTo>
                    <a:lnTo>
                      <a:pt x="146" y="573"/>
                    </a:lnTo>
                    <a:lnTo>
                      <a:pt x="144" y="572"/>
                    </a:lnTo>
                    <a:lnTo>
                      <a:pt x="143" y="572"/>
                    </a:lnTo>
                    <a:lnTo>
                      <a:pt x="141" y="570"/>
                    </a:lnTo>
                    <a:lnTo>
                      <a:pt x="140" y="570"/>
                    </a:lnTo>
                    <a:lnTo>
                      <a:pt x="138" y="572"/>
                    </a:lnTo>
                    <a:lnTo>
                      <a:pt x="136" y="572"/>
                    </a:lnTo>
                    <a:lnTo>
                      <a:pt x="135" y="573"/>
                    </a:lnTo>
                    <a:lnTo>
                      <a:pt x="133" y="572"/>
                    </a:lnTo>
                    <a:lnTo>
                      <a:pt x="132" y="572"/>
                    </a:lnTo>
                    <a:lnTo>
                      <a:pt x="132" y="570"/>
                    </a:lnTo>
                    <a:lnTo>
                      <a:pt x="130" y="572"/>
                    </a:lnTo>
                    <a:lnTo>
                      <a:pt x="129" y="572"/>
                    </a:lnTo>
                    <a:lnTo>
                      <a:pt x="127" y="572"/>
                    </a:lnTo>
                    <a:lnTo>
                      <a:pt x="127" y="570"/>
                    </a:lnTo>
                    <a:lnTo>
                      <a:pt x="125" y="570"/>
                    </a:lnTo>
                    <a:lnTo>
                      <a:pt x="124" y="570"/>
                    </a:lnTo>
                    <a:lnTo>
                      <a:pt x="122" y="570"/>
                    </a:lnTo>
                    <a:lnTo>
                      <a:pt x="121" y="572"/>
                    </a:lnTo>
                    <a:lnTo>
                      <a:pt x="121" y="570"/>
                    </a:lnTo>
                    <a:lnTo>
                      <a:pt x="119" y="570"/>
                    </a:lnTo>
                    <a:lnTo>
                      <a:pt x="119" y="569"/>
                    </a:lnTo>
                    <a:lnTo>
                      <a:pt x="117" y="569"/>
                    </a:lnTo>
                    <a:lnTo>
                      <a:pt x="117" y="567"/>
                    </a:lnTo>
                    <a:lnTo>
                      <a:pt x="116" y="567"/>
                    </a:lnTo>
                    <a:lnTo>
                      <a:pt x="114" y="567"/>
                    </a:lnTo>
                    <a:lnTo>
                      <a:pt x="113" y="565"/>
                    </a:lnTo>
                    <a:lnTo>
                      <a:pt x="111" y="565"/>
                    </a:lnTo>
                    <a:lnTo>
                      <a:pt x="110" y="565"/>
                    </a:lnTo>
                    <a:lnTo>
                      <a:pt x="110" y="564"/>
                    </a:lnTo>
                    <a:lnTo>
                      <a:pt x="108" y="564"/>
                    </a:lnTo>
                    <a:lnTo>
                      <a:pt x="106" y="564"/>
                    </a:lnTo>
                    <a:lnTo>
                      <a:pt x="105" y="564"/>
                    </a:lnTo>
                    <a:lnTo>
                      <a:pt x="103" y="564"/>
                    </a:lnTo>
                    <a:lnTo>
                      <a:pt x="102" y="564"/>
                    </a:lnTo>
                    <a:lnTo>
                      <a:pt x="100" y="564"/>
                    </a:lnTo>
                    <a:lnTo>
                      <a:pt x="98" y="562"/>
                    </a:lnTo>
                    <a:lnTo>
                      <a:pt x="97" y="562"/>
                    </a:lnTo>
                    <a:lnTo>
                      <a:pt x="95" y="561"/>
                    </a:lnTo>
                    <a:lnTo>
                      <a:pt x="95" y="562"/>
                    </a:lnTo>
                    <a:lnTo>
                      <a:pt x="94" y="561"/>
                    </a:lnTo>
                    <a:lnTo>
                      <a:pt x="94" y="562"/>
                    </a:lnTo>
                    <a:lnTo>
                      <a:pt x="92" y="562"/>
                    </a:lnTo>
                    <a:lnTo>
                      <a:pt x="92" y="564"/>
                    </a:lnTo>
                    <a:lnTo>
                      <a:pt x="91" y="564"/>
                    </a:lnTo>
                    <a:lnTo>
                      <a:pt x="91" y="562"/>
                    </a:lnTo>
                    <a:lnTo>
                      <a:pt x="89" y="564"/>
                    </a:lnTo>
                    <a:lnTo>
                      <a:pt x="89" y="562"/>
                    </a:lnTo>
                    <a:lnTo>
                      <a:pt x="87" y="562"/>
                    </a:lnTo>
                    <a:lnTo>
                      <a:pt x="86" y="564"/>
                    </a:lnTo>
                    <a:lnTo>
                      <a:pt x="86" y="565"/>
                    </a:lnTo>
                    <a:lnTo>
                      <a:pt x="84" y="565"/>
                    </a:lnTo>
                    <a:lnTo>
                      <a:pt x="83" y="567"/>
                    </a:lnTo>
                    <a:lnTo>
                      <a:pt x="81" y="565"/>
                    </a:lnTo>
                    <a:lnTo>
                      <a:pt x="79" y="565"/>
                    </a:lnTo>
                    <a:lnTo>
                      <a:pt x="78" y="564"/>
                    </a:lnTo>
                    <a:lnTo>
                      <a:pt x="76" y="564"/>
                    </a:lnTo>
                    <a:lnTo>
                      <a:pt x="75" y="564"/>
                    </a:lnTo>
                    <a:lnTo>
                      <a:pt x="75" y="562"/>
                    </a:lnTo>
                    <a:lnTo>
                      <a:pt x="73" y="562"/>
                    </a:lnTo>
                    <a:lnTo>
                      <a:pt x="73" y="561"/>
                    </a:lnTo>
                    <a:lnTo>
                      <a:pt x="73" y="559"/>
                    </a:lnTo>
                    <a:lnTo>
                      <a:pt x="75" y="559"/>
                    </a:lnTo>
                    <a:lnTo>
                      <a:pt x="75" y="557"/>
                    </a:lnTo>
                    <a:lnTo>
                      <a:pt x="76" y="556"/>
                    </a:lnTo>
                    <a:lnTo>
                      <a:pt x="76" y="554"/>
                    </a:lnTo>
                    <a:lnTo>
                      <a:pt x="75" y="554"/>
                    </a:lnTo>
                    <a:lnTo>
                      <a:pt x="75" y="553"/>
                    </a:lnTo>
                    <a:lnTo>
                      <a:pt x="73" y="551"/>
                    </a:lnTo>
                    <a:lnTo>
                      <a:pt x="72" y="550"/>
                    </a:lnTo>
                    <a:lnTo>
                      <a:pt x="70" y="550"/>
                    </a:lnTo>
                    <a:lnTo>
                      <a:pt x="68" y="548"/>
                    </a:lnTo>
                    <a:lnTo>
                      <a:pt x="67" y="548"/>
                    </a:lnTo>
                    <a:lnTo>
                      <a:pt x="65" y="548"/>
                    </a:lnTo>
                    <a:lnTo>
                      <a:pt x="64" y="548"/>
                    </a:lnTo>
                    <a:lnTo>
                      <a:pt x="62" y="548"/>
                    </a:lnTo>
                    <a:lnTo>
                      <a:pt x="62" y="550"/>
                    </a:lnTo>
                    <a:lnTo>
                      <a:pt x="62" y="548"/>
                    </a:lnTo>
                    <a:lnTo>
                      <a:pt x="60" y="548"/>
                    </a:lnTo>
                    <a:lnTo>
                      <a:pt x="59" y="548"/>
                    </a:lnTo>
                    <a:lnTo>
                      <a:pt x="57" y="548"/>
                    </a:lnTo>
                    <a:lnTo>
                      <a:pt x="56" y="546"/>
                    </a:lnTo>
                    <a:lnTo>
                      <a:pt x="56" y="548"/>
                    </a:lnTo>
                    <a:lnTo>
                      <a:pt x="54" y="548"/>
                    </a:lnTo>
                    <a:lnTo>
                      <a:pt x="54" y="546"/>
                    </a:lnTo>
                    <a:lnTo>
                      <a:pt x="52" y="548"/>
                    </a:lnTo>
                    <a:lnTo>
                      <a:pt x="51" y="548"/>
                    </a:lnTo>
                    <a:lnTo>
                      <a:pt x="49" y="548"/>
                    </a:lnTo>
                    <a:lnTo>
                      <a:pt x="49" y="550"/>
                    </a:lnTo>
                    <a:lnTo>
                      <a:pt x="48" y="550"/>
                    </a:lnTo>
                    <a:lnTo>
                      <a:pt x="46" y="550"/>
                    </a:lnTo>
                    <a:lnTo>
                      <a:pt x="45" y="550"/>
                    </a:lnTo>
                    <a:lnTo>
                      <a:pt x="45" y="548"/>
                    </a:lnTo>
                    <a:lnTo>
                      <a:pt x="43" y="550"/>
                    </a:lnTo>
                    <a:lnTo>
                      <a:pt x="43" y="551"/>
                    </a:lnTo>
                    <a:lnTo>
                      <a:pt x="41" y="551"/>
                    </a:lnTo>
                    <a:lnTo>
                      <a:pt x="40" y="551"/>
                    </a:lnTo>
                    <a:lnTo>
                      <a:pt x="40" y="553"/>
                    </a:lnTo>
                    <a:lnTo>
                      <a:pt x="38" y="553"/>
                    </a:lnTo>
                    <a:lnTo>
                      <a:pt x="37" y="553"/>
                    </a:lnTo>
                    <a:lnTo>
                      <a:pt x="35" y="553"/>
                    </a:lnTo>
                    <a:lnTo>
                      <a:pt x="33" y="553"/>
                    </a:lnTo>
                    <a:lnTo>
                      <a:pt x="32" y="554"/>
                    </a:lnTo>
                    <a:lnTo>
                      <a:pt x="30" y="556"/>
                    </a:lnTo>
                    <a:lnTo>
                      <a:pt x="29" y="556"/>
                    </a:lnTo>
                    <a:lnTo>
                      <a:pt x="27" y="556"/>
                    </a:lnTo>
                    <a:lnTo>
                      <a:pt x="26" y="556"/>
                    </a:lnTo>
                    <a:lnTo>
                      <a:pt x="24" y="556"/>
                    </a:lnTo>
                    <a:lnTo>
                      <a:pt x="24" y="557"/>
                    </a:lnTo>
                    <a:lnTo>
                      <a:pt x="22" y="556"/>
                    </a:lnTo>
                    <a:lnTo>
                      <a:pt x="21" y="556"/>
                    </a:lnTo>
                    <a:lnTo>
                      <a:pt x="19" y="556"/>
                    </a:lnTo>
                    <a:lnTo>
                      <a:pt x="18" y="556"/>
                    </a:lnTo>
                    <a:lnTo>
                      <a:pt x="16" y="554"/>
                    </a:lnTo>
                    <a:lnTo>
                      <a:pt x="14" y="554"/>
                    </a:lnTo>
                    <a:lnTo>
                      <a:pt x="13" y="554"/>
                    </a:lnTo>
                    <a:lnTo>
                      <a:pt x="11" y="554"/>
                    </a:lnTo>
                    <a:lnTo>
                      <a:pt x="11" y="556"/>
                    </a:lnTo>
                    <a:lnTo>
                      <a:pt x="10" y="556"/>
                    </a:lnTo>
                    <a:lnTo>
                      <a:pt x="8" y="557"/>
                    </a:lnTo>
                    <a:lnTo>
                      <a:pt x="7" y="557"/>
                    </a:lnTo>
                    <a:lnTo>
                      <a:pt x="7" y="556"/>
                    </a:lnTo>
                    <a:lnTo>
                      <a:pt x="5" y="554"/>
                    </a:lnTo>
                    <a:lnTo>
                      <a:pt x="3" y="554"/>
                    </a:lnTo>
                    <a:lnTo>
                      <a:pt x="2" y="554"/>
                    </a:lnTo>
                    <a:lnTo>
                      <a:pt x="2" y="553"/>
                    </a:lnTo>
                    <a:lnTo>
                      <a:pt x="0" y="55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43" name="Freeform 123"/>
              <p:cNvSpPr>
                <a:spLocks/>
              </p:cNvSpPr>
              <p:nvPr/>
            </p:nvSpPr>
            <p:spPr bwMode="auto">
              <a:xfrm>
                <a:off x="2474" y="1310"/>
                <a:ext cx="727" cy="350"/>
              </a:xfrm>
              <a:custGeom>
                <a:avLst/>
                <a:gdLst>
                  <a:gd name="T0" fmla="*/ 708 w 727"/>
                  <a:gd name="T1" fmla="*/ 173 h 350"/>
                  <a:gd name="T2" fmla="*/ 686 w 727"/>
                  <a:gd name="T3" fmla="*/ 176 h 350"/>
                  <a:gd name="T4" fmla="*/ 659 w 727"/>
                  <a:gd name="T5" fmla="*/ 190 h 350"/>
                  <a:gd name="T6" fmla="*/ 640 w 727"/>
                  <a:gd name="T7" fmla="*/ 195 h 350"/>
                  <a:gd name="T8" fmla="*/ 615 w 727"/>
                  <a:gd name="T9" fmla="*/ 195 h 350"/>
                  <a:gd name="T10" fmla="*/ 596 w 727"/>
                  <a:gd name="T11" fmla="*/ 181 h 350"/>
                  <a:gd name="T12" fmla="*/ 577 w 727"/>
                  <a:gd name="T13" fmla="*/ 179 h 350"/>
                  <a:gd name="T14" fmla="*/ 553 w 727"/>
                  <a:gd name="T15" fmla="*/ 177 h 350"/>
                  <a:gd name="T16" fmla="*/ 534 w 727"/>
                  <a:gd name="T17" fmla="*/ 187 h 350"/>
                  <a:gd name="T18" fmla="*/ 512 w 727"/>
                  <a:gd name="T19" fmla="*/ 195 h 350"/>
                  <a:gd name="T20" fmla="*/ 496 w 727"/>
                  <a:gd name="T21" fmla="*/ 201 h 350"/>
                  <a:gd name="T22" fmla="*/ 498 w 727"/>
                  <a:gd name="T23" fmla="*/ 223 h 350"/>
                  <a:gd name="T24" fmla="*/ 482 w 727"/>
                  <a:gd name="T25" fmla="*/ 238 h 350"/>
                  <a:gd name="T26" fmla="*/ 475 w 727"/>
                  <a:gd name="T27" fmla="*/ 253 h 350"/>
                  <a:gd name="T28" fmla="*/ 488 w 727"/>
                  <a:gd name="T29" fmla="*/ 271 h 350"/>
                  <a:gd name="T30" fmla="*/ 505 w 727"/>
                  <a:gd name="T31" fmla="*/ 280 h 350"/>
                  <a:gd name="T32" fmla="*/ 490 w 727"/>
                  <a:gd name="T33" fmla="*/ 290 h 350"/>
                  <a:gd name="T34" fmla="*/ 466 w 727"/>
                  <a:gd name="T35" fmla="*/ 296 h 350"/>
                  <a:gd name="T36" fmla="*/ 458 w 727"/>
                  <a:gd name="T37" fmla="*/ 290 h 350"/>
                  <a:gd name="T38" fmla="*/ 448 w 727"/>
                  <a:gd name="T39" fmla="*/ 271 h 350"/>
                  <a:gd name="T40" fmla="*/ 433 w 727"/>
                  <a:gd name="T41" fmla="*/ 268 h 350"/>
                  <a:gd name="T42" fmla="*/ 410 w 727"/>
                  <a:gd name="T43" fmla="*/ 285 h 350"/>
                  <a:gd name="T44" fmla="*/ 412 w 727"/>
                  <a:gd name="T45" fmla="*/ 307 h 350"/>
                  <a:gd name="T46" fmla="*/ 401 w 727"/>
                  <a:gd name="T47" fmla="*/ 325 h 350"/>
                  <a:gd name="T48" fmla="*/ 382 w 727"/>
                  <a:gd name="T49" fmla="*/ 331 h 350"/>
                  <a:gd name="T50" fmla="*/ 361 w 727"/>
                  <a:gd name="T51" fmla="*/ 318 h 350"/>
                  <a:gd name="T52" fmla="*/ 341 w 727"/>
                  <a:gd name="T53" fmla="*/ 311 h 350"/>
                  <a:gd name="T54" fmla="*/ 317 w 727"/>
                  <a:gd name="T55" fmla="*/ 311 h 350"/>
                  <a:gd name="T56" fmla="*/ 298 w 727"/>
                  <a:gd name="T57" fmla="*/ 320 h 350"/>
                  <a:gd name="T58" fmla="*/ 281 w 727"/>
                  <a:gd name="T59" fmla="*/ 334 h 350"/>
                  <a:gd name="T60" fmla="*/ 263 w 727"/>
                  <a:gd name="T61" fmla="*/ 349 h 350"/>
                  <a:gd name="T62" fmla="*/ 258 w 727"/>
                  <a:gd name="T63" fmla="*/ 333 h 350"/>
                  <a:gd name="T64" fmla="*/ 255 w 727"/>
                  <a:gd name="T65" fmla="*/ 311 h 350"/>
                  <a:gd name="T66" fmla="*/ 252 w 727"/>
                  <a:gd name="T67" fmla="*/ 285 h 350"/>
                  <a:gd name="T68" fmla="*/ 252 w 727"/>
                  <a:gd name="T69" fmla="*/ 258 h 350"/>
                  <a:gd name="T70" fmla="*/ 173 w 727"/>
                  <a:gd name="T71" fmla="*/ 219 h 350"/>
                  <a:gd name="T72" fmla="*/ 155 w 727"/>
                  <a:gd name="T73" fmla="*/ 230 h 350"/>
                  <a:gd name="T74" fmla="*/ 146 w 727"/>
                  <a:gd name="T75" fmla="*/ 250 h 350"/>
                  <a:gd name="T76" fmla="*/ 159 w 727"/>
                  <a:gd name="T77" fmla="*/ 266 h 350"/>
                  <a:gd name="T78" fmla="*/ 152 w 727"/>
                  <a:gd name="T79" fmla="*/ 287 h 350"/>
                  <a:gd name="T80" fmla="*/ 127 w 727"/>
                  <a:gd name="T81" fmla="*/ 285 h 350"/>
                  <a:gd name="T82" fmla="*/ 103 w 727"/>
                  <a:gd name="T83" fmla="*/ 285 h 350"/>
                  <a:gd name="T84" fmla="*/ 84 w 727"/>
                  <a:gd name="T85" fmla="*/ 301 h 350"/>
                  <a:gd name="T86" fmla="*/ 73 w 727"/>
                  <a:gd name="T87" fmla="*/ 320 h 350"/>
                  <a:gd name="T88" fmla="*/ 62 w 727"/>
                  <a:gd name="T89" fmla="*/ 301 h 350"/>
                  <a:gd name="T90" fmla="*/ 57 w 727"/>
                  <a:gd name="T91" fmla="*/ 282 h 350"/>
                  <a:gd name="T92" fmla="*/ 52 w 727"/>
                  <a:gd name="T93" fmla="*/ 263 h 350"/>
                  <a:gd name="T94" fmla="*/ 48 w 727"/>
                  <a:gd name="T95" fmla="*/ 244 h 350"/>
                  <a:gd name="T96" fmla="*/ 56 w 727"/>
                  <a:gd name="T97" fmla="*/ 222 h 350"/>
                  <a:gd name="T98" fmla="*/ 60 w 727"/>
                  <a:gd name="T99" fmla="*/ 208 h 350"/>
                  <a:gd name="T100" fmla="*/ 59 w 727"/>
                  <a:gd name="T101" fmla="*/ 189 h 350"/>
                  <a:gd name="T102" fmla="*/ 54 w 727"/>
                  <a:gd name="T103" fmla="*/ 168 h 350"/>
                  <a:gd name="T104" fmla="*/ 48 w 727"/>
                  <a:gd name="T105" fmla="*/ 147 h 350"/>
                  <a:gd name="T106" fmla="*/ 37 w 727"/>
                  <a:gd name="T107" fmla="*/ 125 h 350"/>
                  <a:gd name="T108" fmla="*/ 19 w 727"/>
                  <a:gd name="T109" fmla="*/ 111 h 350"/>
                  <a:gd name="T110" fmla="*/ 11 w 727"/>
                  <a:gd name="T111" fmla="*/ 93 h 350"/>
                  <a:gd name="T112" fmla="*/ 8 w 727"/>
                  <a:gd name="T113" fmla="*/ 71 h 350"/>
                  <a:gd name="T114" fmla="*/ 5 w 727"/>
                  <a:gd name="T115" fmla="*/ 51 h 350"/>
                  <a:gd name="T116" fmla="*/ 5 w 727"/>
                  <a:gd name="T117" fmla="*/ 29 h 350"/>
                  <a:gd name="T118" fmla="*/ 8 w 727"/>
                  <a:gd name="T119" fmla="*/ 3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7" h="350">
                    <a:moveTo>
                      <a:pt x="727" y="173"/>
                    </a:moveTo>
                    <a:lnTo>
                      <a:pt x="727" y="171"/>
                    </a:lnTo>
                    <a:lnTo>
                      <a:pt x="726" y="171"/>
                    </a:lnTo>
                    <a:lnTo>
                      <a:pt x="726" y="170"/>
                    </a:lnTo>
                    <a:lnTo>
                      <a:pt x="724" y="170"/>
                    </a:lnTo>
                    <a:lnTo>
                      <a:pt x="722" y="170"/>
                    </a:lnTo>
                    <a:lnTo>
                      <a:pt x="721" y="171"/>
                    </a:lnTo>
                    <a:lnTo>
                      <a:pt x="719" y="170"/>
                    </a:lnTo>
                    <a:lnTo>
                      <a:pt x="719" y="171"/>
                    </a:lnTo>
                    <a:lnTo>
                      <a:pt x="718" y="171"/>
                    </a:lnTo>
                    <a:lnTo>
                      <a:pt x="716" y="171"/>
                    </a:lnTo>
                    <a:lnTo>
                      <a:pt x="715" y="171"/>
                    </a:lnTo>
                    <a:lnTo>
                      <a:pt x="713" y="171"/>
                    </a:lnTo>
                    <a:lnTo>
                      <a:pt x="711" y="171"/>
                    </a:lnTo>
                    <a:lnTo>
                      <a:pt x="710" y="171"/>
                    </a:lnTo>
                    <a:lnTo>
                      <a:pt x="708" y="171"/>
                    </a:lnTo>
                    <a:lnTo>
                      <a:pt x="708" y="173"/>
                    </a:lnTo>
                    <a:lnTo>
                      <a:pt x="707" y="173"/>
                    </a:lnTo>
                    <a:lnTo>
                      <a:pt x="705" y="173"/>
                    </a:lnTo>
                    <a:lnTo>
                      <a:pt x="703" y="171"/>
                    </a:lnTo>
                    <a:lnTo>
                      <a:pt x="703" y="173"/>
                    </a:lnTo>
                    <a:lnTo>
                      <a:pt x="702" y="173"/>
                    </a:lnTo>
                    <a:lnTo>
                      <a:pt x="700" y="174"/>
                    </a:lnTo>
                    <a:lnTo>
                      <a:pt x="699" y="174"/>
                    </a:lnTo>
                    <a:lnTo>
                      <a:pt x="697" y="174"/>
                    </a:lnTo>
                    <a:lnTo>
                      <a:pt x="696" y="174"/>
                    </a:lnTo>
                    <a:lnTo>
                      <a:pt x="694" y="176"/>
                    </a:lnTo>
                    <a:lnTo>
                      <a:pt x="692" y="176"/>
                    </a:lnTo>
                    <a:lnTo>
                      <a:pt x="692" y="177"/>
                    </a:lnTo>
                    <a:lnTo>
                      <a:pt x="691" y="177"/>
                    </a:lnTo>
                    <a:lnTo>
                      <a:pt x="689" y="177"/>
                    </a:lnTo>
                    <a:lnTo>
                      <a:pt x="688" y="177"/>
                    </a:lnTo>
                    <a:lnTo>
                      <a:pt x="688" y="176"/>
                    </a:lnTo>
                    <a:lnTo>
                      <a:pt x="686" y="176"/>
                    </a:lnTo>
                    <a:lnTo>
                      <a:pt x="686" y="177"/>
                    </a:lnTo>
                    <a:lnTo>
                      <a:pt x="684" y="177"/>
                    </a:lnTo>
                    <a:lnTo>
                      <a:pt x="683" y="177"/>
                    </a:lnTo>
                    <a:lnTo>
                      <a:pt x="681" y="179"/>
                    </a:lnTo>
                    <a:lnTo>
                      <a:pt x="680" y="179"/>
                    </a:lnTo>
                    <a:lnTo>
                      <a:pt x="678" y="179"/>
                    </a:lnTo>
                    <a:lnTo>
                      <a:pt x="670" y="184"/>
                    </a:lnTo>
                    <a:lnTo>
                      <a:pt x="669" y="185"/>
                    </a:lnTo>
                    <a:lnTo>
                      <a:pt x="667" y="185"/>
                    </a:lnTo>
                    <a:lnTo>
                      <a:pt x="665" y="185"/>
                    </a:lnTo>
                    <a:lnTo>
                      <a:pt x="665" y="184"/>
                    </a:lnTo>
                    <a:lnTo>
                      <a:pt x="664" y="184"/>
                    </a:lnTo>
                    <a:lnTo>
                      <a:pt x="662" y="185"/>
                    </a:lnTo>
                    <a:lnTo>
                      <a:pt x="661" y="185"/>
                    </a:lnTo>
                    <a:lnTo>
                      <a:pt x="661" y="187"/>
                    </a:lnTo>
                    <a:lnTo>
                      <a:pt x="661" y="189"/>
                    </a:lnTo>
                    <a:lnTo>
                      <a:pt x="659" y="190"/>
                    </a:lnTo>
                    <a:lnTo>
                      <a:pt x="659" y="192"/>
                    </a:lnTo>
                    <a:lnTo>
                      <a:pt x="658" y="192"/>
                    </a:lnTo>
                    <a:lnTo>
                      <a:pt x="656" y="192"/>
                    </a:lnTo>
                    <a:lnTo>
                      <a:pt x="654" y="192"/>
                    </a:lnTo>
                    <a:lnTo>
                      <a:pt x="653" y="190"/>
                    </a:lnTo>
                    <a:lnTo>
                      <a:pt x="651" y="190"/>
                    </a:lnTo>
                    <a:lnTo>
                      <a:pt x="651" y="192"/>
                    </a:lnTo>
                    <a:lnTo>
                      <a:pt x="650" y="192"/>
                    </a:lnTo>
                    <a:lnTo>
                      <a:pt x="650" y="193"/>
                    </a:lnTo>
                    <a:lnTo>
                      <a:pt x="648" y="193"/>
                    </a:lnTo>
                    <a:lnTo>
                      <a:pt x="646" y="193"/>
                    </a:lnTo>
                    <a:lnTo>
                      <a:pt x="645" y="193"/>
                    </a:lnTo>
                    <a:lnTo>
                      <a:pt x="645" y="195"/>
                    </a:lnTo>
                    <a:lnTo>
                      <a:pt x="643" y="195"/>
                    </a:lnTo>
                    <a:lnTo>
                      <a:pt x="643" y="193"/>
                    </a:lnTo>
                    <a:lnTo>
                      <a:pt x="642" y="195"/>
                    </a:lnTo>
                    <a:lnTo>
                      <a:pt x="640" y="195"/>
                    </a:lnTo>
                    <a:lnTo>
                      <a:pt x="640" y="193"/>
                    </a:lnTo>
                    <a:lnTo>
                      <a:pt x="639" y="193"/>
                    </a:lnTo>
                    <a:lnTo>
                      <a:pt x="637" y="193"/>
                    </a:lnTo>
                    <a:lnTo>
                      <a:pt x="635" y="195"/>
                    </a:lnTo>
                    <a:lnTo>
                      <a:pt x="634" y="193"/>
                    </a:lnTo>
                    <a:lnTo>
                      <a:pt x="632" y="193"/>
                    </a:lnTo>
                    <a:lnTo>
                      <a:pt x="631" y="193"/>
                    </a:lnTo>
                    <a:lnTo>
                      <a:pt x="629" y="193"/>
                    </a:lnTo>
                    <a:lnTo>
                      <a:pt x="627" y="195"/>
                    </a:lnTo>
                    <a:lnTo>
                      <a:pt x="626" y="195"/>
                    </a:lnTo>
                    <a:lnTo>
                      <a:pt x="624" y="195"/>
                    </a:lnTo>
                    <a:lnTo>
                      <a:pt x="623" y="195"/>
                    </a:lnTo>
                    <a:lnTo>
                      <a:pt x="621" y="195"/>
                    </a:lnTo>
                    <a:lnTo>
                      <a:pt x="620" y="195"/>
                    </a:lnTo>
                    <a:lnTo>
                      <a:pt x="618" y="195"/>
                    </a:lnTo>
                    <a:lnTo>
                      <a:pt x="616" y="195"/>
                    </a:lnTo>
                    <a:lnTo>
                      <a:pt x="615" y="195"/>
                    </a:lnTo>
                    <a:lnTo>
                      <a:pt x="613" y="195"/>
                    </a:lnTo>
                    <a:lnTo>
                      <a:pt x="612" y="195"/>
                    </a:lnTo>
                    <a:lnTo>
                      <a:pt x="610" y="193"/>
                    </a:lnTo>
                    <a:lnTo>
                      <a:pt x="610" y="192"/>
                    </a:lnTo>
                    <a:lnTo>
                      <a:pt x="608" y="192"/>
                    </a:lnTo>
                    <a:lnTo>
                      <a:pt x="607" y="192"/>
                    </a:lnTo>
                    <a:lnTo>
                      <a:pt x="605" y="190"/>
                    </a:lnTo>
                    <a:lnTo>
                      <a:pt x="604" y="190"/>
                    </a:lnTo>
                    <a:lnTo>
                      <a:pt x="604" y="189"/>
                    </a:lnTo>
                    <a:lnTo>
                      <a:pt x="602" y="189"/>
                    </a:lnTo>
                    <a:lnTo>
                      <a:pt x="601" y="187"/>
                    </a:lnTo>
                    <a:lnTo>
                      <a:pt x="599" y="187"/>
                    </a:lnTo>
                    <a:lnTo>
                      <a:pt x="597" y="185"/>
                    </a:lnTo>
                    <a:lnTo>
                      <a:pt x="597" y="184"/>
                    </a:lnTo>
                    <a:lnTo>
                      <a:pt x="597" y="182"/>
                    </a:lnTo>
                    <a:lnTo>
                      <a:pt x="597" y="181"/>
                    </a:lnTo>
                    <a:lnTo>
                      <a:pt x="596" y="181"/>
                    </a:lnTo>
                    <a:lnTo>
                      <a:pt x="596" y="179"/>
                    </a:lnTo>
                    <a:lnTo>
                      <a:pt x="596" y="177"/>
                    </a:lnTo>
                    <a:lnTo>
                      <a:pt x="594" y="177"/>
                    </a:lnTo>
                    <a:lnTo>
                      <a:pt x="593" y="177"/>
                    </a:lnTo>
                    <a:lnTo>
                      <a:pt x="593" y="176"/>
                    </a:lnTo>
                    <a:lnTo>
                      <a:pt x="591" y="174"/>
                    </a:lnTo>
                    <a:lnTo>
                      <a:pt x="589" y="174"/>
                    </a:lnTo>
                    <a:lnTo>
                      <a:pt x="588" y="173"/>
                    </a:lnTo>
                    <a:lnTo>
                      <a:pt x="586" y="174"/>
                    </a:lnTo>
                    <a:lnTo>
                      <a:pt x="585" y="176"/>
                    </a:lnTo>
                    <a:lnTo>
                      <a:pt x="583" y="176"/>
                    </a:lnTo>
                    <a:lnTo>
                      <a:pt x="583" y="177"/>
                    </a:lnTo>
                    <a:lnTo>
                      <a:pt x="581" y="177"/>
                    </a:lnTo>
                    <a:lnTo>
                      <a:pt x="580" y="177"/>
                    </a:lnTo>
                    <a:lnTo>
                      <a:pt x="580" y="179"/>
                    </a:lnTo>
                    <a:lnTo>
                      <a:pt x="578" y="179"/>
                    </a:lnTo>
                    <a:lnTo>
                      <a:pt x="577" y="179"/>
                    </a:lnTo>
                    <a:lnTo>
                      <a:pt x="575" y="179"/>
                    </a:lnTo>
                    <a:lnTo>
                      <a:pt x="574" y="181"/>
                    </a:lnTo>
                    <a:lnTo>
                      <a:pt x="572" y="181"/>
                    </a:lnTo>
                    <a:lnTo>
                      <a:pt x="570" y="182"/>
                    </a:lnTo>
                    <a:lnTo>
                      <a:pt x="569" y="182"/>
                    </a:lnTo>
                    <a:lnTo>
                      <a:pt x="567" y="182"/>
                    </a:lnTo>
                    <a:lnTo>
                      <a:pt x="566" y="182"/>
                    </a:lnTo>
                    <a:lnTo>
                      <a:pt x="564" y="182"/>
                    </a:lnTo>
                    <a:lnTo>
                      <a:pt x="562" y="182"/>
                    </a:lnTo>
                    <a:lnTo>
                      <a:pt x="561" y="182"/>
                    </a:lnTo>
                    <a:lnTo>
                      <a:pt x="559" y="182"/>
                    </a:lnTo>
                    <a:lnTo>
                      <a:pt x="559" y="181"/>
                    </a:lnTo>
                    <a:lnTo>
                      <a:pt x="558" y="181"/>
                    </a:lnTo>
                    <a:lnTo>
                      <a:pt x="556" y="179"/>
                    </a:lnTo>
                    <a:lnTo>
                      <a:pt x="555" y="179"/>
                    </a:lnTo>
                    <a:lnTo>
                      <a:pt x="553" y="179"/>
                    </a:lnTo>
                    <a:lnTo>
                      <a:pt x="553" y="177"/>
                    </a:lnTo>
                    <a:lnTo>
                      <a:pt x="551" y="177"/>
                    </a:lnTo>
                    <a:lnTo>
                      <a:pt x="550" y="177"/>
                    </a:lnTo>
                    <a:lnTo>
                      <a:pt x="548" y="177"/>
                    </a:lnTo>
                    <a:lnTo>
                      <a:pt x="547" y="177"/>
                    </a:lnTo>
                    <a:lnTo>
                      <a:pt x="545" y="177"/>
                    </a:lnTo>
                    <a:lnTo>
                      <a:pt x="543" y="177"/>
                    </a:lnTo>
                    <a:lnTo>
                      <a:pt x="542" y="177"/>
                    </a:lnTo>
                    <a:lnTo>
                      <a:pt x="540" y="177"/>
                    </a:lnTo>
                    <a:lnTo>
                      <a:pt x="540" y="179"/>
                    </a:lnTo>
                    <a:lnTo>
                      <a:pt x="539" y="179"/>
                    </a:lnTo>
                    <a:lnTo>
                      <a:pt x="539" y="181"/>
                    </a:lnTo>
                    <a:lnTo>
                      <a:pt x="537" y="182"/>
                    </a:lnTo>
                    <a:lnTo>
                      <a:pt x="537" y="184"/>
                    </a:lnTo>
                    <a:lnTo>
                      <a:pt x="536" y="184"/>
                    </a:lnTo>
                    <a:lnTo>
                      <a:pt x="536" y="185"/>
                    </a:lnTo>
                    <a:lnTo>
                      <a:pt x="534" y="185"/>
                    </a:lnTo>
                    <a:lnTo>
                      <a:pt x="534" y="187"/>
                    </a:lnTo>
                    <a:lnTo>
                      <a:pt x="532" y="187"/>
                    </a:lnTo>
                    <a:lnTo>
                      <a:pt x="531" y="187"/>
                    </a:lnTo>
                    <a:lnTo>
                      <a:pt x="531" y="189"/>
                    </a:lnTo>
                    <a:lnTo>
                      <a:pt x="529" y="189"/>
                    </a:lnTo>
                    <a:lnTo>
                      <a:pt x="528" y="190"/>
                    </a:lnTo>
                    <a:lnTo>
                      <a:pt x="526" y="190"/>
                    </a:lnTo>
                    <a:lnTo>
                      <a:pt x="524" y="190"/>
                    </a:lnTo>
                    <a:lnTo>
                      <a:pt x="524" y="192"/>
                    </a:lnTo>
                    <a:lnTo>
                      <a:pt x="523" y="192"/>
                    </a:lnTo>
                    <a:lnTo>
                      <a:pt x="521" y="192"/>
                    </a:lnTo>
                    <a:lnTo>
                      <a:pt x="520" y="192"/>
                    </a:lnTo>
                    <a:lnTo>
                      <a:pt x="518" y="193"/>
                    </a:lnTo>
                    <a:lnTo>
                      <a:pt x="517" y="193"/>
                    </a:lnTo>
                    <a:lnTo>
                      <a:pt x="515" y="193"/>
                    </a:lnTo>
                    <a:lnTo>
                      <a:pt x="515" y="195"/>
                    </a:lnTo>
                    <a:lnTo>
                      <a:pt x="513" y="195"/>
                    </a:lnTo>
                    <a:lnTo>
                      <a:pt x="512" y="195"/>
                    </a:lnTo>
                    <a:lnTo>
                      <a:pt x="510" y="195"/>
                    </a:lnTo>
                    <a:lnTo>
                      <a:pt x="509" y="195"/>
                    </a:lnTo>
                    <a:lnTo>
                      <a:pt x="507" y="195"/>
                    </a:lnTo>
                    <a:lnTo>
                      <a:pt x="507" y="196"/>
                    </a:lnTo>
                    <a:lnTo>
                      <a:pt x="505" y="196"/>
                    </a:lnTo>
                    <a:lnTo>
                      <a:pt x="504" y="196"/>
                    </a:lnTo>
                    <a:lnTo>
                      <a:pt x="502" y="196"/>
                    </a:lnTo>
                    <a:lnTo>
                      <a:pt x="501" y="196"/>
                    </a:lnTo>
                    <a:lnTo>
                      <a:pt x="499" y="196"/>
                    </a:lnTo>
                    <a:lnTo>
                      <a:pt x="498" y="196"/>
                    </a:lnTo>
                    <a:lnTo>
                      <a:pt x="496" y="195"/>
                    </a:lnTo>
                    <a:lnTo>
                      <a:pt x="496" y="196"/>
                    </a:lnTo>
                    <a:lnTo>
                      <a:pt x="494" y="196"/>
                    </a:lnTo>
                    <a:lnTo>
                      <a:pt x="494" y="198"/>
                    </a:lnTo>
                    <a:lnTo>
                      <a:pt x="496" y="198"/>
                    </a:lnTo>
                    <a:lnTo>
                      <a:pt x="496" y="200"/>
                    </a:lnTo>
                    <a:lnTo>
                      <a:pt x="496" y="201"/>
                    </a:lnTo>
                    <a:lnTo>
                      <a:pt x="496" y="203"/>
                    </a:lnTo>
                    <a:lnTo>
                      <a:pt x="498" y="203"/>
                    </a:lnTo>
                    <a:lnTo>
                      <a:pt x="498" y="204"/>
                    </a:lnTo>
                    <a:lnTo>
                      <a:pt x="498" y="206"/>
                    </a:lnTo>
                    <a:lnTo>
                      <a:pt x="498" y="208"/>
                    </a:lnTo>
                    <a:lnTo>
                      <a:pt x="499" y="208"/>
                    </a:lnTo>
                    <a:lnTo>
                      <a:pt x="499" y="209"/>
                    </a:lnTo>
                    <a:lnTo>
                      <a:pt x="499" y="211"/>
                    </a:lnTo>
                    <a:lnTo>
                      <a:pt x="499" y="212"/>
                    </a:lnTo>
                    <a:lnTo>
                      <a:pt x="499" y="214"/>
                    </a:lnTo>
                    <a:lnTo>
                      <a:pt x="499" y="215"/>
                    </a:lnTo>
                    <a:lnTo>
                      <a:pt x="499" y="217"/>
                    </a:lnTo>
                    <a:lnTo>
                      <a:pt x="499" y="219"/>
                    </a:lnTo>
                    <a:lnTo>
                      <a:pt x="499" y="220"/>
                    </a:lnTo>
                    <a:lnTo>
                      <a:pt x="499" y="222"/>
                    </a:lnTo>
                    <a:lnTo>
                      <a:pt x="499" y="223"/>
                    </a:lnTo>
                    <a:lnTo>
                      <a:pt x="498" y="223"/>
                    </a:lnTo>
                    <a:lnTo>
                      <a:pt x="498" y="225"/>
                    </a:lnTo>
                    <a:lnTo>
                      <a:pt x="496" y="227"/>
                    </a:lnTo>
                    <a:lnTo>
                      <a:pt x="496" y="228"/>
                    </a:lnTo>
                    <a:lnTo>
                      <a:pt x="496" y="230"/>
                    </a:lnTo>
                    <a:lnTo>
                      <a:pt x="494" y="230"/>
                    </a:lnTo>
                    <a:lnTo>
                      <a:pt x="494" y="231"/>
                    </a:lnTo>
                    <a:lnTo>
                      <a:pt x="494" y="233"/>
                    </a:lnTo>
                    <a:lnTo>
                      <a:pt x="494" y="234"/>
                    </a:lnTo>
                    <a:lnTo>
                      <a:pt x="494" y="236"/>
                    </a:lnTo>
                    <a:lnTo>
                      <a:pt x="493" y="238"/>
                    </a:lnTo>
                    <a:lnTo>
                      <a:pt x="491" y="238"/>
                    </a:lnTo>
                    <a:lnTo>
                      <a:pt x="490" y="238"/>
                    </a:lnTo>
                    <a:lnTo>
                      <a:pt x="488" y="238"/>
                    </a:lnTo>
                    <a:lnTo>
                      <a:pt x="486" y="238"/>
                    </a:lnTo>
                    <a:lnTo>
                      <a:pt x="485" y="238"/>
                    </a:lnTo>
                    <a:lnTo>
                      <a:pt x="483" y="238"/>
                    </a:lnTo>
                    <a:lnTo>
                      <a:pt x="482" y="238"/>
                    </a:lnTo>
                    <a:lnTo>
                      <a:pt x="482" y="239"/>
                    </a:lnTo>
                    <a:lnTo>
                      <a:pt x="482" y="241"/>
                    </a:lnTo>
                    <a:lnTo>
                      <a:pt x="483" y="241"/>
                    </a:lnTo>
                    <a:lnTo>
                      <a:pt x="483" y="242"/>
                    </a:lnTo>
                    <a:lnTo>
                      <a:pt x="483" y="244"/>
                    </a:lnTo>
                    <a:lnTo>
                      <a:pt x="483" y="246"/>
                    </a:lnTo>
                    <a:lnTo>
                      <a:pt x="482" y="246"/>
                    </a:lnTo>
                    <a:lnTo>
                      <a:pt x="480" y="247"/>
                    </a:lnTo>
                    <a:lnTo>
                      <a:pt x="479" y="247"/>
                    </a:lnTo>
                    <a:lnTo>
                      <a:pt x="477" y="247"/>
                    </a:lnTo>
                    <a:lnTo>
                      <a:pt x="477" y="249"/>
                    </a:lnTo>
                    <a:lnTo>
                      <a:pt x="475" y="249"/>
                    </a:lnTo>
                    <a:lnTo>
                      <a:pt x="474" y="249"/>
                    </a:lnTo>
                    <a:lnTo>
                      <a:pt x="474" y="250"/>
                    </a:lnTo>
                    <a:lnTo>
                      <a:pt x="474" y="252"/>
                    </a:lnTo>
                    <a:lnTo>
                      <a:pt x="475" y="252"/>
                    </a:lnTo>
                    <a:lnTo>
                      <a:pt x="475" y="253"/>
                    </a:lnTo>
                    <a:lnTo>
                      <a:pt x="477" y="255"/>
                    </a:lnTo>
                    <a:lnTo>
                      <a:pt x="477" y="257"/>
                    </a:lnTo>
                    <a:lnTo>
                      <a:pt x="479" y="257"/>
                    </a:lnTo>
                    <a:lnTo>
                      <a:pt x="479" y="258"/>
                    </a:lnTo>
                    <a:lnTo>
                      <a:pt x="479" y="260"/>
                    </a:lnTo>
                    <a:lnTo>
                      <a:pt x="479" y="261"/>
                    </a:lnTo>
                    <a:lnTo>
                      <a:pt x="480" y="261"/>
                    </a:lnTo>
                    <a:lnTo>
                      <a:pt x="480" y="260"/>
                    </a:lnTo>
                    <a:lnTo>
                      <a:pt x="482" y="260"/>
                    </a:lnTo>
                    <a:lnTo>
                      <a:pt x="482" y="261"/>
                    </a:lnTo>
                    <a:lnTo>
                      <a:pt x="483" y="261"/>
                    </a:lnTo>
                    <a:lnTo>
                      <a:pt x="485" y="263"/>
                    </a:lnTo>
                    <a:lnTo>
                      <a:pt x="486" y="265"/>
                    </a:lnTo>
                    <a:lnTo>
                      <a:pt x="486" y="266"/>
                    </a:lnTo>
                    <a:lnTo>
                      <a:pt x="488" y="268"/>
                    </a:lnTo>
                    <a:lnTo>
                      <a:pt x="488" y="269"/>
                    </a:lnTo>
                    <a:lnTo>
                      <a:pt x="488" y="271"/>
                    </a:lnTo>
                    <a:lnTo>
                      <a:pt x="490" y="271"/>
                    </a:lnTo>
                    <a:lnTo>
                      <a:pt x="491" y="271"/>
                    </a:lnTo>
                    <a:lnTo>
                      <a:pt x="493" y="269"/>
                    </a:lnTo>
                    <a:lnTo>
                      <a:pt x="494" y="269"/>
                    </a:lnTo>
                    <a:lnTo>
                      <a:pt x="496" y="269"/>
                    </a:lnTo>
                    <a:lnTo>
                      <a:pt x="498" y="269"/>
                    </a:lnTo>
                    <a:lnTo>
                      <a:pt x="499" y="269"/>
                    </a:lnTo>
                    <a:lnTo>
                      <a:pt x="501" y="271"/>
                    </a:lnTo>
                    <a:lnTo>
                      <a:pt x="502" y="271"/>
                    </a:lnTo>
                    <a:lnTo>
                      <a:pt x="502" y="272"/>
                    </a:lnTo>
                    <a:lnTo>
                      <a:pt x="504" y="272"/>
                    </a:lnTo>
                    <a:lnTo>
                      <a:pt x="504" y="274"/>
                    </a:lnTo>
                    <a:lnTo>
                      <a:pt x="504" y="276"/>
                    </a:lnTo>
                    <a:lnTo>
                      <a:pt x="504" y="277"/>
                    </a:lnTo>
                    <a:lnTo>
                      <a:pt x="504" y="279"/>
                    </a:lnTo>
                    <a:lnTo>
                      <a:pt x="505" y="279"/>
                    </a:lnTo>
                    <a:lnTo>
                      <a:pt x="505" y="280"/>
                    </a:lnTo>
                    <a:lnTo>
                      <a:pt x="505" y="282"/>
                    </a:lnTo>
                    <a:lnTo>
                      <a:pt x="507" y="282"/>
                    </a:lnTo>
                    <a:lnTo>
                      <a:pt x="505" y="284"/>
                    </a:lnTo>
                    <a:lnTo>
                      <a:pt x="504" y="284"/>
                    </a:lnTo>
                    <a:lnTo>
                      <a:pt x="502" y="284"/>
                    </a:lnTo>
                    <a:lnTo>
                      <a:pt x="502" y="285"/>
                    </a:lnTo>
                    <a:lnTo>
                      <a:pt x="501" y="285"/>
                    </a:lnTo>
                    <a:lnTo>
                      <a:pt x="499" y="285"/>
                    </a:lnTo>
                    <a:lnTo>
                      <a:pt x="499" y="287"/>
                    </a:lnTo>
                    <a:lnTo>
                      <a:pt x="498" y="287"/>
                    </a:lnTo>
                    <a:lnTo>
                      <a:pt x="496" y="287"/>
                    </a:lnTo>
                    <a:lnTo>
                      <a:pt x="496" y="288"/>
                    </a:lnTo>
                    <a:lnTo>
                      <a:pt x="494" y="288"/>
                    </a:lnTo>
                    <a:lnTo>
                      <a:pt x="493" y="288"/>
                    </a:lnTo>
                    <a:lnTo>
                      <a:pt x="491" y="288"/>
                    </a:lnTo>
                    <a:lnTo>
                      <a:pt x="491" y="290"/>
                    </a:lnTo>
                    <a:lnTo>
                      <a:pt x="490" y="290"/>
                    </a:lnTo>
                    <a:lnTo>
                      <a:pt x="488" y="290"/>
                    </a:lnTo>
                    <a:lnTo>
                      <a:pt x="486" y="290"/>
                    </a:lnTo>
                    <a:lnTo>
                      <a:pt x="485" y="290"/>
                    </a:lnTo>
                    <a:lnTo>
                      <a:pt x="483" y="291"/>
                    </a:lnTo>
                    <a:lnTo>
                      <a:pt x="482" y="291"/>
                    </a:lnTo>
                    <a:lnTo>
                      <a:pt x="480" y="291"/>
                    </a:lnTo>
                    <a:lnTo>
                      <a:pt x="480" y="293"/>
                    </a:lnTo>
                    <a:lnTo>
                      <a:pt x="479" y="293"/>
                    </a:lnTo>
                    <a:lnTo>
                      <a:pt x="477" y="295"/>
                    </a:lnTo>
                    <a:lnTo>
                      <a:pt x="475" y="295"/>
                    </a:lnTo>
                    <a:lnTo>
                      <a:pt x="474" y="295"/>
                    </a:lnTo>
                    <a:lnTo>
                      <a:pt x="472" y="295"/>
                    </a:lnTo>
                    <a:lnTo>
                      <a:pt x="472" y="296"/>
                    </a:lnTo>
                    <a:lnTo>
                      <a:pt x="471" y="296"/>
                    </a:lnTo>
                    <a:lnTo>
                      <a:pt x="469" y="296"/>
                    </a:lnTo>
                    <a:lnTo>
                      <a:pt x="467" y="296"/>
                    </a:lnTo>
                    <a:lnTo>
                      <a:pt x="466" y="296"/>
                    </a:lnTo>
                    <a:lnTo>
                      <a:pt x="464" y="296"/>
                    </a:lnTo>
                    <a:lnTo>
                      <a:pt x="464" y="298"/>
                    </a:lnTo>
                    <a:lnTo>
                      <a:pt x="463" y="298"/>
                    </a:lnTo>
                    <a:lnTo>
                      <a:pt x="461" y="298"/>
                    </a:lnTo>
                    <a:lnTo>
                      <a:pt x="460" y="298"/>
                    </a:lnTo>
                    <a:lnTo>
                      <a:pt x="458" y="298"/>
                    </a:lnTo>
                    <a:lnTo>
                      <a:pt x="458" y="299"/>
                    </a:lnTo>
                    <a:lnTo>
                      <a:pt x="456" y="299"/>
                    </a:lnTo>
                    <a:lnTo>
                      <a:pt x="455" y="299"/>
                    </a:lnTo>
                    <a:lnTo>
                      <a:pt x="455" y="298"/>
                    </a:lnTo>
                    <a:lnTo>
                      <a:pt x="455" y="296"/>
                    </a:lnTo>
                    <a:lnTo>
                      <a:pt x="456" y="296"/>
                    </a:lnTo>
                    <a:lnTo>
                      <a:pt x="456" y="295"/>
                    </a:lnTo>
                    <a:lnTo>
                      <a:pt x="456" y="293"/>
                    </a:lnTo>
                    <a:lnTo>
                      <a:pt x="456" y="291"/>
                    </a:lnTo>
                    <a:lnTo>
                      <a:pt x="458" y="291"/>
                    </a:lnTo>
                    <a:lnTo>
                      <a:pt x="458" y="290"/>
                    </a:lnTo>
                    <a:lnTo>
                      <a:pt x="458" y="288"/>
                    </a:lnTo>
                    <a:lnTo>
                      <a:pt x="456" y="288"/>
                    </a:lnTo>
                    <a:lnTo>
                      <a:pt x="456" y="287"/>
                    </a:lnTo>
                    <a:lnTo>
                      <a:pt x="455" y="285"/>
                    </a:lnTo>
                    <a:lnTo>
                      <a:pt x="455" y="284"/>
                    </a:lnTo>
                    <a:lnTo>
                      <a:pt x="455" y="282"/>
                    </a:lnTo>
                    <a:lnTo>
                      <a:pt x="455" y="280"/>
                    </a:lnTo>
                    <a:lnTo>
                      <a:pt x="455" y="279"/>
                    </a:lnTo>
                    <a:lnTo>
                      <a:pt x="453" y="279"/>
                    </a:lnTo>
                    <a:lnTo>
                      <a:pt x="453" y="277"/>
                    </a:lnTo>
                    <a:lnTo>
                      <a:pt x="453" y="276"/>
                    </a:lnTo>
                    <a:lnTo>
                      <a:pt x="453" y="274"/>
                    </a:lnTo>
                    <a:lnTo>
                      <a:pt x="453" y="272"/>
                    </a:lnTo>
                    <a:lnTo>
                      <a:pt x="452" y="272"/>
                    </a:lnTo>
                    <a:lnTo>
                      <a:pt x="452" y="271"/>
                    </a:lnTo>
                    <a:lnTo>
                      <a:pt x="450" y="271"/>
                    </a:lnTo>
                    <a:lnTo>
                      <a:pt x="448" y="271"/>
                    </a:lnTo>
                    <a:lnTo>
                      <a:pt x="447" y="271"/>
                    </a:lnTo>
                    <a:lnTo>
                      <a:pt x="445" y="271"/>
                    </a:lnTo>
                    <a:lnTo>
                      <a:pt x="445" y="269"/>
                    </a:lnTo>
                    <a:lnTo>
                      <a:pt x="444" y="269"/>
                    </a:lnTo>
                    <a:lnTo>
                      <a:pt x="444" y="268"/>
                    </a:lnTo>
                    <a:lnTo>
                      <a:pt x="444" y="266"/>
                    </a:lnTo>
                    <a:lnTo>
                      <a:pt x="442" y="266"/>
                    </a:lnTo>
                    <a:lnTo>
                      <a:pt x="442" y="265"/>
                    </a:lnTo>
                    <a:lnTo>
                      <a:pt x="442" y="263"/>
                    </a:lnTo>
                    <a:lnTo>
                      <a:pt x="441" y="263"/>
                    </a:lnTo>
                    <a:lnTo>
                      <a:pt x="439" y="263"/>
                    </a:lnTo>
                    <a:lnTo>
                      <a:pt x="437" y="265"/>
                    </a:lnTo>
                    <a:lnTo>
                      <a:pt x="437" y="263"/>
                    </a:lnTo>
                    <a:lnTo>
                      <a:pt x="436" y="263"/>
                    </a:lnTo>
                    <a:lnTo>
                      <a:pt x="434" y="263"/>
                    </a:lnTo>
                    <a:lnTo>
                      <a:pt x="434" y="266"/>
                    </a:lnTo>
                    <a:lnTo>
                      <a:pt x="433" y="268"/>
                    </a:lnTo>
                    <a:lnTo>
                      <a:pt x="431" y="269"/>
                    </a:lnTo>
                    <a:lnTo>
                      <a:pt x="428" y="271"/>
                    </a:lnTo>
                    <a:lnTo>
                      <a:pt x="426" y="272"/>
                    </a:lnTo>
                    <a:lnTo>
                      <a:pt x="422" y="274"/>
                    </a:lnTo>
                    <a:lnTo>
                      <a:pt x="418" y="272"/>
                    </a:lnTo>
                    <a:lnTo>
                      <a:pt x="417" y="272"/>
                    </a:lnTo>
                    <a:lnTo>
                      <a:pt x="415" y="272"/>
                    </a:lnTo>
                    <a:lnTo>
                      <a:pt x="415" y="274"/>
                    </a:lnTo>
                    <a:lnTo>
                      <a:pt x="414" y="274"/>
                    </a:lnTo>
                    <a:lnTo>
                      <a:pt x="414" y="276"/>
                    </a:lnTo>
                    <a:lnTo>
                      <a:pt x="414" y="277"/>
                    </a:lnTo>
                    <a:lnTo>
                      <a:pt x="412" y="277"/>
                    </a:lnTo>
                    <a:lnTo>
                      <a:pt x="412" y="279"/>
                    </a:lnTo>
                    <a:lnTo>
                      <a:pt x="412" y="280"/>
                    </a:lnTo>
                    <a:lnTo>
                      <a:pt x="412" y="282"/>
                    </a:lnTo>
                    <a:lnTo>
                      <a:pt x="410" y="284"/>
                    </a:lnTo>
                    <a:lnTo>
                      <a:pt x="410" y="285"/>
                    </a:lnTo>
                    <a:lnTo>
                      <a:pt x="410" y="287"/>
                    </a:lnTo>
                    <a:lnTo>
                      <a:pt x="409" y="287"/>
                    </a:lnTo>
                    <a:lnTo>
                      <a:pt x="409" y="288"/>
                    </a:lnTo>
                    <a:lnTo>
                      <a:pt x="409" y="290"/>
                    </a:lnTo>
                    <a:lnTo>
                      <a:pt x="409" y="291"/>
                    </a:lnTo>
                    <a:lnTo>
                      <a:pt x="407" y="293"/>
                    </a:lnTo>
                    <a:lnTo>
                      <a:pt x="407" y="295"/>
                    </a:lnTo>
                    <a:lnTo>
                      <a:pt x="407" y="296"/>
                    </a:lnTo>
                    <a:lnTo>
                      <a:pt x="407" y="298"/>
                    </a:lnTo>
                    <a:lnTo>
                      <a:pt x="406" y="298"/>
                    </a:lnTo>
                    <a:lnTo>
                      <a:pt x="406" y="299"/>
                    </a:lnTo>
                    <a:lnTo>
                      <a:pt x="407" y="301"/>
                    </a:lnTo>
                    <a:lnTo>
                      <a:pt x="409" y="303"/>
                    </a:lnTo>
                    <a:lnTo>
                      <a:pt x="410" y="303"/>
                    </a:lnTo>
                    <a:lnTo>
                      <a:pt x="410" y="304"/>
                    </a:lnTo>
                    <a:lnTo>
                      <a:pt x="412" y="306"/>
                    </a:lnTo>
                    <a:lnTo>
                      <a:pt x="412" y="307"/>
                    </a:lnTo>
                    <a:lnTo>
                      <a:pt x="410" y="307"/>
                    </a:lnTo>
                    <a:lnTo>
                      <a:pt x="410" y="309"/>
                    </a:lnTo>
                    <a:lnTo>
                      <a:pt x="410" y="311"/>
                    </a:lnTo>
                    <a:lnTo>
                      <a:pt x="409" y="312"/>
                    </a:lnTo>
                    <a:lnTo>
                      <a:pt x="410" y="312"/>
                    </a:lnTo>
                    <a:lnTo>
                      <a:pt x="410" y="314"/>
                    </a:lnTo>
                    <a:lnTo>
                      <a:pt x="410" y="315"/>
                    </a:lnTo>
                    <a:lnTo>
                      <a:pt x="410" y="317"/>
                    </a:lnTo>
                    <a:lnTo>
                      <a:pt x="409" y="317"/>
                    </a:lnTo>
                    <a:lnTo>
                      <a:pt x="407" y="317"/>
                    </a:lnTo>
                    <a:lnTo>
                      <a:pt x="406" y="318"/>
                    </a:lnTo>
                    <a:lnTo>
                      <a:pt x="404" y="318"/>
                    </a:lnTo>
                    <a:lnTo>
                      <a:pt x="404" y="320"/>
                    </a:lnTo>
                    <a:lnTo>
                      <a:pt x="402" y="320"/>
                    </a:lnTo>
                    <a:lnTo>
                      <a:pt x="402" y="322"/>
                    </a:lnTo>
                    <a:lnTo>
                      <a:pt x="401" y="323"/>
                    </a:lnTo>
                    <a:lnTo>
                      <a:pt x="401" y="325"/>
                    </a:lnTo>
                    <a:lnTo>
                      <a:pt x="399" y="325"/>
                    </a:lnTo>
                    <a:lnTo>
                      <a:pt x="399" y="326"/>
                    </a:lnTo>
                    <a:lnTo>
                      <a:pt x="398" y="326"/>
                    </a:lnTo>
                    <a:lnTo>
                      <a:pt x="398" y="328"/>
                    </a:lnTo>
                    <a:lnTo>
                      <a:pt x="398" y="330"/>
                    </a:lnTo>
                    <a:lnTo>
                      <a:pt x="398" y="331"/>
                    </a:lnTo>
                    <a:lnTo>
                      <a:pt x="396" y="331"/>
                    </a:lnTo>
                    <a:lnTo>
                      <a:pt x="396" y="333"/>
                    </a:lnTo>
                    <a:lnTo>
                      <a:pt x="395" y="333"/>
                    </a:lnTo>
                    <a:lnTo>
                      <a:pt x="393" y="333"/>
                    </a:lnTo>
                    <a:lnTo>
                      <a:pt x="391" y="333"/>
                    </a:lnTo>
                    <a:lnTo>
                      <a:pt x="390" y="333"/>
                    </a:lnTo>
                    <a:lnTo>
                      <a:pt x="388" y="333"/>
                    </a:lnTo>
                    <a:lnTo>
                      <a:pt x="387" y="333"/>
                    </a:lnTo>
                    <a:lnTo>
                      <a:pt x="385" y="331"/>
                    </a:lnTo>
                    <a:lnTo>
                      <a:pt x="383" y="331"/>
                    </a:lnTo>
                    <a:lnTo>
                      <a:pt x="382" y="331"/>
                    </a:lnTo>
                    <a:lnTo>
                      <a:pt x="380" y="330"/>
                    </a:lnTo>
                    <a:lnTo>
                      <a:pt x="379" y="330"/>
                    </a:lnTo>
                    <a:lnTo>
                      <a:pt x="379" y="328"/>
                    </a:lnTo>
                    <a:lnTo>
                      <a:pt x="377" y="328"/>
                    </a:lnTo>
                    <a:lnTo>
                      <a:pt x="376" y="328"/>
                    </a:lnTo>
                    <a:lnTo>
                      <a:pt x="374" y="326"/>
                    </a:lnTo>
                    <a:lnTo>
                      <a:pt x="372" y="326"/>
                    </a:lnTo>
                    <a:lnTo>
                      <a:pt x="371" y="326"/>
                    </a:lnTo>
                    <a:lnTo>
                      <a:pt x="371" y="325"/>
                    </a:lnTo>
                    <a:lnTo>
                      <a:pt x="369" y="325"/>
                    </a:lnTo>
                    <a:lnTo>
                      <a:pt x="369" y="323"/>
                    </a:lnTo>
                    <a:lnTo>
                      <a:pt x="368" y="323"/>
                    </a:lnTo>
                    <a:lnTo>
                      <a:pt x="368" y="322"/>
                    </a:lnTo>
                    <a:lnTo>
                      <a:pt x="366" y="322"/>
                    </a:lnTo>
                    <a:lnTo>
                      <a:pt x="364" y="320"/>
                    </a:lnTo>
                    <a:lnTo>
                      <a:pt x="363" y="320"/>
                    </a:lnTo>
                    <a:lnTo>
                      <a:pt x="361" y="318"/>
                    </a:lnTo>
                    <a:lnTo>
                      <a:pt x="360" y="318"/>
                    </a:lnTo>
                    <a:lnTo>
                      <a:pt x="360" y="317"/>
                    </a:lnTo>
                    <a:lnTo>
                      <a:pt x="358" y="317"/>
                    </a:lnTo>
                    <a:lnTo>
                      <a:pt x="357" y="315"/>
                    </a:lnTo>
                    <a:lnTo>
                      <a:pt x="355" y="315"/>
                    </a:lnTo>
                    <a:lnTo>
                      <a:pt x="353" y="315"/>
                    </a:lnTo>
                    <a:lnTo>
                      <a:pt x="353" y="314"/>
                    </a:lnTo>
                    <a:lnTo>
                      <a:pt x="352" y="314"/>
                    </a:lnTo>
                    <a:lnTo>
                      <a:pt x="350" y="314"/>
                    </a:lnTo>
                    <a:lnTo>
                      <a:pt x="349" y="314"/>
                    </a:lnTo>
                    <a:lnTo>
                      <a:pt x="347" y="314"/>
                    </a:lnTo>
                    <a:lnTo>
                      <a:pt x="345" y="314"/>
                    </a:lnTo>
                    <a:lnTo>
                      <a:pt x="344" y="314"/>
                    </a:lnTo>
                    <a:lnTo>
                      <a:pt x="344" y="312"/>
                    </a:lnTo>
                    <a:lnTo>
                      <a:pt x="342" y="312"/>
                    </a:lnTo>
                    <a:lnTo>
                      <a:pt x="342" y="311"/>
                    </a:lnTo>
                    <a:lnTo>
                      <a:pt x="341" y="311"/>
                    </a:lnTo>
                    <a:lnTo>
                      <a:pt x="339" y="311"/>
                    </a:lnTo>
                    <a:lnTo>
                      <a:pt x="339" y="309"/>
                    </a:lnTo>
                    <a:lnTo>
                      <a:pt x="338" y="309"/>
                    </a:lnTo>
                    <a:lnTo>
                      <a:pt x="336" y="309"/>
                    </a:lnTo>
                    <a:lnTo>
                      <a:pt x="334" y="307"/>
                    </a:lnTo>
                    <a:lnTo>
                      <a:pt x="333" y="307"/>
                    </a:lnTo>
                    <a:lnTo>
                      <a:pt x="331" y="307"/>
                    </a:lnTo>
                    <a:lnTo>
                      <a:pt x="330" y="307"/>
                    </a:lnTo>
                    <a:lnTo>
                      <a:pt x="328" y="307"/>
                    </a:lnTo>
                    <a:lnTo>
                      <a:pt x="328" y="309"/>
                    </a:lnTo>
                    <a:lnTo>
                      <a:pt x="326" y="309"/>
                    </a:lnTo>
                    <a:lnTo>
                      <a:pt x="325" y="309"/>
                    </a:lnTo>
                    <a:lnTo>
                      <a:pt x="323" y="309"/>
                    </a:lnTo>
                    <a:lnTo>
                      <a:pt x="322" y="309"/>
                    </a:lnTo>
                    <a:lnTo>
                      <a:pt x="320" y="309"/>
                    </a:lnTo>
                    <a:lnTo>
                      <a:pt x="319" y="311"/>
                    </a:lnTo>
                    <a:lnTo>
                      <a:pt x="317" y="311"/>
                    </a:lnTo>
                    <a:lnTo>
                      <a:pt x="315" y="311"/>
                    </a:lnTo>
                    <a:lnTo>
                      <a:pt x="314" y="311"/>
                    </a:lnTo>
                    <a:lnTo>
                      <a:pt x="314" y="312"/>
                    </a:lnTo>
                    <a:lnTo>
                      <a:pt x="312" y="312"/>
                    </a:lnTo>
                    <a:lnTo>
                      <a:pt x="311" y="312"/>
                    </a:lnTo>
                    <a:lnTo>
                      <a:pt x="309" y="312"/>
                    </a:lnTo>
                    <a:lnTo>
                      <a:pt x="309" y="314"/>
                    </a:lnTo>
                    <a:lnTo>
                      <a:pt x="307" y="314"/>
                    </a:lnTo>
                    <a:lnTo>
                      <a:pt x="306" y="314"/>
                    </a:lnTo>
                    <a:lnTo>
                      <a:pt x="306" y="315"/>
                    </a:lnTo>
                    <a:lnTo>
                      <a:pt x="304" y="315"/>
                    </a:lnTo>
                    <a:lnTo>
                      <a:pt x="303" y="315"/>
                    </a:lnTo>
                    <a:lnTo>
                      <a:pt x="303" y="317"/>
                    </a:lnTo>
                    <a:lnTo>
                      <a:pt x="301" y="317"/>
                    </a:lnTo>
                    <a:lnTo>
                      <a:pt x="300" y="318"/>
                    </a:lnTo>
                    <a:lnTo>
                      <a:pt x="298" y="318"/>
                    </a:lnTo>
                    <a:lnTo>
                      <a:pt x="298" y="320"/>
                    </a:lnTo>
                    <a:lnTo>
                      <a:pt x="296" y="320"/>
                    </a:lnTo>
                    <a:lnTo>
                      <a:pt x="296" y="322"/>
                    </a:lnTo>
                    <a:lnTo>
                      <a:pt x="295" y="322"/>
                    </a:lnTo>
                    <a:lnTo>
                      <a:pt x="293" y="323"/>
                    </a:lnTo>
                    <a:lnTo>
                      <a:pt x="292" y="323"/>
                    </a:lnTo>
                    <a:lnTo>
                      <a:pt x="292" y="325"/>
                    </a:lnTo>
                    <a:lnTo>
                      <a:pt x="290" y="325"/>
                    </a:lnTo>
                    <a:lnTo>
                      <a:pt x="290" y="326"/>
                    </a:lnTo>
                    <a:lnTo>
                      <a:pt x="288" y="326"/>
                    </a:lnTo>
                    <a:lnTo>
                      <a:pt x="287" y="328"/>
                    </a:lnTo>
                    <a:lnTo>
                      <a:pt x="285" y="330"/>
                    </a:lnTo>
                    <a:lnTo>
                      <a:pt x="284" y="330"/>
                    </a:lnTo>
                    <a:lnTo>
                      <a:pt x="284" y="331"/>
                    </a:lnTo>
                    <a:lnTo>
                      <a:pt x="282" y="331"/>
                    </a:lnTo>
                    <a:lnTo>
                      <a:pt x="282" y="333"/>
                    </a:lnTo>
                    <a:lnTo>
                      <a:pt x="281" y="333"/>
                    </a:lnTo>
                    <a:lnTo>
                      <a:pt x="281" y="334"/>
                    </a:lnTo>
                    <a:lnTo>
                      <a:pt x="279" y="334"/>
                    </a:lnTo>
                    <a:lnTo>
                      <a:pt x="279" y="336"/>
                    </a:lnTo>
                    <a:lnTo>
                      <a:pt x="277" y="336"/>
                    </a:lnTo>
                    <a:lnTo>
                      <a:pt x="277" y="337"/>
                    </a:lnTo>
                    <a:lnTo>
                      <a:pt x="276" y="337"/>
                    </a:lnTo>
                    <a:lnTo>
                      <a:pt x="274" y="337"/>
                    </a:lnTo>
                    <a:lnTo>
                      <a:pt x="273" y="339"/>
                    </a:lnTo>
                    <a:lnTo>
                      <a:pt x="271" y="339"/>
                    </a:lnTo>
                    <a:lnTo>
                      <a:pt x="271" y="341"/>
                    </a:lnTo>
                    <a:lnTo>
                      <a:pt x="269" y="341"/>
                    </a:lnTo>
                    <a:lnTo>
                      <a:pt x="269" y="342"/>
                    </a:lnTo>
                    <a:lnTo>
                      <a:pt x="269" y="344"/>
                    </a:lnTo>
                    <a:lnTo>
                      <a:pt x="268" y="344"/>
                    </a:lnTo>
                    <a:lnTo>
                      <a:pt x="268" y="345"/>
                    </a:lnTo>
                    <a:lnTo>
                      <a:pt x="266" y="345"/>
                    </a:lnTo>
                    <a:lnTo>
                      <a:pt x="265" y="347"/>
                    </a:lnTo>
                    <a:lnTo>
                      <a:pt x="263" y="349"/>
                    </a:lnTo>
                    <a:lnTo>
                      <a:pt x="262" y="350"/>
                    </a:lnTo>
                    <a:lnTo>
                      <a:pt x="260" y="350"/>
                    </a:lnTo>
                    <a:lnTo>
                      <a:pt x="258" y="350"/>
                    </a:lnTo>
                    <a:lnTo>
                      <a:pt x="257" y="349"/>
                    </a:lnTo>
                    <a:lnTo>
                      <a:pt x="255" y="349"/>
                    </a:lnTo>
                    <a:lnTo>
                      <a:pt x="255" y="347"/>
                    </a:lnTo>
                    <a:lnTo>
                      <a:pt x="255" y="345"/>
                    </a:lnTo>
                    <a:lnTo>
                      <a:pt x="255" y="344"/>
                    </a:lnTo>
                    <a:lnTo>
                      <a:pt x="255" y="342"/>
                    </a:lnTo>
                    <a:lnTo>
                      <a:pt x="257" y="342"/>
                    </a:lnTo>
                    <a:lnTo>
                      <a:pt x="257" y="341"/>
                    </a:lnTo>
                    <a:lnTo>
                      <a:pt x="258" y="341"/>
                    </a:lnTo>
                    <a:lnTo>
                      <a:pt x="258" y="339"/>
                    </a:lnTo>
                    <a:lnTo>
                      <a:pt x="258" y="337"/>
                    </a:lnTo>
                    <a:lnTo>
                      <a:pt x="258" y="336"/>
                    </a:lnTo>
                    <a:lnTo>
                      <a:pt x="258" y="334"/>
                    </a:lnTo>
                    <a:lnTo>
                      <a:pt x="258" y="333"/>
                    </a:lnTo>
                    <a:lnTo>
                      <a:pt x="260" y="333"/>
                    </a:lnTo>
                    <a:lnTo>
                      <a:pt x="260" y="331"/>
                    </a:lnTo>
                    <a:lnTo>
                      <a:pt x="260" y="330"/>
                    </a:lnTo>
                    <a:lnTo>
                      <a:pt x="260" y="328"/>
                    </a:lnTo>
                    <a:lnTo>
                      <a:pt x="260" y="326"/>
                    </a:lnTo>
                    <a:lnTo>
                      <a:pt x="260" y="325"/>
                    </a:lnTo>
                    <a:lnTo>
                      <a:pt x="260" y="323"/>
                    </a:lnTo>
                    <a:lnTo>
                      <a:pt x="260" y="322"/>
                    </a:lnTo>
                    <a:lnTo>
                      <a:pt x="258" y="320"/>
                    </a:lnTo>
                    <a:lnTo>
                      <a:pt x="258" y="318"/>
                    </a:lnTo>
                    <a:lnTo>
                      <a:pt x="257" y="318"/>
                    </a:lnTo>
                    <a:lnTo>
                      <a:pt x="257" y="317"/>
                    </a:lnTo>
                    <a:lnTo>
                      <a:pt x="257" y="315"/>
                    </a:lnTo>
                    <a:lnTo>
                      <a:pt x="255" y="315"/>
                    </a:lnTo>
                    <a:lnTo>
                      <a:pt x="255" y="314"/>
                    </a:lnTo>
                    <a:lnTo>
                      <a:pt x="255" y="312"/>
                    </a:lnTo>
                    <a:lnTo>
                      <a:pt x="255" y="311"/>
                    </a:lnTo>
                    <a:lnTo>
                      <a:pt x="255" y="309"/>
                    </a:lnTo>
                    <a:lnTo>
                      <a:pt x="255" y="307"/>
                    </a:lnTo>
                    <a:lnTo>
                      <a:pt x="255" y="306"/>
                    </a:lnTo>
                    <a:lnTo>
                      <a:pt x="255" y="304"/>
                    </a:lnTo>
                    <a:lnTo>
                      <a:pt x="255" y="303"/>
                    </a:lnTo>
                    <a:lnTo>
                      <a:pt x="254" y="301"/>
                    </a:lnTo>
                    <a:lnTo>
                      <a:pt x="254" y="299"/>
                    </a:lnTo>
                    <a:lnTo>
                      <a:pt x="254" y="298"/>
                    </a:lnTo>
                    <a:lnTo>
                      <a:pt x="254" y="296"/>
                    </a:lnTo>
                    <a:lnTo>
                      <a:pt x="254" y="295"/>
                    </a:lnTo>
                    <a:lnTo>
                      <a:pt x="254" y="293"/>
                    </a:lnTo>
                    <a:lnTo>
                      <a:pt x="254" y="291"/>
                    </a:lnTo>
                    <a:lnTo>
                      <a:pt x="254" y="290"/>
                    </a:lnTo>
                    <a:lnTo>
                      <a:pt x="252" y="290"/>
                    </a:lnTo>
                    <a:lnTo>
                      <a:pt x="252" y="288"/>
                    </a:lnTo>
                    <a:lnTo>
                      <a:pt x="252" y="287"/>
                    </a:lnTo>
                    <a:lnTo>
                      <a:pt x="252" y="285"/>
                    </a:lnTo>
                    <a:lnTo>
                      <a:pt x="252" y="284"/>
                    </a:lnTo>
                    <a:lnTo>
                      <a:pt x="252" y="282"/>
                    </a:lnTo>
                    <a:lnTo>
                      <a:pt x="252" y="280"/>
                    </a:lnTo>
                    <a:lnTo>
                      <a:pt x="252" y="279"/>
                    </a:lnTo>
                    <a:lnTo>
                      <a:pt x="252" y="277"/>
                    </a:lnTo>
                    <a:lnTo>
                      <a:pt x="252" y="276"/>
                    </a:lnTo>
                    <a:lnTo>
                      <a:pt x="250" y="274"/>
                    </a:lnTo>
                    <a:lnTo>
                      <a:pt x="250" y="272"/>
                    </a:lnTo>
                    <a:lnTo>
                      <a:pt x="250" y="271"/>
                    </a:lnTo>
                    <a:lnTo>
                      <a:pt x="250" y="269"/>
                    </a:lnTo>
                    <a:lnTo>
                      <a:pt x="250" y="268"/>
                    </a:lnTo>
                    <a:lnTo>
                      <a:pt x="250" y="266"/>
                    </a:lnTo>
                    <a:lnTo>
                      <a:pt x="250" y="265"/>
                    </a:lnTo>
                    <a:lnTo>
                      <a:pt x="250" y="263"/>
                    </a:lnTo>
                    <a:lnTo>
                      <a:pt x="252" y="261"/>
                    </a:lnTo>
                    <a:lnTo>
                      <a:pt x="252" y="260"/>
                    </a:lnTo>
                    <a:lnTo>
                      <a:pt x="252" y="258"/>
                    </a:lnTo>
                    <a:lnTo>
                      <a:pt x="252" y="257"/>
                    </a:lnTo>
                    <a:lnTo>
                      <a:pt x="252" y="255"/>
                    </a:lnTo>
                    <a:lnTo>
                      <a:pt x="252" y="253"/>
                    </a:lnTo>
                    <a:lnTo>
                      <a:pt x="219" y="230"/>
                    </a:lnTo>
                    <a:lnTo>
                      <a:pt x="192" y="230"/>
                    </a:lnTo>
                    <a:lnTo>
                      <a:pt x="182" y="230"/>
                    </a:lnTo>
                    <a:lnTo>
                      <a:pt x="182" y="228"/>
                    </a:lnTo>
                    <a:lnTo>
                      <a:pt x="181" y="228"/>
                    </a:lnTo>
                    <a:lnTo>
                      <a:pt x="179" y="228"/>
                    </a:lnTo>
                    <a:lnTo>
                      <a:pt x="179" y="227"/>
                    </a:lnTo>
                    <a:lnTo>
                      <a:pt x="178" y="227"/>
                    </a:lnTo>
                    <a:lnTo>
                      <a:pt x="178" y="225"/>
                    </a:lnTo>
                    <a:lnTo>
                      <a:pt x="176" y="225"/>
                    </a:lnTo>
                    <a:lnTo>
                      <a:pt x="176" y="223"/>
                    </a:lnTo>
                    <a:lnTo>
                      <a:pt x="176" y="222"/>
                    </a:lnTo>
                    <a:lnTo>
                      <a:pt x="174" y="220"/>
                    </a:lnTo>
                    <a:lnTo>
                      <a:pt x="173" y="219"/>
                    </a:lnTo>
                    <a:lnTo>
                      <a:pt x="171" y="219"/>
                    </a:lnTo>
                    <a:lnTo>
                      <a:pt x="170" y="219"/>
                    </a:lnTo>
                    <a:lnTo>
                      <a:pt x="168" y="219"/>
                    </a:lnTo>
                    <a:lnTo>
                      <a:pt x="166" y="219"/>
                    </a:lnTo>
                    <a:lnTo>
                      <a:pt x="166" y="217"/>
                    </a:lnTo>
                    <a:lnTo>
                      <a:pt x="165" y="217"/>
                    </a:lnTo>
                    <a:lnTo>
                      <a:pt x="163" y="217"/>
                    </a:lnTo>
                    <a:lnTo>
                      <a:pt x="163" y="219"/>
                    </a:lnTo>
                    <a:lnTo>
                      <a:pt x="162" y="219"/>
                    </a:lnTo>
                    <a:lnTo>
                      <a:pt x="162" y="220"/>
                    </a:lnTo>
                    <a:lnTo>
                      <a:pt x="160" y="222"/>
                    </a:lnTo>
                    <a:lnTo>
                      <a:pt x="160" y="223"/>
                    </a:lnTo>
                    <a:lnTo>
                      <a:pt x="160" y="225"/>
                    </a:lnTo>
                    <a:lnTo>
                      <a:pt x="159" y="227"/>
                    </a:lnTo>
                    <a:lnTo>
                      <a:pt x="159" y="228"/>
                    </a:lnTo>
                    <a:lnTo>
                      <a:pt x="157" y="228"/>
                    </a:lnTo>
                    <a:lnTo>
                      <a:pt x="155" y="230"/>
                    </a:lnTo>
                    <a:lnTo>
                      <a:pt x="154" y="230"/>
                    </a:lnTo>
                    <a:lnTo>
                      <a:pt x="154" y="231"/>
                    </a:lnTo>
                    <a:lnTo>
                      <a:pt x="152" y="231"/>
                    </a:lnTo>
                    <a:lnTo>
                      <a:pt x="152" y="233"/>
                    </a:lnTo>
                    <a:lnTo>
                      <a:pt x="152" y="234"/>
                    </a:lnTo>
                    <a:lnTo>
                      <a:pt x="151" y="236"/>
                    </a:lnTo>
                    <a:lnTo>
                      <a:pt x="151" y="238"/>
                    </a:lnTo>
                    <a:lnTo>
                      <a:pt x="149" y="239"/>
                    </a:lnTo>
                    <a:lnTo>
                      <a:pt x="151" y="241"/>
                    </a:lnTo>
                    <a:lnTo>
                      <a:pt x="151" y="242"/>
                    </a:lnTo>
                    <a:lnTo>
                      <a:pt x="151" y="244"/>
                    </a:lnTo>
                    <a:lnTo>
                      <a:pt x="149" y="244"/>
                    </a:lnTo>
                    <a:lnTo>
                      <a:pt x="147" y="246"/>
                    </a:lnTo>
                    <a:lnTo>
                      <a:pt x="146" y="246"/>
                    </a:lnTo>
                    <a:lnTo>
                      <a:pt x="146" y="247"/>
                    </a:lnTo>
                    <a:lnTo>
                      <a:pt x="146" y="249"/>
                    </a:lnTo>
                    <a:lnTo>
                      <a:pt x="146" y="250"/>
                    </a:lnTo>
                    <a:lnTo>
                      <a:pt x="146" y="252"/>
                    </a:lnTo>
                    <a:lnTo>
                      <a:pt x="147" y="253"/>
                    </a:lnTo>
                    <a:lnTo>
                      <a:pt x="149" y="255"/>
                    </a:lnTo>
                    <a:lnTo>
                      <a:pt x="151" y="255"/>
                    </a:lnTo>
                    <a:lnTo>
                      <a:pt x="152" y="255"/>
                    </a:lnTo>
                    <a:lnTo>
                      <a:pt x="152" y="257"/>
                    </a:lnTo>
                    <a:lnTo>
                      <a:pt x="154" y="257"/>
                    </a:lnTo>
                    <a:lnTo>
                      <a:pt x="155" y="257"/>
                    </a:lnTo>
                    <a:lnTo>
                      <a:pt x="155" y="258"/>
                    </a:lnTo>
                    <a:lnTo>
                      <a:pt x="157" y="258"/>
                    </a:lnTo>
                    <a:lnTo>
                      <a:pt x="157" y="260"/>
                    </a:lnTo>
                    <a:lnTo>
                      <a:pt x="155" y="260"/>
                    </a:lnTo>
                    <a:lnTo>
                      <a:pt x="155" y="261"/>
                    </a:lnTo>
                    <a:lnTo>
                      <a:pt x="157" y="263"/>
                    </a:lnTo>
                    <a:lnTo>
                      <a:pt x="157" y="265"/>
                    </a:lnTo>
                    <a:lnTo>
                      <a:pt x="157" y="266"/>
                    </a:lnTo>
                    <a:lnTo>
                      <a:pt x="159" y="266"/>
                    </a:lnTo>
                    <a:lnTo>
                      <a:pt x="159" y="268"/>
                    </a:lnTo>
                    <a:lnTo>
                      <a:pt x="159" y="269"/>
                    </a:lnTo>
                    <a:lnTo>
                      <a:pt x="160" y="269"/>
                    </a:lnTo>
                    <a:lnTo>
                      <a:pt x="160" y="271"/>
                    </a:lnTo>
                    <a:lnTo>
                      <a:pt x="160" y="272"/>
                    </a:lnTo>
                    <a:lnTo>
                      <a:pt x="160" y="274"/>
                    </a:lnTo>
                    <a:lnTo>
                      <a:pt x="162" y="276"/>
                    </a:lnTo>
                    <a:lnTo>
                      <a:pt x="162" y="277"/>
                    </a:lnTo>
                    <a:lnTo>
                      <a:pt x="160" y="279"/>
                    </a:lnTo>
                    <a:lnTo>
                      <a:pt x="160" y="280"/>
                    </a:lnTo>
                    <a:lnTo>
                      <a:pt x="159" y="280"/>
                    </a:lnTo>
                    <a:lnTo>
                      <a:pt x="159" y="282"/>
                    </a:lnTo>
                    <a:lnTo>
                      <a:pt x="157" y="284"/>
                    </a:lnTo>
                    <a:lnTo>
                      <a:pt x="157" y="285"/>
                    </a:lnTo>
                    <a:lnTo>
                      <a:pt x="155" y="285"/>
                    </a:lnTo>
                    <a:lnTo>
                      <a:pt x="154" y="287"/>
                    </a:lnTo>
                    <a:lnTo>
                      <a:pt x="152" y="287"/>
                    </a:lnTo>
                    <a:lnTo>
                      <a:pt x="151" y="287"/>
                    </a:lnTo>
                    <a:lnTo>
                      <a:pt x="149" y="287"/>
                    </a:lnTo>
                    <a:lnTo>
                      <a:pt x="147" y="287"/>
                    </a:lnTo>
                    <a:lnTo>
                      <a:pt x="146" y="287"/>
                    </a:lnTo>
                    <a:lnTo>
                      <a:pt x="146" y="285"/>
                    </a:lnTo>
                    <a:lnTo>
                      <a:pt x="144" y="285"/>
                    </a:lnTo>
                    <a:lnTo>
                      <a:pt x="143" y="285"/>
                    </a:lnTo>
                    <a:lnTo>
                      <a:pt x="141" y="285"/>
                    </a:lnTo>
                    <a:lnTo>
                      <a:pt x="140" y="285"/>
                    </a:lnTo>
                    <a:lnTo>
                      <a:pt x="138" y="285"/>
                    </a:lnTo>
                    <a:lnTo>
                      <a:pt x="136" y="285"/>
                    </a:lnTo>
                    <a:lnTo>
                      <a:pt x="135" y="285"/>
                    </a:lnTo>
                    <a:lnTo>
                      <a:pt x="133" y="285"/>
                    </a:lnTo>
                    <a:lnTo>
                      <a:pt x="132" y="285"/>
                    </a:lnTo>
                    <a:lnTo>
                      <a:pt x="130" y="285"/>
                    </a:lnTo>
                    <a:lnTo>
                      <a:pt x="128" y="285"/>
                    </a:lnTo>
                    <a:lnTo>
                      <a:pt x="127" y="285"/>
                    </a:lnTo>
                    <a:lnTo>
                      <a:pt x="127" y="284"/>
                    </a:lnTo>
                    <a:lnTo>
                      <a:pt x="125" y="284"/>
                    </a:lnTo>
                    <a:lnTo>
                      <a:pt x="124" y="284"/>
                    </a:lnTo>
                    <a:lnTo>
                      <a:pt x="122" y="284"/>
                    </a:lnTo>
                    <a:lnTo>
                      <a:pt x="121" y="284"/>
                    </a:lnTo>
                    <a:lnTo>
                      <a:pt x="121" y="282"/>
                    </a:lnTo>
                    <a:lnTo>
                      <a:pt x="119" y="282"/>
                    </a:lnTo>
                    <a:lnTo>
                      <a:pt x="117" y="282"/>
                    </a:lnTo>
                    <a:lnTo>
                      <a:pt x="116" y="282"/>
                    </a:lnTo>
                    <a:lnTo>
                      <a:pt x="114" y="282"/>
                    </a:lnTo>
                    <a:lnTo>
                      <a:pt x="113" y="284"/>
                    </a:lnTo>
                    <a:lnTo>
                      <a:pt x="111" y="284"/>
                    </a:lnTo>
                    <a:lnTo>
                      <a:pt x="109" y="284"/>
                    </a:lnTo>
                    <a:lnTo>
                      <a:pt x="108" y="284"/>
                    </a:lnTo>
                    <a:lnTo>
                      <a:pt x="106" y="284"/>
                    </a:lnTo>
                    <a:lnTo>
                      <a:pt x="105" y="284"/>
                    </a:lnTo>
                    <a:lnTo>
                      <a:pt x="103" y="285"/>
                    </a:lnTo>
                    <a:lnTo>
                      <a:pt x="102" y="285"/>
                    </a:lnTo>
                    <a:lnTo>
                      <a:pt x="100" y="285"/>
                    </a:lnTo>
                    <a:lnTo>
                      <a:pt x="98" y="285"/>
                    </a:lnTo>
                    <a:lnTo>
                      <a:pt x="97" y="285"/>
                    </a:lnTo>
                    <a:lnTo>
                      <a:pt x="95" y="287"/>
                    </a:lnTo>
                    <a:lnTo>
                      <a:pt x="94" y="287"/>
                    </a:lnTo>
                    <a:lnTo>
                      <a:pt x="92" y="287"/>
                    </a:lnTo>
                    <a:lnTo>
                      <a:pt x="90" y="287"/>
                    </a:lnTo>
                    <a:lnTo>
                      <a:pt x="90" y="288"/>
                    </a:lnTo>
                    <a:lnTo>
                      <a:pt x="89" y="290"/>
                    </a:lnTo>
                    <a:lnTo>
                      <a:pt x="89" y="291"/>
                    </a:lnTo>
                    <a:lnTo>
                      <a:pt x="87" y="293"/>
                    </a:lnTo>
                    <a:lnTo>
                      <a:pt x="87" y="295"/>
                    </a:lnTo>
                    <a:lnTo>
                      <a:pt x="86" y="296"/>
                    </a:lnTo>
                    <a:lnTo>
                      <a:pt x="86" y="298"/>
                    </a:lnTo>
                    <a:lnTo>
                      <a:pt x="84" y="299"/>
                    </a:lnTo>
                    <a:lnTo>
                      <a:pt x="84" y="301"/>
                    </a:lnTo>
                    <a:lnTo>
                      <a:pt x="84" y="303"/>
                    </a:lnTo>
                    <a:lnTo>
                      <a:pt x="83" y="304"/>
                    </a:lnTo>
                    <a:lnTo>
                      <a:pt x="83" y="306"/>
                    </a:lnTo>
                    <a:lnTo>
                      <a:pt x="83" y="307"/>
                    </a:lnTo>
                    <a:lnTo>
                      <a:pt x="81" y="309"/>
                    </a:lnTo>
                    <a:lnTo>
                      <a:pt x="81" y="311"/>
                    </a:lnTo>
                    <a:lnTo>
                      <a:pt x="81" y="312"/>
                    </a:lnTo>
                    <a:lnTo>
                      <a:pt x="79" y="314"/>
                    </a:lnTo>
                    <a:lnTo>
                      <a:pt x="79" y="315"/>
                    </a:lnTo>
                    <a:lnTo>
                      <a:pt x="79" y="317"/>
                    </a:lnTo>
                    <a:lnTo>
                      <a:pt x="78" y="318"/>
                    </a:lnTo>
                    <a:lnTo>
                      <a:pt x="78" y="320"/>
                    </a:lnTo>
                    <a:lnTo>
                      <a:pt x="76" y="320"/>
                    </a:lnTo>
                    <a:lnTo>
                      <a:pt x="76" y="322"/>
                    </a:lnTo>
                    <a:lnTo>
                      <a:pt x="75" y="322"/>
                    </a:lnTo>
                    <a:lnTo>
                      <a:pt x="75" y="320"/>
                    </a:lnTo>
                    <a:lnTo>
                      <a:pt x="73" y="320"/>
                    </a:lnTo>
                    <a:lnTo>
                      <a:pt x="73" y="318"/>
                    </a:lnTo>
                    <a:lnTo>
                      <a:pt x="73" y="317"/>
                    </a:lnTo>
                    <a:lnTo>
                      <a:pt x="73" y="315"/>
                    </a:lnTo>
                    <a:lnTo>
                      <a:pt x="71" y="315"/>
                    </a:lnTo>
                    <a:lnTo>
                      <a:pt x="71" y="314"/>
                    </a:lnTo>
                    <a:lnTo>
                      <a:pt x="71" y="312"/>
                    </a:lnTo>
                    <a:lnTo>
                      <a:pt x="70" y="312"/>
                    </a:lnTo>
                    <a:lnTo>
                      <a:pt x="68" y="311"/>
                    </a:lnTo>
                    <a:lnTo>
                      <a:pt x="67" y="309"/>
                    </a:lnTo>
                    <a:lnTo>
                      <a:pt x="67" y="307"/>
                    </a:lnTo>
                    <a:lnTo>
                      <a:pt x="65" y="307"/>
                    </a:lnTo>
                    <a:lnTo>
                      <a:pt x="65" y="306"/>
                    </a:lnTo>
                    <a:lnTo>
                      <a:pt x="65" y="304"/>
                    </a:lnTo>
                    <a:lnTo>
                      <a:pt x="64" y="304"/>
                    </a:lnTo>
                    <a:lnTo>
                      <a:pt x="64" y="303"/>
                    </a:lnTo>
                    <a:lnTo>
                      <a:pt x="62" y="303"/>
                    </a:lnTo>
                    <a:lnTo>
                      <a:pt x="62" y="301"/>
                    </a:lnTo>
                    <a:lnTo>
                      <a:pt x="62" y="299"/>
                    </a:lnTo>
                    <a:lnTo>
                      <a:pt x="60" y="299"/>
                    </a:lnTo>
                    <a:lnTo>
                      <a:pt x="60" y="298"/>
                    </a:lnTo>
                    <a:lnTo>
                      <a:pt x="59" y="298"/>
                    </a:lnTo>
                    <a:lnTo>
                      <a:pt x="59" y="296"/>
                    </a:lnTo>
                    <a:lnTo>
                      <a:pt x="57" y="295"/>
                    </a:lnTo>
                    <a:lnTo>
                      <a:pt x="57" y="293"/>
                    </a:lnTo>
                    <a:lnTo>
                      <a:pt x="57" y="291"/>
                    </a:lnTo>
                    <a:lnTo>
                      <a:pt x="56" y="290"/>
                    </a:lnTo>
                    <a:lnTo>
                      <a:pt x="56" y="288"/>
                    </a:lnTo>
                    <a:lnTo>
                      <a:pt x="57" y="288"/>
                    </a:lnTo>
                    <a:lnTo>
                      <a:pt x="57" y="287"/>
                    </a:lnTo>
                    <a:lnTo>
                      <a:pt x="57" y="285"/>
                    </a:lnTo>
                    <a:lnTo>
                      <a:pt x="59" y="285"/>
                    </a:lnTo>
                    <a:lnTo>
                      <a:pt x="59" y="284"/>
                    </a:lnTo>
                    <a:lnTo>
                      <a:pt x="57" y="284"/>
                    </a:lnTo>
                    <a:lnTo>
                      <a:pt x="57" y="282"/>
                    </a:lnTo>
                    <a:lnTo>
                      <a:pt x="57" y="280"/>
                    </a:lnTo>
                    <a:lnTo>
                      <a:pt x="56" y="282"/>
                    </a:lnTo>
                    <a:lnTo>
                      <a:pt x="54" y="282"/>
                    </a:lnTo>
                    <a:lnTo>
                      <a:pt x="52" y="282"/>
                    </a:lnTo>
                    <a:lnTo>
                      <a:pt x="52" y="280"/>
                    </a:lnTo>
                    <a:lnTo>
                      <a:pt x="52" y="279"/>
                    </a:lnTo>
                    <a:lnTo>
                      <a:pt x="52" y="277"/>
                    </a:lnTo>
                    <a:lnTo>
                      <a:pt x="51" y="276"/>
                    </a:lnTo>
                    <a:lnTo>
                      <a:pt x="52" y="274"/>
                    </a:lnTo>
                    <a:lnTo>
                      <a:pt x="52" y="272"/>
                    </a:lnTo>
                    <a:lnTo>
                      <a:pt x="52" y="271"/>
                    </a:lnTo>
                    <a:lnTo>
                      <a:pt x="51" y="271"/>
                    </a:lnTo>
                    <a:lnTo>
                      <a:pt x="51" y="269"/>
                    </a:lnTo>
                    <a:lnTo>
                      <a:pt x="51" y="268"/>
                    </a:lnTo>
                    <a:lnTo>
                      <a:pt x="51" y="266"/>
                    </a:lnTo>
                    <a:lnTo>
                      <a:pt x="51" y="265"/>
                    </a:lnTo>
                    <a:lnTo>
                      <a:pt x="52" y="263"/>
                    </a:lnTo>
                    <a:lnTo>
                      <a:pt x="51" y="263"/>
                    </a:lnTo>
                    <a:lnTo>
                      <a:pt x="51" y="261"/>
                    </a:lnTo>
                    <a:lnTo>
                      <a:pt x="49" y="261"/>
                    </a:lnTo>
                    <a:lnTo>
                      <a:pt x="49" y="260"/>
                    </a:lnTo>
                    <a:lnTo>
                      <a:pt x="49" y="258"/>
                    </a:lnTo>
                    <a:lnTo>
                      <a:pt x="49" y="257"/>
                    </a:lnTo>
                    <a:lnTo>
                      <a:pt x="48" y="257"/>
                    </a:lnTo>
                    <a:lnTo>
                      <a:pt x="48" y="255"/>
                    </a:lnTo>
                    <a:lnTo>
                      <a:pt x="46" y="255"/>
                    </a:lnTo>
                    <a:lnTo>
                      <a:pt x="46" y="253"/>
                    </a:lnTo>
                    <a:lnTo>
                      <a:pt x="46" y="252"/>
                    </a:lnTo>
                    <a:lnTo>
                      <a:pt x="46" y="250"/>
                    </a:lnTo>
                    <a:lnTo>
                      <a:pt x="46" y="249"/>
                    </a:lnTo>
                    <a:lnTo>
                      <a:pt x="48" y="249"/>
                    </a:lnTo>
                    <a:lnTo>
                      <a:pt x="48" y="247"/>
                    </a:lnTo>
                    <a:lnTo>
                      <a:pt x="48" y="246"/>
                    </a:lnTo>
                    <a:lnTo>
                      <a:pt x="48" y="244"/>
                    </a:lnTo>
                    <a:lnTo>
                      <a:pt x="49" y="244"/>
                    </a:lnTo>
                    <a:lnTo>
                      <a:pt x="49" y="242"/>
                    </a:lnTo>
                    <a:lnTo>
                      <a:pt x="51" y="241"/>
                    </a:lnTo>
                    <a:lnTo>
                      <a:pt x="51" y="239"/>
                    </a:lnTo>
                    <a:lnTo>
                      <a:pt x="51" y="238"/>
                    </a:lnTo>
                    <a:lnTo>
                      <a:pt x="51" y="236"/>
                    </a:lnTo>
                    <a:lnTo>
                      <a:pt x="51" y="234"/>
                    </a:lnTo>
                    <a:lnTo>
                      <a:pt x="51" y="233"/>
                    </a:lnTo>
                    <a:lnTo>
                      <a:pt x="52" y="231"/>
                    </a:lnTo>
                    <a:lnTo>
                      <a:pt x="52" y="230"/>
                    </a:lnTo>
                    <a:lnTo>
                      <a:pt x="52" y="228"/>
                    </a:lnTo>
                    <a:lnTo>
                      <a:pt x="52" y="227"/>
                    </a:lnTo>
                    <a:lnTo>
                      <a:pt x="54" y="227"/>
                    </a:lnTo>
                    <a:lnTo>
                      <a:pt x="56" y="227"/>
                    </a:lnTo>
                    <a:lnTo>
                      <a:pt x="56" y="225"/>
                    </a:lnTo>
                    <a:lnTo>
                      <a:pt x="56" y="223"/>
                    </a:lnTo>
                    <a:lnTo>
                      <a:pt x="56" y="222"/>
                    </a:lnTo>
                    <a:lnTo>
                      <a:pt x="56" y="220"/>
                    </a:lnTo>
                    <a:lnTo>
                      <a:pt x="56" y="219"/>
                    </a:lnTo>
                    <a:lnTo>
                      <a:pt x="57" y="220"/>
                    </a:lnTo>
                    <a:lnTo>
                      <a:pt x="59" y="220"/>
                    </a:lnTo>
                    <a:lnTo>
                      <a:pt x="59" y="219"/>
                    </a:lnTo>
                    <a:lnTo>
                      <a:pt x="60" y="217"/>
                    </a:lnTo>
                    <a:lnTo>
                      <a:pt x="60" y="215"/>
                    </a:lnTo>
                    <a:lnTo>
                      <a:pt x="62" y="215"/>
                    </a:lnTo>
                    <a:lnTo>
                      <a:pt x="62" y="214"/>
                    </a:lnTo>
                    <a:lnTo>
                      <a:pt x="62" y="212"/>
                    </a:lnTo>
                    <a:lnTo>
                      <a:pt x="64" y="212"/>
                    </a:lnTo>
                    <a:lnTo>
                      <a:pt x="62" y="211"/>
                    </a:lnTo>
                    <a:lnTo>
                      <a:pt x="60" y="211"/>
                    </a:lnTo>
                    <a:lnTo>
                      <a:pt x="60" y="209"/>
                    </a:lnTo>
                    <a:lnTo>
                      <a:pt x="62" y="209"/>
                    </a:lnTo>
                    <a:lnTo>
                      <a:pt x="62" y="208"/>
                    </a:lnTo>
                    <a:lnTo>
                      <a:pt x="60" y="208"/>
                    </a:lnTo>
                    <a:lnTo>
                      <a:pt x="60" y="206"/>
                    </a:lnTo>
                    <a:lnTo>
                      <a:pt x="62" y="206"/>
                    </a:lnTo>
                    <a:lnTo>
                      <a:pt x="62" y="204"/>
                    </a:lnTo>
                    <a:lnTo>
                      <a:pt x="62" y="203"/>
                    </a:lnTo>
                    <a:lnTo>
                      <a:pt x="62" y="201"/>
                    </a:lnTo>
                    <a:lnTo>
                      <a:pt x="60" y="201"/>
                    </a:lnTo>
                    <a:lnTo>
                      <a:pt x="62" y="200"/>
                    </a:lnTo>
                    <a:lnTo>
                      <a:pt x="62" y="198"/>
                    </a:lnTo>
                    <a:lnTo>
                      <a:pt x="62" y="196"/>
                    </a:lnTo>
                    <a:lnTo>
                      <a:pt x="62" y="195"/>
                    </a:lnTo>
                    <a:lnTo>
                      <a:pt x="60" y="195"/>
                    </a:lnTo>
                    <a:lnTo>
                      <a:pt x="60" y="193"/>
                    </a:lnTo>
                    <a:lnTo>
                      <a:pt x="62" y="193"/>
                    </a:lnTo>
                    <a:lnTo>
                      <a:pt x="60" y="192"/>
                    </a:lnTo>
                    <a:lnTo>
                      <a:pt x="60" y="190"/>
                    </a:lnTo>
                    <a:lnTo>
                      <a:pt x="59" y="190"/>
                    </a:lnTo>
                    <a:lnTo>
                      <a:pt x="59" y="189"/>
                    </a:lnTo>
                    <a:lnTo>
                      <a:pt x="59" y="187"/>
                    </a:lnTo>
                    <a:lnTo>
                      <a:pt x="59" y="185"/>
                    </a:lnTo>
                    <a:lnTo>
                      <a:pt x="59" y="184"/>
                    </a:lnTo>
                    <a:lnTo>
                      <a:pt x="57" y="184"/>
                    </a:lnTo>
                    <a:lnTo>
                      <a:pt x="57" y="182"/>
                    </a:lnTo>
                    <a:lnTo>
                      <a:pt x="57" y="181"/>
                    </a:lnTo>
                    <a:lnTo>
                      <a:pt x="57" y="179"/>
                    </a:lnTo>
                    <a:lnTo>
                      <a:pt x="56" y="177"/>
                    </a:lnTo>
                    <a:lnTo>
                      <a:pt x="56" y="176"/>
                    </a:lnTo>
                    <a:lnTo>
                      <a:pt x="54" y="176"/>
                    </a:lnTo>
                    <a:lnTo>
                      <a:pt x="54" y="174"/>
                    </a:lnTo>
                    <a:lnTo>
                      <a:pt x="54" y="173"/>
                    </a:lnTo>
                    <a:lnTo>
                      <a:pt x="54" y="171"/>
                    </a:lnTo>
                    <a:lnTo>
                      <a:pt x="54" y="170"/>
                    </a:lnTo>
                    <a:lnTo>
                      <a:pt x="54" y="168"/>
                    </a:lnTo>
                    <a:lnTo>
                      <a:pt x="52" y="168"/>
                    </a:lnTo>
                    <a:lnTo>
                      <a:pt x="54" y="168"/>
                    </a:lnTo>
                    <a:lnTo>
                      <a:pt x="54" y="166"/>
                    </a:lnTo>
                    <a:lnTo>
                      <a:pt x="54" y="165"/>
                    </a:lnTo>
                    <a:lnTo>
                      <a:pt x="54" y="163"/>
                    </a:lnTo>
                    <a:lnTo>
                      <a:pt x="54" y="162"/>
                    </a:lnTo>
                    <a:lnTo>
                      <a:pt x="52" y="162"/>
                    </a:lnTo>
                    <a:lnTo>
                      <a:pt x="52" y="160"/>
                    </a:lnTo>
                    <a:lnTo>
                      <a:pt x="51" y="158"/>
                    </a:lnTo>
                    <a:lnTo>
                      <a:pt x="51" y="157"/>
                    </a:lnTo>
                    <a:lnTo>
                      <a:pt x="51" y="155"/>
                    </a:lnTo>
                    <a:lnTo>
                      <a:pt x="52" y="155"/>
                    </a:lnTo>
                    <a:lnTo>
                      <a:pt x="52" y="154"/>
                    </a:lnTo>
                    <a:lnTo>
                      <a:pt x="51" y="154"/>
                    </a:lnTo>
                    <a:lnTo>
                      <a:pt x="51" y="152"/>
                    </a:lnTo>
                    <a:lnTo>
                      <a:pt x="49" y="151"/>
                    </a:lnTo>
                    <a:lnTo>
                      <a:pt x="49" y="149"/>
                    </a:lnTo>
                    <a:lnTo>
                      <a:pt x="48" y="149"/>
                    </a:lnTo>
                    <a:lnTo>
                      <a:pt x="48" y="147"/>
                    </a:lnTo>
                    <a:lnTo>
                      <a:pt x="46" y="147"/>
                    </a:lnTo>
                    <a:lnTo>
                      <a:pt x="46" y="146"/>
                    </a:lnTo>
                    <a:lnTo>
                      <a:pt x="45" y="146"/>
                    </a:lnTo>
                    <a:lnTo>
                      <a:pt x="45" y="144"/>
                    </a:lnTo>
                    <a:lnTo>
                      <a:pt x="45" y="143"/>
                    </a:lnTo>
                    <a:lnTo>
                      <a:pt x="43" y="141"/>
                    </a:lnTo>
                    <a:lnTo>
                      <a:pt x="41" y="139"/>
                    </a:lnTo>
                    <a:lnTo>
                      <a:pt x="41" y="138"/>
                    </a:lnTo>
                    <a:lnTo>
                      <a:pt x="41" y="136"/>
                    </a:lnTo>
                    <a:lnTo>
                      <a:pt x="41" y="135"/>
                    </a:lnTo>
                    <a:lnTo>
                      <a:pt x="41" y="133"/>
                    </a:lnTo>
                    <a:lnTo>
                      <a:pt x="41" y="132"/>
                    </a:lnTo>
                    <a:lnTo>
                      <a:pt x="40" y="130"/>
                    </a:lnTo>
                    <a:lnTo>
                      <a:pt x="38" y="128"/>
                    </a:lnTo>
                    <a:lnTo>
                      <a:pt x="38" y="127"/>
                    </a:lnTo>
                    <a:lnTo>
                      <a:pt x="37" y="127"/>
                    </a:lnTo>
                    <a:lnTo>
                      <a:pt x="37" y="125"/>
                    </a:lnTo>
                    <a:lnTo>
                      <a:pt x="35" y="125"/>
                    </a:lnTo>
                    <a:lnTo>
                      <a:pt x="35" y="124"/>
                    </a:lnTo>
                    <a:lnTo>
                      <a:pt x="33" y="124"/>
                    </a:lnTo>
                    <a:lnTo>
                      <a:pt x="32" y="122"/>
                    </a:lnTo>
                    <a:lnTo>
                      <a:pt x="30" y="120"/>
                    </a:lnTo>
                    <a:lnTo>
                      <a:pt x="29" y="120"/>
                    </a:lnTo>
                    <a:lnTo>
                      <a:pt x="29" y="119"/>
                    </a:lnTo>
                    <a:lnTo>
                      <a:pt x="27" y="117"/>
                    </a:lnTo>
                    <a:lnTo>
                      <a:pt x="25" y="117"/>
                    </a:lnTo>
                    <a:lnTo>
                      <a:pt x="25" y="116"/>
                    </a:lnTo>
                    <a:lnTo>
                      <a:pt x="24" y="116"/>
                    </a:lnTo>
                    <a:lnTo>
                      <a:pt x="24" y="114"/>
                    </a:lnTo>
                    <a:lnTo>
                      <a:pt x="22" y="114"/>
                    </a:lnTo>
                    <a:lnTo>
                      <a:pt x="22" y="113"/>
                    </a:lnTo>
                    <a:lnTo>
                      <a:pt x="21" y="113"/>
                    </a:lnTo>
                    <a:lnTo>
                      <a:pt x="21" y="111"/>
                    </a:lnTo>
                    <a:lnTo>
                      <a:pt x="19" y="111"/>
                    </a:lnTo>
                    <a:lnTo>
                      <a:pt x="19" y="109"/>
                    </a:lnTo>
                    <a:lnTo>
                      <a:pt x="18" y="109"/>
                    </a:lnTo>
                    <a:lnTo>
                      <a:pt x="18" y="108"/>
                    </a:lnTo>
                    <a:lnTo>
                      <a:pt x="16" y="108"/>
                    </a:lnTo>
                    <a:lnTo>
                      <a:pt x="16" y="106"/>
                    </a:lnTo>
                    <a:lnTo>
                      <a:pt x="14" y="105"/>
                    </a:lnTo>
                    <a:lnTo>
                      <a:pt x="13" y="103"/>
                    </a:lnTo>
                    <a:lnTo>
                      <a:pt x="13" y="101"/>
                    </a:lnTo>
                    <a:lnTo>
                      <a:pt x="11" y="101"/>
                    </a:lnTo>
                    <a:lnTo>
                      <a:pt x="13" y="101"/>
                    </a:lnTo>
                    <a:lnTo>
                      <a:pt x="13" y="100"/>
                    </a:lnTo>
                    <a:lnTo>
                      <a:pt x="11" y="98"/>
                    </a:lnTo>
                    <a:lnTo>
                      <a:pt x="13" y="98"/>
                    </a:lnTo>
                    <a:lnTo>
                      <a:pt x="13" y="97"/>
                    </a:lnTo>
                    <a:lnTo>
                      <a:pt x="11" y="97"/>
                    </a:lnTo>
                    <a:lnTo>
                      <a:pt x="11" y="95"/>
                    </a:lnTo>
                    <a:lnTo>
                      <a:pt x="11" y="93"/>
                    </a:lnTo>
                    <a:lnTo>
                      <a:pt x="11" y="92"/>
                    </a:lnTo>
                    <a:lnTo>
                      <a:pt x="11" y="90"/>
                    </a:lnTo>
                    <a:lnTo>
                      <a:pt x="10" y="89"/>
                    </a:lnTo>
                    <a:lnTo>
                      <a:pt x="10" y="87"/>
                    </a:lnTo>
                    <a:lnTo>
                      <a:pt x="8" y="87"/>
                    </a:lnTo>
                    <a:lnTo>
                      <a:pt x="8" y="86"/>
                    </a:lnTo>
                    <a:lnTo>
                      <a:pt x="8" y="84"/>
                    </a:lnTo>
                    <a:lnTo>
                      <a:pt x="8" y="82"/>
                    </a:lnTo>
                    <a:lnTo>
                      <a:pt x="8" y="81"/>
                    </a:lnTo>
                    <a:lnTo>
                      <a:pt x="8" y="79"/>
                    </a:lnTo>
                    <a:lnTo>
                      <a:pt x="10" y="79"/>
                    </a:lnTo>
                    <a:lnTo>
                      <a:pt x="10" y="78"/>
                    </a:lnTo>
                    <a:lnTo>
                      <a:pt x="10" y="76"/>
                    </a:lnTo>
                    <a:lnTo>
                      <a:pt x="8" y="76"/>
                    </a:lnTo>
                    <a:lnTo>
                      <a:pt x="8" y="74"/>
                    </a:lnTo>
                    <a:lnTo>
                      <a:pt x="8" y="73"/>
                    </a:lnTo>
                    <a:lnTo>
                      <a:pt x="8" y="71"/>
                    </a:lnTo>
                    <a:lnTo>
                      <a:pt x="8" y="70"/>
                    </a:lnTo>
                    <a:lnTo>
                      <a:pt x="10" y="70"/>
                    </a:lnTo>
                    <a:lnTo>
                      <a:pt x="8" y="68"/>
                    </a:lnTo>
                    <a:lnTo>
                      <a:pt x="8" y="67"/>
                    </a:lnTo>
                    <a:lnTo>
                      <a:pt x="8" y="65"/>
                    </a:lnTo>
                    <a:lnTo>
                      <a:pt x="6" y="63"/>
                    </a:lnTo>
                    <a:lnTo>
                      <a:pt x="8" y="63"/>
                    </a:lnTo>
                    <a:lnTo>
                      <a:pt x="8" y="62"/>
                    </a:lnTo>
                    <a:lnTo>
                      <a:pt x="8" y="60"/>
                    </a:lnTo>
                    <a:lnTo>
                      <a:pt x="8" y="59"/>
                    </a:lnTo>
                    <a:lnTo>
                      <a:pt x="8" y="57"/>
                    </a:lnTo>
                    <a:lnTo>
                      <a:pt x="8" y="55"/>
                    </a:lnTo>
                    <a:lnTo>
                      <a:pt x="8" y="54"/>
                    </a:lnTo>
                    <a:lnTo>
                      <a:pt x="8" y="52"/>
                    </a:lnTo>
                    <a:lnTo>
                      <a:pt x="6" y="52"/>
                    </a:lnTo>
                    <a:lnTo>
                      <a:pt x="6" y="51"/>
                    </a:lnTo>
                    <a:lnTo>
                      <a:pt x="5" y="51"/>
                    </a:lnTo>
                    <a:lnTo>
                      <a:pt x="5" y="49"/>
                    </a:lnTo>
                    <a:lnTo>
                      <a:pt x="3" y="49"/>
                    </a:lnTo>
                    <a:lnTo>
                      <a:pt x="3" y="48"/>
                    </a:lnTo>
                    <a:lnTo>
                      <a:pt x="3" y="46"/>
                    </a:lnTo>
                    <a:lnTo>
                      <a:pt x="3" y="44"/>
                    </a:lnTo>
                    <a:lnTo>
                      <a:pt x="5" y="44"/>
                    </a:lnTo>
                    <a:lnTo>
                      <a:pt x="5" y="43"/>
                    </a:lnTo>
                    <a:lnTo>
                      <a:pt x="6" y="41"/>
                    </a:lnTo>
                    <a:lnTo>
                      <a:pt x="6" y="40"/>
                    </a:lnTo>
                    <a:lnTo>
                      <a:pt x="6" y="38"/>
                    </a:lnTo>
                    <a:lnTo>
                      <a:pt x="6" y="36"/>
                    </a:lnTo>
                    <a:lnTo>
                      <a:pt x="8" y="35"/>
                    </a:lnTo>
                    <a:lnTo>
                      <a:pt x="8" y="33"/>
                    </a:lnTo>
                    <a:lnTo>
                      <a:pt x="6" y="32"/>
                    </a:lnTo>
                    <a:lnTo>
                      <a:pt x="6" y="30"/>
                    </a:lnTo>
                    <a:lnTo>
                      <a:pt x="5" y="30"/>
                    </a:lnTo>
                    <a:lnTo>
                      <a:pt x="5" y="29"/>
                    </a:lnTo>
                    <a:lnTo>
                      <a:pt x="3" y="27"/>
                    </a:lnTo>
                    <a:lnTo>
                      <a:pt x="3" y="25"/>
                    </a:lnTo>
                    <a:lnTo>
                      <a:pt x="2" y="24"/>
                    </a:lnTo>
                    <a:lnTo>
                      <a:pt x="0" y="22"/>
                    </a:lnTo>
                    <a:lnTo>
                      <a:pt x="0" y="21"/>
                    </a:lnTo>
                    <a:lnTo>
                      <a:pt x="0" y="17"/>
                    </a:lnTo>
                    <a:lnTo>
                      <a:pt x="2" y="17"/>
                    </a:lnTo>
                    <a:lnTo>
                      <a:pt x="2" y="16"/>
                    </a:lnTo>
                    <a:lnTo>
                      <a:pt x="3" y="13"/>
                    </a:lnTo>
                    <a:lnTo>
                      <a:pt x="3" y="11"/>
                    </a:lnTo>
                    <a:lnTo>
                      <a:pt x="3" y="10"/>
                    </a:lnTo>
                    <a:lnTo>
                      <a:pt x="3" y="8"/>
                    </a:lnTo>
                    <a:lnTo>
                      <a:pt x="5" y="6"/>
                    </a:lnTo>
                    <a:lnTo>
                      <a:pt x="6" y="6"/>
                    </a:lnTo>
                    <a:lnTo>
                      <a:pt x="6" y="5"/>
                    </a:lnTo>
                    <a:lnTo>
                      <a:pt x="8" y="5"/>
                    </a:lnTo>
                    <a:lnTo>
                      <a:pt x="8" y="3"/>
                    </a:lnTo>
                    <a:lnTo>
                      <a:pt x="8" y="2"/>
                    </a:lnTo>
                    <a:lnTo>
                      <a:pt x="10" y="2"/>
                    </a:lnTo>
                    <a:lnTo>
                      <a:pt x="10" y="0"/>
                    </a:lnTo>
                    <a:lnTo>
                      <a:pt x="1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44" name="Freeform 124"/>
              <p:cNvSpPr>
                <a:spLocks/>
              </p:cNvSpPr>
              <p:nvPr/>
            </p:nvSpPr>
            <p:spPr bwMode="auto">
              <a:xfrm>
                <a:off x="2480" y="1020"/>
                <a:ext cx="840" cy="322"/>
              </a:xfrm>
              <a:custGeom>
                <a:avLst/>
                <a:gdLst>
                  <a:gd name="T0" fmla="*/ 5 w 840"/>
                  <a:gd name="T1" fmla="*/ 268 h 322"/>
                  <a:gd name="T2" fmla="*/ 24 w 840"/>
                  <a:gd name="T3" fmla="*/ 257 h 322"/>
                  <a:gd name="T4" fmla="*/ 40 w 840"/>
                  <a:gd name="T5" fmla="*/ 244 h 322"/>
                  <a:gd name="T6" fmla="*/ 65 w 840"/>
                  <a:gd name="T7" fmla="*/ 239 h 322"/>
                  <a:gd name="T8" fmla="*/ 81 w 840"/>
                  <a:gd name="T9" fmla="*/ 258 h 322"/>
                  <a:gd name="T10" fmla="*/ 105 w 840"/>
                  <a:gd name="T11" fmla="*/ 244 h 322"/>
                  <a:gd name="T12" fmla="*/ 126 w 840"/>
                  <a:gd name="T13" fmla="*/ 243 h 322"/>
                  <a:gd name="T14" fmla="*/ 154 w 840"/>
                  <a:gd name="T15" fmla="*/ 238 h 322"/>
                  <a:gd name="T16" fmla="*/ 184 w 840"/>
                  <a:gd name="T17" fmla="*/ 257 h 322"/>
                  <a:gd name="T18" fmla="*/ 206 w 840"/>
                  <a:gd name="T19" fmla="*/ 243 h 322"/>
                  <a:gd name="T20" fmla="*/ 232 w 840"/>
                  <a:gd name="T21" fmla="*/ 238 h 322"/>
                  <a:gd name="T22" fmla="*/ 257 w 840"/>
                  <a:gd name="T23" fmla="*/ 235 h 322"/>
                  <a:gd name="T24" fmla="*/ 278 w 840"/>
                  <a:gd name="T25" fmla="*/ 233 h 322"/>
                  <a:gd name="T26" fmla="*/ 301 w 840"/>
                  <a:gd name="T27" fmla="*/ 238 h 322"/>
                  <a:gd name="T28" fmla="*/ 309 w 840"/>
                  <a:gd name="T29" fmla="*/ 254 h 322"/>
                  <a:gd name="T30" fmla="*/ 327 w 840"/>
                  <a:gd name="T31" fmla="*/ 252 h 322"/>
                  <a:gd name="T32" fmla="*/ 347 w 840"/>
                  <a:gd name="T33" fmla="*/ 252 h 322"/>
                  <a:gd name="T34" fmla="*/ 352 w 840"/>
                  <a:gd name="T35" fmla="*/ 269 h 322"/>
                  <a:gd name="T36" fmla="*/ 373 w 840"/>
                  <a:gd name="T37" fmla="*/ 274 h 322"/>
                  <a:gd name="T38" fmla="*/ 384 w 840"/>
                  <a:gd name="T39" fmla="*/ 255 h 322"/>
                  <a:gd name="T40" fmla="*/ 398 w 840"/>
                  <a:gd name="T41" fmla="*/ 243 h 322"/>
                  <a:gd name="T42" fmla="*/ 419 w 840"/>
                  <a:gd name="T43" fmla="*/ 236 h 322"/>
                  <a:gd name="T44" fmla="*/ 431 w 840"/>
                  <a:gd name="T45" fmla="*/ 254 h 322"/>
                  <a:gd name="T46" fmla="*/ 433 w 840"/>
                  <a:gd name="T47" fmla="*/ 274 h 322"/>
                  <a:gd name="T48" fmla="*/ 433 w 840"/>
                  <a:gd name="T49" fmla="*/ 296 h 322"/>
                  <a:gd name="T50" fmla="*/ 454 w 840"/>
                  <a:gd name="T51" fmla="*/ 306 h 322"/>
                  <a:gd name="T52" fmla="*/ 474 w 840"/>
                  <a:gd name="T53" fmla="*/ 320 h 322"/>
                  <a:gd name="T54" fmla="*/ 480 w 840"/>
                  <a:gd name="T55" fmla="*/ 307 h 322"/>
                  <a:gd name="T56" fmla="*/ 474 w 840"/>
                  <a:gd name="T57" fmla="*/ 292 h 322"/>
                  <a:gd name="T58" fmla="*/ 480 w 840"/>
                  <a:gd name="T59" fmla="*/ 274 h 322"/>
                  <a:gd name="T60" fmla="*/ 499 w 840"/>
                  <a:gd name="T61" fmla="*/ 271 h 322"/>
                  <a:gd name="T62" fmla="*/ 514 w 840"/>
                  <a:gd name="T63" fmla="*/ 258 h 322"/>
                  <a:gd name="T64" fmla="*/ 533 w 840"/>
                  <a:gd name="T65" fmla="*/ 252 h 322"/>
                  <a:gd name="T66" fmla="*/ 558 w 840"/>
                  <a:gd name="T67" fmla="*/ 271 h 322"/>
                  <a:gd name="T68" fmla="*/ 568 w 840"/>
                  <a:gd name="T69" fmla="*/ 288 h 322"/>
                  <a:gd name="T70" fmla="*/ 590 w 840"/>
                  <a:gd name="T71" fmla="*/ 298 h 322"/>
                  <a:gd name="T72" fmla="*/ 614 w 840"/>
                  <a:gd name="T73" fmla="*/ 309 h 322"/>
                  <a:gd name="T74" fmla="*/ 633 w 840"/>
                  <a:gd name="T75" fmla="*/ 309 h 322"/>
                  <a:gd name="T76" fmla="*/ 647 w 840"/>
                  <a:gd name="T77" fmla="*/ 288 h 322"/>
                  <a:gd name="T78" fmla="*/ 663 w 840"/>
                  <a:gd name="T79" fmla="*/ 274 h 322"/>
                  <a:gd name="T80" fmla="*/ 688 w 840"/>
                  <a:gd name="T81" fmla="*/ 279 h 322"/>
                  <a:gd name="T82" fmla="*/ 712 w 840"/>
                  <a:gd name="T83" fmla="*/ 271 h 322"/>
                  <a:gd name="T84" fmla="*/ 723 w 840"/>
                  <a:gd name="T85" fmla="*/ 250 h 322"/>
                  <a:gd name="T86" fmla="*/ 735 w 840"/>
                  <a:gd name="T87" fmla="*/ 233 h 322"/>
                  <a:gd name="T88" fmla="*/ 740 w 840"/>
                  <a:gd name="T89" fmla="*/ 209 h 322"/>
                  <a:gd name="T90" fmla="*/ 747 w 840"/>
                  <a:gd name="T91" fmla="*/ 189 h 322"/>
                  <a:gd name="T92" fmla="*/ 753 w 840"/>
                  <a:gd name="T93" fmla="*/ 165 h 322"/>
                  <a:gd name="T94" fmla="*/ 750 w 840"/>
                  <a:gd name="T95" fmla="*/ 146 h 322"/>
                  <a:gd name="T96" fmla="*/ 745 w 840"/>
                  <a:gd name="T97" fmla="*/ 122 h 322"/>
                  <a:gd name="T98" fmla="*/ 770 w 840"/>
                  <a:gd name="T99" fmla="*/ 105 h 322"/>
                  <a:gd name="T100" fmla="*/ 788 w 840"/>
                  <a:gd name="T101" fmla="*/ 97 h 322"/>
                  <a:gd name="T102" fmla="*/ 805 w 840"/>
                  <a:gd name="T103" fmla="*/ 103 h 322"/>
                  <a:gd name="T104" fmla="*/ 823 w 840"/>
                  <a:gd name="T105" fmla="*/ 92 h 322"/>
                  <a:gd name="T106" fmla="*/ 838 w 840"/>
                  <a:gd name="T107" fmla="*/ 81 h 322"/>
                  <a:gd name="T108" fmla="*/ 829 w 840"/>
                  <a:gd name="T109" fmla="*/ 60 h 322"/>
                  <a:gd name="T110" fmla="*/ 812 w 840"/>
                  <a:gd name="T111" fmla="*/ 49 h 322"/>
                  <a:gd name="T112" fmla="*/ 789 w 840"/>
                  <a:gd name="T113" fmla="*/ 37 h 322"/>
                  <a:gd name="T114" fmla="*/ 794 w 840"/>
                  <a:gd name="T115" fmla="*/ 16 h 322"/>
                  <a:gd name="T116" fmla="*/ 812 w 840"/>
                  <a:gd name="T117" fmla="*/ 0 h 322"/>
                  <a:gd name="T118" fmla="*/ 834 w 840"/>
                  <a:gd name="T119" fmla="*/ 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0" h="322">
                    <a:moveTo>
                      <a:pt x="5" y="290"/>
                    </a:moveTo>
                    <a:lnTo>
                      <a:pt x="5" y="288"/>
                    </a:lnTo>
                    <a:lnTo>
                      <a:pt x="7" y="287"/>
                    </a:lnTo>
                    <a:lnTo>
                      <a:pt x="5" y="285"/>
                    </a:lnTo>
                    <a:lnTo>
                      <a:pt x="4" y="284"/>
                    </a:lnTo>
                    <a:lnTo>
                      <a:pt x="4" y="282"/>
                    </a:lnTo>
                    <a:lnTo>
                      <a:pt x="4" y="281"/>
                    </a:lnTo>
                    <a:lnTo>
                      <a:pt x="2" y="281"/>
                    </a:lnTo>
                    <a:lnTo>
                      <a:pt x="2" y="279"/>
                    </a:lnTo>
                    <a:lnTo>
                      <a:pt x="2" y="277"/>
                    </a:lnTo>
                    <a:lnTo>
                      <a:pt x="0" y="276"/>
                    </a:lnTo>
                    <a:lnTo>
                      <a:pt x="0" y="274"/>
                    </a:lnTo>
                    <a:lnTo>
                      <a:pt x="0" y="273"/>
                    </a:lnTo>
                    <a:lnTo>
                      <a:pt x="0" y="271"/>
                    </a:lnTo>
                    <a:lnTo>
                      <a:pt x="2" y="269"/>
                    </a:lnTo>
                    <a:lnTo>
                      <a:pt x="4" y="269"/>
                    </a:lnTo>
                    <a:lnTo>
                      <a:pt x="5" y="268"/>
                    </a:lnTo>
                    <a:lnTo>
                      <a:pt x="7" y="268"/>
                    </a:lnTo>
                    <a:lnTo>
                      <a:pt x="8" y="268"/>
                    </a:lnTo>
                    <a:lnTo>
                      <a:pt x="8" y="266"/>
                    </a:lnTo>
                    <a:lnTo>
                      <a:pt x="10" y="266"/>
                    </a:lnTo>
                    <a:lnTo>
                      <a:pt x="12" y="266"/>
                    </a:lnTo>
                    <a:lnTo>
                      <a:pt x="12" y="265"/>
                    </a:lnTo>
                    <a:lnTo>
                      <a:pt x="13" y="265"/>
                    </a:lnTo>
                    <a:lnTo>
                      <a:pt x="15" y="265"/>
                    </a:lnTo>
                    <a:lnTo>
                      <a:pt x="15" y="263"/>
                    </a:lnTo>
                    <a:lnTo>
                      <a:pt x="16" y="263"/>
                    </a:lnTo>
                    <a:lnTo>
                      <a:pt x="16" y="262"/>
                    </a:lnTo>
                    <a:lnTo>
                      <a:pt x="18" y="262"/>
                    </a:lnTo>
                    <a:lnTo>
                      <a:pt x="19" y="260"/>
                    </a:lnTo>
                    <a:lnTo>
                      <a:pt x="21" y="258"/>
                    </a:lnTo>
                    <a:lnTo>
                      <a:pt x="23" y="258"/>
                    </a:lnTo>
                    <a:lnTo>
                      <a:pt x="23" y="257"/>
                    </a:lnTo>
                    <a:lnTo>
                      <a:pt x="24" y="257"/>
                    </a:lnTo>
                    <a:lnTo>
                      <a:pt x="24" y="255"/>
                    </a:lnTo>
                    <a:lnTo>
                      <a:pt x="26" y="255"/>
                    </a:lnTo>
                    <a:lnTo>
                      <a:pt x="26" y="254"/>
                    </a:lnTo>
                    <a:lnTo>
                      <a:pt x="27" y="254"/>
                    </a:lnTo>
                    <a:lnTo>
                      <a:pt x="27" y="252"/>
                    </a:lnTo>
                    <a:lnTo>
                      <a:pt x="29" y="252"/>
                    </a:lnTo>
                    <a:lnTo>
                      <a:pt x="31" y="250"/>
                    </a:lnTo>
                    <a:lnTo>
                      <a:pt x="32" y="250"/>
                    </a:lnTo>
                    <a:lnTo>
                      <a:pt x="32" y="249"/>
                    </a:lnTo>
                    <a:lnTo>
                      <a:pt x="34" y="249"/>
                    </a:lnTo>
                    <a:lnTo>
                      <a:pt x="34" y="247"/>
                    </a:lnTo>
                    <a:lnTo>
                      <a:pt x="35" y="247"/>
                    </a:lnTo>
                    <a:lnTo>
                      <a:pt x="35" y="246"/>
                    </a:lnTo>
                    <a:lnTo>
                      <a:pt x="37" y="246"/>
                    </a:lnTo>
                    <a:lnTo>
                      <a:pt x="37" y="244"/>
                    </a:lnTo>
                    <a:lnTo>
                      <a:pt x="39" y="244"/>
                    </a:lnTo>
                    <a:lnTo>
                      <a:pt x="40" y="244"/>
                    </a:lnTo>
                    <a:lnTo>
                      <a:pt x="42" y="243"/>
                    </a:lnTo>
                    <a:lnTo>
                      <a:pt x="43" y="243"/>
                    </a:lnTo>
                    <a:lnTo>
                      <a:pt x="45" y="243"/>
                    </a:lnTo>
                    <a:lnTo>
                      <a:pt x="46" y="243"/>
                    </a:lnTo>
                    <a:lnTo>
                      <a:pt x="46" y="241"/>
                    </a:lnTo>
                    <a:lnTo>
                      <a:pt x="48" y="241"/>
                    </a:lnTo>
                    <a:lnTo>
                      <a:pt x="50" y="241"/>
                    </a:lnTo>
                    <a:lnTo>
                      <a:pt x="51" y="241"/>
                    </a:lnTo>
                    <a:lnTo>
                      <a:pt x="53" y="241"/>
                    </a:lnTo>
                    <a:lnTo>
                      <a:pt x="54" y="241"/>
                    </a:lnTo>
                    <a:lnTo>
                      <a:pt x="56" y="239"/>
                    </a:lnTo>
                    <a:lnTo>
                      <a:pt x="58" y="239"/>
                    </a:lnTo>
                    <a:lnTo>
                      <a:pt x="59" y="239"/>
                    </a:lnTo>
                    <a:lnTo>
                      <a:pt x="61" y="239"/>
                    </a:lnTo>
                    <a:lnTo>
                      <a:pt x="62" y="239"/>
                    </a:lnTo>
                    <a:lnTo>
                      <a:pt x="64" y="239"/>
                    </a:lnTo>
                    <a:lnTo>
                      <a:pt x="65" y="239"/>
                    </a:lnTo>
                    <a:lnTo>
                      <a:pt x="67" y="239"/>
                    </a:lnTo>
                    <a:lnTo>
                      <a:pt x="69" y="241"/>
                    </a:lnTo>
                    <a:lnTo>
                      <a:pt x="70" y="241"/>
                    </a:lnTo>
                    <a:lnTo>
                      <a:pt x="72" y="243"/>
                    </a:lnTo>
                    <a:lnTo>
                      <a:pt x="73" y="243"/>
                    </a:lnTo>
                    <a:lnTo>
                      <a:pt x="75" y="244"/>
                    </a:lnTo>
                    <a:lnTo>
                      <a:pt x="75" y="246"/>
                    </a:lnTo>
                    <a:lnTo>
                      <a:pt x="77" y="246"/>
                    </a:lnTo>
                    <a:lnTo>
                      <a:pt x="77" y="247"/>
                    </a:lnTo>
                    <a:lnTo>
                      <a:pt x="77" y="249"/>
                    </a:lnTo>
                    <a:lnTo>
                      <a:pt x="78" y="250"/>
                    </a:lnTo>
                    <a:lnTo>
                      <a:pt x="77" y="252"/>
                    </a:lnTo>
                    <a:lnTo>
                      <a:pt x="77" y="254"/>
                    </a:lnTo>
                    <a:lnTo>
                      <a:pt x="78" y="255"/>
                    </a:lnTo>
                    <a:lnTo>
                      <a:pt x="80" y="255"/>
                    </a:lnTo>
                    <a:lnTo>
                      <a:pt x="81" y="257"/>
                    </a:lnTo>
                    <a:lnTo>
                      <a:pt x="81" y="258"/>
                    </a:lnTo>
                    <a:lnTo>
                      <a:pt x="83" y="258"/>
                    </a:lnTo>
                    <a:lnTo>
                      <a:pt x="86" y="262"/>
                    </a:lnTo>
                    <a:lnTo>
                      <a:pt x="88" y="262"/>
                    </a:lnTo>
                    <a:lnTo>
                      <a:pt x="89" y="263"/>
                    </a:lnTo>
                    <a:lnTo>
                      <a:pt x="89" y="265"/>
                    </a:lnTo>
                    <a:lnTo>
                      <a:pt x="91" y="265"/>
                    </a:lnTo>
                    <a:lnTo>
                      <a:pt x="92" y="265"/>
                    </a:lnTo>
                    <a:lnTo>
                      <a:pt x="94" y="263"/>
                    </a:lnTo>
                    <a:lnTo>
                      <a:pt x="94" y="262"/>
                    </a:lnTo>
                    <a:lnTo>
                      <a:pt x="97" y="254"/>
                    </a:lnTo>
                    <a:lnTo>
                      <a:pt x="99" y="250"/>
                    </a:lnTo>
                    <a:lnTo>
                      <a:pt x="99" y="249"/>
                    </a:lnTo>
                    <a:lnTo>
                      <a:pt x="99" y="247"/>
                    </a:lnTo>
                    <a:lnTo>
                      <a:pt x="100" y="244"/>
                    </a:lnTo>
                    <a:lnTo>
                      <a:pt x="102" y="243"/>
                    </a:lnTo>
                    <a:lnTo>
                      <a:pt x="103" y="244"/>
                    </a:lnTo>
                    <a:lnTo>
                      <a:pt x="105" y="244"/>
                    </a:lnTo>
                    <a:lnTo>
                      <a:pt x="107" y="246"/>
                    </a:lnTo>
                    <a:lnTo>
                      <a:pt x="108" y="246"/>
                    </a:lnTo>
                    <a:lnTo>
                      <a:pt x="108" y="247"/>
                    </a:lnTo>
                    <a:lnTo>
                      <a:pt x="110" y="247"/>
                    </a:lnTo>
                    <a:lnTo>
                      <a:pt x="111" y="246"/>
                    </a:lnTo>
                    <a:lnTo>
                      <a:pt x="111" y="244"/>
                    </a:lnTo>
                    <a:lnTo>
                      <a:pt x="113" y="243"/>
                    </a:lnTo>
                    <a:lnTo>
                      <a:pt x="113" y="241"/>
                    </a:lnTo>
                    <a:lnTo>
                      <a:pt x="113" y="239"/>
                    </a:lnTo>
                    <a:lnTo>
                      <a:pt x="115" y="238"/>
                    </a:lnTo>
                    <a:lnTo>
                      <a:pt x="116" y="239"/>
                    </a:lnTo>
                    <a:lnTo>
                      <a:pt x="118" y="239"/>
                    </a:lnTo>
                    <a:lnTo>
                      <a:pt x="119" y="241"/>
                    </a:lnTo>
                    <a:lnTo>
                      <a:pt x="121" y="241"/>
                    </a:lnTo>
                    <a:lnTo>
                      <a:pt x="121" y="243"/>
                    </a:lnTo>
                    <a:lnTo>
                      <a:pt x="122" y="243"/>
                    </a:lnTo>
                    <a:lnTo>
                      <a:pt x="126" y="243"/>
                    </a:lnTo>
                    <a:lnTo>
                      <a:pt x="127" y="244"/>
                    </a:lnTo>
                    <a:lnTo>
                      <a:pt x="129" y="244"/>
                    </a:lnTo>
                    <a:lnTo>
                      <a:pt x="130" y="244"/>
                    </a:lnTo>
                    <a:lnTo>
                      <a:pt x="132" y="244"/>
                    </a:lnTo>
                    <a:lnTo>
                      <a:pt x="135" y="243"/>
                    </a:lnTo>
                    <a:lnTo>
                      <a:pt x="138" y="239"/>
                    </a:lnTo>
                    <a:lnTo>
                      <a:pt x="140" y="238"/>
                    </a:lnTo>
                    <a:lnTo>
                      <a:pt x="141" y="236"/>
                    </a:lnTo>
                    <a:lnTo>
                      <a:pt x="141" y="235"/>
                    </a:lnTo>
                    <a:lnTo>
                      <a:pt x="143" y="235"/>
                    </a:lnTo>
                    <a:lnTo>
                      <a:pt x="145" y="233"/>
                    </a:lnTo>
                    <a:lnTo>
                      <a:pt x="146" y="233"/>
                    </a:lnTo>
                    <a:lnTo>
                      <a:pt x="148" y="233"/>
                    </a:lnTo>
                    <a:lnTo>
                      <a:pt x="149" y="235"/>
                    </a:lnTo>
                    <a:lnTo>
                      <a:pt x="151" y="236"/>
                    </a:lnTo>
                    <a:lnTo>
                      <a:pt x="153" y="238"/>
                    </a:lnTo>
                    <a:lnTo>
                      <a:pt x="154" y="238"/>
                    </a:lnTo>
                    <a:lnTo>
                      <a:pt x="157" y="239"/>
                    </a:lnTo>
                    <a:lnTo>
                      <a:pt x="159" y="243"/>
                    </a:lnTo>
                    <a:lnTo>
                      <a:pt x="159" y="244"/>
                    </a:lnTo>
                    <a:lnTo>
                      <a:pt x="160" y="243"/>
                    </a:lnTo>
                    <a:lnTo>
                      <a:pt x="162" y="243"/>
                    </a:lnTo>
                    <a:lnTo>
                      <a:pt x="164" y="243"/>
                    </a:lnTo>
                    <a:lnTo>
                      <a:pt x="165" y="244"/>
                    </a:lnTo>
                    <a:lnTo>
                      <a:pt x="165" y="246"/>
                    </a:lnTo>
                    <a:lnTo>
                      <a:pt x="167" y="247"/>
                    </a:lnTo>
                    <a:lnTo>
                      <a:pt x="168" y="249"/>
                    </a:lnTo>
                    <a:lnTo>
                      <a:pt x="170" y="250"/>
                    </a:lnTo>
                    <a:lnTo>
                      <a:pt x="172" y="250"/>
                    </a:lnTo>
                    <a:lnTo>
                      <a:pt x="178" y="260"/>
                    </a:lnTo>
                    <a:lnTo>
                      <a:pt x="179" y="258"/>
                    </a:lnTo>
                    <a:lnTo>
                      <a:pt x="181" y="258"/>
                    </a:lnTo>
                    <a:lnTo>
                      <a:pt x="183" y="257"/>
                    </a:lnTo>
                    <a:lnTo>
                      <a:pt x="184" y="257"/>
                    </a:lnTo>
                    <a:lnTo>
                      <a:pt x="186" y="255"/>
                    </a:lnTo>
                    <a:lnTo>
                      <a:pt x="187" y="255"/>
                    </a:lnTo>
                    <a:lnTo>
                      <a:pt x="187" y="254"/>
                    </a:lnTo>
                    <a:lnTo>
                      <a:pt x="189" y="254"/>
                    </a:lnTo>
                    <a:lnTo>
                      <a:pt x="191" y="252"/>
                    </a:lnTo>
                    <a:lnTo>
                      <a:pt x="192" y="252"/>
                    </a:lnTo>
                    <a:lnTo>
                      <a:pt x="194" y="252"/>
                    </a:lnTo>
                    <a:lnTo>
                      <a:pt x="195" y="250"/>
                    </a:lnTo>
                    <a:lnTo>
                      <a:pt x="195" y="249"/>
                    </a:lnTo>
                    <a:lnTo>
                      <a:pt x="197" y="249"/>
                    </a:lnTo>
                    <a:lnTo>
                      <a:pt x="198" y="247"/>
                    </a:lnTo>
                    <a:lnTo>
                      <a:pt x="200" y="246"/>
                    </a:lnTo>
                    <a:lnTo>
                      <a:pt x="202" y="246"/>
                    </a:lnTo>
                    <a:lnTo>
                      <a:pt x="203" y="246"/>
                    </a:lnTo>
                    <a:lnTo>
                      <a:pt x="205" y="246"/>
                    </a:lnTo>
                    <a:lnTo>
                      <a:pt x="205" y="244"/>
                    </a:lnTo>
                    <a:lnTo>
                      <a:pt x="206" y="243"/>
                    </a:lnTo>
                    <a:lnTo>
                      <a:pt x="206" y="241"/>
                    </a:lnTo>
                    <a:lnTo>
                      <a:pt x="208" y="241"/>
                    </a:lnTo>
                    <a:lnTo>
                      <a:pt x="210" y="241"/>
                    </a:lnTo>
                    <a:lnTo>
                      <a:pt x="210" y="239"/>
                    </a:lnTo>
                    <a:lnTo>
                      <a:pt x="211" y="239"/>
                    </a:lnTo>
                    <a:lnTo>
                      <a:pt x="213" y="241"/>
                    </a:lnTo>
                    <a:lnTo>
                      <a:pt x="214" y="239"/>
                    </a:lnTo>
                    <a:lnTo>
                      <a:pt x="216" y="239"/>
                    </a:lnTo>
                    <a:lnTo>
                      <a:pt x="218" y="239"/>
                    </a:lnTo>
                    <a:lnTo>
                      <a:pt x="219" y="239"/>
                    </a:lnTo>
                    <a:lnTo>
                      <a:pt x="222" y="239"/>
                    </a:lnTo>
                    <a:lnTo>
                      <a:pt x="224" y="238"/>
                    </a:lnTo>
                    <a:lnTo>
                      <a:pt x="225" y="238"/>
                    </a:lnTo>
                    <a:lnTo>
                      <a:pt x="227" y="238"/>
                    </a:lnTo>
                    <a:lnTo>
                      <a:pt x="229" y="238"/>
                    </a:lnTo>
                    <a:lnTo>
                      <a:pt x="230" y="238"/>
                    </a:lnTo>
                    <a:lnTo>
                      <a:pt x="232" y="238"/>
                    </a:lnTo>
                    <a:lnTo>
                      <a:pt x="233" y="238"/>
                    </a:lnTo>
                    <a:lnTo>
                      <a:pt x="235" y="238"/>
                    </a:lnTo>
                    <a:lnTo>
                      <a:pt x="237" y="238"/>
                    </a:lnTo>
                    <a:lnTo>
                      <a:pt x="237" y="236"/>
                    </a:lnTo>
                    <a:lnTo>
                      <a:pt x="238" y="236"/>
                    </a:lnTo>
                    <a:lnTo>
                      <a:pt x="240" y="236"/>
                    </a:lnTo>
                    <a:lnTo>
                      <a:pt x="241" y="235"/>
                    </a:lnTo>
                    <a:lnTo>
                      <a:pt x="243" y="235"/>
                    </a:lnTo>
                    <a:lnTo>
                      <a:pt x="244" y="235"/>
                    </a:lnTo>
                    <a:lnTo>
                      <a:pt x="246" y="235"/>
                    </a:lnTo>
                    <a:lnTo>
                      <a:pt x="248" y="235"/>
                    </a:lnTo>
                    <a:lnTo>
                      <a:pt x="249" y="235"/>
                    </a:lnTo>
                    <a:lnTo>
                      <a:pt x="251" y="235"/>
                    </a:lnTo>
                    <a:lnTo>
                      <a:pt x="252" y="235"/>
                    </a:lnTo>
                    <a:lnTo>
                      <a:pt x="254" y="235"/>
                    </a:lnTo>
                    <a:lnTo>
                      <a:pt x="256" y="236"/>
                    </a:lnTo>
                    <a:lnTo>
                      <a:pt x="257" y="235"/>
                    </a:lnTo>
                    <a:lnTo>
                      <a:pt x="257" y="236"/>
                    </a:lnTo>
                    <a:lnTo>
                      <a:pt x="259" y="236"/>
                    </a:lnTo>
                    <a:lnTo>
                      <a:pt x="260" y="236"/>
                    </a:lnTo>
                    <a:lnTo>
                      <a:pt x="262" y="236"/>
                    </a:lnTo>
                    <a:lnTo>
                      <a:pt x="263" y="238"/>
                    </a:lnTo>
                    <a:lnTo>
                      <a:pt x="265" y="239"/>
                    </a:lnTo>
                    <a:lnTo>
                      <a:pt x="267" y="239"/>
                    </a:lnTo>
                    <a:lnTo>
                      <a:pt x="268" y="239"/>
                    </a:lnTo>
                    <a:lnTo>
                      <a:pt x="270" y="239"/>
                    </a:lnTo>
                    <a:lnTo>
                      <a:pt x="270" y="238"/>
                    </a:lnTo>
                    <a:lnTo>
                      <a:pt x="271" y="238"/>
                    </a:lnTo>
                    <a:lnTo>
                      <a:pt x="273" y="238"/>
                    </a:lnTo>
                    <a:lnTo>
                      <a:pt x="275" y="236"/>
                    </a:lnTo>
                    <a:lnTo>
                      <a:pt x="276" y="236"/>
                    </a:lnTo>
                    <a:lnTo>
                      <a:pt x="276" y="235"/>
                    </a:lnTo>
                    <a:lnTo>
                      <a:pt x="278" y="235"/>
                    </a:lnTo>
                    <a:lnTo>
                      <a:pt x="278" y="233"/>
                    </a:lnTo>
                    <a:lnTo>
                      <a:pt x="279" y="233"/>
                    </a:lnTo>
                    <a:lnTo>
                      <a:pt x="281" y="233"/>
                    </a:lnTo>
                    <a:lnTo>
                      <a:pt x="282" y="233"/>
                    </a:lnTo>
                    <a:lnTo>
                      <a:pt x="284" y="235"/>
                    </a:lnTo>
                    <a:lnTo>
                      <a:pt x="286" y="235"/>
                    </a:lnTo>
                    <a:lnTo>
                      <a:pt x="287" y="235"/>
                    </a:lnTo>
                    <a:lnTo>
                      <a:pt x="289" y="235"/>
                    </a:lnTo>
                    <a:lnTo>
                      <a:pt x="290" y="235"/>
                    </a:lnTo>
                    <a:lnTo>
                      <a:pt x="290" y="236"/>
                    </a:lnTo>
                    <a:lnTo>
                      <a:pt x="292" y="236"/>
                    </a:lnTo>
                    <a:lnTo>
                      <a:pt x="294" y="236"/>
                    </a:lnTo>
                    <a:lnTo>
                      <a:pt x="295" y="236"/>
                    </a:lnTo>
                    <a:lnTo>
                      <a:pt x="297" y="236"/>
                    </a:lnTo>
                    <a:lnTo>
                      <a:pt x="297" y="238"/>
                    </a:lnTo>
                    <a:lnTo>
                      <a:pt x="298" y="238"/>
                    </a:lnTo>
                    <a:lnTo>
                      <a:pt x="300" y="238"/>
                    </a:lnTo>
                    <a:lnTo>
                      <a:pt x="301" y="238"/>
                    </a:lnTo>
                    <a:lnTo>
                      <a:pt x="301" y="239"/>
                    </a:lnTo>
                    <a:lnTo>
                      <a:pt x="303" y="239"/>
                    </a:lnTo>
                    <a:lnTo>
                      <a:pt x="305" y="239"/>
                    </a:lnTo>
                    <a:lnTo>
                      <a:pt x="305" y="241"/>
                    </a:lnTo>
                    <a:lnTo>
                      <a:pt x="306" y="241"/>
                    </a:lnTo>
                    <a:lnTo>
                      <a:pt x="306" y="243"/>
                    </a:lnTo>
                    <a:lnTo>
                      <a:pt x="308" y="243"/>
                    </a:lnTo>
                    <a:lnTo>
                      <a:pt x="309" y="243"/>
                    </a:lnTo>
                    <a:lnTo>
                      <a:pt x="311" y="243"/>
                    </a:lnTo>
                    <a:lnTo>
                      <a:pt x="313" y="243"/>
                    </a:lnTo>
                    <a:lnTo>
                      <a:pt x="313" y="244"/>
                    </a:lnTo>
                    <a:lnTo>
                      <a:pt x="311" y="246"/>
                    </a:lnTo>
                    <a:lnTo>
                      <a:pt x="311" y="247"/>
                    </a:lnTo>
                    <a:lnTo>
                      <a:pt x="309" y="249"/>
                    </a:lnTo>
                    <a:lnTo>
                      <a:pt x="309" y="250"/>
                    </a:lnTo>
                    <a:lnTo>
                      <a:pt x="309" y="252"/>
                    </a:lnTo>
                    <a:lnTo>
                      <a:pt x="309" y="254"/>
                    </a:lnTo>
                    <a:lnTo>
                      <a:pt x="309" y="255"/>
                    </a:lnTo>
                    <a:lnTo>
                      <a:pt x="309" y="257"/>
                    </a:lnTo>
                    <a:lnTo>
                      <a:pt x="309" y="258"/>
                    </a:lnTo>
                    <a:lnTo>
                      <a:pt x="309" y="260"/>
                    </a:lnTo>
                    <a:lnTo>
                      <a:pt x="311" y="260"/>
                    </a:lnTo>
                    <a:lnTo>
                      <a:pt x="313" y="260"/>
                    </a:lnTo>
                    <a:lnTo>
                      <a:pt x="314" y="260"/>
                    </a:lnTo>
                    <a:lnTo>
                      <a:pt x="316" y="262"/>
                    </a:lnTo>
                    <a:lnTo>
                      <a:pt x="317" y="260"/>
                    </a:lnTo>
                    <a:lnTo>
                      <a:pt x="319" y="258"/>
                    </a:lnTo>
                    <a:lnTo>
                      <a:pt x="320" y="257"/>
                    </a:lnTo>
                    <a:lnTo>
                      <a:pt x="320" y="255"/>
                    </a:lnTo>
                    <a:lnTo>
                      <a:pt x="322" y="255"/>
                    </a:lnTo>
                    <a:lnTo>
                      <a:pt x="322" y="254"/>
                    </a:lnTo>
                    <a:lnTo>
                      <a:pt x="324" y="254"/>
                    </a:lnTo>
                    <a:lnTo>
                      <a:pt x="325" y="252"/>
                    </a:lnTo>
                    <a:lnTo>
                      <a:pt x="327" y="252"/>
                    </a:lnTo>
                    <a:lnTo>
                      <a:pt x="327" y="250"/>
                    </a:lnTo>
                    <a:lnTo>
                      <a:pt x="328" y="250"/>
                    </a:lnTo>
                    <a:lnTo>
                      <a:pt x="328" y="249"/>
                    </a:lnTo>
                    <a:lnTo>
                      <a:pt x="330" y="249"/>
                    </a:lnTo>
                    <a:lnTo>
                      <a:pt x="332" y="249"/>
                    </a:lnTo>
                    <a:lnTo>
                      <a:pt x="333" y="249"/>
                    </a:lnTo>
                    <a:lnTo>
                      <a:pt x="335" y="249"/>
                    </a:lnTo>
                    <a:lnTo>
                      <a:pt x="335" y="247"/>
                    </a:lnTo>
                    <a:lnTo>
                      <a:pt x="336" y="247"/>
                    </a:lnTo>
                    <a:lnTo>
                      <a:pt x="338" y="247"/>
                    </a:lnTo>
                    <a:lnTo>
                      <a:pt x="339" y="249"/>
                    </a:lnTo>
                    <a:lnTo>
                      <a:pt x="341" y="249"/>
                    </a:lnTo>
                    <a:lnTo>
                      <a:pt x="343" y="249"/>
                    </a:lnTo>
                    <a:lnTo>
                      <a:pt x="344" y="250"/>
                    </a:lnTo>
                    <a:lnTo>
                      <a:pt x="346" y="250"/>
                    </a:lnTo>
                    <a:lnTo>
                      <a:pt x="347" y="250"/>
                    </a:lnTo>
                    <a:lnTo>
                      <a:pt x="347" y="252"/>
                    </a:lnTo>
                    <a:lnTo>
                      <a:pt x="349" y="252"/>
                    </a:lnTo>
                    <a:lnTo>
                      <a:pt x="351" y="252"/>
                    </a:lnTo>
                    <a:lnTo>
                      <a:pt x="351" y="254"/>
                    </a:lnTo>
                    <a:lnTo>
                      <a:pt x="351" y="255"/>
                    </a:lnTo>
                    <a:lnTo>
                      <a:pt x="351" y="257"/>
                    </a:lnTo>
                    <a:lnTo>
                      <a:pt x="349" y="257"/>
                    </a:lnTo>
                    <a:lnTo>
                      <a:pt x="349" y="258"/>
                    </a:lnTo>
                    <a:lnTo>
                      <a:pt x="349" y="260"/>
                    </a:lnTo>
                    <a:lnTo>
                      <a:pt x="351" y="260"/>
                    </a:lnTo>
                    <a:lnTo>
                      <a:pt x="351" y="262"/>
                    </a:lnTo>
                    <a:lnTo>
                      <a:pt x="351" y="263"/>
                    </a:lnTo>
                    <a:lnTo>
                      <a:pt x="351" y="265"/>
                    </a:lnTo>
                    <a:lnTo>
                      <a:pt x="352" y="265"/>
                    </a:lnTo>
                    <a:lnTo>
                      <a:pt x="352" y="266"/>
                    </a:lnTo>
                    <a:lnTo>
                      <a:pt x="352" y="268"/>
                    </a:lnTo>
                    <a:lnTo>
                      <a:pt x="351" y="268"/>
                    </a:lnTo>
                    <a:lnTo>
                      <a:pt x="352" y="269"/>
                    </a:lnTo>
                    <a:lnTo>
                      <a:pt x="354" y="271"/>
                    </a:lnTo>
                    <a:lnTo>
                      <a:pt x="355" y="271"/>
                    </a:lnTo>
                    <a:lnTo>
                      <a:pt x="355" y="273"/>
                    </a:lnTo>
                    <a:lnTo>
                      <a:pt x="357" y="273"/>
                    </a:lnTo>
                    <a:lnTo>
                      <a:pt x="358" y="273"/>
                    </a:lnTo>
                    <a:lnTo>
                      <a:pt x="360" y="274"/>
                    </a:lnTo>
                    <a:lnTo>
                      <a:pt x="362" y="274"/>
                    </a:lnTo>
                    <a:lnTo>
                      <a:pt x="363" y="274"/>
                    </a:lnTo>
                    <a:lnTo>
                      <a:pt x="365" y="274"/>
                    </a:lnTo>
                    <a:lnTo>
                      <a:pt x="365" y="276"/>
                    </a:lnTo>
                    <a:lnTo>
                      <a:pt x="366" y="276"/>
                    </a:lnTo>
                    <a:lnTo>
                      <a:pt x="368" y="276"/>
                    </a:lnTo>
                    <a:lnTo>
                      <a:pt x="368" y="277"/>
                    </a:lnTo>
                    <a:lnTo>
                      <a:pt x="370" y="277"/>
                    </a:lnTo>
                    <a:lnTo>
                      <a:pt x="371" y="276"/>
                    </a:lnTo>
                    <a:lnTo>
                      <a:pt x="371" y="274"/>
                    </a:lnTo>
                    <a:lnTo>
                      <a:pt x="373" y="274"/>
                    </a:lnTo>
                    <a:lnTo>
                      <a:pt x="373" y="273"/>
                    </a:lnTo>
                    <a:lnTo>
                      <a:pt x="373" y="271"/>
                    </a:lnTo>
                    <a:lnTo>
                      <a:pt x="373" y="269"/>
                    </a:lnTo>
                    <a:lnTo>
                      <a:pt x="374" y="269"/>
                    </a:lnTo>
                    <a:lnTo>
                      <a:pt x="374" y="268"/>
                    </a:lnTo>
                    <a:lnTo>
                      <a:pt x="374" y="266"/>
                    </a:lnTo>
                    <a:lnTo>
                      <a:pt x="374" y="265"/>
                    </a:lnTo>
                    <a:lnTo>
                      <a:pt x="374" y="263"/>
                    </a:lnTo>
                    <a:lnTo>
                      <a:pt x="376" y="263"/>
                    </a:lnTo>
                    <a:lnTo>
                      <a:pt x="376" y="262"/>
                    </a:lnTo>
                    <a:lnTo>
                      <a:pt x="377" y="260"/>
                    </a:lnTo>
                    <a:lnTo>
                      <a:pt x="377" y="258"/>
                    </a:lnTo>
                    <a:lnTo>
                      <a:pt x="379" y="258"/>
                    </a:lnTo>
                    <a:lnTo>
                      <a:pt x="379" y="257"/>
                    </a:lnTo>
                    <a:lnTo>
                      <a:pt x="381" y="255"/>
                    </a:lnTo>
                    <a:lnTo>
                      <a:pt x="382" y="255"/>
                    </a:lnTo>
                    <a:lnTo>
                      <a:pt x="384" y="255"/>
                    </a:lnTo>
                    <a:lnTo>
                      <a:pt x="385" y="255"/>
                    </a:lnTo>
                    <a:lnTo>
                      <a:pt x="387" y="255"/>
                    </a:lnTo>
                    <a:lnTo>
                      <a:pt x="387" y="254"/>
                    </a:lnTo>
                    <a:lnTo>
                      <a:pt x="389" y="254"/>
                    </a:lnTo>
                    <a:lnTo>
                      <a:pt x="390" y="254"/>
                    </a:lnTo>
                    <a:lnTo>
                      <a:pt x="390" y="252"/>
                    </a:lnTo>
                    <a:lnTo>
                      <a:pt x="392" y="252"/>
                    </a:lnTo>
                    <a:lnTo>
                      <a:pt x="392" y="250"/>
                    </a:lnTo>
                    <a:lnTo>
                      <a:pt x="393" y="250"/>
                    </a:lnTo>
                    <a:lnTo>
                      <a:pt x="393" y="249"/>
                    </a:lnTo>
                    <a:lnTo>
                      <a:pt x="395" y="249"/>
                    </a:lnTo>
                    <a:lnTo>
                      <a:pt x="395" y="247"/>
                    </a:lnTo>
                    <a:lnTo>
                      <a:pt x="395" y="246"/>
                    </a:lnTo>
                    <a:lnTo>
                      <a:pt x="396" y="246"/>
                    </a:lnTo>
                    <a:lnTo>
                      <a:pt x="396" y="244"/>
                    </a:lnTo>
                    <a:lnTo>
                      <a:pt x="398" y="244"/>
                    </a:lnTo>
                    <a:lnTo>
                      <a:pt x="398" y="243"/>
                    </a:lnTo>
                    <a:lnTo>
                      <a:pt x="400" y="243"/>
                    </a:lnTo>
                    <a:lnTo>
                      <a:pt x="401" y="243"/>
                    </a:lnTo>
                    <a:lnTo>
                      <a:pt x="403" y="243"/>
                    </a:lnTo>
                    <a:lnTo>
                      <a:pt x="404" y="243"/>
                    </a:lnTo>
                    <a:lnTo>
                      <a:pt x="406" y="243"/>
                    </a:lnTo>
                    <a:lnTo>
                      <a:pt x="408" y="243"/>
                    </a:lnTo>
                    <a:lnTo>
                      <a:pt x="409" y="241"/>
                    </a:lnTo>
                    <a:lnTo>
                      <a:pt x="411" y="241"/>
                    </a:lnTo>
                    <a:lnTo>
                      <a:pt x="411" y="239"/>
                    </a:lnTo>
                    <a:lnTo>
                      <a:pt x="412" y="239"/>
                    </a:lnTo>
                    <a:lnTo>
                      <a:pt x="412" y="238"/>
                    </a:lnTo>
                    <a:lnTo>
                      <a:pt x="414" y="238"/>
                    </a:lnTo>
                    <a:lnTo>
                      <a:pt x="414" y="236"/>
                    </a:lnTo>
                    <a:lnTo>
                      <a:pt x="416" y="236"/>
                    </a:lnTo>
                    <a:lnTo>
                      <a:pt x="417" y="236"/>
                    </a:lnTo>
                    <a:lnTo>
                      <a:pt x="419" y="235"/>
                    </a:lnTo>
                    <a:lnTo>
                      <a:pt x="419" y="236"/>
                    </a:lnTo>
                    <a:lnTo>
                      <a:pt x="420" y="236"/>
                    </a:lnTo>
                    <a:lnTo>
                      <a:pt x="422" y="235"/>
                    </a:lnTo>
                    <a:lnTo>
                      <a:pt x="422" y="236"/>
                    </a:lnTo>
                    <a:lnTo>
                      <a:pt x="423" y="236"/>
                    </a:lnTo>
                    <a:lnTo>
                      <a:pt x="425" y="236"/>
                    </a:lnTo>
                    <a:lnTo>
                      <a:pt x="427" y="236"/>
                    </a:lnTo>
                    <a:lnTo>
                      <a:pt x="428" y="238"/>
                    </a:lnTo>
                    <a:lnTo>
                      <a:pt x="430" y="239"/>
                    </a:lnTo>
                    <a:lnTo>
                      <a:pt x="430" y="241"/>
                    </a:lnTo>
                    <a:lnTo>
                      <a:pt x="430" y="243"/>
                    </a:lnTo>
                    <a:lnTo>
                      <a:pt x="430" y="244"/>
                    </a:lnTo>
                    <a:lnTo>
                      <a:pt x="430" y="246"/>
                    </a:lnTo>
                    <a:lnTo>
                      <a:pt x="430" y="247"/>
                    </a:lnTo>
                    <a:lnTo>
                      <a:pt x="430" y="249"/>
                    </a:lnTo>
                    <a:lnTo>
                      <a:pt x="431" y="250"/>
                    </a:lnTo>
                    <a:lnTo>
                      <a:pt x="431" y="252"/>
                    </a:lnTo>
                    <a:lnTo>
                      <a:pt x="431" y="254"/>
                    </a:lnTo>
                    <a:lnTo>
                      <a:pt x="431" y="255"/>
                    </a:lnTo>
                    <a:lnTo>
                      <a:pt x="433" y="255"/>
                    </a:lnTo>
                    <a:lnTo>
                      <a:pt x="433" y="257"/>
                    </a:lnTo>
                    <a:lnTo>
                      <a:pt x="433" y="258"/>
                    </a:lnTo>
                    <a:lnTo>
                      <a:pt x="433" y="260"/>
                    </a:lnTo>
                    <a:lnTo>
                      <a:pt x="435" y="260"/>
                    </a:lnTo>
                    <a:lnTo>
                      <a:pt x="435" y="262"/>
                    </a:lnTo>
                    <a:lnTo>
                      <a:pt x="435" y="263"/>
                    </a:lnTo>
                    <a:lnTo>
                      <a:pt x="435" y="265"/>
                    </a:lnTo>
                    <a:lnTo>
                      <a:pt x="433" y="266"/>
                    </a:lnTo>
                    <a:lnTo>
                      <a:pt x="435" y="266"/>
                    </a:lnTo>
                    <a:lnTo>
                      <a:pt x="435" y="268"/>
                    </a:lnTo>
                    <a:lnTo>
                      <a:pt x="435" y="269"/>
                    </a:lnTo>
                    <a:lnTo>
                      <a:pt x="435" y="271"/>
                    </a:lnTo>
                    <a:lnTo>
                      <a:pt x="435" y="273"/>
                    </a:lnTo>
                    <a:lnTo>
                      <a:pt x="433" y="273"/>
                    </a:lnTo>
                    <a:lnTo>
                      <a:pt x="433" y="274"/>
                    </a:lnTo>
                    <a:lnTo>
                      <a:pt x="433" y="276"/>
                    </a:lnTo>
                    <a:lnTo>
                      <a:pt x="431" y="277"/>
                    </a:lnTo>
                    <a:lnTo>
                      <a:pt x="431" y="279"/>
                    </a:lnTo>
                    <a:lnTo>
                      <a:pt x="431" y="281"/>
                    </a:lnTo>
                    <a:lnTo>
                      <a:pt x="431" y="282"/>
                    </a:lnTo>
                    <a:lnTo>
                      <a:pt x="431" y="284"/>
                    </a:lnTo>
                    <a:lnTo>
                      <a:pt x="430" y="284"/>
                    </a:lnTo>
                    <a:lnTo>
                      <a:pt x="430" y="285"/>
                    </a:lnTo>
                    <a:lnTo>
                      <a:pt x="430" y="287"/>
                    </a:lnTo>
                    <a:lnTo>
                      <a:pt x="428" y="288"/>
                    </a:lnTo>
                    <a:lnTo>
                      <a:pt x="430" y="290"/>
                    </a:lnTo>
                    <a:lnTo>
                      <a:pt x="430" y="292"/>
                    </a:lnTo>
                    <a:lnTo>
                      <a:pt x="430" y="293"/>
                    </a:lnTo>
                    <a:lnTo>
                      <a:pt x="431" y="293"/>
                    </a:lnTo>
                    <a:lnTo>
                      <a:pt x="431" y="295"/>
                    </a:lnTo>
                    <a:lnTo>
                      <a:pt x="433" y="295"/>
                    </a:lnTo>
                    <a:lnTo>
                      <a:pt x="433" y="296"/>
                    </a:lnTo>
                    <a:lnTo>
                      <a:pt x="435" y="296"/>
                    </a:lnTo>
                    <a:lnTo>
                      <a:pt x="435" y="298"/>
                    </a:lnTo>
                    <a:lnTo>
                      <a:pt x="436" y="298"/>
                    </a:lnTo>
                    <a:lnTo>
                      <a:pt x="438" y="298"/>
                    </a:lnTo>
                    <a:lnTo>
                      <a:pt x="439" y="298"/>
                    </a:lnTo>
                    <a:lnTo>
                      <a:pt x="441" y="300"/>
                    </a:lnTo>
                    <a:lnTo>
                      <a:pt x="442" y="300"/>
                    </a:lnTo>
                    <a:lnTo>
                      <a:pt x="444" y="300"/>
                    </a:lnTo>
                    <a:lnTo>
                      <a:pt x="446" y="300"/>
                    </a:lnTo>
                    <a:lnTo>
                      <a:pt x="446" y="301"/>
                    </a:lnTo>
                    <a:lnTo>
                      <a:pt x="447" y="301"/>
                    </a:lnTo>
                    <a:lnTo>
                      <a:pt x="447" y="303"/>
                    </a:lnTo>
                    <a:lnTo>
                      <a:pt x="449" y="303"/>
                    </a:lnTo>
                    <a:lnTo>
                      <a:pt x="450" y="304"/>
                    </a:lnTo>
                    <a:lnTo>
                      <a:pt x="452" y="304"/>
                    </a:lnTo>
                    <a:lnTo>
                      <a:pt x="452" y="306"/>
                    </a:lnTo>
                    <a:lnTo>
                      <a:pt x="454" y="306"/>
                    </a:lnTo>
                    <a:lnTo>
                      <a:pt x="454" y="307"/>
                    </a:lnTo>
                    <a:lnTo>
                      <a:pt x="455" y="307"/>
                    </a:lnTo>
                    <a:lnTo>
                      <a:pt x="457" y="309"/>
                    </a:lnTo>
                    <a:lnTo>
                      <a:pt x="458" y="309"/>
                    </a:lnTo>
                    <a:lnTo>
                      <a:pt x="458" y="311"/>
                    </a:lnTo>
                    <a:lnTo>
                      <a:pt x="460" y="311"/>
                    </a:lnTo>
                    <a:lnTo>
                      <a:pt x="461" y="312"/>
                    </a:lnTo>
                    <a:lnTo>
                      <a:pt x="463" y="312"/>
                    </a:lnTo>
                    <a:lnTo>
                      <a:pt x="465" y="312"/>
                    </a:lnTo>
                    <a:lnTo>
                      <a:pt x="465" y="314"/>
                    </a:lnTo>
                    <a:lnTo>
                      <a:pt x="466" y="315"/>
                    </a:lnTo>
                    <a:lnTo>
                      <a:pt x="468" y="317"/>
                    </a:lnTo>
                    <a:lnTo>
                      <a:pt x="469" y="317"/>
                    </a:lnTo>
                    <a:lnTo>
                      <a:pt x="469" y="319"/>
                    </a:lnTo>
                    <a:lnTo>
                      <a:pt x="471" y="319"/>
                    </a:lnTo>
                    <a:lnTo>
                      <a:pt x="473" y="319"/>
                    </a:lnTo>
                    <a:lnTo>
                      <a:pt x="474" y="320"/>
                    </a:lnTo>
                    <a:lnTo>
                      <a:pt x="476" y="320"/>
                    </a:lnTo>
                    <a:lnTo>
                      <a:pt x="477" y="320"/>
                    </a:lnTo>
                    <a:lnTo>
                      <a:pt x="479" y="320"/>
                    </a:lnTo>
                    <a:lnTo>
                      <a:pt x="479" y="322"/>
                    </a:lnTo>
                    <a:lnTo>
                      <a:pt x="480" y="322"/>
                    </a:lnTo>
                    <a:lnTo>
                      <a:pt x="480" y="320"/>
                    </a:lnTo>
                    <a:lnTo>
                      <a:pt x="480" y="319"/>
                    </a:lnTo>
                    <a:lnTo>
                      <a:pt x="480" y="317"/>
                    </a:lnTo>
                    <a:lnTo>
                      <a:pt x="480" y="315"/>
                    </a:lnTo>
                    <a:lnTo>
                      <a:pt x="480" y="314"/>
                    </a:lnTo>
                    <a:lnTo>
                      <a:pt x="480" y="312"/>
                    </a:lnTo>
                    <a:lnTo>
                      <a:pt x="480" y="311"/>
                    </a:lnTo>
                    <a:lnTo>
                      <a:pt x="482" y="309"/>
                    </a:lnTo>
                    <a:lnTo>
                      <a:pt x="482" y="307"/>
                    </a:lnTo>
                    <a:lnTo>
                      <a:pt x="482" y="306"/>
                    </a:lnTo>
                    <a:lnTo>
                      <a:pt x="480" y="306"/>
                    </a:lnTo>
                    <a:lnTo>
                      <a:pt x="480" y="307"/>
                    </a:lnTo>
                    <a:lnTo>
                      <a:pt x="479" y="307"/>
                    </a:lnTo>
                    <a:lnTo>
                      <a:pt x="477" y="307"/>
                    </a:lnTo>
                    <a:lnTo>
                      <a:pt x="476" y="307"/>
                    </a:lnTo>
                    <a:lnTo>
                      <a:pt x="474" y="307"/>
                    </a:lnTo>
                    <a:lnTo>
                      <a:pt x="473" y="307"/>
                    </a:lnTo>
                    <a:lnTo>
                      <a:pt x="471" y="307"/>
                    </a:lnTo>
                    <a:lnTo>
                      <a:pt x="471" y="306"/>
                    </a:lnTo>
                    <a:lnTo>
                      <a:pt x="471" y="304"/>
                    </a:lnTo>
                    <a:lnTo>
                      <a:pt x="471" y="303"/>
                    </a:lnTo>
                    <a:lnTo>
                      <a:pt x="471" y="301"/>
                    </a:lnTo>
                    <a:lnTo>
                      <a:pt x="473" y="300"/>
                    </a:lnTo>
                    <a:lnTo>
                      <a:pt x="473" y="298"/>
                    </a:lnTo>
                    <a:lnTo>
                      <a:pt x="473" y="296"/>
                    </a:lnTo>
                    <a:lnTo>
                      <a:pt x="473" y="295"/>
                    </a:lnTo>
                    <a:lnTo>
                      <a:pt x="474" y="295"/>
                    </a:lnTo>
                    <a:lnTo>
                      <a:pt x="474" y="293"/>
                    </a:lnTo>
                    <a:lnTo>
                      <a:pt x="474" y="292"/>
                    </a:lnTo>
                    <a:lnTo>
                      <a:pt x="476" y="290"/>
                    </a:lnTo>
                    <a:lnTo>
                      <a:pt x="476" y="288"/>
                    </a:lnTo>
                    <a:lnTo>
                      <a:pt x="476" y="287"/>
                    </a:lnTo>
                    <a:lnTo>
                      <a:pt x="476" y="285"/>
                    </a:lnTo>
                    <a:lnTo>
                      <a:pt x="476" y="284"/>
                    </a:lnTo>
                    <a:lnTo>
                      <a:pt x="477" y="282"/>
                    </a:lnTo>
                    <a:lnTo>
                      <a:pt x="477" y="281"/>
                    </a:lnTo>
                    <a:lnTo>
                      <a:pt x="477" y="279"/>
                    </a:lnTo>
                    <a:lnTo>
                      <a:pt x="477" y="277"/>
                    </a:lnTo>
                    <a:lnTo>
                      <a:pt x="477" y="276"/>
                    </a:lnTo>
                    <a:lnTo>
                      <a:pt x="476" y="276"/>
                    </a:lnTo>
                    <a:lnTo>
                      <a:pt x="476" y="274"/>
                    </a:lnTo>
                    <a:lnTo>
                      <a:pt x="476" y="273"/>
                    </a:lnTo>
                    <a:lnTo>
                      <a:pt x="477" y="273"/>
                    </a:lnTo>
                    <a:lnTo>
                      <a:pt x="477" y="274"/>
                    </a:lnTo>
                    <a:lnTo>
                      <a:pt x="479" y="274"/>
                    </a:lnTo>
                    <a:lnTo>
                      <a:pt x="480" y="274"/>
                    </a:lnTo>
                    <a:lnTo>
                      <a:pt x="482" y="274"/>
                    </a:lnTo>
                    <a:lnTo>
                      <a:pt x="484" y="274"/>
                    </a:lnTo>
                    <a:lnTo>
                      <a:pt x="485" y="276"/>
                    </a:lnTo>
                    <a:lnTo>
                      <a:pt x="485" y="277"/>
                    </a:lnTo>
                    <a:lnTo>
                      <a:pt x="487" y="277"/>
                    </a:lnTo>
                    <a:lnTo>
                      <a:pt x="488" y="277"/>
                    </a:lnTo>
                    <a:lnTo>
                      <a:pt x="490" y="277"/>
                    </a:lnTo>
                    <a:lnTo>
                      <a:pt x="492" y="277"/>
                    </a:lnTo>
                    <a:lnTo>
                      <a:pt x="492" y="276"/>
                    </a:lnTo>
                    <a:lnTo>
                      <a:pt x="493" y="276"/>
                    </a:lnTo>
                    <a:lnTo>
                      <a:pt x="495" y="276"/>
                    </a:lnTo>
                    <a:lnTo>
                      <a:pt x="495" y="274"/>
                    </a:lnTo>
                    <a:lnTo>
                      <a:pt x="495" y="273"/>
                    </a:lnTo>
                    <a:lnTo>
                      <a:pt x="496" y="273"/>
                    </a:lnTo>
                    <a:lnTo>
                      <a:pt x="498" y="273"/>
                    </a:lnTo>
                    <a:lnTo>
                      <a:pt x="498" y="271"/>
                    </a:lnTo>
                    <a:lnTo>
                      <a:pt x="499" y="271"/>
                    </a:lnTo>
                    <a:lnTo>
                      <a:pt x="499" y="269"/>
                    </a:lnTo>
                    <a:lnTo>
                      <a:pt x="501" y="268"/>
                    </a:lnTo>
                    <a:lnTo>
                      <a:pt x="503" y="266"/>
                    </a:lnTo>
                    <a:lnTo>
                      <a:pt x="503" y="265"/>
                    </a:lnTo>
                    <a:lnTo>
                      <a:pt x="503" y="263"/>
                    </a:lnTo>
                    <a:lnTo>
                      <a:pt x="504" y="263"/>
                    </a:lnTo>
                    <a:lnTo>
                      <a:pt x="504" y="262"/>
                    </a:lnTo>
                    <a:lnTo>
                      <a:pt x="504" y="260"/>
                    </a:lnTo>
                    <a:lnTo>
                      <a:pt x="504" y="258"/>
                    </a:lnTo>
                    <a:lnTo>
                      <a:pt x="506" y="257"/>
                    </a:lnTo>
                    <a:lnTo>
                      <a:pt x="506" y="255"/>
                    </a:lnTo>
                    <a:lnTo>
                      <a:pt x="507" y="255"/>
                    </a:lnTo>
                    <a:lnTo>
                      <a:pt x="509" y="257"/>
                    </a:lnTo>
                    <a:lnTo>
                      <a:pt x="511" y="257"/>
                    </a:lnTo>
                    <a:lnTo>
                      <a:pt x="511" y="258"/>
                    </a:lnTo>
                    <a:lnTo>
                      <a:pt x="512" y="258"/>
                    </a:lnTo>
                    <a:lnTo>
                      <a:pt x="514" y="258"/>
                    </a:lnTo>
                    <a:lnTo>
                      <a:pt x="514" y="260"/>
                    </a:lnTo>
                    <a:lnTo>
                      <a:pt x="515" y="260"/>
                    </a:lnTo>
                    <a:lnTo>
                      <a:pt x="517" y="260"/>
                    </a:lnTo>
                    <a:lnTo>
                      <a:pt x="518" y="260"/>
                    </a:lnTo>
                    <a:lnTo>
                      <a:pt x="520" y="260"/>
                    </a:lnTo>
                    <a:lnTo>
                      <a:pt x="522" y="260"/>
                    </a:lnTo>
                    <a:lnTo>
                      <a:pt x="523" y="258"/>
                    </a:lnTo>
                    <a:lnTo>
                      <a:pt x="525" y="258"/>
                    </a:lnTo>
                    <a:lnTo>
                      <a:pt x="526" y="258"/>
                    </a:lnTo>
                    <a:lnTo>
                      <a:pt x="528" y="258"/>
                    </a:lnTo>
                    <a:lnTo>
                      <a:pt x="530" y="258"/>
                    </a:lnTo>
                    <a:lnTo>
                      <a:pt x="530" y="257"/>
                    </a:lnTo>
                    <a:lnTo>
                      <a:pt x="531" y="257"/>
                    </a:lnTo>
                    <a:lnTo>
                      <a:pt x="531" y="255"/>
                    </a:lnTo>
                    <a:lnTo>
                      <a:pt x="533" y="255"/>
                    </a:lnTo>
                    <a:lnTo>
                      <a:pt x="533" y="254"/>
                    </a:lnTo>
                    <a:lnTo>
                      <a:pt x="533" y="252"/>
                    </a:lnTo>
                    <a:lnTo>
                      <a:pt x="539" y="254"/>
                    </a:lnTo>
                    <a:lnTo>
                      <a:pt x="539" y="255"/>
                    </a:lnTo>
                    <a:lnTo>
                      <a:pt x="541" y="255"/>
                    </a:lnTo>
                    <a:lnTo>
                      <a:pt x="541" y="257"/>
                    </a:lnTo>
                    <a:lnTo>
                      <a:pt x="542" y="257"/>
                    </a:lnTo>
                    <a:lnTo>
                      <a:pt x="542" y="258"/>
                    </a:lnTo>
                    <a:lnTo>
                      <a:pt x="544" y="258"/>
                    </a:lnTo>
                    <a:lnTo>
                      <a:pt x="545" y="260"/>
                    </a:lnTo>
                    <a:lnTo>
                      <a:pt x="547" y="262"/>
                    </a:lnTo>
                    <a:lnTo>
                      <a:pt x="549" y="263"/>
                    </a:lnTo>
                    <a:lnTo>
                      <a:pt x="550" y="265"/>
                    </a:lnTo>
                    <a:lnTo>
                      <a:pt x="552" y="266"/>
                    </a:lnTo>
                    <a:lnTo>
                      <a:pt x="553" y="266"/>
                    </a:lnTo>
                    <a:lnTo>
                      <a:pt x="553" y="268"/>
                    </a:lnTo>
                    <a:lnTo>
                      <a:pt x="556" y="269"/>
                    </a:lnTo>
                    <a:lnTo>
                      <a:pt x="556" y="271"/>
                    </a:lnTo>
                    <a:lnTo>
                      <a:pt x="558" y="271"/>
                    </a:lnTo>
                    <a:lnTo>
                      <a:pt x="560" y="273"/>
                    </a:lnTo>
                    <a:lnTo>
                      <a:pt x="561" y="274"/>
                    </a:lnTo>
                    <a:lnTo>
                      <a:pt x="563" y="274"/>
                    </a:lnTo>
                    <a:lnTo>
                      <a:pt x="563" y="276"/>
                    </a:lnTo>
                    <a:lnTo>
                      <a:pt x="563" y="277"/>
                    </a:lnTo>
                    <a:lnTo>
                      <a:pt x="563" y="279"/>
                    </a:lnTo>
                    <a:lnTo>
                      <a:pt x="563" y="281"/>
                    </a:lnTo>
                    <a:lnTo>
                      <a:pt x="563" y="282"/>
                    </a:lnTo>
                    <a:lnTo>
                      <a:pt x="563" y="284"/>
                    </a:lnTo>
                    <a:lnTo>
                      <a:pt x="563" y="285"/>
                    </a:lnTo>
                    <a:lnTo>
                      <a:pt x="563" y="287"/>
                    </a:lnTo>
                    <a:lnTo>
                      <a:pt x="563" y="288"/>
                    </a:lnTo>
                    <a:lnTo>
                      <a:pt x="564" y="288"/>
                    </a:lnTo>
                    <a:lnTo>
                      <a:pt x="564" y="290"/>
                    </a:lnTo>
                    <a:lnTo>
                      <a:pt x="566" y="290"/>
                    </a:lnTo>
                    <a:lnTo>
                      <a:pt x="568" y="290"/>
                    </a:lnTo>
                    <a:lnTo>
                      <a:pt x="568" y="288"/>
                    </a:lnTo>
                    <a:lnTo>
                      <a:pt x="569" y="288"/>
                    </a:lnTo>
                    <a:lnTo>
                      <a:pt x="571" y="288"/>
                    </a:lnTo>
                    <a:lnTo>
                      <a:pt x="572" y="288"/>
                    </a:lnTo>
                    <a:lnTo>
                      <a:pt x="574" y="288"/>
                    </a:lnTo>
                    <a:lnTo>
                      <a:pt x="575" y="290"/>
                    </a:lnTo>
                    <a:lnTo>
                      <a:pt x="577" y="290"/>
                    </a:lnTo>
                    <a:lnTo>
                      <a:pt x="579" y="290"/>
                    </a:lnTo>
                    <a:lnTo>
                      <a:pt x="580" y="290"/>
                    </a:lnTo>
                    <a:lnTo>
                      <a:pt x="582" y="290"/>
                    </a:lnTo>
                    <a:lnTo>
                      <a:pt x="582" y="292"/>
                    </a:lnTo>
                    <a:lnTo>
                      <a:pt x="583" y="293"/>
                    </a:lnTo>
                    <a:lnTo>
                      <a:pt x="583" y="295"/>
                    </a:lnTo>
                    <a:lnTo>
                      <a:pt x="585" y="295"/>
                    </a:lnTo>
                    <a:lnTo>
                      <a:pt x="585" y="296"/>
                    </a:lnTo>
                    <a:lnTo>
                      <a:pt x="587" y="296"/>
                    </a:lnTo>
                    <a:lnTo>
                      <a:pt x="588" y="298"/>
                    </a:lnTo>
                    <a:lnTo>
                      <a:pt x="590" y="298"/>
                    </a:lnTo>
                    <a:lnTo>
                      <a:pt x="591" y="298"/>
                    </a:lnTo>
                    <a:lnTo>
                      <a:pt x="593" y="298"/>
                    </a:lnTo>
                    <a:lnTo>
                      <a:pt x="595" y="298"/>
                    </a:lnTo>
                    <a:lnTo>
                      <a:pt x="596" y="300"/>
                    </a:lnTo>
                    <a:lnTo>
                      <a:pt x="598" y="300"/>
                    </a:lnTo>
                    <a:lnTo>
                      <a:pt x="598" y="298"/>
                    </a:lnTo>
                    <a:lnTo>
                      <a:pt x="599" y="298"/>
                    </a:lnTo>
                    <a:lnTo>
                      <a:pt x="601" y="300"/>
                    </a:lnTo>
                    <a:lnTo>
                      <a:pt x="602" y="300"/>
                    </a:lnTo>
                    <a:lnTo>
                      <a:pt x="602" y="301"/>
                    </a:lnTo>
                    <a:lnTo>
                      <a:pt x="604" y="301"/>
                    </a:lnTo>
                    <a:lnTo>
                      <a:pt x="606" y="303"/>
                    </a:lnTo>
                    <a:lnTo>
                      <a:pt x="607" y="304"/>
                    </a:lnTo>
                    <a:lnTo>
                      <a:pt x="609" y="306"/>
                    </a:lnTo>
                    <a:lnTo>
                      <a:pt x="610" y="307"/>
                    </a:lnTo>
                    <a:lnTo>
                      <a:pt x="612" y="309"/>
                    </a:lnTo>
                    <a:lnTo>
                      <a:pt x="614" y="309"/>
                    </a:lnTo>
                    <a:lnTo>
                      <a:pt x="615" y="311"/>
                    </a:lnTo>
                    <a:lnTo>
                      <a:pt x="615" y="312"/>
                    </a:lnTo>
                    <a:lnTo>
                      <a:pt x="617" y="312"/>
                    </a:lnTo>
                    <a:lnTo>
                      <a:pt x="618" y="312"/>
                    </a:lnTo>
                    <a:lnTo>
                      <a:pt x="620" y="312"/>
                    </a:lnTo>
                    <a:lnTo>
                      <a:pt x="621" y="312"/>
                    </a:lnTo>
                    <a:lnTo>
                      <a:pt x="623" y="312"/>
                    </a:lnTo>
                    <a:lnTo>
                      <a:pt x="625" y="312"/>
                    </a:lnTo>
                    <a:lnTo>
                      <a:pt x="626" y="312"/>
                    </a:lnTo>
                    <a:lnTo>
                      <a:pt x="626" y="314"/>
                    </a:lnTo>
                    <a:lnTo>
                      <a:pt x="628" y="314"/>
                    </a:lnTo>
                    <a:lnTo>
                      <a:pt x="629" y="314"/>
                    </a:lnTo>
                    <a:lnTo>
                      <a:pt x="631" y="314"/>
                    </a:lnTo>
                    <a:lnTo>
                      <a:pt x="631" y="312"/>
                    </a:lnTo>
                    <a:lnTo>
                      <a:pt x="633" y="312"/>
                    </a:lnTo>
                    <a:lnTo>
                      <a:pt x="633" y="311"/>
                    </a:lnTo>
                    <a:lnTo>
                      <a:pt x="633" y="309"/>
                    </a:lnTo>
                    <a:lnTo>
                      <a:pt x="633" y="307"/>
                    </a:lnTo>
                    <a:lnTo>
                      <a:pt x="634" y="307"/>
                    </a:lnTo>
                    <a:lnTo>
                      <a:pt x="634" y="306"/>
                    </a:lnTo>
                    <a:lnTo>
                      <a:pt x="636" y="306"/>
                    </a:lnTo>
                    <a:lnTo>
                      <a:pt x="636" y="304"/>
                    </a:lnTo>
                    <a:lnTo>
                      <a:pt x="637" y="304"/>
                    </a:lnTo>
                    <a:lnTo>
                      <a:pt x="639" y="303"/>
                    </a:lnTo>
                    <a:lnTo>
                      <a:pt x="640" y="301"/>
                    </a:lnTo>
                    <a:lnTo>
                      <a:pt x="642" y="300"/>
                    </a:lnTo>
                    <a:lnTo>
                      <a:pt x="642" y="298"/>
                    </a:lnTo>
                    <a:lnTo>
                      <a:pt x="644" y="298"/>
                    </a:lnTo>
                    <a:lnTo>
                      <a:pt x="644" y="296"/>
                    </a:lnTo>
                    <a:lnTo>
                      <a:pt x="644" y="295"/>
                    </a:lnTo>
                    <a:lnTo>
                      <a:pt x="645" y="293"/>
                    </a:lnTo>
                    <a:lnTo>
                      <a:pt x="645" y="292"/>
                    </a:lnTo>
                    <a:lnTo>
                      <a:pt x="645" y="290"/>
                    </a:lnTo>
                    <a:lnTo>
                      <a:pt x="647" y="288"/>
                    </a:lnTo>
                    <a:lnTo>
                      <a:pt x="647" y="287"/>
                    </a:lnTo>
                    <a:lnTo>
                      <a:pt x="647" y="285"/>
                    </a:lnTo>
                    <a:lnTo>
                      <a:pt x="648" y="284"/>
                    </a:lnTo>
                    <a:lnTo>
                      <a:pt x="648" y="282"/>
                    </a:lnTo>
                    <a:lnTo>
                      <a:pt x="650" y="281"/>
                    </a:lnTo>
                    <a:lnTo>
                      <a:pt x="650" y="279"/>
                    </a:lnTo>
                    <a:lnTo>
                      <a:pt x="652" y="279"/>
                    </a:lnTo>
                    <a:lnTo>
                      <a:pt x="652" y="277"/>
                    </a:lnTo>
                    <a:lnTo>
                      <a:pt x="653" y="277"/>
                    </a:lnTo>
                    <a:lnTo>
                      <a:pt x="653" y="276"/>
                    </a:lnTo>
                    <a:lnTo>
                      <a:pt x="655" y="276"/>
                    </a:lnTo>
                    <a:lnTo>
                      <a:pt x="655" y="274"/>
                    </a:lnTo>
                    <a:lnTo>
                      <a:pt x="656" y="274"/>
                    </a:lnTo>
                    <a:lnTo>
                      <a:pt x="658" y="274"/>
                    </a:lnTo>
                    <a:lnTo>
                      <a:pt x="659" y="274"/>
                    </a:lnTo>
                    <a:lnTo>
                      <a:pt x="661" y="274"/>
                    </a:lnTo>
                    <a:lnTo>
                      <a:pt x="663" y="274"/>
                    </a:lnTo>
                    <a:lnTo>
                      <a:pt x="664" y="274"/>
                    </a:lnTo>
                    <a:lnTo>
                      <a:pt x="666" y="274"/>
                    </a:lnTo>
                    <a:lnTo>
                      <a:pt x="667" y="274"/>
                    </a:lnTo>
                    <a:lnTo>
                      <a:pt x="669" y="274"/>
                    </a:lnTo>
                    <a:lnTo>
                      <a:pt x="671" y="276"/>
                    </a:lnTo>
                    <a:lnTo>
                      <a:pt x="672" y="276"/>
                    </a:lnTo>
                    <a:lnTo>
                      <a:pt x="674" y="276"/>
                    </a:lnTo>
                    <a:lnTo>
                      <a:pt x="675" y="276"/>
                    </a:lnTo>
                    <a:lnTo>
                      <a:pt x="675" y="277"/>
                    </a:lnTo>
                    <a:lnTo>
                      <a:pt x="677" y="277"/>
                    </a:lnTo>
                    <a:lnTo>
                      <a:pt x="678" y="277"/>
                    </a:lnTo>
                    <a:lnTo>
                      <a:pt x="680" y="277"/>
                    </a:lnTo>
                    <a:lnTo>
                      <a:pt x="682" y="279"/>
                    </a:lnTo>
                    <a:lnTo>
                      <a:pt x="683" y="279"/>
                    </a:lnTo>
                    <a:lnTo>
                      <a:pt x="685" y="279"/>
                    </a:lnTo>
                    <a:lnTo>
                      <a:pt x="686" y="279"/>
                    </a:lnTo>
                    <a:lnTo>
                      <a:pt x="688" y="279"/>
                    </a:lnTo>
                    <a:lnTo>
                      <a:pt x="690" y="277"/>
                    </a:lnTo>
                    <a:lnTo>
                      <a:pt x="691" y="276"/>
                    </a:lnTo>
                    <a:lnTo>
                      <a:pt x="693" y="274"/>
                    </a:lnTo>
                    <a:lnTo>
                      <a:pt x="694" y="273"/>
                    </a:lnTo>
                    <a:lnTo>
                      <a:pt x="696" y="273"/>
                    </a:lnTo>
                    <a:lnTo>
                      <a:pt x="696" y="271"/>
                    </a:lnTo>
                    <a:lnTo>
                      <a:pt x="697" y="271"/>
                    </a:lnTo>
                    <a:lnTo>
                      <a:pt x="699" y="271"/>
                    </a:lnTo>
                    <a:lnTo>
                      <a:pt x="701" y="271"/>
                    </a:lnTo>
                    <a:lnTo>
                      <a:pt x="702" y="271"/>
                    </a:lnTo>
                    <a:lnTo>
                      <a:pt x="702" y="273"/>
                    </a:lnTo>
                    <a:lnTo>
                      <a:pt x="704" y="273"/>
                    </a:lnTo>
                    <a:lnTo>
                      <a:pt x="705" y="273"/>
                    </a:lnTo>
                    <a:lnTo>
                      <a:pt x="707" y="273"/>
                    </a:lnTo>
                    <a:lnTo>
                      <a:pt x="709" y="273"/>
                    </a:lnTo>
                    <a:lnTo>
                      <a:pt x="710" y="273"/>
                    </a:lnTo>
                    <a:lnTo>
                      <a:pt x="712" y="271"/>
                    </a:lnTo>
                    <a:lnTo>
                      <a:pt x="713" y="271"/>
                    </a:lnTo>
                    <a:lnTo>
                      <a:pt x="715" y="271"/>
                    </a:lnTo>
                    <a:lnTo>
                      <a:pt x="716" y="269"/>
                    </a:lnTo>
                    <a:lnTo>
                      <a:pt x="716" y="268"/>
                    </a:lnTo>
                    <a:lnTo>
                      <a:pt x="718" y="268"/>
                    </a:lnTo>
                    <a:lnTo>
                      <a:pt x="720" y="266"/>
                    </a:lnTo>
                    <a:lnTo>
                      <a:pt x="720" y="265"/>
                    </a:lnTo>
                    <a:lnTo>
                      <a:pt x="720" y="263"/>
                    </a:lnTo>
                    <a:lnTo>
                      <a:pt x="720" y="262"/>
                    </a:lnTo>
                    <a:lnTo>
                      <a:pt x="721" y="260"/>
                    </a:lnTo>
                    <a:lnTo>
                      <a:pt x="721" y="258"/>
                    </a:lnTo>
                    <a:lnTo>
                      <a:pt x="721" y="257"/>
                    </a:lnTo>
                    <a:lnTo>
                      <a:pt x="721" y="255"/>
                    </a:lnTo>
                    <a:lnTo>
                      <a:pt x="723" y="255"/>
                    </a:lnTo>
                    <a:lnTo>
                      <a:pt x="723" y="254"/>
                    </a:lnTo>
                    <a:lnTo>
                      <a:pt x="723" y="252"/>
                    </a:lnTo>
                    <a:lnTo>
                      <a:pt x="723" y="250"/>
                    </a:lnTo>
                    <a:lnTo>
                      <a:pt x="723" y="249"/>
                    </a:lnTo>
                    <a:lnTo>
                      <a:pt x="723" y="247"/>
                    </a:lnTo>
                    <a:lnTo>
                      <a:pt x="724" y="247"/>
                    </a:lnTo>
                    <a:lnTo>
                      <a:pt x="724" y="246"/>
                    </a:lnTo>
                    <a:lnTo>
                      <a:pt x="724" y="244"/>
                    </a:lnTo>
                    <a:lnTo>
                      <a:pt x="724" y="243"/>
                    </a:lnTo>
                    <a:lnTo>
                      <a:pt x="724" y="241"/>
                    </a:lnTo>
                    <a:lnTo>
                      <a:pt x="724" y="239"/>
                    </a:lnTo>
                    <a:lnTo>
                      <a:pt x="726" y="238"/>
                    </a:lnTo>
                    <a:lnTo>
                      <a:pt x="726" y="236"/>
                    </a:lnTo>
                    <a:lnTo>
                      <a:pt x="728" y="236"/>
                    </a:lnTo>
                    <a:lnTo>
                      <a:pt x="728" y="235"/>
                    </a:lnTo>
                    <a:lnTo>
                      <a:pt x="729" y="235"/>
                    </a:lnTo>
                    <a:lnTo>
                      <a:pt x="731" y="235"/>
                    </a:lnTo>
                    <a:lnTo>
                      <a:pt x="732" y="235"/>
                    </a:lnTo>
                    <a:lnTo>
                      <a:pt x="734" y="233"/>
                    </a:lnTo>
                    <a:lnTo>
                      <a:pt x="735" y="233"/>
                    </a:lnTo>
                    <a:lnTo>
                      <a:pt x="735" y="231"/>
                    </a:lnTo>
                    <a:lnTo>
                      <a:pt x="737" y="231"/>
                    </a:lnTo>
                    <a:lnTo>
                      <a:pt x="737" y="230"/>
                    </a:lnTo>
                    <a:lnTo>
                      <a:pt x="739" y="230"/>
                    </a:lnTo>
                    <a:lnTo>
                      <a:pt x="740" y="228"/>
                    </a:lnTo>
                    <a:lnTo>
                      <a:pt x="740" y="227"/>
                    </a:lnTo>
                    <a:lnTo>
                      <a:pt x="740" y="225"/>
                    </a:lnTo>
                    <a:lnTo>
                      <a:pt x="740" y="224"/>
                    </a:lnTo>
                    <a:lnTo>
                      <a:pt x="740" y="222"/>
                    </a:lnTo>
                    <a:lnTo>
                      <a:pt x="739" y="222"/>
                    </a:lnTo>
                    <a:lnTo>
                      <a:pt x="739" y="220"/>
                    </a:lnTo>
                    <a:lnTo>
                      <a:pt x="740" y="219"/>
                    </a:lnTo>
                    <a:lnTo>
                      <a:pt x="740" y="217"/>
                    </a:lnTo>
                    <a:lnTo>
                      <a:pt x="739" y="214"/>
                    </a:lnTo>
                    <a:lnTo>
                      <a:pt x="740" y="212"/>
                    </a:lnTo>
                    <a:lnTo>
                      <a:pt x="740" y="211"/>
                    </a:lnTo>
                    <a:lnTo>
                      <a:pt x="740" y="209"/>
                    </a:lnTo>
                    <a:lnTo>
                      <a:pt x="740" y="208"/>
                    </a:lnTo>
                    <a:lnTo>
                      <a:pt x="740" y="206"/>
                    </a:lnTo>
                    <a:lnTo>
                      <a:pt x="742" y="204"/>
                    </a:lnTo>
                    <a:lnTo>
                      <a:pt x="742" y="203"/>
                    </a:lnTo>
                    <a:lnTo>
                      <a:pt x="742" y="201"/>
                    </a:lnTo>
                    <a:lnTo>
                      <a:pt x="742" y="200"/>
                    </a:lnTo>
                    <a:lnTo>
                      <a:pt x="740" y="200"/>
                    </a:lnTo>
                    <a:lnTo>
                      <a:pt x="740" y="198"/>
                    </a:lnTo>
                    <a:lnTo>
                      <a:pt x="740" y="197"/>
                    </a:lnTo>
                    <a:lnTo>
                      <a:pt x="742" y="197"/>
                    </a:lnTo>
                    <a:lnTo>
                      <a:pt x="743" y="197"/>
                    </a:lnTo>
                    <a:lnTo>
                      <a:pt x="743" y="195"/>
                    </a:lnTo>
                    <a:lnTo>
                      <a:pt x="745" y="195"/>
                    </a:lnTo>
                    <a:lnTo>
                      <a:pt x="747" y="193"/>
                    </a:lnTo>
                    <a:lnTo>
                      <a:pt x="747" y="192"/>
                    </a:lnTo>
                    <a:lnTo>
                      <a:pt x="747" y="190"/>
                    </a:lnTo>
                    <a:lnTo>
                      <a:pt x="747" y="189"/>
                    </a:lnTo>
                    <a:lnTo>
                      <a:pt x="747" y="187"/>
                    </a:lnTo>
                    <a:lnTo>
                      <a:pt x="747" y="185"/>
                    </a:lnTo>
                    <a:lnTo>
                      <a:pt x="748" y="184"/>
                    </a:lnTo>
                    <a:lnTo>
                      <a:pt x="748" y="182"/>
                    </a:lnTo>
                    <a:lnTo>
                      <a:pt x="750" y="182"/>
                    </a:lnTo>
                    <a:lnTo>
                      <a:pt x="750" y="181"/>
                    </a:lnTo>
                    <a:lnTo>
                      <a:pt x="750" y="179"/>
                    </a:lnTo>
                    <a:lnTo>
                      <a:pt x="751" y="178"/>
                    </a:lnTo>
                    <a:lnTo>
                      <a:pt x="751" y="176"/>
                    </a:lnTo>
                    <a:lnTo>
                      <a:pt x="751" y="174"/>
                    </a:lnTo>
                    <a:lnTo>
                      <a:pt x="751" y="173"/>
                    </a:lnTo>
                    <a:lnTo>
                      <a:pt x="753" y="173"/>
                    </a:lnTo>
                    <a:lnTo>
                      <a:pt x="753" y="171"/>
                    </a:lnTo>
                    <a:lnTo>
                      <a:pt x="753" y="170"/>
                    </a:lnTo>
                    <a:lnTo>
                      <a:pt x="753" y="168"/>
                    </a:lnTo>
                    <a:lnTo>
                      <a:pt x="753" y="166"/>
                    </a:lnTo>
                    <a:lnTo>
                      <a:pt x="753" y="165"/>
                    </a:lnTo>
                    <a:lnTo>
                      <a:pt x="754" y="163"/>
                    </a:lnTo>
                    <a:lnTo>
                      <a:pt x="754" y="165"/>
                    </a:lnTo>
                    <a:lnTo>
                      <a:pt x="756" y="163"/>
                    </a:lnTo>
                    <a:lnTo>
                      <a:pt x="756" y="162"/>
                    </a:lnTo>
                    <a:lnTo>
                      <a:pt x="754" y="162"/>
                    </a:lnTo>
                    <a:lnTo>
                      <a:pt x="754" y="160"/>
                    </a:lnTo>
                    <a:lnTo>
                      <a:pt x="753" y="160"/>
                    </a:lnTo>
                    <a:lnTo>
                      <a:pt x="753" y="159"/>
                    </a:lnTo>
                    <a:lnTo>
                      <a:pt x="751" y="159"/>
                    </a:lnTo>
                    <a:lnTo>
                      <a:pt x="751" y="157"/>
                    </a:lnTo>
                    <a:lnTo>
                      <a:pt x="751" y="155"/>
                    </a:lnTo>
                    <a:lnTo>
                      <a:pt x="751" y="154"/>
                    </a:lnTo>
                    <a:lnTo>
                      <a:pt x="751" y="152"/>
                    </a:lnTo>
                    <a:lnTo>
                      <a:pt x="750" y="151"/>
                    </a:lnTo>
                    <a:lnTo>
                      <a:pt x="750" y="149"/>
                    </a:lnTo>
                    <a:lnTo>
                      <a:pt x="750" y="147"/>
                    </a:lnTo>
                    <a:lnTo>
                      <a:pt x="750" y="146"/>
                    </a:lnTo>
                    <a:lnTo>
                      <a:pt x="750" y="144"/>
                    </a:lnTo>
                    <a:lnTo>
                      <a:pt x="748" y="143"/>
                    </a:lnTo>
                    <a:lnTo>
                      <a:pt x="748" y="141"/>
                    </a:lnTo>
                    <a:lnTo>
                      <a:pt x="748" y="140"/>
                    </a:lnTo>
                    <a:lnTo>
                      <a:pt x="748" y="138"/>
                    </a:lnTo>
                    <a:lnTo>
                      <a:pt x="748" y="136"/>
                    </a:lnTo>
                    <a:lnTo>
                      <a:pt x="747" y="136"/>
                    </a:lnTo>
                    <a:lnTo>
                      <a:pt x="747" y="135"/>
                    </a:lnTo>
                    <a:lnTo>
                      <a:pt x="745" y="135"/>
                    </a:lnTo>
                    <a:lnTo>
                      <a:pt x="745" y="133"/>
                    </a:lnTo>
                    <a:lnTo>
                      <a:pt x="745" y="132"/>
                    </a:lnTo>
                    <a:lnTo>
                      <a:pt x="745" y="130"/>
                    </a:lnTo>
                    <a:lnTo>
                      <a:pt x="745" y="128"/>
                    </a:lnTo>
                    <a:lnTo>
                      <a:pt x="745" y="127"/>
                    </a:lnTo>
                    <a:lnTo>
                      <a:pt x="745" y="125"/>
                    </a:lnTo>
                    <a:lnTo>
                      <a:pt x="745" y="124"/>
                    </a:lnTo>
                    <a:lnTo>
                      <a:pt x="745" y="122"/>
                    </a:lnTo>
                    <a:lnTo>
                      <a:pt x="745" y="121"/>
                    </a:lnTo>
                    <a:lnTo>
                      <a:pt x="745" y="119"/>
                    </a:lnTo>
                    <a:lnTo>
                      <a:pt x="747" y="119"/>
                    </a:lnTo>
                    <a:lnTo>
                      <a:pt x="747" y="117"/>
                    </a:lnTo>
                    <a:lnTo>
                      <a:pt x="759" y="116"/>
                    </a:lnTo>
                    <a:lnTo>
                      <a:pt x="759" y="114"/>
                    </a:lnTo>
                    <a:lnTo>
                      <a:pt x="761" y="114"/>
                    </a:lnTo>
                    <a:lnTo>
                      <a:pt x="761" y="113"/>
                    </a:lnTo>
                    <a:lnTo>
                      <a:pt x="761" y="111"/>
                    </a:lnTo>
                    <a:lnTo>
                      <a:pt x="762" y="111"/>
                    </a:lnTo>
                    <a:lnTo>
                      <a:pt x="762" y="109"/>
                    </a:lnTo>
                    <a:lnTo>
                      <a:pt x="764" y="108"/>
                    </a:lnTo>
                    <a:lnTo>
                      <a:pt x="764" y="106"/>
                    </a:lnTo>
                    <a:lnTo>
                      <a:pt x="766" y="106"/>
                    </a:lnTo>
                    <a:lnTo>
                      <a:pt x="767" y="106"/>
                    </a:lnTo>
                    <a:lnTo>
                      <a:pt x="769" y="105"/>
                    </a:lnTo>
                    <a:lnTo>
                      <a:pt x="770" y="105"/>
                    </a:lnTo>
                    <a:lnTo>
                      <a:pt x="772" y="105"/>
                    </a:lnTo>
                    <a:lnTo>
                      <a:pt x="773" y="105"/>
                    </a:lnTo>
                    <a:lnTo>
                      <a:pt x="773" y="103"/>
                    </a:lnTo>
                    <a:lnTo>
                      <a:pt x="775" y="103"/>
                    </a:lnTo>
                    <a:lnTo>
                      <a:pt x="777" y="103"/>
                    </a:lnTo>
                    <a:lnTo>
                      <a:pt x="777" y="102"/>
                    </a:lnTo>
                    <a:lnTo>
                      <a:pt x="778" y="102"/>
                    </a:lnTo>
                    <a:lnTo>
                      <a:pt x="780" y="100"/>
                    </a:lnTo>
                    <a:lnTo>
                      <a:pt x="781" y="100"/>
                    </a:lnTo>
                    <a:lnTo>
                      <a:pt x="781" y="98"/>
                    </a:lnTo>
                    <a:lnTo>
                      <a:pt x="783" y="98"/>
                    </a:lnTo>
                    <a:lnTo>
                      <a:pt x="783" y="97"/>
                    </a:lnTo>
                    <a:lnTo>
                      <a:pt x="785" y="97"/>
                    </a:lnTo>
                    <a:lnTo>
                      <a:pt x="785" y="95"/>
                    </a:lnTo>
                    <a:lnTo>
                      <a:pt x="786" y="95"/>
                    </a:lnTo>
                    <a:lnTo>
                      <a:pt x="786" y="97"/>
                    </a:lnTo>
                    <a:lnTo>
                      <a:pt x="788" y="97"/>
                    </a:lnTo>
                    <a:lnTo>
                      <a:pt x="788" y="98"/>
                    </a:lnTo>
                    <a:lnTo>
                      <a:pt x="789" y="98"/>
                    </a:lnTo>
                    <a:lnTo>
                      <a:pt x="789" y="97"/>
                    </a:lnTo>
                    <a:lnTo>
                      <a:pt x="791" y="97"/>
                    </a:lnTo>
                    <a:lnTo>
                      <a:pt x="791" y="98"/>
                    </a:lnTo>
                    <a:lnTo>
                      <a:pt x="793" y="98"/>
                    </a:lnTo>
                    <a:lnTo>
                      <a:pt x="793" y="100"/>
                    </a:lnTo>
                    <a:lnTo>
                      <a:pt x="794" y="102"/>
                    </a:lnTo>
                    <a:lnTo>
                      <a:pt x="796" y="102"/>
                    </a:lnTo>
                    <a:lnTo>
                      <a:pt x="797" y="103"/>
                    </a:lnTo>
                    <a:lnTo>
                      <a:pt x="797" y="105"/>
                    </a:lnTo>
                    <a:lnTo>
                      <a:pt x="799" y="105"/>
                    </a:lnTo>
                    <a:lnTo>
                      <a:pt x="800" y="105"/>
                    </a:lnTo>
                    <a:lnTo>
                      <a:pt x="802" y="105"/>
                    </a:lnTo>
                    <a:lnTo>
                      <a:pt x="804" y="105"/>
                    </a:lnTo>
                    <a:lnTo>
                      <a:pt x="805" y="105"/>
                    </a:lnTo>
                    <a:lnTo>
                      <a:pt x="805" y="103"/>
                    </a:lnTo>
                    <a:lnTo>
                      <a:pt x="807" y="103"/>
                    </a:lnTo>
                    <a:lnTo>
                      <a:pt x="808" y="103"/>
                    </a:lnTo>
                    <a:lnTo>
                      <a:pt x="810" y="103"/>
                    </a:lnTo>
                    <a:lnTo>
                      <a:pt x="810" y="102"/>
                    </a:lnTo>
                    <a:lnTo>
                      <a:pt x="812" y="102"/>
                    </a:lnTo>
                    <a:lnTo>
                      <a:pt x="813" y="100"/>
                    </a:lnTo>
                    <a:lnTo>
                      <a:pt x="815" y="100"/>
                    </a:lnTo>
                    <a:lnTo>
                      <a:pt x="815" y="98"/>
                    </a:lnTo>
                    <a:lnTo>
                      <a:pt x="816" y="98"/>
                    </a:lnTo>
                    <a:lnTo>
                      <a:pt x="816" y="97"/>
                    </a:lnTo>
                    <a:lnTo>
                      <a:pt x="818" y="97"/>
                    </a:lnTo>
                    <a:lnTo>
                      <a:pt x="818" y="95"/>
                    </a:lnTo>
                    <a:lnTo>
                      <a:pt x="819" y="95"/>
                    </a:lnTo>
                    <a:lnTo>
                      <a:pt x="819" y="94"/>
                    </a:lnTo>
                    <a:lnTo>
                      <a:pt x="821" y="94"/>
                    </a:lnTo>
                    <a:lnTo>
                      <a:pt x="821" y="92"/>
                    </a:lnTo>
                    <a:lnTo>
                      <a:pt x="823" y="92"/>
                    </a:lnTo>
                    <a:lnTo>
                      <a:pt x="824" y="92"/>
                    </a:lnTo>
                    <a:lnTo>
                      <a:pt x="826" y="92"/>
                    </a:lnTo>
                    <a:lnTo>
                      <a:pt x="826" y="94"/>
                    </a:lnTo>
                    <a:lnTo>
                      <a:pt x="827" y="94"/>
                    </a:lnTo>
                    <a:lnTo>
                      <a:pt x="829" y="94"/>
                    </a:lnTo>
                    <a:lnTo>
                      <a:pt x="831" y="92"/>
                    </a:lnTo>
                    <a:lnTo>
                      <a:pt x="832" y="92"/>
                    </a:lnTo>
                    <a:lnTo>
                      <a:pt x="834" y="92"/>
                    </a:lnTo>
                    <a:lnTo>
                      <a:pt x="835" y="92"/>
                    </a:lnTo>
                    <a:lnTo>
                      <a:pt x="835" y="90"/>
                    </a:lnTo>
                    <a:lnTo>
                      <a:pt x="835" y="89"/>
                    </a:lnTo>
                    <a:lnTo>
                      <a:pt x="837" y="89"/>
                    </a:lnTo>
                    <a:lnTo>
                      <a:pt x="837" y="87"/>
                    </a:lnTo>
                    <a:lnTo>
                      <a:pt x="838" y="86"/>
                    </a:lnTo>
                    <a:lnTo>
                      <a:pt x="838" y="84"/>
                    </a:lnTo>
                    <a:lnTo>
                      <a:pt x="838" y="83"/>
                    </a:lnTo>
                    <a:lnTo>
                      <a:pt x="838" y="81"/>
                    </a:lnTo>
                    <a:lnTo>
                      <a:pt x="838" y="79"/>
                    </a:lnTo>
                    <a:lnTo>
                      <a:pt x="838" y="78"/>
                    </a:lnTo>
                    <a:lnTo>
                      <a:pt x="838" y="76"/>
                    </a:lnTo>
                    <a:lnTo>
                      <a:pt x="838" y="75"/>
                    </a:lnTo>
                    <a:lnTo>
                      <a:pt x="838" y="73"/>
                    </a:lnTo>
                    <a:lnTo>
                      <a:pt x="838" y="71"/>
                    </a:lnTo>
                    <a:lnTo>
                      <a:pt x="838" y="70"/>
                    </a:lnTo>
                    <a:lnTo>
                      <a:pt x="837" y="68"/>
                    </a:lnTo>
                    <a:lnTo>
                      <a:pt x="837" y="67"/>
                    </a:lnTo>
                    <a:lnTo>
                      <a:pt x="837" y="65"/>
                    </a:lnTo>
                    <a:lnTo>
                      <a:pt x="835" y="64"/>
                    </a:lnTo>
                    <a:lnTo>
                      <a:pt x="834" y="64"/>
                    </a:lnTo>
                    <a:lnTo>
                      <a:pt x="834" y="62"/>
                    </a:lnTo>
                    <a:lnTo>
                      <a:pt x="832" y="62"/>
                    </a:lnTo>
                    <a:lnTo>
                      <a:pt x="832" y="60"/>
                    </a:lnTo>
                    <a:lnTo>
                      <a:pt x="831" y="60"/>
                    </a:lnTo>
                    <a:lnTo>
                      <a:pt x="829" y="60"/>
                    </a:lnTo>
                    <a:lnTo>
                      <a:pt x="829" y="59"/>
                    </a:lnTo>
                    <a:lnTo>
                      <a:pt x="827" y="59"/>
                    </a:lnTo>
                    <a:lnTo>
                      <a:pt x="827" y="57"/>
                    </a:lnTo>
                    <a:lnTo>
                      <a:pt x="826" y="57"/>
                    </a:lnTo>
                    <a:lnTo>
                      <a:pt x="824" y="57"/>
                    </a:lnTo>
                    <a:lnTo>
                      <a:pt x="824" y="56"/>
                    </a:lnTo>
                    <a:lnTo>
                      <a:pt x="823" y="56"/>
                    </a:lnTo>
                    <a:lnTo>
                      <a:pt x="821" y="54"/>
                    </a:lnTo>
                    <a:lnTo>
                      <a:pt x="819" y="54"/>
                    </a:lnTo>
                    <a:lnTo>
                      <a:pt x="819" y="52"/>
                    </a:lnTo>
                    <a:lnTo>
                      <a:pt x="818" y="52"/>
                    </a:lnTo>
                    <a:lnTo>
                      <a:pt x="816" y="52"/>
                    </a:lnTo>
                    <a:lnTo>
                      <a:pt x="816" y="51"/>
                    </a:lnTo>
                    <a:lnTo>
                      <a:pt x="815" y="51"/>
                    </a:lnTo>
                    <a:lnTo>
                      <a:pt x="813" y="51"/>
                    </a:lnTo>
                    <a:lnTo>
                      <a:pt x="813" y="49"/>
                    </a:lnTo>
                    <a:lnTo>
                      <a:pt x="812" y="49"/>
                    </a:lnTo>
                    <a:lnTo>
                      <a:pt x="810" y="49"/>
                    </a:lnTo>
                    <a:lnTo>
                      <a:pt x="810" y="48"/>
                    </a:lnTo>
                    <a:lnTo>
                      <a:pt x="808" y="48"/>
                    </a:lnTo>
                    <a:lnTo>
                      <a:pt x="807" y="46"/>
                    </a:lnTo>
                    <a:lnTo>
                      <a:pt x="805" y="46"/>
                    </a:lnTo>
                    <a:lnTo>
                      <a:pt x="804" y="45"/>
                    </a:lnTo>
                    <a:lnTo>
                      <a:pt x="802" y="45"/>
                    </a:lnTo>
                    <a:lnTo>
                      <a:pt x="800" y="43"/>
                    </a:lnTo>
                    <a:lnTo>
                      <a:pt x="799" y="43"/>
                    </a:lnTo>
                    <a:lnTo>
                      <a:pt x="797" y="41"/>
                    </a:lnTo>
                    <a:lnTo>
                      <a:pt x="796" y="41"/>
                    </a:lnTo>
                    <a:lnTo>
                      <a:pt x="794" y="40"/>
                    </a:lnTo>
                    <a:lnTo>
                      <a:pt x="793" y="40"/>
                    </a:lnTo>
                    <a:lnTo>
                      <a:pt x="793" y="38"/>
                    </a:lnTo>
                    <a:lnTo>
                      <a:pt x="791" y="38"/>
                    </a:lnTo>
                    <a:lnTo>
                      <a:pt x="789" y="38"/>
                    </a:lnTo>
                    <a:lnTo>
                      <a:pt x="789" y="37"/>
                    </a:lnTo>
                    <a:lnTo>
                      <a:pt x="788" y="37"/>
                    </a:lnTo>
                    <a:lnTo>
                      <a:pt x="788" y="35"/>
                    </a:lnTo>
                    <a:lnTo>
                      <a:pt x="788" y="33"/>
                    </a:lnTo>
                    <a:lnTo>
                      <a:pt x="788" y="32"/>
                    </a:lnTo>
                    <a:lnTo>
                      <a:pt x="788" y="30"/>
                    </a:lnTo>
                    <a:lnTo>
                      <a:pt x="788" y="29"/>
                    </a:lnTo>
                    <a:lnTo>
                      <a:pt x="789" y="29"/>
                    </a:lnTo>
                    <a:lnTo>
                      <a:pt x="789" y="27"/>
                    </a:lnTo>
                    <a:lnTo>
                      <a:pt x="789" y="26"/>
                    </a:lnTo>
                    <a:lnTo>
                      <a:pt x="791" y="26"/>
                    </a:lnTo>
                    <a:lnTo>
                      <a:pt x="791" y="24"/>
                    </a:lnTo>
                    <a:lnTo>
                      <a:pt x="791" y="22"/>
                    </a:lnTo>
                    <a:lnTo>
                      <a:pt x="793" y="21"/>
                    </a:lnTo>
                    <a:lnTo>
                      <a:pt x="793" y="19"/>
                    </a:lnTo>
                    <a:lnTo>
                      <a:pt x="794" y="19"/>
                    </a:lnTo>
                    <a:lnTo>
                      <a:pt x="794" y="18"/>
                    </a:lnTo>
                    <a:lnTo>
                      <a:pt x="794" y="16"/>
                    </a:lnTo>
                    <a:lnTo>
                      <a:pt x="796" y="14"/>
                    </a:lnTo>
                    <a:lnTo>
                      <a:pt x="796" y="13"/>
                    </a:lnTo>
                    <a:lnTo>
                      <a:pt x="797" y="11"/>
                    </a:lnTo>
                    <a:lnTo>
                      <a:pt x="797" y="10"/>
                    </a:lnTo>
                    <a:lnTo>
                      <a:pt x="799" y="10"/>
                    </a:lnTo>
                    <a:lnTo>
                      <a:pt x="799" y="8"/>
                    </a:lnTo>
                    <a:lnTo>
                      <a:pt x="800" y="8"/>
                    </a:lnTo>
                    <a:lnTo>
                      <a:pt x="802" y="6"/>
                    </a:lnTo>
                    <a:lnTo>
                      <a:pt x="804" y="6"/>
                    </a:lnTo>
                    <a:lnTo>
                      <a:pt x="804" y="5"/>
                    </a:lnTo>
                    <a:lnTo>
                      <a:pt x="805" y="5"/>
                    </a:lnTo>
                    <a:lnTo>
                      <a:pt x="807" y="3"/>
                    </a:lnTo>
                    <a:lnTo>
                      <a:pt x="808" y="3"/>
                    </a:lnTo>
                    <a:lnTo>
                      <a:pt x="808" y="2"/>
                    </a:lnTo>
                    <a:lnTo>
                      <a:pt x="810" y="2"/>
                    </a:lnTo>
                    <a:lnTo>
                      <a:pt x="810" y="0"/>
                    </a:lnTo>
                    <a:lnTo>
                      <a:pt x="812" y="0"/>
                    </a:lnTo>
                    <a:lnTo>
                      <a:pt x="813" y="0"/>
                    </a:lnTo>
                    <a:lnTo>
                      <a:pt x="815" y="0"/>
                    </a:lnTo>
                    <a:lnTo>
                      <a:pt x="816" y="0"/>
                    </a:lnTo>
                    <a:lnTo>
                      <a:pt x="818" y="0"/>
                    </a:lnTo>
                    <a:lnTo>
                      <a:pt x="819" y="0"/>
                    </a:lnTo>
                    <a:lnTo>
                      <a:pt x="821" y="0"/>
                    </a:lnTo>
                    <a:lnTo>
                      <a:pt x="823" y="2"/>
                    </a:lnTo>
                    <a:lnTo>
                      <a:pt x="824" y="2"/>
                    </a:lnTo>
                    <a:lnTo>
                      <a:pt x="826" y="3"/>
                    </a:lnTo>
                    <a:lnTo>
                      <a:pt x="827" y="3"/>
                    </a:lnTo>
                    <a:lnTo>
                      <a:pt x="827" y="5"/>
                    </a:lnTo>
                    <a:lnTo>
                      <a:pt x="829" y="5"/>
                    </a:lnTo>
                    <a:lnTo>
                      <a:pt x="831" y="5"/>
                    </a:lnTo>
                    <a:lnTo>
                      <a:pt x="831" y="6"/>
                    </a:lnTo>
                    <a:lnTo>
                      <a:pt x="832" y="6"/>
                    </a:lnTo>
                    <a:lnTo>
                      <a:pt x="834" y="6"/>
                    </a:lnTo>
                    <a:lnTo>
                      <a:pt x="834" y="8"/>
                    </a:lnTo>
                    <a:lnTo>
                      <a:pt x="835" y="8"/>
                    </a:lnTo>
                    <a:lnTo>
                      <a:pt x="837" y="8"/>
                    </a:lnTo>
                    <a:lnTo>
                      <a:pt x="838" y="8"/>
                    </a:lnTo>
                    <a:lnTo>
                      <a:pt x="840" y="8"/>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45" name="Freeform 125"/>
              <p:cNvSpPr>
                <a:spLocks/>
              </p:cNvSpPr>
              <p:nvPr/>
            </p:nvSpPr>
            <p:spPr bwMode="auto">
              <a:xfrm>
                <a:off x="3320" y="909"/>
                <a:ext cx="109" cy="125"/>
              </a:xfrm>
              <a:custGeom>
                <a:avLst/>
                <a:gdLst>
                  <a:gd name="T0" fmla="*/ 3 w 109"/>
                  <a:gd name="T1" fmla="*/ 121 h 125"/>
                  <a:gd name="T2" fmla="*/ 8 w 109"/>
                  <a:gd name="T3" fmla="*/ 121 h 125"/>
                  <a:gd name="T4" fmla="*/ 13 w 109"/>
                  <a:gd name="T5" fmla="*/ 121 h 125"/>
                  <a:gd name="T6" fmla="*/ 16 w 109"/>
                  <a:gd name="T7" fmla="*/ 122 h 125"/>
                  <a:gd name="T8" fmla="*/ 19 w 109"/>
                  <a:gd name="T9" fmla="*/ 124 h 125"/>
                  <a:gd name="T10" fmla="*/ 22 w 109"/>
                  <a:gd name="T11" fmla="*/ 122 h 125"/>
                  <a:gd name="T12" fmla="*/ 25 w 109"/>
                  <a:gd name="T13" fmla="*/ 124 h 125"/>
                  <a:gd name="T14" fmla="*/ 30 w 109"/>
                  <a:gd name="T15" fmla="*/ 124 h 125"/>
                  <a:gd name="T16" fmla="*/ 35 w 109"/>
                  <a:gd name="T17" fmla="*/ 125 h 125"/>
                  <a:gd name="T18" fmla="*/ 38 w 109"/>
                  <a:gd name="T19" fmla="*/ 124 h 125"/>
                  <a:gd name="T20" fmla="*/ 36 w 109"/>
                  <a:gd name="T21" fmla="*/ 119 h 125"/>
                  <a:gd name="T22" fmla="*/ 33 w 109"/>
                  <a:gd name="T23" fmla="*/ 117 h 125"/>
                  <a:gd name="T24" fmla="*/ 32 w 109"/>
                  <a:gd name="T25" fmla="*/ 114 h 125"/>
                  <a:gd name="T26" fmla="*/ 30 w 109"/>
                  <a:gd name="T27" fmla="*/ 111 h 125"/>
                  <a:gd name="T28" fmla="*/ 33 w 109"/>
                  <a:gd name="T29" fmla="*/ 106 h 125"/>
                  <a:gd name="T30" fmla="*/ 35 w 109"/>
                  <a:gd name="T31" fmla="*/ 103 h 125"/>
                  <a:gd name="T32" fmla="*/ 38 w 109"/>
                  <a:gd name="T33" fmla="*/ 102 h 125"/>
                  <a:gd name="T34" fmla="*/ 40 w 109"/>
                  <a:gd name="T35" fmla="*/ 98 h 125"/>
                  <a:gd name="T36" fmla="*/ 43 w 109"/>
                  <a:gd name="T37" fmla="*/ 95 h 125"/>
                  <a:gd name="T38" fmla="*/ 43 w 109"/>
                  <a:gd name="T39" fmla="*/ 91 h 125"/>
                  <a:gd name="T40" fmla="*/ 44 w 109"/>
                  <a:gd name="T41" fmla="*/ 87 h 125"/>
                  <a:gd name="T42" fmla="*/ 44 w 109"/>
                  <a:gd name="T43" fmla="*/ 83 h 125"/>
                  <a:gd name="T44" fmla="*/ 44 w 109"/>
                  <a:gd name="T45" fmla="*/ 78 h 125"/>
                  <a:gd name="T46" fmla="*/ 44 w 109"/>
                  <a:gd name="T47" fmla="*/ 73 h 125"/>
                  <a:gd name="T48" fmla="*/ 44 w 109"/>
                  <a:gd name="T49" fmla="*/ 68 h 125"/>
                  <a:gd name="T50" fmla="*/ 44 w 109"/>
                  <a:gd name="T51" fmla="*/ 64 h 125"/>
                  <a:gd name="T52" fmla="*/ 46 w 109"/>
                  <a:gd name="T53" fmla="*/ 60 h 125"/>
                  <a:gd name="T54" fmla="*/ 49 w 109"/>
                  <a:gd name="T55" fmla="*/ 59 h 125"/>
                  <a:gd name="T56" fmla="*/ 51 w 109"/>
                  <a:gd name="T57" fmla="*/ 56 h 125"/>
                  <a:gd name="T58" fmla="*/ 52 w 109"/>
                  <a:gd name="T59" fmla="*/ 53 h 125"/>
                  <a:gd name="T60" fmla="*/ 54 w 109"/>
                  <a:gd name="T61" fmla="*/ 49 h 125"/>
                  <a:gd name="T62" fmla="*/ 55 w 109"/>
                  <a:gd name="T63" fmla="*/ 46 h 125"/>
                  <a:gd name="T64" fmla="*/ 57 w 109"/>
                  <a:gd name="T65" fmla="*/ 43 h 125"/>
                  <a:gd name="T66" fmla="*/ 59 w 109"/>
                  <a:gd name="T67" fmla="*/ 38 h 125"/>
                  <a:gd name="T68" fmla="*/ 60 w 109"/>
                  <a:gd name="T69" fmla="*/ 35 h 125"/>
                  <a:gd name="T70" fmla="*/ 63 w 109"/>
                  <a:gd name="T71" fmla="*/ 34 h 125"/>
                  <a:gd name="T72" fmla="*/ 65 w 109"/>
                  <a:gd name="T73" fmla="*/ 30 h 125"/>
                  <a:gd name="T74" fmla="*/ 67 w 109"/>
                  <a:gd name="T75" fmla="*/ 26 h 125"/>
                  <a:gd name="T76" fmla="*/ 68 w 109"/>
                  <a:gd name="T77" fmla="*/ 22 h 125"/>
                  <a:gd name="T78" fmla="*/ 68 w 109"/>
                  <a:gd name="T79" fmla="*/ 18 h 125"/>
                  <a:gd name="T80" fmla="*/ 70 w 109"/>
                  <a:gd name="T81" fmla="*/ 13 h 125"/>
                  <a:gd name="T82" fmla="*/ 71 w 109"/>
                  <a:gd name="T83" fmla="*/ 10 h 125"/>
                  <a:gd name="T84" fmla="*/ 71 w 109"/>
                  <a:gd name="T85" fmla="*/ 5 h 125"/>
                  <a:gd name="T86" fmla="*/ 73 w 109"/>
                  <a:gd name="T87" fmla="*/ 2 h 125"/>
                  <a:gd name="T88" fmla="*/ 76 w 109"/>
                  <a:gd name="T89" fmla="*/ 0 h 125"/>
                  <a:gd name="T90" fmla="*/ 79 w 109"/>
                  <a:gd name="T91" fmla="*/ 2 h 125"/>
                  <a:gd name="T92" fmla="*/ 82 w 109"/>
                  <a:gd name="T93" fmla="*/ 3 h 125"/>
                  <a:gd name="T94" fmla="*/ 86 w 109"/>
                  <a:gd name="T95" fmla="*/ 7 h 125"/>
                  <a:gd name="T96" fmla="*/ 87 w 109"/>
                  <a:gd name="T97" fmla="*/ 10 h 125"/>
                  <a:gd name="T98" fmla="*/ 92 w 109"/>
                  <a:gd name="T99" fmla="*/ 13 h 125"/>
                  <a:gd name="T100" fmla="*/ 95 w 109"/>
                  <a:gd name="T101" fmla="*/ 15 h 125"/>
                  <a:gd name="T102" fmla="*/ 97 w 109"/>
                  <a:gd name="T103" fmla="*/ 19 h 125"/>
                  <a:gd name="T104" fmla="*/ 100 w 109"/>
                  <a:gd name="T105" fmla="*/ 21 h 125"/>
                  <a:gd name="T106" fmla="*/ 105 w 109"/>
                  <a:gd name="T107" fmla="*/ 21 h 125"/>
                  <a:gd name="T108" fmla="*/ 108 w 109"/>
                  <a:gd name="T109" fmla="*/ 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9" h="125">
                    <a:moveTo>
                      <a:pt x="0" y="119"/>
                    </a:moveTo>
                    <a:lnTo>
                      <a:pt x="2" y="121"/>
                    </a:lnTo>
                    <a:lnTo>
                      <a:pt x="3" y="121"/>
                    </a:lnTo>
                    <a:lnTo>
                      <a:pt x="5" y="121"/>
                    </a:lnTo>
                    <a:lnTo>
                      <a:pt x="6" y="121"/>
                    </a:lnTo>
                    <a:lnTo>
                      <a:pt x="8" y="121"/>
                    </a:lnTo>
                    <a:lnTo>
                      <a:pt x="10" y="119"/>
                    </a:lnTo>
                    <a:lnTo>
                      <a:pt x="11" y="119"/>
                    </a:lnTo>
                    <a:lnTo>
                      <a:pt x="13" y="121"/>
                    </a:lnTo>
                    <a:lnTo>
                      <a:pt x="13" y="122"/>
                    </a:lnTo>
                    <a:lnTo>
                      <a:pt x="14" y="122"/>
                    </a:lnTo>
                    <a:lnTo>
                      <a:pt x="16" y="122"/>
                    </a:lnTo>
                    <a:lnTo>
                      <a:pt x="16" y="124"/>
                    </a:lnTo>
                    <a:lnTo>
                      <a:pt x="17" y="124"/>
                    </a:lnTo>
                    <a:lnTo>
                      <a:pt x="19" y="124"/>
                    </a:lnTo>
                    <a:lnTo>
                      <a:pt x="19" y="122"/>
                    </a:lnTo>
                    <a:lnTo>
                      <a:pt x="21" y="122"/>
                    </a:lnTo>
                    <a:lnTo>
                      <a:pt x="22" y="122"/>
                    </a:lnTo>
                    <a:lnTo>
                      <a:pt x="24" y="122"/>
                    </a:lnTo>
                    <a:lnTo>
                      <a:pt x="25" y="122"/>
                    </a:lnTo>
                    <a:lnTo>
                      <a:pt x="25" y="124"/>
                    </a:lnTo>
                    <a:lnTo>
                      <a:pt x="27" y="124"/>
                    </a:lnTo>
                    <a:lnTo>
                      <a:pt x="29" y="124"/>
                    </a:lnTo>
                    <a:lnTo>
                      <a:pt x="30" y="124"/>
                    </a:lnTo>
                    <a:lnTo>
                      <a:pt x="32" y="125"/>
                    </a:lnTo>
                    <a:lnTo>
                      <a:pt x="33" y="125"/>
                    </a:lnTo>
                    <a:lnTo>
                      <a:pt x="35" y="125"/>
                    </a:lnTo>
                    <a:lnTo>
                      <a:pt x="36" y="125"/>
                    </a:lnTo>
                    <a:lnTo>
                      <a:pt x="36" y="124"/>
                    </a:lnTo>
                    <a:lnTo>
                      <a:pt x="38" y="124"/>
                    </a:lnTo>
                    <a:lnTo>
                      <a:pt x="36" y="122"/>
                    </a:lnTo>
                    <a:lnTo>
                      <a:pt x="36" y="121"/>
                    </a:lnTo>
                    <a:lnTo>
                      <a:pt x="36" y="119"/>
                    </a:lnTo>
                    <a:lnTo>
                      <a:pt x="35" y="119"/>
                    </a:lnTo>
                    <a:lnTo>
                      <a:pt x="35" y="117"/>
                    </a:lnTo>
                    <a:lnTo>
                      <a:pt x="33" y="117"/>
                    </a:lnTo>
                    <a:lnTo>
                      <a:pt x="33" y="116"/>
                    </a:lnTo>
                    <a:lnTo>
                      <a:pt x="32" y="116"/>
                    </a:lnTo>
                    <a:lnTo>
                      <a:pt x="32" y="114"/>
                    </a:lnTo>
                    <a:lnTo>
                      <a:pt x="32" y="113"/>
                    </a:lnTo>
                    <a:lnTo>
                      <a:pt x="30" y="113"/>
                    </a:lnTo>
                    <a:lnTo>
                      <a:pt x="30" y="111"/>
                    </a:lnTo>
                    <a:lnTo>
                      <a:pt x="32" y="110"/>
                    </a:lnTo>
                    <a:lnTo>
                      <a:pt x="32" y="108"/>
                    </a:lnTo>
                    <a:lnTo>
                      <a:pt x="33" y="106"/>
                    </a:lnTo>
                    <a:lnTo>
                      <a:pt x="33" y="105"/>
                    </a:lnTo>
                    <a:lnTo>
                      <a:pt x="35" y="105"/>
                    </a:lnTo>
                    <a:lnTo>
                      <a:pt x="35" y="103"/>
                    </a:lnTo>
                    <a:lnTo>
                      <a:pt x="36" y="103"/>
                    </a:lnTo>
                    <a:lnTo>
                      <a:pt x="36" y="102"/>
                    </a:lnTo>
                    <a:lnTo>
                      <a:pt x="38" y="102"/>
                    </a:lnTo>
                    <a:lnTo>
                      <a:pt x="38" y="100"/>
                    </a:lnTo>
                    <a:lnTo>
                      <a:pt x="40" y="100"/>
                    </a:lnTo>
                    <a:lnTo>
                      <a:pt x="40" y="98"/>
                    </a:lnTo>
                    <a:lnTo>
                      <a:pt x="41" y="98"/>
                    </a:lnTo>
                    <a:lnTo>
                      <a:pt x="41" y="97"/>
                    </a:lnTo>
                    <a:lnTo>
                      <a:pt x="43" y="95"/>
                    </a:lnTo>
                    <a:lnTo>
                      <a:pt x="43" y="94"/>
                    </a:lnTo>
                    <a:lnTo>
                      <a:pt x="43" y="92"/>
                    </a:lnTo>
                    <a:lnTo>
                      <a:pt x="43" y="91"/>
                    </a:lnTo>
                    <a:lnTo>
                      <a:pt x="43" y="89"/>
                    </a:lnTo>
                    <a:lnTo>
                      <a:pt x="43" y="87"/>
                    </a:lnTo>
                    <a:lnTo>
                      <a:pt x="44" y="87"/>
                    </a:lnTo>
                    <a:lnTo>
                      <a:pt x="44" y="86"/>
                    </a:lnTo>
                    <a:lnTo>
                      <a:pt x="44" y="84"/>
                    </a:lnTo>
                    <a:lnTo>
                      <a:pt x="44" y="83"/>
                    </a:lnTo>
                    <a:lnTo>
                      <a:pt x="44" y="81"/>
                    </a:lnTo>
                    <a:lnTo>
                      <a:pt x="44" y="79"/>
                    </a:lnTo>
                    <a:lnTo>
                      <a:pt x="44" y="78"/>
                    </a:lnTo>
                    <a:lnTo>
                      <a:pt x="44" y="76"/>
                    </a:lnTo>
                    <a:lnTo>
                      <a:pt x="44" y="75"/>
                    </a:lnTo>
                    <a:lnTo>
                      <a:pt x="44" y="73"/>
                    </a:lnTo>
                    <a:lnTo>
                      <a:pt x="44" y="72"/>
                    </a:lnTo>
                    <a:lnTo>
                      <a:pt x="44" y="70"/>
                    </a:lnTo>
                    <a:lnTo>
                      <a:pt x="44" y="68"/>
                    </a:lnTo>
                    <a:lnTo>
                      <a:pt x="44" y="67"/>
                    </a:lnTo>
                    <a:lnTo>
                      <a:pt x="44" y="65"/>
                    </a:lnTo>
                    <a:lnTo>
                      <a:pt x="44" y="64"/>
                    </a:lnTo>
                    <a:lnTo>
                      <a:pt x="46" y="64"/>
                    </a:lnTo>
                    <a:lnTo>
                      <a:pt x="46" y="62"/>
                    </a:lnTo>
                    <a:lnTo>
                      <a:pt x="46" y="60"/>
                    </a:lnTo>
                    <a:lnTo>
                      <a:pt x="48" y="60"/>
                    </a:lnTo>
                    <a:lnTo>
                      <a:pt x="48" y="59"/>
                    </a:lnTo>
                    <a:lnTo>
                      <a:pt x="49" y="59"/>
                    </a:lnTo>
                    <a:lnTo>
                      <a:pt x="49" y="57"/>
                    </a:lnTo>
                    <a:lnTo>
                      <a:pt x="51" y="57"/>
                    </a:lnTo>
                    <a:lnTo>
                      <a:pt x="51" y="56"/>
                    </a:lnTo>
                    <a:lnTo>
                      <a:pt x="52" y="56"/>
                    </a:lnTo>
                    <a:lnTo>
                      <a:pt x="52" y="54"/>
                    </a:lnTo>
                    <a:lnTo>
                      <a:pt x="52" y="53"/>
                    </a:lnTo>
                    <a:lnTo>
                      <a:pt x="54" y="53"/>
                    </a:lnTo>
                    <a:lnTo>
                      <a:pt x="54" y="51"/>
                    </a:lnTo>
                    <a:lnTo>
                      <a:pt x="54" y="49"/>
                    </a:lnTo>
                    <a:lnTo>
                      <a:pt x="55" y="49"/>
                    </a:lnTo>
                    <a:lnTo>
                      <a:pt x="55" y="48"/>
                    </a:lnTo>
                    <a:lnTo>
                      <a:pt x="55" y="46"/>
                    </a:lnTo>
                    <a:lnTo>
                      <a:pt x="55" y="45"/>
                    </a:lnTo>
                    <a:lnTo>
                      <a:pt x="57" y="45"/>
                    </a:lnTo>
                    <a:lnTo>
                      <a:pt x="57" y="43"/>
                    </a:lnTo>
                    <a:lnTo>
                      <a:pt x="57" y="41"/>
                    </a:lnTo>
                    <a:lnTo>
                      <a:pt x="59" y="40"/>
                    </a:lnTo>
                    <a:lnTo>
                      <a:pt x="59" y="38"/>
                    </a:lnTo>
                    <a:lnTo>
                      <a:pt x="60" y="38"/>
                    </a:lnTo>
                    <a:lnTo>
                      <a:pt x="60" y="37"/>
                    </a:lnTo>
                    <a:lnTo>
                      <a:pt x="60" y="35"/>
                    </a:lnTo>
                    <a:lnTo>
                      <a:pt x="62" y="35"/>
                    </a:lnTo>
                    <a:lnTo>
                      <a:pt x="62" y="34"/>
                    </a:lnTo>
                    <a:lnTo>
                      <a:pt x="63" y="34"/>
                    </a:lnTo>
                    <a:lnTo>
                      <a:pt x="63" y="32"/>
                    </a:lnTo>
                    <a:lnTo>
                      <a:pt x="63" y="30"/>
                    </a:lnTo>
                    <a:lnTo>
                      <a:pt x="65" y="30"/>
                    </a:lnTo>
                    <a:lnTo>
                      <a:pt x="65" y="29"/>
                    </a:lnTo>
                    <a:lnTo>
                      <a:pt x="65" y="27"/>
                    </a:lnTo>
                    <a:lnTo>
                      <a:pt x="67" y="26"/>
                    </a:lnTo>
                    <a:lnTo>
                      <a:pt x="67" y="24"/>
                    </a:lnTo>
                    <a:lnTo>
                      <a:pt x="67" y="22"/>
                    </a:lnTo>
                    <a:lnTo>
                      <a:pt x="68" y="22"/>
                    </a:lnTo>
                    <a:lnTo>
                      <a:pt x="68" y="21"/>
                    </a:lnTo>
                    <a:lnTo>
                      <a:pt x="68" y="19"/>
                    </a:lnTo>
                    <a:lnTo>
                      <a:pt x="68" y="18"/>
                    </a:lnTo>
                    <a:lnTo>
                      <a:pt x="70" y="16"/>
                    </a:lnTo>
                    <a:lnTo>
                      <a:pt x="70" y="15"/>
                    </a:lnTo>
                    <a:lnTo>
                      <a:pt x="70" y="13"/>
                    </a:lnTo>
                    <a:lnTo>
                      <a:pt x="70" y="11"/>
                    </a:lnTo>
                    <a:lnTo>
                      <a:pt x="70" y="10"/>
                    </a:lnTo>
                    <a:lnTo>
                      <a:pt x="71" y="10"/>
                    </a:lnTo>
                    <a:lnTo>
                      <a:pt x="71" y="8"/>
                    </a:lnTo>
                    <a:lnTo>
                      <a:pt x="71" y="7"/>
                    </a:lnTo>
                    <a:lnTo>
                      <a:pt x="71" y="5"/>
                    </a:lnTo>
                    <a:lnTo>
                      <a:pt x="73" y="5"/>
                    </a:lnTo>
                    <a:lnTo>
                      <a:pt x="73" y="3"/>
                    </a:lnTo>
                    <a:lnTo>
                      <a:pt x="73" y="2"/>
                    </a:lnTo>
                    <a:lnTo>
                      <a:pt x="74" y="2"/>
                    </a:lnTo>
                    <a:lnTo>
                      <a:pt x="74" y="0"/>
                    </a:lnTo>
                    <a:lnTo>
                      <a:pt x="76" y="0"/>
                    </a:lnTo>
                    <a:lnTo>
                      <a:pt x="78" y="0"/>
                    </a:lnTo>
                    <a:lnTo>
                      <a:pt x="79" y="0"/>
                    </a:lnTo>
                    <a:lnTo>
                      <a:pt x="79" y="2"/>
                    </a:lnTo>
                    <a:lnTo>
                      <a:pt x="81" y="2"/>
                    </a:lnTo>
                    <a:lnTo>
                      <a:pt x="82" y="2"/>
                    </a:lnTo>
                    <a:lnTo>
                      <a:pt x="82" y="3"/>
                    </a:lnTo>
                    <a:lnTo>
                      <a:pt x="84" y="3"/>
                    </a:lnTo>
                    <a:lnTo>
                      <a:pt x="84" y="5"/>
                    </a:lnTo>
                    <a:lnTo>
                      <a:pt x="86" y="7"/>
                    </a:lnTo>
                    <a:lnTo>
                      <a:pt x="86" y="8"/>
                    </a:lnTo>
                    <a:lnTo>
                      <a:pt x="87" y="8"/>
                    </a:lnTo>
                    <a:lnTo>
                      <a:pt x="87" y="10"/>
                    </a:lnTo>
                    <a:lnTo>
                      <a:pt x="89" y="10"/>
                    </a:lnTo>
                    <a:lnTo>
                      <a:pt x="90" y="11"/>
                    </a:lnTo>
                    <a:lnTo>
                      <a:pt x="92" y="13"/>
                    </a:lnTo>
                    <a:lnTo>
                      <a:pt x="93" y="13"/>
                    </a:lnTo>
                    <a:lnTo>
                      <a:pt x="93" y="15"/>
                    </a:lnTo>
                    <a:lnTo>
                      <a:pt x="95" y="15"/>
                    </a:lnTo>
                    <a:lnTo>
                      <a:pt x="95" y="16"/>
                    </a:lnTo>
                    <a:lnTo>
                      <a:pt x="97" y="18"/>
                    </a:lnTo>
                    <a:lnTo>
                      <a:pt x="97" y="19"/>
                    </a:lnTo>
                    <a:lnTo>
                      <a:pt x="98" y="19"/>
                    </a:lnTo>
                    <a:lnTo>
                      <a:pt x="100" y="19"/>
                    </a:lnTo>
                    <a:lnTo>
                      <a:pt x="100" y="21"/>
                    </a:lnTo>
                    <a:lnTo>
                      <a:pt x="101" y="21"/>
                    </a:lnTo>
                    <a:lnTo>
                      <a:pt x="103" y="21"/>
                    </a:lnTo>
                    <a:lnTo>
                      <a:pt x="105" y="21"/>
                    </a:lnTo>
                    <a:lnTo>
                      <a:pt x="105" y="22"/>
                    </a:lnTo>
                    <a:lnTo>
                      <a:pt x="106" y="22"/>
                    </a:lnTo>
                    <a:lnTo>
                      <a:pt x="108" y="22"/>
                    </a:lnTo>
                    <a:lnTo>
                      <a:pt x="109" y="22"/>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46" name="Freeform 126"/>
              <p:cNvSpPr>
                <a:spLocks/>
              </p:cNvSpPr>
              <p:nvPr/>
            </p:nvSpPr>
            <p:spPr bwMode="auto">
              <a:xfrm>
                <a:off x="3220" y="1453"/>
                <a:ext cx="605" cy="1200"/>
              </a:xfrm>
              <a:custGeom>
                <a:avLst/>
                <a:gdLst>
                  <a:gd name="T0" fmla="*/ 458 w 605"/>
                  <a:gd name="T1" fmla="*/ 34 h 1200"/>
                  <a:gd name="T2" fmla="*/ 485 w 605"/>
                  <a:gd name="T3" fmla="*/ 114 h 1200"/>
                  <a:gd name="T4" fmla="*/ 460 w 605"/>
                  <a:gd name="T5" fmla="*/ 163 h 1200"/>
                  <a:gd name="T6" fmla="*/ 458 w 605"/>
                  <a:gd name="T7" fmla="*/ 201 h 1200"/>
                  <a:gd name="T8" fmla="*/ 501 w 605"/>
                  <a:gd name="T9" fmla="*/ 234 h 1200"/>
                  <a:gd name="T10" fmla="*/ 536 w 605"/>
                  <a:gd name="T11" fmla="*/ 270 h 1200"/>
                  <a:gd name="T12" fmla="*/ 556 w 605"/>
                  <a:gd name="T13" fmla="*/ 307 h 1200"/>
                  <a:gd name="T14" fmla="*/ 588 w 605"/>
                  <a:gd name="T15" fmla="*/ 339 h 1200"/>
                  <a:gd name="T16" fmla="*/ 596 w 605"/>
                  <a:gd name="T17" fmla="*/ 372 h 1200"/>
                  <a:gd name="T18" fmla="*/ 539 w 605"/>
                  <a:gd name="T19" fmla="*/ 410 h 1200"/>
                  <a:gd name="T20" fmla="*/ 523 w 605"/>
                  <a:gd name="T21" fmla="*/ 449 h 1200"/>
                  <a:gd name="T22" fmla="*/ 532 w 605"/>
                  <a:gd name="T23" fmla="*/ 497 h 1200"/>
                  <a:gd name="T24" fmla="*/ 555 w 605"/>
                  <a:gd name="T25" fmla="*/ 540 h 1200"/>
                  <a:gd name="T26" fmla="*/ 580 w 605"/>
                  <a:gd name="T27" fmla="*/ 583 h 1200"/>
                  <a:gd name="T28" fmla="*/ 599 w 605"/>
                  <a:gd name="T29" fmla="*/ 622 h 1200"/>
                  <a:gd name="T30" fmla="*/ 580 w 605"/>
                  <a:gd name="T31" fmla="*/ 659 h 1200"/>
                  <a:gd name="T32" fmla="*/ 561 w 605"/>
                  <a:gd name="T33" fmla="*/ 709 h 1200"/>
                  <a:gd name="T34" fmla="*/ 555 w 605"/>
                  <a:gd name="T35" fmla="*/ 760 h 1200"/>
                  <a:gd name="T36" fmla="*/ 564 w 605"/>
                  <a:gd name="T37" fmla="*/ 806 h 1200"/>
                  <a:gd name="T38" fmla="*/ 556 w 605"/>
                  <a:gd name="T39" fmla="*/ 853 h 1200"/>
                  <a:gd name="T40" fmla="*/ 559 w 605"/>
                  <a:gd name="T41" fmla="*/ 910 h 1200"/>
                  <a:gd name="T42" fmla="*/ 537 w 605"/>
                  <a:gd name="T43" fmla="*/ 948 h 1200"/>
                  <a:gd name="T44" fmla="*/ 517 w 605"/>
                  <a:gd name="T45" fmla="*/ 967 h 1200"/>
                  <a:gd name="T46" fmla="*/ 507 w 605"/>
                  <a:gd name="T47" fmla="*/ 1007 h 1200"/>
                  <a:gd name="T48" fmla="*/ 458 w 605"/>
                  <a:gd name="T49" fmla="*/ 1010 h 1200"/>
                  <a:gd name="T50" fmla="*/ 415 w 605"/>
                  <a:gd name="T51" fmla="*/ 1039 h 1200"/>
                  <a:gd name="T52" fmla="*/ 401 w 605"/>
                  <a:gd name="T53" fmla="*/ 1089 h 1200"/>
                  <a:gd name="T54" fmla="*/ 352 w 605"/>
                  <a:gd name="T55" fmla="*/ 1101 h 1200"/>
                  <a:gd name="T56" fmla="*/ 298 w 605"/>
                  <a:gd name="T57" fmla="*/ 1113 h 1200"/>
                  <a:gd name="T58" fmla="*/ 271 w 605"/>
                  <a:gd name="T59" fmla="*/ 1146 h 1200"/>
                  <a:gd name="T60" fmla="*/ 224 w 605"/>
                  <a:gd name="T61" fmla="*/ 1142 h 1200"/>
                  <a:gd name="T62" fmla="*/ 190 w 605"/>
                  <a:gd name="T63" fmla="*/ 1175 h 1200"/>
                  <a:gd name="T64" fmla="*/ 144 w 605"/>
                  <a:gd name="T65" fmla="*/ 1200 h 1200"/>
                  <a:gd name="T66" fmla="*/ 106 w 605"/>
                  <a:gd name="T67" fmla="*/ 1169 h 1200"/>
                  <a:gd name="T68" fmla="*/ 81 w 605"/>
                  <a:gd name="T69" fmla="*/ 1132 h 1200"/>
                  <a:gd name="T70" fmla="*/ 51 w 605"/>
                  <a:gd name="T71" fmla="*/ 1093 h 1200"/>
                  <a:gd name="T72" fmla="*/ 19 w 605"/>
                  <a:gd name="T73" fmla="*/ 1056 h 1200"/>
                  <a:gd name="T74" fmla="*/ 5 w 605"/>
                  <a:gd name="T75" fmla="*/ 1015 h 1200"/>
                  <a:gd name="T76" fmla="*/ 13 w 605"/>
                  <a:gd name="T77" fmla="*/ 961 h 1200"/>
                  <a:gd name="T78" fmla="*/ 24 w 605"/>
                  <a:gd name="T79" fmla="*/ 907 h 1200"/>
                  <a:gd name="T80" fmla="*/ 67 w 605"/>
                  <a:gd name="T81" fmla="*/ 872 h 1200"/>
                  <a:gd name="T82" fmla="*/ 105 w 605"/>
                  <a:gd name="T83" fmla="*/ 836 h 1200"/>
                  <a:gd name="T84" fmla="*/ 141 w 605"/>
                  <a:gd name="T85" fmla="*/ 806 h 1200"/>
                  <a:gd name="T86" fmla="*/ 168 w 605"/>
                  <a:gd name="T87" fmla="*/ 773 h 1200"/>
                  <a:gd name="T88" fmla="*/ 171 w 605"/>
                  <a:gd name="T89" fmla="*/ 716 h 1200"/>
                  <a:gd name="T90" fmla="*/ 186 w 605"/>
                  <a:gd name="T91" fmla="*/ 660 h 1200"/>
                  <a:gd name="T92" fmla="*/ 203 w 605"/>
                  <a:gd name="T93" fmla="*/ 614 h 1200"/>
                  <a:gd name="T94" fmla="*/ 190 w 605"/>
                  <a:gd name="T95" fmla="*/ 575 h 1200"/>
                  <a:gd name="T96" fmla="*/ 227 w 605"/>
                  <a:gd name="T97" fmla="*/ 533 h 1200"/>
                  <a:gd name="T98" fmla="*/ 227 w 605"/>
                  <a:gd name="T99" fmla="*/ 497 h 1200"/>
                  <a:gd name="T100" fmla="*/ 189 w 605"/>
                  <a:gd name="T101" fmla="*/ 467 h 1200"/>
                  <a:gd name="T102" fmla="*/ 146 w 605"/>
                  <a:gd name="T103" fmla="*/ 442 h 1200"/>
                  <a:gd name="T104" fmla="*/ 146 w 605"/>
                  <a:gd name="T105" fmla="*/ 392 h 1200"/>
                  <a:gd name="T106" fmla="*/ 140 w 605"/>
                  <a:gd name="T107" fmla="*/ 343 h 1200"/>
                  <a:gd name="T108" fmla="*/ 152 w 605"/>
                  <a:gd name="T109" fmla="*/ 282 h 1200"/>
                  <a:gd name="T110" fmla="*/ 152 w 605"/>
                  <a:gd name="T111" fmla="*/ 226 h 1200"/>
                  <a:gd name="T112" fmla="*/ 187 w 605"/>
                  <a:gd name="T113" fmla="*/ 183 h 1200"/>
                  <a:gd name="T114" fmla="*/ 216 w 605"/>
                  <a:gd name="T115" fmla="*/ 133 h 1200"/>
                  <a:gd name="T116" fmla="*/ 251 w 605"/>
                  <a:gd name="T117" fmla="*/ 112 h 1200"/>
                  <a:gd name="T118" fmla="*/ 270 w 605"/>
                  <a:gd name="T119" fmla="*/ 66 h 1200"/>
                  <a:gd name="T120" fmla="*/ 311 w 605"/>
                  <a:gd name="T121" fmla="*/ 44 h 1200"/>
                  <a:gd name="T122" fmla="*/ 363 w 605"/>
                  <a:gd name="T123" fmla="*/ 27 h 1200"/>
                  <a:gd name="T124" fmla="*/ 404 w 605"/>
                  <a:gd name="T125" fmla="*/ 1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5" h="1200">
                    <a:moveTo>
                      <a:pt x="417" y="1"/>
                    </a:moveTo>
                    <a:lnTo>
                      <a:pt x="418" y="1"/>
                    </a:lnTo>
                    <a:lnTo>
                      <a:pt x="418" y="3"/>
                    </a:lnTo>
                    <a:lnTo>
                      <a:pt x="420" y="3"/>
                    </a:lnTo>
                    <a:lnTo>
                      <a:pt x="420" y="4"/>
                    </a:lnTo>
                    <a:lnTo>
                      <a:pt x="422" y="4"/>
                    </a:lnTo>
                    <a:lnTo>
                      <a:pt x="423" y="4"/>
                    </a:lnTo>
                    <a:lnTo>
                      <a:pt x="423" y="6"/>
                    </a:lnTo>
                    <a:lnTo>
                      <a:pt x="425" y="6"/>
                    </a:lnTo>
                    <a:lnTo>
                      <a:pt x="425" y="8"/>
                    </a:lnTo>
                    <a:lnTo>
                      <a:pt x="426" y="8"/>
                    </a:lnTo>
                    <a:lnTo>
                      <a:pt x="426" y="9"/>
                    </a:lnTo>
                    <a:lnTo>
                      <a:pt x="428" y="9"/>
                    </a:lnTo>
                    <a:lnTo>
                      <a:pt x="430" y="11"/>
                    </a:lnTo>
                    <a:lnTo>
                      <a:pt x="431" y="12"/>
                    </a:lnTo>
                    <a:lnTo>
                      <a:pt x="433" y="12"/>
                    </a:lnTo>
                    <a:lnTo>
                      <a:pt x="433" y="14"/>
                    </a:lnTo>
                    <a:lnTo>
                      <a:pt x="434" y="14"/>
                    </a:lnTo>
                    <a:lnTo>
                      <a:pt x="434" y="15"/>
                    </a:lnTo>
                    <a:lnTo>
                      <a:pt x="436" y="17"/>
                    </a:lnTo>
                    <a:lnTo>
                      <a:pt x="437" y="17"/>
                    </a:lnTo>
                    <a:lnTo>
                      <a:pt x="437" y="19"/>
                    </a:lnTo>
                    <a:lnTo>
                      <a:pt x="439" y="19"/>
                    </a:lnTo>
                    <a:lnTo>
                      <a:pt x="439" y="20"/>
                    </a:lnTo>
                    <a:lnTo>
                      <a:pt x="441" y="20"/>
                    </a:lnTo>
                    <a:lnTo>
                      <a:pt x="442" y="22"/>
                    </a:lnTo>
                    <a:lnTo>
                      <a:pt x="444" y="23"/>
                    </a:lnTo>
                    <a:lnTo>
                      <a:pt x="445" y="25"/>
                    </a:lnTo>
                    <a:lnTo>
                      <a:pt x="447" y="25"/>
                    </a:lnTo>
                    <a:lnTo>
                      <a:pt x="447" y="27"/>
                    </a:lnTo>
                    <a:lnTo>
                      <a:pt x="449" y="27"/>
                    </a:lnTo>
                    <a:lnTo>
                      <a:pt x="450" y="28"/>
                    </a:lnTo>
                    <a:lnTo>
                      <a:pt x="450" y="30"/>
                    </a:lnTo>
                    <a:lnTo>
                      <a:pt x="452" y="30"/>
                    </a:lnTo>
                    <a:lnTo>
                      <a:pt x="453" y="31"/>
                    </a:lnTo>
                    <a:lnTo>
                      <a:pt x="455" y="33"/>
                    </a:lnTo>
                    <a:lnTo>
                      <a:pt x="456" y="33"/>
                    </a:lnTo>
                    <a:lnTo>
                      <a:pt x="458" y="34"/>
                    </a:lnTo>
                    <a:lnTo>
                      <a:pt x="458" y="38"/>
                    </a:lnTo>
                    <a:lnTo>
                      <a:pt x="458" y="39"/>
                    </a:lnTo>
                    <a:lnTo>
                      <a:pt x="460" y="42"/>
                    </a:lnTo>
                    <a:lnTo>
                      <a:pt x="464" y="49"/>
                    </a:lnTo>
                    <a:lnTo>
                      <a:pt x="468" y="52"/>
                    </a:lnTo>
                    <a:lnTo>
                      <a:pt x="471" y="57"/>
                    </a:lnTo>
                    <a:lnTo>
                      <a:pt x="472" y="58"/>
                    </a:lnTo>
                    <a:lnTo>
                      <a:pt x="474" y="60"/>
                    </a:lnTo>
                    <a:lnTo>
                      <a:pt x="475" y="63"/>
                    </a:lnTo>
                    <a:lnTo>
                      <a:pt x="479" y="66"/>
                    </a:lnTo>
                    <a:lnTo>
                      <a:pt x="479" y="68"/>
                    </a:lnTo>
                    <a:lnTo>
                      <a:pt x="483" y="72"/>
                    </a:lnTo>
                    <a:lnTo>
                      <a:pt x="485" y="74"/>
                    </a:lnTo>
                    <a:lnTo>
                      <a:pt x="487" y="76"/>
                    </a:lnTo>
                    <a:lnTo>
                      <a:pt x="487" y="77"/>
                    </a:lnTo>
                    <a:lnTo>
                      <a:pt x="488" y="77"/>
                    </a:lnTo>
                    <a:lnTo>
                      <a:pt x="488" y="79"/>
                    </a:lnTo>
                    <a:lnTo>
                      <a:pt x="493" y="84"/>
                    </a:lnTo>
                    <a:lnTo>
                      <a:pt x="498" y="90"/>
                    </a:lnTo>
                    <a:lnTo>
                      <a:pt x="498" y="91"/>
                    </a:lnTo>
                    <a:lnTo>
                      <a:pt x="501" y="95"/>
                    </a:lnTo>
                    <a:lnTo>
                      <a:pt x="501" y="96"/>
                    </a:lnTo>
                    <a:lnTo>
                      <a:pt x="499" y="96"/>
                    </a:lnTo>
                    <a:lnTo>
                      <a:pt x="499" y="98"/>
                    </a:lnTo>
                    <a:lnTo>
                      <a:pt x="498" y="99"/>
                    </a:lnTo>
                    <a:lnTo>
                      <a:pt x="496" y="101"/>
                    </a:lnTo>
                    <a:lnTo>
                      <a:pt x="494" y="103"/>
                    </a:lnTo>
                    <a:lnTo>
                      <a:pt x="494" y="104"/>
                    </a:lnTo>
                    <a:lnTo>
                      <a:pt x="493" y="104"/>
                    </a:lnTo>
                    <a:lnTo>
                      <a:pt x="493" y="106"/>
                    </a:lnTo>
                    <a:lnTo>
                      <a:pt x="491" y="106"/>
                    </a:lnTo>
                    <a:lnTo>
                      <a:pt x="491" y="107"/>
                    </a:lnTo>
                    <a:lnTo>
                      <a:pt x="490" y="107"/>
                    </a:lnTo>
                    <a:lnTo>
                      <a:pt x="490" y="109"/>
                    </a:lnTo>
                    <a:lnTo>
                      <a:pt x="488" y="110"/>
                    </a:lnTo>
                    <a:lnTo>
                      <a:pt x="487" y="110"/>
                    </a:lnTo>
                    <a:lnTo>
                      <a:pt x="487" y="112"/>
                    </a:lnTo>
                    <a:lnTo>
                      <a:pt x="485" y="114"/>
                    </a:lnTo>
                    <a:lnTo>
                      <a:pt x="485" y="115"/>
                    </a:lnTo>
                    <a:lnTo>
                      <a:pt x="483" y="115"/>
                    </a:lnTo>
                    <a:lnTo>
                      <a:pt x="483" y="117"/>
                    </a:lnTo>
                    <a:lnTo>
                      <a:pt x="482" y="117"/>
                    </a:lnTo>
                    <a:lnTo>
                      <a:pt x="482" y="118"/>
                    </a:lnTo>
                    <a:lnTo>
                      <a:pt x="482" y="120"/>
                    </a:lnTo>
                    <a:lnTo>
                      <a:pt x="480" y="120"/>
                    </a:lnTo>
                    <a:lnTo>
                      <a:pt x="480" y="122"/>
                    </a:lnTo>
                    <a:lnTo>
                      <a:pt x="480" y="123"/>
                    </a:lnTo>
                    <a:lnTo>
                      <a:pt x="479" y="125"/>
                    </a:lnTo>
                    <a:lnTo>
                      <a:pt x="479" y="126"/>
                    </a:lnTo>
                    <a:lnTo>
                      <a:pt x="477" y="126"/>
                    </a:lnTo>
                    <a:lnTo>
                      <a:pt x="477" y="128"/>
                    </a:lnTo>
                    <a:lnTo>
                      <a:pt x="477" y="129"/>
                    </a:lnTo>
                    <a:lnTo>
                      <a:pt x="475" y="129"/>
                    </a:lnTo>
                    <a:lnTo>
                      <a:pt x="475" y="131"/>
                    </a:lnTo>
                    <a:lnTo>
                      <a:pt x="475" y="133"/>
                    </a:lnTo>
                    <a:lnTo>
                      <a:pt x="474" y="133"/>
                    </a:lnTo>
                    <a:lnTo>
                      <a:pt x="474" y="134"/>
                    </a:lnTo>
                    <a:lnTo>
                      <a:pt x="474" y="136"/>
                    </a:lnTo>
                    <a:lnTo>
                      <a:pt x="472" y="137"/>
                    </a:lnTo>
                    <a:lnTo>
                      <a:pt x="472" y="139"/>
                    </a:lnTo>
                    <a:lnTo>
                      <a:pt x="471" y="141"/>
                    </a:lnTo>
                    <a:lnTo>
                      <a:pt x="471" y="142"/>
                    </a:lnTo>
                    <a:lnTo>
                      <a:pt x="469" y="144"/>
                    </a:lnTo>
                    <a:lnTo>
                      <a:pt x="469" y="145"/>
                    </a:lnTo>
                    <a:lnTo>
                      <a:pt x="468" y="147"/>
                    </a:lnTo>
                    <a:lnTo>
                      <a:pt x="468" y="148"/>
                    </a:lnTo>
                    <a:lnTo>
                      <a:pt x="466" y="148"/>
                    </a:lnTo>
                    <a:lnTo>
                      <a:pt x="466" y="150"/>
                    </a:lnTo>
                    <a:lnTo>
                      <a:pt x="466" y="152"/>
                    </a:lnTo>
                    <a:lnTo>
                      <a:pt x="464" y="153"/>
                    </a:lnTo>
                    <a:lnTo>
                      <a:pt x="464" y="155"/>
                    </a:lnTo>
                    <a:lnTo>
                      <a:pt x="463" y="156"/>
                    </a:lnTo>
                    <a:lnTo>
                      <a:pt x="463" y="158"/>
                    </a:lnTo>
                    <a:lnTo>
                      <a:pt x="461" y="160"/>
                    </a:lnTo>
                    <a:lnTo>
                      <a:pt x="461" y="161"/>
                    </a:lnTo>
                    <a:lnTo>
                      <a:pt x="460" y="163"/>
                    </a:lnTo>
                    <a:lnTo>
                      <a:pt x="460" y="164"/>
                    </a:lnTo>
                    <a:lnTo>
                      <a:pt x="458" y="166"/>
                    </a:lnTo>
                    <a:lnTo>
                      <a:pt x="458" y="168"/>
                    </a:lnTo>
                    <a:lnTo>
                      <a:pt x="456" y="169"/>
                    </a:lnTo>
                    <a:lnTo>
                      <a:pt x="456" y="171"/>
                    </a:lnTo>
                    <a:lnTo>
                      <a:pt x="456" y="172"/>
                    </a:lnTo>
                    <a:lnTo>
                      <a:pt x="455" y="172"/>
                    </a:lnTo>
                    <a:lnTo>
                      <a:pt x="455" y="174"/>
                    </a:lnTo>
                    <a:lnTo>
                      <a:pt x="455" y="175"/>
                    </a:lnTo>
                    <a:lnTo>
                      <a:pt x="453" y="175"/>
                    </a:lnTo>
                    <a:lnTo>
                      <a:pt x="453" y="177"/>
                    </a:lnTo>
                    <a:lnTo>
                      <a:pt x="453" y="179"/>
                    </a:lnTo>
                    <a:lnTo>
                      <a:pt x="452" y="179"/>
                    </a:lnTo>
                    <a:lnTo>
                      <a:pt x="452" y="180"/>
                    </a:lnTo>
                    <a:lnTo>
                      <a:pt x="452" y="182"/>
                    </a:lnTo>
                    <a:lnTo>
                      <a:pt x="450" y="182"/>
                    </a:lnTo>
                    <a:lnTo>
                      <a:pt x="450" y="183"/>
                    </a:lnTo>
                    <a:lnTo>
                      <a:pt x="450" y="185"/>
                    </a:lnTo>
                    <a:lnTo>
                      <a:pt x="449" y="185"/>
                    </a:lnTo>
                    <a:lnTo>
                      <a:pt x="449" y="187"/>
                    </a:lnTo>
                    <a:lnTo>
                      <a:pt x="449" y="188"/>
                    </a:lnTo>
                    <a:lnTo>
                      <a:pt x="447" y="188"/>
                    </a:lnTo>
                    <a:lnTo>
                      <a:pt x="447" y="190"/>
                    </a:lnTo>
                    <a:lnTo>
                      <a:pt x="447" y="191"/>
                    </a:lnTo>
                    <a:lnTo>
                      <a:pt x="445" y="191"/>
                    </a:lnTo>
                    <a:lnTo>
                      <a:pt x="445" y="193"/>
                    </a:lnTo>
                    <a:lnTo>
                      <a:pt x="445" y="194"/>
                    </a:lnTo>
                    <a:lnTo>
                      <a:pt x="447" y="194"/>
                    </a:lnTo>
                    <a:lnTo>
                      <a:pt x="449" y="196"/>
                    </a:lnTo>
                    <a:lnTo>
                      <a:pt x="450" y="196"/>
                    </a:lnTo>
                    <a:lnTo>
                      <a:pt x="452" y="196"/>
                    </a:lnTo>
                    <a:lnTo>
                      <a:pt x="452" y="198"/>
                    </a:lnTo>
                    <a:lnTo>
                      <a:pt x="453" y="198"/>
                    </a:lnTo>
                    <a:lnTo>
                      <a:pt x="455" y="198"/>
                    </a:lnTo>
                    <a:lnTo>
                      <a:pt x="455" y="199"/>
                    </a:lnTo>
                    <a:lnTo>
                      <a:pt x="456" y="199"/>
                    </a:lnTo>
                    <a:lnTo>
                      <a:pt x="458" y="199"/>
                    </a:lnTo>
                    <a:lnTo>
                      <a:pt x="458" y="201"/>
                    </a:lnTo>
                    <a:lnTo>
                      <a:pt x="460" y="201"/>
                    </a:lnTo>
                    <a:lnTo>
                      <a:pt x="461" y="201"/>
                    </a:lnTo>
                    <a:lnTo>
                      <a:pt x="463" y="202"/>
                    </a:lnTo>
                    <a:lnTo>
                      <a:pt x="464" y="202"/>
                    </a:lnTo>
                    <a:lnTo>
                      <a:pt x="466" y="204"/>
                    </a:lnTo>
                    <a:lnTo>
                      <a:pt x="468" y="204"/>
                    </a:lnTo>
                    <a:lnTo>
                      <a:pt x="469" y="204"/>
                    </a:lnTo>
                    <a:lnTo>
                      <a:pt x="469" y="206"/>
                    </a:lnTo>
                    <a:lnTo>
                      <a:pt x="471" y="206"/>
                    </a:lnTo>
                    <a:lnTo>
                      <a:pt x="472" y="207"/>
                    </a:lnTo>
                    <a:lnTo>
                      <a:pt x="474" y="207"/>
                    </a:lnTo>
                    <a:lnTo>
                      <a:pt x="475" y="209"/>
                    </a:lnTo>
                    <a:lnTo>
                      <a:pt x="477" y="209"/>
                    </a:lnTo>
                    <a:lnTo>
                      <a:pt x="479" y="209"/>
                    </a:lnTo>
                    <a:lnTo>
                      <a:pt x="479" y="210"/>
                    </a:lnTo>
                    <a:lnTo>
                      <a:pt x="480" y="210"/>
                    </a:lnTo>
                    <a:lnTo>
                      <a:pt x="482" y="210"/>
                    </a:lnTo>
                    <a:lnTo>
                      <a:pt x="482" y="212"/>
                    </a:lnTo>
                    <a:lnTo>
                      <a:pt x="483" y="212"/>
                    </a:lnTo>
                    <a:lnTo>
                      <a:pt x="483" y="213"/>
                    </a:lnTo>
                    <a:lnTo>
                      <a:pt x="485" y="213"/>
                    </a:lnTo>
                    <a:lnTo>
                      <a:pt x="485" y="215"/>
                    </a:lnTo>
                    <a:lnTo>
                      <a:pt x="487" y="215"/>
                    </a:lnTo>
                    <a:lnTo>
                      <a:pt x="487" y="217"/>
                    </a:lnTo>
                    <a:lnTo>
                      <a:pt x="488" y="217"/>
                    </a:lnTo>
                    <a:lnTo>
                      <a:pt x="488" y="218"/>
                    </a:lnTo>
                    <a:lnTo>
                      <a:pt x="490" y="220"/>
                    </a:lnTo>
                    <a:lnTo>
                      <a:pt x="490" y="221"/>
                    </a:lnTo>
                    <a:lnTo>
                      <a:pt x="493" y="225"/>
                    </a:lnTo>
                    <a:lnTo>
                      <a:pt x="494" y="226"/>
                    </a:lnTo>
                    <a:lnTo>
                      <a:pt x="494" y="228"/>
                    </a:lnTo>
                    <a:lnTo>
                      <a:pt x="496" y="228"/>
                    </a:lnTo>
                    <a:lnTo>
                      <a:pt x="496" y="229"/>
                    </a:lnTo>
                    <a:lnTo>
                      <a:pt x="498" y="229"/>
                    </a:lnTo>
                    <a:lnTo>
                      <a:pt x="498" y="231"/>
                    </a:lnTo>
                    <a:lnTo>
                      <a:pt x="499" y="232"/>
                    </a:lnTo>
                    <a:lnTo>
                      <a:pt x="501" y="232"/>
                    </a:lnTo>
                    <a:lnTo>
                      <a:pt x="501" y="234"/>
                    </a:lnTo>
                    <a:lnTo>
                      <a:pt x="502" y="234"/>
                    </a:lnTo>
                    <a:lnTo>
                      <a:pt x="504" y="234"/>
                    </a:lnTo>
                    <a:lnTo>
                      <a:pt x="506" y="236"/>
                    </a:lnTo>
                    <a:lnTo>
                      <a:pt x="506" y="237"/>
                    </a:lnTo>
                    <a:lnTo>
                      <a:pt x="506" y="239"/>
                    </a:lnTo>
                    <a:lnTo>
                      <a:pt x="506" y="240"/>
                    </a:lnTo>
                    <a:lnTo>
                      <a:pt x="506" y="242"/>
                    </a:lnTo>
                    <a:lnTo>
                      <a:pt x="507" y="242"/>
                    </a:lnTo>
                    <a:lnTo>
                      <a:pt x="507" y="244"/>
                    </a:lnTo>
                    <a:lnTo>
                      <a:pt x="507" y="245"/>
                    </a:lnTo>
                    <a:lnTo>
                      <a:pt x="509" y="245"/>
                    </a:lnTo>
                    <a:lnTo>
                      <a:pt x="509" y="247"/>
                    </a:lnTo>
                    <a:lnTo>
                      <a:pt x="509" y="248"/>
                    </a:lnTo>
                    <a:lnTo>
                      <a:pt x="510" y="248"/>
                    </a:lnTo>
                    <a:lnTo>
                      <a:pt x="510" y="250"/>
                    </a:lnTo>
                    <a:lnTo>
                      <a:pt x="510" y="251"/>
                    </a:lnTo>
                    <a:lnTo>
                      <a:pt x="512" y="253"/>
                    </a:lnTo>
                    <a:lnTo>
                      <a:pt x="512" y="255"/>
                    </a:lnTo>
                    <a:lnTo>
                      <a:pt x="513" y="256"/>
                    </a:lnTo>
                    <a:lnTo>
                      <a:pt x="513" y="258"/>
                    </a:lnTo>
                    <a:lnTo>
                      <a:pt x="513" y="259"/>
                    </a:lnTo>
                    <a:lnTo>
                      <a:pt x="515" y="259"/>
                    </a:lnTo>
                    <a:lnTo>
                      <a:pt x="515" y="261"/>
                    </a:lnTo>
                    <a:lnTo>
                      <a:pt x="515" y="263"/>
                    </a:lnTo>
                    <a:lnTo>
                      <a:pt x="517" y="264"/>
                    </a:lnTo>
                    <a:lnTo>
                      <a:pt x="518" y="264"/>
                    </a:lnTo>
                    <a:lnTo>
                      <a:pt x="518" y="266"/>
                    </a:lnTo>
                    <a:lnTo>
                      <a:pt x="520" y="266"/>
                    </a:lnTo>
                    <a:lnTo>
                      <a:pt x="521" y="266"/>
                    </a:lnTo>
                    <a:lnTo>
                      <a:pt x="523" y="266"/>
                    </a:lnTo>
                    <a:lnTo>
                      <a:pt x="525" y="267"/>
                    </a:lnTo>
                    <a:lnTo>
                      <a:pt x="526" y="267"/>
                    </a:lnTo>
                    <a:lnTo>
                      <a:pt x="528" y="267"/>
                    </a:lnTo>
                    <a:lnTo>
                      <a:pt x="529" y="267"/>
                    </a:lnTo>
                    <a:lnTo>
                      <a:pt x="531" y="269"/>
                    </a:lnTo>
                    <a:lnTo>
                      <a:pt x="532" y="269"/>
                    </a:lnTo>
                    <a:lnTo>
                      <a:pt x="534" y="269"/>
                    </a:lnTo>
                    <a:lnTo>
                      <a:pt x="536" y="270"/>
                    </a:lnTo>
                    <a:lnTo>
                      <a:pt x="537" y="270"/>
                    </a:lnTo>
                    <a:lnTo>
                      <a:pt x="537" y="272"/>
                    </a:lnTo>
                    <a:lnTo>
                      <a:pt x="539" y="274"/>
                    </a:lnTo>
                    <a:lnTo>
                      <a:pt x="539" y="275"/>
                    </a:lnTo>
                    <a:lnTo>
                      <a:pt x="539" y="277"/>
                    </a:lnTo>
                    <a:lnTo>
                      <a:pt x="539" y="278"/>
                    </a:lnTo>
                    <a:lnTo>
                      <a:pt x="539" y="280"/>
                    </a:lnTo>
                    <a:lnTo>
                      <a:pt x="539" y="282"/>
                    </a:lnTo>
                    <a:lnTo>
                      <a:pt x="540" y="283"/>
                    </a:lnTo>
                    <a:lnTo>
                      <a:pt x="540" y="285"/>
                    </a:lnTo>
                    <a:lnTo>
                      <a:pt x="540" y="286"/>
                    </a:lnTo>
                    <a:lnTo>
                      <a:pt x="540" y="288"/>
                    </a:lnTo>
                    <a:lnTo>
                      <a:pt x="539" y="288"/>
                    </a:lnTo>
                    <a:lnTo>
                      <a:pt x="539" y="289"/>
                    </a:lnTo>
                    <a:lnTo>
                      <a:pt x="539" y="291"/>
                    </a:lnTo>
                    <a:lnTo>
                      <a:pt x="539" y="293"/>
                    </a:lnTo>
                    <a:lnTo>
                      <a:pt x="539" y="294"/>
                    </a:lnTo>
                    <a:lnTo>
                      <a:pt x="539" y="296"/>
                    </a:lnTo>
                    <a:lnTo>
                      <a:pt x="539" y="297"/>
                    </a:lnTo>
                    <a:lnTo>
                      <a:pt x="539" y="299"/>
                    </a:lnTo>
                    <a:lnTo>
                      <a:pt x="540" y="299"/>
                    </a:lnTo>
                    <a:lnTo>
                      <a:pt x="540" y="301"/>
                    </a:lnTo>
                    <a:lnTo>
                      <a:pt x="540" y="302"/>
                    </a:lnTo>
                    <a:lnTo>
                      <a:pt x="540" y="304"/>
                    </a:lnTo>
                    <a:lnTo>
                      <a:pt x="542" y="304"/>
                    </a:lnTo>
                    <a:lnTo>
                      <a:pt x="542" y="305"/>
                    </a:lnTo>
                    <a:lnTo>
                      <a:pt x="542" y="307"/>
                    </a:lnTo>
                    <a:lnTo>
                      <a:pt x="542" y="308"/>
                    </a:lnTo>
                    <a:lnTo>
                      <a:pt x="544" y="308"/>
                    </a:lnTo>
                    <a:lnTo>
                      <a:pt x="545" y="310"/>
                    </a:lnTo>
                    <a:lnTo>
                      <a:pt x="547" y="310"/>
                    </a:lnTo>
                    <a:lnTo>
                      <a:pt x="548" y="310"/>
                    </a:lnTo>
                    <a:lnTo>
                      <a:pt x="550" y="310"/>
                    </a:lnTo>
                    <a:lnTo>
                      <a:pt x="551" y="308"/>
                    </a:lnTo>
                    <a:lnTo>
                      <a:pt x="553" y="308"/>
                    </a:lnTo>
                    <a:lnTo>
                      <a:pt x="555" y="308"/>
                    </a:lnTo>
                    <a:lnTo>
                      <a:pt x="555" y="307"/>
                    </a:lnTo>
                    <a:lnTo>
                      <a:pt x="556" y="307"/>
                    </a:lnTo>
                    <a:lnTo>
                      <a:pt x="556" y="305"/>
                    </a:lnTo>
                    <a:lnTo>
                      <a:pt x="558" y="305"/>
                    </a:lnTo>
                    <a:lnTo>
                      <a:pt x="559" y="305"/>
                    </a:lnTo>
                    <a:lnTo>
                      <a:pt x="561" y="305"/>
                    </a:lnTo>
                    <a:lnTo>
                      <a:pt x="563" y="305"/>
                    </a:lnTo>
                    <a:lnTo>
                      <a:pt x="564" y="305"/>
                    </a:lnTo>
                    <a:lnTo>
                      <a:pt x="566" y="305"/>
                    </a:lnTo>
                    <a:lnTo>
                      <a:pt x="567" y="305"/>
                    </a:lnTo>
                    <a:lnTo>
                      <a:pt x="567" y="307"/>
                    </a:lnTo>
                    <a:lnTo>
                      <a:pt x="569" y="307"/>
                    </a:lnTo>
                    <a:lnTo>
                      <a:pt x="569" y="308"/>
                    </a:lnTo>
                    <a:lnTo>
                      <a:pt x="570" y="308"/>
                    </a:lnTo>
                    <a:lnTo>
                      <a:pt x="570" y="310"/>
                    </a:lnTo>
                    <a:lnTo>
                      <a:pt x="572" y="310"/>
                    </a:lnTo>
                    <a:lnTo>
                      <a:pt x="572" y="312"/>
                    </a:lnTo>
                    <a:lnTo>
                      <a:pt x="574" y="312"/>
                    </a:lnTo>
                    <a:lnTo>
                      <a:pt x="574" y="313"/>
                    </a:lnTo>
                    <a:lnTo>
                      <a:pt x="574" y="315"/>
                    </a:lnTo>
                    <a:lnTo>
                      <a:pt x="575" y="315"/>
                    </a:lnTo>
                    <a:lnTo>
                      <a:pt x="575" y="316"/>
                    </a:lnTo>
                    <a:lnTo>
                      <a:pt x="577" y="318"/>
                    </a:lnTo>
                    <a:lnTo>
                      <a:pt x="578" y="320"/>
                    </a:lnTo>
                    <a:lnTo>
                      <a:pt x="578" y="321"/>
                    </a:lnTo>
                    <a:lnTo>
                      <a:pt x="580" y="323"/>
                    </a:lnTo>
                    <a:lnTo>
                      <a:pt x="580" y="324"/>
                    </a:lnTo>
                    <a:lnTo>
                      <a:pt x="580" y="326"/>
                    </a:lnTo>
                    <a:lnTo>
                      <a:pt x="582" y="326"/>
                    </a:lnTo>
                    <a:lnTo>
                      <a:pt x="582" y="327"/>
                    </a:lnTo>
                    <a:lnTo>
                      <a:pt x="582" y="329"/>
                    </a:lnTo>
                    <a:lnTo>
                      <a:pt x="582" y="331"/>
                    </a:lnTo>
                    <a:lnTo>
                      <a:pt x="583" y="331"/>
                    </a:lnTo>
                    <a:lnTo>
                      <a:pt x="583" y="332"/>
                    </a:lnTo>
                    <a:lnTo>
                      <a:pt x="583" y="334"/>
                    </a:lnTo>
                    <a:lnTo>
                      <a:pt x="585" y="335"/>
                    </a:lnTo>
                    <a:lnTo>
                      <a:pt x="585" y="337"/>
                    </a:lnTo>
                    <a:lnTo>
                      <a:pt x="586" y="337"/>
                    </a:lnTo>
                    <a:lnTo>
                      <a:pt x="588" y="337"/>
                    </a:lnTo>
                    <a:lnTo>
                      <a:pt x="588" y="339"/>
                    </a:lnTo>
                    <a:lnTo>
                      <a:pt x="589" y="339"/>
                    </a:lnTo>
                    <a:lnTo>
                      <a:pt x="589" y="340"/>
                    </a:lnTo>
                    <a:lnTo>
                      <a:pt x="591" y="340"/>
                    </a:lnTo>
                    <a:lnTo>
                      <a:pt x="591" y="342"/>
                    </a:lnTo>
                    <a:lnTo>
                      <a:pt x="591" y="343"/>
                    </a:lnTo>
                    <a:lnTo>
                      <a:pt x="593" y="343"/>
                    </a:lnTo>
                    <a:lnTo>
                      <a:pt x="593" y="345"/>
                    </a:lnTo>
                    <a:lnTo>
                      <a:pt x="594" y="345"/>
                    </a:lnTo>
                    <a:lnTo>
                      <a:pt x="596" y="345"/>
                    </a:lnTo>
                    <a:lnTo>
                      <a:pt x="597" y="345"/>
                    </a:lnTo>
                    <a:lnTo>
                      <a:pt x="597" y="343"/>
                    </a:lnTo>
                    <a:lnTo>
                      <a:pt x="599" y="343"/>
                    </a:lnTo>
                    <a:lnTo>
                      <a:pt x="601" y="343"/>
                    </a:lnTo>
                    <a:lnTo>
                      <a:pt x="602" y="342"/>
                    </a:lnTo>
                    <a:lnTo>
                      <a:pt x="604" y="342"/>
                    </a:lnTo>
                    <a:lnTo>
                      <a:pt x="605" y="343"/>
                    </a:lnTo>
                    <a:lnTo>
                      <a:pt x="605" y="345"/>
                    </a:lnTo>
                    <a:lnTo>
                      <a:pt x="605" y="347"/>
                    </a:lnTo>
                    <a:lnTo>
                      <a:pt x="605" y="348"/>
                    </a:lnTo>
                    <a:lnTo>
                      <a:pt x="605" y="350"/>
                    </a:lnTo>
                    <a:lnTo>
                      <a:pt x="605" y="351"/>
                    </a:lnTo>
                    <a:lnTo>
                      <a:pt x="604" y="353"/>
                    </a:lnTo>
                    <a:lnTo>
                      <a:pt x="604" y="354"/>
                    </a:lnTo>
                    <a:lnTo>
                      <a:pt x="604" y="356"/>
                    </a:lnTo>
                    <a:lnTo>
                      <a:pt x="602" y="356"/>
                    </a:lnTo>
                    <a:lnTo>
                      <a:pt x="602" y="358"/>
                    </a:lnTo>
                    <a:lnTo>
                      <a:pt x="602" y="359"/>
                    </a:lnTo>
                    <a:lnTo>
                      <a:pt x="601" y="361"/>
                    </a:lnTo>
                    <a:lnTo>
                      <a:pt x="601" y="362"/>
                    </a:lnTo>
                    <a:lnTo>
                      <a:pt x="599" y="362"/>
                    </a:lnTo>
                    <a:lnTo>
                      <a:pt x="599" y="364"/>
                    </a:lnTo>
                    <a:lnTo>
                      <a:pt x="597" y="364"/>
                    </a:lnTo>
                    <a:lnTo>
                      <a:pt x="597" y="366"/>
                    </a:lnTo>
                    <a:lnTo>
                      <a:pt x="597" y="367"/>
                    </a:lnTo>
                    <a:lnTo>
                      <a:pt x="597" y="369"/>
                    </a:lnTo>
                    <a:lnTo>
                      <a:pt x="596" y="369"/>
                    </a:lnTo>
                    <a:lnTo>
                      <a:pt x="596" y="370"/>
                    </a:lnTo>
                    <a:lnTo>
                      <a:pt x="596" y="372"/>
                    </a:lnTo>
                    <a:lnTo>
                      <a:pt x="596" y="373"/>
                    </a:lnTo>
                    <a:lnTo>
                      <a:pt x="593" y="373"/>
                    </a:lnTo>
                    <a:lnTo>
                      <a:pt x="593" y="375"/>
                    </a:lnTo>
                    <a:lnTo>
                      <a:pt x="588" y="378"/>
                    </a:lnTo>
                    <a:lnTo>
                      <a:pt x="582" y="381"/>
                    </a:lnTo>
                    <a:lnTo>
                      <a:pt x="577" y="386"/>
                    </a:lnTo>
                    <a:lnTo>
                      <a:pt x="574" y="389"/>
                    </a:lnTo>
                    <a:lnTo>
                      <a:pt x="572" y="389"/>
                    </a:lnTo>
                    <a:lnTo>
                      <a:pt x="570" y="389"/>
                    </a:lnTo>
                    <a:lnTo>
                      <a:pt x="570" y="391"/>
                    </a:lnTo>
                    <a:lnTo>
                      <a:pt x="569" y="391"/>
                    </a:lnTo>
                    <a:lnTo>
                      <a:pt x="567" y="391"/>
                    </a:lnTo>
                    <a:lnTo>
                      <a:pt x="567" y="392"/>
                    </a:lnTo>
                    <a:lnTo>
                      <a:pt x="566" y="392"/>
                    </a:lnTo>
                    <a:lnTo>
                      <a:pt x="564" y="394"/>
                    </a:lnTo>
                    <a:lnTo>
                      <a:pt x="563" y="394"/>
                    </a:lnTo>
                    <a:lnTo>
                      <a:pt x="563" y="396"/>
                    </a:lnTo>
                    <a:lnTo>
                      <a:pt x="561" y="396"/>
                    </a:lnTo>
                    <a:lnTo>
                      <a:pt x="559" y="397"/>
                    </a:lnTo>
                    <a:lnTo>
                      <a:pt x="558" y="397"/>
                    </a:lnTo>
                    <a:lnTo>
                      <a:pt x="556" y="397"/>
                    </a:lnTo>
                    <a:lnTo>
                      <a:pt x="556" y="399"/>
                    </a:lnTo>
                    <a:lnTo>
                      <a:pt x="555" y="399"/>
                    </a:lnTo>
                    <a:lnTo>
                      <a:pt x="553" y="399"/>
                    </a:lnTo>
                    <a:lnTo>
                      <a:pt x="553" y="400"/>
                    </a:lnTo>
                    <a:lnTo>
                      <a:pt x="551" y="400"/>
                    </a:lnTo>
                    <a:lnTo>
                      <a:pt x="550" y="400"/>
                    </a:lnTo>
                    <a:lnTo>
                      <a:pt x="550" y="402"/>
                    </a:lnTo>
                    <a:lnTo>
                      <a:pt x="548" y="402"/>
                    </a:lnTo>
                    <a:lnTo>
                      <a:pt x="547" y="404"/>
                    </a:lnTo>
                    <a:lnTo>
                      <a:pt x="545" y="404"/>
                    </a:lnTo>
                    <a:lnTo>
                      <a:pt x="545" y="405"/>
                    </a:lnTo>
                    <a:lnTo>
                      <a:pt x="544" y="405"/>
                    </a:lnTo>
                    <a:lnTo>
                      <a:pt x="544" y="407"/>
                    </a:lnTo>
                    <a:lnTo>
                      <a:pt x="542" y="407"/>
                    </a:lnTo>
                    <a:lnTo>
                      <a:pt x="542" y="408"/>
                    </a:lnTo>
                    <a:lnTo>
                      <a:pt x="540" y="408"/>
                    </a:lnTo>
                    <a:lnTo>
                      <a:pt x="539" y="410"/>
                    </a:lnTo>
                    <a:lnTo>
                      <a:pt x="537" y="411"/>
                    </a:lnTo>
                    <a:lnTo>
                      <a:pt x="536" y="411"/>
                    </a:lnTo>
                    <a:lnTo>
                      <a:pt x="536" y="413"/>
                    </a:lnTo>
                    <a:lnTo>
                      <a:pt x="534" y="413"/>
                    </a:lnTo>
                    <a:lnTo>
                      <a:pt x="534" y="415"/>
                    </a:lnTo>
                    <a:lnTo>
                      <a:pt x="532" y="415"/>
                    </a:lnTo>
                    <a:lnTo>
                      <a:pt x="531" y="416"/>
                    </a:lnTo>
                    <a:lnTo>
                      <a:pt x="529" y="418"/>
                    </a:lnTo>
                    <a:lnTo>
                      <a:pt x="528" y="419"/>
                    </a:lnTo>
                    <a:lnTo>
                      <a:pt x="526" y="421"/>
                    </a:lnTo>
                    <a:lnTo>
                      <a:pt x="525" y="421"/>
                    </a:lnTo>
                    <a:lnTo>
                      <a:pt x="525" y="423"/>
                    </a:lnTo>
                    <a:lnTo>
                      <a:pt x="523" y="423"/>
                    </a:lnTo>
                    <a:lnTo>
                      <a:pt x="523" y="424"/>
                    </a:lnTo>
                    <a:lnTo>
                      <a:pt x="521" y="424"/>
                    </a:lnTo>
                    <a:lnTo>
                      <a:pt x="520" y="426"/>
                    </a:lnTo>
                    <a:lnTo>
                      <a:pt x="518" y="427"/>
                    </a:lnTo>
                    <a:lnTo>
                      <a:pt x="517" y="427"/>
                    </a:lnTo>
                    <a:lnTo>
                      <a:pt x="515" y="429"/>
                    </a:lnTo>
                    <a:lnTo>
                      <a:pt x="513" y="429"/>
                    </a:lnTo>
                    <a:lnTo>
                      <a:pt x="513" y="430"/>
                    </a:lnTo>
                    <a:lnTo>
                      <a:pt x="513" y="432"/>
                    </a:lnTo>
                    <a:lnTo>
                      <a:pt x="515" y="432"/>
                    </a:lnTo>
                    <a:lnTo>
                      <a:pt x="515" y="434"/>
                    </a:lnTo>
                    <a:lnTo>
                      <a:pt x="515" y="435"/>
                    </a:lnTo>
                    <a:lnTo>
                      <a:pt x="515" y="437"/>
                    </a:lnTo>
                    <a:lnTo>
                      <a:pt x="515" y="438"/>
                    </a:lnTo>
                    <a:lnTo>
                      <a:pt x="517" y="440"/>
                    </a:lnTo>
                    <a:lnTo>
                      <a:pt x="517" y="442"/>
                    </a:lnTo>
                    <a:lnTo>
                      <a:pt x="518" y="442"/>
                    </a:lnTo>
                    <a:lnTo>
                      <a:pt x="518" y="443"/>
                    </a:lnTo>
                    <a:lnTo>
                      <a:pt x="520" y="443"/>
                    </a:lnTo>
                    <a:lnTo>
                      <a:pt x="521" y="443"/>
                    </a:lnTo>
                    <a:lnTo>
                      <a:pt x="521" y="445"/>
                    </a:lnTo>
                    <a:lnTo>
                      <a:pt x="523" y="445"/>
                    </a:lnTo>
                    <a:lnTo>
                      <a:pt x="523" y="446"/>
                    </a:lnTo>
                    <a:lnTo>
                      <a:pt x="523" y="448"/>
                    </a:lnTo>
                    <a:lnTo>
                      <a:pt x="523" y="449"/>
                    </a:lnTo>
                    <a:lnTo>
                      <a:pt x="521" y="449"/>
                    </a:lnTo>
                    <a:lnTo>
                      <a:pt x="521" y="451"/>
                    </a:lnTo>
                    <a:lnTo>
                      <a:pt x="521" y="453"/>
                    </a:lnTo>
                    <a:lnTo>
                      <a:pt x="521" y="454"/>
                    </a:lnTo>
                    <a:lnTo>
                      <a:pt x="523" y="456"/>
                    </a:lnTo>
                    <a:lnTo>
                      <a:pt x="523" y="457"/>
                    </a:lnTo>
                    <a:lnTo>
                      <a:pt x="523" y="459"/>
                    </a:lnTo>
                    <a:lnTo>
                      <a:pt x="523" y="461"/>
                    </a:lnTo>
                    <a:lnTo>
                      <a:pt x="523" y="462"/>
                    </a:lnTo>
                    <a:lnTo>
                      <a:pt x="523" y="464"/>
                    </a:lnTo>
                    <a:lnTo>
                      <a:pt x="523" y="465"/>
                    </a:lnTo>
                    <a:lnTo>
                      <a:pt x="523" y="467"/>
                    </a:lnTo>
                    <a:lnTo>
                      <a:pt x="523" y="468"/>
                    </a:lnTo>
                    <a:lnTo>
                      <a:pt x="521" y="468"/>
                    </a:lnTo>
                    <a:lnTo>
                      <a:pt x="521" y="470"/>
                    </a:lnTo>
                    <a:lnTo>
                      <a:pt x="521" y="472"/>
                    </a:lnTo>
                    <a:lnTo>
                      <a:pt x="521" y="473"/>
                    </a:lnTo>
                    <a:lnTo>
                      <a:pt x="521" y="475"/>
                    </a:lnTo>
                    <a:lnTo>
                      <a:pt x="523" y="475"/>
                    </a:lnTo>
                    <a:lnTo>
                      <a:pt x="523" y="476"/>
                    </a:lnTo>
                    <a:lnTo>
                      <a:pt x="523" y="478"/>
                    </a:lnTo>
                    <a:lnTo>
                      <a:pt x="523" y="480"/>
                    </a:lnTo>
                    <a:lnTo>
                      <a:pt x="525" y="480"/>
                    </a:lnTo>
                    <a:lnTo>
                      <a:pt x="525" y="481"/>
                    </a:lnTo>
                    <a:lnTo>
                      <a:pt x="526" y="481"/>
                    </a:lnTo>
                    <a:lnTo>
                      <a:pt x="526" y="483"/>
                    </a:lnTo>
                    <a:lnTo>
                      <a:pt x="526" y="484"/>
                    </a:lnTo>
                    <a:lnTo>
                      <a:pt x="528" y="484"/>
                    </a:lnTo>
                    <a:lnTo>
                      <a:pt x="529" y="486"/>
                    </a:lnTo>
                    <a:lnTo>
                      <a:pt x="529" y="487"/>
                    </a:lnTo>
                    <a:lnTo>
                      <a:pt x="528" y="487"/>
                    </a:lnTo>
                    <a:lnTo>
                      <a:pt x="529" y="489"/>
                    </a:lnTo>
                    <a:lnTo>
                      <a:pt x="529" y="491"/>
                    </a:lnTo>
                    <a:lnTo>
                      <a:pt x="529" y="492"/>
                    </a:lnTo>
                    <a:lnTo>
                      <a:pt x="529" y="494"/>
                    </a:lnTo>
                    <a:lnTo>
                      <a:pt x="531" y="495"/>
                    </a:lnTo>
                    <a:lnTo>
                      <a:pt x="531" y="497"/>
                    </a:lnTo>
                    <a:lnTo>
                      <a:pt x="532" y="497"/>
                    </a:lnTo>
                    <a:lnTo>
                      <a:pt x="532" y="499"/>
                    </a:lnTo>
                    <a:lnTo>
                      <a:pt x="534" y="499"/>
                    </a:lnTo>
                    <a:lnTo>
                      <a:pt x="534" y="500"/>
                    </a:lnTo>
                    <a:lnTo>
                      <a:pt x="534" y="502"/>
                    </a:lnTo>
                    <a:lnTo>
                      <a:pt x="532" y="502"/>
                    </a:lnTo>
                    <a:lnTo>
                      <a:pt x="532" y="503"/>
                    </a:lnTo>
                    <a:lnTo>
                      <a:pt x="532" y="505"/>
                    </a:lnTo>
                    <a:lnTo>
                      <a:pt x="534" y="505"/>
                    </a:lnTo>
                    <a:lnTo>
                      <a:pt x="534" y="506"/>
                    </a:lnTo>
                    <a:lnTo>
                      <a:pt x="534" y="508"/>
                    </a:lnTo>
                    <a:lnTo>
                      <a:pt x="532" y="508"/>
                    </a:lnTo>
                    <a:lnTo>
                      <a:pt x="534" y="510"/>
                    </a:lnTo>
                    <a:lnTo>
                      <a:pt x="534" y="511"/>
                    </a:lnTo>
                    <a:lnTo>
                      <a:pt x="534" y="513"/>
                    </a:lnTo>
                    <a:lnTo>
                      <a:pt x="536" y="513"/>
                    </a:lnTo>
                    <a:lnTo>
                      <a:pt x="536" y="514"/>
                    </a:lnTo>
                    <a:lnTo>
                      <a:pt x="536" y="516"/>
                    </a:lnTo>
                    <a:lnTo>
                      <a:pt x="537" y="518"/>
                    </a:lnTo>
                    <a:lnTo>
                      <a:pt x="537" y="519"/>
                    </a:lnTo>
                    <a:lnTo>
                      <a:pt x="537" y="521"/>
                    </a:lnTo>
                    <a:lnTo>
                      <a:pt x="537" y="522"/>
                    </a:lnTo>
                    <a:lnTo>
                      <a:pt x="539" y="522"/>
                    </a:lnTo>
                    <a:lnTo>
                      <a:pt x="540" y="522"/>
                    </a:lnTo>
                    <a:lnTo>
                      <a:pt x="540" y="524"/>
                    </a:lnTo>
                    <a:lnTo>
                      <a:pt x="542" y="525"/>
                    </a:lnTo>
                    <a:lnTo>
                      <a:pt x="542" y="527"/>
                    </a:lnTo>
                    <a:lnTo>
                      <a:pt x="542" y="529"/>
                    </a:lnTo>
                    <a:lnTo>
                      <a:pt x="544" y="530"/>
                    </a:lnTo>
                    <a:lnTo>
                      <a:pt x="545" y="532"/>
                    </a:lnTo>
                    <a:lnTo>
                      <a:pt x="547" y="532"/>
                    </a:lnTo>
                    <a:lnTo>
                      <a:pt x="547" y="533"/>
                    </a:lnTo>
                    <a:lnTo>
                      <a:pt x="548" y="533"/>
                    </a:lnTo>
                    <a:lnTo>
                      <a:pt x="550" y="535"/>
                    </a:lnTo>
                    <a:lnTo>
                      <a:pt x="551" y="537"/>
                    </a:lnTo>
                    <a:lnTo>
                      <a:pt x="553" y="537"/>
                    </a:lnTo>
                    <a:lnTo>
                      <a:pt x="553" y="538"/>
                    </a:lnTo>
                    <a:lnTo>
                      <a:pt x="553" y="540"/>
                    </a:lnTo>
                    <a:lnTo>
                      <a:pt x="555" y="540"/>
                    </a:lnTo>
                    <a:lnTo>
                      <a:pt x="555" y="541"/>
                    </a:lnTo>
                    <a:lnTo>
                      <a:pt x="556" y="543"/>
                    </a:lnTo>
                    <a:lnTo>
                      <a:pt x="556" y="545"/>
                    </a:lnTo>
                    <a:lnTo>
                      <a:pt x="556" y="546"/>
                    </a:lnTo>
                    <a:lnTo>
                      <a:pt x="556" y="548"/>
                    </a:lnTo>
                    <a:lnTo>
                      <a:pt x="556" y="549"/>
                    </a:lnTo>
                    <a:lnTo>
                      <a:pt x="556" y="551"/>
                    </a:lnTo>
                    <a:lnTo>
                      <a:pt x="556" y="552"/>
                    </a:lnTo>
                    <a:lnTo>
                      <a:pt x="558" y="552"/>
                    </a:lnTo>
                    <a:lnTo>
                      <a:pt x="558" y="554"/>
                    </a:lnTo>
                    <a:lnTo>
                      <a:pt x="559" y="556"/>
                    </a:lnTo>
                    <a:lnTo>
                      <a:pt x="559" y="557"/>
                    </a:lnTo>
                    <a:lnTo>
                      <a:pt x="561" y="557"/>
                    </a:lnTo>
                    <a:lnTo>
                      <a:pt x="561" y="559"/>
                    </a:lnTo>
                    <a:lnTo>
                      <a:pt x="563" y="559"/>
                    </a:lnTo>
                    <a:lnTo>
                      <a:pt x="564" y="560"/>
                    </a:lnTo>
                    <a:lnTo>
                      <a:pt x="566" y="562"/>
                    </a:lnTo>
                    <a:lnTo>
                      <a:pt x="567" y="562"/>
                    </a:lnTo>
                    <a:lnTo>
                      <a:pt x="569" y="562"/>
                    </a:lnTo>
                    <a:lnTo>
                      <a:pt x="569" y="564"/>
                    </a:lnTo>
                    <a:lnTo>
                      <a:pt x="570" y="564"/>
                    </a:lnTo>
                    <a:lnTo>
                      <a:pt x="572" y="565"/>
                    </a:lnTo>
                    <a:lnTo>
                      <a:pt x="572" y="567"/>
                    </a:lnTo>
                    <a:lnTo>
                      <a:pt x="572" y="568"/>
                    </a:lnTo>
                    <a:lnTo>
                      <a:pt x="574" y="570"/>
                    </a:lnTo>
                    <a:lnTo>
                      <a:pt x="575" y="570"/>
                    </a:lnTo>
                    <a:lnTo>
                      <a:pt x="577" y="570"/>
                    </a:lnTo>
                    <a:lnTo>
                      <a:pt x="578" y="570"/>
                    </a:lnTo>
                    <a:lnTo>
                      <a:pt x="580" y="570"/>
                    </a:lnTo>
                    <a:lnTo>
                      <a:pt x="582" y="571"/>
                    </a:lnTo>
                    <a:lnTo>
                      <a:pt x="580" y="573"/>
                    </a:lnTo>
                    <a:lnTo>
                      <a:pt x="580" y="575"/>
                    </a:lnTo>
                    <a:lnTo>
                      <a:pt x="580" y="576"/>
                    </a:lnTo>
                    <a:lnTo>
                      <a:pt x="578" y="576"/>
                    </a:lnTo>
                    <a:lnTo>
                      <a:pt x="578" y="578"/>
                    </a:lnTo>
                    <a:lnTo>
                      <a:pt x="578" y="579"/>
                    </a:lnTo>
                    <a:lnTo>
                      <a:pt x="578" y="581"/>
                    </a:lnTo>
                    <a:lnTo>
                      <a:pt x="580" y="583"/>
                    </a:lnTo>
                    <a:lnTo>
                      <a:pt x="582" y="584"/>
                    </a:lnTo>
                    <a:lnTo>
                      <a:pt x="582" y="586"/>
                    </a:lnTo>
                    <a:lnTo>
                      <a:pt x="583" y="586"/>
                    </a:lnTo>
                    <a:lnTo>
                      <a:pt x="583" y="587"/>
                    </a:lnTo>
                    <a:lnTo>
                      <a:pt x="585" y="589"/>
                    </a:lnTo>
                    <a:lnTo>
                      <a:pt x="586" y="590"/>
                    </a:lnTo>
                    <a:lnTo>
                      <a:pt x="586" y="592"/>
                    </a:lnTo>
                    <a:lnTo>
                      <a:pt x="588" y="592"/>
                    </a:lnTo>
                    <a:lnTo>
                      <a:pt x="588" y="594"/>
                    </a:lnTo>
                    <a:lnTo>
                      <a:pt x="589" y="594"/>
                    </a:lnTo>
                    <a:lnTo>
                      <a:pt x="589" y="595"/>
                    </a:lnTo>
                    <a:lnTo>
                      <a:pt x="591" y="597"/>
                    </a:lnTo>
                    <a:lnTo>
                      <a:pt x="591" y="598"/>
                    </a:lnTo>
                    <a:lnTo>
                      <a:pt x="593" y="598"/>
                    </a:lnTo>
                    <a:lnTo>
                      <a:pt x="593" y="600"/>
                    </a:lnTo>
                    <a:lnTo>
                      <a:pt x="594" y="600"/>
                    </a:lnTo>
                    <a:lnTo>
                      <a:pt x="594" y="602"/>
                    </a:lnTo>
                    <a:lnTo>
                      <a:pt x="596" y="603"/>
                    </a:lnTo>
                    <a:lnTo>
                      <a:pt x="596" y="605"/>
                    </a:lnTo>
                    <a:lnTo>
                      <a:pt x="597" y="605"/>
                    </a:lnTo>
                    <a:lnTo>
                      <a:pt x="597" y="606"/>
                    </a:lnTo>
                    <a:lnTo>
                      <a:pt x="599" y="606"/>
                    </a:lnTo>
                    <a:lnTo>
                      <a:pt x="599" y="608"/>
                    </a:lnTo>
                    <a:lnTo>
                      <a:pt x="601" y="608"/>
                    </a:lnTo>
                    <a:lnTo>
                      <a:pt x="601" y="609"/>
                    </a:lnTo>
                    <a:lnTo>
                      <a:pt x="602" y="609"/>
                    </a:lnTo>
                    <a:lnTo>
                      <a:pt x="604" y="611"/>
                    </a:lnTo>
                    <a:lnTo>
                      <a:pt x="604" y="613"/>
                    </a:lnTo>
                    <a:lnTo>
                      <a:pt x="605" y="613"/>
                    </a:lnTo>
                    <a:lnTo>
                      <a:pt x="604" y="613"/>
                    </a:lnTo>
                    <a:lnTo>
                      <a:pt x="604" y="614"/>
                    </a:lnTo>
                    <a:lnTo>
                      <a:pt x="604" y="616"/>
                    </a:lnTo>
                    <a:lnTo>
                      <a:pt x="602" y="616"/>
                    </a:lnTo>
                    <a:lnTo>
                      <a:pt x="602" y="617"/>
                    </a:lnTo>
                    <a:lnTo>
                      <a:pt x="602" y="619"/>
                    </a:lnTo>
                    <a:lnTo>
                      <a:pt x="602" y="621"/>
                    </a:lnTo>
                    <a:lnTo>
                      <a:pt x="601" y="621"/>
                    </a:lnTo>
                    <a:lnTo>
                      <a:pt x="599" y="622"/>
                    </a:lnTo>
                    <a:lnTo>
                      <a:pt x="599" y="624"/>
                    </a:lnTo>
                    <a:lnTo>
                      <a:pt x="597" y="624"/>
                    </a:lnTo>
                    <a:lnTo>
                      <a:pt x="596" y="625"/>
                    </a:lnTo>
                    <a:lnTo>
                      <a:pt x="594" y="625"/>
                    </a:lnTo>
                    <a:lnTo>
                      <a:pt x="594" y="627"/>
                    </a:lnTo>
                    <a:lnTo>
                      <a:pt x="593" y="627"/>
                    </a:lnTo>
                    <a:lnTo>
                      <a:pt x="593" y="628"/>
                    </a:lnTo>
                    <a:lnTo>
                      <a:pt x="591" y="628"/>
                    </a:lnTo>
                    <a:lnTo>
                      <a:pt x="589" y="628"/>
                    </a:lnTo>
                    <a:lnTo>
                      <a:pt x="588" y="628"/>
                    </a:lnTo>
                    <a:lnTo>
                      <a:pt x="588" y="630"/>
                    </a:lnTo>
                    <a:lnTo>
                      <a:pt x="588" y="632"/>
                    </a:lnTo>
                    <a:lnTo>
                      <a:pt x="586" y="632"/>
                    </a:lnTo>
                    <a:lnTo>
                      <a:pt x="586" y="633"/>
                    </a:lnTo>
                    <a:lnTo>
                      <a:pt x="585" y="633"/>
                    </a:lnTo>
                    <a:lnTo>
                      <a:pt x="585" y="635"/>
                    </a:lnTo>
                    <a:lnTo>
                      <a:pt x="583" y="635"/>
                    </a:lnTo>
                    <a:lnTo>
                      <a:pt x="583" y="636"/>
                    </a:lnTo>
                    <a:lnTo>
                      <a:pt x="583" y="638"/>
                    </a:lnTo>
                    <a:lnTo>
                      <a:pt x="583" y="640"/>
                    </a:lnTo>
                    <a:lnTo>
                      <a:pt x="583" y="641"/>
                    </a:lnTo>
                    <a:lnTo>
                      <a:pt x="585" y="643"/>
                    </a:lnTo>
                    <a:lnTo>
                      <a:pt x="585" y="644"/>
                    </a:lnTo>
                    <a:lnTo>
                      <a:pt x="583" y="644"/>
                    </a:lnTo>
                    <a:lnTo>
                      <a:pt x="585" y="644"/>
                    </a:lnTo>
                    <a:lnTo>
                      <a:pt x="585" y="646"/>
                    </a:lnTo>
                    <a:lnTo>
                      <a:pt x="585" y="647"/>
                    </a:lnTo>
                    <a:lnTo>
                      <a:pt x="585" y="649"/>
                    </a:lnTo>
                    <a:lnTo>
                      <a:pt x="585" y="651"/>
                    </a:lnTo>
                    <a:lnTo>
                      <a:pt x="585" y="652"/>
                    </a:lnTo>
                    <a:lnTo>
                      <a:pt x="585" y="654"/>
                    </a:lnTo>
                    <a:lnTo>
                      <a:pt x="586" y="655"/>
                    </a:lnTo>
                    <a:lnTo>
                      <a:pt x="586" y="657"/>
                    </a:lnTo>
                    <a:lnTo>
                      <a:pt x="585" y="657"/>
                    </a:lnTo>
                    <a:lnTo>
                      <a:pt x="585" y="659"/>
                    </a:lnTo>
                    <a:lnTo>
                      <a:pt x="583" y="659"/>
                    </a:lnTo>
                    <a:lnTo>
                      <a:pt x="582" y="659"/>
                    </a:lnTo>
                    <a:lnTo>
                      <a:pt x="580" y="659"/>
                    </a:lnTo>
                    <a:lnTo>
                      <a:pt x="578" y="659"/>
                    </a:lnTo>
                    <a:lnTo>
                      <a:pt x="577" y="659"/>
                    </a:lnTo>
                    <a:lnTo>
                      <a:pt x="577" y="660"/>
                    </a:lnTo>
                    <a:lnTo>
                      <a:pt x="575" y="660"/>
                    </a:lnTo>
                    <a:lnTo>
                      <a:pt x="575" y="662"/>
                    </a:lnTo>
                    <a:lnTo>
                      <a:pt x="575" y="663"/>
                    </a:lnTo>
                    <a:lnTo>
                      <a:pt x="575" y="665"/>
                    </a:lnTo>
                    <a:lnTo>
                      <a:pt x="575" y="666"/>
                    </a:lnTo>
                    <a:lnTo>
                      <a:pt x="574" y="668"/>
                    </a:lnTo>
                    <a:lnTo>
                      <a:pt x="574" y="670"/>
                    </a:lnTo>
                    <a:lnTo>
                      <a:pt x="572" y="671"/>
                    </a:lnTo>
                    <a:lnTo>
                      <a:pt x="572" y="673"/>
                    </a:lnTo>
                    <a:lnTo>
                      <a:pt x="570" y="674"/>
                    </a:lnTo>
                    <a:lnTo>
                      <a:pt x="570" y="676"/>
                    </a:lnTo>
                    <a:lnTo>
                      <a:pt x="570" y="678"/>
                    </a:lnTo>
                    <a:lnTo>
                      <a:pt x="569" y="679"/>
                    </a:lnTo>
                    <a:lnTo>
                      <a:pt x="569" y="681"/>
                    </a:lnTo>
                    <a:lnTo>
                      <a:pt x="567" y="681"/>
                    </a:lnTo>
                    <a:lnTo>
                      <a:pt x="567" y="682"/>
                    </a:lnTo>
                    <a:lnTo>
                      <a:pt x="566" y="682"/>
                    </a:lnTo>
                    <a:lnTo>
                      <a:pt x="566" y="684"/>
                    </a:lnTo>
                    <a:lnTo>
                      <a:pt x="566" y="685"/>
                    </a:lnTo>
                    <a:lnTo>
                      <a:pt x="564" y="685"/>
                    </a:lnTo>
                    <a:lnTo>
                      <a:pt x="564" y="687"/>
                    </a:lnTo>
                    <a:lnTo>
                      <a:pt x="563" y="689"/>
                    </a:lnTo>
                    <a:lnTo>
                      <a:pt x="563" y="690"/>
                    </a:lnTo>
                    <a:lnTo>
                      <a:pt x="563" y="692"/>
                    </a:lnTo>
                    <a:lnTo>
                      <a:pt x="563" y="693"/>
                    </a:lnTo>
                    <a:lnTo>
                      <a:pt x="563" y="695"/>
                    </a:lnTo>
                    <a:lnTo>
                      <a:pt x="563" y="697"/>
                    </a:lnTo>
                    <a:lnTo>
                      <a:pt x="563" y="698"/>
                    </a:lnTo>
                    <a:lnTo>
                      <a:pt x="561" y="700"/>
                    </a:lnTo>
                    <a:lnTo>
                      <a:pt x="561" y="701"/>
                    </a:lnTo>
                    <a:lnTo>
                      <a:pt x="561" y="703"/>
                    </a:lnTo>
                    <a:lnTo>
                      <a:pt x="561" y="704"/>
                    </a:lnTo>
                    <a:lnTo>
                      <a:pt x="561" y="706"/>
                    </a:lnTo>
                    <a:lnTo>
                      <a:pt x="561" y="708"/>
                    </a:lnTo>
                    <a:lnTo>
                      <a:pt x="561" y="709"/>
                    </a:lnTo>
                    <a:lnTo>
                      <a:pt x="561" y="711"/>
                    </a:lnTo>
                    <a:lnTo>
                      <a:pt x="561" y="712"/>
                    </a:lnTo>
                    <a:lnTo>
                      <a:pt x="561" y="714"/>
                    </a:lnTo>
                    <a:lnTo>
                      <a:pt x="563" y="714"/>
                    </a:lnTo>
                    <a:lnTo>
                      <a:pt x="563" y="716"/>
                    </a:lnTo>
                    <a:lnTo>
                      <a:pt x="563" y="717"/>
                    </a:lnTo>
                    <a:lnTo>
                      <a:pt x="563" y="719"/>
                    </a:lnTo>
                    <a:lnTo>
                      <a:pt x="563" y="720"/>
                    </a:lnTo>
                    <a:lnTo>
                      <a:pt x="563" y="722"/>
                    </a:lnTo>
                    <a:lnTo>
                      <a:pt x="563" y="724"/>
                    </a:lnTo>
                    <a:lnTo>
                      <a:pt x="563" y="725"/>
                    </a:lnTo>
                    <a:lnTo>
                      <a:pt x="563" y="727"/>
                    </a:lnTo>
                    <a:lnTo>
                      <a:pt x="561" y="727"/>
                    </a:lnTo>
                    <a:lnTo>
                      <a:pt x="561" y="728"/>
                    </a:lnTo>
                    <a:lnTo>
                      <a:pt x="561" y="730"/>
                    </a:lnTo>
                    <a:lnTo>
                      <a:pt x="561" y="731"/>
                    </a:lnTo>
                    <a:lnTo>
                      <a:pt x="561" y="733"/>
                    </a:lnTo>
                    <a:lnTo>
                      <a:pt x="561" y="735"/>
                    </a:lnTo>
                    <a:lnTo>
                      <a:pt x="561" y="736"/>
                    </a:lnTo>
                    <a:lnTo>
                      <a:pt x="559" y="736"/>
                    </a:lnTo>
                    <a:lnTo>
                      <a:pt x="559" y="738"/>
                    </a:lnTo>
                    <a:lnTo>
                      <a:pt x="559" y="739"/>
                    </a:lnTo>
                    <a:lnTo>
                      <a:pt x="559" y="741"/>
                    </a:lnTo>
                    <a:lnTo>
                      <a:pt x="559" y="743"/>
                    </a:lnTo>
                    <a:lnTo>
                      <a:pt x="558" y="743"/>
                    </a:lnTo>
                    <a:lnTo>
                      <a:pt x="558" y="744"/>
                    </a:lnTo>
                    <a:lnTo>
                      <a:pt x="558" y="746"/>
                    </a:lnTo>
                    <a:lnTo>
                      <a:pt x="558" y="747"/>
                    </a:lnTo>
                    <a:lnTo>
                      <a:pt x="558" y="749"/>
                    </a:lnTo>
                    <a:lnTo>
                      <a:pt x="558" y="750"/>
                    </a:lnTo>
                    <a:lnTo>
                      <a:pt x="556" y="750"/>
                    </a:lnTo>
                    <a:lnTo>
                      <a:pt x="556" y="752"/>
                    </a:lnTo>
                    <a:lnTo>
                      <a:pt x="556" y="754"/>
                    </a:lnTo>
                    <a:lnTo>
                      <a:pt x="556" y="755"/>
                    </a:lnTo>
                    <a:lnTo>
                      <a:pt x="556" y="757"/>
                    </a:lnTo>
                    <a:lnTo>
                      <a:pt x="556" y="758"/>
                    </a:lnTo>
                    <a:lnTo>
                      <a:pt x="556" y="760"/>
                    </a:lnTo>
                    <a:lnTo>
                      <a:pt x="555" y="760"/>
                    </a:lnTo>
                    <a:lnTo>
                      <a:pt x="555" y="762"/>
                    </a:lnTo>
                    <a:lnTo>
                      <a:pt x="555" y="763"/>
                    </a:lnTo>
                    <a:lnTo>
                      <a:pt x="555" y="765"/>
                    </a:lnTo>
                    <a:lnTo>
                      <a:pt x="555" y="766"/>
                    </a:lnTo>
                    <a:lnTo>
                      <a:pt x="553" y="766"/>
                    </a:lnTo>
                    <a:lnTo>
                      <a:pt x="553" y="768"/>
                    </a:lnTo>
                    <a:lnTo>
                      <a:pt x="553" y="769"/>
                    </a:lnTo>
                    <a:lnTo>
                      <a:pt x="553" y="771"/>
                    </a:lnTo>
                    <a:lnTo>
                      <a:pt x="553" y="773"/>
                    </a:lnTo>
                    <a:lnTo>
                      <a:pt x="551" y="774"/>
                    </a:lnTo>
                    <a:lnTo>
                      <a:pt x="551" y="776"/>
                    </a:lnTo>
                    <a:lnTo>
                      <a:pt x="551" y="777"/>
                    </a:lnTo>
                    <a:lnTo>
                      <a:pt x="551" y="779"/>
                    </a:lnTo>
                    <a:lnTo>
                      <a:pt x="551" y="781"/>
                    </a:lnTo>
                    <a:lnTo>
                      <a:pt x="551" y="782"/>
                    </a:lnTo>
                    <a:lnTo>
                      <a:pt x="550" y="782"/>
                    </a:lnTo>
                    <a:lnTo>
                      <a:pt x="550" y="784"/>
                    </a:lnTo>
                    <a:lnTo>
                      <a:pt x="550" y="785"/>
                    </a:lnTo>
                    <a:lnTo>
                      <a:pt x="551" y="785"/>
                    </a:lnTo>
                    <a:lnTo>
                      <a:pt x="551" y="787"/>
                    </a:lnTo>
                    <a:lnTo>
                      <a:pt x="551" y="788"/>
                    </a:lnTo>
                    <a:lnTo>
                      <a:pt x="551" y="790"/>
                    </a:lnTo>
                    <a:lnTo>
                      <a:pt x="553" y="790"/>
                    </a:lnTo>
                    <a:lnTo>
                      <a:pt x="553" y="792"/>
                    </a:lnTo>
                    <a:lnTo>
                      <a:pt x="553" y="793"/>
                    </a:lnTo>
                    <a:lnTo>
                      <a:pt x="555" y="793"/>
                    </a:lnTo>
                    <a:lnTo>
                      <a:pt x="555" y="795"/>
                    </a:lnTo>
                    <a:lnTo>
                      <a:pt x="556" y="795"/>
                    </a:lnTo>
                    <a:lnTo>
                      <a:pt x="556" y="796"/>
                    </a:lnTo>
                    <a:lnTo>
                      <a:pt x="558" y="796"/>
                    </a:lnTo>
                    <a:lnTo>
                      <a:pt x="558" y="798"/>
                    </a:lnTo>
                    <a:lnTo>
                      <a:pt x="559" y="798"/>
                    </a:lnTo>
                    <a:lnTo>
                      <a:pt x="559" y="800"/>
                    </a:lnTo>
                    <a:lnTo>
                      <a:pt x="561" y="800"/>
                    </a:lnTo>
                    <a:lnTo>
                      <a:pt x="561" y="801"/>
                    </a:lnTo>
                    <a:lnTo>
                      <a:pt x="563" y="803"/>
                    </a:lnTo>
                    <a:lnTo>
                      <a:pt x="563" y="804"/>
                    </a:lnTo>
                    <a:lnTo>
                      <a:pt x="564" y="806"/>
                    </a:lnTo>
                    <a:lnTo>
                      <a:pt x="564" y="807"/>
                    </a:lnTo>
                    <a:lnTo>
                      <a:pt x="564" y="809"/>
                    </a:lnTo>
                    <a:lnTo>
                      <a:pt x="566" y="811"/>
                    </a:lnTo>
                    <a:lnTo>
                      <a:pt x="566" y="812"/>
                    </a:lnTo>
                    <a:lnTo>
                      <a:pt x="566" y="814"/>
                    </a:lnTo>
                    <a:lnTo>
                      <a:pt x="566" y="815"/>
                    </a:lnTo>
                    <a:lnTo>
                      <a:pt x="566" y="817"/>
                    </a:lnTo>
                    <a:lnTo>
                      <a:pt x="566" y="819"/>
                    </a:lnTo>
                    <a:lnTo>
                      <a:pt x="566" y="820"/>
                    </a:lnTo>
                    <a:lnTo>
                      <a:pt x="566" y="822"/>
                    </a:lnTo>
                    <a:lnTo>
                      <a:pt x="566" y="823"/>
                    </a:lnTo>
                    <a:lnTo>
                      <a:pt x="566" y="825"/>
                    </a:lnTo>
                    <a:lnTo>
                      <a:pt x="567" y="826"/>
                    </a:lnTo>
                    <a:lnTo>
                      <a:pt x="567" y="828"/>
                    </a:lnTo>
                    <a:lnTo>
                      <a:pt x="569" y="828"/>
                    </a:lnTo>
                    <a:lnTo>
                      <a:pt x="569" y="830"/>
                    </a:lnTo>
                    <a:lnTo>
                      <a:pt x="570" y="831"/>
                    </a:lnTo>
                    <a:lnTo>
                      <a:pt x="569" y="831"/>
                    </a:lnTo>
                    <a:lnTo>
                      <a:pt x="567" y="833"/>
                    </a:lnTo>
                    <a:lnTo>
                      <a:pt x="566" y="833"/>
                    </a:lnTo>
                    <a:lnTo>
                      <a:pt x="564" y="834"/>
                    </a:lnTo>
                    <a:lnTo>
                      <a:pt x="563" y="834"/>
                    </a:lnTo>
                    <a:lnTo>
                      <a:pt x="561" y="836"/>
                    </a:lnTo>
                    <a:lnTo>
                      <a:pt x="559" y="838"/>
                    </a:lnTo>
                    <a:lnTo>
                      <a:pt x="559" y="839"/>
                    </a:lnTo>
                    <a:lnTo>
                      <a:pt x="558" y="839"/>
                    </a:lnTo>
                    <a:lnTo>
                      <a:pt x="558" y="841"/>
                    </a:lnTo>
                    <a:lnTo>
                      <a:pt x="558" y="842"/>
                    </a:lnTo>
                    <a:lnTo>
                      <a:pt x="558" y="844"/>
                    </a:lnTo>
                    <a:lnTo>
                      <a:pt x="556" y="844"/>
                    </a:lnTo>
                    <a:lnTo>
                      <a:pt x="556" y="845"/>
                    </a:lnTo>
                    <a:lnTo>
                      <a:pt x="556" y="847"/>
                    </a:lnTo>
                    <a:lnTo>
                      <a:pt x="556" y="849"/>
                    </a:lnTo>
                    <a:lnTo>
                      <a:pt x="556" y="850"/>
                    </a:lnTo>
                    <a:lnTo>
                      <a:pt x="558" y="850"/>
                    </a:lnTo>
                    <a:lnTo>
                      <a:pt x="558" y="852"/>
                    </a:lnTo>
                    <a:lnTo>
                      <a:pt x="558" y="853"/>
                    </a:lnTo>
                    <a:lnTo>
                      <a:pt x="556" y="853"/>
                    </a:lnTo>
                    <a:lnTo>
                      <a:pt x="556" y="855"/>
                    </a:lnTo>
                    <a:lnTo>
                      <a:pt x="558" y="855"/>
                    </a:lnTo>
                    <a:lnTo>
                      <a:pt x="558" y="857"/>
                    </a:lnTo>
                    <a:lnTo>
                      <a:pt x="558" y="858"/>
                    </a:lnTo>
                    <a:lnTo>
                      <a:pt x="558" y="860"/>
                    </a:lnTo>
                    <a:lnTo>
                      <a:pt x="558" y="861"/>
                    </a:lnTo>
                    <a:lnTo>
                      <a:pt x="558" y="863"/>
                    </a:lnTo>
                    <a:lnTo>
                      <a:pt x="558" y="864"/>
                    </a:lnTo>
                    <a:lnTo>
                      <a:pt x="558" y="866"/>
                    </a:lnTo>
                    <a:lnTo>
                      <a:pt x="558" y="868"/>
                    </a:lnTo>
                    <a:lnTo>
                      <a:pt x="558" y="869"/>
                    </a:lnTo>
                    <a:lnTo>
                      <a:pt x="558" y="871"/>
                    </a:lnTo>
                    <a:lnTo>
                      <a:pt x="558" y="872"/>
                    </a:lnTo>
                    <a:lnTo>
                      <a:pt x="558" y="874"/>
                    </a:lnTo>
                    <a:lnTo>
                      <a:pt x="558" y="876"/>
                    </a:lnTo>
                    <a:lnTo>
                      <a:pt x="559" y="876"/>
                    </a:lnTo>
                    <a:lnTo>
                      <a:pt x="559" y="877"/>
                    </a:lnTo>
                    <a:lnTo>
                      <a:pt x="559" y="879"/>
                    </a:lnTo>
                    <a:lnTo>
                      <a:pt x="559" y="880"/>
                    </a:lnTo>
                    <a:lnTo>
                      <a:pt x="559" y="882"/>
                    </a:lnTo>
                    <a:lnTo>
                      <a:pt x="559" y="883"/>
                    </a:lnTo>
                    <a:lnTo>
                      <a:pt x="559" y="885"/>
                    </a:lnTo>
                    <a:lnTo>
                      <a:pt x="559" y="887"/>
                    </a:lnTo>
                    <a:lnTo>
                      <a:pt x="559" y="888"/>
                    </a:lnTo>
                    <a:lnTo>
                      <a:pt x="559" y="890"/>
                    </a:lnTo>
                    <a:lnTo>
                      <a:pt x="559" y="891"/>
                    </a:lnTo>
                    <a:lnTo>
                      <a:pt x="559" y="893"/>
                    </a:lnTo>
                    <a:lnTo>
                      <a:pt x="559" y="895"/>
                    </a:lnTo>
                    <a:lnTo>
                      <a:pt x="559" y="896"/>
                    </a:lnTo>
                    <a:lnTo>
                      <a:pt x="559" y="898"/>
                    </a:lnTo>
                    <a:lnTo>
                      <a:pt x="559" y="899"/>
                    </a:lnTo>
                    <a:lnTo>
                      <a:pt x="559" y="901"/>
                    </a:lnTo>
                    <a:lnTo>
                      <a:pt x="559" y="903"/>
                    </a:lnTo>
                    <a:lnTo>
                      <a:pt x="559" y="904"/>
                    </a:lnTo>
                    <a:lnTo>
                      <a:pt x="559" y="906"/>
                    </a:lnTo>
                    <a:lnTo>
                      <a:pt x="559" y="907"/>
                    </a:lnTo>
                    <a:lnTo>
                      <a:pt x="559" y="909"/>
                    </a:lnTo>
                    <a:lnTo>
                      <a:pt x="559" y="910"/>
                    </a:lnTo>
                    <a:lnTo>
                      <a:pt x="559" y="912"/>
                    </a:lnTo>
                    <a:lnTo>
                      <a:pt x="559" y="914"/>
                    </a:lnTo>
                    <a:lnTo>
                      <a:pt x="559" y="915"/>
                    </a:lnTo>
                    <a:lnTo>
                      <a:pt x="559" y="917"/>
                    </a:lnTo>
                    <a:lnTo>
                      <a:pt x="559" y="918"/>
                    </a:lnTo>
                    <a:lnTo>
                      <a:pt x="561" y="920"/>
                    </a:lnTo>
                    <a:lnTo>
                      <a:pt x="561" y="922"/>
                    </a:lnTo>
                    <a:lnTo>
                      <a:pt x="561" y="923"/>
                    </a:lnTo>
                    <a:lnTo>
                      <a:pt x="561" y="925"/>
                    </a:lnTo>
                    <a:lnTo>
                      <a:pt x="561" y="926"/>
                    </a:lnTo>
                    <a:lnTo>
                      <a:pt x="561" y="928"/>
                    </a:lnTo>
                    <a:lnTo>
                      <a:pt x="561" y="929"/>
                    </a:lnTo>
                    <a:lnTo>
                      <a:pt x="563" y="929"/>
                    </a:lnTo>
                    <a:lnTo>
                      <a:pt x="563" y="931"/>
                    </a:lnTo>
                    <a:lnTo>
                      <a:pt x="563" y="933"/>
                    </a:lnTo>
                    <a:lnTo>
                      <a:pt x="561" y="933"/>
                    </a:lnTo>
                    <a:lnTo>
                      <a:pt x="561" y="934"/>
                    </a:lnTo>
                    <a:lnTo>
                      <a:pt x="561" y="936"/>
                    </a:lnTo>
                    <a:lnTo>
                      <a:pt x="559" y="937"/>
                    </a:lnTo>
                    <a:lnTo>
                      <a:pt x="559" y="939"/>
                    </a:lnTo>
                    <a:lnTo>
                      <a:pt x="558" y="941"/>
                    </a:lnTo>
                    <a:lnTo>
                      <a:pt x="558" y="942"/>
                    </a:lnTo>
                    <a:lnTo>
                      <a:pt x="556" y="942"/>
                    </a:lnTo>
                    <a:lnTo>
                      <a:pt x="556" y="944"/>
                    </a:lnTo>
                    <a:lnTo>
                      <a:pt x="555" y="944"/>
                    </a:lnTo>
                    <a:lnTo>
                      <a:pt x="555" y="945"/>
                    </a:lnTo>
                    <a:lnTo>
                      <a:pt x="553" y="945"/>
                    </a:lnTo>
                    <a:lnTo>
                      <a:pt x="553" y="947"/>
                    </a:lnTo>
                    <a:lnTo>
                      <a:pt x="551" y="947"/>
                    </a:lnTo>
                    <a:lnTo>
                      <a:pt x="550" y="948"/>
                    </a:lnTo>
                    <a:lnTo>
                      <a:pt x="548" y="948"/>
                    </a:lnTo>
                    <a:lnTo>
                      <a:pt x="547" y="948"/>
                    </a:lnTo>
                    <a:lnTo>
                      <a:pt x="545" y="948"/>
                    </a:lnTo>
                    <a:lnTo>
                      <a:pt x="544" y="948"/>
                    </a:lnTo>
                    <a:lnTo>
                      <a:pt x="542" y="948"/>
                    </a:lnTo>
                    <a:lnTo>
                      <a:pt x="540" y="948"/>
                    </a:lnTo>
                    <a:lnTo>
                      <a:pt x="539" y="948"/>
                    </a:lnTo>
                    <a:lnTo>
                      <a:pt x="537" y="948"/>
                    </a:lnTo>
                    <a:lnTo>
                      <a:pt x="536" y="948"/>
                    </a:lnTo>
                    <a:lnTo>
                      <a:pt x="534" y="948"/>
                    </a:lnTo>
                    <a:lnTo>
                      <a:pt x="532" y="948"/>
                    </a:lnTo>
                    <a:lnTo>
                      <a:pt x="531" y="948"/>
                    </a:lnTo>
                    <a:lnTo>
                      <a:pt x="529" y="948"/>
                    </a:lnTo>
                    <a:lnTo>
                      <a:pt x="528" y="948"/>
                    </a:lnTo>
                    <a:lnTo>
                      <a:pt x="528" y="947"/>
                    </a:lnTo>
                    <a:lnTo>
                      <a:pt x="526" y="947"/>
                    </a:lnTo>
                    <a:lnTo>
                      <a:pt x="525" y="947"/>
                    </a:lnTo>
                    <a:lnTo>
                      <a:pt x="523" y="947"/>
                    </a:lnTo>
                    <a:lnTo>
                      <a:pt x="521" y="947"/>
                    </a:lnTo>
                    <a:lnTo>
                      <a:pt x="520" y="945"/>
                    </a:lnTo>
                    <a:lnTo>
                      <a:pt x="518" y="945"/>
                    </a:lnTo>
                    <a:lnTo>
                      <a:pt x="517" y="945"/>
                    </a:lnTo>
                    <a:lnTo>
                      <a:pt x="515" y="945"/>
                    </a:lnTo>
                    <a:lnTo>
                      <a:pt x="513" y="945"/>
                    </a:lnTo>
                    <a:lnTo>
                      <a:pt x="512" y="945"/>
                    </a:lnTo>
                    <a:lnTo>
                      <a:pt x="510" y="944"/>
                    </a:lnTo>
                    <a:lnTo>
                      <a:pt x="509" y="944"/>
                    </a:lnTo>
                    <a:lnTo>
                      <a:pt x="509" y="945"/>
                    </a:lnTo>
                    <a:lnTo>
                      <a:pt x="510" y="945"/>
                    </a:lnTo>
                    <a:lnTo>
                      <a:pt x="510" y="947"/>
                    </a:lnTo>
                    <a:lnTo>
                      <a:pt x="510" y="948"/>
                    </a:lnTo>
                    <a:lnTo>
                      <a:pt x="510" y="950"/>
                    </a:lnTo>
                    <a:lnTo>
                      <a:pt x="510" y="952"/>
                    </a:lnTo>
                    <a:lnTo>
                      <a:pt x="512" y="953"/>
                    </a:lnTo>
                    <a:lnTo>
                      <a:pt x="512" y="955"/>
                    </a:lnTo>
                    <a:lnTo>
                      <a:pt x="512" y="956"/>
                    </a:lnTo>
                    <a:lnTo>
                      <a:pt x="513" y="956"/>
                    </a:lnTo>
                    <a:lnTo>
                      <a:pt x="513" y="958"/>
                    </a:lnTo>
                    <a:lnTo>
                      <a:pt x="513" y="960"/>
                    </a:lnTo>
                    <a:lnTo>
                      <a:pt x="513" y="961"/>
                    </a:lnTo>
                    <a:lnTo>
                      <a:pt x="515" y="961"/>
                    </a:lnTo>
                    <a:lnTo>
                      <a:pt x="515" y="963"/>
                    </a:lnTo>
                    <a:lnTo>
                      <a:pt x="515" y="964"/>
                    </a:lnTo>
                    <a:lnTo>
                      <a:pt x="515" y="966"/>
                    </a:lnTo>
                    <a:lnTo>
                      <a:pt x="517" y="966"/>
                    </a:lnTo>
                    <a:lnTo>
                      <a:pt x="517" y="967"/>
                    </a:lnTo>
                    <a:lnTo>
                      <a:pt x="517" y="969"/>
                    </a:lnTo>
                    <a:lnTo>
                      <a:pt x="517" y="971"/>
                    </a:lnTo>
                    <a:lnTo>
                      <a:pt x="517" y="972"/>
                    </a:lnTo>
                    <a:lnTo>
                      <a:pt x="518" y="974"/>
                    </a:lnTo>
                    <a:lnTo>
                      <a:pt x="518" y="975"/>
                    </a:lnTo>
                    <a:lnTo>
                      <a:pt x="518" y="977"/>
                    </a:lnTo>
                    <a:lnTo>
                      <a:pt x="518" y="979"/>
                    </a:lnTo>
                    <a:lnTo>
                      <a:pt x="518" y="980"/>
                    </a:lnTo>
                    <a:lnTo>
                      <a:pt x="518" y="982"/>
                    </a:lnTo>
                    <a:lnTo>
                      <a:pt x="518" y="983"/>
                    </a:lnTo>
                    <a:lnTo>
                      <a:pt x="518" y="985"/>
                    </a:lnTo>
                    <a:lnTo>
                      <a:pt x="520" y="985"/>
                    </a:lnTo>
                    <a:lnTo>
                      <a:pt x="520" y="986"/>
                    </a:lnTo>
                    <a:lnTo>
                      <a:pt x="520" y="988"/>
                    </a:lnTo>
                    <a:lnTo>
                      <a:pt x="520" y="990"/>
                    </a:lnTo>
                    <a:lnTo>
                      <a:pt x="520" y="991"/>
                    </a:lnTo>
                    <a:lnTo>
                      <a:pt x="520" y="993"/>
                    </a:lnTo>
                    <a:lnTo>
                      <a:pt x="520" y="994"/>
                    </a:lnTo>
                    <a:lnTo>
                      <a:pt x="520" y="996"/>
                    </a:lnTo>
                    <a:lnTo>
                      <a:pt x="520" y="998"/>
                    </a:lnTo>
                    <a:lnTo>
                      <a:pt x="520" y="999"/>
                    </a:lnTo>
                    <a:lnTo>
                      <a:pt x="520" y="1001"/>
                    </a:lnTo>
                    <a:lnTo>
                      <a:pt x="520" y="1002"/>
                    </a:lnTo>
                    <a:lnTo>
                      <a:pt x="520" y="1004"/>
                    </a:lnTo>
                    <a:lnTo>
                      <a:pt x="520" y="1005"/>
                    </a:lnTo>
                    <a:lnTo>
                      <a:pt x="520" y="1007"/>
                    </a:lnTo>
                    <a:lnTo>
                      <a:pt x="518" y="1009"/>
                    </a:lnTo>
                    <a:lnTo>
                      <a:pt x="518" y="1010"/>
                    </a:lnTo>
                    <a:lnTo>
                      <a:pt x="518" y="1012"/>
                    </a:lnTo>
                    <a:lnTo>
                      <a:pt x="517" y="1012"/>
                    </a:lnTo>
                    <a:lnTo>
                      <a:pt x="515" y="1012"/>
                    </a:lnTo>
                    <a:lnTo>
                      <a:pt x="513" y="1010"/>
                    </a:lnTo>
                    <a:lnTo>
                      <a:pt x="512" y="1010"/>
                    </a:lnTo>
                    <a:lnTo>
                      <a:pt x="510" y="1010"/>
                    </a:lnTo>
                    <a:lnTo>
                      <a:pt x="510" y="1009"/>
                    </a:lnTo>
                    <a:lnTo>
                      <a:pt x="509" y="1009"/>
                    </a:lnTo>
                    <a:lnTo>
                      <a:pt x="509" y="1007"/>
                    </a:lnTo>
                    <a:lnTo>
                      <a:pt x="507" y="1007"/>
                    </a:lnTo>
                    <a:lnTo>
                      <a:pt x="506" y="1007"/>
                    </a:lnTo>
                    <a:lnTo>
                      <a:pt x="506" y="1005"/>
                    </a:lnTo>
                    <a:lnTo>
                      <a:pt x="504" y="1007"/>
                    </a:lnTo>
                    <a:lnTo>
                      <a:pt x="502" y="1007"/>
                    </a:lnTo>
                    <a:lnTo>
                      <a:pt x="501" y="1007"/>
                    </a:lnTo>
                    <a:lnTo>
                      <a:pt x="499" y="1007"/>
                    </a:lnTo>
                    <a:lnTo>
                      <a:pt x="498" y="1007"/>
                    </a:lnTo>
                    <a:lnTo>
                      <a:pt x="496" y="1007"/>
                    </a:lnTo>
                    <a:lnTo>
                      <a:pt x="494" y="1005"/>
                    </a:lnTo>
                    <a:lnTo>
                      <a:pt x="493" y="1005"/>
                    </a:lnTo>
                    <a:lnTo>
                      <a:pt x="491" y="1005"/>
                    </a:lnTo>
                    <a:lnTo>
                      <a:pt x="490" y="1005"/>
                    </a:lnTo>
                    <a:lnTo>
                      <a:pt x="488" y="1005"/>
                    </a:lnTo>
                    <a:lnTo>
                      <a:pt x="488" y="1007"/>
                    </a:lnTo>
                    <a:lnTo>
                      <a:pt x="487" y="1007"/>
                    </a:lnTo>
                    <a:lnTo>
                      <a:pt x="485" y="1007"/>
                    </a:lnTo>
                    <a:lnTo>
                      <a:pt x="483" y="1007"/>
                    </a:lnTo>
                    <a:lnTo>
                      <a:pt x="482" y="1007"/>
                    </a:lnTo>
                    <a:lnTo>
                      <a:pt x="482" y="1005"/>
                    </a:lnTo>
                    <a:lnTo>
                      <a:pt x="480" y="1005"/>
                    </a:lnTo>
                    <a:lnTo>
                      <a:pt x="479" y="1004"/>
                    </a:lnTo>
                    <a:lnTo>
                      <a:pt x="477" y="1004"/>
                    </a:lnTo>
                    <a:lnTo>
                      <a:pt x="477" y="1002"/>
                    </a:lnTo>
                    <a:lnTo>
                      <a:pt x="475" y="1002"/>
                    </a:lnTo>
                    <a:lnTo>
                      <a:pt x="474" y="1002"/>
                    </a:lnTo>
                    <a:lnTo>
                      <a:pt x="472" y="1002"/>
                    </a:lnTo>
                    <a:lnTo>
                      <a:pt x="471" y="1002"/>
                    </a:lnTo>
                    <a:lnTo>
                      <a:pt x="469" y="1001"/>
                    </a:lnTo>
                    <a:lnTo>
                      <a:pt x="469" y="1002"/>
                    </a:lnTo>
                    <a:lnTo>
                      <a:pt x="468" y="1002"/>
                    </a:lnTo>
                    <a:lnTo>
                      <a:pt x="466" y="1002"/>
                    </a:lnTo>
                    <a:lnTo>
                      <a:pt x="464" y="1004"/>
                    </a:lnTo>
                    <a:lnTo>
                      <a:pt x="464" y="1005"/>
                    </a:lnTo>
                    <a:lnTo>
                      <a:pt x="463" y="1007"/>
                    </a:lnTo>
                    <a:lnTo>
                      <a:pt x="461" y="1009"/>
                    </a:lnTo>
                    <a:lnTo>
                      <a:pt x="460" y="1009"/>
                    </a:lnTo>
                    <a:lnTo>
                      <a:pt x="460" y="1010"/>
                    </a:lnTo>
                    <a:lnTo>
                      <a:pt x="458" y="1010"/>
                    </a:lnTo>
                    <a:lnTo>
                      <a:pt x="458" y="1012"/>
                    </a:lnTo>
                    <a:lnTo>
                      <a:pt x="456" y="1012"/>
                    </a:lnTo>
                    <a:lnTo>
                      <a:pt x="455" y="1012"/>
                    </a:lnTo>
                    <a:lnTo>
                      <a:pt x="453" y="1012"/>
                    </a:lnTo>
                    <a:lnTo>
                      <a:pt x="452" y="1012"/>
                    </a:lnTo>
                    <a:lnTo>
                      <a:pt x="450" y="1012"/>
                    </a:lnTo>
                    <a:lnTo>
                      <a:pt x="450" y="1013"/>
                    </a:lnTo>
                    <a:lnTo>
                      <a:pt x="449" y="1013"/>
                    </a:lnTo>
                    <a:lnTo>
                      <a:pt x="449" y="1015"/>
                    </a:lnTo>
                    <a:lnTo>
                      <a:pt x="447" y="1015"/>
                    </a:lnTo>
                    <a:lnTo>
                      <a:pt x="447" y="1017"/>
                    </a:lnTo>
                    <a:lnTo>
                      <a:pt x="445" y="1017"/>
                    </a:lnTo>
                    <a:lnTo>
                      <a:pt x="445" y="1018"/>
                    </a:lnTo>
                    <a:lnTo>
                      <a:pt x="444" y="1018"/>
                    </a:lnTo>
                    <a:lnTo>
                      <a:pt x="442" y="1018"/>
                    </a:lnTo>
                    <a:lnTo>
                      <a:pt x="441" y="1018"/>
                    </a:lnTo>
                    <a:lnTo>
                      <a:pt x="439" y="1020"/>
                    </a:lnTo>
                    <a:lnTo>
                      <a:pt x="437" y="1021"/>
                    </a:lnTo>
                    <a:lnTo>
                      <a:pt x="436" y="1023"/>
                    </a:lnTo>
                    <a:lnTo>
                      <a:pt x="436" y="1024"/>
                    </a:lnTo>
                    <a:lnTo>
                      <a:pt x="434" y="1024"/>
                    </a:lnTo>
                    <a:lnTo>
                      <a:pt x="433" y="1024"/>
                    </a:lnTo>
                    <a:lnTo>
                      <a:pt x="431" y="1024"/>
                    </a:lnTo>
                    <a:lnTo>
                      <a:pt x="430" y="1026"/>
                    </a:lnTo>
                    <a:lnTo>
                      <a:pt x="428" y="1026"/>
                    </a:lnTo>
                    <a:lnTo>
                      <a:pt x="428" y="1028"/>
                    </a:lnTo>
                    <a:lnTo>
                      <a:pt x="426" y="1028"/>
                    </a:lnTo>
                    <a:lnTo>
                      <a:pt x="425" y="1029"/>
                    </a:lnTo>
                    <a:lnTo>
                      <a:pt x="423" y="1029"/>
                    </a:lnTo>
                    <a:lnTo>
                      <a:pt x="423" y="1031"/>
                    </a:lnTo>
                    <a:lnTo>
                      <a:pt x="422" y="1031"/>
                    </a:lnTo>
                    <a:lnTo>
                      <a:pt x="420" y="1031"/>
                    </a:lnTo>
                    <a:lnTo>
                      <a:pt x="420" y="1032"/>
                    </a:lnTo>
                    <a:lnTo>
                      <a:pt x="420" y="1034"/>
                    </a:lnTo>
                    <a:lnTo>
                      <a:pt x="418" y="1034"/>
                    </a:lnTo>
                    <a:lnTo>
                      <a:pt x="418" y="1036"/>
                    </a:lnTo>
                    <a:lnTo>
                      <a:pt x="417" y="1037"/>
                    </a:lnTo>
                    <a:lnTo>
                      <a:pt x="415" y="1039"/>
                    </a:lnTo>
                    <a:lnTo>
                      <a:pt x="415" y="1040"/>
                    </a:lnTo>
                    <a:lnTo>
                      <a:pt x="415" y="1042"/>
                    </a:lnTo>
                    <a:lnTo>
                      <a:pt x="415" y="1043"/>
                    </a:lnTo>
                    <a:lnTo>
                      <a:pt x="415" y="1045"/>
                    </a:lnTo>
                    <a:lnTo>
                      <a:pt x="415" y="1047"/>
                    </a:lnTo>
                    <a:lnTo>
                      <a:pt x="415" y="1048"/>
                    </a:lnTo>
                    <a:lnTo>
                      <a:pt x="414" y="1048"/>
                    </a:lnTo>
                    <a:lnTo>
                      <a:pt x="414" y="1050"/>
                    </a:lnTo>
                    <a:lnTo>
                      <a:pt x="414" y="1051"/>
                    </a:lnTo>
                    <a:lnTo>
                      <a:pt x="414" y="1053"/>
                    </a:lnTo>
                    <a:lnTo>
                      <a:pt x="414" y="1055"/>
                    </a:lnTo>
                    <a:lnTo>
                      <a:pt x="414" y="1056"/>
                    </a:lnTo>
                    <a:lnTo>
                      <a:pt x="414" y="1058"/>
                    </a:lnTo>
                    <a:lnTo>
                      <a:pt x="414" y="1059"/>
                    </a:lnTo>
                    <a:lnTo>
                      <a:pt x="414" y="1061"/>
                    </a:lnTo>
                    <a:lnTo>
                      <a:pt x="414" y="1062"/>
                    </a:lnTo>
                    <a:lnTo>
                      <a:pt x="414" y="1064"/>
                    </a:lnTo>
                    <a:lnTo>
                      <a:pt x="412" y="1064"/>
                    </a:lnTo>
                    <a:lnTo>
                      <a:pt x="412" y="1066"/>
                    </a:lnTo>
                    <a:lnTo>
                      <a:pt x="412" y="1067"/>
                    </a:lnTo>
                    <a:lnTo>
                      <a:pt x="412" y="1069"/>
                    </a:lnTo>
                    <a:lnTo>
                      <a:pt x="412" y="1070"/>
                    </a:lnTo>
                    <a:lnTo>
                      <a:pt x="412" y="1072"/>
                    </a:lnTo>
                    <a:lnTo>
                      <a:pt x="412" y="1074"/>
                    </a:lnTo>
                    <a:lnTo>
                      <a:pt x="412" y="1075"/>
                    </a:lnTo>
                    <a:lnTo>
                      <a:pt x="412" y="1077"/>
                    </a:lnTo>
                    <a:lnTo>
                      <a:pt x="412" y="1078"/>
                    </a:lnTo>
                    <a:lnTo>
                      <a:pt x="410" y="1080"/>
                    </a:lnTo>
                    <a:lnTo>
                      <a:pt x="410" y="1081"/>
                    </a:lnTo>
                    <a:lnTo>
                      <a:pt x="410" y="1083"/>
                    </a:lnTo>
                    <a:lnTo>
                      <a:pt x="410" y="1085"/>
                    </a:lnTo>
                    <a:lnTo>
                      <a:pt x="410" y="1086"/>
                    </a:lnTo>
                    <a:lnTo>
                      <a:pt x="409" y="1088"/>
                    </a:lnTo>
                    <a:lnTo>
                      <a:pt x="407" y="1088"/>
                    </a:lnTo>
                    <a:lnTo>
                      <a:pt x="406" y="1088"/>
                    </a:lnTo>
                    <a:lnTo>
                      <a:pt x="404" y="1088"/>
                    </a:lnTo>
                    <a:lnTo>
                      <a:pt x="403" y="1089"/>
                    </a:lnTo>
                    <a:lnTo>
                      <a:pt x="401" y="1089"/>
                    </a:lnTo>
                    <a:lnTo>
                      <a:pt x="399" y="1089"/>
                    </a:lnTo>
                    <a:lnTo>
                      <a:pt x="398" y="1089"/>
                    </a:lnTo>
                    <a:lnTo>
                      <a:pt x="396" y="1089"/>
                    </a:lnTo>
                    <a:lnTo>
                      <a:pt x="396" y="1091"/>
                    </a:lnTo>
                    <a:lnTo>
                      <a:pt x="395" y="1091"/>
                    </a:lnTo>
                    <a:lnTo>
                      <a:pt x="393" y="1091"/>
                    </a:lnTo>
                    <a:lnTo>
                      <a:pt x="391" y="1089"/>
                    </a:lnTo>
                    <a:lnTo>
                      <a:pt x="390" y="1089"/>
                    </a:lnTo>
                    <a:lnTo>
                      <a:pt x="388" y="1089"/>
                    </a:lnTo>
                    <a:lnTo>
                      <a:pt x="387" y="1091"/>
                    </a:lnTo>
                    <a:lnTo>
                      <a:pt x="385" y="1091"/>
                    </a:lnTo>
                    <a:lnTo>
                      <a:pt x="384" y="1091"/>
                    </a:lnTo>
                    <a:lnTo>
                      <a:pt x="384" y="1093"/>
                    </a:lnTo>
                    <a:lnTo>
                      <a:pt x="382" y="1093"/>
                    </a:lnTo>
                    <a:lnTo>
                      <a:pt x="380" y="1093"/>
                    </a:lnTo>
                    <a:lnTo>
                      <a:pt x="380" y="1094"/>
                    </a:lnTo>
                    <a:lnTo>
                      <a:pt x="379" y="1094"/>
                    </a:lnTo>
                    <a:lnTo>
                      <a:pt x="377" y="1094"/>
                    </a:lnTo>
                    <a:lnTo>
                      <a:pt x="377" y="1096"/>
                    </a:lnTo>
                    <a:lnTo>
                      <a:pt x="376" y="1096"/>
                    </a:lnTo>
                    <a:lnTo>
                      <a:pt x="374" y="1096"/>
                    </a:lnTo>
                    <a:lnTo>
                      <a:pt x="372" y="1096"/>
                    </a:lnTo>
                    <a:lnTo>
                      <a:pt x="371" y="1096"/>
                    </a:lnTo>
                    <a:lnTo>
                      <a:pt x="369" y="1096"/>
                    </a:lnTo>
                    <a:lnTo>
                      <a:pt x="368" y="1096"/>
                    </a:lnTo>
                    <a:lnTo>
                      <a:pt x="366" y="1096"/>
                    </a:lnTo>
                    <a:lnTo>
                      <a:pt x="365" y="1096"/>
                    </a:lnTo>
                    <a:lnTo>
                      <a:pt x="363" y="1096"/>
                    </a:lnTo>
                    <a:lnTo>
                      <a:pt x="363" y="1097"/>
                    </a:lnTo>
                    <a:lnTo>
                      <a:pt x="361" y="1097"/>
                    </a:lnTo>
                    <a:lnTo>
                      <a:pt x="360" y="1097"/>
                    </a:lnTo>
                    <a:lnTo>
                      <a:pt x="358" y="1097"/>
                    </a:lnTo>
                    <a:lnTo>
                      <a:pt x="358" y="1099"/>
                    </a:lnTo>
                    <a:lnTo>
                      <a:pt x="357" y="1099"/>
                    </a:lnTo>
                    <a:lnTo>
                      <a:pt x="355" y="1099"/>
                    </a:lnTo>
                    <a:lnTo>
                      <a:pt x="355" y="1101"/>
                    </a:lnTo>
                    <a:lnTo>
                      <a:pt x="353" y="1101"/>
                    </a:lnTo>
                    <a:lnTo>
                      <a:pt x="352" y="1101"/>
                    </a:lnTo>
                    <a:lnTo>
                      <a:pt x="350" y="1101"/>
                    </a:lnTo>
                    <a:lnTo>
                      <a:pt x="349" y="1101"/>
                    </a:lnTo>
                    <a:lnTo>
                      <a:pt x="347" y="1101"/>
                    </a:lnTo>
                    <a:lnTo>
                      <a:pt x="346" y="1101"/>
                    </a:lnTo>
                    <a:lnTo>
                      <a:pt x="344" y="1101"/>
                    </a:lnTo>
                    <a:lnTo>
                      <a:pt x="342" y="1101"/>
                    </a:lnTo>
                    <a:lnTo>
                      <a:pt x="341" y="1101"/>
                    </a:lnTo>
                    <a:lnTo>
                      <a:pt x="339" y="1101"/>
                    </a:lnTo>
                    <a:lnTo>
                      <a:pt x="338" y="1101"/>
                    </a:lnTo>
                    <a:lnTo>
                      <a:pt x="338" y="1102"/>
                    </a:lnTo>
                    <a:lnTo>
                      <a:pt x="336" y="1102"/>
                    </a:lnTo>
                    <a:lnTo>
                      <a:pt x="334" y="1102"/>
                    </a:lnTo>
                    <a:lnTo>
                      <a:pt x="333" y="1102"/>
                    </a:lnTo>
                    <a:lnTo>
                      <a:pt x="331" y="1102"/>
                    </a:lnTo>
                    <a:lnTo>
                      <a:pt x="330" y="1102"/>
                    </a:lnTo>
                    <a:lnTo>
                      <a:pt x="330" y="1104"/>
                    </a:lnTo>
                    <a:lnTo>
                      <a:pt x="328" y="1104"/>
                    </a:lnTo>
                    <a:lnTo>
                      <a:pt x="327" y="1104"/>
                    </a:lnTo>
                    <a:lnTo>
                      <a:pt x="325" y="1104"/>
                    </a:lnTo>
                    <a:lnTo>
                      <a:pt x="323" y="1104"/>
                    </a:lnTo>
                    <a:lnTo>
                      <a:pt x="323" y="1105"/>
                    </a:lnTo>
                    <a:lnTo>
                      <a:pt x="322" y="1105"/>
                    </a:lnTo>
                    <a:lnTo>
                      <a:pt x="320" y="1107"/>
                    </a:lnTo>
                    <a:lnTo>
                      <a:pt x="319" y="1107"/>
                    </a:lnTo>
                    <a:lnTo>
                      <a:pt x="317" y="1108"/>
                    </a:lnTo>
                    <a:lnTo>
                      <a:pt x="315" y="1108"/>
                    </a:lnTo>
                    <a:lnTo>
                      <a:pt x="314" y="1108"/>
                    </a:lnTo>
                    <a:lnTo>
                      <a:pt x="312" y="1108"/>
                    </a:lnTo>
                    <a:lnTo>
                      <a:pt x="311" y="1108"/>
                    </a:lnTo>
                    <a:lnTo>
                      <a:pt x="309" y="1110"/>
                    </a:lnTo>
                    <a:lnTo>
                      <a:pt x="308" y="1110"/>
                    </a:lnTo>
                    <a:lnTo>
                      <a:pt x="306" y="1110"/>
                    </a:lnTo>
                    <a:lnTo>
                      <a:pt x="304" y="1110"/>
                    </a:lnTo>
                    <a:lnTo>
                      <a:pt x="303" y="1112"/>
                    </a:lnTo>
                    <a:lnTo>
                      <a:pt x="301" y="1112"/>
                    </a:lnTo>
                    <a:lnTo>
                      <a:pt x="300" y="1112"/>
                    </a:lnTo>
                    <a:lnTo>
                      <a:pt x="300" y="1113"/>
                    </a:lnTo>
                    <a:lnTo>
                      <a:pt x="298" y="1113"/>
                    </a:lnTo>
                    <a:lnTo>
                      <a:pt x="298" y="1115"/>
                    </a:lnTo>
                    <a:lnTo>
                      <a:pt x="296" y="1115"/>
                    </a:lnTo>
                    <a:lnTo>
                      <a:pt x="295" y="1115"/>
                    </a:lnTo>
                    <a:lnTo>
                      <a:pt x="295" y="1116"/>
                    </a:lnTo>
                    <a:lnTo>
                      <a:pt x="293" y="1116"/>
                    </a:lnTo>
                    <a:lnTo>
                      <a:pt x="293" y="1118"/>
                    </a:lnTo>
                    <a:lnTo>
                      <a:pt x="293" y="1120"/>
                    </a:lnTo>
                    <a:lnTo>
                      <a:pt x="292" y="1121"/>
                    </a:lnTo>
                    <a:lnTo>
                      <a:pt x="292" y="1123"/>
                    </a:lnTo>
                    <a:lnTo>
                      <a:pt x="290" y="1124"/>
                    </a:lnTo>
                    <a:lnTo>
                      <a:pt x="290" y="1126"/>
                    </a:lnTo>
                    <a:lnTo>
                      <a:pt x="290" y="1127"/>
                    </a:lnTo>
                    <a:lnTo>
                      <a:pt x="290" y="1129"/>
                    </a:lnTo>
                    <a:lnTo>
                      <a:pt x="290" y="1131"/>
                    </a:lnTo>
                    <a:lnTo>
                      <a:pt x="290" y="1132"/>
                    </a:lnTo>
                    <a:lnTo>
                      <a:pt x="290" y="1134"/>
                    </a:lnTo>
                    <a:lnTo>
                      <a:pt x="290" y="1135"/>
                    </a:lnTo>
                    <a:lnTo>
                      <a:pt x="290" y="1137"/>
                    </a:lnTo>
                    <a:lnTo>
                      <a:pt x="290" y="1139"/>
                    </a:lnTo>
                    <a:lnTo>
                      <a:pt x="290" y="1140"/>
                    </a:lnTo>
                    <a:lnTo>
                      <a:pt x="292" y="1142"/>
                    </a:lnTo>
                    <a:lnTo>
                      <a:pt x="292" y="1143"/>
                    </a:lnTo>
                    <a:lnTo>
                      <a:pt x="290" y="1143"/>
                    </a:lnTo>
                    <a:lnTo>
                      <a:pt x="289" y="1143"/>
                    </a:lnTo>
                    <a:lnTo>
                      <a:pt x="287" y="1143"/>
                    </a:lnTo>
                    <a:lnTo>
                      <a:pt x="287" y="1142"/>
                    </a:lnTo>
                    <a:lnTo>
                      <a:pt x="285" y="1142"/>
                    </a:lnTo>
                    <a:lnTo>
                      <a:pt x="285" y="1143"/>
                    </a:lnTo>
                    <a:lnTo>
                      <a:pt x="284" y="1143"/>
                    </a:lnTo>
                    <a:lnTo>
                      <a:pt x="282" y="1143"/>
                    </a:lnTo>
                    <a:lnTo>
                      <a:pt x="282" y="1145"/>
                    </a:lnTo>
                    <a:lnTo>
                      <a:pt x="281" y="1145"/>
                    </a:lnTo>
                    <a:lnTo>
                      <a:pt x="279" y="1146"/>
                    </a:lnTo>
                    <a:lnTo>
                      <a:pt x="277" y="1146"/>
                    </a:lnTo>
                    <a:lnTo>
                      <a:pt x="276" y="1146"/>
                    </a:lnTo>
                    <a:lnTo>
                      <a:pt x="274" y="1146"/>
                    </a:lnTo>
                    <a:lnTo>
                      <a:pt x="273" y="1146"/>
                    </a:lnTo>
                    <a:lnTo>
                      <a:pt x="271" y="1146"/>
                    </a:lnTo>
                    <a:lnTo>
                      <a:pt x="270" y="1146"/>
                    </a:lnTo>
                    <a:lnTo>
                      <a:pt x="268" y="1146"/>
                    </a:lnTo>
                    <a:lnTo>
                      <a:pt x="268" y="1145"/>
                    </a:lnTo>
                    <a:lnTo>
                      <a:pt x="266" y="1145"/>
                    </a:lnTo>
                    <a:lnTo>
                      <a:pt x="266" y="1146"/>
                    </a:lnTo>
                    <a:lnTo>
                      <a:pt x="265" y="1146"/>
                    </a:lnTo>
                    <a:lnTo>
                      <a:pt x="265" y="1145"/>
                    </a:lnTo>
                    <a:lnTo>
                      <a:pt x="263" y="1145"/>
                    </a:lnTo>
                    <a:lnTo>
                      <a:pt x="262" y="1145"/>
                    </a:lnTo>
                    <a:lnTo>
                      <a:pt x="260" y="1146"/>
                    </a:lnTo>
                    <a:lnTo>
                      <a:pt x="258" y="1146"/>
                    </a:lnTo>
                    <a:lnTo>
                      <a:pt x="257" y="1146"/>
                    </a:lnTo>
                    <a:lnTo>
                      <a:pt x="255" y="1146"/>
                    </a:lnTo>
                    <a:lnTo>
                      <a:pt x="254" y="1146"/>
                    </a:lnTo>
                    <a:lnTo>
                      <a:pt x="252" y="1146"/>
                    </a:lnTo>
                    <a:lnTo>
                      <a:pt x="252" y="1145"/>
                    </a:lnTo>
                    <a:lnTo>
                      <a:pt x="251" y="1145"/>
                    </a:lnTo>
                    <a:lnTo>
                      <a:pt x="249" y="1145"/>
                    </a:lnTo>
                    <a:lnTo>
                      <a:pt x="247" y="1143"/>
                    </a:lnTo>
                    <a:lnTo>
                      <a:pt x="246" y="1143"/>
                    </a:lnTo>
                    <a:lnTo>
                      <a:pt x="244" y="1143"/>
                    </a:lnTo>
                    <a:lnTo>
                      <a:pt x="244" y="1142"/>
                    </a:lnTo>
                    <a:lnTo>
                      <a:pt x="243" y="1142"/>
                    </a:lnTo>
                    <a:lnTo>
                      <a:pt x="241" y="1142"/>
                    </a:lnTo>
                    <a:lnTo>
                      <a:pt x="239" y="1140"/>
                    </a:lnTo>
                    <a:lnTo>
                      <a:pt x="238" y="1140"/>
                    </a:lnTo>
                    <a:lnTo>
                      <a:pt x="236" y="1140"/>
                    </a:lnTo>
                    <a:lnTo>
                      <a:pt x="235" y="1139"/>
                    </a:lnTo>
                    <a:lnTo>
                      <a:pt x="233" y="1139"/>
                    </a:lnTo>
                    <a:lnTo>
                      <a:pt x="232" y="1139"/>
                    </a:lnTo>
                    <a:lnTo>
                      <a:pt x="230" y="1137"/>
                    </a:lnTo>
                    <a:lnTo>
                      <a:pt x="228" y="1137"/>
                    </a:lnTo>
                    <a:lnTo>
                      <a:pt x="228" y="1139"/>
                    </a:lnTo>
                    <a:lnTo>
                      <a:pt x="227" y="1139"/>
                    </a:lnTo>
                    <a:lnTo>
                      <a:pt x="227" y="1140"/>
                    </a:lnTo>
                    <a:lnTo>
                      <a:pt x="225" y="1140"/>
                    </a:lnTo>
                    <a:lnTo>
                      <a:pt x="225" y="1142"/>
                    </a:lnTo>
                    <a:lnTo>
                      <a:pt x="224" y="1142"/>
                    </a:lnTo>
                    <a:lnTo>
                      <a:pt x="222" y="1142"/>
                    </a:lnTo>
                    <a:lnTo>
                      <a:pt x="220" y="1143"/>
                    </a:lnTo>
                    <a:lnTo>
                      <a:pt x="219" y="1145"/>
                    </a:lnTo>
                    <a:lnTo>
                      <a:pt x="217" y="1146"/>
                    </a:lnTo>
                    <a:lnTo>
                      <a:pt x="217" y="1148"/>
                    </a:lnTo>
                    <a:lnTo>
                      <a:pt x="216" y="1148"/>
                    </a:lnTo>
                    <a:lnTo>
                      <a:pt x="216" y="1150"/>
                    </a:lnTo>
                    <a:lnTo>
                      <a:pt x="216" y="1151"/>
                    </a:lnTo>
                    <a:lnTo>
                      <a:pt x="214" y="1151"/>
                    </a:lnTo>
                    <a:lnTo>
                      <a:pt x="214" y="1153"/>
                    </a:lnTo>
                    <a:lnTo>
                      <a:pt x="214" y="1154"/>
                    </a:lnTo>
                    <a:lnTo>
                      <a:pt x="212" y="1154"/>
                    </a:lnTo>
                    <a:lnTo>
                      <a:pt x="212" y="1156"/>
                    </a:lnTo>
                    <a:lnTo>
                      <a:pt x="211" y="1156"/>
                    </a:lnTo>
                    <a:lnTo>
                      <a:pt x="211" y="1158"/>
                    </a:lnTo>
                    <a:lnTo>
                      <a:pt x="209" y="1158"/>
                    </a:lnTo>
                    <a:lnTo>
                      <a:pt x="209" y="1159"/>
                    </a:lnTo>
                    <a:lnTo>
                      <a:pt x="208" y="1159"/>
                    </a:lnTo>
                    <a:lnTo>
                      <a:pt x="208" y="1161"/>
                    </a:lnTo>
                    <a:lnTo>
                      <a:pt x="208" y="1162"/>
                    </a:lnTo>
                    <a:lnTo>
                      <a:pt x="206" y="1162"/>
                    </a:lnTo>
                    <a:lnTo>
                      <a:pt x="206" y="1164"/>
                    </a:lnTo>
                    <a:lnTo>
                      <a:pt x="205" y="1164"/>
                    </a:lnTo>
                    <a:lnTo>
                      <a:pt x="205" y="1165"/>
                    </a:lnTo>
                    <a:lnTo>
                      <a:pt x="203" y="1165"/>
                    </a:lnTo>
                    <a:lnTo>
                      <a:pt x="203" y="1167"/>
                    </a:lnTo>
                    <a:lnTo>
                      <a:pt x="201" y="1167"/>
                    </a:lnTo>
                    <a:lnTo>
                      <a:pt x="200" y="1169"/>
                    </a:lnTo>
                    <a:lnTo>
                      <a:pt x="200" y="1170"/>
                    </a:lnTo>
                    <a:lnTo>
                      <a:pt x="198" y="1170"/>
                    </a:lnTo>
                    <a:lnTo>
                      <a:pt x="197" y="1170"/>
                    </a:lnTo>
                    <a:lnTo>
                      <a:pt x="195" y="1170"/>
                    </a:lnTo>
                    <a:lnTo>
                      <a:pt x="195" y="1172"/>
                    </a:lnTo>
                    <a:lnTo>
                      <a:pt x="193" y="1172"/>
                    </a:lnTo>
                    <a:lnTo>
                      <a:pt x="193" y="1173"/>
                    </a:lnTo>
                    <a:lnTo>
                      <a:pt x="192" y="1173"/>
                    </a:lnTo>
                    <a:lnTo>
                      <a:pt x="190" y="1173"/>
                    </a:lnTo>
                    <a:lnTo>
                      <a:pt x="190" y="1175"/>
                    </a:lnTo>
                    <a:lnTo>
                      <a:pt x="190" y="1177"/>
                    </a:lnTo>
                    <a:lnTo>
                      <a:pt x="189" y="1177"/>
                    </a:lnTo>
                    <a:lnTo>
                      <a:pt x="187" y="1178"/>
                    </a:lnTo>
                    <a:lnTo>
                      <a:pt x="186" y="1178"/>
                    </a:lnTo>
                    <a:lnTo>
                      <a:pt x="184" y="1180"/>
                    </a:lnTo>
                    <a:lnTo>
                      <a:pt x="182" y="1180"/>
                    </a:lnTo>
                    <a:lnTo>
                      <a:pt x="182" y="1181"/>
                    </a:lnTo>
                    <a:lnTo>
                      <a:pt x="181" y="1181"/>
                    </a:lnTo>
                    <a:lnTo>
                      <a:pt x="179" y="1181"/>
                    </a:lnTo>
                    <a:lnTo>
                      <a:pt x="179" y="1183"/>
                    </a:lnTo>
                    <a:lnTo>
                      <a:pt x="178" y="1183"/>
                    </a:lnTo>
                    <a:lnTo>
                      <a:pt x="176" y="1183"/>
                    </a:lnTo>
                    <a:lnTo>
                      <a:pt x="176" y="1184"/>
                    </a:lnTo>
                    <a:lnTo>
                      <a:pt x="174" y="1184"/>
                    </a:lnTo>
                    <a:lnTo>
                      <a:pt x="173" y="1186"/>
                    </a:lnTo>
                    <a:lnTo>
                      <a:pt x="171" y="1186"/>
                    </a:lnTo>
                    <a:lnTo>
                      <a:pt x="170" y="1188"/>
                    </a:lnTo>
                    <a:lnTo>
                      <a:pt x="168" y="1188"/>
                    </a:lnTo>
                    <a:lnTo>
                      <a:pt x="168" y="1189"/>
                    </a:lnTo>
                    <a:lnTo>
                      <a:pt x="167" y="1189"/>
                    </a:lnTo>
                    <a:lnTo>
                      <a:pt x="165" y="1191"/>
                    </a:lnTo>
                    <a:lnTo>
                      <a:pt x="163" y="1191"/>
                    </a:lnTo>
                    <a:lnTo>
                      <a:pt x="163" y="1192"/>
                    </a:lnTo>
                    <a:lnTo>
                      <a:pt x="162" y="1192"/>
                    </a:lnTo>
                    <a:lnTo>
                      <a:pt x="160" y="1192"/>
                    </a:lnTo>
                    <a:lnTo>
                      <a:pt x="160" y="1194"/>
                    </a:lnTo>
                    <a:lnTo>
                      <a:pt x="159" y="1194"/>
                    </a:lnTo>
                    <a:lnTo>
                      <a:pt x="157" y="1196"/>
                    </a:lnTo>
                    <a:lnTo>
                      <a:pt x="155" y="1196"/>
                    </a:lnTo>
                    <a:lnTo>
                      <a:pt x="154" y="1197"/>
                    </a:lnTo>
                    <a:lnTo>
                      <a:pt x="152" y="1197"/>
                    </a:lnTo>
                    <a:lnTo>
                      <a:pt x="152" y="1199"/>
                    </a:lnTo>
                    <a:lnTo>
                      <a:pt x="151" y="1199"/>
                    </a:lnTo>
                    <a:lnTo>
                      <a:pt x="149" y="1199"/>
                    </a:lnTo>
                    <a:lnTo>
                      <a:pt x="149" y="1200"/>
                    </a:lnTo>
                    <a:lnTo>
                      <a:pt x="148" y="1200"/>
                    </a:lnTo>
                    <a:lnTo>
                      <a:pt x="146" y="1200"/>
                    </a:lnTo>
                    <a:lnTo>
                      <a:pt x="144" y="1200"/>
                    </a:lnTo>
                    <a:lnTo>
                      <a:pt x="143" y="1199"/>
                    </a:lnTo>
                    <a:lnTo>
                      <a:pt x="141" y="1199"/>
                    </a:lnTo>
                    <a:lnTo>
                      <a:pt x="141" y="1197"/>
                    </a:lnTo>
                    <a:lnTo>
                      <a:pt x="140" y="1197"/>
                    </a:lnTo>
                    <a:lnTo>
                      <a:pt x="138" y="1197"/>
                    </a:lnTo>
                    <a:lnTo>
                      <a:pt x="138" y="1196"/>
                    </a:lnTo>
                    <a:lnTo>
                      <a:pt x="136" y="1196"/>
                    </a:lnTo>
                    <a:lnTo>
                      <a:pt x="135" y="1194"/>
                    </a:lnTo>
                    <a:lnTo>
                      <a:pt x="133" y="1192"/>
                    </a:lnTo>
                    <a:lnTo>
                      <a:pt x="133" y="1191"/>
                    </a:lnTo>
                    <a:lnTo>
                      <a:pt x="132" y="1191"/>
                    </a:lnTo>
                    <a:lnTo>
                      <a:pt x="130" y="1189"/>
                    </a:lnTo>
                    <a:lnTo>
                      <a:pt x="129" y="1188"/>
                    </a:lnTo>
                    <a:lnTo>
                      <a:pt x="127" y="1188"/>
                    </a:lnTo>
                    <a:lnTo>
                      <a:pt x="125" y="1186"/>
                    </a:lnTo>
                    <a:lnTo>
                      <a:pt x="124" y="1186"/>
                    </a:lnTo>
                    <a:lnTo>
                      <a:pt x="124" y="1184"/>
                    </a:lnTo>
                    <a:lnTo>
                      <a:pt x="122" y="1184"/>
                    </a:lnTo>
                    <a:lnTo>
                      <a:pt x="121" y="1184"/>
                    </a:lnTo>
                    <a:lnTo>
                      <a:pt x="119" y="1183"/>
                    </a:lnTo>
                    <a:lnTo>
                      <a:pt x="117" y="1183"/>
                    </a:lnTo>
                    <a:lnTo>
                      <a:pt x="116" y="1183"/>
                    </a:lnTo>
                    <a:lnTo>
                      <a:pt x="114" y="1183"/>
                    </a:lnTo>
                    <a:lnTo>
                      <a:pt x="113" y="1183"/>
                    </a:lnTo>
                    <a:lnTo>
                      <a:pt x="111" y="1183"/>
                    </a:lnTo>
                    <a:lnTo>
                      <a:pt x="110" y="1183"/>
                    </a:lnTo>
                    <a:lnTo>
                      <a:pt x="108" y="1183"/>
                    </a:lnTo>
                    <a:lnTo>
                      <a:pt x="108" y="1181"/>
                    </a:lnTo>
                    <a:lnTo>
                      <a:pt x="106" y="1181"/>
                    </a:lnTo>
                    <a:lnTo>
                      <a:pt x="106" y="1180"/>
                    </a:lnTo>
                    <a:lnTo>
                      <a:pt x="106" y="1178"/>
                    </a:lnTo>
                    <a:lnTo>
                      <a:pt x="106" y="1177"/>
                    </a:lnTo>
                    <a:lnTo>
                      <a:pt x="106" y="1175"/>
                    </a:lnTo>
                    <a:lnTo>
                      <a:pt x="108" y="1173"/>
                    </a:lnTo>
                    <a:lnTo>
                      <a:pt x="108" y="1172"/>
                    </a:lnTo>
                    <a:lnTo>
                      <a:pt x="108" y="1170"/>
                    </a:lnTo>
                    <a:lnTo>
                      <a:pt x="108" y="1169"/>
                    </a:lnTo>
                    <a:lnTo>
                      <a:pt x="106" y="1169"/>
                    </a:lnTo>
                    <a:lnTo>
                      <a:pt x="106" y="1167"/>
                    </a:lnTo>
                    <a:lnTo>
                      <a:pt x="106" y="1165"/>
                    </a:lnTo>
                    <a:lnTo>
                      <a:pt x="105" y="1165"/>
                    </a:lnTo>
                    <a:lnTo>
                      <a:pt x="105" y="1164"/>
                    </a:lnTo>
                    <a:lnTo>
                      <a:pt x="105" y="1162"/>
                    </a:lnTo>
                    <a:lnTo>
                      <a:pt x="103" y="1161"/>
                    </a:lnTo>
                    <a:lnTo>
                      <a:pt x="103" y="1159"/>
                    </a:lnTo>
                    <a:lnTo>
                      <a:pt x="103" y="1158"/>
                    </a:lnTo>
                    <a:lnTo>
                      <a:pt x="103" y="1156"/>
                    </a:lnTo>
                    <a:lnTo>
                      <a:pt x="102" y="1156"/>
                    </a:lnTo>
                    <a:lnTo>
                      <a:pt x="102" y="1154"/>
                    </a:lnTo>
                    <a:lnTo>
                      <a:pt x="102" y="1153"/>
                    </a:lnTo>
                    <a:lnTo>
                      <a:pt x="100" y="1153"/>
                    </a:lnTo>
                    <a:lnTo>
                      <a:pt x="100" y="1151"/>
                    </a:lnTo>
                    <a:lnTo>
                      <a:pt x="100" y="1150"/>
                    </a:lnTo>
                    <a:lnTo>
                      <a:pt x="102" y="1150"/>
                    </a:lnTo>
                    <a:lnTo>
                      <a:pt x="102" y="1148"/>
                    </a:lnTo>
                    <a:lnTo>
                      <a:pt x="102" y="1146"/>
                    </a:lnTo>
                    <a:lnTo>
                      <a:pt x="100" y="1145"/>
                    </a:lnTo>
                    <a:lnTo>
                      <a:pt x="100" y="1143"/>
                    </a:lnTo>
                    <a:lnTo>
                      <a:pt x="98" y="1143"/>
                    </a:lnTo>
                    <a:lnTo>
                      <a:pt x="98" y="1142"/>
                    </a:lnTo>
                    <a:lnTo>
                      <a:pt x="98" y="1140"/>
                    </a:lnTo>
                    <a:lnTo>
                      <a:pt x="98" y="1139"/>
                    </a:lnTo>
                    <a:lnTo>
                      <a:pt x="98" y="1137"/>
                    </a:lnTo>
                    <a:lnTo>
                      <a:pt x="97" y="1137"/>
                    </a:lnTo>
                    <a:lnTo>
                      <a:pt x="95" y="1137"/>
                    </a:lnTo>
                    <a:lnTo>
                      <a:pt x="94" y="1137"/>
                    </a:lnTo>
                    <a:lnTo>
                      <a:pt x="94" y="1135"/>
                    </a:lnTo>
                    <a:lnTo>
                      <a:pt x="92" y="1135"/>
                    </a:lnTo>
                    <a:lnTo>
                      <a:pt x="91" y="1135"/>
                    </a:lnTo>
                    <a:lnTo>
                      <a:pt x="89" y="1135"/>
                    </a:lnTo>
                    <a:lnTo>
                      <a:pt x="87" y="1135"/>
                    </a:lnTo>
                    <a:lnTo>
                      <a:pt x="86" y="1134"/>
                    </a:lnTo>
                    <a:lnTo>
                      <a:pt x="84" y="1134"/>
                    </a:lnTo>
                    <a:lnTo>
                      <a:pt x="83" y="1134"/>
                    </a:lnTo>
                    <a:lnTo>
                      <a:pt x="83" y="1132"/>
                    </a:lnTo>
                    <a:lnTo>
                      <a:pt x="81" y="1132"/>
                    </a:lnTo>
                    <a:lnTo>
                      <a:pt x="79" y="1132"/>
                    </a:lnTo>
                    <a:lnTo>
                      <a:pt x="78" y="1131"/>
                    </a:lnTo>
                    <a:lnTo>
                      <a:pt x="76" y="1131"/>
                    </a:lnTo>
                    <a:lnTo>
                      <a:pt x="75" y="1129"/>
                    </a:lnTo>
                    <a:lnTo>
                      <a:pt x="75" y="1127"/>
                    </a:lnTo>
                    <a:lnTo>
                      <a:pt x="73" y="1126"/>
                    </a:lnTo>
                    <a:lnTo>
                      <a:pt x="73" y="1124"/>
                    </a:lnTo>
                    <a:lnTo>
                      <a:pt x="72" y="1124"/>
                    </a:lnTo>
                    <a:lnTo>
                      <a:pt x="72" y="1123"/>
                    </a:lnTo>
                    <a:lnTo>
                      <a:pt x="70" y="1123"/>
                    </a:lnTo>
                    <a:lnTo>
                      <a:pt x="70" y="1121"/>
                    </a:lnTo>
                    <a:lnTo>
                      <a:pt x="68" y="1121"/>
                    </a:lnTo>
                    <a:lnTo>
                      <a:pt x="68" y="1120"/>
                    </a:lnTo>
                    <a:lnTo>
                      <a:pt x="67" y="1120"/>
                    </a:lnTo>
                    <a:lnTo>
                      <a:pt x="65" y="1120"/>
                    </a:lnTo>
                    <a:lnTo>
                      <a:pt x="65" y="1118"/>
                    </a:lnTo>
                    <a:lnTo>
                      <a:pt x="64" y="1116"/>
                    </a:lnTo>
                    <a:lnTo>
                      <a:pt x="64" y="1115"/>
                    </a:lnTo>
                    <a:lnTo>
                      <a:pt x="62" y="1115"/>
                    </a:lnTo>
                    <a:lnTo>
                      <a:pt x="62" y="1113"/>
                    </a:lnTo>
                    <a:lnTo>
                      <a:pt x="62" y="1112"/>
                    </a:lnTo>
                    <a:lnTo>
                      <a:pt x="62" y="1110"/>
                    </a:lnTo>
                    <a:lnTo>
                      <a:pt x="62" y="1108"/>
                    </a:lnTo>
                    <a:lnTo>
                      <a:pt x="60" y="1108"/>
                    </a:lnTo>
                    <a:lnTo>
                      <a:pt x="60" y="1107"/>
                    </a:lnTo>
                    <a:lnTo>
                      <a:pt x="59" y="1105"/>
                    </a:lnTo>
                    <a:lnTo>
                      <a:pt x="59" y="1104"/>
                    </a:lnTo>
                    <a:lnTo>
                      <a:pt x="57" y="1104"/>
                    </a:lnTo>
                    <a:lnTo>
                      <a:pt x="57" y="1102"/>
                    </a:lnTo>
                    <a:lnTo>
                      <a:pt x="56" y="1102"/>
                    </a:lnTo>
                    <a:lnTo>
                      <a:pt x="56" y="1101"/>
                    </a:lnTo>
                    <a:lnTo>
                      <a:pt x="56" y="1099"/>
                    </a:lnTo>
                    <a:lnTo>
                      <a:pt x="54" y="1099"/>
                    </a:lnTo>
                    <a:lnTo>
                      <a:pt x="54" y="1097"/>
                    </a:lnTo>
                    <a:lnTo>
                      <a:pt x="53" y="1096"/>
                    </a:lnTo>
                    <a:lnTo>
                      <a:pt x="53" y="1094"/>
                    </a:lnTo>
                    <a:lnTo>
                      <a:pt x="51" y="1094"/>
                    </a:lnTo>
                    <a:lnTo>
                      <a:pt x="51" y="1093"/>
                    </a:lnTo>
                    <a:lnTo>
                      <a:pt x="49" y="1093"/>
                    </a:lnTo>
                    <a:lnTo>
                      <a:pt x="48" y="1093"/>
                    </a:lnTo>
                    <a:lnTo>
                      <a:pt x="48" y="1091"/>
                    </a:lnTo>
                    <a:lnTo>
                      <a:pt x="46" y="1091"/>
                    </a:lnTo>
                    <a:lnTo>
                      <a:pt x="45" y="1093"/>
                    </a:lnTo>
                    <a:lnTo>
                      <a:pt x="43" y="1093"/>
                    </a:lnTo>
                    <a:lnTo>
                      <a:pt x="41" y="1093"/>
                    </a:lnTo>
                    <a:lnTo>
                      <a:pt x="40" y="1093"/>
                    </a:lnTo>
                    <a:lnTo>
                      <a:pt x="38" y="1091"/>
                    </a:lnTo>
                    <a:lnTo>
                      <a:pt x="37" y="1091"/>
                    </a:lnTo>
                    <a:lnTo>
                      <a:pt x="37" y="1089"/>
                    </a:lnTo>
                    <a:lnTo>
                      <a:pt x="35" y="1089"/>
                    </a:lnTo>
                    <a:lnTo>
                      <a:pt x="33" y="1088"/>
                    </a:lnTo>
                    <a:lnTo>
                      <a:pt x="32" y="1088"/>
                    </a:lnTo>
                    <a:lnTo>
                      <a:pt x="30" y="1086"/>
                    </a:lnTo>
                    <a:lnTo>
                      <a:pt x="30" y="1085"/>
                    </a:lnTo>
                    <a:lnTo>
                      <a:pt x="29" y="1083"/>
                    </a:lnTo>
                    <a:lnTo>
                      <a:pt x="27" y="1081"/>
                    </a:lnTo>
                    <a:lnTo>
                      <a:pt x="26" y="1080"/>
                    </a:lnTo>
                    <a:lnTo>
                      <a:pt x="26" y="1078"/>
                    </a:lnTo>
                    <a:lnTo>
                      <a:pt x="26" y="1077"/>
                    </a:lnTo>
                    <a:lnTo>
                      <a:pt x="24" y="1077"/>
                    </a:lnTo>
                    <a:lnTo>
                      <a:pt x="24" y="1075"/>
                    </a:lnTo>
                    <a:lnTo>
                      <a:pt x="26" y="1075"/>
                    </a:lnTo>
                    <a:lnTo>
                      <a:pt x="26" y="1074"/>
                    </a:lnTo>
                    <a:lnTo>
                      <a:pt x="24" y="1074"/>
                    </a:lnTo>
                    <a:lnTo>
                      <a:pt x="24" y="1072"/>
                    </a:lnTo>
                    <a:lnTo>
                      <a:pt x="24" y="1070"/>
                    </a:lnTo>
                    <a:lnTo>
                      <a:pt x="24" y="1069"/>
                    </a:lnTo>
                    <a:lnTo>
                      <a:pt x="24" y="1067"/>
                    </a:lnTo>
                    <a:lnTo>
                      <a:pt x="24" y="1066"/>
                    </a:lnTo>
                    <a:lnTo>
                      <a:pt x="22" y="1066"/>
                    </a:lnTo>
                    <a:lnTo>
                      <a:pt x="22" y="1064"/>
                    </a:lnTo>
                    <a:lnTo>
                      <a:pt x="21" y="1062"/>
                    </a:lnTo>
                    <a:lnTo>
                      <a:pt x="21" y="1061"/>
                    </a:lnTo>
                    <a:lnTo>
                      <a:pt x="21" y="1059"/>
                    </a:lnTo>
                    <a:lnTo>
                      <a:pt x="21" y="1058"/>
                    </a:lnTo>
                    <a:lnTo>
                      <a:pt x="19" y="1056"/>
                    </a:lnTo>
                    <a:lnTo>
                      <a:pt x="19" y="1055"/>
                    </a:lnTo>
                    <a:lnTo>
                      <a:pt x="19" y="1053"/>
                    </a:lnTo>
                    <a:lnTo>
                      <a:pt x="21" y="1051"/>
                    </a:lnTo>
                    <a:lnTo>
                      <a:pt x="21" y="1050"/>
                    </a:lnTo>
                    <a:lnTo>
                      <a:pt x="21" y="1048"/>
                    </a:lnTo>
                    <a:lnTo>
                      <a:pt x="22" y="1047"/>
                    </a:lnTo>
                    <a:lnTo>
                      <a:pt x="22" y="1045"/>
                    </a:lnTo>
                    <a:lnTo>
                      <a:pt x="21" y="1043"/>
                    </a:lnTo>
                    <a:lnTo>
                      <a:pt x="19" y="1043"/>
                    </a:lnTo>
                    <a:lnTo>
                      <a:pt x="19" y="1042"/>
                    </a:lnTo>
                    <a:lnTo>
                      <a:pt x="18" y="1040"/>
                    </a:lnTo>
                    <a:lnTo>
                      <a:pt x="18" y="1039"/>
                    </a:lnTo>
                    <a:lnTo>
                      <a:pt x="16" y="1039"/>
                    </a:lnTo>
                    <a:lnTo>
                      <a:pt x="16" y="1037"/>
                    </a:lnTo>
                    <a:lnTo>
                      <a:pt x="14" y="1036"/>
                    </a:lnTo>
                    <a:lnTo>
                      <a:pt x="14" y="1034"/>
                    </a:lnTo>
                    <a:lnTo>
                      <a:pt x="14" y="1032"/>
                    </a:lnTo>
                    <a:lnTo>
                      <a:pt x="14" y="1031"/>
                    </a:lnTo>
                    <a:lnTo>
                      <a:pt x="13" y="1031"/>
                    </a:lnTo>
                    <a:lnTo>
                      <a:pt x="13" y="1029"/>
                    </a:lnTo>
                    <a:lnTo>
                      <a:pt x="11" y="1028"/>
                    </a:lnTo>
                    <a:lnTo>
                      <a:pt x="11" y="1026"/>
                    </a:lnTo>
                    <a:lnTo>
                      <a:pt x="11" y="1024"/>
                    </a:lnTo>
                    <a:lnTo>
                      <a:pt x="10" y="1024"/>
                    </a:lnTo>
                    <a:lnTo>
                      <a:pt x="10" y="1023"/>
                    </a:lnTo>
                    <a:lnTo>
                      <a:pt x="8" y="1023"/>
                    </a:lnTo>
                    <a:lnTo>
                      <a:pt x="7" y="1023"/>
                    </a:lnTo>
                    <a:lnTo>
                      <a:pt x="5" y="1023"/>
                    </a:lnTo>
                    <a:lnTo>
                      <a:pt x="5" y="1021"/>
                    </a:lnTo>
                    <a:lnTo>
                      <a:pt x="3" y="1021"/>
                    </a:lnTo>
                    <a:lnTo>
                      <a:pt x="2" y="1021"/>
                    </a:lnTo>
                    <a:lnTo>
                      <a:pt x="0" y="1020"/>
                    </a:lnTo>
                    <a:lnTo>
                      <a:pt x="2" y="1020"/>
                    </a:lnTo>
                    <a:lnTo>
                      <a:pt x="2" y="1018"/>
                    </a:lnTo>
                    <a:lnTo>
                      <a:pt x="3" y="1018"/>
                    </a:lnTo>
                    <a:lnTo>
                      <a:pt x="3" y="1017"/>
                    </a:lnTo>
                    <a:lnTo>
                      <a:pt x="5" y="1017"/>
                    </a:lnTo>
                    <a:lnTo>
                      <a:pt x="5" y="1015"/>
                    </a:lnTo>
                    <a:lnTo>
                      <a:pt x="7" y="1015"/>
                    </a:lnTo>
                    <a:lnTo>
                      <a:pt x="7" y="1013"/>
                    </a:lnTo>
                    <a:lnTo>
                      <a:pt x="8" y="1012"/>
                    </a:lnTo>
                    <a:lnTo>
                      <a:pt x="8" y="1010"/>
                    </a:lnTo>
                    <a:lnTo>
                      <a:pt x="8" y="1009"/>
                    </a:lnTo>
                    <a:lnTo>
                      <a:pt x="10" y="1009"/>
                    </a:lnTo>
                    <a:lnTo>
                      <a:pt x="10" y="1007"/>
                    </a:lnTo>
                    <a:lnTo>
                      <a:pt x="11" y="1007"/>
                    </a:lnTo>
                    <a:lnTo>
                      <a:pt x="11" y="1005"/>
                    </a:lnTo>
                    <a:lnTo>
                      <a:pt x="11" y="1004"/>
                    </a:lnTo>
                    <a:lnTo>
                      <a:pt x="11" y="1002"/>
                    </a:lnTo>
                    <a:lnTo>
                      <a:pt x="13" y="1002"/>
                    </a:lnTo>
                    <a:lnTo>
                      <a:pt x="13" y="1001"/>
                    </a:lnTo>
                    <a:lnTo>
                      <a:pt x="13" y="999"/>
                    </a:lnTo>
                    <a:lnTo>
                      <a:pt x="14" y="998"/>
                    </a:lnTo>
                    <a:lnTo>
                      <a:pt x="14" y="996"/>
                    </a:lnTo>
                    <a:lnTo>
                      <a:pt x="13" y="994"/>
                    </a:lnTo>
                    <a:lnTo>
                      <a:pt x="13" y="993"/>
                    </a:lnTo>
                    <a:lnTo>
                      <a:pt x="13" y="991"/>
                    </a:lnTo>
                    <a:lnTo>
                      <a:pt x="13" y="990"/>
                    </a:lnTo>
                    <a:lnTo>
                      <a:pt x="13" y="988"/>
                    </a:lnTo>
                    <a:lnTo>
                      <a:pt x="13" y="986"/>
                    </a:lnTo>
                    <a:lnTo>
                      <a:pt x="13" y="985"/>
                    </a:lnTo>
                    <a:lnTo>
                      <a:pt x="13" y="983"/>
                    </a:lnTo>
                    <a:lnTo>
                      <a:pt x="13" y="982"/>
                    </a:lnTo>
                    <a:lnTo>
                      <a:pt x="13" y="980"/>
                    </a:lnTo>
                    <a:lnTo>
                      <a:pt x="13" y="979"/>
                    </a:lnTo>
                    <a:lnTo>
                      <a:pt x="13" y="977"/>
                    </a:lnTo>
                    <a:lnTo>
                      <a:pt x="13" y="975"/>
                    </a:lnTo>
                    <a:lnTo>
                      <a:pt x="13" y="974"/>
                    </a:lnTo>
                    <a:lnTo>
                      <a:pt x="13" y="972"/>
                    </a:lnTo>
                    <a:lnTo>
                      <a:pt x="13" y="971"/>
                    </a:lnTo>
                    <a:lnTo>
                      <a:pt x="13" y="969"/>
                    </a:lnTo>
                    <a:lnTo>
                      <a:pt x="13" y="967"/>
                    </a:lnTo>
                    <a:lnTo>
                      <a:pt x="13" y="966"/>
                    </a:lnTo>
                    <a:lnTo>
                      <a:pt x="13" y="964"/>
                    </a:lnTo>
                    <a:lnTo>
                      <a:pt x="13" y="963"/>
                    </a:lnTo>
                    <a:lnTo>
                      <a:pt x="13" y="961"/>
                    </a:lnTo>
                    <a:lnTo>
                      <a:pt x="13" y="960"/>
                    </a:lnTo>
                    <a:lnTo>
                      <a:pt x="13" y="958"/>
                    </a:lnTo>
                    <a:lnTo>
                      <a:pt x="13" y="956"/>
                    </a:lnTo>
                    <a:lnTo>
                      <a:pt x="13" y="955"/>
                    </a:lnTo>
                    <a:lnTo>
                      <a:pt x="13" y="953"/>
                    </a:lnTo>
                    <a:lnTo>
                      <a:pt x="13" y="952"/>
                    </a:lnTo>
                    <a:lnTo>
                      <a:pt x="13" y="950"/>
                    </a:lnTo>
                    <a:lnTo>
                      <a:pt x="13" y="948"/>
                    </a:lnTo>
                    <a:lnTo>
                      <a:pt x="13" y="947"/>
                    </a:lnTo>
                    <a:lnTo>
                      <a:pt x="13" y="945"/>
                    </a:lnTo>
                    <a:lnTo>
                      <a:pt x="13" y="944"/>
                    </a:lnTo>
                    <a:lnTo>
                      <a:pt x="13" y="942"/>
                    </a:lnTo>
                    <a:lnTo>
                      <a:pt x="13" y="941"/>
                    </a:lnTo>
                    <a:lnTo>
                      <a:pt x="13" y="939"/>
                    </a:lnTo>
                    <a:lnTo>
                      <a:pt x="13" y="937"/>
                    </a:lnTo>
                    <a:lnTo>
                      <a:pt x="13" y="936"/>
                    </a:lnTo>
                    <a:lnTo>
                      <a:pt x="13" y="934"/>
                    </a:lnTo>
                    <a:lnTo>
                      <a:pt x="13" y="933"/>
                    </a:lnTo>
                    <a:lnTo>
                      <a:pt x="14" y="933"/>
                    </a:lnTo>
                    <a:lnTo>
                      <a:pt x="14" y="931"/>
                    </a:lnTo>
                    <a:lnTo>
                      <a:pt x="14" y="929"/>
                    </a:lnTo>
                    <a:lnTo>
                      <a:pt x="14" y="928"/>
                    </a:lnTo>
                    <a:lnTo>
                      <a:pt x="14" y="926"/>
                    </a:lnTo>
                    <a:lnTo>
                      <a:pt x="16" y="925"/>
                    </a:lnTo>
                    <a:lnTo>
                      <a:pt x="16" y="923"/>
                    </a:lnTo>
                    <a:lnTo>
                      <a:pt x="16" y="922"/>
                    </a:lnTo>
                    <a:lnTo>
                      <a:pt x="18" y="922"/>
                    </a:lnTo>
                    <a:lnTo>
                      <a:pt x="18" y="920"/>
                    </a:lnTo>
                    <a:lnTo>
                      <a:pt x="18" y="918"/>
                    </a:lnTo>
                    <a:lnTo>
                      <a:pt x="19" y="918"/>
                    </a:lnTo>
                    <a:lnTo>
                      <a:pt x="19" y="917"/>
                    </a:lnTo>
                    <a:lnTo>
                      <a:pt x="19" y="915"/>
                    </a:lnTo>
                    <a:lnTo>
                      <a:pt x="21" y="914"/>
                    </a:lnTo>
                    <a:lnTo>
                      <a:pt x="21" y="912"/>
                    </a:lnTo>
                    <a:lnTo>
                      <a:pt x="21" y="910"/>
                    </a:lnTo>
                    <a:lnTo>
                      <a:pt x="22" y="909"/>
                    </a:lnTo>
                    <a:lnTo>
                      <a:pt x="24" y="909"/>
                    </a:lnTo>
                    <a:lnTo>
                      <a:pt x="24" y="907"/>
                    </a:lnTo>
                    <a:lnTo>
                      <a:pt x="26" y="907"/>
                    </a:lnTo>
                    <a:lnTo>
                      <a:pt x="26" y="906"/>
                    </a:lnTo>
                    <a:lnTo>
                      <a:pt x="27" y="904"/>
                    </a:lnTo>
                    <a:lnTo>
                      <a:pt x="27" y="903"/>
                    </a:lnTo>
                    <a:lnTo>
                      <a:pt x="29" y="903"/>
                    </a:lnTo>
                    <a:lnTo>
                      <a:pt x="29" y="901"/>
                    </a:lnTo>
                    <a:lnTo>
                      <a:pt x="30" y="899"/>
                    </a:lnTo>
                    <a:lnTo>
                      <a:pt x="32" y="898"/>
                    </a:lnTo>
                    <a:lnTo>
                      <a:pt x="33" y="896"/>
                    </a:lnTo>
                    <a:lnTo>
                      <a:pt x="33" y="895"/>
                    </a:lnTo>
                    <a:lnTo>
                      <a:pt x="35" y="895"/>
                    </a:lnTo>
                    <a:lnTo>
                      <a:pt x="35" y="893"/>
                    </a:lnTo>
                    <a:lnTo>
                      <a:pt x="37" y="893"/>
                    </a:lnTo>
                    <a:lnTo>
                      <a:pt x="38" y="893"/>
                    </a:lnTo>
                    <a:lnTo>
                      <a:pt x="40" y="891"/>
                    </a:lnTo>
                    <a:lnTo>
                      <a:pt x="41" y="891"/>
                    </a:lnTo>
                    <a:lnTo>
                      <a:pt x="43" y="891"/>
                    </a:lnTo>
                    <a:lnTo>
                      <a:pt x="43" y="890"/>
                    </a:lnTo>
                    <a:lnTo>
                      <a:pt x="45" y="890"/>
                    </a:lnTo>
                    <a:lnTo>
                      <a:pt x="46" y="890"/>
                    </a:lnTo>
                    <a:lnTo>
                      <a:pt x="48" y="888"/>
                    </a:lnTo>
                    <a:lnTo>
                      <a:pt x="49" y="888"/>
                    </a:lnTo>
                    <a:lnTo>
                      <a:pt x="51" y="888"/>
                    </a:lnTo>
                    <a:lnTo>
                      <a:pt x="53" y="888"/>
                    </a:lnTo>
                    <a:lnTo>
                      <a:pt x="53" y="887"/>
                    </a:lnTo>
                    <a:lnTo>
                      <a:pt x="54" y="887"/>
                    </a:lnTo>
                    <a:lnTo>
                      <a:pt x="54" y="885"/>
                    </a:lnTo>
                    <a:lnTo>
                      <a:pt x="56" y="885"/>
                    </a:lnTo>
                    <a:lnTo>
                      <a:pt x="56" y="883"/>
                    </a:lnTo>
                    <a:lnTo>
                      <a:pt x="57" y="882"/>
                    </a:lnTo>
                    <a:lnTo>
                      <a:pt x="59" y="882"/>
                    </a:lnTo>
                    <a:lnTo>
                      <a:pt x="60" y="880"/>
                    </a:lnTo>
                    <a:lnTo>
                      <a:pt x="62" y="880"/>
                    </a:lnTo>
                    <a:lnTo>
                      <a:pt x="64" y="879"/>
                    </a:lnTo>
                    <a:lnTo>
                      <a:pt x="64" y="877"/>
                    </a:lnTo>
                    <a:lnTo>
                      <a:pt x="65" y="876"/>
                    </a:lnTo>
                    <a:lnTo>
                      <a:pt x="65" y="874"/>
                    </a:lnTo>
                    <a:lnTo>
                      <a:pt x="67" y="872"/>
                    </a:lnTo>
                    <a:lnTo>
                      <a:pt x="67" y="871"/>
                    </a:lnTo>
                    <a:lnTo>
                      <a:pt x="68" y="869"/>
                    </a:lnTo>
                    <a:lnTo>
                      <a:pt x="68" y="868"/>
                    </a:lnTo>
                    <a:lnTo>
                      <a:pt x="68" y="866"/>
                    </a:lnTo>
                    <a:lnTo>
                      <a:pt x="70" y="864"/>
                    </a:lnTo>
                    <a:lnTo>
                      <a:pt x="72" y="864"/>
                    </a:lnTo>
                    <a:lnTo>
                      <a:pt x="73" y="863"/>
                    </a:lnTo>
                    <a:lnTo>
                      <a:pt x="75" y="861"/>
                    </a:lnTo>
                    <a:lnTo>
                      <a:pt x="75" y="860"/>
                    </a:lnTo>
                    <a:lnTo>
                      <a:pt x="76" y="860"/>
                    </a:lnTo>
                    <a:lnTo>
                      <a:pt x="78" y="860"/>
                    </a:lnTo>
                    <a:lnTo>
                      <a:pt x="79" y="860"/>
                    </a:lnTo>
                    <a:lnTo>
                      <a:pt x="81" y="858"/>
                    </a:lnTo>
                    <a:lnTo>
                      <a:pt x="83" y="858"/>
                    </a:lnTo>
                    <a:lnTo>
                      <a:pt x="83" y="857"/>
                    </a:lnTo>
                    <a:lnTo>
                      <a:pt x="84" y="857"/>
                    </a:lnTo>
                    <a:lnTo>
                      <a:pt x="84" y="855"/>
                    </a:lnTo>
                    <a:lnTo>
                      <a:pt x="86" y="855"/>
                    </a:lnTo>
                    <a:lnTo>
                      <a:pt x="86" y="853"/>
                    </a:lnTo>
                    <a:lnTo>
                      <a:pt x="87" y="852"/>
                    </a:lnTo>
                    <a:lnTo>
                      <a:pt x="89" y="850"/>
                    </a:lnTo>
                    <a:lnTo>
                      <a:pt x="91" y="850"/>
                    </a:lnTo>
                    <a:lnTo>
                      <a:pt x="92" y="849"/>
                    </a:lnTo>
                    <a:lnTo>
                      <a:pt x="94" y="850"/>
                    </a:lnTo>
                    <a:lnTo>
                      <a:pt x="95" y="850"/>
                    </a:lnTo>
                    <a:lnTo>
                      <a:pt x="95" y="849"/>
                    </a:lnTo>
                    <a:lnTo>
                      <a:pt x="97" y="849"/>
                    </a:lnTo>
                    <a:lnTo>
                      <a:pt x="97" y="847"/>
                    </a:lnTo>
                    <a:lnTo>
                      <a:pt x="97" y="845"/>
                    </a:lnTo>
                    <a:lnTo>
                      <a:pt x="98" y="845"/>
                    </a:lnTo>
                    <a:lnTo>
                      <a:pt x="98" y="844"/>
                    </a:lnTo>
                    <a:lnTo>
                      <a:pt x="98" y="842"/>
                    </a:lnTo>
                    <a:lnTo>
                      <a:pt x="98" y="841"/>
                    </a:lnTo>
                    <a:lnTo>
                      <a:pt x="98" y="839"/>
                    </a:lnTo>
                    <a:lnTo>
                      <a:pt x="100" y="839"/>
                    </a:lnTo>
                    <a:lnTo>
                      <a:pt x="102" y="838"/>
                    </a:lnTo>
                    <a:lnTo>
                      <a:pt x="103" y="836"/>
                    </a:lnTo>
                    <a:lnTo>
                      <a:pt x="105" y="836"/>
                    </a:lnTo>
                    <a:lnTo>
                      <a:pt x="106" y="836"/>
                    </a:lnTo>
                    <a:lnTo>
                      <a:pt x="108" y="836"/>
                    </a:lnTo>
                    <a:lnTo>
                      <a:pt x="110" y="836"/>
                    </a:lnTo>
                    <a:lnTo>
                      <a:pt x="111" y="836"/>
                    </a:lnTo>
                    <a:lnTo>
                      <a:pt x="113" y="836"/>
                    </a:lnTo>
                    <a:lnTo>
                      <a:pt x="114" y="836"/>
                    </a:lnTo>
                    <a:lnTo>
                      <a:pt x="114" y="834"/>
                    </a:lnTo>
                    <a:lnTo>
                      <a:pt x="116" y="834"/>
                    </a:lnTo>
                    <a:lnTo>
                      <a:pt x="116" y="833"/>
                    </a:lnTo>
                    <a:lnTo>
                      <a:pt x="117" y="833"/>
                    </a:lnTo>
                    <a:lnTo>
                      <a:pt x="119" y="831"/>
                    </a:lnTo>
                    <a:lnTo>
                      <a:pt x="121" y="831"/>
                    </a:lnTo>
                    <a:lnTo>
                      <a:pt x="121" y="830"/>
                    </a:lnTo>
                    <a:lnTo>
                      <a:pt x="122" y="830"/>
                    </a:lnTo>
                    <a:lnTo>
                      <a:pt x="124" y="830"/>
                    </a:lnTo>
                    <a:lnTo>
                      <a:pt x="125" y="828"/>
                    </a:lnTo>
                    <a:lnTo>
                      <a:pt x="127" y="828"/>
                    </a:lnTo>
                    <a:lnTo>
                      <a:pt x="127" y="826"/>
                    </a:lnTo>
                    <a:lnTo>
                      <a:pt x="127" y="825"/>
                    </a:lnTo>
                    <a:lnTo>
                      <a:pt x="129" y="825"/>
                    </a:lnTo>
                    <a:lnTo>
                      <a:pt x="127" y="823"/>
                    </a:lnTo>
                    <a:lnTo>
                      <a:pt x="129" y="823"/>
                    </a:lnTo>
                    <a:lnTo>
                      <a:pt x="129" y="822"/>
                    </a:lnTo>
                    <a:lnTo>
                      <a:pt x="130" y="820"/>
                    </a:lnTo>
                    <a:lnTo>
                      <a:pt x="130" y="819"/>
                    </a:lnTo>
                    <a:lnTo>
                      <a:pt x="132" y="817"/>
                    </a:lnTo>
                    <a:lnTo>
                      <a:pt x="133" y="815"/>
                    </a:lnTo>
                    <a:lnTo>
                      <a:pt x="133" y="814"/>
                    </a:lnTo>
                    <a:lnTo>
                      <a:pt x="135" y="814"/>
                    </a:lnTo>
                    <a:lnTo>
                      <a:pt x="135" y="812"/>
                    </a:lnTo>
                    <a:lnTo>
                      <a:pt x="136" y="812"/>
                    </a:lnTo>
                    <a:lnTo>
                      <a:pt x="136" y="811"/>
                    </a:lnTo>
                    <a:lnTo>
                      <a:pt x="135" y="809"/>
                    </a:lnTo>
                    <a:lnTo>
                      <a:pt x="136" y="807"/>
                    </a:lnTo>
                    <a:lnTo>
                      <a:pt x="138" y="807"/>
                    </a:lnTo>
                    <a:lnTo>
                      <a:pt x="140" y="807"/>
                    </a:lnTo>
                    <a:lnTo>
                      <a:pt x="141" y="807"/>
                    </a:lnTo>
                    <a:lnTo>
                      <a:pt x="141" y="806"/>
                    </a:lnTo>
                    <a:lnTo>
                      <a:pt x="143" y="806"/>
                    </a:lnTo>
                    <a:lnTo>
                      <a:pt x="144" y="806"/>
                    </a:lnTo>
                    <a:lnTo>
                      <a:pt x="146" y="804"/>
                    </a:lnTo>
                    <a:lnTo>
                      <a:pt x="148" y="804"/>
                    </a:lnTo>
                    <a:lnTo>
                      <a:pt x="148" y="803"/>
                    </a:lnTo>
                    <a:lnTo>
                      <a:pt x="149" y="803"/>
                    </a:lnTo>
                    <a:lnTo>
                      <a:pt x="151" y="803"/>
                    </a:lnTo>
                    <a:lnTo>
                      <a:pt x="151" y="801"/>
                    </a:lnTo>
                    <a:lnTo>
                      <a:pt x="152" y="801"/>
                    </a:lnTo>
                    <a:lnTo>
                      <a:pt x="152" y="800"/>
                    </a:lnTo>
                    <a:lnTo>
                      <a:pt x="154" y="800"/>
                    </a:lnTo>
                    <a:lnTo>
                      <a:pt x="155" y="800"/>
                    </a:lnTo>
                    <a:lnTo>
                      <a:pt x="155" y="798"/>
                    </a:lnTo>
                    <a:lnTo>
                      <a:pt x="157" y="798"/>
                    </a:lnTo>
                    <a:lnTo>
                      <a:pt x="159" y="796"/>
                    </a:lnTo>
                    <a:lnTo>
                      <a:pt x="160" y="795"/>
                    </a:lnTo>
                    <a:lnTo>
                      <a:pt x="160" y="793"/>
                    </a:lnTo>
                    <a:lnTo>
                      <a:pt x="162" y="793"/>
                    </a:lnTo>
                    <a:lnTo>
                      <a:pt x="163" y="792"/>
                    </a:lnTo>
                    <a:lnTo>
                      <a:pt x="165" y="790"/>
                    </a:lnTo>
                    <a:lnTo>
                      <a:pt x="167" y="788"/>
                    </a:lnTo>
                    <a:lnTo>
                      <a:pt x="168" y="788"/>
                    </a:lnTo>
                    <a:lnTo>
                      <a:pt x="168" y="787"/>
                    </a:lnTo>
                    <a:lnTo>
                      <a:pt x="170" y="787"/>
                    </a:lnTo>
                    <a:lnTo>
                      <a:pt x="171" y="787"/>
                    </a:lnTo>
                    <a:lnTo>
                      <a:pt x="173" y="785"/>
                    </a:lnTo>
                    <a:lnTo>
                      <a:pt x="174" y="785"/>
                    </a:lnTo>
                    <a:lnTo>
                      <a:pt x="174" y="784"/>
                    </a:lnTo>
                    <a:lnTo>
                      <a:pt x="174" y="782"/>
                    </a:lnTo>
                    <a:lnTo>
                      <a:pt x="173" y="782"/>
                    </a:lnTo>
                    <a:lnTo>
                      <a:pt x="173" y="781"/>
                    </a:lnTo>
                    <a:lnTo>
                      <a:pt x="171" y="779"/>
                    </a:lnTo>
                    <a:lnTo>
                      <a:pt x="171" y="777"/>
                    </a:lnTo>
                    <a:lnTo>
                      <a:pt x="171" y="776"/>
                    </a:lnTo>
                    <a:lnTo>
                      <a:pt x="170" y="776"/>
                    </a:lnTo>
                    <a:lnTo>
                      <a:pt x="170" y="774"/>
                    </a:lnTo>
                    <a:lnTo>
                      <a:pt x="170" y="773"/>
                    </a:lnTo>
                    <a:lnTo>
                      <a:pt x="168" y="773"/>
                    </a:lnTo>
                    <a:lnTo>
                      <a:pt x="168" y="771"/>
                    </a:lnTo>
                    <a:lnTo>
                      <a:pt x="168" y="769"/>
                    </a:lnTo>
                    <a:lnTo>
                      <a:pt x="168" y="768"/>
                    </a:lnTo>
                    <a:lnTo>
                      <a:pt x="168" y="766"/>
                    </a:lnTo>
                    <a:lnTo>
                      <a:pt x="168" y="765"/>
                    </a:lnTo>
                    <a:lnTo>
                      <a:pt x="168" y="763"/>
                    </a:lnTo>
                    <a:lnTo>
                      <a:pt x="168" y="762"/>
                    </a:lnTo>
                    <a:lnTo>
                      <a:pt x="168" y="760"/>
                    </a:lnTo>
                    <a:lnTo>
                      <a:pt x="168" y="758"/>
                    </a:lnTo>
                    <a:lnTo>
                      <a:pt x="168" y="757"/>
                    </a:lnTo>
                    <a:lnTo>
                      <a:pt x="168" y="755"/>
                    </a:lnTo>
                    <a:lnTo>
                      <a:pt x="168" y="754"/>
                    </a:lnTo>
                    <a:lnTo>
                      <a:pt x="168" y="752"/>
                    </a:lnTo>
                    <a:lnTo>
                      <a:pt x="168" y="750"/>
                    </a:lnTo>
                    <a:lnTo>
                      <a:pt x="168" y="749"/>
                    </a:lnTo>
                    <a:lnTo>
                      <a:pt x="168" y="747"/>
                    </a:lnTo>
                    <a:lnTo>
                      <a:pt x="168" y="746"/>
                    </a:lnTo>
                    <a:lnTo>
                      <a:pt x="168" y="744"/>
                    </a:lnTo>
                    <a:lnTo>
                      <a:pt x="168" y="743"/>
                    </a:lnTo>
                    <a:lnTo>
                      <a:pt x="168" y="741"/>
                    </a:lnTo>
                    <a:lnTo>
                      <a:pt x="168" y="739"/>
                    </a:lnTo>
                    <a:lnTo>
                      <a:pt x="168" y="738"/>
                    </a:lnTo>
                    <a:lnTo>
                      <a:pt x="168" y="736"/>
                    </a:lnTo>
                    <a:lnTo>
                      <a:pt x="168" y="735"/>
                    </a:lnTo>
                    <a:lnTo>
                      <a:pt x="168" y="733"/>
                    </a:lnTo>
                    <a:lnTo>
                      <a:pt x="168" y="731"/>
                    </a:lnTo>
                    <a:lnTo>
                      <a:pt x="168" y="730"/>
                    </a:lnTo>
                    <a:lnTo>
                      <a:pt x="168" y="728"/>
                    </a:lnTo>
                    <a:lnTo>
                      <a:pt x="168" y="727"/>
                    </a:lnTo>
                    <a:lnTo>
                      <a:pt x="168" y="725"/>
                    </a:lnTo>
                    <a:lnTo>
                      <a:pt x="168" y="724"/>
                    </a:lnTo>
                    <a:lnTo>
                      <a:pt x="170" y="724"/>
                    </a:lnTo>
                    <a:lnTo>
                      <a:pt x="170" y="722"/>
                    </a:lnTo>
                    <a:lnTo>
                      <a:pt x="170" y="720"/>
                    </a:lnTo>
                    <a:lnTo>
                      <a:pt x="170" y="719"/>
                    </a:lnTo>
                    <a:lnTo>
                      <a:pt x="171" y="719"/>
                    </a:lnTo>
                    <a:lnTo>
                      <a:pt x="171" y="717"/>
                    </a:lnTo>
                    <a:lnTo>
                      <a:pt x="171" y="716"/>
                    </a:lnTo>
                    <a:lnTo>
                      <a:pt x="173" y="714"/>
                    </a:lnTo>
                    <a:lnTo>
                      <a:pt x="173" y="712"/>
                    </a:lnTo>
                    <a:lnTo>
                      <a:pt x="173" y="711"/>
                    </a:lnTo>
                    <a:lnTo>
                      <a:pt x="173" y="709"/>
                    </a:lnTo>
                    <a:lnTo>
                      <a:pt x="174" y="709"/>
                    </a:lnTo>
                    <a:lnTo>
                      <a:pt x="174" y="708"/>
                    </a:lnTo>
                    <a:lnTo>
                      <a:pt x="174" y="706"/>
                    </a:lnTo>
                    <a:lnTo>
                      <a:pt x="174" y="704"/>
                    </a:lnTo>
                    <a:lnTo>
                      <a:pt x="174" y="703"/>
                    </a:lnTo>
                    <a:lnTo>
                      <a:pt x="176" y="701"/>
                    </a:lnTo>
                    <a:lnTo>
                      <a:pt x="176" y="700"/>
                    </a:lnTo>
                    <a:lnTo>
                      <a:pt x="176" y="698"/>
                    </a:lnTo>
                    <a:lnTo>
                      <a:pt x="176" y="697"/>
                    </a:lnTo>
                    <a:lnTo>
                      <a:pt x="178" y="697"/>
                    </a:lnTo>
                    <a:lnTo>
                      <a:pt x="178" y="695"/>
                    </a:lnTo>
                    <a:lnTo>
                      <a:pt x="178" y="693"/>
                    </a:lnTo>
                    <a:lnTo>
                      <a:pt x="179" y="692"/>
                    </a:lnTo>
                    <a:lnTo>
                      <a:pt x="179" y="690"/>
                    </a:lnTo>
                    <a:lnTo>
                      <a:pt x="179" y="689"/>
                    </a:lnTo>
                    <a:lnTo>
                      <a:pt x="181" y="687"/>
                    </a:lnTo>
                    <a:lnTo>
                      <a:pt x="181" y="685"/>
                    </a:lnTo>
                    <a:lnTo>
                      <a:pt x="182" y="684"/>
                    </a:lnTo>
                    <a:lnTo>
                      <a:pt x="182" y="682"/>
                    </a:lnTo>
                    <a:lnTo>
                      <a:pt x="184" y="681"/>
                    </a:lnTo>
                    <a:lnTo>
                      <a:pt x="184" y="679"/>
                    </a:lnTo>
                    <a:lnTo>
                      <a:pt x="186" y="679"/>
                    </a:lnTo>
                    <a:lnTo>
                      <a:pt x="186" y="678"/>
                    </a:lnTo>
                    <a:lnTo>
                      <a:pt x="186" y="676"/>
                    </a:lnTo>
                    <a:lnTo>
                      <a:pt x="186" y="674"/>
                    </a:lnTo>
                    <a:lnTo>
                      <a:pt x="186" y="673"/>
                    </a:lnTo>
                    <a:lnTo>
                      <a:pt x="186" y="671"/>
                    </a:lnTo>
                    <a:lnTo>
                      <a:pt x="186" y="670"/>
                    </a:lnTo>
                    <a:lnTo>
                      <a:pt x="186" y="668"/>
                    </a:lnTo>
                    <a:lnTo>
                      <a:pt x="186" y="666"/>
                    </a:lnTo>
                    <a:lnTo>
                      <a:pt x="186" y="665"/>
                    </a:lnTo>
                    <a:lnTo>
                      <a:pt x="186" y="663"/>
                    </a:lnTo>
                    <a:lnTo>
                      <a:pt x="186" y="662"/>
                    </a:lnTo>
                    <a:lnTo>
                      <a:pt x="186" y="660"/>
                    </a:lnTo>
                    <a:lnTo>
                      <a:pt x="186" y="659"/>
                    </a:lnTo>
                    <a:lnTo>
                      <a:pt x="186" y="657"/>
                    </a:lnTo>
                    <a:lnTo>
                      <a:pt x="186" y="655"/>
                    </a:lnTo>
                    <a:lnTo>
                      <a:pt x="186" y="654"/>
                    </a:lnTo>
                    <a:lnTo>
                      <a:pt x="186" y="652"/>
                    </a:lnTo>
                    <a:lnTo>
                      <a:pt x="186" y="651"/>
                    </a:lnTo>
                    <a:lnTo>
                      <a:pt x="186" y="649"/>
                    </a:lnTo>
                    <a:lnTo>
                      <a:pt x="186" y="647"/>
                    </a:lnTo>
                    <a:lnTo>
                      <a:pt x="186" y="646"/>
                    </a:lnTo>
                    <a:lnTo>
                      <a:pt x="187" y="644"/>
                    </a:lnTo>
                    <a:lnTo>
                      <a:pt x="187" y="643"/>
                    </a:lnTo>
                    <a:lnTo>
                      <a:pt x="187" y="641"/>
                    </a:lnTo>
                    <a:lnTo>
                      <a:pt x="187" y="640"/>
                    </a:lnTo>
                    <a:lnTo>
                      <a:pt x="187" y="638"/>
                    </a:lnTo>
                    <a:lnTo>
                      <a:pt x="187" y="636"/>
                    </a:lnTo>
                    <a:lnTo>
                      <a:pt x="187" y="635"/>
                    </a:lnTo>
                    <a:lnTo>
                      <a:pt x="187" y="633"/>
                    </a:lnTo>
                    <a:lnTo>
                      <a:pt x="187" y="632"/>
                    </a:lnTo>
                    <a:lnTo>
                      <a:pt x="186" y="632"/>
                    </a:lnTo>
                    <a:lnTo>
                      <a:pt x="186" y="630"/>
                    </a:lnTo>
                    <a:lnTo>
                      <a:pt x="187" y="630"/>
                    </a:lnTo>
                    <a:lnTo>
                      <a:pt x="189" y="630"/>
                    </a:lnTo>
                    <a:lnTo>
                      <a:pt x="190" y="630"/>
                    </a:lnTo>
                    <a:lnTo>
                      <a:pt x="192" y="630"/>
                    </a:lnTo>
                    <a:lnTo>
                      <a:pt x="193" y="630"/>
                    </a:lnTo>
                    <a:lnTo>
                      <a:pt x="195" y="628"/>
                    </a:lnTo>
                    <a:lnTo>
                      <a:pt x="195" y="627"/>
                    </a:lnTo>
                    <a:lnTo>
                      <a:pt x="197" y="627"/>
                    </a:lnTo>
                    <a:lnTo>
                      <a:pt x="197" y="625"/>
                    </a:lnTo>
                    <a:lnTo>
                      <a:pt x="198" y="624"/>
                    </a:lnTo>
                    <a:lnTo>
                      <a:pt x="198" y="622"/>
                    </a:lnTo>
                    <a:lnTo>
                      <a:pt x="200" y="622"/>
                    </a:lnTo>
                    <a:lnTo>
                      <a:pt x="200" y="621"/>
                    </a:lnTo>
                    <a:lnTo>
                      <a:pt x="200" y="619"/>
                    </a:lnTo>
                    <a:lnTo>
                      <a:pt x="201" y="619"/>
                    </a:lnTo>
                    <a:lnTo>
                      <a:pt x="201" y="617"/>
                    </a:lnTo>
                    <a:lnTo>
                      <a:pt x="201" y="616"/>
                    </a:lnTo>
                    <a:lnTo>
                      <a:pt x="203" y="614"/>
                    </a:lnTo>
                    <a:lnTo>
                      <a:pt x="203" y="613"/>
                    </a:lnTo>
                    <a:lnTo>
                      <a:pt x="205" y="613"/>
                    </a:lnTo>
                    <a:lnTo>
                      <a:pt x="205" y="611"/>
                    </a:lnTo>
                    <a:lnTo>
                      <a:pt x="205" y="609"/>
                    </a:lnTo>
                    <a:lnTo>
                      <a:pt x="205" y="608"/>
                    </a:lnTo>
                    <a:lnTo>
                      <a:pt x="205" y="606"/>
                    </a:lnTo>
                    <a:lnTo>
                      <a:pt x="205" y="605"/>
                    </a:lnTo>
                    <a:lnTo>
                      <a:pt x="205" y="603"/>
                    </a:lnTo>
                    <a:lnTo>
                      <a:pt x="205" y="602"/>
                    </a:lnTo>
                    <a:lnTo>
                      <a:pt x="205" y="600"/>
                    </a:lnTo>
                    <a:lnTo>
                      <a:pt x="205" y="598"/>
                    </a:lnTo>
                    <a:lnTo>
                      <a:pt x="205" y="597"/>
                    </a:lnTo>
                    <a:lnTo>
                      <a:pt x="203" y="597"/>
                    </a:lnTo>
                    <a:lnTo>
                      <a:pt x="203" y="595"/>
                    </a:lnTo>
                    <a:lnTo>
                      <a:pt x="201" y="595"/>
                    </a:lnTo>
                    <a:lnTo>
                      <a:pt x="200" y="594"/>
                    </a:lnTo>
                    <a:lnTo>
                      <a:pt x="198" y="594"/>
                    </a:lnTo>
                    <a:lnTo>
                      <a:pt x="198" y="592"/>
                    </a:lnTo>
                    <a:lnTo>
                      <a:pt x="197" y="592"/>
                    </a:lnTo>
                    <a:lnTo>
                      <a:pt x="197" y="590"/>
                    </a:lnTo>
                    <a:lnTo>
                      <a:pt x="195" y="590"/>
                    </a:lnTo>
                    <a:lnTo>
                      <a:pt x="193" y="589"/>
                    </a:lnTo>
                    <a:lnTo>
                      <a:pt x="192" y="589"/>
                    </a:lnTo>
                    <a:lnTo>
                      <a:pt x="190" y="589"/>
                    </a:lnTo>
                    <a:lnTo>
                      <a:pt x="190" y="587"/>
                    </a:lnTo>
                    <a:lnTo>
                      <a:pt x="189" y="587"/>
                    </a:lnTo>
                    <a:lnTo>
                      <a:pt x="187" y="586"/>
                    </a:lnTo>
                    <a:lnTo>
                      <a:pt x="186" y="584"/>
                    </a:lnTo>
                    <a:lnTo>
                      <a:pt x="186" y="583"/>
                    </a:lnTo>
                    <a:lnTo>
                      <a:pt x="184" y="583"/>
                    </a:lnTo>
                    <a:lnTo>
                      <a:pt x="184" y="581"/>
                    </a:lnTo>
                    <a:lnTo>
                      <a:pt x="186" y="581"/>
                    </a:lnTo>
                    <a:lnTo>
                      <a:pt x="186" y="579"/>
                    </a:lnTo>
                    <a:lnTo>
                      <a:pt x="187" y="578"/>
                    </a:lnTo>
                    <a:lnTo>
                      <a:pt x="187" y="576"/>
                    </a:lnTo>
                    <a:lnTo>
                      <a:pt x="189" y="576"/>
                    </a:lnTo>
                    <a:lnTo>
                      <a:pt x="189" y="575"/>
                    </a:lnTo>
                    <a:lnTo>
                      <a:pt x="190" y="575"/>
                    </a:lnTo>
                    <a:lnTo>
                      <a:pt x="190" y="573"/>
                    </a:lnTo>
                    <a:lnTo>
                      <a:pt x="190" y="571"/>
                    </a:lnTo>
                    <a:lnTo>
                      <a:pt x="192" y="570"/>
                    </a:lnTo>
                    <a:lnTo>
                      <a:pt x="193" y="570"/>
                    </a:lnTo>
                    <a:lnTo>
                      <a:pt x="193" y="568"/>
                    </a:lnTo>
                    <a:lnTo>
                      <a:pt x="193" y="567"/>
                    </a:lnTo>
                    <a:lnTo>
                      <a:pt x="195" y="567"/>
                    </a:lnTo>
                    <a:lnTo>
                      <a:pt x="195" y="565"/>
                    </a:lnTo>
                    <a:lnTo>
                      <a:pt x="197" y="565"/>
                    </a:lnTo>
                    <a:lnTo>
                      <a:pt x="197" y="564"/>
                    </a:lnTo>
                    <a:lnTo>
                      <a:pt x="198" y="564"/>
                    </a:lnTo>
                    <a:lnTo>
                      <a:pt x="198" y="562"/>
                    </a:lnTo>
                    <a:lnTo>
                      <a:pt x="200" y="560"/>
                    </a:lnTo>
                    <a:lnTo>
                      <a:pt x="201" y="559"/>
                    </a:lnTo>
                    <a:lnTo>
                      <a:pt x="203" y="557"/>
                    </a:lnTo>
                    <a:lnTo>
                      <a:pt x="205" y="556"/>
                    </a:lnTo>
                    <a:lnTo>
                      <a:pt x="206" y="556"/>
                    </a:lnTo>
                    <a:lnTo>
                      <a:pt x="208" y="554"/>
                    </a:lnTo>
                    <a:lnTo>
                      <a:pt x="209" y="554"/>
                    </a:lnTo>
                    <a:lnTo>
                      <a:pt x="209" y="552"/>
                    </a:lnTo>
                    <a:lnTo>
                      <a:pt x="211" y="552"/>
                    </a:lnTo>
                    <a:lnTo>
                      <a:pt x="212" y="551"/>
                    </a:lnTo>
                    <a:lnTo>
                      <a:pt x="212" y="549"/>
                    </a:lnTo>
                    <a:lnTo>
                      <a:pt x="214" y="549"/>
                    </a:lnTo>
                    <a:lnTo>
                      <a:pt x="214" y="548"/>
                    </a:lnTo>
                    <a:lnTo>
                      <a:pt x="216" y="548"/>
                    </a:lnTo>
                    <a:lnTo>
                      <a:pt x="216" y="546"/>
                    </a:lnTo>
                    <a:lnTo>
                      <a:pt x="217" y="546"/>
                    </a:lnTo>
                    <a:lnTo>
                      <a:pt x="217" y="545"/>
                    </a:lnTo>
                    <a:lnTo>
                      <a:pt x="219" y="545"/>
                    </a:lnTo>
                    <a:lnTo>
                      <a:pt x="219" y="543"/>
                    </a:lnTo>
                    <a:lnTo>
                      <a:pt x="220" y="541"/>
                    </a:lnTo>
                    <a:lnTo>
                      <a:pt x="222" y="541"/>
                    </a:lnTo>
                    <a:lnTo>
                      <a:pt x="222" y="540"/>
                    </a:lnTo>
                    <a:lnTo>
                      <a:pt x="224" y="538"/>
                    </a:lnTo>
                    <a:lnTo>
                      <a:pt x="225" y="537"/>
                    </a:lnTo>
                    <a:lnTo>
                      <a:pt x="227" y="535"/>
                    </a:lnTo>
                    <a:lnTo>
                      <a:pt x="227" y="533"/>
                    </a:lnTo>
                    <a:lnTo>
                      <a:pt x="228" y="533"/>
                    </a:lnTo>
                    <a:lnTo>
                      <a:pt x="228" y="532"/>
                    </a:lnTo>
                    <a:lnTo>
                      <a:pt x="230" y="532"/>
                    </a:lnTo>
                    <a:lnTo>
                      <a:pt x="230" y="530"/>
                    </a:lnTo>
                    <a:lnTo>
                      <a:pt x="232" y="530"/>
                    </a:lnTo>
                    <a:lnTo>
                      <a:pt x="232" y="529"/>
                    </a:lnTo>
                    <a:lnTo>
                      <a:pt x="233" y="529"/>
                    </a:lnTo>
                    <a:lnTo>
                      <a:pt x="233" y="527"/>
                    </a:lnTo>
                    <a:lnTo>
                      <a:pt x="235" y="527"/>
                    </a:lnTo>
                    <a:lnTo>
                      <a:pt x="235" y="525"/>
                    </a:lnTo>
                    <a:lnTo>
                      <a:pt x="236" y="525"/>
                    </a:lnTo>
                    <a:lnTo>
                      <a:pt x="236" y="524"/>
                    </a:lnTo>
                    <a:lnTo>
                      <a:pt x="238" y="522"/>
                    </a:lnTo>
                    <a:lnTo>
                      <a:pt x="239" y="521"/>
                    </a:lnTo>
                    <a:lnTo>
                      <a:pt x="239" y="519"/>
                    </a:lnTo>
                    <a:lnTo>
                      <a:pt x="241" y="519"/>
                    </a:lnTo>
                    <a:lnTo>
                      <a:pt x="243" y="518"/>
                    </a:lnTo>
                    <a:lnTo>
                      <a:pt x="243" y="516"/>
                    </a:lnTo>
                    <a:lnTo>
                      <a:pt x="244" y="516"/>
                    </a:lnTo>
                    <a:lnTo>
                      <a:pt x="244" y="514"/>
                    </a:lnTo>
                    <a:lnTo>
                      <a:pt x="243" y="513"/>
                    </a:lnTo>
                    <a:lnTo>
                      <a:pt x="243" y="511"/>
                    </a:lnTo>
                    <a:lnTo>
                      <a:pt x="241" y="510"/>
                    </a:lnTo>
                    <a:lnTo>
                      <a:pt x="239" y="510"/>
                    </a:lnTo>
                    <a:lnTo>
                      <a:pt x="238" y="510"/>
                    </a:lnTo>
                    <a:lnTo>
                      <a:pt x="238" y="508"/>
                    </a:lnTo>
                    <a:lnTo>
                      <a:pt x="236" y="508"/>
                    </a:lnTo>
                    <a:lnTo>
                      <a:pt x="235" y="508"/>
                    </a:lnTo>
                    <a:lnTo>
                      <a:pt x="235" y="506"/>
                    </a:lnTo>
                    <a:lnTo>
                      <a:pt x="233" y="506"/>
                    </a:lnTo>
                    <a:lnTo>
                      <a:pt x="233" y="505"/>
                    </a:lnTo>
                    <a:lnTo>
                      <a:pt x="232" y="503"/>
                    </a:lnTo>
                    <a:lnTo>
                      <a:pt x="230" y="502"/>
                    </a:lnTo>
                    <a:lnTo>
                      <a:pt x="230" y="500"/>
                    </a:lnTo>
                    <a:lnTo>
                      <a:pt x="228" y="500"/>
                    </a:lnTo>
                    <a:lnTo>
                      <a:pt x="228" y="499"/>
                    </a:lnTo>
                    <a:lnTo>
                      <a:pt x="227" y="499"/>
                    </a:lnTo>
                    <a:lnTo>
                      <a:pt x="227" y="497"/>
                    </a:lnTo>
                    <a:lnTo>
                      <a:pt x="225" y="497"/>
                    </a:lnTo>
                    <a:lnTo>
                      <a:pt x="225" y="495"/>
                    </a:lnTo>
                    <a:lnTo>
                      <a:pt x="224" y="494"/>
                    </a:lnTo>
                    <a:lnTo>
                      <a:pt x="222" y="494"/>
                    </a:lnTo>
                    <a:lnTo>
                      <a:pt x="222" y="492"/>
                    </a:lnTo>
                    <a:lnTo>
                      <a:pt x="220" y="492"/>
                    </a:lnTo>
                    <a:lnTo>
                      <a:pt x="219" y="491"/>
                    </a:lnTo>
                    <a:lnTo>
                      <a:pt x="217" y="491"/>
                    </a:lnTo>
                    <a:lnTo>
                      <a:pt x="217" y="489"/>
                    </a:lnTo>
                    <a:lnTo>
                      <a:pt x="216" y="489"/>
                    </a:lnTo>
                    <a:lnTo>
                      <a:pt x="216" y="487"/>
                    </a:lnTo>
                    <a:lnTo>
                      <a:pt x="214" y="487"/>
                    </a:lnTo>
                    <a:lnTo>
                      <a:pt x="212" y="486"/>
                    </a:lnTo>
                    <a:lnTo>
                      <a:pt x="212" y="484"/>
                    </a:lnTo>
                    <a:lnTo>
                      <a:pt x="211" y="483"/>
                    </a:lnTo>
                    <a:lnTo>
                      <a:pt x="211" y="481"/>
                    </a:lnTo>
                    <a:lnTo>
                      <a:pt x="209" y="480"/>
                    </a:lnTo>
                    <a:lnTo>
                      <a:pt x="209" y="478"/>
                    </a:lnTo>
                    <a:lnTo>
                      <a:pt x="208" y="478"/>
                    </a:lnTo>
                    <a:lnTo>
                      <a:pt x="208" y="476"/>
                    </a:lnTo>
                    <a:lnTo>
                      <a:pt x="206" y="476"/>
                    </a:lnTo>
                    <a:lnTo>
                      <a:pt x="206" y="475"/>
                    </a:lnTo>
                    <a:lnTo>
                      <a:pt x="205" y="475"/>
                    </a:lnTo>
                    <a:lnTo>
                      <a:pt x="203" y="475"/>
                    </a:lnTo>
                    <a:lnTo>
                      <a:pt x="203" y="473"/>
                    </a:lnTo>
                    <a:lnTo>
                      <a:pt x="201" y="473"/>
                    </a:lnTo>
                    <a:lnTo>
                      <a:pt x="200" y="473"/>
                    </a:lnTo>
                    <a:lnTo>
                      <a:pt x="198" y="473"/>
                    </a:lnTo>
                    <a:lnTo>
                      <a:pt x="198" y="472"/>
                    </a:lnTo>
                    <a:lnTo>
                      <a:pt x="197" y="472"/>
                    </a:lnTo>
                    <a:lnTo>
                      <a:pt x="195" y="472"/>
                    </a:lnTo>
                    <a:lnTo>
                      <a:pt x="193" y="472"/>
                    </a:lnTo>
                    <a:lnTo>
                      <a:pt x="192" y="472"/>
                    </a:lnTo>
                    <a:lnTo>
                      <a:pt x="192" y="470"/>
                    </a:lnTo>
                    <a:lnTo>
                      <a:pt x="190" y="470"/>
                    </a:lnTo>
                    <a:lnTo>
                      <a:pt x="190" y="468"/>
                    </a:lnTo>
                    <a:lnTo>
                      <a:pt x="189" y="468"/>
                    </a:lnTo>
                    <a:lnTo>
                      <a:pt x="189" y="467"/>
                    </a:lnTo>
                    <a:lnTo>
                      <a:pt x="189" y="465"/>
                    </a:lnTo>
                    <a:lnTo>
                      <a:pt x="187" y="465"/>
                    </a:lnTo>
                    <a:lnTo>
                      <a:pt x="187" y="464"/>
                    </a:lnTo>
                    <a:lnTo>
                      <a:pt x="187" y="462"/>
                    </a:lnTo>
                    <a:lnTo>
                      <a:pt x="186" y="461"/>
                    </a:lnTo>
                    <a:lnTo>
                      <a:pt x="184" y="461"/>
                    </a:lnTo>
                    <a:lnTo>
                      <a:pt x="184" y="459"/>
                    </a:lnTo>
                    <a:lnTo>
                      <a:pt x="182" y="459"/>
                    </a:lnTo>
                    <a:lnTo>
                      <a:pt x="181" y="457"/>
                    </a:lnTo>
                    <a:lnTo>
                      <a:pt x="179" y="457"/>
                    </a:lnTo>
                    <a:lnTo>
                      <a:pt x="178" y="457"/>
                    </a:lnTo>
                    <a:lnTo>
                      <a:pt x="178" y="456"/>
                    </a:lnTo>
                    <a:lnTo>
                      <a:pt x="176" y="456"/>
                    </a:lnTo>
                    <a:lnTo>
                      <a:pt x="174" y="456"/>
                    </a:lnTo>
                    <a:lnTo>
                      <a:pt x="174" y="454"/>
                    </a:lnTo>
                    <a:lnTo>
                      <a:pt x="173" y="454"/>
                    </a:lnTo>
                    <a:lnTo>
                      <a:pt x="171" y="454"/>
                    </a:lnTo>
                    <a:lnTo>
                      <a:pt x="170" y="454"/>
                    </a:lnTo>
                    <a:lnTo>
                      <a:pt x="168" y="454"/>
                    </a:lnTo>
                    <a:lnTo>
                      <a:pt x="167" y="454"/>
                    </a:lnTo>
                    <a:lnTo>
                      <a:pt x="167" y="453"/>
                    </a:lnTo>
                    <a:lnTo>
                      <a:pt x="165" y="453"/>
                    </a:lnTo>
                    <a:lnTo>
                      <a:pt x="163" y="453"/>
                    </a:lnTo>
                    <a:lnTo>
                      <a:pt x="163" y="451"/>
                    </a:lnTo>
                    <a:lnTo>
                      <a:pt x="162" y="449"/>
                    </a:lnTo>
                    <a:lnTo>
                      <a:pt x="160" y="449"/>
                    </a:lnTo>
                    <a:lnTo>
                      <a:pt x="160" y="448"/>
                    </a:lnTo>
                    <a:lnTo>
                      <a:pt x="159" y="448"/>
                    </a:lnTo>
                    <a:lnTo>
                      <a:pt x="157" y="446"/>
                    </a:lnTo>
                    <a:lnTo>
                      <a:pt x="155" y="446"/>
                    </a:lnTo>
                    <a:lnTo>
                      <a:pt x="154" y="446"/>
                    </a:lnTo>
                    <a:lnTo>
                      <a:pt x="154" y="445"/>
                    </a:lnTo>
                    <a:lnTo>
                      <a:pt x="152" y="445"/>
                    </a:lnTo>
                    <a:lnTo>
                      <a:pt x="151" y="445"/>
                    </a:lnTo>
                    <a:lnTo>
                      <a:pt x="149" y="445"/>
                    </a:lnTo>
                    <a:lnTo>
                      <a:pt x="148" y="445"/>
                    </a:lnTo>
                    <a:lnTo>
                      <a:pt x="148" y="443"/>
                    </a:lnTo>
                    <a:lnTo>
                      <a:pt x="146" y="442"/>
                    </a:lnTo>
                    <a:lnTo>
                      <a:pt x="146" y="440"/>
                    </a:lnTo>
                    <a:lnTo>
                      <a:pt x="146" y="438"/>
                    </a:lnTo>
                    <a:lnTo>
                      <a:pt x="144" y="438"/>
                    </a:lnTo>
                    <a:lnTo>
                      <a:pt x="144" y="437"/>
                    </a:lnTo>
                    <a:lnTo>
                      <a:pt x="144" y="435"/>
                    </a:lnTo>
                    <a:lnTo>
                      <a:pt x="144" y="434"/>
                    </a:lnTo>
                    <a:lnTo>
                      <a:pt x="144" y="432"/>
                    </a:lnTo>
                    <a:lnTo>
                      <a:pt x="144" y="430"/>
                    </a:lnTo>
                    <a:lnTo>
                      <a:pt x="144" y="429"/>
                    </a:lnTo>
                    <a:lnTo>
                      <a:pt x="143" y="429"/>
                    </a:lnTo>
                    <a:lnTo>
                      <a:pt x="143" y="427"/>
                    </a:lnTo>
                    <a:lnTo>
                      <a:pt x="143" y="426"/>
                    </a:lnTo>
                    <a:lnTo>
                      <a:pt x="141" y="424"/>
                    </a:lnTo>
                    <a:lnTo>
                      <a:pt x="141" y="423"/>
                    </a:lnTo>
                    <a:lnTo>
                      <a:pt x="141" y="421"/>
                    </a:lnTo>
                    <a:lnTo>
                      <a:pt x="140" y="419"/>
                    </a:lnTo>
                    <a:lnTo>
                      <a:pt x="140" y="418"/>
                    </a:lnTo>
                    <a:lnTo>
                      <a:pt x="140" y="416"/>
                    </a:lnTo>
                    <a:lnTo>
                      <a:pt x="140" y="415"/>
                    </a:lnTo>
                    <a:lnTo>
                      <a:pt x="138" y="413"/>
                    </a:lnTo>
                    <a:lnTo>
                      <a:pt x="138" y="411"/>
                    </a:lnTo>
                    <a:lnTo>
                      <a:pt x="138" y="410"/>
                    </a:lnTo>
                    <a:lnTo>
                      <a:pt x="138" y="408"/>
                    </a:lnTo>
                    <a:lnTo>
                      <a:pt x="140" y="408"/>
                    </a:lnTo>
                    <a:lnTo>
                      <a:pt x="140" y="407"/>
                    </a:lnTo>
                    <a:lnTo>
                      <a:pt x="140" y="405"/>
                    </a:lnTo>
                    <a:lnTo>
                      <a:pt x="141" y="405"/>
                    </a:lnTo>
                    <a:lnTo>
                      <a:pt x="141" y="404"/>
                    </a:lnTo>
                    <a:lnTo>
                      <a:pt x="143" y="404"/>
                    </a:lnTo>
                    <a:lnTo>
                      <a:pt x="143" y="402"/>
                    </a:lnTo>
                    <a:lnTo>
                      <a:pt x="143" y="400"/>
                    </a:lnTo>
                    <a:lnTo>
                      <a:pt x="143" y="399"/>
                    </a:lnTo>
                    <a:lnTo>
                      <a:pt x="144" y="399"/>
                    </a:lnTo>
                    <a:lnTo>
                      <a:pt x="144" y="397"/>
                    </a:lnTo>
                    <a:lnTo>
                      <a:pt x="144" y="396"/>
                    </a:lnTo>
                    <a:lnTo>
                      <a:pt x="146" y="396"/>
                    </a:lnTo>
                    <a:lnTo>
                      <a:pt x="146" y="394"/>
                    </a:lnTo>
                    <a:lnTo>
                      <a:pt x="146" y="392"/>
                    </a:lnTo>
                    <a:lnTo>
                      <a:pt x="148" y="391"/>
                    </a:lnTo>
                    <a:lnTo>
                      <a:pt x="148" y="389"/>
                    </a:lnTo>
                    <a:lnTo>
                      <a:pt x="149" y="388"/>
                    </a:lnTo>
                    <a:lnTo>
                      <a:pt x="149" y="386"/>
                    </a:lnTo>
                    <a:lnTo>
                      <a:pt x="151" y="385"/>
                    </a:lnTo>
                    <a:lnTo>
                      <a:pt x="151" y="383"/>
                    </a:lnTo>
                    <a:lnTo>
                      <a:pt x="152" y="381"/>
                    </a:lnTo>
                    <a:lnTo>
                      <a:pt x="151" y="381"/>
                    </a:lnTo>
                    <a:lnTo>
                      <a:pt x="151" y="380"/>
                    </a:lnTo>
                    <a:lnTo>
                      <a:pt x="149" y="380"/>
                    </a:lnTo>
                    <a:lnTo>
                      <a:pt x="149" y="378"/>
                    </a:lnTo>
                    <a:lnTo>
                      <a:pt x="148" y="378"/>
                    </a:lnTo>
                    <a:lnTo>
                      <a:pt x="148" y="377"/>
                    </a:lnTo>
                    <a:lnTo>
                      <a:pt x="148" y="375"/>
                    </a:lnTo>
                    <a:lnTo>
                      <a:pt x="146" y="373"/>
                    </a:lnTo>
                    <a:lnTo>
                      <a:pt x="146" y="372"/>
                    </a:lnTo>
                    <a:lnTo>
                      <a:pt x="146" y="370"/>
                    </a:lnTo>
                    <a:lnTo>
                      <a:pt x="146" y="369"/>
                    </a:lnTo>
                    <a:lnTo>
                      <a:pt x="144" y="369"/>
                    </a:lnTo>
                    <a:lnTo>
                      <a:pt x="144" y="367"/>
                    </a:lnTo>
                    <a:lnTo>
                      <a:pt x="144" y="366"/>
                    </a:lnTo>
                    <a:lnTo>
                      <a:pt x="143" y="366"/>
                    </a:lnTo>
                    <a:lnTo>
                      <a:pt x="143" y="364"/>
                    </a:lnTo>
                    <a:lnTo>
                      <a:pt x="143" y="362"/>
                    </a:lnTo>
                    <a:lnTo>
                      <a:pt x="141" y="362"/>
                    </a:lnTo>
                    <a:lnTo>
                      <a:pt x="141" y="361"/>
                    </a:lnTo>
                    <a:lnTo>
                      <a:pt x="141" y="359"/>
                    </a:lnTo>
                    <a:lnTo>
                      <a:pt x="140" y="359"/>
                    </a:lnTo>
                    <a:lnTo>
                      <a:pt x="140" y="358"/>
                    </a:lnTo>
                    <a:lnTo>
                      <a:pt x="140" y="356"/>
                    </a:lnTo>
                    <a:lnTo>
                      <a:pt x="140" y="354"/>
                    </a:lnTo>
                    <a:lnTo>
                      <a:pt x="140" y="353"/>
                    </a:lnTo>
                    <a:lnTo>
                      <a:pt x="140" y="351"/>
                    </a:lnTo>
                    <a:lnTo>
                      <a:pt x="140" y="350"/>
                    </a:lnTo>
                    <a:lnTo>
                      <a:pt x="140" y="348"/>
                    </a:lnTo>
                    <a:lnTo>
                      <a:pt x="140" y="347"/>
                    </a:lnTo>
                    <a:lnTo>
                      <a:pt x="140" y="345"/>
                    </a:lnTo>
                    <a:lnTo>
                      <a:pt x="140" y="343"/>
                    </a:lnTo>
                    <a:lnTo>
                      <a:pt x="140" y="342"/>
                    </a:lnTo>
                    <a:lnTo>
                      <a:pt x="140" y="340"/>
                    </a:lnTo>
                    <a:lnTo>
                      <a:pt x="141" y="339"/>
                    </a:lnTo>
                    <a:lnTo>
                      <a:pt x="141" y="337"/>
                    </a:lnTo>
                    <a:lnTo>
                      <a:pt x="141" y="335"/>
                    </a:lnTo>
                    <a:lnTo>
                      <a:pt x="143" y="334"/>
                    </a:lnTo>
                    <a:lnTo>
                      <a:pt x="143" y="332"/>
                    </a:lnTo>
                    <a:lnTo>
                      <a:pt x="143" y="331"/>
                    </a:lnTo>
                    <a:lnTo>
                      <a:pt x="144" y="329"/>
                    </a:lnTo>
                    <a:lnTo>
                      <a:pt x="144" y="327"/>
                    </a:lnTo>
                    <a:lnTo>
                      <a:pt x="144" y="326"/>
                    </a:lnTo>
                    <a:lnTo>
                      <a:pt x="146" y="324"/>
                    </a:lnTo>
                    <a:lnTo>
                      <a:pt x="146" y="323"/>
                    </a:lnTo>
                    <a:lnTo>
                      <a:pt x="146" y="321"/>
                    </a:lnTo>
                    <a:lnTo>
                      <a:pt x="148" y="320"/>
                    </a:lnTo>
                    <a:lnTo>
                      <a:pt x="149" y="318"/>
                    </a:lnTo>
                    <a:lnTo>
                      <a:pt x="149" y="316"/>
                    </a:lnTo>
                    <a:lnTo>
                      <a:pt x="149" y="315"/>
                    </a:lnTo>
                    <a:lnTo>
                      <a:pt x="151" y="313"/>
                    </a:lnTo>
                    <a:lnTo>
                      <a:pt x="152" y="310"/>
                    </a:lnTo>
                    <a:lnTo>
                      <a:pt x="152" y="308"/>
                    </a:lnTo>
                    <a:lnTo>
                      <a:pt x="152" y="307"/>
                    </a:lnTo>
                    <a:lnTo>
                      <a:pt x="152" y="305"/>
                    </a:lnTo>
                    <a:lnTo>
                      <a:pt x="152" y="304"/>
                    </a:lnTo>
                    <a:lnTo>
                      <a:pt x="152" y="302"/>
                    </a:lnTo>
                    <a:lnTo>
                      <a:pt x="152" y="301"/>
                    </a:lnTo>
                    <a:lnTo>
                      <a:pt x="152" y="299"/>
                    </a:lnTo>
                    <a:lnTo>
                      <a:pt x="152" y="297"/>
                    </a:lnTo>
                    <a:lnTo>
                      <a:pt x="152" y="296"/>
                    </a:lnTo>
                    <a:lnTo>
                      <a:pt x="152" y="294"/>
                    </a:lnTo>
                    <a:lnTo>
                      <a:pt x="151" y="293"/>
                    </a:lnTo>
                    <a:lnTo>
                      <a:pt x="151" y="291"/>
                    </a:lnTo>
                    <a:lnTo>
                      <a:pt x="151" y="289"/>
                    </a:lnTo>
                    <a:lnTo>
                      <a:pt x="151" y="288"/>
                    </a:lnTo>
                    <a:lnTo>
                      <a:pt x="151" y="286"/>
                    </a:lnTo>
                    <a:lnTo>
                      <a:pt x="152" y="285"/>
                    </a:lnTo>
                    <a:lnTo>
                      <a:pt x="152" y="283"/>
                    </a:lnTo>
                    <a:lnTo>
                      <a:pt x="152" y="282"/>
                    </a:lnTo>
                    <a:lnTo>
                      <a:pt x="152" y="280"/>
                    </a:lnTo>
                    <a:lnTo>
                      <a:pt x="152" y="278"/>
                    </a:lnTo>
                    <a:lnTo>
                      <a:pt x="152" y="277"/>
                    </a:lnTo>
                    <a:lnTo>
                      <a:pt x="152" y="275"/>
                    </a:lnTo>
                    <a:lnTo>
                      <a:pt x="152" y="274"/>
                    </a:lnTo>
                    <a:lnTo>
                      <a:pt x="152" y="272"/>
                    </a:lnTo>
                    <a:lnTo>
                      <a:pt x="151" y="272"/>
                    </a:lnTo>
                    <a:lnTo>
                      <a:pt x="151" y="270"/>
                    </a:lnTo>
                    <a:lnTo>
                      <a:pt x="151" y="269"/>
                    </a:lnTo>
                    <a:lnTo>
                      <a:pt x="151" y="267"/>
                    </a:lnTo>
                    <a:lnTo>
                      <a:pt x="149" y="266"/>
                    </a:lnTo>
                    <a:lnTo>
                      <a:pt x="149" y="264"/>
                    </a:lnTo>
                    <a:lnTo>
                      <a:pt x="149" y="263"/>
                    </a:lnTo>
                    <a:lnTo>
                      <a:pt x="148" y="261"/>
                    </a:lnTo>
                    <a:lnTo>
                      <a:pt x="148" y="259"/>
                    </a:lnTo>
                    <a:lnTo>
                      <a:pt x="148" y="258"/>
                    </a:lnTo>
                    <a:lnTo>
                      <a:pt x="148" y="256"/>
                    </a:lnTo>
                    <a:lnTo>
                      <a:pt x="148" y="255"/>
                    </a:lnTo>
                    <a:lnTo>
                      <a:pt x="148" y="253"/>
                    </a:lnTo>
                    <a:lnTo>
                      <a:pt x="148" y="251"/>
                    </a:lnTo>
                    <a:lnTo>
                      <a:pt x="148" y="250"/>
                    </a:lnTo>
                    <a:lnTo>
                      <a:pt x="148" y="248"/>
                    </a:lnTo>
                    <a:lnTo>
                      <a:pt x="148" y="247"/>
                    </a:lnTo>
                    <a:lnTo>
                      <a:pt x="149" y="247"/>
                    </a:lnTo>
                    <a:lnTo>
                      <a:pt x="149" y="245"/>
                    </a:lnTo>
                    <a:lnTo>
                      <a:pt x="148" y="244"/>
                    </a:lnTo>
                    <a:lnTo>
                      <a:pt x="148" y="242"/>
                    </a:lnTo>
                    <a:lnTo>
                      <a:pt x="148" y="240"/>
                    </a:lnTo>
                    <a:lnTo>
                      <a:pt x="149" y="239"/>
                    </a:lnTo>
                    <a:lnTo>
                      <a:pt x="149" y="237"/>
                    </a:lnTo>
                    <a:lnTo>
                      <a:pt x="149" y="236"/>
                    </a:lnTo>
                    <a:lnTo>
                      <a:pt x="149" y="234"/>
                    </a:lnTo>
                    <a:lnTo>
                      <a:pt x="149" y="232"/>
                    </a:lnTo>
                    <a:lnTo>
                      <a:pt x="151" y="232"/>
                    </a:lnTo>
                    <a:lnTo>
                      <a:pt x="151" y="231"/>
                    </a:lnTo>
                    <a:lnTo>
                      <a:pt x="151" y="229"/>
                    </a:lnTo>
                    <a:lnTo>
                      <a:pt x="152" y="228"/>
                    </a:lnTo>
                    <a:lnTo>
                      <a:pt x="152" y="226"/>
                    </a:lnTo>
                    <a:lnTo>
                      <a:pt x="154" y="226"/>
                    </a:lnTo>
                    <a:lnTo>
                      <a:pt x="154" y="225"/>
                    </a:lnTo>
                    <a:lnTo>
                      <a:pt x="155" y="223"/>
                    </a:lnTo>
                    <a:lnTo>
                      <a:pt x="155" y="221"/>
                    </a:lnTo>
                    <a:lnTo>
                      <a:pt x="157" y="220"/>
                    </a:lnTo>
                    <a:lnTo>
                      <a:pt x="159" y="218"/>
                    </a:lnTo>
                    <a:lnTo>
                      <a:pt x="159" y="217"/>
                    </a:lnTo>
                    <a:lnTo>
                      <a:pt x="160" y="217"/>
                    </a:lnTo>
                    <a:lnTo>
                      <a:pt x="160" y="215"/>
                    </a:lnTo>
                    <a:lnTo>
                      <a:pt x="162" y="213"/>
                    </a:lnTo>
                    <a:lnTo>
                      <a:pt x="162" y="212"/>
                    </a:lnTo>
                    <a:lnTo>
                      <a:pt x="163" y="212"/>
                    </a:lnTo>
                    <a:lnTo>
                      <a:pt x="163" y="210"/>
                    </a:lnTo>
                    <a:lnTo>
                      <a:pt x="163" y="209"/>
                    </a:lnTo>
                    <a:lnTo>
                      <a:pt x="165" y="209"/>
                    </a:lnTo>
                    <a:lnTo>
                      <a:pt x="167" y="207"/>
                    </a:lnTo>
                    <a:lnTo>
                      <a:pt x="168" y="207"/>
                    </a:lnTo>
                    <a:lnTo>
                      <a:pt x="170" y="206"/>
                    </a:lnTo>
                    <a:lnTo>
                      <a:pt x="171" y="206"/>
                    </a:lnTo>
                    <a:lnTo>
                      <a:pt x="173" y="204"/>
                    </a:lnTo>
                    <a:lnTo>
                      <a:pt x="173" y="202"/>
                    </a:lnTo>
                    <a:lnTo>
                      <a:pt x="174" y="202"/>
                    </a:lnTo>
                    <a:lnTo>
                      <a:pt x="174" y="201"/>
                    </a:lnTo>
                    <a:lnTo>
                      <a:pt x="176" y="201"/>
                    </a:lnTo>
                    <a:lnTo>
                      <a:pt x="178" y="199"/>
                    </a:lnTo>
                    <a:lnTo>
                      <a:pt x="179" y="198"/>
                    </a:lnTo>
                    <a:lnTo>
                      <a:pt x="181" y="198"/>
                    </a:lnTo>
                    <a:lnTo>
                      <a:pt x="181" y="196"/>
                    </a:lnTo>
                    <a:lnTo>
                      <a:pt x="182" y="196"/>
                    </a:lnTo>
                    <a:lnTo>
                      <a:pt x="182" y="194"/>
                    </a:lnTo>
                    <a:lnTo>
                      <a:pt x="184" y="193"/>
                    </a:lnTo>
                    <a:lnTo>
                      <a:pt x="186" y="191"/>
                    </a:lnTo>
                    <a:lnTo>
                      <a:pt x="186" y="190"/>
                    </a:lnTo>
                    <a:lnTo>
                      <a:pt x="187" y="190"/>
                    </a:lnTo>
                    <a:lnTo>
                      <a:pt x="187" y="188"/>
                    </a:lnTo>
                    <a:lnTo>
                      <a:pt x="187" y="187"/>
                    </a:lnTo>
                    <a:lnTo>
                      <a:pt x="187" y="185"/>
                    </a:lnTo>
                    <a:lnTo>
                      <a:pt x="187" y="183"/>
                    </a:lnTo>
                    <a:lnTo>
                      <a:pt x="189" y="182"/>
                    </a:lnTo>
                    <a:lnTo>
                      <a:pt x="189" y="180"/>
                    </a:lnTo>
                    <a:lnTo>
                      <a:pt x="190" y="179"/>
                    </a:lnTo>
                    <a:lnTo>
                      <a:pt x="190" y="177"/>
                    </a:lnTo>
                    <a:lnTo>
                      <a:pt x="192" y="175"/>
                    </a:lnTo>
                    <a:lnTo>
                      <a:pt x="192" y="174"/>
                    </a:lnTo>
                    <a:lnTo>
                      <a:pt x="193" y="174"/>
                    </a:lnTo>
                    <a:lnTo>
                      <a:pt x="193" y="172"/>
                    </a:lnTo>
                    <a:lnTo>
                      <a:pt x="195" y="171"/>
                    </a:lnTo>
                    <a:lnTo>
                      <a:pt x="195" y="169"/>
                    </a:lnTo>
                    <a:lnTo>
                      <a:pt x="195" y="168"/>
                    </a:lnTo>
                    <a:lnTo>
                      <a:pt x="197" y="168"/>
                    </a:lnTo>
                    <a:lnTo>
                      <a:pt x="197" y="166"/>
                    </a:lnTo>
                    <a:lnTo>
                      <a:pt x="198" y="164"/>
                    </a:lnTo>
                    <a:lnTo>
                      <a:pt x="198" y="163"/>
                    </a:lnTo>
                    <a:lnTo>
                      <a:pt x="198" y="161"/>
                    </a:lnTo>
                    <a:lnTo>
                      <a:pt x="200" y="161"/>
                    </a:lnTo>
                    <a:lnTo>
                      <a:pt x="200" y="160"/>
                    </a:lnTo>
                    <a:lnTo>
                      <a:pt x="201" y="158"/>
                    </a:lnTo>
                    <a:lnTo>
                      <a:pt x="201" y="156"/>
                    </a:lnTo>
                    <a:lnTo>
                      <a:pt x="201" y="155"/>
                    </a:lnTo>
                    <a:lnTo>
                      <a:pt x="203" y="155"/>
                    </a:lnTo>
                    <a:lnTo>
                      <a:pt x="203" y="153"/>
                    </a:lnTo>
                    <a:lnTo>
                      <a:pt x="203" y="152"/>
                    </a:lnTo>
                    <a:lnTo>
                      <a:pt x="205" y="150"/>
                    </a:lnTo>
                    <a:lnTo>
                      <a:pt x="205" y="148"/>
                    </a:lnTo>
                    <a:lnTo>
                      <a:pt x="206" y="147"/>
                    </a:lnTo>
                    <a:lnTo>
                      <a:pt x="206" y="145"/>
                    </a:lnTo>
                    <a:lnTo>
                      <a:pt x="206" y="144"/>
                    </a:lnTo>
                    <a:lnTo>
                      <a:pt x="208" y="144"/>
                    </a:lnTo>
                    <a:lnTo>
                      <a:pt x="208" y="142"/>
                    </a:lnTo>
                    <a:lnTo>
                      <a:pt x="208" y="141"/>
                    </a:lnTo>
                    <a:lnTo>
                      <a:pt x="209" y="141"/>
                    </a:lnTo>
                    <a:lnTo>
                      <a:pt x="209" y="139"/>
                    </a:lnTo>
                    <a:lnTo>
                      <a:pt x="211" y="137"/>
                    </a:lnTo>
                    <a:lnTo>
                      <a:pt x="212" y="136"/>
                    </a:lnTo>
                    <a:lnTo>
                      <a:pt x="214" y="134"/>
                    </a:lnTo>
                    <a:lnTo>
                      <a:pt x="216" y="133"/>
                    </a:lnTo>
                    <a:lnTo>
                      <a:pt x="216" y="131"/>
                    </a:lnTo>
                    <a:lnTo>
                      <a:pt x="217" y="131"/>
                    </a:lnTo>
                    <a:lnTo>
                      <a:pt x="217" y="129"/>
                    </a:lnTo>
                    <a:lnTo>
                      <a:pt x="219" y="129"/>
                    </a:lnTo>
                    <a:lnTo>
                      <a:pt x="219" y="128"/>
                    </a:lnTo>
                    <a:lnTo>
                      <a:pt x="219" y="126"/>
                    </a:lnTo>
                    <a:lnTo>
                      <a:pt x="220" y="126"/>
                    </a:lnTo>
                    <a:lnTo>
                      <a:pt x="220" y="125"/>
                    </a:lnTo>
                    <a:lnTo>
                      <a:pt x="222" y="125"/>
                    </a:lnTo>
                    <a:lnTo>
                      <a:pt x="222" y="123"/>
                    </a:lnTo>
                    <a:lnTo>
                      <a:pt x="222" y="122"/>
                    </a:lnTo>
                    <a:lnTo>
                      <a:pt x="224" y="122"/>
                    </a:lnTo>
                    <a:lnTo>
                      <a:pt x="224" y="120"/>
                    </a:lnTo>
                    <a:lnTo>
                      <a:pt x="224" y="118"/>
                    </a:lnTo>
                    <a:lnTo>
                      <a:pt x="224" y="117"/>
                    </a:lnTo>
                    <a:lnTo>
                      <a:pt x="224" y="115"/>
                    </a:lnTo>
                    <a:lnTo>
                      <a:pt x="224" y="114"/>
                    </a:lnTo>
                    <a:lnTo>
                      <a:pt x="225" y="112"/>
                    </a:lnTo>
                    <a:lnTo>
                      <a:pt x="225" y="110"/>
                    </a:lnTo>
                    <a:lnTo>
                      <a:pt x="225" y="109"/>
                    </a:lnTo>
                    <a:lnTo>
                      <a:pt x="227" y="109"/>
                    </a:lnTo>
                    <a:lnTo>
                      <a:pt x="228" y="107"/>
                    </a:lnTo>
                    <a:lnTo>
                      <a:pt x="230" y="107"/>
                    </a:lnTo>
                    <a:lnTo>
                      <a:pt x="232" y="107"/>
                    </a:lnTo>
                    <a:lnTo>
                      <a:pt x="233" y="107"/>
                    </a:lnTo>
                    <a:lnTo>
                      <a:pt x="233" y="109"/>
                    </a:lnTo>
                    <a:lnTo>
                      <a:pt x="235" y="109"/>
                    </a:lnTo>
                    <a:lnTo>
                      <a:pt x="235" y="110"/>
                    </a:lnTo>
                    <a:lnTo>
                      <a:pt x="236" y="110"/>
                    </a:lnTo>
                    <a:lnTo>
                      <a:pt x="238" y="110"/>
                    </a:lnTo>
                    <a:lnTo>
                      <a:pt x="239" y="110"/>
                    </a:lnTo>
                    <a:lnTo>
                      <a:pt x="241" y="110"/>
                    </a:lnTo>
                    <a:lnTo>
                      <a:pt x="243" y="110"/>
                    </a:lnTo>
                    <a:lnTo>
                      <a:pt x="244" y="112"/>
                    </a:lnTo>
                    <a:lnTo>
                      <a:pt x="246" y="112"/>
                    </a:lnTo>
                    <a:lnTo>
                      <a:pt x="247" y="112"/>
                    </a:lnTo>
                    <a:lnTo>
                      <a:pt x="249" y="112"/>
                    </a:lnTo>
                    <a:lnTo>
                      <a:pt x="251" y="112"/>
                    </a:lnTo>
                    <a:lnTo>
                      <a:pt x="252" y="112"/>
                    </a:lnTo>
                    <a:lnTo>
                      <a:pt x="254" y="112"/>
                    </a:lnTo>
                    <a:lnTo>
                      <a:pt x="254" y="110"/>
                    </a:lnTo>
                    <a:lnTo>
                      <a:pt x="255" y="109"/>
                    </a:lnTo>
                    <a:lnTo>
                      <a:pt x="255" y="107"/>
                    </a:lnTo>
                    <a:lnTo>
                      <a:pt x="255" y="106"/>
                    </a:lnTo>
                    <a:lnTo>
                      <a:pt x="255" y="104"/>
                    </a:lnTo>
                    <a:lnTo>
                      <a:pt x="254" y="103"/>
                    </a:lnTo>
                    <a:lnTo>
                      <a:pt x="254" y="101"/>
                    </a:lnTo>
                    <a:lnTo>
                      <a:pt x="255" y="101"/>
                    </a:lnTo>
                    <a:lnTo>
                      <a:pt x="255" y="99"/>
                    </a:lnTo>
                    <a:lnTo>
                      <a:pt x="257" y="99"/>
                    </a:lnTo>
                    <a:lnTo>
                      <a:pt x="258" y="99"/>
                    </a:lnTo>
                    <a:lnTo>
                      <a:pt x="258" y="98"/>
                    </a:lnTo>
                    <a:lnTo>
                      <a:pt x="258" y="96"/>
                    </a:lnTo>
                    <a:lnTo>
                      <a:pt x="258" y="95"/>
                    </a:lnTo>
                    <a:lnTo>
                      <a:pt x="260" y="95"/>
                    </a:lnTo>
                    <a:lnTo>
                      <a:pt x="260" y="93"/>
                    </a:lnTo>
                    <a:lnTo>
                      <a:pt x="260" y="91"/>
                    </a:lnTo>
                    <a:lnTo>
                      <a:pt x="260" y="90"/>
                    </a:lnTo>
                    <a:lnTo>
                      <a:pt x="260" y="88"/>
                    </a:lnTo>
                    <a:lnTo>
                      <a:pt x="260" y="87"/>
                    </a:lnTo>
                    <a:lnTo>
                      <a:pt x="260" y="85"/>
                    </a:lnTo>
                    <a:lnTo>
                      <a:pt x="260" y="84"/>
                    </a:lnTo>
                    <a:lnTo>
                      <a:pt x="260" y="82"/>
                    </a:lnTo>
                    <a:lnTo>
                      <a:pt x="260" y="80"/>
                    </a:lnTo>
                    <a:lnTo>
                      <a:pt x="262" y="79"/>
                    </a:lnTo>
                    <a:lnTo>
                      <a:pt x="262" y="77"/>
                    </a:lnTo>
                    <a:lnTo>
                      <a:pt x="262" y="76"/>
                    </a:lnTo>
                    <a:lnTo>
                      <a:pt x="262" y="74"/>
                    </a:lnTo>
                    <a:lnTo>
                      <a:pt x="262" y="72"/>
                    </a:lnTo>
                    <a:lnTo>
                      <a:pt x="262" y="71"/>
                    </a:lnTo>
                    <a:lnTo>
                      <a:pt x="263" y="69"/>
                    </a:lnTo>
                    <a:lnTo>
                      <a:pt x="265" y="69"/>
                    </a:lnTo>
                    <a:lnTo>
                      <a:pt x="265" y="68"/>
                    </a:lnTo>
                    <a:lnTo>
                      <a:pt x="266" y="68"/>
                    </a:lnTo>
                    <a:lnTo>
                      <a:pt x="268" y="66"/>
                    </a:lnTo>
                    <a:lnTo>
                      <a:pt x="270" y="66"/>
                    </a:lnTo>
                    <a:lnTo>
                      <a:pt x="270" y="65"/>
                    </a:lnTo>
                    <a:lnTo>
                      <a:pt x="271" y="66"/>
                    </a:lnTo>
                    <a:lnTo>
                      <a:pt x="271" y="65"/>
                    </a:lnTo>
                    <a:lnTo>
                      <a:pt x="273" y="65"/>
                    </a:lnTo>
                    <a:lnTo>
                      <a:pt x="274" y="65"/>
                    </a:lnTo>
                    <a:lnTo>
                      <a:pt x="274" y="63"/>
                    </a:lnTo>
                    <a:lnTo>
                      <a:pt x="276" y="63"/>
                    </a:lnTo>
                    <a:lnTo>
                      <a:pt x="277" y="63"/>
                    </a:lnTo>
                    <a:lnTo>
                      <a:pt x="279" y="63"/>
                    </a:lnTo>
                    <a:lnTo>
                      <a:pt x="281" y="63"/>
                    </a:lnTo>
                    <a:lnTo>
                      <a:pt x="282" y="63"/>
                    </a:lnTo>
                    <a:lnTo>
                      <a:pt x="284" y="63"/>
                    </a:lnTo>
                    <a:lnTo>
                      <a:pt x="285" y="63"/>
                    </a:lnTo>
                    <a:lnTo>
                      <a:pt x="287" y="65"/>
                    </a:lnTo>
                    <a:lnTo>
                      <a:pt x="289" y="65"/>
                    </a:lnTo>
                    <a:lnTo>
                      <a:pt x="290" y="65"/>
                    </a:lnTo>
                    <a:lnTo>
                      <a:pt x="292" y="65"/>
                    </a:lnTo>
                    <a:lnTo>
                      <a:pt x="292" y="63"/>
                    </a:lnTo>
                    <a:lnTo>
                      <a:pt x="292" y="61"/>
                    </a:lnTo>
                    <a:lnTo>
                      <a:pt x="293" y="61"/>
                    </a:lnTo>
                    <a:lnTo>
                      <a:pt x="293" y="60"/>
                    </a:lnTo>
                    <a:lnTo>
                      <a:pt x="293" y="58"/>
                    </a:lnTo>
                    <a:lnTo>
                      <a:pt x="295" y="58"/>
                    </a:lnTo>
                    <a:lnTo>
                      <a:pt x="295" y="57"/>
                    </a:lnTo>
                    <a:lnTo>
                      <a:pt x="295" y="55"/>
                    </a:lnTo>
                    <a:lnTo>
                      <a:pt x="296" y="55"/>
                    </a:lnTo>
                    <a:lnTo>
                      <a:pt x="298" y="53"/>
                    </a:lnTo>
                    <a:lnTo>
                      <a:pt x="300" y="53"/>
                    </a:lnTo>
                    <a:lnTo>
                      <a:pt x="300" y="52"/>
                    </a:lnTo>
                    <a:lnTo>
                      <a:pt x="301" y="52"/>
                    </a:lnTo>
                    <a:lnTo>
                      <a:pt x="303" y="50"/>
                    </a:lnTo>
                    <a:lnTo>
                      <a:pt x="304" y="50"/>
                    </a:lnTo>
                    <a:lnTo>
                      <a:pt x="306" y="49"/>
                    </a:lnTo>
                    <a:lnTo>
                      <a:pt x="308" y="47"/>
                    </a:lnTo>
                    <a:lnTo>
                      <a:pt x="308" y="46"/>
                    </a:lnTo>
                    <a:lnTo>
                      <a:pt x="309" y="46"/>
                    </a:lnTo>
                    <a:lnTo>
                      <a:pt x="309" y="44"/>
                    </a:lnTo>
                    <a:lnTo>
                      <a:pt x="311" y="44"/>
                    </a:lnTo>
                    <a:lnTo>
                      <a:pt x="311" y="42"/>
                    </a:lnTo>
                    <a:lnTo>
                      <a:pt x="312" y="42"/>
                    </a:lnTo>
                    <a:lnTo>
                      <a:pt x="314" y="42"/>
                    </a:lnTo>
                    <a:lnTo>
                      <a:pt x="315" y="42"/>
                    </a:lnTo>
                    <a:lnTo>
                      <a:pt x="315" y="41"/>
                    </a:lnTo>
                    <a:lnTo>
                      <a:pt x="317" y="41"/>
                    </a:lnTo>
                    <a:lnTo>
                      <a:pt x="319" y="41"/>
                    </a:lnTo>
                    <a:lnTo>
                      <a:pt x="320" y="41"/>
                    </a:lnTo>
                    <a:lnTo>
                      <a:pt x="322" y="39"/>
                    </a:lnTo>
                    <a:lnTo>
                      <a:pt x="323" y="39"/>
                    </a:lnTo>
                    <a:lnTo>
                      <a:pt x="325" y="39"/>
                    </a:lnTo>
                    <a:lnTo>
                      <a:pt x="327" y="39"/>
                    </a:lnTo>
                    <a:lnTo>
                      <a:pt x="328" y="38"/>
                    </a:lnTo>
                    <a:lnTo>
                      <a:pt x="330" y="38"/>
                    </a:lnTo>
                    <a:lnTo>
                      <a:pt x="331" y="39"/>
                    </a:lnTo>
                    <a:lnTo>
                      <a:pt x="333" y="39"/>
                    </a:lnTo>
                    <a:lnTo>
                      <a:pt x="334" y="38"/>
                    </a:lnTo>
                    <a:lnTo>
                      <a:pt x="336" y="38"/>
                    </a:lnTo>
                    <a:lnTo>
                      <a:pt x="338" y="36"/>
                    </a:lnTo>
                    <a:lnTo>
                      <a:pt x="339" y="34"/>
                    </a:lnTo>
                    <a:lnTo>
                      <a:pt x="341" y="34"/>
                    </a:lnTo>
                    <a:lnTo>
                      <a:pt x="341" y="33"/>
                    </a:lnTo>
                    <a:lnTo>
                      <a:pt x="342" y="33"/>
                    </a:lnTo>
                    <a:lnTo>
                      <a:pt x="342" y="31"/>
                    </a:lnTo>
                    <a:lnTo>
                      <a:pt x="344" y="31"/>
                    </a:lnTo>
                    <a:lnTo>
                      <a:pt x="346" y="30"/>
                    </a:lnTo>
                    <a:lnTo>
                      <a:pt x="347" y="30"/>
                    </a:lnTo>
                    <a:lnTo>
                      <a:pt x="349" y="30"/>
                    </a:lnTo>
                    <a:lnTo>
                      <a:pt x="350" y="30"/>
                    </a:lnTo>
                    <a:lnTo>
                      <a:pt x="352" y="30"/>
                    </a:lnTo>
                    <a:lnTo>
                      <a:pt x="352" y="28"/>
                    </a:lnTo>
                    <a:lnTo>
                      <a:pt x="353" y="28"/>
                    </a:lnTo>
                    <a:lnTo>
                      <a:pt x="355" y="28"/>
                    </a:lnTo>
                    <a:lnTo>
                      <a:pt x="357" y="28"/>
                    </a:lnTo>
                    <a:lnTo>
                      <a:pt x="358" y="27"/>
                    </a:lnTo>
                    <a:lnTo>
                      <a:pt x="360" y="27"/>
                    </a:lnTo>
                    <a:lnTo>
                      <a:pt x="361" y="27"/>
                    </a:lnTo>
                    <a:lnTo>
                      <a:pt x="363" y="27"/>
                    </a:lnTo>
                    <a:lnTo>
                      <a:pt x="365" y="25"/>
                    </a:lnTo>
                    <a:lnTo>
                      <a:pt x="366" y="25"/>
                    </a:lnTo>
                    <a:lnTo>
                      <a:pt x="368" y="25"/>
                    </a:lnTo>
                    <a:lnTo>
                      <a:pt x="369" y="25"/>
                    </a:lnTo>
                    <a:lnTo>
                      <a:pt x="371" y="25"/>
                    </a:lnTo>
                    <a:lnTo>
                      <a:pt x="372" y="23"/>
                    </a:lnTo>
                    <a:lnTo>
                      <a:pt x="374" y="23"/>
                    </a:lnTo>
                    <a:lnTo>
                      <a:pt x="374" y="22"/>
                    </a:lnTo>
                    <a:lnTo>
                      <a:pt x="376" y="22"/>
                    </a:lnTo>
                    <a:lnTo>
                      <a:pt x="376" y="20"/>
                    </a:lnTo>
                    <a:lnTo>
                      <a:pt x="377" y="20"/>
                    </a:lnTo>
                    <a:lnTo>
                      <a:pt x="377" y="19"/>
                    </a:lnTo>
                    <a:lnTo>
                      <a:pt x="379" y="19"/>
                    </a:lnTo>
                    <a:lnTo>
                      <a:pt x="379" y="17"/>
                    </a:lnTo>
                    <a:lnTo>
                      <a:pt x="380" y="17"/>
                    </a:lnTo>
                    <a:lnTo>
                      <a:pt x="382" y="17"/>
                    </a:lnTo>
                    <a:lnTo>
                      <a:pt x="384" y="17"/>
                    </a:lnTo>
                    <a:lnTo>
                      <a:pt x="385" y="17"/>
                    </a:lnTo>
                    <a:lnTo>
                      <a:pt x="387" y="17"/>
                    </a:lnTo>
                    <a:lnTo>
                      <a:pt x="388" y="17"/>
                    </a:lnTo>
                    <a:lnTo>
                      <a:pt x="390" y="17"/>
                    </a:lnTo>
                    <a:lnTo>
                      <a:pt x="390" y="15"/>
                    </a:lnTo>
                    <a:lnTo>
                      <a:pt x="391" y="15"/>
                    </a:lnTo>
                    <a:lnTo>
                      <a:pt x="393" y="15"/>
                    </a:lnTo>
                    <a:lnTo>
                      <a:pt x="393" y="14"/>
                    </a:lnTo>
                    <a:lnTo>
                      <a:pt x="395" y="14"/>
                    </a:lnTo>
                    <a:lnTo>
                      <a:pt x="395" y="12"/>
                    </a:lnTo>
                    <a:lnTo>
                      <a:pt x="395" y="11"/>
                    </a:lnTo>
                    <a:lnTo>
                      <a:pt x="396" y="11"/>
                    </a:lnTo>
                    <a:lnTo>
                      <a:pt x="396" y="9"/>
                    </a:lnTo>
                    <a:lnTo>
                      <a:pt x="396" y="8"/>
                    </a:lnTo>
                    <a:lnTo>
                      <a:pt x="396" y="6"/>
                    </a:lnTo>
                    <a:lnTo>
                      <a:pt x="396" y="4"/>
                    </a:lnTo>
                    <a:lnTo>
                      <a:pt x="398" y="3"/>
                    </a:lnTo>
                    <a:lnTo>
                      <a:pt x="399" y="1"/>
                    </a:lnTo>
                    <a:lnTo>
                      <a:pt x="401" y="1"/>
                    </a:lnTo>
                    <a:lnTo>
                      <a:pt x="403" y="1"/>
                    </a:lnTo>
                    <a:lnTo>
                      <a:pt x="404" y="1"/>
                    </a:lnTo>
                    <a:lnTo>
                      <a:pt x="406" y="1"/>
                    </a:lnTo>
                    <a:lnTo>
                      <a:pt x="407" y="1"/>
                    </a:lnTo>
                    <a:lnTo>
                      <a:pt x="409" y="1"/>
                    </a:lnTo>
                    <a:lnTo>
                      <a:pt x="410" y="1"/>
                    </a:lnTo>
                    <a:lnTo>
                      <a:pt x="410" y="0"/>
                    </a:lnTo>
                    <a:lnTo>
                      <a:pt x="412" y="0"/>
                    </a:lnTo>
                    <a:lnTo>
                      <a:pt x="414" y="0"/>
                    </a:lnTo>
                    <a:lnTo>
                      <a:pt x="415" y="0"/>
                    </a:lnTo>
                    <a:lnTo>
                      <a:pt x="417" y="1"/>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47" name="Freeform 127"/>
              <p:cNvSpPr>
                <a:spLocks/>
              </p:cNvSpPr>
              <p:nvPr/>
            </p:nvSpPr>
            <p:spPr bwMode="auto">
              <a:xfrm>
                <a:off x="3624" y="1454"/>
                <a:ext cx="201" cy="1087"/>
              </a:xfrm>
              <a:custGeom>
                <a:avLst/>
                <a:gdLst>
                  <a:gd name="T0" fmla="*/ 29 w 201"/>
                  <a:gd name="T1" fmla="*/ 13 h 1087"/>
                  <a:gd name="T2" fmla="*/ 48 w 201"/>
                  <a:gd name="T3" fmla="*/ 29 h 1087"/>
                  <a:gd name="T4" fmla="*/ 81 w 201"/>
                  <a:gd name="T5" fmla="*/ 73 h 1087"/>
                  <a:gd name="T6" fmla="*/ 89 w 201"/>
                  <a:gd name="T7" fmla="*/ 105 h 1087"/>
                  <a:gd name="T8" fmla="*/ 76 w 201"/>
                  <a:gd name="T9" fmla="*/ 122 h 1087"/>
                  <a:gd name="T10" fmla="*/ 65 w 201"/>
                  <a:gd name="T11" fmla="*/ 144 h 1087"/>
                  <a:gd name="T12" fmla="*/ 52 w 201"/>
                  <a:gd name="T13" fmla="*/ 170 h 1087"/>
                  <a:gd name="T14" fmla="*/ 43 w 201"/>
                  <a:gd name="T15" fmla="*/ 187 h 1087"/>
                  <a:gd name="T16" fmla="*/ 56 w 201"/>
                  <a:gd name="T17" fmla="*/ 200 h 1087"/>
                  <a:gd name="T18" fmla="*/ 78 w 201"/>
                  <a:gd name="T19" fmla="*/ 211 h 1087"/>
                  <a:gd name="T20" fmla="*/ 94 w 201"/>
                  <a:gd name="T21" fmla="*/ 230 h 1087"/>
                  <a:gd name="T22" fmla="*/ 106 w 201"/>
                  <a:gd name="T23" fmla="*/ 247 h 1087"/>
                  <a:gd name="T24" fmla="*/ 121 w 201"/>
                  <a:gd name="T25" fmla="*/ 266 h 1087"/>
                  <a:gd name="T26" fmla="*/ 136 w 201"/>
                  <a:gd name="T27" fmla="*/ 284 h 1087"/>
                  <a:gd name="T28" fmla="*/ 138 w 201"/>
                  <a:gd name="T29" fmla="*/ 306 h 1087"/>
                  <a:gd name="T30" fmla="*/ 160 w 201"/>
                  <a:gd name="T31" fmla="*/ 304 h 1087"/>
                  <a:gd name="T32" fmla="*/ 174 w 201"/>
                  <a:gd name="T33" fmla="*/ 320 h 1087"/>
                  <a:gd name="T34" fmla="*/ 185 w 201"/>
                  <a:gd name="T35" fmla="*/ 339 h 1087"/>
                  <a:gd name="T36" fmla="*/ 201 w 201"/>
                  <a:gd name="T37" fmla="*/ 347 h 1087"/>
                  <a:gd name="T38" fmla="*/ 192 w 201"/>
                  <a:gd name="T39" fmla="*/ 368 h 1087"/>
                  <a:gd name="T40" fmla="*/ 160 w 201"/>
                  <a:gd name="T41" fmla="*/ 393 h 1087"/>
                  <a:gd name="T42" fmla="*/ 141 w 201"/>
                  <a:gd name="T43" fmla="*/ 404 h 1087"/>
                  <a:gd name="T44" fmla="*/ 121 w 201"/>
                  <a:gd name="T45" fmla="*/ 420 h 1087"/>
                  <a:gd name="T46" fmla="*/ 113 w 201"/>
                  <a:gd name="T47" fmla="*/ 439 h 1087"/>
                  <a:gd name="T48" fmla="*/ 119 w 201"/>
                  <a:gd name="T49" fmla="*/ 458 h 1087"/>
                  <a:gd name="T50" fmla="*/ 121 w 201"/>
                  <a:gd name="T51" fmla="*/ 480 h 1087"/>
                  <a:gd name="T52" fmla="*/ 130 w 201"/>
                  <a:gd name="T53" fmla="*/ 499 h 1087"/>
                  <a:gd name="T54" fmla="*/ 133 w 201"/>
                  <a:gd name="T55" fmla="*/ 520 h 1087"/>
                  <a:gd name="T56" fmla="*/ 149 w 201"/>
                  <a:gd name="T57" fmla="*/ 539 h 1087"/>
                  <a:gd name="T58" fmla="*/ 160 w 201"/>
                  <a:gd name="T59" fmla="*/ 559 h 1087"/>
                  <a:gd name="T60" fmla="*/ 176 w 201"/>
                  <a:gd name="T61" fmla="*/ 575 h 1087"/>
                  <a:gd name="T62" fmla="*/ 187 w 201"/>
                  <a:gd name="T63" fmla="*/ 596 h 1087"/>
                  <a:gd name="T64" fmla="*/ 201 w 201"/>
                  <a:gd name="T65" fmla="*/ 612 h 1087"/>
                  <a:gd name="T66" fmla="*/ 187 w 201"/>
                  <a:gd name="T67" fmla="*/ 627 h 1087"/>
                  <a:gd name="T68" fmla="*/ 181 w 201"/>
                  <a:gd name="T69" fmla="*/ 643 h 1087"/>
                  <a:gd name="T70" fmla="*/ 171 w 201"/>
                  <a:gd name="T71" fmla="*/ 659 h 1087"/>
                  <a:gd name="T72" fmla="*/ 162 w 201"/>
                  <a:gd name="T73" fmla="*/ 683 h 1087"/>
                  <a:gd name="T74" fmla="*/ 157 w 201"/>
                  <a:gd name="T75" fmla="*/ 708 h 1087"/>
                  <a:gd name="T76" fmla="*/ 157 w 201"/>
                  <a:gd name="T77" fmla="*/ 732 h 1087"/>
                  <a:gd name="T78" fmla="*/ 152 w 201"/>
                  <a:gd name="T79" fmla="*/ 754 h 1087"/>
                  <a:gd name="T80" fmla="*/ 147 w 201"/>
                  <a:gd name="T81" fmla="*/ 778 h 1087"/>
                  <a:gd name="T82" fmla="*/ 154 w 201"/>
                  <a:gd name="T83" fmla="*/ 795 h 1087"/>
                  <a:gd name="T84" fmla="*/ 162 w 201"/>
                  <a:gd name="T85" fmla="*/ 819 h 1087"/>
                  <a:gd name="T86" fmla="*/ 154 w 201"/>
                  <a:gd name="T87" fmla="*/ 838 h 1087"/>
                  <a:gd name="T88" fmla="*/ 154 w 201"/>
                  <a:gd name="T89" fmla="*/ 859 h 1087"/>
                  <a:gd name="T90" fmla="*/ 155 w 201"/>
                  <a:gd name="T91" fmla="*/ 884 h 1087"/>
                  <a:gd name="T92" fmla="*/ 155 w 201"/>
                  <a:gd name="T93" fmla="*/ 911 h 1087"/>
                  <a:gd name="T94" fmla="*/ 157 w 201"/>
                  <a:gd name="T95" fmla="*/ 935 h 1087"/>
                  <a:gd name="T96" fmla="*/ 138 w 201"/>
                  <a:gd name="T97" fmla="*/ 947 h 1087"/>
                  <a:gd name="T98" fmla="*/ 113 w 201"/>
                  <a:gd name="T99" fmla="*/ 944 h 1087"/>
                  <a:gd name="T100" fmla="*/ 109 w 201"/>
                  <a:gd name="T101" fmla="*/ 959 h 1087"/>
                  <a:gd name="T102" fmla="*/ 114 w 201"/>
                  <a:gd name="T103" fmla="*/ 982 h 1087"/>
                  <a:gd name="T104" fmla="*/ 114 w 201"/>
                  <a:gd name="T105" fmla="*/ 1008 h 1087"/>
                  <a:gd name="T106" fmla="*/ 95 w 201"/>
                  <a:gd name="T107" fmla="*/ 1006 h 1087"/>
                  <a:gd name="T108" fmla="*/ 73 w 201"/>
                  <a:gd name="T109" fmla="*/ 1001 h 1087"/>
                  <a:gd name="T110" fmla="*/ 52 w 201"/>
                  <a:gd name="T111" fmla="*/ 1011 h 1087"/>
                  <a:gd name="T112" fmla="*/ 32 w 201"/>
                  <a:gd name="T113" fmla="*/ 1022 h 1087"/>
                  <a:gd name="T114" fmla="*/ 14 w 201"/>
                  <a:gd name="T115" fmla="*/ 1035 h 1087"/>
                  <a:gd name="T116" fmla="*/ 10 w 201"/>
                  <a:gd name="T117" fmla="*/ 1060 h 1087"/>
                  <a:gd name="T118" fmla="*/ 6 w 201"/>
                  <a:gd name="T119" fmla="*/ 1085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1" h="1087">
                    <a:moveTo>
                      <a:pt x="13" y="0"/>
                    </a:moveTo>
                    <a:lnTo>
                      <a:pt x="14" y="0"/>
                    </a:lnTo>
                    <a:lnTo>
                      <a:pt x="14" y="2"/>
                    </a:lnTo>
                    <a:lnTo>
                      <a:pt x="16" y="2"/>
                    </a:lnTo>
                    <a:lnTo>
                      <a:pt x="16" y="3"/>
                    </a:lnTo>
                    <a:lnTo>
                      <a:pt x="18" y="3"/>
                    </a:lnTo>
                    <a:lnTo>
                      <a:pt x="19" y="3"/>
                    </a:lnTo>
                    <a:lnTo>
                      <a:pt x="19" y="5"/>
                    </a:lnTo>
                    <a:lnTo>
                      <a:pt x="21" y="5"/>
                    </a:lnTo>
                    <a:lnTo>
                      <a:pt x="21" y="7"/>
                    </a:lnTo>
                    <a:lnTo>
                      <a:pt x="22" y="7"/>
                    </a:lnTo>
                    <a:lnTo>
                      <a:pt x="22" y="8"/>
                    </a:lnTo>
                    <a:lnTo>
                      <a:pt x="24" y="8"/>
                    </a:lnTo>
                    <a:lnTo>
                      <a:pt x="26" y="10"/>
                    </a:lnTo>
                    <a:lnTo>
                      <a:pt x="27" y="11"/>
                    </a:lnTo>
                    <a:lnTo>
                      <a:pt x="29" y="11"/>
                    </a:lnTo>
                    <a:lnTo>
                      <a:pt x="29" y="13"/>
                    </a:lnTo>
                    <a:lnTo>
                      <a:pt x="30" y="13"/>
                    </a:lnTo>
                    <a:lnTo>
                      <a:pt x="30" y="14"/>
                    </a:lnTo>
                    <a:lnTo>
                      <a:pt x="32" y="16"/>
                    </a:lnTo>
                    <a:lnTo>
                      <a:pt x="33" y="16"/>
                    </a:lnTo>
                    <a:lnTo>
                      <a:pt x="33" y="18"/>
                    </a:lnTo>
                    <a:lnTo>
                      <a:pt x="35" y="18"/>
                    </a:lnTo>
                    <a:lnTo>
                      <a:pt x="35" y="19"/>
                    </a:lnTo>
                    <a:lnTo>
                      <a:pt x="37" y="19"/>
                    </a:lnTo>
                    <a:lnTo>
                      <a:pt x="38" y="21"/>
                    </a:lnTo>
                    <a:lnTo>
                      <a:pt x="40" y="22"/>
                    </a:lnTo>
                    <a:lnTo>
                      <a:pt x="41" y="24"/>
                    </a:lnTo>
                    <a:lnTo>
                      <a:pt x="43" y="24"/>
                    </a:lnTo>
                    <a:lnTo>
                      <a:pt x="43" y="26"/>
                    </a:lnTo>
                    <a:lnTo>
                      <a:pt x="45" y="26"/>
                    </a:lnTo>
                    <a:lnTo>
                      <a:pt x="46" y="27"/>
                    </a:lnTo>
                    <a:lnTo>
                      <a:pt x="46" y="29"/>
                    </a:lnTo>
                    <a:lnTo>
                      <a:pt x="48" y="29"/>
                    </a:lnTo>
                    <a:lnTo>
                      <a:pt x="49" y="30"/>
                    </a:lnTo>
                    <a:lnTo>
                      <a:pt x="51" y="32"/>
                    </a:lnTo>
                    <a:lnTo>
                      <a:pt x="52" y="32"/>
                    </a:lnTo>
                    <a:lnTo>
                      <a:pt x="54" y="33"/>
                    </a:lnTo>
                    <a:lnTo>
                      <a:pt x="54" y="37"/>
                    </a:lnTo>
                    <a:lnTo>
                      <a:pt x="54" y="38"/>
                    </a:lnTo>
                    <a:lnTo>
                      <a:pt x="56" y="41"/>
                    </a:lnTo>
                    <a:lnTo>
                      <a:pt x="60" y="48"/>
                    </a:lnTo>
                    <a:lnTo>
                      <a:pt x="64" y="51"/>
                    </a:lnTo>
                    <a:lnTo>
                      <a:pt x="67" y="56"/>
                    </a:lnTo>
                    <a:lnTo>
                      <a:pt x="68" y="57"/>
                    </a:lnTo>
                    <a:lnTo>
                      <a:pt x="70" y="59"/>
                    </a:lnTo>
                    <a:lnTo>
                      <a:pt x="71" y="62"/>
                    </a:lnTo>
                    <a:lnTo>
                      <a:pt x="75" y="65"/>
                    </a:lnTo>
                    <a:lnTo>
                      <a:pt x="75" y="67"/>
                    </a:lnTo>
                    <a:lnTo>
                      <a:pt x="79" y="71"/>
                    </a:lnTo>
                    <a:lnTo>
                      <a:pt x="81" y="73"/>
                    </a:lnTo>
                    <a:lnTo>
                      <a:pt x="83" y="75"/>
                    </a:lnTo>
                    <a:lnTo>
                      <a:pt x="83" y="76"/>
                    </a:lnTo>
                    <a:lnTo>
                      <a:pt x="84" y="76"/>
                    </a:lnTo>
                    <a:lnTo>
                      <a:pt x="84" y="78"/>
                    </a:lnTo>
                    <a:lnTo>
                      <a:pt x="89" y="83"/>
                    </a:lnTo>
                    <a:lnTo>
                      <a:pt x="94" y="89"/>
                    </a:lnTo>
                    <a:lnTo>
                      <a:pt x="94" y="90"/>
                    </a:lnTo>
                    <a:lnTo>
                      <a:pt x="97" y="94"/>
                    </a:lnTo>
                    <a:lnTo>
                      <a:pt x="97" y="95"/>
                    </a:lnTo>
                    <a:lnTo>
                      <a:pt x="95" y="95"/>
                    </a:lnTo>
                    <a:lnTo>
                      <a:pt x="95" y="97"/>
                    </a:lnTo>
                    <a:lnTo>
                      <a:pt x="94" y="98"/>
                    </a:lnTo>
                    <a:lnTo>
                      <a:pt x="92" y="100"/>
                    </a:lnTo>
                    <a:lnTo>
                      <a:pt x="90" y="102"/>
                    </a:lnTo>
                    <a:lnTo>
                      <a:pt x="90" y="103"/>
                    </a:lnTo>
                    <a:lnTo>
                      <a:pt x="89" y="103"/>
                    </a:lnTo>
                    <a:lnTo>
                      <a:pt x="89" y="105"/>
                    </a:lnTo>
                    <a:lnTo>
                      <a:pt x="87" y="105"/>
                    </a:lnTo>
                    <a:lnTo>
                      <a:pt x="87" y="106"/>
                    </a:lnTo>
                    <a:lnTo>
                      <a:pt x="86" y="106"/>
                    </a:lnTo>
                    <a:lnTo>
                      <a:pt x="86" y="108"/>
                    </a:lnTo>
                    <a:lnTo>
                      <a:pt x="84" y="109"/>
                    </a:lnTo>
                    <a:lnTo>
                      <a:pt x="83" y="109"/>
                    </a:lnTo>
                    <a:lnTo>
                      <a:pt x="83" y="111"/>
                    </a:lnTo>
                    <a:lnTo>
                      <a:pt x="81" y="113"/>
                    </a:lnTo>
                    <a:lnTo>
                      <a:pt x="81" y="114"/>
                    </a:lnTo>
                    <a:lnTo>
                      <a:pt x="79" y="114"/>
                    </a:lnTo>
                    <a:lnTo>
                      <a:pt x="79" y="116"/>
                    </a:lnTo>
                    <a:lnTo>
                      <a:pt x="78" y="116"/>
                    </a:lnTo>
                    <a:lnTo>
                      <a:pt x="78" y="117"/>
                    </a:lnTo>
                    <a:lnTo>
                      <a:pt x="78" y="119"/>
                    </a:lnTo>
                    <a:lnTo>
                      <a:pt x="76" y="119"/>
                    </a:lnTo>
                    <a:lnTo>
                      <a:pt x="76" y="121"/>
                    </a:lnTo>
                    <a:lnTo>
                      <a:pt x="76" y="122"/>
                    </a:lnTo>
                    <a:lnTo>
                      <a:pt x="75" y="124"/>
                    </a:lnTo>
                    <a:lnTo>
                      <a:pt x="75" y="125"/>
                    </a:lnTo>
                    <a:lnTo>
                      <a:pt x="73" y="125"/>
                    </a:lnTo>
                    <a:lnTo>
                      <a:pt x="73" y="127"/>
                    </a:lnTo>
                    <a:lnTo>
                      <a:pt x="73" y="128"/>
                    </a:lnTo>
                    <a:lnTo>
                      <a:pt x="71" y="128"/>
                    </a:lnTo>
                    <a:lnTo>
                      <a:pt x="71" y="130"/>
                    </a:lnTo>
                    <a:lnTo>
                      <a:pt x="71" y="132"/>
                    </a:lnTo>
                    <a:lnTo>
                      <a:pt x="70" y="132"/>
                    </a:lnTo>
                    <a:lnTo>
                      <a:pt x="70" y="133"/>
                    </a:lnTo>
                    <a:lnTo>
                      <a:pt x="70" y="135"/>
                    </a:lnTo>
                    <a:lnTo>
                      <a:pt x="68" y="136"/>
                    </a:lnTo>
                    <a:lnTo>
                      <a:pt x="68" y="138"/>
                    </a:lnTo>
                    <a:lnTo>
                      <a:pt x="67" y="140"/>
                    </a:lnTo>
                    <a:lnTo>
                      <a:pt x="67" y="141"/>
                    </a:lnTo>
                    <a:lnTo>
                      <a:pt x="65" y="143"/>
                    </a:lnTo>
                    <a:lnTo>
                      <a:pt x="65" y="144"/>
                    </a:lnTo>
                    <a:lnTo>
                      <a:pt x="64" y="146"/>
                    </a:lnTo>
                    <a:lnTo>
                      <a:pt x="64" y="147"/>
                    </a:lnTo>
                    <a:lnTo>
                      <a:pt x="62" y="147"/>
                    </a:lnTo>
                    <a:lnTo>
                      <a:pt x="62" y="149"/>
                    </a:lnTo>
                    <a:lnTo>
                      <a:pt x="62" y="151"/>
                    </a:lnTo>
                    <a:lnTo>
                      <a:pt x="60" y="152"/>
                    </a:lnTo>
                    <a:lnTo>
                      <a:pt x="60" y="154"/>
                    </a:lnTo>
                    <a:lnTo>
                      <a:pt x="59" y="155"/>
                    </a:lnTo>
                    <a:lnTo>
                      <a:pt x="59" y="157"/>
                    </a:lnTo>
                    <a:lnTo>
                      <a:pt x="57" y="159"/>
                    </a:lnTo>
                    <a:lnTo>
                      <a:pt x="57" y="160"/>
                    </a:lnTo>
                    <a:lnTo>
                      <a:pt x="56" y="162"/>
                    </a:lnTo>
                    <a:lnTo>
                      <a:pt x="56" y="163"/>
                    </a:lnTo>
                    <a:lnTo>
                      <a:pt x="54" y="165"/>
                    </a:lnTo>
                    <a:lnTo>
                      <a:pt x="54" y="167"/>
                    </a:lnTo>
                    <a:lnTo>
                      <a:pt x="52" y="168"/>
                    </a:lnTo>
                    <a:lnTo>
                      <a:pt x="52" y="170"/>
                    </a:lnTo>
                    <a:lnTo>
                      <a:pt x="52" y="171"/>
                    </a:lnTo>
                    <a:lnTo>
                      <a:pt x="51" y="171"/>
                    </a:lnTo>
                    <a:lnTo>
                      <a:pt x="51" y="173"/>
                    </a:lnTo>
                    <a:lnTo>
                      <a:pt x="51" y="174"/>
                    </a:lnTo>
                    <a:lnTo>
                      <a:pt x="49" y="174"/>
                    </a:lnTo>
                    <a:lnTo>
                      <a:pt x="49" y="176"/>
                    </a:lnTo>
                    <a:lnTo>
                      <a:pt x="49" y="178"/>
                    </a:lnTo>
                    <a:lnTo>
                      <a:pt x="48" y="178"/>
                    </a:lnTo>
                    <a:lnTo>
                      <a:pt x="48" y="179"/>
                    </a:lnTo>
                    <a:lnTo>
                      <a:pt x="48" y="181"/>
                    </a:lnTo>
                    <a:lnTo>
                      <a:pt x="46" y="181"/>
                    </a:lnTo>
                    <a:lnTo>
                      <a:pt x="46" y="182"/>
                    </a:lnTo>
                    <a:lnTo>
                      <a:pt x="46" y="184"/>
                    </a:lnTo>
                    <a:lnTo>
                      <a:pt x="45" y="184"/>
                    </a:lnTo>
                    <a:lnTo>
                      <a:pt x="45" y="186"/>
                    </a:lnTo>
                    <a:lnTo>
                      <a:pt x="45" y="187"/>
                    </a:lnTo>
                    <a:lnTo>
                      <a:pt x="43" y="187"/>
                    </a:lnTo>
                    <a:lnTo>
                      <a:pt x="43" y="189"/>
                    </a:lnTo>
                    <a:lnTo>
                      <a:pt x="43" y="190"/>
                    </a:lnTo>
                    <a:lnTo>
                      <a:pt x="41" y="190"/>
                    </a:lnTo>
                    <a:lnTo>
                      <a:pt x="41" y="192"/>
                    </a:lnTo>
                    <a:lnTo>
                      <a:pt x="41" y="193"/>
                    </a:lnTo>
                    <a:lnTo>
                      <a:pt x="43" y="193"/>
                    </a:lnTo>
                    <a:lnTo>
                      <a:pt x="45" y="195"/>
                    </a:lnTo>
                    <a:lnTo>
                      <a:pt x="46" y="195"/>
                    </a:lnTo>
                    <a:lnTo>
                      <a:pt x="48" y="195"/>
                    </a:lnTo>
                    <a:lnTo>
                      <a:pt x="48" y="197"/>
                    </a:lnTo>
                    <a:lnTo>
                      <a:pt x="49" y="197"/>
                    </a:lnTo>
                    <a:lnTo>
                      <a:pt x="51" y="197"/>
                    </a:lnTo>
                    <a:lnTo>
                      <a:pt x="51" y="198"/>
                    </a:lnTo>
                    <a:lnTo>
                      <a:pt x="52" y="198"/>
                    </a:lnTo>
                    <a:lnTo>
                      <a:pt x="54" y="198"/>
                    </a:lnTo>
                    <a:lnTo>
                      <a:pt x="54" y="200"/>
                    </a:lnTo>
                    <a:lnTo>
                      <a:pt x="56" y="200"/>
                    </a:lnTo>
                    <a:lnTo>
                      <a:pt x="57" y="200"/>
                    </a:lnTo>
                    <a:lnTo>
                      <a:pt x="59" y="201"/>
                    </a:lnTo>
                    <a:lnTo>
                      <a:pt x="60" y="201"/>
                    </a:lnTo>
                    <a:lnTo>
                      <a:pt x="62" y="203"/>
                    </a:lnTo>
                    <a:lnTo>
                      <a:pt x="64" y="203"/>
                    </a:lnTo>
                    <a:lnTo>
                      <a:pt x="65" y="203"/>
                    </a:lnTo>
                    <a:lnTo>
                      <a:pt x="65" y="205"/>
                    </a:lnTo>
                    <a:lnTo>
                      <a:pt x="67" y="205"/>
                    </a:lnTo>
                    <a:lnTo>
                      <a:pt x="68" y="206"/>
                    </a:lnTo>
                    <a:lnTo>
                      <a:pt x="70" y="206"/>
                    </a:lnTo>
                    <a:lnTo>
                      <a:pt x="71" y="208"/>
                    </a:lnTo>
                    <a:lnTo>
                      <a:pt x="73" y="208"/>
                    </a:lnTo>
                    <a:lnTo>
                      <a:pt x="75" y="208"/>
                    </a:lnTo>
                    <a:lnTo>
                      <a:pt x="75" y="209"/>
                    </a:lnTo>
                    <a:lnTo>
                      <a:pt x="76" y="209"/>
                    </a:lnTo>
                    <a:lnTo>
                      <a:pt x="78" y="209"/>
                    </a:lnTo>
                    <a:lnTo>
                      <a:pt x="78" y="211"/>
                    </a:lnTo>
                    <a:lnTo>
                      <a:pt x="79" y="211"/>
                    </a:lnTo>
                    <a:lnTo>
                      <a:pt x="79" y="212"/>
                    </a:lnTo>
                    <a:lnTo>
                      <a:pt x="81" y="212"/>
                    </a:lnTo>
                    <a:lnTo>
                      <a:pt x="81" y="214"/>
                    </a:lnTo>
                    <a:lnTo>
                      <a:pt x="83" y="214"/>
                    </a:lnTo>
                    <a:lnTo>
                      <a:pt x="83" y="216"/>
                    </a:lnTo>
                    <a:lnTo>
                      <a:pt x="84" y="216"/>
                    </a:lnTo>
                    <a:lnTo>
                      <a:pt x="84" y="217"/>
                    </a:lnTo>
                    <a:lnTo>
                      <a:pt x="86" y="219"/>
                    </a:lnTo>
                    <a:lnTo>
                      <a:pt x="86" y="220"/>
                    </a:lnTo>
                    <a:lnTo>
                      <a:pt x="89" y="224"/>
                    </a:lnTo>
                    <a:lnTo>
                      <a:pt x="90" y="225"/>
                    </a:lnTo>
                    <a:lnTo>
                      <a:pt x="90" y="227"/>
                    </a:lnTo>
                    <a:lnTo>
                      <a:pt x="92" y="227"/>
                    </a:lnTo>
                    <a:lnTo>
                      <a:pt x="92" y="228"/>
                    </a:lnTo>
                    <a:lnTo>
                      <a:pt x="94" y="228"/>
                    </a:lnTo>
                    <a:lnTo>
                      <a:pt x="94" y="230"/>
                    </a:lnTo>
                    <a:lnTo>
                      <a:pt x="95" y="231"/>
                    </a:lnTo>
                    <a:lnTo>
                      <a:pt x="97" y="231"/>
                    </a:lnTo>
                    <a:lnTo>
                      <a:pt x="97" y="233"/>
                    </a:lnTo>
                    <a:lnTo>
                      <a:pt x="98" y="233"/>
                    </a:lnTo>
                    <a:lnTo>
                      <a:pt x="100" y="233"/>
                    </a:lnTo>
                    <a:lnTo>
                      <a:pt x="102" y="235"/>
                    </a:lnTo>
                    <a:lnTo>
                      <a:pt x="102" y="236"/>
                    </a:lnTo>
                    <a:lnTo>
                      <a:pt x="102" y="238"/>
                    </a:lnTo>
                    <a:lnTo>
                      <a:pt x="102" y="239"/>
                    </a:lnTo>
                    <a:lnTo>
                      <a:pt x="102" y="241"/>
                    </a:lnTo>
                    <a:lnTo>
                      <a:pt x="103" y="241"/>
                    </a:lnTo>
                    <a:lnTo>
                      <a:pt x="103" y="243"/>
                    </a:lnTo>
                    <a:lnTo>
                      <a:pt x="103" y="244"/>
                    </a:lnTo>
                    <a:lnTo>
                      <a:pt x="105" y="244"/>
                    </a:lnTo>
                    <a:lnTo>
                      <a:pt x="105" y="246"/>
                    </a:lnTo>
                    <a:lnTo>
                      <a:pt x="105" y="247"/>
                    </a:lnTo>
                    <a:lnTo>
                      <a:pt x="106" y="247"/>
                    </a:lnTo>
                    <a:lnTo>
                      <a:pt x="106" y="249"/>
                    </a:lnTo>
                    <a:lnTo>
                      <a:pt x="106" y="250"/>
                    </a:lnTo>
                    <a:lnTo>
                      <a:pt x="108" y="252"/>
                    </a:lnTo>
                    <a:lnTo>
                      <a:pt x="108" y="254"/>
                    </a:lnTo>
                    <a:lnTo>
                      <a:pt x="109" y="255"/>
                    </a:lnTo>
                    <a:lnTo>
                      <a:pt x="109" y="257"/>
                    </a:lnTo>
                    <a:lnTo>
                      <a:pt x="109" y="258"/>
                    </a:lnTo>
                    <a:lnTo>
                      <a:pt x="111" y="258"/>
                    </a:lnTo>
                    <a:lnTo>
                      <a:pt x="111" y="260"/>
                    </a:lnTo>
                    <a:lnTo>
                      <a:pt x="111" y="262"/>
                    </a:lnTo>
                    <a:lnTo>
                      <a:pt x="113" y="263"/>
                    </a:lnTo>
                    <a:lnTo>
                      <a:pt x="114" y="263"/>
                    </a:lnTo>
                    <a:lnTo>
                      <a:pt x="114" y="265"/>
                    </a:lnTo>
                    <a:lnTo>
                      <a:pt x="116" y="265"/>
                    </a:lnTo>
                    <a:lnTo>
                      <a:pt x="117" y="265"/>
                    </a:lnTo>
                    <a:lnTo>
                      <a:pt x="119" y="265"/>
                    </a:lnTo>
                    <a:lnTo>
                      <a:pt x="121" y="266"/>
                    </a:lnTo>
                    <a:lnTo>
                      <a:pt x="122" y="266"/>
                    </a:lnTo>
                    <a:lnTo>
                      <a:pt x="124" y="266"/>
                    </a:lnTo>
                    <a:lnTo>
                      <a:pt x="125" y="266"/>
                    </a:lnTo>
                    <a:lnTo>
                      <a:pt x="127" y="268"/>
                    </a:lnTo>
                    <a:lnTo>
                      <a:pt x="128" y="268"/>
                    </a:lnTo>
                    <a:lnTo>
                      <a:pt x="130" y="268"/>
                    </a:lnTo>
                    <a:lnTo>
                      <a:pt x="132" y="269"/>
                    </a:lnTo>
                    <a:lnTo>
                      <a:pt x="133" y="269"/>
                    </a:lnTo>
                    <a:lnTo>
                      <a:pt x="133" y="271"/>
                    </a:lnTo>
                    <a:lnTo>
                      <a:pt x="135" y="273"/>
                    </a:lnTo>
                    <a:lnTo>
                      <a:pt x="135" y="274"/>
                    </a:lnTo>
                    <a:lnTo>
                      <a:pt x="135" y="276"/>
                    </a:lnTo>
                    <a:lnTo>
                      <a:pt x="135" y="277"/>
                    </a:lnTo>
                    <a:lnTo>
                      <a:pt x="135" y="279"/>
                    </a:lnTo>
                    <a:lnTo>
                      <a:pt x="135" y="281"/>
                    </a:lnTo>
                    <a:lnTo>
                      <a:pt x="136" y="282"/>
                    </a:lnTo>
                    <a:lnTo>
                      <a:pt x="136" y="284"/>
                    </a:lnTo>
                    <a:lnTo>
                      <a:pt x="136" y="285"/>
                    </a:lnTo>
                    <a:lnTo>
                      <a:pt x="136" y="287"/>
                    </a:lnTo>
                    <a:lnTo>
                      <a:pt x="135" y="287"/>
                    </a:lnTo>
                    <a:lnTo>
                      <a:pt x="135" y="288"/>
                    </a:lnTo>
                    <a:lnTo>
                      <a:pt x="135" y="290"/>
                    </a:lnTo>
                    <a:lnTo>
                      <a:pt x="135" y="292"/>
                    </a:lnTo>
                    <a:lnTo>
                      <a:pt x="135" y="293"/>
                    </a:lnTo>
                    <a:lnTo>
                      <a:pt x="135" y="295"/>
                    </a:lnTo>
                    <a:lnTo>
                      <a:pt x="135" y="296"/>
                    </a:lnTo>
                    <a:lnTo>
                      <a:pt x="135" y="298"/>
                    </a:lnTo>
                    <a:lnTo>
                      <a:pt x="136" y="298"/>
                    </a:lnTo>
                    <a:lnTo>
                      <a:pt x="136" y="300"/>
                    </a:lnTo>
                    <a:lnTo>
                      <a:pt x="136" y="301"/>
                    </a:lnTo>
                    <a:lnTo>
                      <a:pt x="136" y="303"/>
                    </a:lnTo>
                    <a:lnTo>
                      <a:pt x="138" y="303"/>
                    </a:lnTo>
                    <a:lnTo>
                      <a:pt x="138" y="304"/>
                    </a:lnTo>
                    <a:lnTo>
                      <a:pt x="138" y="306"/>
                    </a:lnTo>
                    <a:lnTo>
                      <a:pt x="138" y="307"/>
                    </a:lnTo>
                    <a:lnTo>
                      <a:pt x="140" y="307"/>
                    </a:lnTo>
                    <a:lnTo>
                      <a:pt x="141" y="309"/>
                    </a:lnTo>
                    <a:lnTo>
                      <a:pt x="143" y="309"/>
                    </a:lnTo>
                    <a:lnTo>
                      <a:pt x="144" y="309"/>
                    </a:lnTo>
                    <a:lnTo>
                      <a:pt x="146" y="309"/>
                    </a:lnTo>
                    <a:lnTo>
                      <a:pt x="147" y="307"/>
                    </a:lnTo>
                    <a:lnTo>
                      <a:pt x="149" y="307"/>
                    </a:lnTo>
                    <a:lnTo>
                      <a:pt x="151" y="307"/>
                    </a:lnTo>
                    <a:lnTo>
                      <a:pt x="151" y="306"/>
                    </a:lnTo>
                    <a:lnTo>
                      <a:pt x="152" y="306"/>
                    </a:lnTo>
                    <a:lnTo>
                      <a:pt x="152" y="304"/>
                    </a:lnTo>
                    <a:lnTo>
                      <a:pt x="154" y="304"/>
                    </a:lnTo>
                    <a:lnTo>
                      <a:pt x="155" y="304"/>
                    </a:lnTo>
                    <a:lnTo>
                      <a:pt x="157" y="304"/>
                    </a:lnTo>
                    <a:lnTo>
                      <a:pt x="159" y="304"/>
                    </a:lnTo>
                    <a:lnTo>
                      <a:pt x="160" y="304"/>
                    </a:lnTo>
                    <a:lnTo>
                      <a:pt x="162" y="304"/>
                    </a:lnTo>
                    <a:lnTo>
                      <a:pt x="163" y="304"/>
                    </a:lnTo>
                    <a:lnTo>
                      <a:pt x="163" y="306"/>
                    </a:lnTo>
                    <a:lnTo>
                      <a:pt x="165" y="306"/>
                    </a:lnTo>
                    <a:lnTo>
                      <a:pt x="165" y="307"/>
                    </a:lnTo>
                    <a:lnTo>
                      <a:pt x="166" y="307"/>
                    </a:lnTo>
                    <a:lnTo>
                      <a:pt x="166" y="309"/>
                    </a:lnTo>
                    <a:lnTo>
                      <a:pt x="168" y="309"/>
                    </a:lnTo>
                    <a:lnTo>
                      <a:pt x="168" y="311"/>
                    </a:lnTo>
                    <a:lnTo>
                      <a:pt x="170" y="311"/>
                    </a:lnTo>
                    <a:lnTo>
                      <a:pt x="170" y="312"/>
                    </a:lnTo>
                    <a:lnTo>
                      <a:pt x="170" y="314"/>
                    </a:lnTo>
                    <a:lnTo>
                      <a:pt x="171" y="314"/>
                    </a:lnTo>
                    <a:lnTo>
                      <a:pt x="171" y="315"/>
                    </a:lnTo>
                    <a:lnTo>
                      <a:pt x="173" y="317"/>
                    </a:lnTo>
                    <a:lnTo>
                      <a:pt x="174" y="319"/>
                    </a:lnTo>
                    <a:lnTo>
                      <a:pt x="174" y="320"/>
                    </a:lnTo>
                    <a:lnTo>
                      <a:pt x="176" y="322"/>
                    </a:lnTo>
                    <a:lnTo>
                      <a:pt x="176" y="323"/>
                    </a:lnTo>
                    <a:lnTo>
                      <a:pt x="176" y="325"/>
                    </a:lnTo>
                    <a:lnTo>
                      <a:pt x="178" y="325"/>
                    </a:lnTo>
                    <a:lnTo>
                      <a:pt x="178" y="326"/>
                    </a:lnTo>
                    <a:lnTo>
                      <a:pt x="178" y="328"/>
                    </a:lnTo>
                    <a:lnTo>
                      <a:pt x="178" y="330"/>
                    </a:lnTo>
                    <a:lnTo>
                      <a:pt x="179" y="330"/>
                    </a:lnTo>
                    <a:lnTo>
                      <a:pt x="179" y="331"/>
                    </a:lnTo>
                    <a:lnTo>
                      <a:pt x="179" y="333"/>
                    </a:lnTo>
                    <a:lnTo>
                      <a:pt x="181" y="334"/>
                    </a:lnTo>
                    <a:lnTo>
                      <a:pt x="181" y="336"/>
                    </a:lnTo>
                    <a:lnTo>
                      <a:pt x="182" y="336"/>
                    </a:lnTo>
                    <a:lnTo>
                      <a:pt x="184" y="336"/>
                    </a:lnTo>
                    <a:lnTo>
                      <a:pt x="184" y="338"/>
                    </a:lnTo>
                    <a:lnTo>
                      <a:pt x="185" y="338"/>
                    </a:lnTo>
                    <a:lnTo>
                      <a:pt x="185" y="339"/>
                    </a:lnTo>
                    <a:lnTo>
                      <a:pt x="187" y="339"/>
                    </a:lnTo>
                    <a:lnTo>
                      <a:pt x="187" y="341"/>
                    </a:lnTo>
                    <a:lnTo>
                      <a:pt x="187" y="342"/>
                    </a:lnTo>
                    <a:lnTo>
                      <a:pt x="189" y="342"/>
                    </a:lnTo>
                    <a:lnTo>
                      <a:pt x="189" y="344"/>
                    </a:lnTo>
                    <a:lnTo>
                      <a:pt x="190" y="344"/>
                    </a:lnTo>
                    <a:lnTo>
                      <a:pt x="192" y="344"/>
                    </a:lnTo>
                    <a:lnTo>
                      <a:pt x="193" y="344"/>
                    </a:lnTo>
                    <a:lnTo>
                      <a:pt x="193" y="342"/>
                    </a:lnTo>
                    <a:lnTo>
                      <a:pt x="195" y="342"/>
                    </a:lnTo>
                    <a:lnTo>
                      <a:pt x="197" y="342"/>
                    </a:lnTo>
                    <a:lnTo>
                      <a:pt x="198" y="341"/>
                    </a:lnTo>
                    <a:lnTo>
                      <a:pt x="200" y="341"/>
                    </a:lnTo>
                    <a:lnTo>
                      <a:pt x="201" y="342"/>
                    </a:lnTo>
                    <a:lnTo>
                      <a:pt x="201" y="344"/>
                    </a:lnTo>
                    <a:lnTo>
                      <a:pt x="201" y="346"/>
                    </a:lnTo>
                    <a:lnTo>
                      <a:pt x="201" y="347"/>
                    </a:lnTo>
                    <a:lnTo>
                      <a:pt x="201" y="349"/>
                    </a:lnTo>
                    <a:lnTo>
                      <a:pt x="201" y="350"/>
                    </a:lnTo>
                    <a:lnTo>
                      <a:pt x="200" y="352"/>
                    </a:lnTo>
                    <a:lnTo>
                      <a:pt x="200" y="353"/>
                    </a:lnTo>
                    <a:lnTo>
                      <a:pt x="200" y="355"/>
                    </a:lnTo>
                    <a:lnTo>
                      <a:pt x="198" y="355"/>
                    </a:lnTo>
                    <a:lnTo>
                      <a:pt x="198" y="357"/>
                    </a:lnTo>
                    <a:lnTo>
                      <a:pt x="198" y="358"/>
                    </a:lnTo>
                    <a:lnTo>
                      <a:pt x="197" y="360"/>
                    </a:lnTo>
                    <a:lnTo>
                      <a:pt x="197" y="361"/>
                    </a:lnTo>
                    <a:lnTo>
                      <a:pt x="195" y="361"/>
                    </a:lnTo>
                    <a:lnTo>
                      <a:pt x="195" y="363"/>
                    </a:lnTo>
                    <a:lnTo>
                      <a:pt x="193" y="363"/>
                    </a:lnTo>
                    <a:lnTo>
                      <a:pt x="193" y="365"/>
                    </a:lnTo>
                    <a:lnTo>
                      <a:pt x="193" y="366"/>
                    </a:lnTo>
                    <a:lnTo>
                      <a:pt x="193" y="368"/>
                    </a:lnTo>
                    <a:lnTo>
                      <a:pt x="192" y="368"/>
                    </a:lnTo>
                    <a:lnTo>
                      <a:pt x="192" y="369"/>
                    </a:lnTo>
                    <a:lnTo>
                      <a:pt x="192" y="371"/>
                    </a:lnTo>
                    <a:lnTo>
                      <a:pt x="192" y="372"/>
                    </a:lnTo>
                    <a:lnTo>
                      <a:pt x="189" y="372"/>
                    </a:lnTo>
                    <a:lnTo>
                      <a:pt x="189" y="374"/>
                    </a:lnTo>
                    <a:lnTo>
                      <a:pt x="184" y="377"/>
                    </a:lnTo>
                    <a:lnTo>
                      <a:pt x="178" y="380"/>
                    </a:lnTo>
                    <a:lnTo>
                      <a:pt x="173" y="385"/>
                    </a:lnTo>
                    <a:lnTo>
                      <a:pt x="170" y="388"/>
                    </a:lnTo>
                    <a:lnTo>
                      <a:pt x="168" y="388"/>
                    </a:lnTo>
                    <a:lnTo>
                      <a:pt x="166" y="388"/>
                    </a:lnTo>
                    <a:lnTo>
                      <a:pt x="166" y="390"/>
                    </a:lnTo>
                    <a:lnTo>
                      <a:pt x="165" y="390"/>
                    </a:lnTo>
                    <a:lnTo>
                      <a:pt x="163" y="390"/>
                    </a:lnTo>
                    <a:lnTo>
                      <a:pt x="163" y="391"/>
                    </a:lnTo>
                    <a:lnTo>
                      <a:pt x="162" y="391"/>
                    </a:lnTo>
                    <a:lnTo>
                      <a:pt x="160" y="393"/>
                    </a:lnTo>
                    <a:lnTo>
                      <a:pt x="159" y="393"/>
                    </a:lnTo>
                    <a:lnTo>
                      <a:pt x="159" y="395"/>
                    </a:lnTo>
                    <a:lnTo>
                      <a:pt x="157" y="395"/>
                    </a:lnTo>
                    <a:lnTo>
                      <a:pt x="155" y="396"/>
                    </a:lnTo>
                    <a:lnTo>
                      <a:pt x="154" y="396"/>
                    </a:lnTo>
                    <a:lnTo>
                      <a:pt x="152" y="396"/>
                    </a:lnTo>
                    <a:lnTo>
                      <a:pt x="152" y="398"/>
                    </a:lnTo>
                    <a:lnTo>
                      <a:pt x="151" y="398"/>
                    </a:lnTo>
                    <a:lnTo>
                      <a:pt x="149" y="398"/>
                    </a:lnTo>
                    <a:lnTo>
                      <a:pt x="149" y="399"/>
                    </a:lnTo>
                    <a:lnTo>
                      <a:pt x="147" y="399"/>
                    </a:lnTo>
                    <a:lnTo>
                      <a:pt x="146" y="399"/>
                    </a:lnTo>
                    <a:lnTo>
                      <a:pt x="146" y="401"/>
                    </a:lnTo>
                    <a:lnTo>
                      <a:pt x="144" y="401"/>
                    </a:lnTo>
                    <a:lnTo>
                      <a:pt x="143" y="403"/>
                    </a:lnTo>
                    <a:lnTo>
                      <a:pt x="141" y="403"/>
                    </a:lnTo>
                    <a:lnTo>
                      <a:pt x="141" y="404"/>
                    </a:lnTo>
                    <a:lnTo>
                      <a:pt x="140" y="404"/>
                    </a:lnTo>
                    <a:lnTo>
                      <a:pt x="140" y="406"/>
                    </a:lnTo>
                    <a:lnTo>
                      <a:pt x="138" y="406"/>
                    </a:lnTo>
                    <a:lnTo>
                      <a:pt x="138" y="407"/>
                    </a:lnTo>
                    <a:lnTo>
                      <a:pt x="136" y="407"/>
                    </a:lnTo>
                    <a:lnTo>
                      <a:pt x="135" y="409"/>
                    </a:lnTo>
                    <a:lnTo>
                      <a:pt x="133" y="410"/>
                    </a:lnTo>
                    <a:lnTo>
                      <a:pt x="132" y="410"/>
                    </a:lnTo>
                    <a:lnTo>
                      <a:pt x="132" y="412"/>
                    </a:lnTo>
                    <a:lnTo>
                      <a:pt x="130" y="412"/>
                    </a:lnTo>
                    <a:lnTo>
                      <a:pt x="130" y="414"/>
                    </a:lnTo>
                    <a:lnTo>
                      <a:pt x="128" y="414"/>
                    </a:lnTo>
                    <a:lnTo>
                      <a:pt x="127" y="415"/>
                    </a:lnTo>
                    <a:lnTo>
                      <a:pt x="125" y="417"/>
                    </a:lnTo>
                    <a:lnTo>
                      <a:pt x="124" y="418"/>
                    </a:lnTo>
                    <a:lnTo>
                      <a:pt x="122" y="420"/>
                    </a:lnTo>
                    <a:lnTo>
                      <a:pt x="121" y="420"/>
                    </a:lnTo>
                    <a:lnTo>
                      <a:pt x="121" y="422"/>
                    </a:lnTo>
                    <a:lnTo>
                      <a:pt x="119" y="422"/>
                    </a:lnTo>
                    <a:lnTo>
                      <a:pt x="119" y="423"/>
                    </a:lnTo>
                    <a:lnTo>
                      <a:pt x="117" y="423"/>
                    </a:lnTo>
                    <a:lnTo>
                      <a:pt x="116" y="425"/>
                    </a:lnTo>
                    <a:lnTo>
                      <a:pt x="114" y="426"/>
                    </a:lnTo>
                    <a:lnTo>
                      <a:pt x="113" y="426"/>
                    </a:lnTo>
                    <a:lnTo>
                      <a:pt x="111" y="428"/>
                    </a:lnTo>
                    <a:lnTo>
                      <a:pt x="109" y="428"/>
                    </a:lnTo>
                    <a:lnTo>
                      <a:pt x="109" y="429"/>
                    </a:lnTo>
                    <a:lnTo>
                      <a:pt x="109" y="431"/>
                    </a:lnTo>
                    <a:lnTo>
                      <a:pt x="111" y="431"/>
                    </a:lnTo>
                    <a:lnTo>
                      <a:pt x="111" y="433"/>
                    </a:lnTo>
                    <a:lnTo>
                      <a:pt x="111" y="434"/>
                    </a:lnTo>
                    <a:lnTo>
                      <a:pt x="111" y="436"/>
                    </a:lnTo>
                    <a:lnTo>
                      <a:pt x="111" y="437"/>
                    </a:lnTo>
                    <a:lnTo>
                      <a:pt x="113" y="439"/>
                    </a:lnTo>
                    <a:lnTo>
                      <a:pt x="113" y="441"/>
                    </a:lnTo>
                    <a:lnTo>
                      <a:pt x="114" y="441"/>
                    </a:lnTo>
                    <a:lnTo>
                      <a:pt x="114" y="442"/>
                    </a:lnTo>
                    <a:lnTo>
                      <a:pt x="116" y="442"/>
                    </a:lnTo>
                    <a:lnTo>
                      <a:pt x="117" y="442"/>
                    </a:lnTo>
                    <a:lnTo>
                      <a:pt x="117" y="444"/>
                    </a:lnTo>
                    <a:lnTo>
                      <a:pt x="119" y="444"/>
                    </a:lnTo>
                    <a:lnTo>
                      <a:pt x="119" y="445"/>
                    </a:lnTo>
                    <a:lnTo>
                      <a:pt x="119" y="447"/>
                    </a:lnTo>
                    <a:lnTo>
                      <a:pt x="119" y="448"/>
                    </a:lnTo>
                    <a:lnTo>
                      <a:pt x="117" y="448"/>
                    </a:lnTo>
                    <a:lnTo>
                      <a:pt x="117" y="450"/>
                    </a:lnTo>
                    <a:lnTo>
                      <a:pt x="117" y="452"/>
                    </a:lnTo>
                    <a:lnTo>
                      <a:pt x="117" y="453"/>
                    </a:lnTo>
                    <a:lnTo>
                      <a:pt x="119" y="455"/>
                    </a:lnTo>
                    <a:lnTo>
                      <a:pt x="119" y="456"/>
                    </a:lnTo>
                    <a:lnTo>
                      <a:pt x="119" y="458"/>
                    </a:lnTo>
                    <a:lnTo>
                      <a:pt x="119" y="460"/>
                    </a:lnTo>
                    <a:lnTo>
                      <a:pt x="119" y="461"/>
                    </a:lnTo>
                    <a:lnTo>
                      <a:pt x="119" y="463"/>
                    </a:lnTo>
                    <a:lnTo>
                      <a:pt x="119" y="464"/>
                    </a:lnTo>
                    <a:lnTo>
                      <a:pt x="119" y="466"/>
                    </a:lnTo>
                    <a:lnTo>
                      <a:pt x="119" y="467"/>
                    </a:lnTo>
                    <a:lnTo>
                      <a:pt x="117" y="467"/>
                    </a:lnTo>
                    <a:lnTo>
                      <a:pt x="117" y="469"/>
                    </a:lnTo>
                    <a:lnTo>
                      <a:pt x="117" y="471"/>
                    </a:lnTo>
                    <a:lnTo>
                      <a:pt x="117" y="472"/>
                    </a:lnTo>
                    <a:lnTo>
                      <a:pt x="117" y="474"/>
                    </a:lnTo>
                    <a:lnTo>
                      <a:pt x="119" y="474"/>
                    </a:lnTo>
                    <a:lnTo>
                      <a:pt x="119" y="475"/>
                    </a:lnTo>
                    <a:lnTo>
                      <a:pt x="119" y="477"/>
                    </a:lnTo>
                    <a:lnTo>
                      <a:pt x="119" y="479"/>
                    </a:lnTo>
                    <a:lnTo>
                      <a:pt x="121" y="479"/>
                    </a:lnTo>
                    <a:lnTo>
                      <a:pt x="121" y="480"/>
                    </a:lnTo>
                    <a:lnTo>
                      <a:pt x="122" y="480"/>
                    </a:lnTo>
                    <a:lnTo>
                      <a:pt x="122" y="482"/>
                    </a:lnTo>
                    <a:lnTo>
                      <a:pt x="122" y="483"/>
                    </a:lnTo>
                    <a:lnTo>
                      <a:pt x="124" y="483"/>
                    </a:lnTo>
                    <a:lnTo>
                      <a:pt x="125" y="485"/>
                    </a:lnTo>
                    <a:lnTo>
                      <a:pt x="125" y="486"/>
                    </a:lnTo>
                    <a:lnTo>
                      <a:pt x="124" y="486"/>
                    </a:lnTo>
                    <a:lnTo>
                      <a:pt x="125" y="488"/>
                    </a:lnTo>
                    <a:lnTo>
                      <a:pt x="125" y="490"/>
                    </a:lnTo>
                    <a:lnTo>
                      <a:pt x="125" y="491"/>
                    </a:lnTo>
                    <a:lnTo>
                      <a:pt x="125" y="493"/>
                    </a:lnTo>
                    <a:lnTo>
                      <a:pt x="127" y="494"/>
                    </a:lnTo>
                    <a:lnTo>
                      <a:pt x="127" y="496"/>
                    </a:lnTo>
                    <a:lnTo>
                      <a:pt x="128" y="496"/>
                    </a:lnTo>
                    <a:lnTo>
                      <a:pt x="128" y="498"/>
                    </a:lnTo>
                    <a:lnTo>
                      <a:pt x="130" y="498"/>
                    </a:lnTo>
                    <a:lnTo>
                      <a:pt x="130" y="499"/>
                    </a:lnTo>
                    <a:lnTo>
                      <a:pt x="130" y="501"/>
                    </a:lnTo>
                    <a:lnTo>
                      <a:pt x="128" y="501"/>
                    </a:lnTo>
                    <a:lnTo>
                      <a:pt x="128" y="502"/>
                    </a:lnTo>
                    <a:lnTo>
                      <a:pt x="128" y="504"/>
                    </a:lnTo>
                    <a:lnTo>
                      <a:pt x="130" y="504"/>
                    </a:lnTo>
                    <a:lnTo>
                      <a:pt x="130" y="505"/>
                    </a:lnTo>
                    <a:lnTo>
                      <a:pt x="130" y="507"/>
                    </a:lnTo>
                    <a:lnTo>
                      <a:pt x="128" y="507"/>
                    </a:lnTo>
                    <a:lnTo>
                      <a:pt x="130" y="509"/>
                    </a:lnTo>
                    <a:lnTo>
                      <a:pt x="130" y="510"/>
                    </a:lnTo>
                    <a:lnTo>
                      <a:pt x="130" y="512"/>
                    </a:lnTo>
                    <a:lnTo>
                      <a:pt x="132" y="512"/>
                    </a:lnTo>
                    <a:lnTo>
                      <a:pt x="132" y="513"/>
                    </a:lnTo>
                    <a:lnTo>
                      <a:pt x="132" y="515"/>
                    </a:lnTo>
                    <a:lnTo>
                      <a:pt x="133" y="517"/>
                    </a:lnTo>
                    <a:lnTo>
                      <a:pt x="133" y="518"/>
                    </a:lnTo>
                    <a:lnTo>
                      <a:pt x="133" y="520"/>
                    </a:lnTo>
                    <a:lnTo>
                      <a:pt x="133" y="521"/>
                    </a:lnTo>
                    <a:lnTo>
                      <a:pt x="135" y="521"/>
                    </a:lnTo>
                    <a:lnTo>
                      <a:pt x="136" y="521"/>
                    </a:lnTo>
                    <a:lnTo>
                      <a:pt x="136" y="523"/>
                    </a:lnTo>
                    <a:lnTo>
                      <a:pt x="138" y="524"/>
                    </a:lnTo>
                    <a:lnTo>
                      <a:pt x="138" y="526"/>
                    </a:lnTo>
                    <a:lnTo>
                      <a:pt x="138" y="528"/>
                    </a:lnTo>
                    <a:lnTo>
                      <a:pt x="140" y="529"/>
                    </a:lnTo>
                    <a:lnTo>
                      <a:pt x="141" y="531"/>
                    </a:lnTo>
                    <a:lnTo>
                      <a:pt x="143" y="531"/>
                    </a:lnTo>
                    <a:lnTo>
                      <a:pt x="143" y="532"/>
                    </a:lnTo>
                    <a:lnTo>
                      <a:pt x="144" y="532"/>
                    </a:lnTo>
                    <a:lnTo>
                      <a:pt x="146" y="534"/>
                    </a:lnTo>
                    <a:lnTo>
                      <a:pt x="147" y="536"/>
                    </a:lnTo>
                    <a:lnTo>
                      <a:pt x="149" y="536"/>
                    </a:lnTo>
                    <a:lnTo>
                      <a:pt x="149" y="537"/>
                    </a:lnTo>
                    <a:lnTo>
                      <a:pt x="149" y="539"/>
                    </a:lnTo>
                    <a:lnTo>
                      <a:pt x="151" y="539"/>
                    </a:lnTo>
                    <a:lnTo>
                      <a:pt x="151" y="540"/>
                    </a:lnTo>
                    <a:lnTo>
                      <a:pt x="152" y="542"/>
                    </a:lnTo>
                    <a:lnTo>
                      <a:pt x="152" y="544"/>
                    </a:lnTo>
                    <a:lnTo>
                      <a:pt x="152" y="545"/>
                    </a:lnTo>
                    <a:lnTo>
                      <a:pt x="152" y="547"/>
                    </a:lnTo>
                    <a:lnTo>
                      <a:pt x="152" y="548"/>
                    </a:lnTo>
                    <a:lnTo>
                      <a:pt x="152" y="550"/>
                    </a:lnTo>
                    <a:lnTo>
                      <a:pt x="152" y="551"/>
                    </a:lnTo>
                    <a:lnTo>
                      <a:pt x="154" y="551"/>
                    </a:lnTo>
                    <a:lnTo>
                      <a:pt x="154" y="553"/>
                    </a:lnTo>
                    <a:lnTo>
                      <a:pt x="155" y="555"/>
                    </a:lnTo>
                    <a:lnTo>
                      <a:pt x="155" y="556"/>
                    </a:lnTo>
                    <a:lnTo>
                      <a:pt x="157" y="556"/>
                    </a:lnTo>
                    <a:lnTo>
                      <a:pt x="157" y="558"/>
                    </a:lnTo>
                    <a:lnTo>
                      <a:pt x="159" y="558"/>
                    </a:lnTo>
                    <a:lnTo>
                      <a:pt x="160" y="559"/>
                    </a:lnTo>
                    <a:lnTo>
                      <a:pt x="162" y="561"/>
                    </a:lnTo>
                    <a:lnTo>
                      <a:pt x="163" y="561"/>
                    </a:lnTo>
                    <a:lnTo>
                      <a:pt x="165" y="561"/>
                    </a:lnTo>
                    <a:lnTo>
                      <a:pt x="165" y="563"/>
                    </a:lnTo>
                    <a:lnTo>
                      <a:pt x="166" y="563"/>
                    </a:lnTo>
                    <a:lnTo>
                      <a:pt x="168" y="564"/>
                    </a:lnTo>
                    <a:lnTo>
                      <a:pt x="168" y="566"/>
                    </a:lnTo>
                    <a:lnTo>
                      <a:pt x="168" y="567"/>
                    </a:lnTo>
                    <a:lnTo>
                      <a:pt x="170" y="569"/>
                    </a:lnTo>
                    <a:lnTo>
                      <a:pt x="171" y="569"/>
                    </a:lnTo>
                    <a:lnTo>
                      <a:pt x="173" y="569"/>
                    </a:lnTo>
                    <a:lnTo>
                      <a:pt x="174" y="569"/>
                    </a:lnTo>
                    <a:lnTo>
                      <a:pt x="176" y="569"/>
                    </a:lnTo>
                    <a:lnTo>
                      <a:pt x="178" y="570"/>
                    </a:lnTo>
                    <a:lnTo>
                      <a:pt x="176" y="572"/>
                    </a:lnTo>
                    <a:lnTo>
                      <a:pt x="176" y="574"/>
                    </a:lnTo>
                    <a:lnTo>
                      <a:pt x="176" y="575"/>
                    </a:lnTo>
                    <a:lnTo>
                      <a:pt x="174" y="575"/>
                    </a:lnTo>
                    <a:lnTo>
                      <a:pt x="174" y="577"/>
                    </a:lnTo>
                    <a:lnTo>
                      <a:pt x="174" y="578"/>
                    </a:lnTo>
                    <a:lnTo>
                      <a:pt x="174" y="580"/>
                    </a:lnTo>
                    <a:lnTo>
                      <a:pt x="176" y="582"/>
                    </a:lnTo>
                    <a:lnTo>
                      <a:pt x="178" y="583"/>
                    </a:lnTo>
                    <a:lnTo>
                      <a:pt x="178" y="585"/>
                    </a:lnTo>
                    <a:lnTo>
                      <a:pt x="179" y="585"/>
                    </a:lnTo>
                    <a:lnTo>
                      <a:pt x="179" y="586"/>
                    </a:lnTo>
                    <a:lnTo>
                      <a:pt x="181" y="588"/>
                    </a:lnTo>
                    <a:lnTo>
                      <a:pt x="182" y="589"/>
                    </a:lnTo>
                    <a:lnTo>
                      <a:pt x="182" y="591"/>
                    </a:lnTo>
                    <a:lnTo>
                      <a:pt x="184" y="591"/>
                    </a:lnTo>
                    <a:lnTo>
                      <a:pt x="184" y="593"/>
                    </a:lnTo>
                    <a:lnTo>
                      <a:pt x="185" y="593"/>
                    </a:lnTo>
                    <a:lnTo>
                      <a:pt x="185" y="594"/>
                    </a:lnTo>
                    <a:lnTo>
                      <a:pt x="187" y="596"/>
                    </a:lnTo>
                    <a:lnTo>
                      <a:pt x="187" y="597"/>
                    </a:lnTo>
                    <a:lnTo>
                      <a:pt x="189" y="597"/>
                    </a:lnTo>
                    <a:lnTo>
                      <a:pt x="189" y="599"/>
                    </a:lnTo>
                    <a:lnTo>
                      <a:pt x="190" y="599"/>
                    </a:lnTo>
                    <a:lnTo>
                      <a:pt x="190" y="601"/>
                    </a:lnTo>
                    <a:lnTo>
                      <a:pt x="192" y="602"/>
                    </a:lnTo>
                    <a:lnTo>
                      <a:pt x="192" y="604"/>
                    </a:lnTo>
                    <a:lnTo>
                      <a:pt x="193" y="604"/>
                    </a:lnTo>
                    <a:lnTo>
                      <a:pt x="193" y="605"/>
                    </a:lnTo>
                    <a:lnTo>
                      <a:pt x="195" y="605"/>
                    </a:lnTo>
                    <a:lnTo>
                      <a:pt x="195" y="607"/>
                    </a:lnTo>
                    <a:lnTo>
                      <a:pt x="197" y="607"/>
                    </a:lnTo>
                    <a:lnTo>
                      <a:pt x="197" y="608"/>
                    </a:lnTo>
                    <a:lnTo>
                      <a:pt x="198" y="608"/>
                    </a:lnTo>
                    <a:lnTo>
                      <a:pt x="200" y="610"/>
                    </a:lnTo>
                    <a:lnTo>
                      <a:pt x="200" y="612"/>
                    </a:lnTo>
                    <a:lnTo>
                      <a:pt x="201" y="612"/>
                    </a:lnTo>
                    <a:lnTo>
                      <a:pt x="200" y="612"/>
                    </a:lnTo>
                    <a:lnTo>
                      <a:pt x="200" y="613"/>
                    </a:lnTo>
                    <a:lnTo>
                      <a:pt x="200" y="615"/>
                    </a:lnTo>
                    <a:lnTo>
                      <a:pt x="198" y="615"/>
                    </a:lnTo>
                    <a:lnTo>
                      <a:pt x="198" y="616"/>
                    </a:lnTo>
                    <a:lnTo>
                      <a:pt x="198" y="618"/>
                    </a:lnTo>
                    <a:lnTo>
                      <a:pt x="198" y="620"/>
                    </a:lnTo>
                    <a:lnTo>
                      <a:pt x="197" y="620"/>
                    </a:lnTo>
                    <a:lnTo>
                      <a:pt x="195" y="621"/>
                    </a:lnTo>
                    <a:lnTo>
                      <a:pt x="195" y="623"/>
                    </a:lnTo>
                    <a:lnTo>
                      <a:pt x="193" y="623"/>
                    </a:lnTo>
                    <a:lnTo>
                      <a:pt x="192" y="624"/>
                    </a:lnTo>
                    <a:lnTo>
                      <a:pt x="190" y="624"/>
                    </a:lnTo>
                    <a:lnTo>
                      <a:pt x="190" y="626"/>
                    </a:lnTo>
                    <a:lnTo>
                      <a:pt x="189" y="626"/>
                    </a:lnTo>
                    <a:lnTo>
                      <a:pt x="189" y="627"/>
                    </a:lnTo>
                    <a:lnTo>
                      <a:pt x="187" y="627"/>
                    </a:lnTo>
                    <a:lnTo>
                      <a:pt x="185" y="627"/>
                    </a:lnTo>
                    <a:lnTo>
                      <a:pt x="184" y="627"/>
                    </a:lnTo>
                    <a:lnTo>
                      <a:pt x="184" y="629"/>
                    </a:lnTo>
                    <a:lnTo>
                      <a:pt x="184" y="631"/>
                    </a:lnTo>
                    <a:lnTo>
                      <a:pt x="182" y="631"/>
                    </a:lnTo>
                    <a:lnTo>
                      <a:pt x="182" y="632"/>
                    </a:lnTo>
                    <a:lnTo>
                      <a:pt x="181" y="632"/>
                    </a:lnTo>
                    <a:lnTo>
                      <a:pt x="181" y="634"/>
                    </a:lnTo>
                    <a:lnTo>
                      <a:pt x="179" y="634"/>
                    </a:lnTo>
                    <a:lnTo>
                      <a:pt x="179" y="635"/>
                    </a:lnTo>
                    <a:lnTo>
                      <a:pt x="179" y="637"/>
                    </a:lnTo>
                    <a:lnTo>
                      <a:pt x="179" y="639"/>
                    </a:lnTo>
                    <a:lnTo>
                      <a:pt x="179" y="640"/>
                    </a:lnTo>
                    <a:lnTo>
                      <a:pt x="181" y="642"/>
                    </a:lnTo>
                    <a:lnTo>
                      <a:pt x="181" y="643"/>
                    </a:lnTo>
                    <a:lnTo>
                      <a:pt x="179" y="643"/>
                    </a:lnTo>
                    <a:lnTo>
                      <a:pt x="181" y="643"/>
                    </a:lnTo>
                    <a:lnTo>
                      <a:pt x="181" y="645"/>
                    </a:lnTo>
                    <a:lnTo>
                      <a:pt x="181" y="646"/>
                    </a:lnTo>
                    <a:lnTo>
                      <a:pt x="181" y="648"/>
                    </a:lnTo>
                    <a:lnTo>
                      <a:pt x="181" y="650"/>
                    </a:lnTo>
                    <a:lnTo>
                      <a:pt x="181" y="651"/>
                    </a:lnTo>
                    <a:lnTo>
                      <a:pt x="181" y="653"/>
                    </a:lnTo>
                    <a:lnTo>
                      <a:pt x="182" y="654"/>
                    </a:lnTo>
                    <a:lnTo>
                      <a:pt x="182" y="656"/>
                    </a:lnTo>
                    <a:lnTo>
                      <a:pt x="181" y="656"/>
                    </a:lnTo>
                    <a:lnTo>
                      <a:pt x="181" y="658"/>
                    </a:lnTo>
                    <a:lnTo>
                      <a:pt x="179" y="658"/>
                    </a:lnTo>
                    <a:lnTo>
                      <a:pt x="178" y="658"/>
                    </a:lnTo>
                    <a:lnTo>
                      <a:pt x="176" y="658"/>
                    </a:lnTo>
                    <a:lnTo>
                      <a:pt x="174" y="658"/>
                    </a:lnTo>
                    <a:lnTo>
                      <a:pt x="173" y="658"/>
                    </a:lnTo>
                    <a:lnTo>
                      <a:pt x="173" y="659"/>
                    </a:lnTo>
                    <a:lnTo>
                      <a:pt x="171" y="659"/>
                    </a:lnTo>
                    <a:lnTo>
                      <a:pt x="171" y="661"/>
                    </a:lnTo>
                    <a:lnTo>
                      <a:pt x="171" y="662"/>
                    </a:lnTo>
                    <a:lnTo>
                      <a:pt x="171" y="664"/>
                    </a:lnTo>
                    <a:lnTo>
                      <a:pt x="171" y="665"/>
                    </a:lnTo>
                    <a:lnTo>
                      <a:pt x="170" y="667"/>
                    </a:lnTo>
                    <a:lnTo>
                      <a:pt x="170" y="669"/>
                    </a:lnTo>
                    <a:lnTo>
                      <a:pt x="168" y="670"/>
                    </a:lnTo>
                    <a:lnTo>
                      <a:pt x="168" y="672"/>
                    </a:lnTo>
                    <a:lnTo>
                      <a:pt x="166" y="673"/>
                    </a:lnTo>
                    <a:lnTo>
                      <a:pt x="166" y="675"/>
                    </a:lnTo>
                    <a:lnTo>
                      <a:pt x="166" y="677"/>
                    </a:lnTo>
                    <a:lnTo>
                      <a:pt x="165" y="678"/>
                    </a:lnTo>
                    <a:lnTo>
                      <a:pt x="165" y="680"/>
                    </a:lnTo>
                    <a:lnTo>
                      <a:pt x="163" y="680"/>
                    </a:lnTo>
                    <a:lnTo>
                      <a:pt x="163" y="681"/>
                    </a:lnTo>
                    <a:lnTo>
                      <a:pt x="162" y="681"/>
                    </a:lnTo>
                    <a:lnTo>
                      <a:pt x="162" y="683"/>
                    </a:lnTo>
                    <a:lnTo>
                      <a:pt x="162" y="684"/>
                    </a:lnTo>
                    <a:lnTo>
                      <a:pt x="160" y="684"/>
                    </a:lnTo>
                    <a:lnTo>
                      <a:pt x="160" y="686"/>
                    </a:lnTo>
                    <a:lnTo>
                      <a:pt x="159" y="688"/>
                    </a:lnTo>
                    <a:lnTo>
                      <a:pt x="159" y="689"/>
                    </a:lnTo>
                    <a:lnTo>
                      <a:pt x="159" y="691"/>
                    </a:lnTo>
                    <a:lnTo>
                      <a:pt x="159" y="692"/>
                    </a:lnTo>
                    <a:lnTo>
                      <a:pt x="159" y="694"/>
                    </a:lnTo>
                    <a:lnTo>
                      <a:pt x="159" y="696"/>
                    </a:lnTo>
                    <a:lnTo>
                      <a:pt x="159" y="697"/>
                    </a:lnTo>
                    <a:lnTo>
                      <a:pt x="157" y="699"/>
                    </a:lnTo>
                    <a:lnTo>
                      <a:pt x="157" y="700"/>
                    </a:lnTo>
                    <a:lnTo>
                      <a:pt x="157" y="702"/>
                    </a:lnTo>
                    <a:lnTo>
                      <a:pt x="157" y="703"/>
                    </a:lnTo>
                    <a:lnTo>
                      <a:pt x="157" y="705"/>
                    </a:lnTo>
                    <a:lnTo>
                      <a:pt x="157" y="707"/>
                    </a:lnTo>
                    <a:lnTo>
                      <a:pt x="157" y="708"/>
                    </a:lnTo>
                    <a:lnTo>
                      <a:pt x="157" y="710"/>
                    </a:lnTo>
                    <a:lnTo>
                      <a:pt x="157" y="711"/>
                    </a:lnTo>
                    <a:lnTo>
                      <a:pt x="157" y="713"/>
                    </a:lnTo>
                    <a:lnTo>
                      <a:pt x="159" y="713"/>
                    </a:lnTo>
                    <a:lnTo>
                      <a:pt x="159" y="715"/>
                    </a:lnTo>
                    <a:lnTo>
                      <a:pt x="159" y="716"/>
                    </a:lnTo>
                    <a:lnTo>
                      <a:pt x="159" y="718"/>
                    </a:lnTo>
                    <a:lnTo>
                      <a:pt x="159" y="719"/>
                    </a:lnTo>
                    <a:lnTo>
                      <a:pt x="159" y="721"/>
                    </a:lnTo>
                    <a:lnTo>
                      <a:pt x="159" y="723"/>
                    </a:lnTo>
                    <a:lnTo>
                      <a:pt x="159" y="724"/>
                    </a:lnTo>
                    <a:lnTo>
                      <a:pt x="159" y="726"/>
                    </a:lnTo>
                    <a:lnTo>
                      <a:pt x="157" y="726"/>
                    </a:lnTo>
                    <a:lnTo>
                      <a:pt x="157" y="727"/>
                    </a:lnTo>
                    <a:lnTo>
                      <a:pt x="157" y="729"/>
                    </a:lnTo>
                    <a:lnTo>
                      <a:pt x="157" y="730"/>
                    </a:lnTo>
                    <a:lnTo>
                      <a:pt x="157" y="732"/>
                    </a:lnTo>
                    <a:lnTo>
                      <a:pt x="157" y="734"/>
                    </a:lnTo>
                    <a:lnTo>
                      <a:pt x="157" y="735"/>
                    </a:lnTo>
                    <a:lnTo>
                      <a:pt x="155" y="735"/>
                    </a:lnTo>
                    <a:lnTo>
                      <a:pt x="155" y="737"/>
                    </a:lnTo>
                    <a:lnTo>
                      <a:pt x="155" y="738"/>
                    </a:lnTo>
                    <a:lnTo>
                      <a:pt x="155" y="740"/>
                    </a:lnTo>
                    <a:lnTo>
                      <a:pt x="155" y="742"/>
                    </a:lnTo>
                    <a:lnTo>
                      <a:pt x="154" y="742"/>
                    </a:lnTo>
                    <a:lnTo>
                      <a:pt x="154" y="743"/>
                    </a:lnTo>
                    <a:lnTo>
                      <a:pt x="154" y="745"/>
                    </a:lnTo>
                    <a:lnTo>
                      <a:pt x="154" y="746"/>
                    </a:lnTo>
                    <a:lnTo>
                      <a:pt x="154" y="748"/>
                    </a:lnTo>
                    <a:lnTo>
                      <a:pt x="154" y="749"/>
                    </a:lnTo>
                    <a:lnTo>
                      <a:pt x="152" y="749"/>
                    </a:lnTo>
                    <a:lnTo>
                      <a:pt x="152" y="751"/>
                    </a:lnTo>
                    <a:lnTo>
                      <a:pt x="152" y="753"/>
                    </a:lnTo>
                    <a:lnTo>
                      <a:pt x="152" y="754"/>
                    </a:lnTo>
                    <a:lnTo>
                      <a:pt x="152" y="756"/>
                    </a:lnTo>
                    <a:lnTo>
                      <a:pt x="152" y="757"/>
                    </a:lnTo>
                    <a:lnTo>
                      <a:pt x="152" y="759"/>
                    </a:lnTo>
                    <a:lnTo>
                      <a:pt x="151" y="759"/>
                    </a:lnTo>
                    <a:lnTo>
                      <a:pt x="151" y="761"/>
                    </a:lnTo>
                    <a:lnTo>
                      <a:pt x="151" y="762"/>
                    </a:lnTo>
                    <a:lnTo>
                      <a:pt x="151" y="764"/>
                    </a:lnTo>
                    <a:lnTo>
                      <a:pt x="151" y="765"/>
                    </a:lnTo>
                    <a:lnTo>
                      <a:pt x="149" y="765"/>
                    </a:lnTo>
                    <a:lnTo>
                      <a:pt x="149" y="767"/>
                    </a:lnTo>
                    <a:lnTo>
                      <a:pt x="149" y="768"/>
                    </a:lnTo>
                    <a:lnTo>
                      <a:pt x="149" y="770"/>
                    </a:lnTo>
                    <a:lnTo>
                      <a:pt x="149" y="772"/>
                    </a:lnTo>
                    <a:lnTo>
                      <a:pt x="147" y="773"/>
                    </a:lnTo>
                    <a:lnTo>
                      <a:pt x="147" y="775"/>
                    </a:lnTo>
                    <a:lnTo>
                      <a:pt x="147" y="776"/>
                    </a:lnTo>
                    <a:lnTo>
                      <a:pt x="147" y="778"/>
                    </a:lnTo>
                    <a:lnTo>
                      <a:pt x="147" y="780"/>
                    </a:lnTo>
                    <a:lnTo>
                      <a:pt x="147" y="781"/>
                    </a:lnTo>
                    <a:lnTo>
                      <a:pt x="146" y="781"/>
                    </a:lnTo>
                    <a:lnTo>
                      <a:pt x="146" y="783"/>
                    </a:lnTo>
                    <a:lnTo>
                      <a:pt x="146" y="784"/>
                    </a:lnTo>
                    <a:lnTo>
                      <a:pt x="147" y="784"/>
                    </a:lnTo>
                    <a:lnTo>
                      <a:pt x="147" y="786"/>
                    </a:lnTo>
                    <a:lnTo>
                      <a:pt x="147" y="787"/>
                    </a:lnTo>
                    <a:lnTo>
                      <a:pt x="147" y="789"/>
                    </a:lnTo>
                    <a:lnTo>
                      <a:pt x="149" y="789"/>
                    </a:lnTo>
                    <a:lnTo>
                      <a:pt x="149" y="791"/>
                    </a:lnTo>
                    <a:lnTo>
                      <a:pt x="149" y="792"/>
                    </a:lnTo>
                    <a:lnTo>
                      <a:pt x="151" y="792"/>
                    </a:lnTo>
                    <a:lnTo>
                      <a:pt x="151" y="794"/>
                    </a:lnTo>
                    <a:lnTo>
                      <a:pt x="152" y="794"/>
                    </a:lnTo>
                    <a:lnTo>
                      <a:pt x="152" y="795"/>
                    </a:lnTo>
                    <a:lnTo>
                      <a:pt x="154" y="795"/>
                    </a:lnTo>
                    <a:lnTo>
                      <a:pt x="154" y="797"/>
                    </a:lnTo>
                    <a:lnTo>
                      <a:pt x="155" y="797"/>
                    </a:lnTo>
                    <a:lnTo>
                      <a:pt x="155" y="799"/>
                    </a:lnTo>
                    <a:lnTo>
                      <a:pt x="157" y="799"/>
                    </a:lnTo>
                    <a:lnTo>
                      <a:pt x="157" y="800"/>
                    </a:lnTo>
                    <a:lnTo>
                      <a:pt x="159" y="802"/>
                    </a:lnTo>
                    <a:lnTo>
                      <a:pt x="159" y="803"/>
                    </a:lnTo>
                    <a:lnTo>
                      <a:pt x="160" y="805"/>
                    </a:lnTo>
                    <a:lnTo>
                      <a:pt x="160" y="806"/>
                    </a:lnTo>
                    <a:lnTo>
                      <a:pt x="160" y="808"/>
                    </a:lnTo>
                    <a:lnTo>
                      <a:pt x="162" y="810"/>
                    </a:lnTo>
                    <a:lnTo>
                      <a:pt x="162" y="811"/>
                    </a:lnTo>
                    <a:lnTo>
                      <a:pt x="162" y="813"/>
                    </a:lnTo>
                    <a:lnTo>
                      <a:pt x="162" y="814"/>
                    </a:lnTo>
                    <a:lnTo>
                      <a:pt x="162" y="816"/>
                    </a:lnTo>
                    <a:lnTo>
                      <a:pt x="162" y="818"/>
                    </a:lnTo>
                    <a:lnTo>
                      <a:pt x="162" y="819"/>
                    </a:lnTo>
                    <a:lnTo>
                      <a:pt x="162" y="821"/>
                    </a:lnTo>
                    <a:lnTo>
                      <a:pt x="162" y="822"/>
                    </a:lnTo>
                    <a:lnTo>
                      <a:pt x="162" y="824"/>
                    </a:lnTo>
                    <a:lnTo>
                      <a:pt x="163" y="825"/>
                    </a:lnTo>
                    <a:lnTo>
                      <a:pt x="163" y="827"/>
                    </a:lnTo>
                    <a:lnTo>
                      <a:pt x="165" y="827"/>
                    </a:lnTo>
                    <a:lnTo>
                      <a:pt x="165" y="829"/>
                    </a:lnTo>
                    <a:lnTo>
                      <a:pt x="166" y="830"/>
                    </a:lnTo>
                    <a:lnTo>
                      <a:pt x="165" y="830"/>
                    </a:lnTo>
                    <a:lnTo>
                      <a:pt x="163" y="832"/>
                    </a:lnTo>
                    <a:lnTo>
                      <a:pt x="162" y="832"/>
                    </a:lnTo>
                    <a:lnTo>
                      <a:pt x="160" y="833"/>
                    </a:lnTo>
                    <a:lnTo>
                      <a:pt x="159" y="833"/>
                    </a:lnTo>
                    <a:lnTo>
                      <a:pt x="157" y="835"/>
                    </a:lnTo>
                    <a:lnTo>
                      <a:pt x="155" y="837"/>
                    </a:lnTo>
                    <a:lnTo>
                      <a:pt x="155" y="838"/>
                    </a:lnTo>
                    <a:lnTo>
                      <a:pt x="154" y="838"/>
                    </a:lnTo>
                    <a:lnTo>
                      <a:pt x="154" y="840"/>
                    </a:lnTo>
                    <a:lnTo>
                      <a:pt x="154" y="841"/>
                    </a:lnTo>
                    <a:lnTo>
                      <a:pt x="154" y="843"/>
                    </a:lnTo>
                    <a:lnTo>
                      <a:pt x="152" y="843"/>
                    </a:lnTo>
                    <a:lnTo>
                      <a:pt x="152" y="844"/>
                    </a:lnTo>
                    <a:lnTo>
                      <a:pt x="152" y="846"/>
                    </a:lnTo>
                    <a:lnTo>
                      <a:pt x="152" y="848"/>
                    </a:lnTo>
                    <a:lnTo>
                      <a:pt x="152" y="849"/>
                    </a:lnTo>
                    <a:lnTo>
                      <a:pt x="154" y="849"/>
                    </a:lnTo>
                    <a:lnTo>
                      <a:pt x="154" y="851"/>
                    </a:lnTo>
                    <a:lnTo>
                      <a:pt x="154" y="852"/>
                    </a:lnTo>
                    <a:lnTo>
                      <a:pt x="152" y="852"/>
                    </a:lnTo>
                    <a:lnTo>
                      <a:pt x="152" y="854"/>
                    </a:lnTo>
                    <a:lnTo>
                      <a:pt x="154" y="854"/>
                    </a:lnTo>
                    <a:lnTo>
                      <a:pt x="154" y="856"/>
                    </a:lnTo>
                    <a:lnTo>
                      <a:pt x="154" y="857"/>
                    </a:lnTo>
                    <a:lnTo>
                      <a:pt x="154" y="859"/>
                    </a:lnTo>
                    <a:lnTo>
                      <a:pt x="154" y="860"/>
                    </a:lnTo>
                    <a:lnTo>
                      <a:pt x="154" y="862"/>
                    </a:lnTo>
                    <a:lnTo>
                      <a:pt x="154" y="863"/>
                    </a:lnTo>
                    <a:lnTo>
                      <a:pt x="154" y="865"/>
                    </a:lnTo>
                    <a:lnTo>
                      <a:pt x="154" y="867"/>
                    </a:lnTo>
                    <a:lnTo>
                      <a:pt x="154" y="868"/>
                    </a:lnTo>
                    <a:lnTo>
                      <a:pt x="154" y="870"/>
                    </a:lnTo>
                    <a:lnTo>
                      <a:pt x="154" y="871"/>
                    </a:lnTo>
                    <a:lnTo>
                      <a:pt x="154" y="873"/>
                    </a:lnTo>
                    <a:lnTo>
                      <a:pt x="154" y="875"/>
                    </a:lnTo>
                    <a:lnTo>
                      <a:pt x="155" y="875"/>
                    </a:lnTo>
                    <a:lnTo>
                      <a:pt x="155" y="876"/>
                    </a:lnTo>
                    <a:lnTo>
                      <a:pt x="155" y="878"/>
                    </a:lnTo>
                    <a:lnTo>
                      <a:pt x="155" y="879"/>
                    </a:lnTo>
                    <a:lnTo>
                      <a:pt x="155" y="881"/>
                    </a:lnTo>
                    <a:lnTo>
                      <a:pt x="155" y="882"/>
                    </a:lnTo>
                    <a:lnTo>
                      <a:pt x="155" y="884"/>
                    </a:lnTo>
                    <a:lnTo>
                      <a:pt x="155" y="886"/>
                    </a:lnTo>
                    <a:lnTo>
                      <a:pt x="155" y="887"/>
                    </a:lnTo>
                    <a:lnTo>
                      <a:pt x="155" y="889"/>
                    </a:lnTo>
                    <a:lnTo>
                      <a:pt x="155" y="890"/>
                    </a:lnTo>
                    <a:lnTo>
                      <a:pt x="155" y="892"/>
                    </a:lnTo>
                    <a:lnTo>
                      <a:pt x="155" y="894"/>
                    </a:lnTo>
                    <a:lnTo>
                      <a:pt x="155" y="895"/>
                    </a:lnTo>
                    <a:lnTo>
                      <a:pt x="155" y="897"/>
                    </a:lnTo>
                    <a:lnTo>
                      <a:pt x="155" y="898"/>
                    </a:lnTo>
                    <a:lnTo>
                      <a:pt x="155" y="900"/>
                    </a:lnTo>
                    <a:lnTo>
                      <a:pt x="155" y="902"/>
                    </a:lnTo>
                    <a:lnTo>
                      <a:pt x="155" y="903"/>
                    </a:lnTo>
                    <a:lnTo>
                      <a:pt x="155" y="905"/>
                    </a:lnTo>
                    <a:lnTo>
                      <a:pt x="155" y="906"/>
                    </a:lnTo>
                    <a:lnTo>
                      <a:pt x="155" y="908"/>
                    </a:lnTo>
                    <a:lnTo>
                      <a:pt x="155" y="909"/>
                    </a:lnTo>
                    <a:lnTo>
                      <a:pt x="155" y="911"/>
                    </a:lnTo>
                    <a:lnTo>
                      <a:pt x="155" y="913"/>
                    </a:lnTo>
                    <a:lnTo>
                      <a:pt x="155" y="914"/>
                    </a:lnTo>
                    <a:lnTo>
                      <a:pt x="155" y="916"/>
                    </a:lnTo>
                    <a:lnTo>
                      <a:pt x="155" y="917"/>
                    </a:lnTo>
                    <a:lnTo>
                      <a:pt x="157" y="919"/>
                    </a:lnTo>
                    <a:lnTo>
                      <a:pt x="157" y="921"/>
                    </a:lnTo>
                    <a:lnTo>
                      <a:pt x="157" y="922"/>
                    </a:lnTo>
                    <a:lnTo>
                      <a:pt x="157" y="924"/>
                    </a:lnTo>
                    <a:lnTo>
                      <a:pt x="157" y="925"/>
                    </a:lnTo>
                    <a:lnTo>
                      <a:pt x="157" y="927"/>
                    </a:lnTo>
                    <a:lnTo>
                      <a:pt x="157" y="928"/>
                    </a:lnTo>
                    <a:lnTo>
                      <a:pt x="159" y="928"/>
                    </a:lnTo>
                    <a:lnTo>
                      <a:pt x="159" y="930"/>
                    </a:lnTo>
                    <a:lnTo>
                      <a:pt x="159" y="932"/>
                    </a:lnTo>
                    <a:lnTo>
                      <a:pt x="157" y="932"/>
                    </a:lnTo>
                    <a:lnTo>
                      <a:pt x="157" y="933"/>
                    </a:lnTo>
                    <a:lnTo>
                      <a:pt x="157" y="935"/>
                    </a:lnTo>
                    <a:lnTo>
                      <a:pt x="155" y="936"/>
                    </a:lnTo>
                    <a:lnTo>
                      <a:pt x="155" y="938"/>
                    </a:lnTo>
                    <a:lnTo>
                      <a:pt x="154" y="940"/>
                    </a:lnTo>
                    <a:lnTo>
                      <a:pt x="154" y="941"/>
                    </a:lnTo>
                    <a:lnTo>
                      <a:pt x="152" y="941"/>
                    </a:lnTo>
                    <a:lnTo>
                      <a:pt x="152" y="943"/>
                    </a:lnTo>
                    <a:lnTo>
                      <a:pt x="151" y="943"/>
                    </a:lnTo>
                    <a:lnTo>
                      <a:pt x="151" y="944"/>
                    </a:lnTo>
                    <a:lnTo>
                      <a:pt x="149" y="944"/>
                    </a:lnTo>
                    <a:lnTo>
                      <a:pt x="149" y="946"/>
                    </a:lnTo>
                    <a:lnTo>
                      <a:pt x="147" y="946"/>
                    </a:lnTo>
                    <a:lnTo>
                      <a:pt x="146" y="947"/>
                    </a:lnTo>
                    <a:lnTo>
                      <a:pt x="144" y="947"/>
                    </a:lnTo>
                    <a:lnTo>
                      <a:pt x="143" y="947"/>
                    </a:lnTo>
                    <a:lnTo>
                      <a:pt x="141" y="947"/>
                    </a:lnTo>
                    <a:lnTo>
                      <a:pt x="140" y="947"/>
                    </a:lnTo>
                    <a:lnTo>
                      <a:pt x="138" y="947"/>
                    </a:lnTo>
                    <a:lnTo>
                      <a:pt x="136" y="947"/>
                    </a:lnTo>
                    <a:lnTo>
                      <a:pt x="135" y="947"/>
                    </a:lnTo>
                    <a:lnTo>
                      <a:pt x="133" y="947"/>
                    </a:lnTo>
                    <a:lnTo>
                      <a:pt x="132" y="947"/>
                    </a:lnTo>
                    <a:lnTo>
                      <a:pt x="130" y="947"/>
                    </a:lnTo>
                    <a:lnTo>
                      <a:pt x="128" y="947"/>
                    </a:lnTo>
                    <a:lnTo>
                      <a:pt x="127" y="947"/>
                    </a:lnTo>
                    <a:lnTo>
                      <a:pt x="125" y="947"/>
                    </a:lnTo>
                    <a:lnTo>
                      <a:pt x="124" y="947"/>
                    </a:lnTo>
                    <a:lnTo>
                      <a:pt x="124" y="946"/>
                    </a:lnTo>
                    <a:lnTo>
                      <a:pt x="122" y="946"/>
                    </a:lnTo>
                    <a:lnTo>
                      <a:pt x="121" y="946"/>
                    </a:lnTo>
                    <a:lnTo>
                      <a:pt x="119" y="946"/>
                    </a:lnTo>
                    <a:lnTo>
                      <a:pt x="117" y="946"/>
                    </a:lnTo>
                    <a:lnTo>
                      <a:pt x="116" y="944"/>
                    </a:lnTo>
                    <a:lnTo>
                      <a:pt x="114" y="944"/>
                    </a:lnTo>
                    <a:lnTo>
                      <a:pt x="113" y="944"/>
                    </a:lnTo>
                    <a:lnTo>
                      <a:pt x="111" y="944"/>
                    </a:lnTo>
                    <a:lnTo>
                      <a:pt x="109" y="944"/>
                    </a:lnTo>
                    <a:lnTo>
                      <a:pt x="108" y="944"/>
                    </a:lnTo>
                    <a:lnTo>
                      <a:pt x="106" y="943"/>
                    </a:lnTo>
                    <a:lnTo>
                      <a:pt x="105" y="943"/>
                    </a:lnTo>
                    <a:lnTo>
                      <a:pt x="105" y="944"/>
                    </a:lnTo>
                    <a:lnTo>
                      <a:pt x="106" y="944"/>
                    </a:lnTo>
                    <a:lnTo>
                      <a:pt x="106" y="946"/>
                    </a:lnTo>
                    <a:lnTo>
                      <a:pt x="106" y="947"/>
                    </a:lnTo>
                    <a:lnTo>
                      <a:pt x="106" y="949"/>
                    </a:lnTo>
                    <a:lnTo>
                      <a:pt x="106" y="951"/>
                    </a:lnTo>
                    <a:lnTo>
                      <a:pt x="108" y="952"/>
                    </a:lnTo>
                    <a:lnTo>
                      <a:pt x="108" y="954"/>
                    </a:lnTo>
                    <a:lnTo>
                      <a:pt x="108" y="955"/>
                    </a:lnTo>
                    <a:lnTo>
                      <a:pt x="109" y="955"/>
                    </a:lnTo>
                    <a:lnTo>
                      <a:pt x="109" y="957"/>
                    </a:lnTo>
                    <a:lnTo>
                      <a:pt x="109" y="959"/>
                    </a:lnTo>
                    <a:lnTo>
                      <a:pt x="109" y="960"/>
                    </a:lnTo>
                    <a:lnTo>
                      <a:pt x="111" y="960"/>
                    </a:lnTo>
                    <a:lnTo>
                      <a:pt x="111" y="962"/>
                    </a:lnTo>
                    <a:lnTo>
                      <a:pt x="111" y="963"/>
                    </a:lnTo>
                    <a:lnTo>
                      <a:pt x="111" y="965"/>
                    </a:lnTo>
                    <a:lnTo>
                      <a:pt x="113" y="965"/>
                    </a:lnTo>
                    <a:lnTo>
                      <a:pt x="113" y="966"/>
                    </a:lnTo>
                    <a:lnTo>
                      <a:pt x="113" y="968"/>
                    </a:lnTo>
                    <a:lnTo>
                      <a:pt x="113" y="970"/>
                    </a:lnTo>
                    <a:lnTo>
                      <a:pt x="113" y="971"/>
                    </a:lnTo>
                    <a:lnTo>
                      <a:pt x="114" y="973"/>
                    </a:lnTo>
                    <a:lnTo>
                      <a:pt x="114" y="974"/>
                    </a:lnTo>
                    <a:lnTo>
                      <a:pt x="114" y="976"/>
                    </a:lnTo>
                    <a:lnTo>
                      <a:pt x="114" y="978"/>
                    </a:lnTo>
                    <a:lnTo>
                      <a:pt x="114" y="979"/>
                    </a:lnTo>
                    <a:lnTo>
                      <a:pt x="114" y="981"/>
                    </a:lnTo>
                    <a:lnTo>
                      <a:pt x="114" y="982"/>
                    </a:lnTo>
                    <a:lnTo>
                      <a:pt x="114" y="984"/>
                    </a:lnTo>
                    <a:lnTo>
                      <a:pt x="116" y="984"/>
                    </a:lnTo>
                    <a:lnTo>
                      <a:pt x="116" y="985"/>
                    </a:lnTo>
                    <a:lnTo>
                      <a:pt x="116" y="987"/>
                    </a:lnTo>
                    <a:lnTo>
                      <a:pt x="116" y="989"/>
                    </a:lnTo>
                    <a:lnTo>
                      <a:pt x="116" y="990"/>
                    </a:lnTo>
                    <a:lnTo>
                      <a:pt x="116" y="992"/>
                    </a:lnTo>
                    <a:lnTo>
                      <a:pt x="116" y="993"/>
                    </a:lnTo>
                    <a:lnTo>
                      <a:pt x="116" y="995"/>
                    </a:lnTo>
                    <a:lnTo>
                      <a:pt x="116" y="997"/>
                    </a:lnTo>
                    <a:lnTo>
                      <a:pt x="116" y="998"/>
                    </a:lnTo>
                    <a:lnTo>
                      <a:pt x="116" y="1000"/>
                    </a:lnTo>
                    <a:lnTo>
                      <a:pt x="116" y="1001"/>
                    </a:lnTo>
                    <a:lnTo>
                      <a:pt x="116" y="1003"/>
                    </a:lnTo>
                    <a:lnTo>
                      <a:pt x="116" y="1004"/>
                    </a:lnTo>
                    <a:lnTo>
                      <a:pt x="116" y="1006"/>
                    </a:lnTo>
                    <a:lnTo>
                      <a:pt x="114" y="1008"/>
                    </a:lnTo>
                    <a:lnTo>
                      <a:pt x="114" y="1009"/>
                    </a:lnTo>
                    <a:lnTo>
                      <a:pt x="114" y="1011"/>
                    </a:lnTo>
                    <a:lnTo>
                      <a:pt x="113" y="1011"/>
                    </a:lnTo>
                    <a:lnTo>
                      <a:pt x="111" y="1011"/>
                    </a:lnTo>
                    <a:lnTo>
                      <a:pt x="109" y="1009"/>
                    </a:lnTo>
                    <a:lnTo>
                      <a:pt x="108" y="1009"/>
                    </a:lnTo>
                    <a:lnTo>
                      <a:pt x="106" y="1009"/>
                    </a:lnTo>
                    <a:lnTo>
                      <a:pt x="106" y="1008"/>
                    </a:lnTo>
                    <a:lnTo>
                      <a:pt x="105" y="1008"/>
                    </a:lnTo>
                    <a:lnTo>
                      <a:pt x="105" y="1006"/>
                    </a:lnTo>
                    <a:lnTo>
                      <a:pt x="103" y="1006"/>
                    </a:lnTo>
                    <a:lnTo>
                      <a:pt x="102" y="1006"/>
                    </a:lnTo>
                    <a:lnTo>
                      <a:pt x="102" y="1004"/>
                    </a:lnTo>
                    <a:lnTo>
                      <a:pt x="100" y="1006"/>
                    </a:lnTo>
                    <a:lnTo>
                      <a:pt x="98" y="1006"/>
                    </a:lnTo>
                    <a:lnTo>
                      <a:pt x="97" y="1006"/>
                    </a:lnTo>
                    <a:lnTo>
                      <a:pt x="95" y="1006"/>
                    </a:lnTo>
                    <a:lnTo>
                      <a:pt x="94" y="1006"/>
                    </a:lnTo>
                    <a:lnTo>
                      <a:pt x="92" y="1006"/>
                    </a:lnTo>
                    <a:lnTo>
                      <a:pt x="90" y="1004"/>
                    </a:lnTo>
                    <a:lnTo>
                      <a:pt x="89" y="1004"/>
                    </a:lnTo>
                    <a:lnTo>
                      <a:pt x="87" y="1004"/>
                    </a:lnTo>
                    <a:lnTo>
                      <a:pt x="86" y="1004"/>
                    </a:lnTo>
                    <a:lnTo>
                      <a:pt x="84" y="1004"/>
                    </a:lnTo>
                    <a:lnTo>
                      <a:pt x="84" y="1006"/>
                    </a:lnTo>
                    <a:lnTo>
                      <a:pt x="83" y="1006"/>
                    </a:lnTo>
                    <a:lnTo>
                      <a:pt x="81" y="1006"/>
                    </a:lnTo>
                    <a:lnTo>
                      <a:pt x="79" y="1006"/>
                    </a:lnTo>
                    <a:lnTo>
                      <a:pt x="78" y="1006"/>
                    </a:lnTo>
                    <a:lnTo>
                      <a:pt x="78" y="1004"/>
                    </a:lnTo>
                    <a:lnTo>
                      <a:pt x="76" y="1004"/>
                    </a:lnTo>
                    <a:lnTo>
                      <a:pt x="75" y="1003"/>
                    </a:lnTo>
                    <a:lnTo>
                      <a:pt x="73" y="1003"/>
                    </a:lnTo>
                    <a:lnTo>
                      <a:pt x="73" y="1001"/>
                    </a:lnTo>
                    <a:lnTo>
                      <a:pt x="71" y="1001"/>
                    </a:lnTo>
                    <a:lnTo>
                      <a:pt x="70" y="1001"/>
                    </a:lnTo>
                    <a:lnTo>
                      <a:pt x="68" y="1001"/>
                    </a:lnTo>
                    <a:lnTo>
                      <a:pt x="67" y="1001"/>
                    </a:lnTo>
                    <a:lnTo>
                      <a:pt x="65" y="1000"/>
                    </a:lnTo>
                    <a:lnTo>
                      <a:pt x="65" y="1001"/>
                    </a:lnTo>
                    <a:lnTo>
                      <a:pt x="64" y="1001"/>
                    </a:lnTo>
                    <a:lnTo>
                      <a:pt x="62" y="1001"/>
                    </a:lnTo>
                    <a:lnTo>
                      <a:pt x="60" y="1003"/>
                    </a:lnTo>
                    <a:lnTo>
                      <a:pt x="60" y="1004"/>
                    </a:lnTo>
                    <a:lnTo>
                      <a:pt x="59" y="1006"/>
                    </a:lnTo>
                    <a:lnTo>
                      <a:pt x="57" y="1008"/>
                    </a:lnTo>
                    <a:lnTo>
                      <a:pt x="56" y="1008"/>
                    </a:lnTo>
                    <a:lnTo>
                      <a:pt x="56" y="1009"/>
                    </a:lnTo>
                    <a:lnTo>
                      <a:pt x="54" y="1009"/>
                    </a:lnTo>
                    <a:lnTo>
                      <a:pt x="54" y="1011"/>
                    </a:lnTo>
                    <a:lnTo>
                      <a:pt x="52" y="1011"/>
                    </a:lnTo>
                    <a:lnTo>
                      <a:pt x="51" y="1011"/>
                    </a:lnTo>
                    <a:lnTo>
                      <a:pt x="49" y="1011"/>
                    </a:lnTo>
                    <a:lnTo>
                      <a:pt x="48" y="1011"/>
                    </a:lnTo>
                    <a:lnTo>
                      <a:pt x="46" y="1011"/>
                    </a:lnTo>
                    <a:lnTo>
                      <a:pt x="46" y="1012"/>
                    </a:lnTo>
                    <a:lnTo>
                      <a:pt x="45" y="1012"/>
                    </a:lnTo>
                    <a:lnTo>
                      <a:pt x="45" y="1014"/>
                    </a:lnTo>
                    <a:lnTo>
                      <a:pt x="43" y="1014"/>
                    </a:lnTo>
                    <a:lnTo>
                      <a:pt x="43" y="1016"/>
                    </a:lnTo>
                    <a:lnTo>
                      <a:pt x="41" y="1016"/>
                    </a:lnTo>
                    <a:lnTo>
                      <a:pt x="41" y="1017"/>
                    </a:lnTo>
                    <a:lnTo>
                      <a:pt x="40" y="1017"/>
                    </a:lnTo>
                    <a:lnTo>
                      <a:pt x="38" y="1017"/>
                    </a:lnTo>
                    <a:lnTo>
                      <a:pt x="37" y="1017"/>
                    </a:lnTo>
                    <a:lnTo>
                      <a:pt x="35" y="1019"/>
                    </a:lnTo>
                    <a:lnTo>
                      <a:pt x="33" y="1020"/>
                    </a:lnTo>
                    <a:lnTo>
                      <a:pt x="32" y="1022"/>
                    </a:lnTo>
                    <a:lnTo>
                      <a:pt x="32" y="1023"/>
                    </a:lnTo>
                    <a:lnTo>
                      <a:pt x="30" y="1023"/>
                    </a:lnTo>
                    <a:lnTo>
                      <a:pt x="29" y="1023"/>
                    </a:lnTo>
                    <a:lnTo>
                      <a:pt x="27" y="1023"/>
                    </a:lnTo>
                    <a:lnTo>
                      <a:pt x="26" y="1025"/>
                    </a:lnTo>
                    <a:lnTo>
                      <a:pt x="24" y="1025"/>
                    </a:lnTo>
                    <a:lnTo>
                      <a:pt x="24" y="1027"/>
                    </a:lnTo>
                    <a:lnTo>
                      <a:pt x="22" y="1027"/>
                    </a:lnTo>
                    <a:lnTo>
                      <a:pt x="21" y="1028"/>
                    </a:lnTo>
                    <a:lnTo>
                      <a:pt x="19" y="1028"/>
                    </a:lnTo>
                    <a:lnTo>
                      <a:pt x="19" y="1030"/>
                    </a:lnTo>
                    <a:lnTo>
                      <a:pt x="18" y="1030"/>
                    </a:lnTo>
                    <a:lnTo>
                      <a:pt x="16" y="1030"/>
                    </a:lnTo>
                    <a:lnTo>
                      <a:pt x="16" y="1031"/>
                    </a:lnTo>
                    <a:lnTo>
                      <a:pt x="16" y="1033"/>
                    </a:lnTo>
                    <a:lnTo>
                      <a:pt x="14" y="1033"/>
                    </a:lnTo>
                    <a:lnTo>
                      <a:pt x="14" y="1035"/>
                    </a:lnTo>
                    <a:lnTo>
                      <a:pt x="13" y="1036"/>
                    </a:lnTo>
                    <a:lnTo>
                      <a:pt x="11" y="1038"/>
                    </a:lnTo>
                    <a:lnTo>
                      <a:pt x="11" y="1039"/>
                    </a:lnTo>
                    <a:lnTo>
                      <a:pt x="11" y="1041"/>
                    </a:lnTo>
                    <a:lnTo>
                      <a:pt x="11" y="1042"/>
                    </a:lnTo>
                    <a:lnTo>
                      <a:pt x="11" y="1044"/>
                    </a:lnTo>
                    <a:lnTo>
                      <a:pt x="11" y="1046"/>
                    </a:lnTo>
                    <a:lnTo>
                      <a:pt x="11" y="1047"/>
                    </a:lnTo>
                    <a:lnTo>
                      <a:pt x="10" y="1047"/>
                    </a:lnTo>
                    <a:lnTo>
                      <a:pt x="10" y="1049"/>
                    </a:lnTo>
                    <a:lnTo>
                      <a:pt x="10" y="1050"/>
                    </a:lnTo>
                    <a:lnTo>
                      <a:pt x="10" y="1052"/>
                    </a:lnTo>
                    <a:lnTo>
                      <a:pt x="10" y="1054"/>
                    </a:lnTo>
                    <a:lnTo>
                      <a:pt x="10" y="1055"/>
                    </a:lnTo>
                    <a:lnTo>
                      <a:pt x="10" y="1057"/>
                    </a:lnTo>
                    <a:lnTo>
                      <a:pt x="10" y="1058"/>
                    </a:lnTo>
                    <a:lnTo>
                      <a:pt x="10" y="1060"/>
                    </a:lnTo>
                    <a:lnTo>
                      <a:pt x="10" y="1061"/>
                    </a:lnTo>
                    <a:lnTo>
                      <a:pt x="10" y="1063"/>
                    </a:lnTo>
                    <a:lnTo>
                      <a:pt x="8" y="1063"/>
                    </a:lnTo>
                    <a:lnTo>
                      <a:pt x="8" y="1065"/>
                    </a:lnTo>
                    <a:lnTo>
                      <a:pt x="8" y="1066"/>
                    </a:lnTo>
                    <a:lnTo>
                      <a:pt x="8" y="1068"/>
                    </a:lnTo>
                    <a:lnTo>
                      <a:pt x="8" y="1069"/>
                    </a:lnTo>
                    <a:lnTo>
                      <a:pt x="8" y="1071"/>
                    </a:lnTo>
                    <a:lnTo>
                      <a:pt x="8" y="1073"/>
                    </a:lnTo>
                    <a:lnTo>
                      <a:pt x="8" y="1074"/>
                    </a:lnTo>
                    <a:lnTo>
                      <a:pt x="8" y="1076"/>
                    </a:lnTo>
                    <a:lnTo>
                      <a:pt x="8" y="1077"/>
                    </a:lnTo>
                    <a:lnTo>
                      <a:pt x="6" y="1079"/>
                    </a:lnTo>
                    <a:lnTo>
                      <a:pt x="6" y="1080"/>
                    </a:lnTo>
                    <a:lnTo>
                      <a:pt x="6" y="1082"/>
                    </a:lnTo>
                    <a:lnTo>
                      <a:pt x="6" y="1084"/>
                    </a:lnTo>
                    <a:lnTo>
                      <a:pt x="6" y="1085"/>
                    </a:lnTo>
                    <a:lnTo>
                      <a:pt x="5" y="1087"/>
                    </a:lnTo>
                    <a:lnTo>
                      <a:pt x="3" y="1087"/>
                    </a:lnTo>
                    <a:lnTo>
                      <a:pt x="2" y="1087"/>
                    </a:lnTo>
                    <a:lnTo>
                      <a:pt x="0" y="1087"/>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48" name="Freeform 128"/>
              <p:cNvSpPr>
                <a:spLocks/>
              </p:cNvSpPr>
              <p:nvPr/>
            </p:nvSpPr>
            <p:spPr bwMode="auto">
              <a:xfrm>
                <a:off x="3220" y="1804"/>
                <a:ext cx="404" cy="849"/>
              </a:xfrm>
              <a:custGeom>
                <a:avLst/>
                <a:gdLst>
                  <a:gd name="T0" fmla="*/ 382 w 404"/>
                  <a:gd name="T1" fmla="*/ 742 h 849"/>
                  <a:gd name="T2" fmla="*/ 360 w 404"/>
                  <a:gd name="T3" fmla="*/ 746 h 849"/>
                  <a:gd name="T4" fmla="*/ 338 w 404"/>
                  <a:gd name="T5" fmla="*/ 751 h 849"/>
                  <a:gd name="T6" fmla="*/ 314 w 404"/>
                  <a:gd name="T7" fmla="*/ 757 h 849"/>
                  <a:gd name="T8" fmla="*/ 293 w 404"/>
                  <a:gd name="T9" fmla="*/ 767 h 849"/>
                  <a:gd name="T10" fmla="*/ 290 w 404"/>
                  <a:gd name="T11" fmla="*/ 792 h 849"/>
                  <a:gd name="T12" fmla="*/ 268 w 404"/>
                  <a:gd name="T13" fmla="*/ 795 h 849"/>
                  <a:gd name="T14" fmla="*/ 247 w 404"/>
                  <a:gd name="T15" fmla="*/ 792 h 849"/>
                  <a:gd name="T16" fmla="*/ 225 w 404"/>
                  <a:gd name="T17" fmla="*/ 789 h 849"/>
                  <a:gd name="T18" fmla="*/ 211 w 404"/>
                  <a:gd name="T19" fmla="*/ 807 h 849"/>
                  <a:gd name="T20" fmla="*/ 195 w 404"/>
                  <a:gd name="T21" fmla="*/ 819 h 849"/>
                  <a:gd name="T22" fmla="*/ 178 w 404"/>
                  <a:gd name="T23" fmla="*/ 832 h 849"/>
                  <a:gd name="T24" fmla="*/ 157 w 404"/>
                  <a:gd name="T25" fmla="*/ 845 h 849"/>
                  <a:gd name="T26" fmla="*/ 136 w 404"/>
                  <a:gd name="T27" fmla="*/ 845 h 849"/>
                  <a:gd name="T28" fmla="*/ 113 w 404"/>
                  <a:gd name="T29" fmla="*/ 832 h 849"/>
                  <a:gd name="T30" fmla="*/ 105 w 404"/>
                  <a:gd name="T31" fmla="*/ 814 h 849"/>
                  <a:gd name="T32" fmla="*/ 100 w 404"/>
                  <a:gd name="T33" fmla="*/ 792 h 849"/>
                  <a:gd name="T34" fmla="*/ 83 w 404"/>
                  <a:gd name="T35" fmla="*/ 781 h 849"/>
                  <a:gd name="T36" fmla="*/ 65 w 404"/>
                  <a:gd name="T37" fmla="*/ 767 h 849"/>
                  <a:gd name="T38" fmla="*/ 54 w 404"/>
                  <a:gd name="T39" fmla="*/ 748 h 849"/>
                  <a:gd name="T40" fmla="*/ 35 w 404"/>
                  <a:gd name="T41" fmla="*/ 738 h 849"/>
                  <a:gd name="T42" fmla="*/ 24 w 404"/>
                  <a:gd name="T43" fmla="*/ 718 h 849"/>
                  <a:gd name="T44" fmla="*/ 21 w 404"/>
                  <a:gd name="T45" fmla="*/ 692 h 849"/>
                  <a:gd name="T46" fmla="*/ 10 w 404"/>
                  <a:gd name="T47" fmla="*/ 672 h 849"/>
                  <a:gd name="T48" fmla="*/ 8 w 404"/>
                  <a:gd name="T49" fmla="*/ 659 h 849"/>
                  <a:gd name="T50" fmla="*/ 13 w 404"/>
                  <a:gd name="T51" fmla="*/ 637 h 849"/>
                  <a:gd name="T52" fmla="*/ 13 w 404"/>
                  <a:gd name="T53" fmla="*/ 610 h 849"/>
                  <a:gd name="T54" fmla="*/ 13 w 404"/>
                  <a:gd name="T55" fmla="*/ 583 h 849"/>
                  <a:gd name="T56" fmla="*/ 21 w 404"/>
                  <a:gd name="T57" fmla="*/ 561 h 849"/>
                  <a:gd name="T58" fmla="*/ 37 w 404"/>
                  <a:gd name="T59" fmla="*/ 542 h 849"/>
                  <a:gd name="T60" fmla="*/ 57 w 404"/>
                  <a:gd name="T61" fmla="*/ 531 h 849"/>
                  <a:gd name="T62" fmla="*/ 75 w 404"/>
                  <a:gd name="T63" fmla="*/ 509 h 849"/>
                  <a:gd name="T64" fmla="*/ 95 w 404"/>
                  <a:gd name="T65" fmla="*/ 498 h 849"/>
                  <a:gd name="T66" fmla="*/ 113 w 404"/>
                  <a:gd name="T67" fmla="*/ 485 h 849"/>
                  <a:gd name="T68" fmla="*/ 129 w 404"/>
                  <a:gd name="T69" fmla="*/ 472 h 849"/>
                  <a:gd name="T70" fmla="*/ 143 w 404"/>
                  <a:gd name="T71" fmla="*/ 455 h 849"/>
                  <a:gd name="T72" fmla="*/ 162 w 404"/>
                  <a:gd name="T73" fmla="*/ 442 h 849"/>
                  <a:gd name="T74" fmla="*/ 170 w 404"/>
                  <a:gd name="T75" fmla="*/ 425 h 849"/>
                  <a:gd name="T76" fmla="*/ 168 w 404"/>
                  <a:gd name="T77" fmla="*/ 399 h 849"/>
                  <a:gd name="T78" fmla="*/ 168 w 404"/>
                  <a:gd name="T79" fmla="*/ 373 h 849"/>
                  <a:gd name="T80" fmla="*/ 176 w 404"/>
                  <a:gd name="T81" fmla="*/ 350 h 849"/>
                  <a:gd name="T82" fmla="*/ 186 w 404"/>
                  <a:gd name="T83" fmla="*/ 327 h 849"/>
                  <a:gd name="T84" fmla="*/ 186 w 404"/>
                  <a:gd name="T85" fmla="*/ 300 h 849"/>
                  <a:gd name="T86" fmla="*/ 190 w 404"/>
                  <a:gd name="T87" fmla="*/ 279 h 849"/>
                  <a:gd name="T88" fmla="*/ 205 w 404"/>
                  <a:gd name="T89" fmla="*/ 262 h 849"/>
                  <a:gd name="T90" fmla="*/ 197 w 404"/>
                  <a:gd name="T91" fmla="*/ 241 h 849"/>
                  <a:gd name="T92" fmla="*/ 189 w 404"/>
                  <a:gd name="T93" fmla="*/ 225 h 849"/>
                  <a:gd name="T94" fmla="*/ 203 w 404"/>
                  <a:gd name="T95" fmla="*/ 206 h 849"/>
                  <a:gd name="T96" fmla="*/ 220 w 404"/>
                  <a:gd name="T97" fmla="*/ 190 h 849"/>
                  <a:gd name="T98" fmla="*/ 236 w 404"/>
                  <a:gd name="T99" fmla="*/ 174 h 849"/>
                  <a:gd name="T100" fmla="*/ 235 w 404"/>
                  <a:gd name="T101" fmla="*/ 157 h 849"/>
                  <a:gd name="T102" fmla="*/ 219 w 404"/>
                  <a:gd name="T103" fmla="*/ 140 h 849"/>
                  <a:gd name="T104" fmla="*/ 203 w 404"/>
                  <a:gd name="T105" fmla="*/ 124 h 849"/>
                  <a:gd name="T106" fmla="*/ 187 w 404"/>
                  <a:gd name="T107" fmla="*/ 113 h 849"/>
                  <a:gd name="T108" fmla="*/ 167 w 404"/>
                  <a:gd name="T109" fmla="*/ 103 h 849"/>
                  <a:gd name="T110" fmla="*/ 148 w 404"/>
                  <a:gd name="T111" fmla="*/ 92 h 849"/>
                  <a:gd name="T112" fmla="*/ 140 w 404"/>
                  <a:gd name="T113" fmla="*/ 68 h 849"/>
                  <a:gd name="T114" fmla="*/ 144 w 404"/>
                  <a:gd name="T115" fmla="*/ 48 h 849"/>
                  <a:gd name="T116" fmla="*/ 148 w 404"/>
                  <a:gd name="T117" fmla="*/ 27 h 849"/>
                  <a:gd name="T118" fmla="*/ 140 w 404"/>
                  <a:gd name="T119" fmla="*/ 7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4" h="849">
                    <a:moveTo>
                      <a:pt x="404" y="737"/>
                    </a:moveTo>
                    <a:lnTo>
                      <a:pt x="403" y="738"/>
                    </a:lnTo>
                    <a:lnTo>
                      <a:pt x="401" y="738"/>
                    </a:lnTo>
                    <a:lnTo>
                      <a:pt x="399" y="738"/>
                    </a:lnTo>
                    <a:lnTo>
                      <a:pt x="398" y="738"/>
                    </a:lnTo>
                    <a:lnTo>
                      <a:pt x="396" y="738"/>
                    </a:lnTo>
                    <a:lnTo>
                      <a:pt x="396" y="740"/>
                    </a:lnTo>
                    <a:lnTo>
                      <a:pt x="395" y="740"/>
                    </a:lnTo>
                    <a:lnTo>
                      <a:pt x="393" y="740"/>
                    </a:lnTo>
                    <a:lnTo>
                      <a:pt x="391" y="738"/>
                    </a:lnTo>
                    <a:lnTo>
                      <a:pt x="390" y="738"/>
                    </a:lnTo>
                    <a:lnTo>
                      <a:pt x="388" y="738"/>
                    </a:lnTo>
                    <a:lnTo>
                      <a:pt x="387" y="740"/>
                    </a:lnTo>
                    <a:lnTo>
                      <a:pt x="385" y="740"/>
                    </a:lnTo>
                    <a:lnTo>
                      <a:pt x="384" y="740"/>
                    </a:lnTo>
                    <a:lnTo>
                      <a:pt x="384" y="742"/>
                    </a:lnTo>
                    <a:lnTo>
                      <a:pt x="382" y="742"/>
                    </a:lnTo>
                    <a:lnTo>
                      <a:pt x="380" y="742"/>
                    </a:lnTo>
                    <a:lnTo>
                      <a:pt x="380" y="743"/>
                    </a:lnTo>
                    <a:lnTo>
                      <a:pt x="379" y="743"/>
                    </a:lnTo>
                    <a:lnTo>
                      <a:pt x="377" y="743"/>
                    </a:lnTo>
                    <a:lnTo>
                      <a:pt x="377" y="745"/>
                    </a:lnTo>
                    <a:lnTo>
                      <a:pt x="376" y="745"/>
                    </a:lnTo>
                    <a:lnTo>
                      <a:pt x="374" y="745"/>
                    </a:lnTo>
                    <a:lnTo>
                      <a:pt x="372" y="745"/>
                    </a:lnTo>
                    <a:lnTo>
                      <a:pt x="371" y="745"/>
                    </a:lnTo>
                    <a:lnTo>
                      <a:pt x="369" y="745"/>
                    </a:lnTo>
                    <a:lnTo>
                      <a:pt x="368" y="745"/>
                    </a:lnTo>
                    <a:lnTo>
                      <a:pt x="366" y="745"/>
                    </a:lnTo>
                    <a:lnTo>
                      <a:pt x="365" y="745"/>
                    </a:lnTo>
                    <a:lnTo>
                      <a:pt x="363" y="745"/>
                    </a:lnTo>
                    <a:lnTo>
                      <a:pt x="363" y="746"/>
                    </a:lnTo>
                    <a:lnTo>
                      <a:pt x="361" y="746"/>
                    </a:lnTo>
                    <a:lnTo>
                      <a:pt x="360" y="746"/>
                    </a:lnTo>
                    <a:lnTo>
                      <a:pt x="358" y="746"/>
                    </a:lnTo>
                    <a:lnTo>
                      <a:pt x="358" y="748"/>
                    </a:lnTo>
                    <a:lnTo>
                      <a:pt x="357" y="748"/>
                    </a:lnTo>
                    <a:lnTo>
                      <a:pt x="355" y="748"/>
                    </a:lnTo>
                    <a:lnTo>
                      <a:pt x="355" y="750"/>
                    </a:lnTo>
                    <a:lnTo>
                      <a:pt x="353" y="750"/>
                    </a:lnTo>
                    <a:lnTo>
                      <a:pt x="352" y="750"/>
                    </a:lnTo>
                    <a:lnTo>
                      <a:pt x="350" y="750"/>
                    </a:lnTo>
                    <a:lnTo>
                      <a:pt x="349" y="750"/>
                    </a:lnTo>
                    <a:lnTo>
                      <a:pt x="347" y="750"/>
                    </a:lnTo>
                    <a:lnTo>
                      <a:pt x="346" y="750"/>
                    </a:lnTo>
                    <a:lnTo>
                      <a:pt x="344" y="750"/>
                    </a:lnTo>
                    <a:lnTo>
                      <a:pt x="342" y="750"/>
                    </a:lnTo>
                    <a:lnTo>
                      <a:pt x="341" y="750"/>
                    </a:lnTo>
                    <a:lnTo>
                      <a:pt x="339" y="750"/>
                    </a:lnTo>
                    <a:lnTo>
                      <a:pt x="338" y="750"/>
                    </a:lnTo>
                    <a:lnTo>
                      <a:pt x="338" y="751"/>
                    </a:lnTo>
                    <a:lnTo>
                      <a:pt x="336" y="751"/>
                    </a:lnTo>
                    <a:lnTo>
                      <a:pt x="334" y="751"/>
                    </a:lnTo>
                    <a:lnTo>
                      <a:pt x="333" y="751"/>
                    </a:lnTo>
                    <a:lnTo>
                      <a:pt x="331" y="751"/>
                    </a:lnTo>
                    <a:lnTo>
                      <a:pt x="330" y="751"/>
                    </a:lnTo>
                    <a:lnTo>
                      <a:pt x="330" y="753"/>
                    </a:lnTo>
                    <a:lnTo>
                      <a:pt x="328" y="753"/>
                    </a:lnTo>
                    <a:lnTo>
                      <a:pt x="327" y="753"/>
                    </a:lnTo>
                    <a:lnTo>
                      <a:pt x="325" y="753"/>
                    </a:lnTo>
                    <a:lnTo>
                      <a:pt x="323" y="753"/>
                    </a:lnTo>
                    <a:lnTo>
                      <a:pt x="323" y="754"/>
                    </a:lnTo>
                    <a:lnTo>
                      <a:pt x="322" y="754"/>
                    </a:lnTo>
                    <a:lnTo>
                      <a:pt x="320" y="756"/>
                    </a:lnTo>
                    <a:lnTo>
                      <a:pt x="319" y="756"/>
                    </a:lnTo>
                    <a:lnTo>
                      <a:pt x="317" y="757"/>
                    </a:lnTo>
                    <a:lnTo>
                      <a:pt x="315" y="757"/>
                    </a:lnTo>
                    <a:lnTo>
                      <a:pt x="314" y="757"/>
                    </a:lnTo>
                    <a:lnTo>
                      <a:pt x="312" y="757"/>
                    </a:lnTo>
                    <a:lnTo>
                      <a:pt x="311" y="757"/>
                    </a:lnTo>
                    <a:lnTo>
                      <a:pt x="309" y="759"/>
                    </a:lnTo>
                    <a:lnTo>
                      <a:pt x="308" y="759"/>
                    </a:lnTo>
                    <a:lnTo>
                      <a:pt x="306" y="759"/>
                    </a:lnTo>
                    <a:lnTo>
                      <a:pt x="304" y="759"/>
                    </a:lnTo>
                    <a:lnTo>
                      <a:pt x="303" y="761"/>
                    </a:lnTo>
                    <a:lnTo>
                      <a:pt x="301" y="761"/>
                    </a:lnTo>
                    <a:lnTo>
                      <a:pt x="300" y="761"/>
                    </a:lnTo>
                    <a:lnTo>
                      <a:pt x="300" y="762"/>
                    </a:lnTo>
                    <a:lnTo>
                      <a:pt x="298" y="762"/>
                    </a:lnTo>
                    <a:lnTo>
                      <a:pt x="298" y="764"/>
                    </a:lnTo>
                    <a:lnTo>
                      <a:pt x="296" y="764"/>
                    </a:lnTo>
                    <a:lnTo>
                      <a:pt x="295" y="764"/>
                    </a:lnTo>
                    <a:lnTo>
                      <a:pt x="295" y="765"/>
                    </a:lnTo>
                    <a:lnTo>
                      <a:pt x="293" y="765"/>
                    </a:lnTo>
                    <a:lnTo>
                      <a:pt x="293" y="767"/>
                    </a:lnTo>
                    <a:lnTo>
                      <a:pt x="293" y="769"/>
                    </a:lnTo>
                    <a:lnTo>
                      <a:pt x="292" y="770"/>
                    </a:lnTo>
                    <a:lnTo>
                      <a:pt x="292" y="772"/>
                    </a:lnTo>
                    <a:lnTo>
                      <a:pt x="290" y="773"/>
                    </a:lnTo>
                    <a:lnTo>
                      <a:pt x="290" y="775"/>
                    </a:lnTo>
                    <a:lnTo>
                      <a:pt x="290" y="776"/>
                    </a:lnTo>
                    <a:lnTo>
                      <a:pt x="290" y="778"/>
                    </a:lnTo>
                    <a:lnTo>
                      <a:pt x="290" y="780"/>
                    </a:lnTo>
                    <a:lnTo>
                      <a:pt x="290" y="781"/>
                    </a:lnTo>
                    <a:lnTo>
                      <a:pt x="290" y="783"/>
                    </a:lnTo>
                    <a:lnTo>
                      <a:pt x="290" y="784"/>
                    </a:lnTo>
                    <a:lnTo>
                      <a:pt x="290" y="786"/>
                    </a:lnTo>
                    <a:lnTo>
                      <a:pt x="290" y="788"/>
                    </a:lnTo>
                    <a:lnTo>
                      <a:pt x="290" y="789"/>
                    </a:lnTo>
                    <a:lnTo>
                      <a:pt x="292" y="791"/>
                    </a:lnTo>
                    <a:lnTo>
                      <a:pt x="292" y="792"/>
                    </a:lnTo>
                    <a:lnTo>
                      <a:pt x="290" y="792"/>
                    </a:lnTo>
                    <a:lnTo>
                      <a:pt x="289" y="792"/>
                    </a:lnTo>
                    <a:lnTo>
                      <a:pt x="287" y="792"/>
                    </a:lnTo>
                    <a:lnTo>
                      <a:pt x="287" y="791"/>
                    </a:lnTo>
                    <a:lnTo>
                      <a:pt x="285" y="791"/>
                    </a:lnTo>
                    <a:lnTo>
                      <a:pt x="285" y="792"/>
                    </a:lnTo>
                    <a:lnTo>
                      <a:pt x="284" y="792"/>
                    </a:lnTo>
                    <a:lnTo>
                      <a:pt x="282" y="792"/>
                    </a:lnTo>
                    <a:lnTo>
                      <a:pt x="282" y="794"/>
                    </a:lnTo>
                    <a:lnTo>
                      <a:pt x="281" y="794"/>
                    </a:lnTo>
                    <a:lnTo>
                      <a:pt x="279" y="795"/>
                    </a:lnTo>
                    <a:lnTo>
                      <a:pt x="277" y="795"/>
                    </a:lnTo>
                    <a:lnTo>
                      <a:pt x="276" y="795"/>
                    </a:lnTo>
                    <a:lnTo>
                      <a:pt x="274" y="795"/>
                    </a:lnTo>
                    <a:lnTo>
                      <a:pt x="273" y="795"/>
                    </a:lnTo>
                    <a:lnTo>
                      <a:pt x="271" y="795"/>
                    </a:lnTo>
                    <a:lnTo>
                      <a:pt x="270" y="795"/>
                    </a:lnTo>
                    <a:lnTo>
                      <a:pt x="268" y="795"/>
                    </a:lnTo>
                    <a:lnTo>
                      <a:pt x="268" y="794"/>
                    </a:lnTo>
                    <a:lnTo>
                      <a:pt x="266" y="794"/>
                    </a:lnTo>
                    <a:lnTo>
                      <a:pt x="266" y="795"/>
                    </a:lnTo>
                    <a:lnTo>
                      <a:pt x="265" y="795"/>
                    </a:lnTo>
                    <a:lnTo>
                      <a:pt x="265" y="794"/>
                    </a:lnTo>
                    <a:lnTo>
                      <a:pt x="263" y="794"/>
                    </a:lnTo>
                    <a:lnTo>
                      <a:pt x="262" y="794"/>
                    </a:lnTo>
                    <a:lnTo>
                      <a:pt x="260" y="795"/>
                    </a:lnTo>
                    <a:lnTo>
                      <a:pt x="258" y="795"/>
                    </a:lnTo>
                    <a:lnTo>
                      <a:pt x="257" y="795"/>
                    </a:lnTo>
                    <a:lnTo>
                      <a:pt x="255" y="795"/>
                    </a:lnTo>
                    <a:lnTo>
                      <a:pt x="254" y="795"/>
                    </a:lnTo>
                    <a:lnTo>
                      <a:pt x="252" y="795"/>
                    </a:lnTo>
                    <a:lnTo>
                      <a:pt x="252" y="794"/>
                    </a:lnTo>
                    <a:lnTo>
                      <a:pt x="251" y="794"/>
                    </a:lnTo>
                    <a:lnTo>
                      <a:pt x="249" y="794"/>
                    </a:lnTo>
                    <a:lnTo>
                      <a:pt x="247" y="792"/>
                    </a:lnTo>
                    <a:lnTo>
                      <a:pt x="246" y="792"/>
                    </a:lnTo>
                    <a:lnTo>
                      <a:pt x="244" y="792"/>
                    </a:lnTo>
                    <a:lnTo>
                      <a:pt x="244" y="791"/>
                    </a:lnTo>
                    <a:lnTo>
                      <a:pt x="243" y="791"/>
                    </a:lnTo>
                    <a:lnTo>
                      <a:pt x="241" y="791"/>
                    </a:lnTo>
                    <a:lnTo>
                      <a:pt x="239" y="789"/>
                    </a:lnTo>
                    <a:lnTo>
                      <a:pt x="238" y="789"/>
                    </a:lnTo>
                    <a:lnTo>
                      <a:pt x="236" y="789"/>
                    </a:lnTo>
                    <a:lnTo>
                      <a:pt x="235" y="788"/>
                    </a:lnTo>
                    <a:lnTo>
                      <a:pt x="233" y="788"/>
                    </a:lnTo>
                    <a:lnTo>
                      <a:pt x="232" y="788"/>
                    </a:lnTo>
                    <a:lnTo>
                      <a:pt x="230" y="786"/>
                    </a:lnTo>
                    <a:lnTo>
                      <a:pt x="228" y="786"/>
                    </a:lnTo>
                    <a:lnTo>
                      <a:pt x="228" y="788"/>
                    </a:lnTo>
                    <a:lnTo>
                      <a:pt x="227" y="788"/>
                    </a:lnTo>
                    <a:lnTo>
                      <a:pt x="227" y="789"/>
                    </a:lnTo>
                    <a:lnTo>
                      <a:pt x="225" y="789"/>
                    </a:lnTo>
                    <a:lnTo>
                      <a:pt x="225" y="791"/>
                    </a:lnTo>
                    <a:lnTo>
                      <a:pt x="224" y="791"/>
                    </a:lnTo>
                    <a:lnTo>
                      <a:pt x="222" y="791"/>
                    </a:lnTo>
                    <a:lnTo>
                      <a:pt x="220" y="792"/>
                    </a:lnTo>
                    <a:lnTo>
                      <a:pt x="219" y="794"/>
                    </a:lnTo>
                    <a:lnTo>
                      <a:pt x="217" y="795"/>
                    </a:lnTo>
                    <a:lnTo>
                      <a:pt x="217" y="797"/>
                    </a:lnTo>
                    <a:lnTo>
                      <a:pt x="216" y="797"/>
                    </a:lnTo>
                    <a:lnTo>
                      <a:pt x="216" y="799"/>
                    </a:lnTo>
                    <a:lnTo>
                      <a:pt x="216" y="800"/>
                    </a:lnTo>
                    <a:lnTo>
                      <a:pt x="214" y="800"/>
                    </a:lnTo>
                    <a:lnTo>
                      <a:pt x="214" y="802"/>
                    </a:lnTo>
                    <a:lnTo>
                      <a:pt x="214" y="803"/>
                    </a:lnTo>
                    <a:lnTo>
                      <a:pt x="212" y="803"/>
                    </a:lnTo>
                    <a:lnTo>
                      <a:pt x="212" y="805"/>
                    </a:lnTo>
                    <a:lnTo>
                      <a:pt x="211" y="805"/>
                    </a:lnTo>
                    <a:lnTo>
                      <a:pt x="211" y="807"/>
                    </a:lnTo>
                    <a:lnTo>
                      <a:pt x="209" y="807"/>
                    </a:lnTo>
                    <a:lnTo>
                      <a:pt x="209" y="808"/>
                    </a:lnTo>
                    <a:lnTo>
                      <a:pt x="208" y="808"/>
                    </a:lnTo>
                    <a:lnTo>
                      <a:pt x="208" y="810"/>
                    </a:lnTo>
                    <a:lnTo>
                      <a:pt x="208" y="811"/>
                    </a:lnTo>
                    <a:lnTo>
                      <a:pt x="206" y="811"/>
                    </a:lnTo>
                    <a:lnTo>
                      <a:pt x="206" y="813"/>
                    </a:lnTo>
                    <a:lnTo>
                      <a:pt x="205" y="813"/>
                    </a:lnTo>
                    <a:lnTo>
                      <a:pt x="205" y="814"/>
                    </a:lnTo>
                    <a:lnTo>
                      <a:pt x="203" y="814"/>
                    </a:lnTo>
                    <a:lnTo>
                      <a:pt x="203" y="816"/>
                    </a:lnTo>
                    <a:lnTo>
                      <a:pt x="201" y="816"/>
                    </a:lnTo>
                    <a:lnTo>
                      <a:pt x="200" y="818"/>
                    </a:lnTo>
                    <a:lnTo>
                      <a:pt x="200" y="819"/>
                    </a:lnTo>
                    <a:lnTo>
                      <a:pt x="198" y="819"/>
                    </a:lnTo>
                    <a:lnTo>
                      <a:pt x="197" y="819"/>
                    </a:lnTo>
                    <a:lnTo>
                      <a:pt x="195" y="819"/>
                    </a:lnTo>
                    <a:lnTo>
                      <a:pt x="195" y="821"/>
                    </a:lnTo>
                    <a:lnTo>
                      <a:pt x="193" y="821"/>
                    </a:lnTo>
                    <a:lnTo>
                      <a:pt x="193" y="822"/>
                    </a:lnTo>
                    <a:lnTo>
                      <a:pt x="192" y="822"/>
                    </a:lnTo>
                    <a:lnTo>
                      <a:pt x="190" y="822"/>
                    </a:lnTo>
                    <a:lnTo>
                      <a:pt x="190" y="824"/>
                    </a:lnTo>
                    <a:lnTo>
                      <a:pt x="190" y="826"/>
                    </a:lnTo>
                    <a:lnTo>
                      <a:pt x="189" y="826"/>
                    </a:lnTo>
                    <a:lnTo>
                      <a:pt x="187" y="827"/>
                    </a:lnTo>
                    <a:lnTo>
                      <a:pt x="186" y="827"/>
                    </a:lnTo>
                    <a:lnTo>
                      <a:pt x="184" y="829"/>
                    </a:lnTo>
                    <a:lnTo>
                      <a:pt x="182" y="829"/>
                    </a:lnTo>
                    <a:lnTo>
                      <a:pt x="182" y="830"/>
                    </a:lnTo>
                    <a:lnTo>
                      <a:pt x="181" y="830"/>
                    </a:lnTo>
                    <a:lnTo>
                      <a:pt x="179" y="830"/>
                    </a:lnTo>
                    <a:lnTo>
                      <a:pt x="179" y="832"/>
                    </a:lnTo>
                    <a:lnTo>
                      <a:pt x="178" y="832"/>
                    </a:lnTo>
                    <a:lnTo>
                      <a:pt x="176" y="832"/>
                    </a:lnTo>
                    <a:lnTo>
                      <a:pt x="176" y="833"/>
                    </a:lnTo>
                    <a:lnTo>
                      <a:pt x="174" y="833"/>
                    </a:lnTo>
                    <a:lnTo>
                      <a:pt x="173" y="835"/>
                    </a:lnTo>
                    <a:lnTo>
                      <a:pt x="171" y="835"/>
                    </a:lnTo>
                    <a:lnTo>
                      <a:pt x="170" y="837"/>
                    </a:lnTo>
                    <a:lnTo>
                      <a:pt x="168" y="837"/>
                    </a:lnTo>
                    <a:lnTo>
                      <a:pt x="168" y="838"/>
                    </a:lnTo>
                    <a:lnTo>
                      <a:pt x="167" y="838"/>
                    </a:lnTo>
                    <a:lnTo>
                      <a:pt x="165" y="840"/>
                    </a:lnTo>
                    <a:lnTo>
                      <a:pt x="163" y="840"/>
                    </a:lnTo>
                    <a:lnTo>
                      <a:pt x="163" y="841"/>
                    </a:lnTo>
                    <a:lnTo>
                      <a:pt x="162" y="841"/>
                    </a:lnTo>
                    <a:lnTo>
                      <a:pt x="160" y="841"/>
                    </a:lnTo>
                    <a:lnTo>
                      <a:pt x="160" y="843"/>
                    </a:lnTo>
                    <a:lnTo>
                      <a:pt x="159" y="843"/>
                    </a:lnTo>
                    <a:lnTo>
                      <a:pt x="157" y="845"/>
                    </a:lnTo>
                    <a:lnTo>
                      <a:pt x="155" y="845"/>
                    </a:lnTo>
                    <a:lnTo>
                      <a:pt x="154" y="846"/>
                    </a:lnTo>
                    <a:lnTo>
                      <a:pt x="152" y="846"/>
                    </a:lnTo>
                    <a:lnTo>
                      <a:pt x="152" y="848"/>
                    </a:lnTo>
                    <a:lnTo>
                      <a:pt x="151" y="848"/>
                    </a:lnTo>
                    <a:lnTo>
                      <a:pt x="149" y="848"/>
                    </a:lnTo>
                    <a:lnTo>
                      <a:pt x="149" y="849"/>
                    </a:lnTo>
                    <a:lnTo>
                      <a:pt x="148" y="849"/>
                    </a:lnTo>
                    <a:lnTo>
                      <a:pt x="146" y="849"/>
                    </a:lnTo>
                    <a:lnTo>
                      <a:pt x="144" y="849"/>
                    </a:lnTo>
                    <a:lnTo>
                      <a:pt x="143" y="848"/>
                    </a:lnTo>
                    <a:lnTo>
                      <a:pt x="141" y="848"/>
                    </a:lnTo>
                    <a:lnTo>
                      <a:pt x="141" y="846"/>
                    </a:lnTo>
                    <a:lnTo>
                      <a:pt x="140" y="846"/>
                    </a:lnTo>
                    <a:lnTo>
                      <a:pt x="138" y="846"/>
                    </a:lnTo>
                    <a:lnTo>
                      <a:pt x="138" y="845"/>
                    </a:lnTo>
                    <a:lnTo>
                      <a:pt x="136" y="845"/>
                    </a:lnTo>
                    <a:lnTo>
                      <a:pt x="135" y="843"/>
                    </a:lnTo>
                    <a:lnTo>
                      <a:pt x="133" y="841"/>
                    </a:lnTo>
                    <a:lnTo>
                      <a:pt x="133" y="840"/>
                    </a:lnTo>
                    <a:lnTo>
                      <a:pt x="132" y="840"/>
                    </a:lnTo>
                    <a:lnTo>
                      <a:pt x="130" y="838"/>
                    </a:lnTo>
                    <a:lnTo>
                      <a:pt x="129" y="837"/>
                    </a:lnTo>
                    <a:lnTo>
                      <a:pt x="127" y="837"/>
                    </a:lnTo>
                    <a:lnTo>
                      <a:pt x="125" y="835"/>
                    </a:lnTo>
                    <a:lnTo>
                      <a:pt x="124" y="835"/>
                    </a:lnTo>
                    <a:lnTo>
                      <a:pt x="124" y="833"/>
                    </a:lnTo>
                    <a:lnTo>
                      <a:pt x="122" y="833"/>
                    </a:lnTo>
                    <a:lnTo>
                      <a:pt x="121" y="833"/>
                    </a:lnTo>
                    <a:lnTo>
                      <a:pt x="119" y="832"/>
                    </a:lnTo>
                    <a:lnTo>
                      <a:pt x="117" y="832"/>
                    </a:lnTo>
                    <a:lnTo>
                      <a:pt x="116" y="832"/>
                    </a:lnTo>
                    <a:lnTo>
                      <a:pt x="114" y="832"/>
                    </a:lnTo>
                    <a:lnTo>
                      <a:pt x="113" y="832"/>
                    </a:lnTo>
                    <a:lnTo>
                      <a:pt x="111" y="832"/>
                    </a:lnTo>
                    <a:lnTo>
                      <a:pt x="110" y="832"/>
                    </a:lnTo>
                    <a:lnTo>
                      <a:pt x="108" y="832"/>
                    </a:lnTo>
                    <a:lnTo>
                      <a:pt x="108" y="830"/>
                    </a:lnTo>
                    <a:lnTo>
                      <a:pt x="106" y="830"/>
                    </a:lnTo>
                    <a:lnTo>
                      <a:pt x="106" y="829"/>
                    </a:lnTo>
                    <a:lnTo>
                      <a:pt x="106" y="827"/>
                    </a:lnTo>
                    <a:lnTo>
                      <a:pt x="106" y="826"/>
                    </a:lnTo>
                    <a:lnTo>
                      <a:pt x="106" y="824"/>
                    </a:lnTo>
                    <a:lnTo>
                      <a:pt x="108" y="822"/>
                    </a:lnTo>
                    <a:lnTo>
                      <a:pt x="108" y="821"/>
                    </a:lnTo>
                    <a:lnTo>
                      <a:pt x="108" y="819"/>
                    </a:lnTo>
                    <a:lnTo>
                      <a:pt x="108" y="818"/>
                    </a:lnTo>
                    <a:lnTo>
                      <a:pt x="106" y="818"/>
                    </a:lnTo>
                    <a:lnTo>
                      <a:pt x="106" y="816"/>
                    </a:lnTo>
                    <a:lnTo>
                      <a:pt x="106" y="814"/>
                    </a:lnTo>
                    <a:lnTo>
                      <a:pt x="105" y="814"/>
                    </a:lnTo>
                    <a:lnTo>
                      <a:pt x="105" y="813"/>
                    </a:lnTo>
                    <a:lnTo>
                      <a:pt x="105" y="811"/>
                    </a:lnTo>
                    <a:lnTo>
                      <a:pt x="103" y="810"/>
                    </a:lnTo>
                    <a:lnTo>
                      <a:pt x="103" y="808"/>
                    </a:lnTo>
                    <a:lnTo>
                      <a:pt x="103" y="807"/>
                    </a:lnTo>
                    <a:lnTo>
                      <a:pt x="103" y="805"/>
                    </a:lnTo>
                    <a:lnTo>
                      <a:pt x="102" y="805"/>
                    </a:lnTo>
                    <a:lnTo>
                      <a:pt x="102" y="803"/>
                    </a:lnTo>
                    <a:lnTo>
                      <a:pt x="102" y="802"/>
                    </a:lnTo>
                    <a:lnTo>
                      <a:pt x="100" y="802"/>
                    </a:lnTo>
                    <a:lnTo>
                      <a:pt x="100" y="800"/>
                    </a:lnTo>
                    <a:lnTo>
                      <a:pt x="100" y="799"/>
                    </a:lnTo>
                    <a:lnTo>
                      <a:pt x="102" y="799"/>
                    </a:lnTo>
                    <a:lnTo>
                      <a:pt x="102" y="797"/>
                    </a:lnTo>
                    <a:lnTo>
                      <a:pt x="102" y="795"/>
                    </a:lnTo>
                    <a:lnTo>
                      <a:pt x="100" y="794"/>
                    </a:lnTo>
                    <a:lnTo>
                      <a:pt x="100" y="792"/>
                    </a:lnTo>
                    <a:lnTo>
                      <a:pt x="98" y="792"/>
                    </a:lnTo>
                    <a:lnTo>
                      <a:pt x="98" y="791"/>
                    </a:lnTo>
                    <a:lnTo>
                      <a:pt x="98" y="789"/>
                    </a:lnTo>
                    <a:lnTo>
                      <a:pt x="98" y="788"/>
                    </a:lnTo>
                    <a:lnTo>
                      <a:pt x="98" y="786"/>
                    </a:lnTo>
                    <a:lnTo>
                      <a:pt x="97" y="786"/>
                    </a:lnTo>
                    <a:lnTo>
                      <a:pt x="95" y="786"/>
                    </a:lnTo>
                    <a:lnTo>
                      <a:pt x="94" y="786"/>
                    </a:lnTo>
                    <a:lnTo>
                      <a:pt x="94" y="784"/>
                    </a:lnTo>
                    <a:lnTo>
                      <a:pt x="92" y="784"/>
                    </a:lnTo>
                    <a:lnTo>
                      <a:pt x="91" y="784"/>
                    </a:lnTo>
                    <a:lnTo>
                      <a:pt x="89" y="784"/>
                    </a:lnTo>
                    <a:lnTo>
                      <a:pt x="87" y="784"/>
                    </a:lnTo>
                    <a:lnTo>
                      <a:pt x="86" y="783"/>
                    </a:lnTo>
                    <a:lnTo>
                      <a:pt x="84" y="783"/>
                    </a:lnTo>
                    <a:lnTo>
                      <a:pt x="83" y="783"/>
                    </a:lnTo>
                    <a:lnTo>
                      <a:pt x="83" y="781"/>
                    </a:lnTo>
                    <a:lnTo>
                      <a:pt x="81" y="781"/>
                    </a:lnTo>
                    <a:lnTo>
                      <a:pt x="79" y="781"/>
                    </a:lnTo>
                    <a:lnTo>
                      <a:pt x="78" y="780"/>
                    </a:lnTo>
                    <a:lnTo>
                      <a:pt x="76" y="780"/>
                    </a:lnTo>
                    <a:lnTo>
                      <a:pt x="75" y="778"/>
                    </a:lnTo>
                    <a:lnTo>
                      <a:pt x="75" y="776"/>
                    </a:lnTo>
                    <a:lnTo>
                      <a:pt x="73" y="775"/>
                    </a:lnTo>
                    <a:lnTo>
                      <a:pt x="73" y="773"/>
                    </a:lnTo>
                    <a:lnTo>
                      <a:pt x="72" y="773"/>
                    </a:lnTo>
                    <a:lnTo>
                      <a:pt x="72" y="772"/>
                    </a:lnTo>
                    <a:lnTo>
                      <a:pt x="70" y="772"/>
                    </a:lnTo>
                    <a:lnTo>
                      <a:pt x="70" y="770"/>
                    </a:lnTo>
                    <a:lnTo>
                      <a:pt x="68" y="770"/>
                    </a:lnTo>
                    <a:lnTo>
                      <a:pt x="68" y="769"/>
                    </a:lnTo>
                    <a:lnTo>
                      <a:pt x="67" y="769"/>
                    </a:lnTo>
                    <a:lnTo>
                      <a:pt x="65" y="769"/>
                    </a:lnTo>
                    <a:lnTo>
                      <a:pt x="65" y="767"/>
                    </a:lnTo>
                    <a:lnTo>
                      <a:pt x="64" y="765"/>
                    </a:lnTo>
                    <a:lnTo>
                      <a:pt x="64" y="764"/>
                    </a:lnTo>
                    <a:lnTo>
                      <a:pt x="62" y="764"/>
                    </a:lnTo>
                    <a:lnTo>
                      <a:pt x="62" y="762"/>
                    </a:lnTo>
                    <a:lnTo>
                      <a:pt x="62" y="761"/>
                    </a:lnTo>
                    <a:lnTo>
                      <a:pt x="62" y="759"/>
                    </a:lnTo>
                    <a:lnTo>
                      <a:pt x="62" y="757"/>
                    </a:lnTo>
                    <a:lnTo>
                      <a:pt x="60" y="757"/>
                    </a:lnTo>
                    <a:lnTo>
                      <a:pt x="60" y="756"/>
                    </a:lnTo>
                    <a:lnTo>
                      <a:pt x="59" y="754"/>
                    </a:lnTo>
                    <a:lnTo>
                      <a:pt x="59" y="753"/>
                    </a:lnTo>
                    <a:lnTo>
                      <a:pt x="57" y="753"/>
                    </a:lnTo>
                    <a:lnTo>
                      <a:pt x="57" y="751"/>
                    </a:lnTo>
                    <a:lnTo>
                      <a:pt x="56" y="751"/>
                    </a:lnTo>
                    <a:lnTo>
                      <a:pt x="56" y="750"/>
                    </a:lnTo>
                    <a:lnTo>
                      <a:pt x="56" y="748"/>
                    </a:lnTo>
                    <a:lnTo>
                      <a:pt x="54" y="748"/>
                    </a:lnTo>
                    <a:lnTo>
                      <a:pt x="54" y="746"/>
                    </a:lnTo>
                    <a:lnTo>
                      <a:pt x="53" y="745"/>
                    </a:lnTo>
                    <a:lnTo>
                      <a:pt x="53" y="743"/>
                    </a:lnTo>
                    <a:lnTo>
                      <a:pt x="51" y="743"/>
                    </a:lnTo>
                    <a:lnTo>
                      <a:pt x="51" y="742"/>
                    </a:lnTo>
                    <a:lnTo>
                      <a:pt x="49" y="742"/>
                    </a:lnTo>
                    <a:lnTo>
                      <a:pt x="48" y="742"/>
                    </a:lnTo>
                    <a:lnTo>
                      <a:pt x="48" y="740"/>
                    </a:lnTo>
                    <a:lnTo>
                      <a:pt x="46" y="740"/>
                    </a:lnTo>
                    <a:lnTo>
                      <a:pt x="45" y="742"/>
                    </a:lnTo>
                    <a:lnTo>
                      <a:pt x="43" y="742"/>
                    </a:lnTo>
                    <a:lnTo>
                      <a:pt x="41" y="742"/>
                    </a:lnTo>
                    <a:lnTo>
                      <a:pt x="40" y="742"/>
                    </a:lnTo>
                    <a:lnTo>
                      <a:pt x="38" y="740"/>
                    </a:lnTo>
                    <a:lnTo>
                      <a:pt x="37" y="740"/>
                    </a:lnTo>
                    <a:lnTo>
                      <a:pt x="37" y="738"/>
                    </a:lnTo>
                    <a:lnTo>
                      <a:pt x="35" y="738"/>
                    </a:lnTo>
                    <a:lnTo>
                      <a:pt x="33" y="737"/>
                    </a:lnTo>
                    <a:lnTo>
                      <a:pt x="32" y="737"/>
                    </a:lnTo>
                    <a:lnTo>
                      <a:pt x="30" y="735"/>
                    </a:lnTo>
                    <a:lnTo>
                      <a:pt x="30" y="734"/>
                    </a:lnTo>
                    <a:lnTo>
                      <a:pt x="29" y="732"/>
                    </a:lnTo>
                    <a:lnTo>
                      <a:pt x="27" y="730"/>
                    </a:lnTo>
                    <a:lnTo>
                      <a:pt x="26" y="729"/>
                    </a:lnTo>
                    <a:lnTo>
                      <a:pt x="26" y="727"/>
                    </a:lnTo>
                    <a:lnTo>
                      <a:pt x="26" y="726"/>
                    </a:lnTo>
                    <a:lnTo>
                      <a:pt x="24" y="726"/>
                    </a:lnTo>
                    <a:lnTo>
                      <a:pt x="24" y="724"/>
                    </a:lnTo>
                    <a:lnTo>
                      <a:pt x="26" y="724"/>
                    </a:lnTo>
                    <a:lnTo>
                      <a:pt x="26" y="723"/>
                    </a:lnTo>
                    <a:lnTo>
                      <a:pt x="24" y="723"/>
                    </a:lnTo>
                    <a:lnTo>
                      <a:pt x="24" y="721"/>
                    </a:lnTo>
                    <a:lnTo>
                      <a:pt x="24" y="719"/>
                    </a:lnTo>
                    <a:lnTo>
                      <a:pt x="24" y="718"/>
                    </a:lnTo>
                    <a:lnTo>
                      <a:pt x="24" y="716"/>
                    </a:lnTo>
                    <a:lnTo>
                      <a:pt x="24" y="715"/>
                    </a:lnTo>
                    <a:lnTo>
                      <a:pt x="22" y="715"/>
                    </a:lnTo>
                    <a:lnTo>
                      <a:pt x="22" y="713"/>
                    </a:lnTo>
                    <a:lnTo>
                      <a:pt x="21" y="711"/>
                    </a:lnTo>
                    <a:lnTo>
                      <a:pt x="21" y="710"/>
                    </a:lnTo>
                    <a:lnTo>
                      <a:pt x="21" y="708"/>
                    </a:lnTo>
                    <a:lnTo>
                      <a:pt x="21" y="707"/>
                    </a:lnTo>
                    <a:lnTo>
                      <a:pt x="19" y="705"/>
                    </a:lnTo>
                    <a:lnTo>
                      <a:pt x="19" y="704"/>
                    </a:lnTo>
                    <a:lnTo>
                      <a:pt x="19" y="702"/>
                    </a:lnTo>
                    <a:lnTo>
                      <a:pt x="21" y="700"/>
                    </a:lnTo>
                    <a:lnTo>
                      <a:pt x="21" y="699"/>
                    </a:lnTo>
                    <a:lnTo>
                      <a:pt x="21" y="697"/>
                    </a:lnTo>
                    <a:lnTo>
                      <a:pt x="22" y="696"/>
                    </a:lnTo>
                    <a:lnTo>
                      <a:pt x="22" y="694"/>
                    </a:lnTo>
                    <a:lnTo>
                      <a:pt x="21" y="692"/>
                    </a:lnTo>
                    <a:lnTo>
                      <a:pt x="19" y="692"/>
                    </a:lnTo>
                    <a:lnTo>
                      <a:pt x="19" y="691"/>
                    </a:lnTo>
                    <a:lnTo>
                      <a:pt x="18" y="689"/>
                    </a:lnTo>
                    <a:lnTo>
                      <a:pt x="18" y="688"/>
                    </a:lnTo>
                    <a:lnTo>
                      <a:pt x="16" y="688"/>
                    </a:lnTo>
                    <a:lnTo>
                      <a:pt x="16" y="686"/>
                    </a:lnTo>
                    <a:lnTo>
                      <a:pt x="14" y="685"/>
                    </a:lnTo>
                    <a:lnTo>
                      <a:pt x="14" y="683"/>
                    </a:lnTo>
                    <a:lnTo>
                      <a:pt x="14" y="681"/>
                    </a:lnTo>
                    <a:lnTo>
                      <a:pt x="14" y="680"/>
                    </a:lnTo>
                    <a:lnTo>
                      <a:pt x="13" y="680"/>
                    </a:lnTo>
                    <a:lnTo>
                      <a:pt x="13" y="678"/>
                    </a:lnTo>
                    <a:lnTo>
                      <a:pt x="11" y="677"/>
                    </a:lnTo>
                    <a:lnTo>
                      <a:pt x="11" y="675"/>
                    </a:lnTo>
                    <a:lnTo>
                      <a:pt x="11" y="673"/>
                    </a:lnTo>
                    <a:lnTo>
                      <a:pt x="10" y="673"/>
                    </a:lnTo>
                    <a:lnTo>
                      <a:pt x="10" y="672"/>
                    </a:lnTo>
                    <a:lnTo>
                      <a:pt x="8" y="672"/>
                    </a:lnTo>
                    <a:lnTo>
                      <a:pt x="7" y="672"/>
                    </a:lnTo>
                    <a:lnTo>
                      <a:pt x="5" y="672"/>
                    </a:lnTo>
                    <a:lnTo>
                      <a:pt x="5" y="670"/>
                    </a:lnTo>
                    <a:lnTo>
                      <a:pt x="3" y="670"/>
                    </a:lnTo>
                    <a:lnTo>
                      <a:pt x="2" y="670"/>
                    </a:lnTo>
                    <a:lnTo>
                      <a:pt x="0" y="669"/>
                    </a:lnTo>
                    <a:lnTo>
                      <a:pt x="2" y="669"/>
                    </a:lnTo>
                    <a:lnTo>
                      <a:pt x="2" y="667"/>
                    </a:lnTo>
                    <a:lnTo>
                      <a:pt x="3" y="667"/>
                    </a:lnTo>
                    <a:lnTo>
                      <a:pt x="3" y="666"/>
                    </a:lnTo>
                    <a:lnTo>
                      <a:pt x="5" y="666"/>
                    </a:lnTo>
                    <a:lnTo>
                      <a:pt x="5" y="664"/>
                    </a:lnTo>
                    <a:lnTo>
                      <a:pt x="7" y="664"/>
                    </a:lnTo>
                    <a:lnTo>
                      <a:pt x="7" y="662"/>
                    </a:lnTo>
                    <a:lnTo>
                      <a:pt x="8" y="661"/>
                    </a:lnTo>
                    <a:lnTo>
                      <a:pt x="8" y="659"/>
                    </a:lnTo>
                    <a:lnTo>
                      <a:pt x="8" y="658"/>
                    </a:lnTo>
                    <a:lnTo>
                      <a:pt x="10" y="658"/>
                    </a:lnTo>
                    <a:lnTo>
                      <a:pt x="10" y="656"/>
                    </a:lnTo>
                    <a:lnTo>
                      <a:pt x="11" y="656"/>
                    </a:lnTo>
                    <a:lnTo>
                      <a:pt x="11" y="654"/>
                    </a:lnTo>
                    <a:lnTo>
                      <a:pt x="11" y="653"/>
                    </a:lnTo>
                    <a:lnTo>
                      <a:pt x="11" y="651"/>
                    </a:lnTo>
                    <a:lnTo>
                      <a:pt x="13" y="651"/>
                    </a:lnTo>
                    <a:lnTo>
                      <a:pt x="13" y="650"/>
                    </a:lnTo>
                    <a:lnTo>
                      <a:pt x="13" y="648"/>
                    </a:lnTo>
                    <a:lnTo>
                      <a:pt x="14" y="647"/>
                    </a:lnTo>
                    <a:lnTo>
                      <a:pt x="14" y="645"/>
                    </a:lnTo>
                    <a:lnTo>
                      <a:pt x="13" y="643"/>
                    </a:lnTo>
                    <a:lnTo>
                      <a:pt x="13" y="642"/>
                    </a:lnTo>
                    <a:lnTo>
                      <a:pt x="13" y="640"/>
                    </a:lnTo>
                    <a:lnTo>
                      <a:pt x="13" y="639"/>
                    </a:lnTo>
                    <a:lnTo>
                      <a:pt x="13" y="637"/>
                    </a:lnTo>
                    <a:lnTo>
                      <a:pt x="13" y="635"/>
                    </a:lnTo>
                    <a:lnTo>
                      <a:pt x="13" y="634"/>
                    </a:lnTo>
                    <a:lnTo>
                      <a:pt x="13" y="632"/>
                    </a:lnTo>
                    <a:lnTo>
                      <a:pt x="13" y="631"/>
                    </a:lnTo>
                    <a:lnTo>
                      <a:pt x="13" y="629"/>
                    </a:lnTo>
                    <a:lnTo>
                      <a:pt x="13" y="628"/>
                    </a:lnTo>
                    <a:lnTo>
                      <a:pt x="13" y="626"/>
                    </a:lnTo>
                    <a:lnTo>
                      <a:pt x="13" y="624"/>
                    </a:lnTo>
                    <a:lnTo>
                      <a:pt x="13" y="623"/>
                    </a:lnTo>
                    <a:lnTo>
                      <a:pt x="13" y="621"/>
                    </a:lnTo>
                    <a:lnTo>
                      <a:pt x="13" y="620"/>
                    </a:lnTo>
                    <a:lnTo>
                      <a:pt x="13" y="618"/>
                    </a:lnTo>
                    <a:lnTo>
                      <a:pt x="13" y="616"/>
                    </a:lnTo>
                    <a:lnTo>
                      <a:pt x="13" y="615"/>
                    </a:lnTo>
                    <a:lnTo>
                      <a:pt x="13" y="613"/>
                    </a:lnTo>
                    <a:lnTo>
                      <a:pt x="13" y="612"/>
                    </a:lnTo>
                    <a:lnTo>
                      <a:pt x="13" y="610"/>
                    </a:lnTo>
                    <a:lnTo>
                      <a:pt x="13" y="609"/>
                    </a:lnTo>
                    <a:lnTo>
                      <a:pt x="13" y="607"/>
                    </a:lnTo>
                    <a:lnTo>
                      <a:pt x="13" y="605"/>
                    </a:lnTo>
                    <a:lnTo>
                      <a:pt x="13" y="604"/>
                    </a:lnTo>
                    <a:lnTo>
                      <a:pt x="13" y="602"/>
                    </a:lnTo>
                    <a:lnTo>
                      <a:pt x="13" y="601"/>
                    </a:lnTo>
                    <a:lnTo>
                      <a:pt x="13" y="599"/>
                    </a:lnTo>
                    <a:lnTo>
                      <a:pt x="13" y="597"/>
                    </a:lnTo>
                    <a:lnTo>
                      <a:pt x="13" y="596"/>
                    </a:lnTo>
                    <a:lnTo>
                      <a:pt x="13" y="594"/>
                    </a:lnTo>
                    <a:lnTo>
                      <a:pt x="13" y="593"/>
                    </a:lnTo>
                    <a:lnTo>
                      <a:pt x="13" y="591"/>
                    </a:lnTo>
                    <a:lnTo>
                      <a:pt x="13" y="590"/>
                    </a:lnTo>
                    <a:lnTo>
                      <a:pt x="13" y="588"/>
                    </a:lnTo>
                    <a:lnTo>
                      <a:pt x="13" y="586"/>
                    </a:lnTo>
                    <a:lnTo>
                      <a:pt x="13" y="585"/>
                    </a:lnTo>
                    <a:lnTo>
                      <a:pt x="13" y="583"/>
                    </a:lnTo>
                    <a:lnTo>
                      <a:pt x="13" y="582"/>
                    </a:lnTo>
                    <a:lnTo>
                      <a:pt x="14" y="582"/>
                    </a:lnTo>
                    <a:lnTo>
                      <a:pt x="14" y="580"/>
                    </a:lnTo>
                    <a:lnTo>
                      <a:pt x="14" y="578"/>
                    </a:lnTo>
                    <a:lnTo>
                      <a:pt x="14" y="577"/>
                    </a:lnTo>
                    <a:lnTo>
                      <a:pt x="14" y="575"/>
                    </a:lnTo>
                    <a:lnTo>
                      <a:pt x="16" y="574"/>
                    </a:lnTo>
                    <a:lnTo>
                      <a:pt x="16" y="572"/>
                    </a:lnTo>
                    <a:lnTo>
                      <a:pt x="16" y="571"/>
                    </a:lnTo>
                    <a:lnTo>
                      <a:pt x="18" y="571"/>
                    </a:lnTo>
                    <a:lnTo>
                      <a:pt x="18" y="569"/>
                    </a:lnTo>
                    <a:lnTo>
                      <a:pt x="18" y="567"/>
                    </a:lnTo>
                    <a:lnTo>
                      <a:pt x="19" y="567"/>
                    </a:lnTo>
                    <a:lnTo>
                      <a:pt x="19" y="566"/>
                    </a:lnTo>
                    <a:lnTo>
                      <a:pt x="19" y="564"/>
                    </a:lnTo>
                    <a:lnTo>
                      <a:pt x="21" y="563"/>
                    </a:lnTo>
                    <a:lnTo>
                      <a:pt x="21" y="561"/>
                    </a:lnTo>
                    <a:lnTo>
                      <a:pt x="21" y="559"/>
                    </a:lnTo>
                    <a:lnTo>
                      <a:pt x="22" y="558"/>
                    </a:lnTo>
                    <a:lnTo>
                      <a:pt x="24" y="558"/>
                    </a:lnTo>
                    <a:lnTo>
                      <a:pt x="24" y="556"/>
                    </a:lnTo>
                    <a:lnTo>
                      <a:pt x="26" y="556"/>
                    </a:lnTo>
                    <a:lnTo>
                      <a:pt x="26" y="555"/>
                    </a:lnTo>
                    <a:lnTo>
                      <a:pt x="27" y="553"/>
                    </a:lnTo>
                    <a:lnTo>
                      <a:pt x="27" y="552"/>
                    </a:lnTo>
                    <a:lnTo>
                      <a:pt x="29" y="552"/>
                    </a:lnTo>
                    <a:lnTo>
                      <a:pt x="29" y="550"/>
                    </a:lnTo>
                    <a:lnTo>
                      <a:pt x="30" y="548"/>
                    </a:lnTo>
                    <a:lnTo>
                      <a:pt x="32" y="547"/>
                    </a:lnTo>
                    <a:lnTo>
                      <a:pt x="33" y="545"/>
                    </a:lnTo>
                    <a:lnTo>
                      <a:pt x="33" y="544"/>
                    </a:lnTo>
                    <a:lnTo>
                      <a:pt x="35" y="544"/>
                    </a:lnTo>
                    <a:lnTo>
                      <a:pt x="35" y="542"/>
                    </a:lnTo>
                    <a:lnTo>
                      <a:pt x="37" y="542"/>
                    </a:lnTo>
                    <a:lnTo>
                      <a:pt x="38" y="542"/>
                    </a:lnTo>
                    <a:lnTo>
                      <a:pt x="40" y="540"/>
                    </a:lnTo>
                    <a:lnTo>
                      <a:pt x="41" y="540"/>
                    </a:lnTo>
                    <a:lnTo>
                      <a:pt x="43" y="540"/>
                    </a:lnTo>
                    <a:lnTo>
                      <a:pt x="43" y="539"/>
                    </a:lnTo>
                    <a:lnTo>
                      <a:pt x="45" y="539"/>
                    </a:lnTo>
                    <a:lnTo>
                      <a:pt x="46" y="539"/>
                    </a:lnTo>
                    <a:lnTo>
                      <a:pt x="48" y="537"/>
                    </a:lnTo>
                    <a:lnTo>
                      <a:pt x="49" y="537"/>
                    </a:lnTo>
                    <a:lnTo>
                      <a:pt x="51" y="537"/>
                    </a:lnTo>
                    <a:lnTo>
                      <a:pt x="53" y="537"/>
                    </a:lnTo>
                    <a:lnTo>
                      <a:pt x="53" y="536"/>
                    </a:lnTo>
                    <a:lnTo>
                      <a:pt x="54" y="536"/>
                    </a:lnTo>
                    <a:lnTo>
                      <a:pt x="54" y="534"/>
                    </a:lnTo>
                    <a:lnTo>
                      <a:pt x="56" y="534"/>
                    </a:lnTo>
                    <a:lnTo>
                      <a:pt x="56" y="532"/>
                    </a:lnTo>
                    <a:lnTo>
                      <a:pt x="57" y="531"/>
                    </a:lnTo>
                    <a:lnTo>
                      <a:pt x="59" y="531"/>
                    </a:lnTo>
                    <a:lnTo>
                      <a:pt x="60" y="529"/>
                    </a:lnTo>
                    <a:lnTo>
                      <a:pt x="62" y="529"/>
                    </a:lnTo>
                    <a:lnTo>
                      <a:pt x="64" y="528"/>
                    </a:lnTo>
                    <a:lnTo>
                      <a:pt x="64" y="526"/>
                    </a:lnTo>
                    <a:lnTo>
                      <a:pt x="65" y="525"/>
                    </a:lnTo>
                    <a:lnTo>
                      <a:pt x="65" y="523"/>
                    </a:lnTo>
                    <a:lnTo>
                      <a:pt x="67" y="521"/>
                    </a:lnTo>
                    <a:lnTo>
                      <a:pt x="67" y="520"/>
                    </a:lnTo>
                    <a:lnTo>
                      <a:pt x="68" y="518"/>
                    </a:lnTo>
                    <a:lnTo>
                      <a:pt x="68" y="517"/>
                    </a:lnTo>
                    <a:lnTo>
                      <a:pt x="68" y="515"/>
                    </a:lnTo>
                    <a:lnTo>
                      <a:pt x="70" y="513"/>
                    </a:lnTo>
                    <a:lnTo>
                      <a:pt x="72" y="513"/>
                    </a:lnTo>
                    <a:lnTo>
                      <a:pt x="73" y="512"/>
                    </a:lnTo>
                    <a:lnTo>
                      <a:pt x="75" y="510"/>
                    </a:lnTo>
                    <a:lnTo>
                      <a:pt x="75" y="509"/>
                    </a:lnTo>
                    <a:lnTo>
                      <a:pt x="76" y="509"/>
                    </a:lnTo>
                    <a:lnTo>
                      <a:pt x="78" y="509"/>
                    </a:lnTo>
                    <a:lnTo>
                      <a:pt x="79" y="509"/>
                    </a:lnTo>
                    <a:lnTo>
                      <a:pt x="81" y="507"/>
                    </a:lnTo>
                    <a:lnTo>
                      <a:pt x="83" y="507"/>
                    </a:lnTo>
                    <a:lnTo>
                      <a:pt x="83" y="506"/>
                    </a:lnTo>
                    <a:lnTo>
                      <a:pt x="84" y="506"/>
                    </a:lnTo>
                    <a:lnTo>
                      <a:pt x="84" y="504"/>
                    </a:lnTo>
                    <a:lnTo>
                      <a:pt x="86" y="504"/>
                    </a:lnTo>
                    <a:lnTo>
                      <a:pt x="86" y="502"/>
                    </a:lnTo>
                    <a:lnTo>
                      <a:pt x="87" y="501"/>
                    </a:lnTo>
                    <a:lnTo>
                      <a:pt x="89" y="499"/>
                    </a:lnTo>
                    <a:lnTo>
                      <a:pt x="91" y="499"/>
                    </a:lnTo>
                    <a:lnTo>
                      <a:pt x="92" y="498"/>
                    </a:lnTo>
                    <a:lnTo>
                      <a:pt x="94" y="499"/>
                    </a:lnTo>
                    <a:lnTo>
                      <a:pt x="95" y="499"/>
                    </a:lnTo>
                    <a:lnTo>
                      <a:pt x="95" y="498"/>
                    </a:lnTo>
                    <a:lnTo>
                      <a:pt x="97" y="498"/>
                    </a:lnTo>
                    <a:lnTo>
                      <a:pt x="97" y="496"/>
                    </a:lnTo>
                    <a:lnTo>
                      <a:pt x="97" y="494"/>
                    </a:lnTo>
                    <a:lnTo>
                      <a:pt x="98" y="494"/>
                    </a:lnTo>
                    <a:lnTo>
                      <a:pt x="98" y="493"/>
                    </a:lnTo>
                    <a:lnTo>
                      <a:pt x="98" y="491"/>
                    </a:lnTo>
                    <a:lnTo>
                      <a:pt x="98" y="490"/>
                    </a:lnTo>
                    <a:lnTo>
                      <a:pt x="98" y="488"/>
                    </a:lnTo>
                    <a:lnTo>
                      <a:pt x="100" y="488"/>
                    </a:lnTo>
                    <a:lnTo>
                      <a:pt x="102" y="487"/>
                    </a:lnTo>
                    <a:lnTo>
                      <a:pt x="103" y="485"/>
                    </a:lnTo>
                    <a:lnTo>
                      <a:pt x="105" y="485"/>
                    </a:lnTo>
                    <a:lnTo>
                      <a:pt x="106" y="485"/>
                    </a:lnTo>
                    <a:lnTo>
                      <a:pt x="108" y="485"/>
                    </a:lnTo>
                    <a:lnTo>
                      <a:pt x="110" y="485"/>
                    </a:lnTo>
                    <a:lnTo>
                      <a:pt x="111" y="485"/>
                    </a:lnTo>
                    <a:lnTo>
                      <a:pt x="113" y="485"/>
                    </a:lnTo>
                    <a:lnTo>
                      <a:pt x="114" y="485"/>
                    </a:lnTo>
                    <a:lnTo>
                      <a:pt x="114" y="483"/>
                    </a:lnTo>
                    <a:lnTo>
                      <a:pt x="116" y="483"/>
                    </a:lnTo>
                    <a:lnTo>
                      <a:pt x="116" y="482"/>
                    </a:lnTo>
                    <a:lnTo>
                      <a:pt x="117" y="482"/>
                    </a:lnTo>
                    <a:lnTo>
                      <a:pt x="119" y="480"/>
                    </a:lnTo>
                    <a:lnTo>
                      <a:pt x="121" y="480"/>
                    </a:lnTo>
                    <a:lnTo>
                      <a:pt x="121" y="479"/>
                    </a:lnTo>
                    <a:lnTo>
                      <a:pt x="122" y="479"/>
                    </a:lnTo>
                    <a:lnTo>
                      <a:pt x="124" y="479"/>
                    </a:lnTo>
                    <a:lnTo>
                      <a:pt x="125" y="477"/>
                    </a:lnTo>
                    <a:lnTo>
                      <a:pt x="127" y="477"/>
                    </a:lnTo>
                    <a:lnTo>
                      <a:pt x="127" y="475"/>
                    </a:lnTo>
                    <a:lnTo>
                      <a:pt x="127" y="474"/>
                    </a:lnTo>
                    <a:lnTo>
                      <a:pt x="129" y="474"/>
                    </a:lnTo>
                    <a:lnTo>
                      <a:pt x="127" y="472"/>
                    </a:lnTo>
                    <a:lnTo>
                      <a:pt x="129" y="472"/>
                    </a:lnTo>
                    <a:lnTo>
                      <a:pt x="129" y="471"/>
                    </a:lnTo>
                    <a:lnTo>
                      <a:pt x="130" y="469"/>
                    </a:lnTo>
                    <a:lnTo>
                      <a:pt x="130" y="468"/>
                    </a:lnTo>
                    <a:lnTo>
                      <a:pt x="132" y="466"/>
                    </a:lnTo>
                    <a:lnTo>
                      <a:pt x="133" y="464"/>
                    </a:lnTo>
                    <a:lnTo>
                      <a:pt x="133" y="463"/>
                    </a:lnTo>
                    <a:lnTo>
                      <a:pt x="135" y="463"/>
                    </a:lnTo>
                    <a:lnTo>
                      <a:pt x="135" y="461"/>
                    </a:lnTo>
                    <a:lnTo>
                      <a:pt x="136" y="461"/>
                    </a:lnTo>
                    <a:lnTo>
                      <a:pt x="136" y="460"/>
                    </a:lnTo>
                    <a:lnTo>
                      <a:pt x="135" y="458"/>
                    </a:lnTo>
                    <a:lnTo>
                      <a:pt x="136" y="456"/>
                    </a:lnTo>
                    <a:lnTo>
                      <a:pt x="138" y="456"/>
                    </a:lnTo>
                    <a:lnTo>
                      <a:pt x="140" y="456"/>
                    </a:lnTo>
                    <a:lnTo>
                      <a:pt x="141" y="456"/>
                    </a:lnTo>
                    <a:lnTo>
                      <a:pt x="141" y="455"/>
                    </a:lnTo>
                    <a:lnTo>
                      <a:pt x="143" y="455"/>
                    </a:lnTo>
                    <a:lnTo>
                      <a:pt x="144" y="455"/>
                    </a:lnTo>
                    <a:lnTo>
                      <a:pt x="146" y="453"/>
                    </a:lnTo>
                    <a:lnTo>
                      <a:pt x="148" y="453"/>
                    </a:lnTo>
                    <a:lnTo>
                      <a:pt x="148" y="452"/>
                    </a:lnTo>
                    <a:lnTo>
                      <a:pt x="149" y="452"/>
                    </a:lnTo>
                    <a:lnTo>
                      <a:pt x="151" y="452"/>
                    </a:lnTo>
                    <a:lnTo>
                      <a:pt x="151" y="450"/>
                    </a:lnTo>
                    <a:lnTo>
                      <a:pt x="152" y="450"/>
                    </a:lnTo>
                    <a:lnTo>
                      <a:pt x="152" y="449"/>
                    </a:lnTo>
                    <a:lnTo>
                      <a:pt x="154" y="449"/>
                    </a:lnTo>
                    <a:lnTo>
                      <a:pt x="155" y="449"/>
                    </a:lnTo>
                    <a:lnTo>
                      <a:pt x="155" y="447"/>
                    </a:lnTo>
                    <a:lnTo>
                      <a:pt x="157" y="447"/>
                    </a:lnTo>
                    <a:lnTo>
                      <a:pt x="159" y="445"/>
                    </a:lnTo>
                    <a:lnTo>
                      <a:pt x="160" y="444"/>
                    </a:lnTo>
                    <a:lnTo>
                      <a:pt x="160" y="442"/>
                    </a:lnTo>
                    <a:lnTo>
                      <a:pt x="162" y="442"/>
                    </a:lnTo>
                    <a:lnTo>
                      <a:pt x="163" y="441"/>
                    </a:lnTo>
                    <a:lnTo>
                      <a:pt x="165" y="439"/>
                    </a:lnTo>
                    <a:lnTo>
                      <a:pt x="167" y="437"/>
                    </a:lnTo>
                    <a:lnTo>
                      <a:pt x="168" y="437"/>
                    </a:lnTo>
                    <a:lnTo>
                      <a:pt x="168" y="436"/>
                    </a:lnTo>
                    <a:lnTo>
                      <a:pt x="170" y="436"/>
                    </a:lnTo>
                    <a:lnTo>
                      <a:pt x="171" y="436"/>
                    </a:lnTo>
                    <a:lnTo>
                      <a:pt x="173" y="434"/>
                    </a:lnTo>
                    <a:lnTo>
                      <a:pt x="174" y="434"/>
                    </a:lnTo>
                    <a:lnTo>
                      <a:pt x="174" y="433"/>
                    </a:lnTo>
                    <a:lnTo>
                      <a:pt x="174" y="431"/>
                    </a:lnTo>
                    <a:lnTo>
                      <a:pt x="173" y="431"/>
                    </a:lnTo>
                    <a:lnTo>
                      <a:pt x="173" y="430"/>
                    </a:lnTo>
                    <a:lnTo>
                      <a:pt x="171" y="428"/>
                    </a:lnTo>
                    <a:lnTo>
                      <a:pt x="171" y="426"/>
                    </a:lnTo>
                    <a:lnTo>
                      <a:pt x="171" y="425"/>
                    </a:lnTo>
                    <a:lnTo>
                      <a:pt x="170" y="425"/>
                    </a:lnTo>
                    <a:lnTo>
                      <a:pt x="170" y="423"/>
                    </a:lnTo>
                    <a:lnTo>
                      <a:pt x="170" y="422"/>
                    </a:lnTo>
                    <a:lnTo>
                      <a:pt x="168" y="422"/>
                    </a:lnTo>
                    <a:lnTo>
                      <a:pt x="168" y="420"/>
                    </a:lnTo>
                    <a:lnTo>
                      <a:pt x="168" y="418"/>
                    </a:lnTo>
                    <a:lnTo>
                      <a:pt x="168" y="417"/>
                    </a:lnTo>
                    <a:lnTo>
                      <a:pt x="168" y="415"/>
                    </a:lnTo>
                    <a:lnTo>
                      <a:pt x="168" y="414"/>
                    </a:lnTo>
                    <a:lnTo>
                      <a:pt x="168" y="412"/>
                    </a:lnTo>
                    <a:lnTo>
                      <a:pt x="168" y="411"/>
                    </a:lnTo>
                    <a:lnTo>
                      <a:pt x="168" y="409"/>
                    </a:lnTo>
                    <a:lnTo>
                      <a:pt x="168" y="407"/>
                    </a:lnTo>
                    <a:lnTo>
                      <a:pt x="168" y="406"/>
                    </a:lnTo>
                    <a:lnTo>
                      <a:pt x="168" y="404"/>
                    </a:lnTo>
                    <a:lnTo>
                      <a:pt x="168" y="403"/>
                    </a:lnTo>
                    <a:lnTo>
                      <a:pt x="168" y="401"/>
                    </a:lnTo>
                    <a:lnTo>
                      <a:pt x="168" y="399"/>
                    </a:lnTo>
                    <a:lnTo>
                      <a:pt x="168" y="398"/>
                    </a:lnTo>
                    <a:lnTo>
                      <a:pt x="168" y="396"/>
                    </a:lnTo>
                    <a:lnTo>
                      <a:pt x="168" y="395"/>
                    </a:lnTo>
                    <a:lnTo>
                      <a:pt x="168" y="393"/>
                    </a:lnTo>
                    <a:lnTo>
                      <a:pt x="168" y="392"/>
                    </a:lnTo>
                    <a:lnTo>
                      <a:pt x="168" y="390"/>
                    </a:lnTo>
                    <a:lnTo>
                      <a:pt x="168" y="388"/>
                    </a:lnTo>
                    <a:lnTo>
                      <a:pt x="168" y="387"/>
                    </a:lnTo>
                    <a:lnTo>
                      <a:pt x="168" y="385"/>
                    </a:lnTo>
                    <a:lnTo>
                      <a:pt x="168" y="384"/>
                    </a:lnTo>
                    <a:lnTo>
                      <a:pt x="168" y="382"/>
                    </a:lnTo>
                    <a:lnTo>
                      <a:pt x="168" y="380"/>
                    </a:lnTo>
                    <a:lnTo>
                      <a:pt x="168" y="379"/>
                    </a:lnTo>
                    <a:lnTo>
                      <a:pt x="168" y="377"/>
                    </a:lnTo>
                    <a:lnTo>
                      <a:pt x="168" y="376"/>
                    </a:lnTo>
                    <a:lnTo>
                      <a:pt x="168" y="374"/>
                    </a:lnTo>
                    <a:lnTo>
                      <a:pt x="168" y="373"/>
                    </a:lnTo>
                    <a:lnTo>
                      <a:pt x="170" y="373"/>
                    </a:lnTo>
                    <a:lnTo>
                      <a:pt x="170" y="371"/>
                    </a:lnTo>
                    <a:lnTo>
                      <a:pt x="170" y="369"/>
                    </a:lnTo>
                    <a:lnTo>
                      <a:pt x="170" y="368"/>
                    </a:lnTo>
                    <a:lnTo>
                      <a:pt x="171" y="368"/>
                    </a:lnTo>
                    <a:lnTo>
                      <a:pt x="171" y="366"/>
                    </a:lnTo>
                    <a:lnTo>
                      <a:pt x="171" y="365"/>
                    </a:lnTo>
                    <a:lnTo>
                      <a:pt x="173" y="363"/>
                    </a:lnTo>
                    <a:lnTo>
                      <a:pt x="173" y="361"/>
                    </a:lnTo>
                    <a:lnTo>
                      <a:pt x="173" y="360"/>
                    </a:lnTo>
                    <a:lnTo>
                      <a:pt x="173" y="358"/>
                    </a:lnTo>
                    <a:lnTo>
                      <a:pt x="174" y="358"/>
                    </a:lnTo>
                    <a:lnTo>
                      <a:pt x="174" y="357"/>
                    </a:lnTo>
                    <a:lnTo>
                      <a:pt x="174" y="355"/>
                    </a:lnTo>
                    <a:lnTo>
                      <a:pt x="174" y="353"/>
                    </a:lnTo>
                    <a:lnTo>
                      <a:pt x="174" y="352"/>
                    </a:lnTo>
                    <a:lnTo>
                      <a:pt x="176" y="350"/>
                    </a:lnTo>
                    <a:lnTo>
                      <a:pt x="176" y="349"/>
                    </a:lnTo>
                    <a:lnTo>
                      <a:pt x="176" y="347"/>
                    </a:lnTo>
                    <a:lnTo>
                      <a:pt x="176" y="346"/>
                    </a:lnTo>
                    <a:lnTo>
                      <a:pt x="178" y="346"/>
                    </a:lnTo>
                    <a:lnTo>
                      <a:pt x="178" y="344"/>
                    </a:lnTo>
                    <a:lnTo>
                      <a:pt x="178" y="342"/>
                    </a:lnTo>
                    <a:lnTo>
                      <a:pt x="179" y="341"/>
                    </a:lnTo>
                    <a:lnTo>
                      <a:pt x="179" y="339"/>
                    </a:lnTo>
                    <a:lnTo>
                      <a:pt x="179" y="338"/>
                    </a:lnTo>
                    <a:lnTo>
                      <a:pt x="181" y="336"/>
                    </a:lnTo>
                    <a:lnTo>
                      <a:pt x="181" y="334"/>
                    </a:lnTo>
                    <a:lnTo>
                      <a:pt x="182" y="333"/>
                    </a:lnTo>
                    <a:lnTo>
                      <a:pt x="182" y="331"/>
                    </a:lnTo>
                    <a:lnTo>
                      <a:pt x="184" y="330"/>
                    </a:lnTo>
                    <a:lnTo>
                      <a:pt x="184" y="328"/>
                    </a:lnTo>
                    <a:lnTo>
                      <a:pt x="186" y="328"/>
                    </a:lnTo>
                    <a:lnTo>
                      <a:pt x="186" y="327"/>
                    </a:lnTo>
                    <a:lnTo>
                      <a:pt x="186" y="325"/>
                    </a:lnTo>
                    <a:lnTo>
                      <a:pt x="186" y="323"/>
                    </a:lnTo>
                    <a:lnTo>
                      <a:pt x="186" y="322"/>
                    </a:lnTo>
                    <a:lnTo>
                      <a:pt x="186" y="320"/>
                    </a:lnTo>
                    <a:lnTo>
                      <a:pt x="186" y="319"/>
                    </a:lnTo>
                    <a:lnTo>
                      <a:pt x="186" y="317"/>
                    </a:lnTo>
                    <a:lnTo>
                      <a:pt x="186" y="315"/>
                    </a:lnTo>
                    <a:lnTo>
                      <a:pt x="186" y="314"/>
                    </a:lnTo>
                    <a:lnTo>
                      <a:pt x="186" y="312"/>
                    </a:lnTo>
                    <a:lnTo>
                      <a:pt x="186" y="311"/>
                    </a:lnTo>
                    <a:lnTo>
                      <a:pt x="186" y="309"/>
                    </a:lnTo>
                    <a:lnTo>
                      <a:pt x="186" y="308"/>
                    </a:lnTo>
                    <a:lnTo>
                      <a:pt x="186" y="306"/>
                    </a:lnTo>
                    <a:lnTo>
                      <a:pt x="186" y="304"/>
                    </a:lnTo>
                    <a:lnTo>
                      <a:pt x="186" y="303"/>
                    </a:lnTo>
                    <a:lnTo>
                      <a:pt x="186" y="301"/>
                    </a:lnTo>
                    <a:lnTo>
                      <a:pt x="186" y="300"/>
                    </a:lnTo>
                    <a:lnTo>
                      <a:pt x="186" y="298"/>
                    </a:lnTo>
                    <a:lnTo>
                      <a:pt x="186" y="296"/>
                    </a:lnTo>
                    <a:lnTo>
                      <a:pt x="186" y="295"/>
                    </a:lnTo>
                    <a:lnTo>
                      <a:pt x="187" y="293"/>
                    </a:lnTo>
                    <a:lnTo>
                      <a:pt x="187" y="292"/>
                    </a:lnTo>
                    <a:lnTo>
                      <a:pt x="187" y="290"/>
                    </a:lnTo>
                    <a:lnTo>
                      <a:pt x="187" y="289"/>
                    </a:lnTo>
                    <a:lnTo>
                      <a:pt x="187" y="287"/>
                    </a:lnTo>
                    <a:lnTo>
                      <a:pt x="187" y="285"/>
                    </a:lnTo>
                    <a:lnTo>
                      <a:pt x="187" y="284"/>
                    </a:lnTo>
                    <a:lnTo>
                      <a:pt x="187" y="282"/>
                    </a:lnTo>
                    <a:lnTo>
                      <a:pt x="187" y="281"/>
                    </a:lnTo>
                    <a:lnTo>
                      <a:pt x="186" y="281"/>
                    </a:lnTo>
                    <a:lnTo>
                      <a:pt x="186" y="279"/>
                    </a:lnTo>
                    <a:lnTo>
                      <a:pt x="187" y="279"/>
                    </a:lnTo>
                    <a:lnTo>
                      <a:pt x="189" y="279"/>
                    </a:lnTo>
                    <a:lnTo>
                      <a:pt x="190" y="279"/>
                    </a:lnTo>
                    <a:lnTo>
                      <a:pt x="192" y="279"/>
                    </a:lnTo>
                    <a:lnTo>
                      <a:pt x="193" y="279"/>
                    </a:lnTo>
                    <a:lnTo>
                      <a:pt x="195" y="277"/>
                    </a:lnTo>
                    <a:lnTo>
                      <a:pt x="195" y="276"/>
                    </a:lnTo>
                    <a:lnTo>
                      <a:pt x="197" y="276"/>
                    </a:lnTo>
                    <a:lnTo>
                      <a:pt x="197" y="274"/>
                    </a:lnTo>
                    <a:lnTo>
                      <a:pt x="198" y="273"/>
                    </a:lnTo>
                    <a:lnTo>
                      <a:pt x="198" y="271"/>
                    </a:lnTo>
                    <a:lnTo>
                      <a:pt x="200" y="271"/>
                    </a:lnTo>
                    <a:lnTo>
                      <a:pt x="200" y="270"/>
                    </a:lnTo>
                    <a:lnTo>
                      <a:pt x="200" y="268"/>
                    </a:lnTo>
                    <a:lnTo>
                      <a:pt x="201" y="268"/>
                    </a:lnTo>
                    <a:lnTo>
                      <a:pt x="201" y="266"/>
                    </a:lnTo>
                    <a:lnTo>
                      <a:pt x="201" y="265"/>
                    </a:lnTo>
                    <a:lnTo>
                      <a:pt x="203" y="263"/>
                    </a:lnTo>
                    <a:lnTo>
                      <a:pt x="203" y="262"/>
                    </a:lnTo>
                    <a:lnTo>
                      <a:pt x="205" y="262"/>
                    </a:lnTo>
                    <a:lnTo>
                      <a:pt x="205" y="260"/>
                    </a:lnTo>
                    <a:lnTo>
                      <a:pt x="205" y="258"/>
                    </a:lnTo>
                    <a:lnTo>
                      <a:pt x="205" y="257"/>
                    </a:lnTo>
                    <a:lnTo>
                      <a:pt x="205" y="255"/>
                    </a:lnTo>
                    <a:lnTo>
                      <a:pt x="205" y="254"/>
                    </a:lnTo>
                    <a:lnTo>
                      <a:pt x="205" y="252"/>
                    </a:lnTo>
                    <a:lnTo>
                      <a:pt x="205" y="251"/>
                    </a:lnTo>
                    <a:lnTo>
                      <a:pt x="205" y="249"/>
                    </a:lnTo>
                    <a:lnTo>
                      <a:pt x="205" y="247"/>
                    </a:lnTo>
                    <a:lnTo>
                      <a:pt x="205" y="246"/>
                    </a:lnTo>
                    <a:lnTo>
                      <a:pt x="203" y="246"/>
                    </a:lnTo>
                    <a:lnTo>
                      <a:pt x="203" y="244"/>
                    </a:lnTo>
                    <a:lnTo>
                      <a:pt x="201" y="244"/>
                    </a:lnTo>
                    <a:lnTo>
                      <a:pt x="200" y="243"/>
                    </a:lnTo>
                    <a:lnTo>
                      <a:pt x="198" y="243"/>
                    </a:lnTo>
                    <a:lnTo>
                      <a:pt x="198" y="241"/>
                    </a:lnTo>
                    <a:lnTo>
                      <a:pt x="197" y="241"/>
                    </a:lnTo>
                    <a:lnTo>
                      <a:pt x="197" y="239"/>
                    </a:lnTo>
                    <a:lnTo>
                      <a:pt x="195" y="239"/>
                    </a:lnTo>
                    <a:lnTo>
                      <a:pt x="193" y="238"/>
                    </a:lnTo>
                    <a:lnTo>
                      <a:pt x="192" y="238"/>
                    </a:lnTo>
                    <a:lnTo>
                      <a:pt x="190" y="238"/>
                    </a:lnTo>
                    <a:lnTo>
                      <a:pt x="190" y="236"/>
                    </a:lnTo>
                    <a:lnTo>
                      <a:pt x="189" y="236"/>
                    </a:lnTo>
                    <a:lnTo>
                      <a:pt x="187" y="235"/>
                    </a:lnTo>
                    <a:lnTo>
                      <a:pt x="186" y="233"/>
                    </a:lnTo>
                    <a:lnTo>
                      <a:pt x="186" y="232"/>
                    </a:lnTo>
                    <a:lnTo>
                      <a:pt x="184" y="232"/>
                    </a:lnTo>
                    <a:lnTo>
                      <a:pt x="184" y="230"/>
                    </a:lnTo>
                    <a:lnTo>
                      <a:pt x="186" y="230"/>
                    </a:lnTo>
                    <a:lnTo>
                      <a:pt x="186" y="228"/>
                    </a:lnTo>
                    <a:lnTo>
                      <a:pt x="187" y="227"/>
                    </a:lnTo>
                    <a:lnTo>
                      <a:pt x="187" y="225"/>
                    </a:lnTo>
                    <a:lnTo>
                      <a:pt x="189" y="225"/>
                    </a:lnTo>
                    <a:lnTo>
                      <a:pt x="189" y="224"/>
                    </a:lnTo>
                    <a:lnTo>
                      <a:pt x="190" y="224"/>
                    </a:lnTo>
                    <a:lnTo>
                      <a:pt x="190" y="222"/>
                    </a:lnTo>
                    <a:lnTo>
                      <a:pt x="190" y="220"/>
                    </a:lnTo>
                    <a:lnTo>
                      <a:pt x="192" y="219"/>
                    </a:lnTo>
                    <a:lnTo>
                      <a:pt x="193" y="219"/>
                    </a:lnTo>
                    <a:lnTo>
                      <a:pt x="193" y="217"/>
                    </a:lnTo>
                    <a:lnTo>
                      <a:pt x="193" y="216"/>
                    </a:lnTo>
                    <a:lnTo>
                      <a:pt x="195" y="216"/>
                    </a:lnTo>
                    <a:lnTo>
                      <a:pt x="195" y="214"/>
                    </a:lnTo>
                    <a:lnTo>
                      <a:pt x="197" y="214"/>
                    </a:lnTo>
                    <a:lnTo>
                      <a:pt x="197" y="213"/>
                    </a:lnTo>
                    <a:lnTo>
                      <a:pt x="198" y="213"/>
                    </a:lnTo>
                    <a:lnTo>
                      <a:pt x="198" y="211"/>
                    </a:lnTo>
                    <a:lnTo>
                      <a:pt x="200" y="209"/>
                    </a:lnTo>
                    <a:lnTo>
                      <a:pt x="201" y="208"/>
                    </a:lnTo>
                    <a:lnTo>
                      <a:pt x="203" y="206"/>
                    </a:lnTo>
                    <a:lnTo>
                      <a:pt x="205" y="205"/>
                    </a:lnTo>
                    <a:lnTo>
                      <a:pt x="206" y="205"/>
                    </a:lnTo>
                    <a:lnTo>
                      <a:pt x="208" y="203"/>
                    </a:lnTo>
                    <a:lnTo>
                      <a:pt x="209" y="203"/>
                    </a:lnTo>
                    <a:lnTo>
                      <a:pt x="209" y="201"/>
                    </a:lnTo>
                    <a:lnTo>
                      <a:pt x="211" y="201"/>
                    </a:lnTo>
                    <a:lnTo>
                      <a:pt x="212" y="200"/>
                    </a:lnTo>
                    <a:lnTo>
                      <a:pt x="212" y="198"/>
                    </a:lnTo>
                    <a:lnTo>
                      <a:pt x="214" y="198"/>
                    </a:lnTo>
                    <a:lnTo>
                      <a:pt x="214" y="197"/>
                    </a:lnTo>
                    <a:lnTo>
                      <a:pt x="216" y="197"/>
                    </a:lnTo>
                    <a:lnTo>
                      <a:pt x="216" y="195"/>
                    </a:lnTo>
                    <a:lnTo>
                      <a:pt x="217" y="195"/>
                    </a:lnTo>
                    <a:lnTo>
                      <a:pt x="217" y="194"/>
                    </a:lnTo>
                    <a:lnTo>
                      <a:pt x="219" y="194"/>
                    </a:lnTo>
                    <a:lnTo>
                      <a:pt x="219" y="192"/>
                    </a:lnTo>
                    <a:lnTo>
                      <a:pt x="220" y="190"/>
                    </a:lnTo>
                    <a:lnTo>
                      <a:pt x="222" y="190"/>
                    </a:lnTo>
                    <a:lnTo>
                      <a:pt x="222" y="189"/>
                    </a:lnTo>
                    <a:lnTo>
                      <a:pt x="224" y="187"/>
                    </a:lnTo>
                    <a:lnTo>
                      <a:pt x="225" y="186"/>
                    </a:lnTo>
                    <a:lnTo>
                      <a:pt x="227" y="184"/>
                    </a:lnTo>
                    <a:lnTo>
                      <a:pt x="227" y="182"/>
                    </a:lnTo>
                    <a:lnTo>
                      <a:pt x="228" y="182"/>
                    </a:lnTo>
                    <a:lnTo>
                      <a:pt x="228" y="181"/>
                    </a:lnTo>
                    <a:lnTo>
                      <a:pt x="230" y="181"/>
                    </a:lnTo>
                    <a:lnTo>
                      <a:pt x="230" y="179"/>
                    </a:lnTo>
                    <a:lnTo>
                      <a:pt x="232" y="179"/>
                    </a:lnTo>
                    <a:lnTo>
                      <a:pt x="232" y="178"/>
                    </a:lnTo>
                    <a:lnTo>
                      <a:pt x="233" y="178"/>
                    </a:lnTo>
                    <a:lnTo>
                      <a:pt x="233" y="176"/>
                    </a:lnTo>
                    <a:lnTo>
                      <a:pt x="235" y="176"/>
                    </a:lnTo>
                    <a:lnTo>
                      <a:pt x="235" y="174"/>
                    </a:lnTo>
                    <a:lnTo>
                      <a:pt x="236" y="174"/>
                    </a:lnTo>
                    <a:lnTo>
                      <a:pt x="236" y="173"/>
                    </a:lnTo>
                    <a:lnTo>
                      <a:pt x="238" y="171"/>
                    </a:lnTo>
                    <a:lnTo>
                      <a:pt x="239" y="170"/>
                    </a:lnTo>
                    <a:lnTo>
                      <a:pt x="239" y="168"/>
                    </a:lnTo>
                    <a:lnTo>
                      <a:pt x="241" y="168"/>
                    </a:lnTo>
                    <a:lnTo>
                      <a:pt x="243" y="167"/>
                    </a:lnTo>
                    <a:lnTo>
                      <a:pt x="243" y="165"/>
                    </a:lnTo>
                    <a:lnTo>
                      <a:pt x="244" y="165"/>
                    </a:lnTo>
                    <a:lnTo>
                      <a:pt x="244" y="163"/>
                    </a:lnTo>
                    <a:lnTo>
                      <a:pt x="243" y="162"/>
                    </a:lnTo>
                    <a:lnTo>
                      <a:pt x="243" y="160"/>
                    </a:lnTo>
                    <a:lnTo>
                      <a:pt x="241" y="159"/>
                    </a:lnTo>
                    <a:lnTo>
                      <a:pt x="239" y="159"/>
                    </a:lnTo>
                    <a:lnTo>
                      <a:pt x="238" y="159"/>
                    </a:lnTo>
                    <a:lnTo>
                      <a:pt x="238" y="157"/>
                    </a:lnTo>
                    <a:lnTo>
                      <a:pt x="236" y="157"/>
                    </a:lnTo>
                    <a:lnTo>
                      <a:pt x="235" y="157"/>
                    </a:lnTo>
                    <a:lnTo>
                      <a:pt x="235" y="155"/>
                    </a:lnTo>
                    <a:lnTo>
                      <a:pt x="233" y="155"/>
                    </a:lnTo>
                    <a:lnTo>
                      <a:pt x="233" y="154"/>
                    </a:lnTo>
                    <a:lnTo>
                      <a:pt x="232" y="152"/>
                    </a:lnTo>
                    <a:lnTo>
                      <a:pt x="230" y="151"/>
                    </a:lnTo>
                    <a:lnTo>
                      <a:pt x="230" y="149"/>
                    </a:lnTo>
                    <a:lnTo>
                      <a:pt x="228" y="149"/>
                    </a:lnTo>
                    <a:lnTo>
                      <a:pt x="228" y="148"/>
                    </a:lnTo>
                    <a:lnTo>
                      <a:pt x="227" y="148"/>
                    </a:lnTo>
                    <a:lnTo>
                      <a:pt x="227" y="146"/>
                    </a:lnTo>
                    <a:lnTo>
                      <a:pt x="225" y="146"/>
                    </a:lnTo>
                    <a:lnTo>
                      <a:pt x="225" y="144"/>
                    </a:lnTo>
                    <a:lnTo>
                      <a:pt x="224" y="143"/>
                    </a:lnTo>
                    <a:lnTo>
                      <a:pt x="222" y="143"/>
                    </a:lnTo>
                    <a:lnTo>
                      <a:pt x="222" y="141"/>
                    </a:lnTo>
                    <a:lnTo>
                      <a:pt x="220" y="141"/>
                    </a:lnTo>
                    <a:lnTo>
                      <a:pt x="219" y="140"/>
                    </a:lnTo>
                    <a:lnTo>
                      <a:pt x="217" y="140"/>
                    </a:lnTo>
                    <a:lnTo>
                      <a:pt x="217" y="138"/>
                    </a:lnTo>
                    <a:lnTo>
                      <a:pt x="216" y="138"/>
                    </a:lnTo>
                    <a:lnTo>
                      <a:pt x="216" y="136"/>
                    </a:lnTo>
                    <a:lnTo>
                      <a:pt x="214" y="136"/>
                    </a:lnTo>
                    <a:lnTo>
                      <a:pt x="212" y="135"/>
                    </a:lnTo>
                    <a:lnTo>
                      <a:pt x="212" y="133"/>
                    </a:lnTo>
                    <a:lnTo>
                      <a:pt x="211" y="132"/>
                    </a:lnTo>
                    <a:lnTo>
                      <a:pt x="211" y="130"/>
                    </a:lnTo>
                    <a:lnTo>
                      <a:pt x="209" y="129"/>
                    </a:lnTo>
                    <a:lnTo>
                      <a:pt x="209" y="127"/>
                    </a:lnTo>
                    <a:lnTo>
                      <a:pt x="208" y="127"/>
                    </a:lnTo>
                    <a:lnTo>
                      <a:pt x="208" y="125"/>
                    </a:lnTo>
                    <a:lnTo>
                      <a:pt x="206" y="125"/>
                    </a:lnTo>
                    <a:lnTo>
                      <a:pt x="206" y="124"/>
                    </a:lnTo>
                    <a:lnTo>
                      <a:pt x="205" y="124"/>
                    </a:lnTo>
                    <a:lnTo>
                      <a:pt x="203" y="124"/>
                    </a:lnTo>
                    <a:lnTo>
                      <a:pt x="203" y="122"/>
                    </a:lnTo>
                    <a:lnTo>
                      <a:pt x="201" y="122"/>
                    </a:lnTo>
                    <a:lnTo>
                      <a:pt x="200" y="122"/>
                    </a:lnTo>
                    <a:lnTo>
                      <a:pt x="198" y="122"/>
                    </a:lnTo>
                    <a:lnTo>
                      <a:pt x="198" y="121"/>
                    </a:lnTo>
                    <a:lnTo>
                      <a:pt x="197" y="121"/>
                    </a:lnTo>
                    <a:lnTo>
                      <a:pt x="195" y="121"/>
                    </a:lnTo>
                    <a:lnTo>
                      <a:pt x="193" y="121"/>
                    </a:lnTo>
                    <a:lnTo>
                      <a:pt x="192" y="121"/>
                    </a:lnTo>
                    <a:lnTo>
                      <a:pt x="192" y="119"/>
                    </a:lnTo>
                    <a:lnTo>
                      <a:pt x="190" y="119"/>
                    </a:lnTo>
                    <a:lnTo>
                      <a:pt x="190" y="117"/>
                    </a:lnTo>
                    <a:lnTo>
                      <a:pt x="189" y="117"/>
                    </a:lnTo>
                    <a:lnTo>
                      <a:pt x="189" y="116"/>
                    </a:lnTo>
                    <a:lnTo>
                      <a:pt x="189" y="114"/>
                    </a:lnTo>
                    <a:lnTo>
                      <a:pt x="187" y="114"/>
                    </a:lnTo>
                    <a:lnTo>
                      <a:pt x="187" y="113"/>
                    </a:lnTo>
                    <a:lnTo>
                      <a:pt x="187" y="111"/>
                    </a:lnTo>
                    <a:lnTo>
                      <a:pt x="186" y="110"/>
                    </a:lnTo>
                    <a:lnTo>
                      <a:pt x="184" y="110"/>
                    </a:lnTo>
                    <a:lnTo>
                      <a:pt x="184" y="108"/>
                    </a:lnTo>
                    <a:lnTo>
                      <a:pt x="182" y="108"/>
                    </a:lnTo>
                    <a:lnTo>
                      <a:pt x="181" y="106"/>
                    </a:lnTo>
                    <a:lnTo>
                      <a:pt x="179" y="106"/>
                    </a:lnTo>
                    <a:lnTo>
                      <a:pt x="178" y="106"/>
                    </a:lnTo>
                    <a:lnTo>
                      <a:pt x="178" y="105"/>
                    </a:lnTo>
                    <a:lnTo>
                      <a:pt x="176" y="105"/>
                    </a:lnTo>
                    <a:lnTo>
                      <a:pt x="174" y="105"/>
                    </a:lnTo>
                    <a:lnTo>
                      <a:pt x="174" y="103"/>
                    </a:lnTo>
                    <a:lnTo>
                      <a:pt x="173" y="103"/>
                    </a:lnTo>
                    <a:lnTo>
                      <a:pt x="171" y="103"/>
                    </a:lnTo>
                    <a:lnTo>
                      <a:pt x="170" y="103"/>
                    </a:lnTo>
                    <a:lnTo>
                      <a:pt x="168" y="103"/>
                    </a:lnTo>
                    <a:lnTo>
                      <a:pt x="167" y="103"/>
                    </a:lnTo>
                    <a:lnTo>
                      <a:pt x="167" y="102"/>
                    </a:lnTo>
                    <a:lnTo>
                      <a:pt x="165" y="102"/>
                    </a:lnTo>
                    <a:lnTo>
                      <a:pt x="163" y="102"/>
                    </a:lnTo>
                    <a:lnTo>
                      <a:pt x="163" y="100"/>
                    </a:lnTo>
                    <a:lnTo>
                      <a:pt x="162" y="98"/>
                    </a:lnTo>
                    <a:lnTo>
                      <a:pt x="160" y="98"/>
                    </a:lnTo>
                    <a:lnTo>
                      <a:pt x="160" y="97"/>
                    </a:lnTo>
                    <a:lnTo>
                      <a:pt x="159" y="97"/>
                    </a:lnTo>
                    <a:lnTo>
                      <a:pt x="157" y="95"/>
                    </a:lnTo>
                    <a:lnTo>
                      <a:pt x="155" y="95"/>
                    </a:lnTo>
                    <a:lnTo>
                      <a:pt x="154" y="95"/>
                    </a:lnTo>
                    <a:lnTo>
                      <a:pt x="154" y="94"/>
                    </a:lnTo>
                    <a:lnTo>
                      <a:pt x="152" y="94"/>
                    </a:lnTo>
                    <a:lnTo>
                      <a:pt x="151" y="94"/>
                    </a:lnTo>
                    <a:lnTo>
                      <a:pt x="149" y="94"/>
                    </a:lnTo>
                    <a:lnTo>
                      <a:pt x="148" y="94"/>
                    </a:lnTo>
                    <a:lnTo>
                      <a:pt x="148" y="92"/>
                    </a:lnTo>
                    <a:lnTo>
                      <a:pt x="146" y="91"/>
                    </a:lnTo>
                    <a:lnTo>
                      <a:pt x="146" y="89"/>
                    </a:lnTo>
                    <a:lnTo>
                      <a:pt x="146" y="87"/>
                    </a:lnTo>
                    <a:lnTo>
                      <a:pt x="144" y="87"/>
                    </a:lnTo>
                    <a:lnTo>
                      <a:pt x="144" y="86"/>
                    </a:lnTo>
                    <a:lnTo>
                      <a:pt x="144" y="84"/>
                    </a:lnTo>
                    <a:lnTo>
                      <a:pt x="144" y="83"/>
                    </a:lnTo>
                    <a:lnTo>
                      <a:pt x="144" y="81"/>
                    </a:lnTo>
                    <a:lnTo>
                      <a:pt x="144" y="79"/>
                    </a:lnTo>
                    <a:lnTo>
                      <a:pt x="144" y="78"/>
                    </a:lnTo>
                    <a:lnTo>
                      <a:pt x="143" y="78"/>
                    </a:lnTo>
                    <a:lnTo>
                      <a:pt x="143" y="76"/>
                    </a:lnTo>
                    <a:lnTo>
                      <a:pt x="143" y="75"/>
                    </a:lnTo>
                    <a:lnTo>
                      <a:pt x="141" y="73"/>
                    </a:lnTo>
                    <a:lnTo>
                      <a:pt x="141" y="72"/>
                    </a:lnTo>
                    <a:lnTo>
                      <a:pt x="141" y="70"/>
                    </a:lnTo>
                    <a:lnTo>
                      <a:pt x="140" y="68"/>
                    </a:lnTo>
                    <a:lnTo>
                      <a:pt x="140" y="67"/>
                    </a:lnTo>
                    <a:lnTo>
                      <a:pt x="140" y="65"/>
                    </a:lnTo>
                    <a:lnTo>
                      <a:pt x="140" y="64"/>
                    </a:lnTo>
                    <a:lnTo>
                      <a:pt x="138" y="62"/>
                    </a:lnTo>
                    <a:lnTo>
                      <a:pt x="138" y="60"/>
                    </a:lnTo>
                    <a:lnTo>
                      <a:pt x="138" y="59"/>
                    </a:lnTo>
                    <a:lnTo>
                      <a:pt x="138" y="57"/>
                    </a:lnTo>
                    <a:lnTo>
                      <a:pt x="140" y="57"/>
                    </a:lnTo>
                    <a:lnTo>
                      <a:pt x="140" y="56"/>
                    </a:lnTo>
                    <a:lnTo>
                      <a:pt x="140" y="54"/>
                    </a:lnTo>
                    <a:lnTo>
                      <a:pt x="141" y="54"/>
                    </a:lnTo>
                    <a:lnTo>
                      <a:pt x="141" y="53"/>
                    </a:lnTo>
                    <a:lnTo>
                      <a:pt x="143" y="53"/>
                    </a:lnTo>
                    <a:lnTo>
                      <a:pt x="143" y="51"/>
                    </a:lnTo>
                    <a:lnTo>
                      <a:pt x="143" y="49"/>
                    </a:lnTo>
                    <a:lnTo>
                      <a:pt x="143" y="48"/>
                    </a:lnTo>
                    <a:lnTo>
                      <a:pt x="144" y="48"/>
                    </a:lnTo>
                    <a:lnTo>
                      <a:pt x="144" y="46"/>
                    </a:lnTo>
                    <a:lnTo>
                      <a:pt x="144" y="45"/>
                    </a:lnTo>
                    <a:lnTo>
                      <a:pt x="146" y="45"/>
                    </a:lnTo>
                    <a:lnTo>
                      <a:pt x="146" y="43"/>
                    </a:lnTo>
                    <a:lnTo>
                      <a:pt x="146" y="41"/>
                    </a:lnTo>
                    <a:lnTo>
                      <a:pt x="148" y="40"/>
                    </a:lnTo>
                    <a:lnTo>
                      <a:pt x="148" y="38"/>
                    </a:lnTo>
                    <a:lnTo>
                      <a:pt x="149" y="37"/>
                    </a:lnTo>
                    <a:lnTo>
                      <a:pt x="149" y="35"/>
                    </a:lnTo>
                    <a:lnTo>
                      <a:pt x="151" y="34"/>
                    </a:lnTo>
                    <a:lnTo>
                      <a:pt x="151" y="32"/>
                    </a:lnTo>
                    <a:lnTo>
                      <a:pt x="152" y="30"/>
                    </a:lnTo>
                    <a:lnTo>
                      <a:pt x="151" y="30"/>
                    </a:lnTo>
                    <a:lnTo>
                      <a:pt x="151" y="29"/>
                    </a:lnTo>
                    <a:lnTo>
                      <a:pt x="149" y="29"/>
                    </a:lnTo>
                    <a:lnTo>
                      <a:pt x="149" y="27"/>
                    </a:lnTo>
                    <a:lnTo>
                      <a:pt x="148" y="27"/>
                    </a:lnTo>
                    <a:lnTo>
                      <a:pt x="148" y="26"/>
                    </a:lnTo>
                    <a:lnTo>
                      <a:pt x="148" y="24"/>
                    </a:lnTo>
                    <a:lnTo>
                      <a:pt x="146" y="22"/>
                    </a:lnTo>
                    <a:lnTo>
                      <a:pt x="146" y="21"/>
                    </a:lnTo>
                    <a:lnTo>
                      <a:pt x="146" y="19"/>
                    </a:lnTo>
                    <a:lnTo>
                      <a:pt x="146" y="18"/>
                    </a:lnTo>
                    <a:lnTo>
                      <a:pt x="144" y="18"/>
                    </a:lnTo>
                    <a:lnTo>
                      <a:pt x="144" y="16"/>
                    </a:lnTo>
                    <a:lnTo>
                      <a:pt x="144" y="15"/>
                    </a:lnTo>
                    <a:lnTo>
                      <a:pt x="143" y="15"/>
                    </a:lnTo>
                    <a:lnTo>
                      <a:pt x="143" y="13"/>
                    </a:lnTo>
                    <a:lnTo>
                      <a:pt x="143" y="11"/>
                    </a:lnTo>
                    <a:lnTo>
                      <a:pt x="141" y="11"/>
                    </a:lnTo>
                    <a:lnTo>
                      <a:pt x="141" y="10"/>
                    </a:lnTo>
                    <a:lnTo>
                      <a:pt x="141" y="8"/>
                    </a:lnTo>
                    <a:lnTo>
                      <a:pt x="140" y="8"/>
                    </a:lnTo>
                    <a:lnTo>
                      <a:pt x="140" y="7"/>
                    </a:lnTo>
                    <a:lnTo>
                      <a:pt x="140" y="5"/>
                    </a:lnTo>
                    <a:lnTo>
                      <a:pt x="140" y="3"/>
                    </a:lnTo>
                    <a:lnTo>
                      <a:pt x="140" y="2"/>
                    </a:lnTo>
                    <a:lnTo>
                      <a:pt x="14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49" name="Freeform 129"/>
              <p:cNvSpPr>
                <a:spLocks/>
              </p:cNvSpPr>
              <p:nvPr/>
            </p:nvSpPr>
            <p:spPr bwMode="auto">
              <a:xfrm>
                <a:off x="3360" y="1453"/>
                <a:ext cx="277" cy="351"/>
              </a:xfrm>
              <a:custGeom>
                <a:avLst/>
                <a:gdLst>
                  <a:gd name="T0" fmla="*/ 0 w 277"/>
                  <a:gd name="T1" fmla="*/ 343 h 351"/>
                  <a:gd name="T2" fmla="*/ 3 w 277"/>
                  <a:gd name="T3" fmla="*/ 334 h 351"/>
                  <a:gd name="T4" fmla="*/ 6 w 277"/>
                  <a:gd name="T5" fmla="*/ 324 h 351"/>
                  <a:gd name="T6" fmla="*/ 9 w 277"/>
                  <a:gd name="T7" fmla="*/ 315 h 351"/>
                  <a:gd name="T8" fmla="*/ 12 w 277"/>
                  <a:gd name="T9" fmla="*/ 304 h 351"/>
                  <a:gd name="T10" fmla="*/ 12 w 277"/>
                  <a:gd name="T11" fmla="*/ 294 h 351"/>
                  <a:gd name="T12" fmla="*/ 12 w 277"/>
                  <a:gd name="T13" fmla="*/ 285 h 351"/>
                  <a:gd name="T14" fmla="*/ 12 w 277"/>
                  <a:gd name="T15" fmla="*/ 275 h 351"/>
                  <a:gd name="T16" fmla="*/ 11 w 277"/>
                  <a:gd name="T17" fmla="*/ 267 h 351"/>
                  <a:gd name="T18" fmla="*/ 8 w 277"/>
                  <a:gd name="T19" fmla="*/ 258 h 351"/>
                  <a:gd name="T20" fmla="*/ 8 w 277"/>
                  <a:gd name="T21" fmla="*/ 248 h 351"/>
                  <a:gd name="T22" fmla="*/ 8 w 277"/>
                  <a:gd name="T23" fmla="*/ 240 h 351"/>
                  <a:gd name="T24" fmla="*/ 11 w 277"/>
                  <a:gd name="T25" fmla="*/ 232 h 351"/>
                  <a:gd name="T26" fmla="*/ 14 w 277"/>
                  <a:gd name="T27" fmla="*/ 225 h 351"/>
                  <a:gd name="T28" fmla="*/ 20 w 277"/>
                  <a:gd name="T29" fmla="*/ 217 h 351"/>
                  <a:gd name="T30" fmla="*/ 23 w 277"/>
                  <a:gd name="T31" fmla="*/ 209 h 351"/>
                  <a:gd name="T32" fmla="*/ 33 w 277"/>
                  <a:gd name="T33" fmla="*/ 204 h 351"/>
                  <a:gd name="T34" fmla="*/ 39 w 277"/>
                  <a:gd name="T35" fmla="*/ 198 h 351"/>
                  <a:gd name="T36" fmla="*/ 46 w 277"/>
                  <a:gd name="T37" fmla="*/ 191 h 351"/>
                  <a:gd name="T38" fmla="*/ 47 w 277"/>
                  <a:gd name="T39" fmla="*/ 183 h 351"/>
                  <a:gd name="T40" fmla="*/ 52 w 277"/>
                  <a:gd name="T41" fmla="*/ 174 h 351"/>
                  <a:gd name="T42" fmla="*/ 57 w 277"/>
                  <a:gd name="T43" fmla="*/ 168 h 351"/>
                  <a:gd name="T44" fmla="*/ 60 w 277"/>
                  <a:gd name="T45" fmla="*/ 160 h 351"/>
                  <a:gd name="T46" fmla="*/ 63 w 277"/>
                  <a:gd name="T47" fmla="*/ 152 h 351"/>
                  <a:gd name="T48" fmla="*/ 68 w 277"/>
                  <a:gd name="T49" fmla="*/ 144 h 351"/>
                  <a:gd name="T50" fmla="*/ 72 w 277"/>
                  <a:gd name="T51" fmla="*/ 136 h 351"/>
                  <a:gd name="T52" fmla="*/ 79 w 277"/>
                  <a:gd name="T53" fmla="*/ 129 h 351"/>
                  <a:gd name="T54" fmla="*/ 82 w 277"/>
                  <a:gd name="T55" fmla="*/ 123 h 351"/>
                  <a:gd name="T56" fmla="*/ 84 w 277"/>
                  <a:gd name="T57" fmla="*/ 115 h 351"/>
                  <a:gd name="T58" fmla="*/ 88 w 277"/>
                  <a:gd name="T59" fmla="*/ 107 h 351"/>
                  <a:gd name="T60" fmla="*/ 95 w 277"/>
                  <a:gd name="T61" fmla="*/ 110 h 351"/>
                  <a:gd name="T62" fmla="*/ 104 w 277"/>
                  <a:gd name="T63" fmla="*/ 112 h 351"/>
                  <a:gd name="T64" fmla="*/ 114 w 277"/>
                  <a:gd name="T65" fmla="*/ 112 h 351"/>
                  <a:gd name="T66" fmla="*/ 114 w 277"/>
                  <a:gd name="T67" fmla="*/ 103 h 351"/>
                  <a:gd name="T68" fmla="*/ 118 w 277"/>
                  <a:gd name="T69" fmla="*/ 98 h 351"/>
                  <a:gd name="T70" fmla="*/ 120 w 277"/>
                  <a:gd name="T71" fmla="*/ 90 h 351"/>
                  <a:gd name="T72" fmla="*/ 120 w 277"/>
                  <a:gd name="T73" fmla="*/ 80 h 351"/>
                  <a:gd name="T74" fmla="*/ 122 w 277"/>
                  <a:gd name="T75" fmla="*/ 71 h 351"/>
                  <a:gd name="T76" fmla="*/ 130 w 277"/>
                  <a:gd name="T77" fmla="*/ 66 h 351"/>
                  <a:gd name="T78" fmla="*/ 134 w 277"/>
                  <a:gd name="T79" fmla="*/ 63 h 351"/>
                  <a:gd name="T80" fmla="*/ 144 w 277"/>
                  <a:gd name="T81" fmla="*/ 63 h 351"/>
                  <a:gd name="T82" fmla="*/ 152 w 277"/>
                  <a:gd name="T83" fmla="*/ 63 h 351"/>
                  <a:gd name="T84" fmla="*/ 155 w 277"/>
                  <a:gd name="T85" fmla="*/ 57 h 351"/>
                  <a:gd name="T86" fmla="*/ 161 w 277"/>
                  <a:gd name="T87" fmla="*/ 52 h 351"/>
                  <a:gd name="T88" fmla="*/ 169 w 277"/>
                  <a:gd name="T89" fmla="*/ 46 h 351"/>
                  <a:gd name="T90" fmla="*/ 175 w 277"/>
                  <a:gd name="T91" fmla="*/ 42 h 351"/>
                  <a:gd name="T92" fmla="*/ 183 w 277"/>
                  <a:gd name="T93" fmla="*/ 39 h 351"/>
                  <a:gd name="T94" fmla="*/ 193 w 277"/>
                  <a:gd name="T95" fmla="*/ 39 h 351"/>
                  <a:gd name="T96" fmla="*/ 201 w 277"/>
                  <a:gd name="T97" fmla="*/ 33 h 351"/>
                  <a:gd name="T98" fmla="*/ 209 w 277"/>
                  <a:gd name="T99" fmla="*/ 30 h 351"/>
                  <a:gd name="T100" fmla="*/ 217 w 277"/>
                  <a:gd name="T101" fmla="*/ 28 h 351"/>
                  <a:gd name="T102" fmla="*/ 226 w 277"/>
                  <a:gd name="T103" fmla="*/ 25 h 351"/>
                  <a:gd name="T104" fmla="*/ 234 w 277"/>
                  <a:gd name="T105" fmla="*/ 22 h 351"/>
                  <a:gd name="T106" fmla="*/ 239 w 277"/>
                  <a:gd name="T107" fmla="*/ 17 h 351"/>
                  <a:gd name="T108" fmla="*/ 248 w 277"/>
                  <a:gd name="T109" fmla="*/ 17 h 351"/>
                  <a:gd name="T110" fmla="*/ 255 w 277"/>
                  <a:gd name="T111" fmla="*/ 14 h 351"/>
                  <a:gd name="T112" fmla="*/ 256 w 277"/>
                  <a:gd name="T113" fmla="*/ 6 h 351"/>
                  <a:gd name="T114" fmla="*/ 264 w 277"/>
                  <a:gd name="T115" fmla="*/ 1 h 351"/>
                  <a:gd name="T116" fmla="*/ 272 w 277"/>
                  <a:gd name="T11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7" h="351">
                    <a:moveTo>
                      <a:pt x="0" y="351"/>
                    </a:moveTo>
                    <a:lnTo>
                      <a:pt x="0" y="350"/>
                    </a:lnTo>
                    <a:lnTo>
                      <a:pt x="0" y="348"/>
                    </a:lnTo>
                    <a:lnTo>
                      <a:pt x="0" y="347"/>
                    </a:lnTo>
                    <a:lnTo>
                      <a:pt x="0" y="345"/>
                    </a:lnTo>
                    <a:lnTo>
                      <a:pt x="0" y="343"/>
                    </a:lnTo>
                    <a:lnTo>
                      <a:pt x="0" y="342"/>
                    </a:lnTo>
                    <a:lnTo>
                      <a:pt x="0" y="340"/>
                    </a:lnTo>
                    <a:lnTo>
                      <a:pt x="1" y="339"/>
                    </a:lnTo>
                    <a:lnTo>
                      <a:pt x="1" y="337"/>
                    </a:lnTo>
                    <a:lnTo>
                      <a:pt x="1" y="335"/>
                    </a:lnTo>
                    <a:lnTo>
                      <a:pt x="3" y="334"/>
                    </a:lnTo>
                    <a:lnTo>
                      <a:pt x="3" y="332"/>
                    </a:lnTo>
                    <a:lnTo>
                      <a:pt x="3" y="331"/>
                    </a:lnTo>
                    <a:lnTo>
                      <a:pt x="4" y="329"/>
                    </a:lnTo>
                    <a:lnTo>
                      <a:pt x="4" y="327"/>
                    </a:lnTo>
                    <a:lnTo>
                      <a:pt x="4" y="326"/>
                    </a:lnTo>
                    <a:lnTo>
                      <a:pt x="6" y="324"/>
                    </a:lnTo>
                    <a:lnTo>
                      <a:pt x="6" y="323"/>
                    </a:lnTo>
                    <a:lnTo>
                      <a:pt x="6" y="321"/>
                    </a:lnTo>
                    <a:lnTo>
                      <a:pt x="8" y="320"/>
                    </a:lnTo>
                    <a:lnTo>
                      <a:pt x="9" y="318"/>
                    </a:lnTo>
                    <a:lnTo>
                      <a:pt x="9" y="316"/>
                    </a:lnTo>
                    <a:lnTo>
                      <a:pt x="9" y="315"/>
                    </a:lnTo>
                    <a:lnTo>
                      <a:pt x="11" y="313"/>
                    </a:lnTo>
                    <a:lnTo>
                      <a:pt x="12" y="310"/>
                    </a:lnTo>
                    <a:lnTo>
                      <a:pt x="12" y="308"/>
                    </a:lnTo>
                    <a:lnTo>
                      <a:pt x="12" y="307"/>
                    </a:lnTo>
                    <a:lnTo>
                      <a:pt x="12" y="305"/>
                    </a:lnTo>
                    <a:lnTo>
                      <a:pt x="12" y="304"/>
                    </a:lnTo>
                    <a:lnTo>
                      <a:pt x="12" y="302"/>
                    </a:lnTo>
                    <a:lnTo>
                      <a:pt x="12" y="301"/>
                    </a:lnTo>
                    <a:lnTo>
                      <a:pt x="12" y="299"/>
                    </a:lnTo>
                    <a:lnTo>
                      <a:pt x="12" y="297"/>
                    </a:lnTo>
                    <a:lnTo>
                      <a:pt x="12" y="296"/>
                    </a:lnTo>
                    <a:lnTo>
                      <a:pt x="12" y="294"/>
                    </a:lnTo>
                    <a:lnTo>
                      <a:pt x="11" y="293"/>
                    </a:lnTo>
                    <a:lnTo>
                      <a:pt x="11" y="291"/>
                    </a:lnTo>
                    <a:lnTo>
                      <a:pt x="11" y="289"/>
                    </a:lnTo>
                    <a:lnTo>
                      <a:pt x="11" y="288"/>
                    </a:lnTo>
                    <a:lnTo>
                      <a:pt x="11" y="286"/>
                    </a:lnTo>
                    <a:lnTo>
                      <a:pt x="12" y="285"/>
                    </a:lnTo>
                    <a:lnTo>
                      <a:pt x="12" y="283"/>
                    </a:lnTo>
                    <a:lnTo>
                      <a:pt x="12" y="282"/>
                    </a:lnTo>
                    <a:lnTo>
                      <a:pt x="12" y="280"/>
                    </a:lnTo>
                    <a:lnTo>
                      <a:pt x="12" y="278"/>
                    </a:lnTo>
                    <a:lnTo>
                      <a:pt x="12" y="277"/>
                    </a:lnTo>
                    <a:lnTo>
                      <a:pt x="12" y="275"/>
                    </a:lnTo>
                    <a:lnTo>
                      <a:pt x="12" y="274"/>
                    </a:lnTo>
                    <a:lnTo>
                      <a:pt x="12" y="272"/>
                    </a:lnTo>
                    <a:lnTo>
                      <a:pt x="11" y="272"/>
                    </a:lnTo>
                    <a:lnTo>
                      <a:pt x="11" y="270"/>
                    </a:lnTo>
                    <a:lnTo>
                      <a:pt x="11" y="269"/>
                    </a:lnTo>
                    <a:lnTo>
                      <a:pt x="11" y="267"/>
                    </a:lnTo>
                    <a:lnTo>
                      <a:pt x="9" y="266"/>
                    </a:lnTo>
                    <a:lnTo>
                      <a:pt x="9" y="264"/>
                    </a:lnTo>
                    <a:lnTo>
                      <a:pt x="9" y="263"/>
                    </a:lnTo>
                    <a:lnTo>
                      <a:pt x="8" y="261"/>
                    </a:lnTo>
                    <a:lnTo>
                      <a:pt x="8" y="259"/>
                    </a:lnTo>
                    <a:lnTo>
                      <a:pt x="8" y="258"/>
                    </a:lnTo>
                    <a:lnTo>
                      <a:pt x="8" y="256"/>
                    </a:lnTo>
                    <a:lnTo>
                      <a:pt x="8" y="255"/>
                    </a:lnTo>
                    <a:lnTo>
                      <a:pt x="8" y="253"/>
                    </a:lnTo>
                    <a:lnTo>
                      <a:pt x="8" y="251"/>
                    </a:lnTo>
                    <a:lnTo>
                      <a:pt x="8" y="250"/>
                    </a:lnTo>
                    <a:lnTo>
                      <a:pt x="8" y="248"/>
                    </a:lnTo>
                    <a:lnTo>
                      <a:pt x="8" y="247"/>
                    </a:lnTo>
                    <a:lnTo>
                      <a:pt x="9" y="247"/>
                    </a:lnTo>
                    <a:lnTo>
                      <a:pt x="9" y="245"/>
                    </a:lnTo>
                    <a:lnTo>
                      <a:pt x="8" y="244"/>
                    </a:lnTo>
                    <a:lnTo>
                      <a:pt x="8" y="242"/>
                    </a:lnTo>
                    <a:lnTo>
                      <a:pt x="8" y="240"/>
                    </a:lnTo>
                    <a:lnTo>
                      <a:pt x="9" y="239"/>
                    </a:lnTo>
                    <a:lnTo>
                      <a:pt x="9" y="237"/>
                    </a:lnTo>
                    <a:lnTo>
                      <a:pt x="9" y="236"/>
                    </a:lnTo>
                    <a:lnTo>
                      <a:pt x="9" y="234"/>
                    </a:lnTo>
                    <a:lnTo>
                      <a:pt x="9" y="232"/>
                    </a:lnTo>
                    <a:lnTo>
                      <a:pt x="11" y="232"/>
                    </a:lnTo>
                    <a:lnTo>
                      <a:pt x="11" y="231"/>
                    </a:lnTo>
                    <a:lnTo>
                      <a:pt x="11" y="229"/>
                    </a:lnTo>
                    <a:lnTo>
                      <a:pt x="12" y="228"/>
                    </a:lnTo>
                    <a:lnTo>
                      <a:pt x="12" y="226"/>
                    </a:lnTo>
                    <a:lnTo>
                      <a:pt x="14" y="226"/>
                    </a:lnTo>
                    <a:lnTo>
                      <a:pt x="14" y="225"/>
                    </a:lnTo>
                    <a:lnTo>
                      <a:pt x="15" y="223"/>
                    </a:lnTo>
                    <a:lnTo>
                      <a:pt x="15" y="221"/>
                    </a:lnTo>
                    <a:lnTo>
                      <a:pt x="17" y="220"/>
                    </a:lnTo>
                    <a:lnTo>
                      <a:pt x="19" y="218"/>
                    </a:lnTo>
                    <a:lnTo>
                      <a:pt x="19" y="217"/>
                    </a:lnTo>
                    <a:lnTo>
                      <a:pt x="20" y="217"/>
                    </a:lnTo>
                    <a:lnTo>
                      <a:pt x="20" y="215"/>
                    </a:lnTo>
                    <a:lnTo>
                      <a:pt x="22" y="213"/>
                    </a:lnTo>
                    <a:lnTo>
                      <a:pt x="22" y="212"/>
                    </a:lnTo>
                    <a:lnTo>
                      <a:pt x="23" y="212"/>
                    </a:lnTo>
                    <a:lnTo>
                      <a:pt x="23" y="210"/>
                    </a:lnTo>
                    <a:lnTo>
                      <a:pt x="23" y="209"/>
                    </a:lnTo>
                    <a:lnTo>
                      <a:pt x="25" y="209"/>
                    </a:lnTo>
                    <a:lnTo>
                      <a:pt x="27" y="207"/>
                    </a:lnTo>
                    <a:lnTo>
                      <a:pt x="28" y="207"/>
                    </a:lnTo>
                    <a:lnTo>
                      <a:pt x="30" y="206"/>
                    </a:lnTo>
                    <a:lnTo>
                      <a:pt x="31" y="206"/>
                    </a:lnTo>
                    <a:lnTo>
                      <a:pt x="33" y="204"/>
                    </a:lnTo>
                    <a:lnTo>
                      <a:pt x="33" y="202"/>
                    </a:lnTo>
                    <a:lnTo>
                      <a:pt x="34" y="202"/>
                    </a:lnTo>
                    <a:lnTo>
                      <a:pt x="34" y="201"/>
                    </a:lnTo>
                    <a:lnTo>
                      <a:pt x="36" y="201"/>
                    </a:lnTo>
                    <a:lnTo>
                      <a:pt x="38" y="199"/>
                    </a:lnTo>
                    <a:lnTo>
                      <a:pt x="39" y="198"/>
                    </a:lnTo>
                    <a:lnTo>
                      <a:pt x="41" y="198"/>
                    </a:lnTo>
                    <a:lnTo>
                      <a:pt x="41" y="196"/>
                    </a:lnTo>
                    <a:lnTo>
                      <a:pt x="42" y="196"/>
                    </a:lnTo>
                    <a:lnTo>
                      <a:pt x="42" y="194"/>
                    </a:lnTo>
                    <a:lnTo>
                      <a:pt x="44" y="193"/>
                    </a:lnTo>
                    <a:lnTo>
                      <a:pt x="46" y="191"/>
                    </a:lnTo>
                    <a:lnTo>
                      <a:pt x="46" y="190"/>
                    </a:lnTo>
                    <a:lnTo>
                      <a:pt x="47" y="190"/>
                    </a:lnTo>
                    <a:lnTo>
                      <a:pt x="47" y="188"/>
                    </a:lnTo>
                    <a:lnTo>
                      <a:pt x="47" y="187"/>
                    </a:lnTo>
                    <a:lnTo>
                      <a:pt x="47" y="185"/>
                    </a:lnTo>
                    <a:lnTo>
                      <a:pt x="47" y="183"/>
                    </a:lnTo>
                    <a:lnTo>
                      <a:pt x="49" y="182"/>
                    </a:lnTo>
                    <a:lnTo>
                      <a:pt x="49" y="180"/>
                    </a:lnTo>
                    <a:lnTo>
                      <a:pt x="50" y="179"/>
                    </a:lnTo>
                    <a:lnTo>
                      <a:pt x="50" y="177"/>
                    </a:lnTo>
                    <a:lnTo>
                      <a:pt x="52" y="175"/>
                    </a:lnTo>
                    <a:lnTo>
                      <a:pt x="52" y="174"/>
                    </a:lnTo>
                    <a:lnTo>
                      <a:pt x="53" y="174"/>
                    </a:lnTo>
                    <a:lnTo>
                      <a:pt x="53" y="172"/>
                    </a:lnTo>
                    <a:lnTo>
                      <a:pt x="55" y="171"/>
                    </a:lnTo>
                    <a:lnTo>
                      <a:pt x="55" y="169"/>
                    </a:lnTo>
                    <a:lnTo>
                      <a:pt x="55" y="168"/>
                    </a:lnTo>
                    <a:lnTo>
                      <a:pt x="57" y="168"/>
                    </a:lnTo>
                    <a:lnTo>
                      <a:pt x="57" y="166"/>
                    </a:lnTo>
                    <a:lnTo>
                      <a:pt x="58" y="164"/>
                    </a:lnTo>
                    <a:lnTo>
                      <a:pt x="58" y="163"/>
                    </a:lnTo>
                    <a:lnTo>
                      <a:pt x="58" y="161"/>
                    </a:lnTo>
                    <a:lnTo>
                      <a:pt x="60" y="161"/>
                    </a:lnTo>
                    <a:lnTo>
                      <a:pt x="60" y="160"/>
                    </a:lnTo>
                    <a:lnTo>
                      <a:pt x="61" y="158"/>
                    </a:lnTo>
                    <a:lnTo>
                      <a:pt x="61" y="156"/>
                    </a:lnTo>
                    <a:lnTo>
                      <a:pt x="61" y="155"/>
                    </a:lnTo>
                    <a:lnTo>
                      <a:pt x="63" y="155"/>
                    </a:lnTo>
                    <a:lnTo>
                      <a:pt x="63" y="153"/>
                    </a:lnTo>
                    <a:lnTo>
                      <a:pt x="63" y="152"/>
                    </a:lnTo>
                    <a:lnTo>
                      <a:pt x="65" y="150"/>
                    </a:lnTo>
                    <a:lnTo>
                      <a:pt x="65" y="148"/>
                    </a:lnTo>
                    <a:lnTo>
                      <a:pt x="66" y="147"/>
                    </a:lnTo>
                    <a:lnTo>
                      <a:pt x="66" y="145"/>
                    </a:lnTo>
                    <a:lnTo>
                      <a:pt x="66" y="144"/>
                    </a:lnTo>
                    <a:lnTo>
                      <a:pt x="68" y="144"/>
                    </a:lnTo>
                    <a:lnTo>
                      <a:pt x="68" y="142"/>
                    </a:lnTo>
                    <a:lnTo>
                      <a:pt x="68" y="141"/>
                    </a:lnTo>
                    <a:lnTo>
                      <a:pt x="69" y="141"/>
                    </a:lnTo>
                    <a:lnTo>
                      <a:pt x="69" y="139"/>
                    </a:lnTo>
                    <a:lnTo>
                      <a:pt x="71" y="137"/>
                    </a:lnTo>
                    <a:lnTo>
                      <a:pt x="72" y="136"/>
                    </a:lnTo>
                    <a:lnTo>
                      <a:pt x="74" y="134"/>
                    </a:lnTo>
                    <a:lnTo>
                      <a:pt x="76" y="133"/>
                    </a:lnTo>
                    <a:lnTo>
                      <a:pt x="76" y="131"/>
                    </a:lnTo>
                    <a:lnTo>
                      <a:pt x="77" y="131"/>
                    </a:lnTo>
                    <a:lnTo>
                      <a:pt x="77" y="129"/>
                    </a:lnTo>
                    <a:lnTo>
                      <a:pt x="79" y="129"/>
                    </a:lnTo>
                    <a:lnTo>
                      <a:pt x="79" y="128"/>
                    </a:lnTo>
                    <a:lnTo>
                      <a:pt x="79" y="126"/>
                    </a:lnTo>
                    <a:lnTo>
                      <a:pt x="80" y="126"/>
                    </a:lnTo>
                    <a:lnTo>
                      <a:pt x="80" y="125"/>
                    </a:lnTo>
                    <a:lnTo>
                      <a:pt x="82" y="125"/>
                    </a:lnTo>
                    <a:lnTo>
                      <a:pt x="82" y="123"/>
                    </a:lnTo>
                    <a:lnTo>
                      <a:pt x="82" y="122"/>
                    </a:lnTo>
                    <a:lnTo>
                      <a:pt x="84" y="122"/>
                    </a:lnTo>
                    <a:lnTo>
                      <a:pt x="84" y="120"/>
                    </a:lnTo>
                    <a:lnTo>
                      <a:pt x="84" y="118"/>
                    </a:lnTo>
                    <a:lnTo>
                      <a:pt x="84" y="117"/>
                    </a:lnTo>
                    <a:lnTo>
                      <a:pt x="84" y="115"/>
                    </a:lnTo>
                    <a:lnTo>
                      <a:pt x="84" y="114"/>
                    </a:lnTo>
                    <a:lnTo>
                      <a:pt x="85" y="112"/>
                    </a:lnTo>
                    <a:lnTo>
                      <a:pt x="85" y="110"/>
                    </a:lnTo>
                    <a:lnTo>
                      <a:pt x="85" y="109"/>
                    </a:lnTo>
                    <a:lnTo>
                      <a:pt x="87" y="109"/>
                    </a:lnTo>
                    <a:lnTo>
                      <a:pt x="88" y="107"/>
                    </a:lnTo>
                    <a:lnTo>
                      <a:pt x="90" y="107"/>
                    </a:lnTo>
                    <a:lnTo>
                      <a:pt x="92" y="107"/>
                    </a:lnTo>
                    <a:lnTo>
                      <a:pt x="93" y="107"/>
                    </a:lnTo>
                    <a:lnTo>
                      <a:pt x="93" y="109"/>
                    </a:lnTo>
                    <a:lnTo>
                      <a:pt x="95" y="109"/>
                    </a:lnTo>
                    <a:lnTo>
                      <a:pt x="95" y="110"/>
                    </a:lnTo>
                    <a:lnTo>
                      <a:pt x="96" y="110"/>
                    </a:lnTo>
                    <a:lnTo>
                      <a:pt x="98" y="110"/>
                    </a:lnTo>
                    <a:lnTo>
                      <a:pt x="99" y="110"/>
                    </a:lnTo>
                    <a:lnTo>
                      <a:pt x="101" y="110"/>
                    </a:lnTo>
                    <a:lnTo>
                      <a:pt x="103" y="110"/>
                    </a:lnTo>
                    <a:lnTo>
                      <a:pt x="104" y="112"/>
                    </a:lnTo>
                    <a:lnTo>
                      <a:pt x="106" y="112"/>
                    </a:lnTo>
                    <a:lnTo>
                      <a:pt x="107" y="112"/>
                    </a:lnTo>
                    <a:lnTo>
                      <a:pt x="109" y="112"/>
                    </a:lnTo>
                    <a:lnTo>
                      <a:pt x="111" y="112"/>
                    </a:lnTo>
                    <a:lnTo>
                      <a:pt x="112" y="112"/>
                    </a:lnTo>
                    <a:lnTo>
                      <a:pt x="114" y="112"/>
                    </a:lnTo>
                    <a:lnTo>
                      <a:pt x="114" y="110"/>
                    </a:lnTo>
                    <a:lnTo>
                      <a:pt x="115" y="109"/>
                    </a:lnTo>
                    <a:lnTo>
                      <a:pt x="115" y="107"/>
                    </a:lnTo>
                    <a:lnTo>
                      <a:pt x="115" y="106"/>
                    </a:lnTo>
                    <a:lnTo>
                      <a:pt x="115" y="104"/>
                    </a:lnTo>
                    <a:lnTo>
                      <a:pt x="114" y="103"/>
                    </a:lnTo>
                    <a:lnTo>
                      <a:pt x="114" y="101"/>
                    </a:lnTo>
                    <a:lnTo>
                      <a:pt x="115" y="101"/>
                    </a:lnTo>
                    <a:lnTo>
                      <a:pt x="115" y="99"/>
                    </a:lnTo>
                    <a:lnTo>
                      <a:pt x="117" y="99"/>
                    </a:lnTo>
                    <a:lnTo>
                      <a:pt x="118" y="99"/>
                    </a:lnTo>
                    <a:lnTo>
                      <a:pt x="118" y="98"/>
                    </a:lnTo>
                    <a:lnTo>
                      <a:pt x="118" y="96"/>
                    </a:lnTo>
                    <a:lnTo>
                      <a:pt x="118" y="95"/>
                    </a:lnTo>
                    <a:lnTo>
                      <a:pt x="120" y="95"/>
                    </a:lnTo>
                    <a:lnTo>
                      <a:pt x="120" y="93"/>
                    </a:lnTo>
                    <a:lnTo>
                      <a:pt x="120" y="91"/>
                    </a:lnTo>
                    <a:lnTo>
                      <a:pt x="120" y="90"/>
                    </a:lnTo>
                    <a:lnTo>
                      <a:pt x="120" y="88"/>
                    </a:lnTo>
                    <a:lnTo>
                      <a:pt x="120" y="87"/>
                    </a:lnTo>
                    <a:lnTo>
                      <a:pt x="120" y="85"/>
                    </a:lnTo>
                    <a:lnTo>
                      <a:pt x="120" y="84"/>
                    </a:lnTo>
                    <a:lnTo>
                      <a:pt x="120" y="82"/>
                    </a:lnTo>
                    <a:lnTo>
                      <a:pt x="120" y="80"/>
                    </a:lnTo>
                    <a:lnTo>
                      <a:pt x="122" y="79"/>
                    </a:lnTo>
                    <a:lnTo>
                      <a:pt x="122" y="77"/>
                    </a:lnTo>
                    <a:lnTo>
                      <a:pt x="122" y="76"/>
                    </a:lnTo>
                    <a:lnTo>
                      <a:pt x="122" y="74"/>
                    </a:lnTo>
                    <a:lnTo>
                      <a:pt x="122" y="72"/>
                    </a:lnTo>
                    <a:lnTo>
                      <a:pt x="122" y="71"/>
                    </a:lnTo>
                    <a:lnTo>
                      <a:pt x="123" y="69"/>
                    </a:lnTo>
                    <a:lnTo>
                      <a:pt x="125" y="69"/>
                    </a:lnTo>
                    <a:lnTo>
                      <a:pt x="125" y="68"/>
                    </a:lnTo>
                    <a:lnTo>
                      <a:pt x="126" y="68"/>
                    </a:lnTo>
                    <a:lnTo>
                      <a:pt x="128" y="66"/>
                    </a:lnTo>
                    <a:lnTo>
                      <a:pt x="130" y="66"/>
                    </a:lnTo>
                    <a:lnTo>
                      <a:pt x="130" y="65"/>
                    </a:lnTo>
                    <a:lnTo>
                      <a:pt x="131" y="66"/>
                    </a:lnTo>
                    <a:lnTo>
                      <a:pt x="131" y="65"/>
                    </a:lnTo>
                    <a:lnTo>
                      <a:pt x="133" y="65"/>
                    </a:lnTo>
                    <a:lnTo>
                      <a:pt x="134" y="65"/>
                    </a:lnTo>
                    <a:lnTo>
                      <a:pt x="134" y="63"/>
                    </a:lnTo>
                    <a:lnTo>
                      <a:pt x="136" y="63"/>
                    </a:lnTo>
                    <a:lnTo>
                      <a:pt x="137" y="63"/>
                    </a:lnTo>
                    <a:lnTo>
                      <a:pt x="139" y="63"/>
                    </a:lnTo>
                    <a:lnTo>
                      <a:pt x="141" y="63"/>
                    </a:lnTo>
                    <a:lnTo>
                      <a:pt x="142" y="63"/>
                    </a:lnTo>
                    <a:lnTo>
                      <a:pt x="144" y="63"/>
                    </a:lnTo>
                    <a:lnTo>
                      <a:pt x="145" y="63"/>
                    </a:lnTo>
                    <a:lnTo>
                      <a:pt x="147" y="65"/>
                    </a:lnTo>
                    <a:lnTo>
                      <a:pt x="149" y="65"/>
                    </a:lnTo>
                    <a:lnTo>
                      <a:pt x="150" y="65"/>
                    </a:lnTo>
                    <a:lnTo>
                      <a:pt x="152" y="65"/>
                    </a:lnTo>
                    <a:lnTo>
                      <a:pt x="152" y="63"/>
                    </a:lnTo>
                    <a:lnTo>
                      <a:pt x="152" y="61"/>
                    </a:lnTo>
                    <a:lnTo>
                      <a:pt x="153" y="61"/>
                    </a:lnTo>
                    <a:lnTo>
                      <a:pt x="153" y="60"/>
                    </a:lnTo>
                    <a:lnTo>
                      <a:pt x="153" y="58"/>
                    </a:lnTo>
                    <a:lnTo>
                      <a:pt x="155" y="58"/>
                    </a:lnTo>
                    <a:lnTo>
                      <a:pt x="155" y="57"/>
                    </a:lnTo>
                    <a:lnTo>
                      <a:pt x="155" y="55"/>
                    </a:lnTo>
                    <a:lnTo>
                      <a:pt x="156" y="55"/>
                    </a:lnTo>
                    <a:lnTo>
                      <a:pt x="158" y="53"/>
                    </a:lnTo>
                    <a:lnTo>
                      <a:pt x="160" y="53"/>
                    </a:lnTo>
                    <a:lnTo>
                      <a:pt x="160" y="52"/>
                    </a:lnTo>
                    <a:lnTo>
                      <a:pt x="161" y="52"/>
                    </a:lnTo>
                    <a:lnTo>
                      <a:pt x="163" y="50"/>
                    </a:lnTo>
                    <a:lnTo>
                      <a:pt x="164" y="50"/>
                    </a:lnTo>
                    <a:lnTo>
                      <a:pt x="166" y="49"/>
                    </a:lnTo>
                    <a:lnTo>
                      <a:pt x="168" y="47"/>
                    </a:lnTo>
                    <a:lnTo>
                      <a:pt x="168" y="46"/>
                    </a:lnTo>
                    <a:lnTo>
                      <a:pt x="169" y="46"/>
                    </a:lnTo>
                    <a:lnTo>
                      <a:pt x="169" y="44"/>
                    </a:lnTo>
                    <a:lnTo>
                      <a:pt x="171" y="44"/>
                    </a:lnTo>
                    <a:lnTo>
                      <a:pt x="171" y="42"/>
                    </a:lnTo>
                    <a:lnTo>
                      <a:pt x="172" y="42"/>
                    </a:lnTo>
                    <a:lnTo>
                      <a:pt x="174" y="42"/>
                    </a:lnTo>
                    <a:lnTo>
                      <a:pt x="175" y="42"/>
                    </a:lnTo>
                    <a:lnTo>
                      <a:pt x="175" y="41"/>
                    </a:lnTo>
                    <a:lnTo>
                      <a:pt x="177" y="41"/>
                    </a:lnTo>
                    <a:lnTo>
                      <a:pt x="179" y="41"/>
                    </a:lnTo>
                    <a:lnTo>
                      <a:pt x="180" y="41"/>
                    </a:lnTo>
                    <a:lnTo>
                      <a:pt x="182" y="39"/>
                    </a:lnTo>
                    <a:lnTo>
                      <a:pt x="183" y="39"/>
                    </a:lnTo>
                    <a:lnTo>
                      <a:pt x="185" y="39"/>
                    </a:lnTo>
                    <a:lnTo>
                      <a:pt x="187" y="39"/>
                    </a:lnTo>
                    <a:lnTo>
                      <a:pt x="188" y="38"/>
                    </a:lnTo>
                    <a:lnTo>
                      <a:pt x="190" y="38"/>
                    </a:lnTo>
                    <a:lnTo>
                      <a:pt x="191" y="39"/>
                    </a:lnTo>
                    <a:lnTo>
                      <a:pt x="193" y="39"/>
                    </a:lnTo>
                    <a:lnTo>
                      <a:pt x="194" y="38"/>
                    </a:lnTo>
                    <a:lnTo>
                      <a:pt x="196" y="38"/>
                    </a:lnTo>
                    <a:lnTo>
                      <a:pt x="198" y="36"/>
                    </a:lnTo>
                    <a:lnTo>
                      <a:pt x="199" y="34"/>
                    </a:lnTo>
                    <a:lnTo>
                      <a:pt x="201" y="34"/>
                    </a:lnTo>
                    <a:lnTo>
                      <a:pt x="201" y="33"/>
                    </a:lnTo>
                    <a:lnTo>
                      <a:pt x="202" y="33"/>
                    </a:lnTo>
                    <a:lnTo>
                      <a:pt x="202" y="31"/>
                    </a:lnTo>
                    <a:lnTo>
                      <a:pt x="204" y="31"/>
                    </a:lnTo>
                    <a:lnTo>
                      <a:pt x="206" y="30"/>
                    </a:lnTo>
                    <a:lnTo>
                      <a:pt x="207" y="30"/>
                    </a:lnTo>
                    <a:lnTo>
                      <a:pt x="209" y="30"/>
                    </a:lnTo>
                    <a:lnTo>
                      <a:pt x="210" y="30"/>
                    </a:lnTo>
                    <a:lnTo>
                      <a:pt x="212" y="30"/>
                    </a:lnTo>
                    <a:lnTo>
                      <a:pt x="212" y="28"/>
                    </a:lnTo>
                    <a:lnTo>
                      <a:pt x="213" y="28"/>
                    </a:lnTo>
                    <a:lnTo>
                      <a:pt x="215" y="28"/>
                    </a:lnTo>
                    <a:lnTo>
                      <a:pt x="217" y="28"/>
                    </a:lnTo>
                    <a:lnTo>
                      <a:pt x="218" y="27"/>
                    </a:lnTo>
                    <a:lnTo>
                      <a:pt x="220" y="27"/>
                    </a:lnTo>
                    <a:lnTo>
                      <a:pt x="221" y="27"/>
                    </a:lnTo>
                    <a:lnTo>
                      <a:pt x="223" y="27"/>
                    </a:lnTo>
                    <a:lnTo>
                      <a:pt x="225" y="25"/>
                    </a:lnTo>
                    <a:lnTo>
                      <a:pt x="226" y="25"/>
                    </a:lnTo>
                    <a:lnTo>
                      <a:pt x="228" y="25"/>
                    </a:lnTo>
                    <a:lnTo>
                      <a:pt x="229" y="25"/>
                    </a:lnTo>
                    <a:lnTo>
                      <a:pt x="231" y="25"/>
                    </a:lnTo>
                    <a:lnTo>
                      <a:pt x="232" y="23"/>
                    </a:lnTo>
                    <a:lnTo>
                      <a:pt x="234" y="23"/>
                    </a:lnTo>
                    <a:lnTo>
                      <a:pt x="234" y="22"/>
                    </a:lnTo>
                    <a:lnTo>
                      <a:pt x="236" y="22"/>
                    </a:lnTo>
                    <a:lnTo>
                      <a:pt x="236" y="20"/>
                    </a:lnTo>
                    <a:lnTo>
                      <a:pt x="237" y="20"/>
                    </a:lnTo>
                    <a:lnTo>
                      <a:pt x="237" y="19"/>
                    </a:lnTo>
                    <a:lnTo>
                      <a:pt x="239" y="19"/>
                    </a:lnTo>
                    <a:lnTo>
                      <a:pt x="239" y="17"/>
                    </a:lnTo>
                    <a:lnTo>
                      <a:pt x="240" y="17"/>
                    </a:lnTo>
                    <a:lnTo>
                      <a:pt x="242" y="17"/>
                    </a:lnTo>
                    <a:lnTo>
                      <a:pt x="244" y="17"/>
                    </a:lnTo>
                    <a:lnTo>
                      <a:pt x="245" y="17"/>
                    </a:lnTo>
                    <a:lnTo>
                      <a:pt x="247" y="17"/>
                    </a:lnTo>
                    <a:lnTo>
                      <a:pt x="248" y="17"/>
                    </a:lnTo>
                    <a:lnTo>
                      <a:pt x="250" y="17"/>
                    </a:lnTo>
                    <a:lnTo>
                      <a:pt x="250" y="15"/>
                    </a:lnTo>
                    <a:lnTo>
                      <a:pt x="251" y="15"/>
                    </a:lnTo>
                    <a:lnTo>
                      <a:pt x="253" y="15"/>
                    </a:lnTo>
                    <a:lnTo>
                      <a:pt x="253" y="14"/>
                    </a:lnTo>
                    <a:lnTo>
                      <a:pt x="255" y="14"/>
                    </a:lnTo>
                    <a:lnTo>
                      <a:pt x="255" y="12"/>
                    </a:lnTo>
                    <a:lnTo>
                      <a:pt x="255" y="11"/>
                    </a:lnTo>
                    <a:lnTo>
                      <a:pt x="256" y="11"/>
                    </a:lnTo>
                    <a:lnTo>
                      <a:pt x="256" y="9"/>
                    </a:lnTo>
                    <a:lnTo>
                      <a:pt x="256" y="8"/>
                    </a:lnTo>
                    <a:lnTo>
                      <a:pt x="256" y="6"/>
                    </a:lnTo>
                    <a:lnTo>
                      <a:pt x="256" y="4"/>
                    </a:lnTo>
                    <a:lnTo>
                      <a:pt x="258" y="3"/>
                    </a:lnTo>
                    <a:lnTo>
                      <a:pt x="259" y="1"/>
                    </a:lnTo>
                    <a:lnTo>
                      <a:pt x="261" y="1"/>
                    </a:lnTo>
                    <a:lnTo>
                      <a:pt x="263" y="1"/>
                    </a:lnTo>
                    <a:lnTo>
                      <a:pt x="264" y="1"/>
                    </a:lnTo>
                    <a:lnTo>
                      <a:pt x="266" y="1"/>
                    </a:lnTo>
                    <a:lnTo>
                      <a:pt x="267" y="1"/>
                    </a:lnTo>
                    <a:lnTo>
                      <a:pt x="269" y="1"/>
                    </a:lnTo>
                    <a:lnTo>
                      <a:pt x="270" y="1"/>
                    </a:lnTo>
                    <a:lnTo>
                      <a:pt x="270" y="0"/>
                    </a:lnTo>
                    <a:lnTo>
                      <a:pt x="272" y="0"/>
                    </a:lnTo>
                    <a:lnTo>
                      <a:pt x="274" y="0"/>
                    </a:lnTo>
                    <a:lnTo>
                      <a:pt x="275" y="0"/>
                    </a:lnTo>
                    <a:lnTo>
                      <a:pt x="277" y="1"/>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50" name="Freeform 130"/>
              <p:cNvSpPr>
                <a:spLocks/>
              </p:cNvSpPr>
              <p:nvPr/>
            </p:nvSpPr>
            <p:spPr bwMode="auto">
              <a:xfrm>
                <a:off x="2425" y="1476"/>
                <a:ext cx="1057" cy="1052"/>
              </a:xfrm>
              <a:custGeom>
                <a:avLst/>
                <a:gdLst>
                  <a:gd name="T0" fmla="*/ 876 w 1057"/>
                  <a:gd name="T1" fmla="*/ 18 h 1052"/>
                  <a:gd name="T2" fmla="*/ 938 w 1057"/>
                  <a:gd name="T3" fmla="*/ 29 h 1052"/>
                  <a:gd name="T4" fmla="*/ 990 w 1057"/>
                  <a:gd name="T5" fmla="*/ 49 h 1052"/>
                  <a:gd name="T6" fmla="*/ 1042 w 1057"/>
                  <a:gd name="T7" fmla="*/ 48 h 1052"/>
                  <a:gd name="T8" fmla="*/ 1031 w 1057"/>
                  <a:gd name="T9" fmla="*/ 87 h 1052"/>
                  <a:gd name="T10" fmla="*/ 995 w 1057"/>
                  <a:gd name="T11" fmla="*/ 137 h 1052"/>
                  <a:gd name="T12" fmla="*/ 954 w 1057"/>
                  <a:gd name="T13" fmla="*/ 194 h 1052"/>
                  <a:gd name="T14" fmla="*/ 946 w 1057"/>
                  <a:gd name="T15" fmla="*/ 265 h 1052"/>
                  <a:gd name="T16" fmla="*/ 938 w 1057"/>
                  <a:gd name="T17" fmla="*/ 341 h 1052"/>
                  <a:gd name="T18" fmla="*/ 938 w 1057"/>
                  <a:gd name="T19" fmla="*/ 403 h 1052"/>
                  <a:gd name="T20" fmla="*/ 984 w 1057"/>
                  <a:gd name="T21" fmla="*/ 442 h 1052"/>
                  <a:gd name="T22" fmla="*/ 1030 w 1057"/>
                  <a:gd name="T23" fmla="*/ 485 h 1052"/>
                  <a:gd name="T24" fmla="*/ 1001 w 1057"/>
                  <a:gd name="T25" fmla="*/ 533 h 1052"/>
                  <a:gd name="T26" fmla="*/ 1000 w 1057"/>
                  <a:gd name="T27" fmla="*/ 583 h 1052"/>
                  <a:gd name="T28" fmla="*/ 981 w 1057"/>
                  <a:gd name="T29" fmla="*/ 645 h 1052"/>
                  <a:gd name="T30" fmla="*/ 963 w 1057"/>
                  <a:gd name="T31" fmla="*/ 715 h 1052"/>
                  <a:gd name="T32" fmla="*/ 949 w 1057"/>
                  <a:gd name="T33" fmla="*/ 777 h 1052"/>
                  <a:gd name="T34" fmla="*/ 900 w 1057"/>
                  <a:gd name="T35" fmla="*/ 813 h 1052"/>
                  <a:gd name="T36" fmla="*/ 849 w 1057"/>
                  <a:gd name="T37" fmla="*/ 862 h 1052"/>
                  <a:gd name="T38" fmla="*/ 808 w 1057"/>
                  <a:gd name="T39" fmla="*/ 913 h 1052"/>
                  <a:gd name="T40" fmla="*/ 803 w 1057"/>
                  <a:gd name="T41" fmla="*/ 986 h 1052"/>
                  <a:gd name="T42" fmla="*/ 746 w 1057"/>
                  <a:gd name="T43" fmla="*/ 998 h 1052"/>
                  <a:gd name="T44" fmla="*/ 683 w 1057"/>
                  <a:gd name="T45" fmla="*/ 987 h 1052"/>
                  <a:gd name="T46" fmla="*/ 520 w 1057"/>
                  <a:gd name="T47" fmla="*/ 1051 h 1052"/>
                  <a:gd name="T48" fmla="*/ 547 w 1057"/>
                  <a:gd name="T49" fmla="*/ 821 h 1052"/>
                  <a:gd name="T50" fmla="*/ 504 w 1057"/>
                  <a:gd name="T51" fmla="*/ 799 h 1052"/>
                  <a:gd name="T52" fmla="*/ 455 w 1057"/>
                  <a:gd name="T53" fmla="*/ 784 h 1052"/>
                  <a:gd name="T54" fmla="*/ 409 w 1057"/>
                  <a:gd name="T55" fmla="*/ 769 h 1052"/>
                  <a:gd name="T56" fmla="*/ 374 w 1057"/>
                  <a:gd name="T57" fmla="*/ 724 h 1052"/>
                  <a:gd name="T58" fmla="*/ 353 w 1057"/>
                  <a:gd name="T59" fmla="*/ 689 h 1052"/>
                  <a:gd name="T60" fmla="*/ 342 w 1057"/>
                  <a:gd name="T61" fmla="*/ 647 h 1052"/>
                  <a:gd name="T62" fmla="*/ 304 w 1057"/>
                  <a:gd name="T63" fmla="*/ 605 h 1052"/>
                  <a:gd name="T64" fmla="*/ 257 w 1057"/>
                  <a:gd name="T65" fmla="*/ 599 h 1052"/>
                  <a:gd name="T66" fmla="*/ 217 w 1057"/>
                  <a:gd name="T67" fmla="*/ 620 h 1052"/>
                  <a:gd name="T68" fmla="*/ 182 w 1057"/>
                  <a:gd name="T69" fmla="*/ 632 h 1052"/>
                  <a:gd name="T70" fmla="*/ 149 w 1057"/>
                  <a:gd name="T71" fmla="*/ 636 h 1052"/>
                  <a:gd name="T72" fmla="*/ 92 w 1057"/>
                  <a:gd name="T73" fmla="*/ 620 h 1052"/>
                  <a:gd name="T74" fmla="*/ 48 w 1057"/>
                  <a:gd name="T75" fmla="*/ 609 h 1052"/>
                  <a:gd name="T76" fmla="*/ 24 w 1057"/>
                  <a:gd name="T77" fmla="*/ 567 h 1052"/>
                  <a:gd name="T78" fmla="*/ 24 w 1057"/>
                  <a:gd name="T79" fmla="*/ 526 h 1052"/>
                  <a:gd name="T80" fmla="*/ 59 w 1057"/>
                  <a:gd name="T81" fmla="*/ 487 h 1052"/>
                  <a:gd name="T82" fmla="*/ 51 w 1057"/>
                  <a:gd name="T83" fmla="*/ 419 h 1052"/>
                  <a:gd name="T84" fmla="*/ 65 w 1057"/>
                  <a:gd name="T85" fmla="*/ 358 h 1052"/>
                  <a:gd name="T86" fmla="*/ 103 w 1057"/>
                  <a:gd name="T87" fmla="*/ 317 h 1052"/>
                  <a:gd name="T88" fmla="*/ 127 w 1057"/>
                  <a:gd name="T89" fmla="*/ 268 h 1052"/>
                  <a:gd name="T90" fmla="*/ 141 w 1057"/>
                  <a:gd name="T91" fmla="*/ 214 h 1052"/>
                  <a:gd name="T92" fmla="*/ 124 w 1057"/>
                  <a:gd name="T93" fmla="*/ 167 h 1052"/>
                  <a:gd name="T94" fmla="*/ 168 w 1057"/>
                  <a:gd name="T95" fmla="*/ 116 h 1052"/>
                  <a:gd name="T96" fmla="*/ 204 w 1057"/>
                  <a:gd name="T97" fmla="*/ 92 h 1052"/>
                  <a:gd name="T98" fmla="*/ 227 w 1057"/>
                  <a:gd name="T99" fmla="*/ 61 h 1052"/>
                  <a:gd name="T100" fmla="*/ 306 w 1057"/>
                  <a:gd name="T101" fmla="*/ 149 h 1052"/>
                  <a:gd name="T102" fmla="*/ 331 w 1057"/>
                  <a:gd name="T103" fmla="*/ 167 h 1052"/>
                  <a:gd name="T104" fmla="*/ 390 w 1057"/>
                  <a:gd name="T105" fmla="*/ 145 h 1052"/>
                  <a:gd name="T106" fmla="*/ 448 w 1057"/>
                  <a:gd name="T107" fmla="*/ 160 h 1052"/>
                  <a:gd name="T108" fmla="*/ 471 w 1057"/>
                  <a:gd name="T109" fmla="*/ 108 h 1052"/>
                  <a:gd name="T110" fmla="*/ 507 w 1057"/>
                  <a:gd name="T111" fmla="*/ 132 h 1052"/>
                  <a:gd name="T112" fmla="*/ 550 w 1057"/>
                  <a:gd name="T113" fmla="*/ 105 h 1052"/>
                  <a:gd name="T114" fmla="*/ 542 w 1057"/>
                  <a:gd name="T115" fmla="*/ 72 h 1052"/>
                  <a:gd name="T116" fmla="*/ 567 w 1057"/>
                  <a:gd name="T117" fmla="*/ 27 h 1052"/>
                  <a:gd name="T118" fmla="*/ 629 w 1057"/>
                  <a:gd name="T119" fmla="*/ 11 h 1052"/>
                  <a:gd name="T120" fmla="*/ 691 w 1057"/>
                  <a:gd name="T121" fmla="*/ 29 h 1052"/>
                  <a:gd name="T122" fmla="*/ 756 w 1057"/>
                  <a:gd name="T123" fmla="*/ 7 h 1052"/>
                  <a:gd name="T124" fmla="*/ 819 w 1057"/>
                  <a:gd name="T125" fmla="*/ 5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7" h="1052">
                    <a:moveTo>
                      <a:pt x="830" y="2"/>
                    </a:moveTo>
                    <a:lnTo>
                      <a:pt x="832" y="2"/>
                    </a:lnTo>
                    <a:lnTo>
                      <a:pt x="832" y="0"/>
                    </a:lnTo>
                    <a:lnTo>
                      <a:pt x="833" y="2"/>
                    </a:lnTo>
                    <a:lnTo>
                      <a:pt x="835" y="2"/>
                    </a:lnTo>
                    <a:lnTo>
                      <a:pt x="836" y="2"/>
                    </a:lnTo>
                    <a:lnTo>
                      <a:pt x="838" y="2"/>
                    </a:lnTo>
                    <a:lnTo>
                      <a:pt x="838" y="4"/>
                    </a:lnTo>
                    <a:lnTo>
                      <a:pt x="838" y="2"/>
                    </a:lnTo>
                    <a:lnTo>
                      <a:pt x="840" y="2"/>
                    </a:lnTo>
                    <a:lnTo>
                      <a:pt x="841" y="2"/>
                    </a:lnTo>
                    <a:lnTo>
                      <a:pt x="843" y="2"/>
                    </a:lnTo>
                    <a:lnTo>
                      <a:pt x="844" y="2"/>
                    </a:lnTo>
                    <a:lnTo>
                      <a:pt x="846" y="4"/>
                    </a:lnTo>
                    <a:lnTo>
                      <a:pt x="848" y="4"/>
                    </a:lnTo>
                    <a:lnTo>
                      <a:pt x="849" y="5"/>
                    </a:lnTo>
                    <a:lnTo>
                      <a:pt x="851" y="7"/>
                    </a:lnTo>
                    <a:lnTo>
                      <a:pt x="851" y="8"/>
                    </a:lnTo>
                    <a:lnTo>
                      <a:pt x="852" y="8"/>
                    </a:lnTo>
                    <a:lnTo>
                      <a:pt x="852" y="10"/>
                    </a:lnTo>
                    <a:lnTo>
                      <a:pt x="851" y="11"/>
                    </a:lnTo>
                    <a:lnTo>
                      <a:pt x="851" y="13"/>
                    </a:lnTo>
                    <a:lnTo>
                      <a:pt x="849" y="13"/>
                    </a:lnTo>
                    <a:lnTo>
                      <a:pt x="849" y="15"/>
                    </a:lnTo>
                    <a:lnTo>
                      <a:pt x="849" y="16"/>
                    </a:lnTo>
                    <a:lnTo>
                      <a:pt x="851" y="16"/>
                    </a:lnTo>
                    <a:lnTo>
                      <a:pt x="851" y="18"/>
                    </a:lnTo>
                    <a:lnTo>
                      <a:pt x="852" y="18"/>
                    </a:lnTo>
                    <a:lnTo>
                      <a:pt x="854" y="18"/>
                    </a:lnTo>
                    <a:lnTo>
                      <a:pt x="855" y="19"/>
                    </a:lnTo>
                    <a:lnTo>
                      <a:pt x="857" y="19"/>
                    </a:lnTo>
                    <a:lnTo>
                      <a:pt x="859" y="21"/>
                    </a:lnTo>
                    <a:lnTo>
                      <a:pt x="860" y="19"/>
                    </a:lnTo>
                    <a:lnTo>
                      <a:pt x="862" y="19"/>
                    </a:lnTo>
                    <a:lnTo>
                      <a:pt x="862" y="18"/>
                    </a:lnTo>
                    <a:lnTo>
                      <a:pt x="863" y="16"/>
                    </a:lnTo>
                    <a:lnTo>
                      <a:pt x="865" y="16"/>
                    </a:lnTo>
                    <a:lnTo>
                      <a:pt x="865" y="18"/>
                    </a:lnTo>
                    <a:lnTo>
                      <a:pt x="867" y="16"/>
                    </a:lnTo>
                    <a:lnTo>
                      <a:pt x="867" y="18"/>
                    </a:lnTo>
                    <a:lnTo>
                      <a:pt x="868" y="18"/>
                    </a:lnTo>
                    <a:lnTo>
                      <a:pt x="868" y="16"/>
                    </a:lnTo>
                    <a:lnTo>
                      <a:pt x="870" y="16"/>
                    </a:lnTo>
                    <a:lnTo>
                      <a:pt x="870" y="15"/>
                    </a:lnTo>
                    <a:lnTo>
                      <a:pt x="871" y="16"/>
                    </a:lnTo>
                    <a:lnTo>
                      <a:pt x="871" y="15"/>
                    </a:lnTo>
                    <a:lnTo>
                      <a:pt x="873" y="16"/>
                    </a:lnTo>
                    <a:lnTo>
                      <a:pt x="874" y="16"/>
                    </a:lnTo>
                    <a:lnTo>
                      <a:pt x="876" y="18"/>
                    </a:lnTo>
                    <a:lnTo>
                      <a:pt x="878" y="18"/>
                    </a:lnTo>
                    <a:lnTo>
                      <a:pt x="879" y="18"/>
                    </a:lnTo>
                    <a:lnTo>
                      <a:pt x="881" y="18"/>
                    </a:lnTo>
                    <a:lnTo>
                      <a:pt x="882" y="18"/>
                    </a:lnTo>
                    <a:lnTo>
                      <a:pt x="884" y="18"/>
                    </a:lnTo>
                    <a:lnTo>
                      <a:pt x="886" y="18"/>
                    </a:lnTo>
                    <a:lnTo>
                      <a:pt x="886" y="19"/>
                    </a:lnTo>
                    <a:lnTo>
                      <a:pt x="887" y="19"/>
                    </a:lnTo>
                    <a:lnTo>
                      <a:pt x="889" y="19"/>
                    </a:lnTo>
                    <a:lnTo>
                      <a:pt x="890" y="21"/>
                    </a:lnTo>
                    <a:lnTo>
                      <a:pt x="892" y="21"/>
                    </a:lnTo>
                    <a:lnTo>
                      <a:pt x="893" y="21"/>
                    </a:lnTo>
                    <a:lnTo>
                      <a:pt x="893" y="23"/>
                    </a:lnTo>
                    <a:lnTo>
                      <a:pt x="895" y="23"/>
                    </a:lnTo>
                    <a:lnTo>
                      <a:pt x="895" y="24"/>
                    </a:lnTo>
                    <a:lnTo>
                      <a:pt x="897" y="24"/>
                    </a:lnTo>
                    <a:lnTo>
                      <a:pt x="897" y="26"/>
                    </a:lnTo>
                    <a:lnTo>
                      <a:pt x="898" y="24"/>
                    </a:lnTo>
                    <a:lnTo>
                      <a:pt x="900" y="24"/>
                    </a:lnTo>
                    <a:lnTo>
                      <a:pt x="901" y="24"/>
                    </a:lnTo>
                    <a:lnTo>
                      <a:pt x="903" y="24"/>
                    </a:lnTo>
                    <a:lnTo>
                      <a:pt x="903" y="26"/>
                    </a:lnTo>
                    <a:lnTo>
                      <a:pt x="905" y="26"/>
                    </a:lnTo>
                    <a:lnTo>
                      <a:pt x="906" y="26"/>
                    </a:lnTo>
                    <a:lnTo>
                      <a:pt x="908" y="24"/>
                    </a:lnTo>
                    <a:lnTo>
                      <a:pt x="908" y="26"/>
                    </a:lnTo>
                    <a:lnTo>
                      <a:pt x="909" y="26"/>
                    </a:lnTo>
                    <a:lnTo>
                      <a:pt x="911" y="27"/>
                    </a:lnTo>
                    <a:lnTo>
                      <a:pt x="912" y="26"/>
                    </a:lnTo>
                    <a:lnTo>
                      <a:pt x="914" y="26"/>
                    </a:lnTo>
                    <a:lnTo>
                      <a:pt x="916" y="24"/>
                    </a:lnTo>
                    <a:lnTo>
                      <a:pt x="917" y="24"/>
                    </a:lnTo>
                    <a:lnTo>
                      <a:pt x="919" y="26"/>
                    </a:lnTo>
                    <a:lnTo>
                      <a:pt x="920" y="26"/>
                    </a:lnTo>
                    <a:lnTo>
                      <a:pt x="922" y="27"/>
                    </a:lnTo>
                    <a:lnTo>
                      <a:pt x="924" y="26"/>
                    </a:lnTo>
                    <a:lnTo>
                      <a:pt x="925" y="26"/>
                    </a:lnTo>
                    <a:lnTo>
                      <a:pt x="927" y="26"/>
                    </a:lnTo>
                    <a:lnTo>
                      <a:pt x="928" y="27"/>
                    </a:lnTo>
                    <a:lnTo>
                      <a:pt x="928" y="29"/>
                    </a:lnTo>
                    <a:lnTo>
                      <a:pt x="930" y="29"/>
                    </a:lnTo>
                    <a:lnTo>
                      <a:pt x="930" y="27"/>
                    </a:lnTo>
                    <a:lnTo>
                      <a:pt x="931" y="27"/>
                    </a:lnTo>
                    <a:lnTo>
                      <a:pt x="933" y="29"/>
                    </a:lnTo>
                    <a:lnTo>
                      <a:pt x="935" y="29"/>
                    </a:lnTo>
                    <a:lnTo>
                      <a:pt x="936" y="29"/>
                    </a:lnTo>
                    <a:lnTo>
                      <a:pt x="936" y="27"/>
                    </a:lnTo>
                    <a:lnTo>
                      <a:pt x="936" y="29"/>
                    </a:lnTo>
                    <a:lnTo>
                      <a:pt x="938" y="29"/>
                    </a:lnTo>
                    <a:lnTo>
                      <a:pt x="939" y="27"/>
                    </a:lnTo>
                    <a:lnTo>
                      <a:pt x="939" y="29"/>
                    </a:lnTo>
                    <a:lnTo>
                      <a:pt x="941" y="29"/>
                    </a:lnTo>
                    <a:lnTo>
                      <a:pt x="941" y="30"/>
                    </a:lnTo>
                    <a:lnTo>
                      <a:pt x="941" y="32"/>
                    </a:lnTo>
                    <a:lnTo>
                      <a:pt x="943" y="32"/>
                    </a:lnTo>
                    <a:lnTo>
                      <a:pt x="943" y="34"/>
                    </a:lnTo>
                    <a:lnTo>
                      <a:pt x="944" y="34"/>
                    </a:lnTo>
                    <a:lnTo>
                      <a:pt x="946" y="34"/>
                    </a:lnTo>
                    <a:lnTo>
                      <a:pt x="946" y="35"/>
                    </a:lnTo>
                    <a:lnTo>
                      <a:pt x="946" y="37"/>
                    </a:lnTo>
                    <a:lnTo>
                      <a:pt x="946" y="38"/>
                    </a:lnTo>
                    <a:lnTo>
                      <a:pt x="946" y="40"/>
                    </a:lnTo>
                    <a:lnTo>
                      <a:pt x="947" y="40"/>
                    </a:lnTo>
                    <a:lnTo>
                      <a:pt x="949" y="40"/>
                    </a:lnTo>
                    <a:lnTo>
                      <a:pt x="949" y="42"/>
                    </a:lnTo>
                    <a:lnTo>
                      <a:pt x="950" y="42"/>
                    </a:lnTo>
                    <a:lnTo>
                      <a:pt x="950" y="43"/>
                    </a:lnTo>
                    <a:lnTo>
                      <a:pt x="952" y="43"/>
                    </a:lnTo>
                    <a:lnTo>
                      <a:pt x="952" y="45"/>
                    </a:lnTo>
                    <a:lnTo>
                      <a:pt x="954" y="45"/>
                    </a:lnTo>
                    <a:lnTo>
                      <a:pt x="954" y="46"/>
                    </a:lnTo>
                    <a:lnTo>
                      <a:pt x="955" y="46"/>
                    </a:lnTo>
                    <a:lnTo>
                      <a:pt x="957" y="48"/>
                    </a:lnTo>
                    <a:lnTo>
                      <a:pt x="958" y="48"/>
                    </a:lnTo>
                    <a:lnTo>
                      <a:pt x="960" y="48"/>
                    </a:lnTo>
                    <a:lnTo>
                      <a:pt x="962" y="48"/>
                    </a:lnTo>
                    <a:lnTo>
                      <a:pt x="963" y="48"/>
                    </a:lnTo>
                    <a:lnTo>
                      <a:pt x="965" y="48"/>
                    </a:lnTo>
                    <a:lnTo>
                      <a:pt x="966" y="48"/>
                    </a:lnTo>
                    <a:lnTo>
                      <a:pt x="968" y="49"/>
                    </a:lnTo>
                    <a:lnTo>
                      <a:pt x="969" y="49"/>
                    </a:lnTo>
                    <a:lnTo>
                      <a:pt x="971" y="51"/>
                    </a:lnTo>
                    <a:lnTo>
                      <a:pt x="973" y="51"/>
                    </a:lnTo>
                    <a:lnTo>
                      <a:pt x="973" y="53"/>
                    </a:lnTo>
                    <a:lnTo>
                      <a:pt x="974" y="53"/>
                    </a:lnTo>
                    <a:lnTo>
                      <a:pt x="976" y="51"/>
                    </a:lnTo>
                    <a:lnTo>
                      <a:pt x="977" y="51"/>
                    </a:lnTo>
                    <a:lnTo>
                      <a:pt x="979" y="49"/>
                    </a:lnTo>
                    <a:lnTo>
                      <a:pt x="979" y="51"/>
                    </a:lnTo>
                    <a:lnTo>
                      <a:pt x="981" y="51"/>
                    </a:lnTo>
                    <a:lnTo>
                      <a:pt x="981" y="49"/>
                    </a:lnTo>
                    <a:lnTo>
                      <a:pt x="982" y="49"/>
                    </a:lnTo>
                    <a:lnTo>
                      <a:pt x="984" y="49"/>
                    </a:lnTo>
                    <a:lnTo>
                      <a:pt x="985" y="49"/>
                    </a:lnTo>
                    <a:lnTo>
                      <a:pt x="987" y="48"/>
                    </a:lnTo>
                    <a:lnTo>
                      <a:pt x="988" y="48"/>
                    </a:lnTo>
                    <a:lnTo>
                      <a:pt x="990" y="48"/>
                    </a:lnTo>
                    <a:lnTo>
                      <a:pt x="990" y="49"/>
                    </a:lnTo>
                    <a:lnTo>
                      <a:pt x="992" y="49"/>
                    </a:lnTo>
                    <a:lnTo>
                      <a:pt x="992" y="51"/>
                    </a:lnTo>
                    <a:lnTo>
                      <a:pt x="993" y="51"/>
                    </a:lnTo>
                    <a:lnTo>
                      <a:pt x="993" y="53"/>
                    </a:lnTo>
                    <a:lnTo>
                      <a:pt x="993" y="54"/>
                    </a:lnTo>
                    <a:lnTo>
                      <a:pt x="995" y="54"/>
                    </a:lnTo>
                    <a:lnTo>
                      <a:pt x="996" y="54"/>
                    </a:lnTo>
                    <a:lnTo>
                      <a:pt x="996" y="53"/>
                    </a:lnTo>
                    <a:lnTo>
                      <a:pt x="996" y="54"/>
                    </a:lnTo>
                    <a:lnTo>
                      <a:pt x="996" y="56"/>
                    </a:lnTo>
                    <a:lnTo>
                      <a:pt x="998" y="56"/>
                    </a:lnTo>
                    <a:lnTo>
                      <a:pt x="998" y="57"/>
                    </a:lnTo>
                    <a:lnTo>
                      <a:pt x="1000" y="57"/>
                    </a:lnTo>
                    <a:lnTo>
                      <a:pt x="1001" y="57"/>
                    </a:lnTo>
                    <a:lnTo>
                      <a:pt x="1003" y="57"/>
                    </a:lnTo>
                    <a:lnTo>
                      <a:pt x="1004" y="57"/>
                    </a:lnTo>
                    <a:lnTo>
                      <a:pt x="1006" y="57"/>
                    </a:lnTo>
                    <a:lnTo>
                      <a:pt x="1007" y="57"/>
                    </a:lnTo>
                    <a:lnTo>
                      <a:pt x="1009" y="57"/>
                    </a:lnTo>
                    <a:lnTo>
                      <a:pt x="1011" y="56"/>
                    </a:lnTo>
                    <a:lnTo>
                      <a:pt x="1012" y="56"/>
                    </a:lnTo>
                    <a:lnTo>
                      <a:pt x="1014" y="56"/>
                    </a:lnTo>
                    <a:lnTo>
                      <a:pt x="1015" y="56"/>
                    </a:lnTo>
                    <a:lnTo>
                      <a:pt x="1015" y="57"/>
                    </a:lnTo>
                    <a:lnTo>
                      <a:pt x="1017" y="57"/>
                    </a:lnTo>
                    <a:lnTo>
                      <a:pt x="1019" y="59"/>
                    </a:lnTo>
                    <a:lnTo>
                      <a:pt x="1022" y="61"/>
                    </a:lnTo>
                    <a:lnTo>
                      <a:pt x="1023" y="61"/>
                    </a:lnTo>
                    <a:lnTo>
                      <a:pt x="1023" y="62"/>
                    </a:lnTo>
                    <a:lnTo>
                      <a:pt x="1025" y="62"/>
                    </a:lnTo>
                    <a:lnTo>
                      <a:pt x="1027" y="62"/>
                    </a:lnTo>
                    <a:lnTo>
                      <a:pt x="1027" y="64"/>
                    </a:lnTo>
                    <a:lnTo>
                      <a:pt x="1028" y="64"/>
                    </a:lnTo>
                    <a:lnTo>
                      <a:pt x="1030" y="64"/>
                    </a:lnTo>
                    <a:lnTo>
                      <a:pt x="1031" y="64"/>
                    </a:lnTo>
                    <a:lnTo>
                      <a:pt x="1033" y="64"/>
                    </a:lnTo>
                    <a:lnTo>
                      <a:pt x="1034" y="64"/>
                    </a:lnTo>
                    <a:lnTo>
                      <a:pt x="1036" y="64"/>
                    </a:lnTo>
                    <a:lnTo>
                      <a:pt x="1038" y="62"/>
                    </a:lnTo>
                    <a:lnTo>
                      <a:pt x="1039" y="61"/>
                    </a:lnTo>
                    <a:lnTo>
                      <a:pt x="1039" y="59"/>
                    </a:lnTo>
                    <a:lnTo>
                      <a:pt x="1041" y="57"/>
                    </a:lnTo>
                    <a:lnTo>
                      <a:pt x="1041" y="56"/>
                    </a:lnTo>
                    <a:lnTo>
                      <a:pt x="1041" y="54"/>
                    </a:lnTo>
                    <a:lnTo>
                      <a:pt x="1041" y="53"/>
                    </a:lnTo>
                    <a:lnTo>
                      <a:pt x="1042" y="53"/>
                    </a:lnTo>
                    <a:lnTo>
                      <a:pt x="1042" y="51"/>
                    </a:lnTo>
                    <a:lnTo>
                      <a:pt x="1042" y="49"/>
                    </a:lnTo>
                    <a:lnTo>
                      <a:pt x="1042" y="48"/>
                    </a:lnTo>
                    <a:lnTo>
                      <a:pt x="1044" y="48"/>
                    </a:lnTo>
                    <a:lnTo>
                      <a:pt x="1046" y="49"/>
                    </a:lnTo>
                    <a:lnTo>
                      <a:pt x="1047" y="49"/>
                    </a:lnTo>
                    <a:lnTo>
                      <a:pt x="1047" y="51"/>
                    </a:lnTo>
                    <a:lnTo>
                      <a:pt x="1049" y="51"/>
                    </a:lnTo>
                    <a:lnTo>
                      <a:pt x="1050" y="53"/>
                    </a:lnTo>
                    <a:lnTo>
                      <a:pt x="1052" y="54"/>
                    </a:lnTo>
                    <a:lnTo>
                      <a:pt x="1053" y="54"/>
                    </a:lnTo>
                    <a:lnTo>
                      <a:pt x="1055" y="54"/>
                    </a:lnTo>
                    <a:lnTo>
                      <a:pt x="1055" y="53"/>
                    </a:lnTo>
                    <a:lnTo>
                      <a:pt x="1057" y="53"/>
                    </a:lnTo>
                    <a:lnTo>
                      <a:pt x="1057" y="54"/>
                    </a:lnTo>
                    <a:lnTo>
                      <a:pt x="1057" y="56"/>
                    </a:lnTo>
                    <a:lnTo>
                      <a:pt x="1055" y="57"/>
                    </a:lnTo>
                    <a:lnTo>
                      <a:pt x="1055" y="59"/>
                    </a:lnTo>
                    <a:lnTo>
                      <a:pt x="1055" y="61"/>
                    </a:lnTo>
                    <a:lnTo>
                      <a:pt x="1055" y="62"/>
                    </a:lnTo>
                    <a:lnTo>
                      <a:pt x="1055" y="64"/>
                    </a:lnTo>
                    <a:lnTo>
                      <a:pt x="1055" y="65"/>
                    </a:lnTo>
                    <a:lnTo>
                      <a:pt x="1055" y="67"/>
                    </a:lnTo>
                    <a:lnTo>
                      <a:pt x="1055" y="68"/>
                    </a:lnTo>
                    <a:lnTo>
                      <a:pt x="1055" y="70"/>
                    </a:lnTo>
                    <a:lnTo>
                      <a:pt x="1055" y="72"/>
                    </a:lnTo>
                    <a:lnTo>
                      <a:pt x="1053" y="72"/>
                    </a:lnTo>
                    <a:lnTo>
                      <a:pt x="1053" y="73"/>
                    </a:lnTo>
                    <a:lnTo>
                      <a:pt x="1053" y="75"/>
                    </a:lnTo>
                    <a:lnTo>
                      <a:pt x="1053" y="76"/>
                    </a:lnTo>
                    <a:lnTo>
                      <a:pt x="1052" y="76"/>
                    </a:lnTo>
                    <a:lnTo>
                      <a:pt x="1050" y="76"/>
                    </a:lnTo>
                    <a:lnTo>
                      <a:pt x="1050" y="78"/>
                    </a:lnTo>
                    <a:lnTo>
                      <a:pt x="1049" y="78"/>
                    </a:lnTo>
                    <a:lnTo>
                      <a:pt x="1049" y="80"/>
                    </a:lnTo>
                    <a:lnTo>
                      <a:pt x="1050" y="81"/>
                    </a:lnTo>
                    <a:lnTo>
                      <a:pt x="1050" y="83"/>
                    </a:lnTo>
                    <a:lnTo>
                      <a:pt x="1050" y="84"/>
                    </a:lnTo>
                    <a:lnTo>
                      <a:pt x="1050" y="86"/>
                    </a:lnTo>
                    <a:lnTo>
                      <a:pt x="1049" y="87"/>
                    </a:lnTo>
                    <a:lnTo>
                      <a:pt x="1049" y="89"/>
                    </a:lnTo>
                    <a:lnTo>
                      <a:pt x="1047" y="89"/>
                    </a:lnTo>
                    <a:lnTo>
                      <a:pt x="1046" y="89"/>
                    </a:lnTo>
                    <a:lnTo>
                      <a:pt x="1044" y="89"/>
                    </a:lnTo>
                    <a:lnTo>
                      <a:pt x="1042" y="89"/>
                    </a:lnTo>
                    <a:lnTo>
                      <a:pt x="1041" y="89"/>
                    </a:lnTo>
                    <a:lnTo>
                      <a:pt x="1039" y="89"/>
                    </a:lnTo>
                    <a:lnTo>
                      <a:pt x="1038" y="87"/>
                    </a:lnTo>
                    <a:lnTo>
                      <a:pt x="1036" y="87"/>
                    </a:lnTo>
                    <a:lnTo>
                      <a:pt x="1034" y="87"/>
                    </a:lnTo>
                    <a:lnTo>
                      <a:pt x="1033" y="87"/>
                    </a:lnTo>
                    <a:lnTo>
                      <a:pt x="1031" y="87"/>
                    </a:lnTo>
                    <a:lnTo>
                      <a:pt x="1030" y="87"/>
                    </a:lnTo>
                    <a:lnTo>
                      <a:pt x="1030" y="86"/>
                    </a:lnTo>
                    <a:lnTo>
                      <a:pt x="1028" y="86"/>
                    </a:lnTo>
                    <a:lnTo>
                      <a:pt x="1028" y="84"/>
                    </a:lnTo>
                    <a:lnTo>
                      <a:pt x="1027" y="84"/>
                    </a:lnTo>
                    <a:lnTo>
                      <a:pt x="1025" y="84"/>
                    </a:lnTo>
                    <a:lnTo>
                      <a:pt x="1023" y="84"/>
                    </a:lnTo>
                    <a:lnTo>
                      <a:pt x="1022" y="86"/>
                    </a:lnTo>
                    <a:lnTo>
                      <a:pt x="1020" y="86"/>
                    </a:lnTo>
                    <a:lnTo>
                      <a:pt x="1020" y="87"/>
                    </a:lnTo>
                    <a:lnTo>
                      <a:pt x="1020" y="89"/>
                    </a:lnTo>
                    <a:lnTo>
                      <a:pt x="1019" y="91"/>
                    </a:lnTo>
                    <a:lnTo>
                      <a:pt x="1019" y="92"/>
                    </a:lnTo>
                    <a:lnTo>
                      <a:pt x="1019" y="94"/>
                    </a:lnTo>
                    <a:lnTo>
                      <a:pt x="1019" y="95"/>
                    </a:lnTo>
                    <a:lnTo>
                      <a:pt x="1019" y="97"/>
                    </a:lnTo>
                    <a:lnTo>
                      <a:pt x="1019" y="99"/>
                    </a:lnTo>
                    <a:lnTo>
                      <a:pt x="1017" y="99"/>
                    </a:lnTo>
                    <a:lnTo>
                      <a:pt x="1017" y="100"/>
                    </a:lnTo>
                    <a:lnTo>
                      <a:pt x="1017" y="102"/>
                    </a:lnTo>
                    <a:lnTo>
                      <a:pt x="1015" y="102"/>
                    </a:lnTo>
                    <a:lnTo>
                      <a:pt x="1015" y="103"/>
                    </a:lnTo>
                    <a:lnTo>
                      <a:pt x="1014" y="103"/>
                    </a:lnTo>
                    <a:lnTo>
                      <a:pt x="1014" y="105"/>
                    </a:lnTo>
                    <a:lnTo>
                      <a:pt x="1014" y="106"/>
                    </a:lnTo>
                    <a:lnTo>
                      <a:pt x="1012" y="106"/>
                    </a:lnTo>
                    <a:lnTo>
                      <a:pt x="1012" y="108"/>
                    </a:lnTo>
                    <a:lnTo>
                      <a:pt x="1011" y="108"/>
                    </a:lnTo>
                    <a:lnTo>
                      <a:pt x="1011" y="110"/>
                    </a:lnTo>
                    <a:lnTo>
                      <a:pt x="1009" y="111"/>
                    </a:lnTo>
                    <a:lnTo>
                      <a:pt x="1007" y="113"/>
                    </a:lnTo>
                    <a:lnTo>
                      <a:pt x="1006" y="114"/>
                    </a:lnTo>
                    <a:lnTo>
                      <a:pt x="1004" y="116"/>
                    </a:lnTo>
                    <a:lnTo>
                      <a:pt x="1004" y="118"/>
                    </a:lnTo>
                    <a:lnTo>
                      <a:pt x="1003" y="118"/>
                    </a:lnTo>
                    <a:lnTo>
                      <a:pt x="1003" y="119"/>
                    </a:lnTo>
                    <a:lnTo>
                      <a:pt x="1003" y="121"/>
                    </a:lnTo>
                    <a:lnTo>
                      <a:pt x="1001" y="121"/>
                    </a:lnTo>
                    <a:lnTo>
                      <a:pt x="1001" y="122"/>
                    </a:lnTo>
                    <a:lnTo>
                      <a:pt x="1001" y="124"/>
                    </a:lnTo>
                    <a:lnTo>
                      <a:pt x="1000" y="125"/>
                    </a:lnTo>
                    <a:lnTo>
                      <a:pt x="1000" y="127"/>
                    </a:lnTo>
                    <a:lnTo>
                      <a:pt x="998" y="129"/>
                    </a:lnTo>
                    <a:lnTo>
                      <a:pt x="998" y="130"/>
                    </a:lnTo>
                    <a:lnTo>
                      <a:pt x="998" y="132"/>
                    </a:lnTo>
                    <a:lnTo>
                      <a:pt x="996" y="132"/>
                    </a:lnTo>
                    <a:lnTo>
                      <a:pt x="996" y="133"/>
                    </a:lnTo>
                    <a:lnTo>
                      <a:pt x="996" y="135"/>
                    </a:lnTo>
                    <a:lnTo>
                      <a:pt x="995" y="137"/>
                    </a:lnTo>
                    <a:lnTo>
                      <a:pt x="995" y="138"/>
                    </a:lnTo>
                    <a:lnTo>
                      <a:pt x="993" y="138"/>
                    </a:lnTo>
                    <a:lnTo>
                      <a:pt x="993" y="140"/>
                    </a:lnTo>
                    <a:lnTo>
                      <a:pt x="993" y="141"/>
                    </a:lnTo>
                    <a:lnTo>
                      <a:pt x="992" y="143"/>
                    </a:lnTo>
                    <a:lnTo>
                      <a:pt x="992" y="145"/>
                    </a:lnTo>
                    <a:lnTo>
                      <a:pt x="990" y="145"/>
                    </a:lnTo>
                    <a:lnTo>
                      <a:pt x="990" y="146"/>
                    </a:lnTo>
                    <a:lnTo>
                      <a:pt x="990" y="148"/>
                    </a:lnTo>
                    <a:lnTo>
                      <a:pt x="988" y="149"/>
                    </a:lnTo>
                    <a:lnTo>
                      <a:pt x="988" y="151"/>
                    </a:lnTo>
                    <a:lnTo>
                      <a:pt x="987" y="151"/>
                    </a:lnTo>
                    <a:lnTo>
                      <a:pt x="987" y="152"/>
                    </a:lnTo>
                    <a:lnTo>
                      <a:pt x="985" y="154"/>
                    </a:lnTo>
                    <a:lnTo>
                      <a:pt x="985" y="156"/>
                    </a:lnTo>
                    <a:lnTo>
                      <a:pt x="984" y="157"/>
                    </a:lnTo>
                    <a:lnTo>
                      <a:pt x="984" y="159"/>
                    </a:lnTo>
                    <a:lnTo>
                      <a:pt x="982" y="160"/>
                    </a:lnTo>
                    <a:lnTo>
                      <a:pt x="982" y="162"/>
                    </a:lnTo>
                    <a:lnTo>
                      <a:pt x="982" y="164"/>
                    </a:lnTo>
                    <a:lnTo>
                      <a:pt x="982" y="165"/>
                    </a:lnTo>
                    <a:lnTo>
                      <a:pt x="982" y="167"/>
                    </a:lnTo>
                    <a:lnTo>
                      <a:pt x="981" y="167"/>
                    </a:lnTo>
                    <a:lnTo>
                      <a:pt x="981" y="168"/>
                    </a:lnTo>
                    <a:lnTo>
                      <a:pt x="979" y="170"/>
                    </a:lnTo>
                    <a:lnTo>
                      <a:pt x="977" y="171"/>
                    </a:lnTo>
                    <a:lnTo>
                      <a:pt x="977" y="173"/>
                    </a:lnTo>
                    <a:lnTo>
                      <a:pt x="976" y="173"/>
                    </a:lnTo>
                    <a:lnTo>
                      <a:pt x="976" y="175"/>
                    </a:lnTo>
                    <a:lnTo>
                      <a:pt x="974" y="175"/>
                    </a:lnTo>
                    <a:lnTo>
                      <a:pt x="973" y="176"/>
                    </a:lnTo>
                    <a:lnTo>
                      <a:pt x="971" y="178"/>
                    </a:lnTo>
                    <a:lnTo>
                      <a:pt x="969" y="178"/>
                    </a:lnTo>
                    <a:lnTo>
                      <a:pt x="969" y="179"/>
                    </a:lnTo>
                    <a:lnTo>
                      <a:pt x="968" y="179"/>
                    </a:lnTo>
                    <a:lnTo>
                      <a:pt x="968" y="181"/>
                    </a:lnTo>
                    <a:lnTo>
                      <a:pt x="966" y="183"/>
                    </a:lnTo>
                    <a:lnTo>
                      <a:pt x="965" y="183"/>
                    </a:lnTo>
                    <a:lnTo>
                      <a:pt x="963" y="184"/>
                    </a:lnTo>
                    <a:lnTo>
                      <a:pt x="962" y="184"/>
                    </a:lnTo>
                    <a:lnTo>
                      <a:pt x="960" y="186"/>
                    </a:lnTo>
                    <a:lnTo>
                      <a:pt x="958" y="186"/>
                    </a:lnTo>
                    <a:lnTo>
                      <a:pt x="958" y="187"/>
                    </a:lnTo>
                    <a:lnTo>
                      <a:pt x="958" y="189"/>
                    </a:lnTo>
                    <a:lnTo>
                      <a:pt x="957" y="189"/>
                    </a:lnTo>
                    <a:lnTo>
                      <a:pt x="957" y="190"/>
                    </a:lnTo>
                    <a:lnTo>
                      <a:pt x="955" y="192"/>
                    </a:lnTo>
                    <a:lnTo>
                      <a:pt x="955" y="194"/>
                    </a:lnTo>
                    <a:lnTo>
                      <a:pt x="954" y="194"/>
                    </a:lnTo>
                    <a:lnTo>
                      <a:pt x="954" y="195"/>
                    </a:lnTo>
                    <a:lnTo>
                      <a:pt x="952" y="197"/>
                    </a:lnTo>
                    <a:lnTo>
                      <a:pt x="950" y="198"/>
                    </a:lnTo>
                    <a:lnTo>
                      <a:pt x="950" y="200"/>
                    </a:lnTo>
                    <a:lnTo>
                      <a:pt x="949" y="202"/>
                    </a:lnTo>
                    <a:lnTo>
                      <a:pt x="949" y="203"/>
                    </a:lnTo>
                    <a:lnTo>
                      <a:pt x="947" y="203"/>
                    </a:lnTo>
                    <a:lnTo>
                      <a:pt x="947" y="205"/>
                    </a:lnTo>
                    <a:lnTo>
                      <a:pt x="946" y="206"/>
                    </a:lnTo>
                    <a:lnTo>
                      <a:pt x="946" y="208"/>
                    </a:lnTo>
                    <a:lnTo>
                      <a:pt x="946" y="209"/>
                    </a:lnTo>
                    <a:lnTo>
                      <a:pt x="944" y="209"/>
                    </a:lnTo>
                    <a:lnTo>
                      <a:pt x="944" y="211"/>
                    </a:lnTo>
                    <a:lnTo>
                      <a:pt x="944" y="213"/>
                    </a:lnTo>
                    <a:lnTo>
                      <a:pt x="944" y="214"/>
                    </a:lnTo>
                    <a:lnTo>
                      <a:pt x="944" y="216"/>
                    </a:lnTo>
                    <a:lnTo>
                      <a:pt x="943" y="217"/>
                    </a:lnTo>
                    <a:lnTo>
                      <a:pt x="943" y="219"/>
                    </a:lnTo>
                    <a:lnTo>
                      <a:pt x="943" y="221"/>
                    </a:lnTo>
                    <a:lnTo>
                      <a:pt x="944" y="222"/>
                    </a:lnTo>
                    <a:lnTo>
                      <a:pt x="944" y="224"/>
                    </a:lnTo>
                    <a:lnTo>
                      <a:pt x="943" y="224"/>
                    </a:lnTo>
                    <a:lnTo>
                      <a:pt x="943" y="225"/>
                    </a:lnTo>
                    <a:lnTo>
                      <a:pt x="943" y="227"/>
                    </a:lnTo>
                    <a:lnTo>
                      <a:pt x="943" y="228"/>
                    </a:lnTo>
                    <a:lnTo>
                      <a:pt x="943" y="230"/>
                    </a:lnTo>
                    <a:lnTo>
                      <a:pt x="943" y="232"/>
                    </a:lnTo>
                    <a:lnTo>
                      <a:pt x="943" y="233"/>
                    </a:lnTo>
                    <a:lnTo>
                      <a:pt x="943" y="235"/>
                    </a:lnTo>
                    <a:lnTo>
                      <a:pt x="943" y="236"/>
                    </a:lnTo>
                    <a:lnTo>
                      <a:pt x="943" y="238"/>
                    </a:lnTo>
                    <a:lnTo>
                      <a:pt x="944" y="240"/>
                    </a:lnTo>
                    <a:lnTo>
                      <a:pt x="944" y="241"/>
                    </a:lnTo>
                    <a:lnTo>
                      <a:pt x="944" y="243"/>
                    </a:lnTo>
                    <a:lnTo>
                      <a:pt x="946" y="244"/>
                    </a:lnTo>
                    <a:lnTo>
                      <a:pt x="946" y="246"/>
                    </a:lnTo>
                    <a:lnTo>
                      <a:pt x="946" y="247"/>
                    </a:lnTo>
                    <a:lnTo>
                      <a:pt x="946" y="249"/>
                    </a:lnTo>
                    <a:lnTo>
                      <a:pt x="947" y="249"/>
                    </a:lnTo>
                    <a:lnTo>
                      <a:pt x="947" y="251"/>
                    </a:lnTo>
                    <a:lnTo>
                      <a:pt x="947" y="252"/>
                    </a:lnTo>
                    <a:lnTo>
                      <a:pt x="947" y="254"/>
                    </a:lnTo>
                    <a:lnTo>
                      <a:pt x="947" y="255"/>
                    </a:lnTo>
                    <a:lnTo>
                      <a:pt x="947" y="257"/>
                    </a:lnTo>
                    <a:lnTo>
                      <a:pt x="947" y="259"/>
                    </a:lnTo>
                    <a:lnTo>
                      <a:pt x="947" y="260"/>
                    </a:lnTo>
                    <a:lnTo>
                      <a:pt x="947" y="262"/>
                    </a:lnTo>
                    <a:lnTo>
                      <a:pt x="946" y="263"/>
                    </a:lnTo>
                    <a:lnTo>
                      <a:pt x="946" y="265"/>
                    </a:lnTo>
                    <a:lnTo>
                      <a:pt x="946" y="266"/>
                    </a:lnTo>
                    <a:lnTo>
                      <a:pt x="946" y="268"/>
                    </a:lnTo>
                    <a:lnTo>
                      <a:pt x="946" y="270"/>
                    </a:lnTo>
                    <a:lnTo>
                      <a:pt x="947" y="271"/>
                    </a:lnTo>
                    <a:lnTo>
                      <a:pt x="947" y="273"/>
                    </a:lnTo>
                    <a:lnTo>
                      <a:pt x="947" y="274"/>
                    </a:lnTo>
                    <a:lnTo>
                      <a:pt x="947" y="276"/>
                    </a:lnTo>
                    <a:lnTo>
                      <a:pt x="947" y="278"/>
                    </a:lnTo>
                    <a:lnTo>
                      <a:pt x="947" y="279"/>
                    </a:lnTo>
                    <a:lnTo>
                      <a:pt x="947" y="281"/>
                    </a:lnTo>
                    <a:lnTo>
                      <a:pt x="947" y="282"/>
                    </a:lnTo>
                    <a:lnTo>
                      <a:pt x="947" y="284"/>
                    </a:lnTo>
                    <a:lnTo>
                      <a:pt x="947" y="285"/>
                    </a:lnTo>
                    <a:lnTo>
                      <a:pt x="947" y="287"/>
                    </a:lnTo>
                    <a:lnTo>
                      <a:pt x="946" y="290"/>
                    </a:lnTo>
                    <a:lnTo>
                      <a:pt x="944" y="292"/>
                    </a:lnTo>
                    <a:lnTo>
                      <a:pt x="944" y="293"/>
                    </a:lnTo>
                    <a:lnTo>
                      <a:pt x="944" y="295"/>
                    </a:lnTo>
                    <a:lnTo>
                      <a:pt x="943" y="297"/>
                    </a:lnTo>
                    <a:lnTo>
                      <a:pt x="941" y="298"/>
                    </a:lnTo>
                    <a:lnTo>
                      <a:pt x="941" y="300"/>
                    </a:lnTo>
                    <a:lnTo>
                      <a:pt x="941" y="301"/>
                    </a:lnTo>
                    <a:lnTo>
                      <a:pt x="939" y="303"/>
                    </a:lnTo>
                    <a:lnTo>
                      <a:pt x="939" y="304"/>
                    </a:lnTo>
                    <a:lnTo>
                      <a:pt x="939" y="306"/>
                    </a:lnTo>
                    <a:lnTo>
                      <a:pt x="938" y="308"/>
                    </a:lnTo>
                    <a:lnTo>
                      <a:pt x="938" y="309"/>
                    </a:lnTo>
                    <a:lnTo>
                      <a:pt x="938" y="311"/>
                    </a:lnTo>
                    <a:lnTo>
                      <a:pt x="936" y="312"/>
                    </a:lnTo>
                    <a:lnTo>
                      <a:pt x="936" y="314"/>
                    </a:lnTo>
                    <a:lnTo>
                      <a:pt x="936" y="316"/>
                    </a:lnTo>
                    <a:lnTo>
                      <a:pt x="935" y="317"/>
                    </a:lnTo>
                    <a:lnTo>
                      <a:pt x="935" y="319"/>
                    </a:lnTo>
                    <a:lnTo>
                      <a:pt x="935" y="320"/>
                    </a:lnTo>
                    <a:lnTo>
                      <a:pt x="935" y="322"/>
                    </a:lnTo>
                    <a:lnTo>
                      <a:pt x="935" y="324"/>
                    </a:lnTo>
                    <a:lnTo>
                      <a:pt x="935" y="325"/>
                    </a:lnTo>
                    <a:lnTo>
                      <a:pt x="935" y="327"/>
                    </a:lnTo>
                    <a:lnTo>
                      <a:pt x="935" y="328"/>
                    </a:lnTo>
                    <a:lnTo>
                      <a:pt x="935" y="330"/>
                    </a:lnTo>
                    <a:lnTo>
                      <a:pt x="935" y="331"/>
                    </a:lnTo>
                    <a:lnTo>
                      <a:pt x="935" y="333"/>
                    </a:lnTo>
                    <a:lnTo>
                      <a:pt x="935" y="335"/>
                    </a:lnTo>
                    <a:lnTo>
                      <a:pt x="935" y="336"/>
                    </a:lnTo>
                    <a:lnTo>
                      <a:pt x="936" y="336"/>
                    </a:lnTo>
                    <a:lnTo>
                      <a:pt x="936" y="338"/>
                    </a:lnTo>
                    <a:lnTo>
                      <a:pt x="936" y="339"/>
                    </a:lnTo>
                    <a:lnTo>
                      <a:pt x="938" y="339"/>
                    </a:lnTo>
                    <a:lnTo>
                      <a:pt x="938" y="341"/>
                    </a:lnTo>
                    <a:lnTo>
                      <a:pt x="938" y="343"/>
                    </a:lnTo>
                    <a:lnTo>
                      <a:pt x="939" y="343"/>
                    </a:lnTo>
                    <a:lnTo>
                      <a:pt x="939" y="344"/>
                    </a:lnTo>
                    <a:lnTo>
                      <a:pt x="939" y="346"/>
                    </a:lnTo>
                    <a:lnTo>
                      <a:pt x="941" y="346"/>
                    </a:lnTo>
                    <a:lnTo>
                      <a:pt x="941" y="347"/>
                    </a:lnTo>
                    <a:lnTo>
                      <a:pt x="941" y="349"/>
                    </a:lnTo>
                    <a:lnTo>
                      <a:pt x="941" y="350"/>
                    </a:lnTo>
                    <a:lnTo>
                      <a:pt x="943" y="352"/>
                    </a:lnTo>
                    <a:lnTo>
                      <a:pt x="943" y="354"/>
                    </a:lnTo>
                    <a:lnTo>
                      <a:pt x="943" y="355"/>
                    </a:lnTo>
                    <a:lnTo>
                      <a:pt x="944" y="355"/>
                    </a:lnTo>
                    <a:lnTo>
                      <a:pt x="944" y="357"/>
                    </a:lnTo>
                    <a:lnTo>
                      <a:pt x="946" y="357"/>
                    </a:lnTo>
                    <a:lnTo>
                      <a:pt x="946" y="358"/>
                    </a:lnTo>
                    <a:lnTo>
                      <a:pt x="947" y="358"/>
                    </a:lnTo>
                    <a:lnTo>
                      <a:pt x="946" y="360"/>
                    </a:lnTo>
                    <a:lnTo>
                      <a:pt x="946" y="362"/>
                    </a:lnTo>
                    <a:lnTo>
                      <a:pt x="944" y="363"/>
                    </a:lnTo>
                    <a:lnTo>
                      <a:pt x="944" y="365"/>
                    </a:lnTo>
                    <a:lnTo>
                      <a:pt x="943" y="366"/>
                    </a:lnTo>
                    <a:lnTo>
                      <a:pt x="943" y="368"/>
                    </a:lnTo>
                    <a:lnTo>
                      <a:pt x="941" y="369"/>
                    </a:lnTo>
                    <a:lnTo>
                      <a:pt x="941" y="371"/>
                    </a:lnTo>
                    <a:lnTo>
                      <a:pt x="941" y="373"/>
                    </a:lnTo>
                    <a:lnTo>
                      <a:pt x="939" y="373"/>
                    </a:lnTo>
                    <a:lnTo>
                      <a:pt x="939" y="374"/>
                    </a:lnTo>
                    <a:lnTo>
                      <a:pt x="939" y="376"/>
                    </a:lnTo>
                    <a:lnTo>
                      <a:pt x="938" y="376"/>
                    </a:lnTo>
                    <a:lnTo>
                      <a:pt x="938" y="377"/>
                    </a:lnTo>
                    <a:lnTo>
                      <a:pt x="938" y="379"/>
                    </a:lnTo>
                    <a:lnTo>
                      <a:pt x="938" y="381"/>
                    </a:lnTo>
                    <a:lnTo>
                      <a:pt x="936" y="381"/>
                    </a:lnTo>
                    <a:lnTo>
                      <a:pt x="936" y="382"/>
                    </a:lnTo>
                    <a:lnTo>
                      <a:pt x="935" y="382"/>
                    </a:lnTo>
                    <a:lnTo>
                      <a:pt x="935" y="384"/>
                    </a:lnTo>
                    <a:lnTo>
                      <a:pt x="935" y="385"/>
                    </a:lnTo>
                    <a:lnTo>
                      <a:pt x="933" y="385"/>
                    </a:lnTo>
                    <a:lnTo>
                      <a:pt x="933" y="387"/>
                    </a:lnTo>
                    <a:lnTo>
                      <a:pt x="933" y="388"/>
                    </a:lnTo>
                    <a:lnTo>
                      <a:pt x="933" y="390"/>
                    </a:lnTo>
                    <a:lnTo>
                      <a:pt x="935" y="392"/>
                    </a:lnTo>
                    <a:lnTo>
                      <a:pt x="935" y="393"/>
                    </a:lnTo>
                    <a:lnTo>
                      <a:pt x="935" y="395"/>
                    </a:lnTo>
                    <a:lnTo>
                      <a:pt x="935" y="396"/>
                    </a:lnTo>
                    <a:lnTo>
                      <a:pt x="936" y="398"/>
                    </a:lnTo>
                    <a:lnTo>
                      <a:pt x="936" y="400"/>
                    </a:lnTo>
                    <a:lnTo>
                      <a:pt x="936" y="401"/>
                    </a:lnTo>
                    <a:lnTo>
                      <a:pt x="938" y="403"/>
                    </a:lnTo>
                    <a:lnTo>
                      <a:pt x="938" y="404"/>
                    </a:lnTo>
                    <a:lnTo>
                      <a:pt x="938" y="406"/>
                    </a:lnTo>
                    <a:lnTo>
                      <a:pt x="939" y="406"/>
                    </a:lnTo>
                    <a:lnTo>
                      <a:pt x="939" y="407"/>
                    </a:lnTo>
                    <a:lnTo>
                      <a:pt x="939" y="409"/>
                    </a:lnTo>
                    <a:lnTo>
                      <a:pt x="939" y="411"/>
                    </a:lnTo>
                    <a:lnTo>
                      <a:pt x="939" y="412"/>
                    </a:lnTo>
                    <a:lnTo>
                      <a:pt x="939" y="414"/>
                    </a:lnTo>
                    <a:lnTo>
                      <a:pt x="939" y="415"/>
                    </a:lnTo>
                    <a:lnTo>
                      <a:pt x="941" y="415"/>
                    </a:lnTo>
                    <a:lnTo>
                      <a:pt x="941" y="417"/>
                    </a:lnTo>
                    <a:lnTo>
                      <a:pt x="941" y="419"/>
                    </a:lnTo>
                    <a:lnTo>
                      <a:pt x="943" y="420"/>
                    </a:lnTo>
                    <a:lnTo>
                      <a:pt x="943" y="422"/>
                    </a:lnTo>
                    <a:lnTo>
                      <a:pt x="944" y="422"/>
                    </a:lnTo>
                    <a:lnTo>
                      <a:pt x="946" y="422"/>
                    </a:lnTo>
                    <a:lnTo>
                      <a:pt x="947" y="422"/>
                    </a:lnTo>
                    <a:lnTo>
                      <a:pt x="949" y="422"/>
                    </a:lnTo>
                    <a:lnTo>
                      <a:pt x="949" y="423"/>
                    </a:lnTo>
                    <a:lnTo>
                      <a:pt x="950" y="423"/>
                    </a:lnTo>
                    <a:lnTo>
                      <a:pt x="952" y="423"/>
                    </a:lnTo>
                    <a:lnTo>
                      <a:pt x="954" y="425"/>
                    </a:lnTo>
                    <a:lnTo>
                      <a:pt x="955" y="425"/>
                    </a:lnTo>
                    <a:lnTo>
                      <a:pt x="955" y="426"/>
                    </a:lnTo>
                    <a:lnTo>
                      <a:pt x="957" y="426"/>
                    </a:lnTo>
                    <a:lnTo>
                      <a:pt x="958" y="428"/>
                    </a:lnTo>
                    <a:lnTo>
                      <a:pt x="958" y="430"/>
                    </a:lnTo>
                    <a:lnTo>
                      <a:pt x="960" y="430"/>
                    </a:lnTo>
                    <a:lnTo>
                      <a:pt x="962" y="430"/>
                    </a:lnTo>
                    <a:lnTo>
                      <a:pt x="962" y="431"/>
                    </a:lnTo>
                    <a:lnTo>
                      <a:pt x="963" y="431"/>
                    </a:lnTo>
                    <a:lnTo>
                      <a:pt x="965" y="431"/>
                    </a:lnTo>
                    <a:lnTo>
                      <a:pt x="966" y="431"/>
                    </a:lnTo>
                    <a:lnTo>
                      <a:pt x="968" y="431"/>
                    </a:lnTo>
                    <a:lnTo>
                      <a:pt x="969" y="431"/>
                    </a:lnTo>
                    <a:lnTo>
                      <a:pt x="969" y="433"/>
                    </a:lnTo>
                    <a:lnTo>
                      <a:pt x="971" y="433"/>
                    </a:lnTo>
                    <a:lnTo>
                      <a:pt x="973" y="433"/>
                    </a:lnTo>
                    <a:lnTo>
                      <a:pt x="973" y="434"/>
                    </a:lnTo>
                    <a:lnTo>
                      <a:pt x="974" y="434"/>
                    </a:lnTo>
                    <a:lnTo>
                      <a:pt x="976" y="434"/>
                    </a:lnTo>
                    <a:lnTo>
                      <a:pt x="977" y="436"/>
                    </a:lnTo>
                    <a:lnTo>
                      <a:pt x="979" y="436"/>
                    </a:lnTo>
                    <a:lnTo>
                      <a:pt x="979" y="438"/>
                    </a:lnTo>
                    <a:lnTo>
                      <a:pt x="981" y="438"/>
                    </a:lnTo>
                    <a:lnTo>
                      <a:pt x="982" y="439"/>
                    </a:lnTo>
                    <a:lnTo>
                      <a:pt x="982" y="441"/>
                    </a:lnTo>
                    <a:lnTo>
                      <a:pt x="982" y="442"/>
                    </a:lnTo>
                    <a:lnTo>
                      <a:pt x="984" y="442"/>
                    </a:lnTo>
                    <a:lnTo>
                      <a:pt x="984" y="444"/>
                    </a:lnTo>
                    <a:lnTo>
                      <a:pt x="984" y="445"/>
                    </a:lnTo>
                    <a:lnTo>
                      <a:pt x="985" y="445"/>
                    </a:lnTo>
                    <a:lnTo>
                      <a:pt x="985" y="447"/>
                    </a:lnTo>
                    <a:lnTo>
                      <a:pt x="987" y="447"/>
                    </a:lnTo>
                    <a:lnTo>
                      <a:pt x="987" y="449"/>
                    </a:lnTo>
                    <a:lnTo>
                      <a:pt x="988" y="449"/>
                    </a:lnTo>
                    <a:lnTo>
                      <a:pt x="990" y="449"/>
                    </a:lnTo>
                    <a:lnTo>
                      <a:pt x="992" y="449"/>
                    </a:lnTo>
                    <a:lnTo>
                      <a:pt x="993" y="449"/>
                    </a:lnTo>
                    <a:lnTo>
                      <a:pt x="993" y="450"/>
                    </a:lnTo>
                    <a:lnTo>
                      <a:pt x="995" y="450"/>
                    </a:lnTo>
                    <a:lnTo>
                      <a:pt x="996" y="450"/>
                    </a:lnTo>
                    <a:lnTo>
                      <a:pt x="998" y="450"/>
                    </a:lnTo>
                    <a:lnTo>
                      <a:pt x="998" y="452"/>
                    </a:lnTo>
                    <a:lnTo>
                      <a:pt x="1000" y="452"/>
                    </a:lnTo>
                    <a:lnTo>
                      <a:pt x="1001" y="452"/>
                    </a:lnTo>
                    <a:lnTo>
                      <a:pt x="1001" y="453"/>
                    </a:lnTo>
                    <a:lnTo>
                      <a:pt x="1003" y="453"/>
                    </a:lnTo>
                    <a:lnTo>
                      <a:pt x="1003" y="455"/>
                    </a:lnTo>
                    <a:lnTo>
                      <a:pt x="1004" y="455"/>
                    </a:lnTo>
                    <a:lnTo>
                      <a:pt x="1004" y="457"/>
                    </a:lnTo>
                    <a:lnTo>
                      <a:pt x="1006" y="458"/>
                    </a:lnTo>
                    <a:lnTo>
                      <a:pt x="1006" y="460"/>
                    </a:lnTo>
                    <a:lnTo>
                      <a:pt x="1007" y="461"/>
                    </a:lnTo>
                    <a:lnTo>
                      <a:pt x="1007" y="463"/>
                    </a:lnTo>
                    <a:lnTo>
                      <a:pt x="1009" y="464"/>
                    </a:lnTo>
                    <a:lnTo>
                      <a:pt x="1011" y="464"/>
                    </a:lnTo>
                    <a:lnTo>
                      <a:pt x="1011" y="466"/>
                    </a:lnTo>
                    <a:lnTo>
                      <a:pt x="1012" y="466"/>
                    </a:lnTo>
                    <a:lnTo>
                      <a:pt x="1012" y="468"/>
                    </a:lnTo>
                    <a:lnTo>
                      <a:pt x="1014" y="468"/>
                    </a:lnTo>
                    <a:lnTo>
                      <a:pt x="1015" y="469"/>
                    </a:lnTo>
                    <a:lnTo>
                      <a:pt x="1017" y="469"/>
                    </a:lnTo>
                    <a:lnTo>
                      <a:pt x="1017" y="471"/>
                    </a:lnTo>
                    <a:lnTo>
                      <a:pt x="1019" y="471"/>
                    </a:lnTo>
                    <a:lnTo>
                      <a:pt x="1020" y="472"/>
                    </a:lnTo>
                    <a:lnTo>
                      <a:pt x="1020" y="474"/>
                    </a:lnTo>
                    <a:lnTo>
                      <a:pt x="1022" y="474"/>
                    </a:lnTo>
                    <a:lnTo>
                      <a:pt x="1022" y="476"/>
                    </a:lnTo>
                    <a:lnTo>
                      <a:pt x="1023" y="476"/>
                    </a:lnTo>
                    <a:lnTo>
                      <a:pt x="1023" y="477"/>
                    </a:lnTo>
                    <a:lnTo>
                      <a:pt x="1025" y="477"/>
                    </a:lnTo>
                    <a:lnTo>
                      <a:pt x="1025" y="479"/>
                    </a:lnTo>
                    <a:lnTo>
                      <a:pt x="1027" y="480"/>
                    </a:lnTo>
                    <a:lnTo>
                      <a:pt x="1028" y="482"/>
                    </a:lnTo>
                    <a:lnTo>
                      <a:pt x="1028" y="483"/>
                    </a:lnTo>
                    <a:lnTo>
                      <a:pt x="1030" y="483"/>
                    </a:lnTo>
                    <a:lnTo>
                      <a:pt x="1030" y="485"/>
                    </a:lnTo>
                    <a:lnTo>
                      <a:pt x="1031" y="485"/>
                    </a:lnTo>
                    <a:lnTo>
                      <a:pt x="1033" y="485"/>
                    </a:lnTo>
                    <a:lnTo>
                      <a:pt x="1033" y="487"/>
                    </a:lnTo>
                    <a:lnTo>
                      <a:pt x="1034" y="487"/>
                    </a:lnTo>
                    <a:lnTo>
                      <a:pt x="1036" y="487"/>
                    </a:lnTo>
                    <a:lnTo>
                      <a:pt x="1038" y="488"/>
                    </a:lnTo>
                    <a:lnTo>
                      <a:pt x="1038" y="490"/>
                    </a:lnTo>
                    <a:lnTo>
                      <a:pt x="1039" y="491"/>
                    </a:lnTo>
                    <a:lnTo>
                      <a:pt x="1039" y="493"/>
                    </a:lnTo>
                    <a:lnTo>
                      <a:pt x="1038" y="493"/>
                    </a:lnTo>
                    <a:lnTo>
                      <a:pt x="1038" y="495"/>
                    </a:lnTo>
                    <a:lnTo>
                      <a:pt x="1036" y="496"/>
                    </a:lnTo>
                    <a:lnTo>
                      <a:pt x="1034" y="496"/>
                    </a:lnTo>
                    <a:lnTo>
                      <a:pt x="1034" y="498"/>
                    </a:lnTo>
                    <a:lnTo>
                      <a:pt x="1033" y="499"/>
                    </a:lnTo>
                    <a:lnTo>
                      <a:pt x="1031" y="501"/>
                    </a:lnTo>
                    <a:lnTo>
                      <a:pt x="1031" y="502"/>
                    </a:lnTo>
                    <a:lnTo>
                      <a:pt x="1030" y="502"/>
                    </a:lnTo>
                    <a:lnTo>
                      <a:pt x="1030" y="504"/>
                    </a:lnTo>
                    <a:lnTo>
                      <a:pt x="1028" y="504"/>
                    </a:lnTo>
                    <a:lnTo>
                      <a:pt x="1028" y="506"/>
                    </a:lnTo>
                    <a:lnTo>
                      <a:pt x="1027" y="506"/>
                    </a:lnTo>
                    <a:lnTo>
                      <a:pt x="1027" y="507"/>
                    </a:lnTo>
                    <a:lnTo>
                      <a:pt x="1025" y="507"/>
                    </a:lnTo>
                    <a:lnTo>
                      <a:pt x="1025" y="509"/>
                    </a:lnTo>
                    <a:lnTo>
                      <a:pt x="1023" y="509"/>
                    </a:lnTo>
                    <a:lnTo>
                      <a:pt x="1023" y="510"/>
                    </a:lnTo>
                    <a:lnTo>
                      <a:pt x="1022" y="510"/>
                    </a:lnTo>
                    <a:lnTo>
                      <a:pt x="1022" y="512"/>
                    </a:lnTo>
                    <a:lnTo>
                      <a:pt x="1020" y="514"/>
                    </a:lnTo>
                    <a:lnTo>
                      <a:pt x="1019" y="515"/>
                    </a:lnTo>
                    <a:lnTo>
                      <a:pt x="1017" y="517"/>
                    </a:lnTo>
                    <a:lnTo>
                      <a:pt x="1017" y="518"/>
                    </a:lnTo>
                    <a:lnTo>
                      <a:pt x="1015" y="518"/>
                    </a:lnTo>
                    <a:lnTo>
                      <a:pt x="1014" y="520"/>
                    </a:lnTo>
                    <a:lnTo>
                      <a:pt x="1014" y="522"/>
                    </a:lnTo>
                    <a:lnTo>
                      <a:pt x="1012" y="522"/>
                    </a:lnTo>
                    <a:lnTo>
                      <a:pt x="1012" y="523"/>
                    </a:lnTo>
                    <a:lnTo>
                      <a:pt x="1011" y="523"/>
                    </a:lnTo>
                    <a:lnTo>
                      <a:pt x="1011" y="525"/>
                    </a:lnTo>
                    <a:lnTo>
                      <a:pt x="1009" y="525"/>
                    </a:lnTo>
                    <a:lnTo>
                      <a:pt x="1009" y="526"/>
                    </a:lnTo>
                    <a:lnTo>
                      <a:pt x="1007" y="526"/>
                    </a:lnTo>
                    <a:lnTo>
                      <a:pt x="1007" y="528"/>
                    </a:lnTo>
                    <a:lnTo>
                      <a:pt x="1006" y="529"/>
                    </a:lnTo>
                    <a:lnTo>
                      <a:pt x="1004" y="529"/>
                    </a:lnTo>
                    <a:lnTo>
                      <a:pt x="1004" y="531"/>
                    </a:lnTo>
                    <a:lnTo>
                      <a:pt x="1003" y="531"/>
                    </a:lnTo>
                    <a:lnTo>
                      <a:pt x="1001" y="533"/>
                    </a:lnTo>
                    <a:lnTo>
                      <a:pt x="1000" y="533"/>
                    </a:lnTo>
                    <a:lnTo>
                      <a:pt x="998" y="534"/>
                    </a:lnTo>
                    <a:lnTo>
                      <a:pt x="996" y="536"/>
                    </a:lnTo>
                    <a:lnTo>
                      <a:pt x="995" y="537"/>
                    </a:lnTo>
                    <a:lnTo>
                      <a:pt x="993" y="539"/>
                    </a:lnTo>
                    <a:lnTo>
                      <a:pt x="993" y="541"/>
                    </a:lnTo>
                    <a:lnTo>
                      <a:pt x="992" y="541"/>
                    </a:lnTo>
                    <a:lnTo>
                      <a:pt x="992" y="542"/>
                    </a:lnTo>
                    <a:lnTo>
                      <a:pt x="990" y="542"/>
                    </a:lnTo>
                    <a:lnTo>
                      <a:pt x="990" y="544"/>
                    </a:lnTo>
                    <a:lnTo>
                      <a:pt x="988" y="544"/>
                    </a:lnTo>
                    <a:lnTo>
                      <a:pt x="988" y="545"/>
                    </a:lnTo>
                    <a:lnTo>
                      <a:pt x="988" y="547"/>
                    </a:lnTo>
                    <a:lnTo>
                      <a:pt x="987" y="547"/>
                    </a:lnTo>
                    <a:lnTo>
                      <a:pt x="985" y="548"/>
                    </a:lnTo>
                    <a:lnTo>
                      <a:pt x="985" y="550"/>
                    </a:lnTo>
                    <a:lnTo>
                      <a:pt x="985" y="552"/>
                    </a:lnTo>
                    <a:lnTo>
                      <a:pt x="984" y="552"/>
                    </a:lnTo>
                    <a:lnTo>
                      <a:pt x="984" y="553"/>
                    </a:lnTo>
                    <a:lnTo>
                      <a:pt x="982" y="553"/>
                    </a:lnTo>
                    <a:lnTo>
                      <a:pt x="982" y="555"/>
                    </a:lnTo>
                    <a:lnTo>
                      <a:pt x="981" y="556"/>
                    </a:lnTo>
                    <a:lnTo>
                      <a:pt x="981" y="558"/>
                    </a:lnTo>
                    <a:lnTo>
                      <a:pt x="979" y="558"/>
                    </a:lnTo>
                    <a:lnTo>
                      <a:pt x="979" y="560"/>
                    </a:lnTo>
                    <a:lnTo>
                      <a:pt x="981" y="560"/>
                    </a:lnTo>
                    <a:lnTo>
                      <a:pt x="981" y="561"/>
                    </a:lnTo>
                    <a:lnTo>
                      <a:pt x="982" y="563"/>
                    </a:lnTo>
                    <a:lnTo>
                      <a:pt x="984" y="564"/>
                    </a:lnTo>
                    <a:lnTo>
                      <a:pt x="985" y="564"/>
                    </a:lnTo>
                    <a:lnTo>
                      <a:pt x="985" y="566"/>
                    </a:lnTo>
                    <a:lnTo>
                      <a:pt x="987" y="566"/>
                    </a:lnTo>
                    <a:lnTo>
                      <a:pt x="988" y="566"/>
                    </a:lnTo>
                    <a:lnTo>
                      <a:pt x="990" y="567"/>
                    </a:lnTo>
                    <a:lnTo>
                      <a:pt x="992" y="567"/>
                    </a:lnTo>
                    <a:lnTo>
                      <a:pt x="992" y="569"/>
                    </a:lnTo>
                    <a:lnTo>
                      <a:pt x="993" y="569"/>
                    </a:lnTo>
                    <a:lnTo>
                      <a:pt x="993" y="571"/>
                    </a:lnTo>
                    <a:lnTo>
                      <a:pt x="995" y="571"/>
                    </a:lnTo>
                    <a:lnTo>
                      <a:pt x="996" y="572"/>
                    </a:lnTo>
                    <a:lnTo>
                      <a:pt x="998" y="572"/>
                    </a:lnTo>
                    <a:lnTo>
                      <a:pt x="998" y="574"/>
                    </a:lnTo>
                    <a:lnTo>
                      <a:pt x="1000" y="574"/>
                    </a:lnTo>
                    <a:lnTo>
                      <a:pt x="1000" y="575"/>
                    </a:lnTo>
                    <a:lnTo>
                      <a:pt x="1000" y="577"/>
                    </a:lnTo>
                    <a:lnTo>
                      <a:pt x="1000" y="579"/>
                    </a:lnTo>
                    <a:lnTo>
                      <a:pt x="1000" y="580"/>
                    </a:lnTo>
                    <a:lnTo>
                      <a:pt x="1000" y="582"/>
                    </a:lnTo>
                    <a:lnTo>
                      <a:pt x="1000" y="583"/>
                    </a:lnTo>
                    <a:lnTo>
                      <a:pt x="1000" y="585"/>
                    </a:lnTo>
                    <a:lnTo>
                      <a:pt x="1000" y="586"/>
                    </a:lnTo>
                    <a:lnTo>
                      <a:pt x="1000" y="588"/>
                    </a:lnTo>
                    <a:lnTo>
                      <a:pt x="1000" y="590"/>
                    </a:lnTo>
                    <a:lnTo>
                      <a:pt x="998" y="590"/>
                    </a:lnTo>
                    <a:lnTo>
                      <a:pt x="998" y="591"/>
                    </a:lnTo>
                    <a:lnTo>
                      <a:pt x="996" y="593"/>
                    </a:lnTo>
                    <a:lnTo>
                      <a:pt x="996" y="594"/>
                    </a:lnTo>
                    <a:lnTo>
                      <a:pt x="996" y="596"/>
                    </a:lnTo>
                    <a:lnTo>
                      <a:pt x="995" y="596"/>
                    </a:lnTo>
                    <a:lnTo>
                      <a:pt x="995" y="598"/>
                    </a:lnTo>
                    <a:lnTo>
                      <a:pt x="995" y="599"/>
                    </a:lnTo>
                    <a:lnTo>
                      <a:pt x="993" y="599"/>
                    </a:lnTo>
                    <a:lnTo>
                      <a:pt x="993" y="601"/>
                    </a:lnTo>
                    <a:lnTo>
                      <a:pt x="992" y="602"/>
                    </a:lnTo>
                    <a:lnTo>
                      <a:pt x="992" y="604"/>
                    </a:lnTo>
                    <a:lnTo>
                      <a:pt x="990" y="604"/>
                    </a:lnTo>
                    <a:lnTo>
                      <a:pt x="990" y="605"/>
                    </a:lnTo>
                    <a:lnTo>
                      <a:pt x="988" y="607"/>
                    </a:lnTo>
                    <a:lnTo>
                      <a:pt x="987" y="607"/>
                    </a:lnTo>
                    <a:lnTo>
                      <a:pt x="985" y="607"/>
                    </a:lnTo>
                    <a:lnTo>
                      <a:pt x="984" y="607"/>
                    </a:lnTo>
                    <a:lnTo>
                      <a:pt x="982" y="607"/>
                    </a:lnTo>
                    <a:lnTo>
                      <a:pt x="981" y="607"/>
                    </a:lnTo>
                    <a:lnTo>
                      <a:pt x="981" y="609"/>
                    </a:lnTo>
                    <a:lnTo>
                      <a:pt x="982" y="609"/>
                    </a:lnTo>
                    <a:lnTo>
                      <a:pt x="982" y="610"/>
                    </a:lnTo>
                    <a:lnTo>
                      <a:pt x="982" y="612"/>
                    </a:lnTo>
                    <a:lnTo>
                      <a:pt x="982" y="613"/>
                    </a:lnTo>
                    <a:lnTo>
                      <a:pt x="982" y="615"/>
                    </a:lnTo>
                    <a:lnTo>
                      <a:pt x="982" y="617"/>
                    </a:lnTo>
                    <a:lnTo>
                      <a:pt x="982" y="618"/>
                    </a:lnTo>
                    <a:lnTo>
                      <a:pt x="982" y="620"/>
                    </a:lnTo>
                    <a:lnTo>
                      <a:pt x="982" y="621"/>
                    </a:lnTo>
                    <a:lnTo>
                      <a:pt x="981" y="623"/>
                    </a:lnTo>
                    <a:lnTo>
                      <a:pt x="981" y="624"/>
                    </a:lnTo>
                    <a:lnTo>
                      <a:pt x="981" y="626"/>
                    </a:lnTo>
                    <a:lnTo>
                      <a:pt x="981" y="628"/>
                    </a:lnTo>
                    <a:lnTo>
                      <a:pt x="981" y="629"/>
                    </a:lnTo>
                    <a:lnTo>
                      <a:pt x="981" y="631"/>
                    </a:lnTo>
                    <a:lnTo>
                      <a:pt x="981" y="632"/>
                    </a:lnTo>
                    <a:lnTo>
                      <a:pt x="981" y="634"/>
                    </a:lnTo>
                    <a:lnTo>
                      <a:pt x="981" y="636"/>
                    </a:lnTo>
                    <a:lnTo>
                      <a:pt x="981" y="637"/>
                    </a:lnTo>
                    <a:lnTo>
                      <a:pt x="981" y="639"/>
                    </a:lnTo>
                    <a:lnTo>
                      <a:pt x="981" y="640"/>
                    </a:lnTo>
                    <a:lnTo>
                      <a:pt x="981" y="642"/>
                    </a:lnTo>
                    <a:lnTo>
                      <a:pt x="981" y="643"/>
                    </a:lnTo>
                    <a:lnTo>
                      <a:pt x="981" y="645"/>
                    </a:lnTo>
                    <a:lnTo>
                      <a:pt x="981" y="647"/>
                    </a:lnTo>
                    <a:lnTo>
                      <a:pt x="981" y="648"/>
                    </a:lnTo>
                    <a:lnTo>
                      <a:pt x="981" y="650"/>
                    </a:lnTo>
                    <a:lnTo>
                      <a:pt x="981" y="651"/>
                    </a:lnTo>
                    <a:lnTo>
                      <a:pt x="981" y="653"/>
                    </a:lnTo>
                    <a:lnTo>
                      <a:pt x="981" y="655"/>
                    </a:lnTo>
                    <a:lnTo>
                      <a:pt x="981" y="656"/>
                    </a:lnTo>
                    <a:lnTo>
                      <a:pt x="979" y="656"/>
                    </a:lnTo>
                    <a:lnTo>
                      <a:pt x="979" y="658"/>
                    </a:lnTo>
                    <a:lnTo>
                      <a:pt x="977" y="659"/>
                    </a:lnTo>
                    <a:lnTo>
                      <a:pt x="977" y="661"/>
                    </a:lnTo>
                    <a:lnTo>
                      <a:pt x="976" y="662"/>
                    </a:lnTo>
                    <a:lnTo>
                      <a:pt x="976" y="664"/>
                    </a:lnTo>
                    <a:lnTo>
                      <a:pt x="974" y="666"/>
                    </a:lnTo>
                    <a:lnTo>
                      <a:pt x="974" y="667"/>
                    </a:lnTo>
                    <a:lnTo>
                      <a:pt x="974" y="669"/>
                    </a:lnTo>
                    <a:lnTo>
                      <a:pt x="973" y="670"/>
                    </a:lnTo>
                    <a:lnTo>
                      <a:pt x="973" y="672"/>
                    </a:lnTo>
                    <a:lnTo>
                      <a:pt x="973" y="674"/>
                    </a:lnTo>
                    <a:lnTo>
                      <a:pt x="971" y="674"/>
                    </a:lnTo>
                    <a:lnTo>
                      <a:pt x="971" y="675"/>
                    </a:lnTo>
                    <a:lnTo>
                      <a:pt x="971" y="677"/>
                    </a:lnTo>
                    <a:lnTo>
                      <a:pt x="971" y="678"/>
                    </a:lnTo>
                    <a:lnTo>
                      <a:pt x="969" y="680"/>
                    </a:lnTo>
                    <a:lnTo>
                      <a:pt x="969" y="681"/>
                    </a:lnTo>
                    <a:lnTo>
                      <a:pt x="969" y="683"/>
                    </a:lnTo>
                    <a:lnTo>
                      <a:pt x="969" y="685"/>
                    </a:lnTo>
                    <a:lnTo>
                      <a:pt x="969" y="686"/>
                    </a:lnTo>
                    <a:lnTo>
                      <a:pt x="968" y="686"/>
                    </a:lnTo>
                    <a:lnTo>
                      <a:pt x="968" y="688"/>
                    </a:lnTo>
                    <a:lnTo>
                      <a:pt x="968" y="689"/>
                    </a:lnTo>
                    <a:lnTo>
                      <a:pt x="968" y="691"/>
                    </a:lnTo>
                    <a:lnTo>
                      <a:pt x="966" y="693"/>
                    </a:lnTo>
                    <a:lnTo>
                      <a:pt x="966" y="694"/>
                    </a:lnTo>
                    <a:lnTo>
                      <a:pt x="966" y="696"/>
                    </a:lnTo>
                    <a:lnTo>
                      <a:pt x="965" y="696"/>
                    </a:lnTo>
                    <a:lnTo>
                      <a:pt x="965" y="697"/>
                    </a:lnTo>
                    <a:lnTo>
                      <a:pt x="965" y="699"/>
                    </a:lnTo>
                    <a:lnTo>
                      <a:pt x="965" y="701"/>
                    </a:lnTo>
                    <a:lnTo>
                      <a:pt x="963" y="701"/>
                    </a:lnTo>
                    <a:lnTo>
                      <a:pt x="963" y="702"/>
                    </a:lnTo>
                    <a:lnTo>
                      <a:pt x="963" y="704"/>
                    </a:lnTo>
                    <a:lnTo>
                      <a:pt x="963" y="705"/>
                    </a:lnTo>
                    <a:lnTo>
                      <a:pt x="963" y="707"/>
                    </a:lnTo>
                    <a:lnTo>
                      <a:pt x="963" y="708"/>
                    </a:lnTo>
                    <a:lnTo>
                      <a:pt x="963" y="710"/>
                    </a:lnTo>
                    <a:lnTo>
                      <a:pt x="963" y="712"/>
                    </a:lnTo>
                    <a:lnTo>
                      <a:pt x="963" y="713"/>
                    </a:lnTo>
                    <a:lnTo>
                      <a:pt x="963" y="715"/>
                    </a:lnTo>
                    <a:lnTo>
                      <a:pt x="963" y="716"/>
                    </a:lnTo>
                    <a:lnTo>
                      <a:pt x="963" y="718"/>
                    </a:lnTo>
                    <a:lnTo>
                      <a:pt x="963" y="720"/>
                    </a:lnTo>
                    <a:lnTo>
                      <a:pt x="963" y="721"/>
                    </a:lnTo>
                    <a:lnTo>
                      <a:pt x="963" y="723"/>
                    </a:lnTo>
                    <a:lnTo>
                      <a:pt x="963" y="724"/>
                    </a:lnTo>
                    <a:lnTo>
                      <a:pt x="963" y="726"/>
                    </a:lnTo>
                    <a:lnTo>
                      <a:pt x="963" y="727"/>
                    </a:lnTo>
                    <a:lnTo>
                      <a:pt x="963" y="729"/>
                    </a:lnTo>
                    <a:lnTo>
                      <a:pt x="963" y="731"/>
                    </a:lnTo>
                    <a:lnTo>
                      <a:pt x="963" y="732"/>
                    </a:lnTo>
                    <a:lnTo>
                      <a:pt x="963" y="734"/>
                    </a:lnTo>
                    <a:lnTo>
                      <a:pt x="963" y="735"/>
                    </a:lnTo>
                    <a:lnTo>
                      <a:pt x="963" y="737"/>
                    </a:lnTo>
                    <a:lnTo>
                      <a:pt x="963" y="739"/>
                    </a:lnTo>
                    <a:lnTo>
                      <a:pt x="963" y="740"/>
                    </a:lnTo>
                    <a:lnTo>
                      <a:pt x="963" y="742"/>
                    </a:lnTo>
                    <a:lnTo>
                      <a:pt x="963" y="743"/>
                    </a:lnTo>
                    <a:lnTo>
                      <a:pt x="963" y="745"/>
                    </a:lnTo>
                    <a:lnTo>
                      <a:pt x="963" y="746"/>
                    </a:lnTo>
                    <a:lnTo>
                      <a:pt x="963" y="748"/>
                    </a:lnTo>
                    <a:lnTo>
                      <a:pt x="963" y="750"/>
                    </a:lnTo>
                    <a:lnTo>
                      <a:pt x="965" y="750"/>
                    </a:lnTo>
                    <a:lnTo>
                      <a:pt x="965" y="751"/>
                    </a:lnTo>
                    <a:lnTo>
                      <a:pt x="965" y="753"/>
                    </a:lnTo>
                    <a:lnTo>
                      <a:pt x="966" y="753"/>
                    </a:lnTo>
                    <a:lnTo>
                      <a:pt x="966" y="754"/>
                    </a:lnTo>
                    <a:lnTo>
                      <a:pt x="966" y="756"/>
                    </a:lnTo>
                    <a:lnTo>
                      <a:pt x="968" y="758"/>
                    </a:lnTo>
                    <a:lnTo>
                      <a:pt x="968" y="759"/>
                    </a:lnTo>
                    <a:lnTo>
                      <a:pt x="969" y="759"/>
                    </a:lnTo>
                    <a:lnTo>
                      <a:pt x="969" y="761"/>
                    </a:lnTo>
                    <a:lnTo>
                      <a:pt x="969" y="762"/>
                    </a:lnTo>
                    <a:lnTo>
                      <a:pt x="968" y="762"/>
                    </a:lnTo>
                    <a:lnTo>
                      <a:pt x="966" y="764"/>
                    </a:lnTo>
                    <a:lnTo>
                      <a:pt x="965" y="764"/>
                    </a:lnTo>
                    <a:lnTo>
                      <a:pt x="963" y="764"/>
                    </a:lnTo>
                    <a:lnTo>
                      <a:pt x="963" y="765"/>
                    </a:lnTo>
                    <a:lnTo>
                      <a:pt x="962" y="765"/>
                    </a:lnTo>
                    <a:lnTo>
                      <a:pt x="960" y="767"/>
                    </a:lnTo>
                    <a:lnTo>
                      <a:pt x="958" y="769"/>
                    </a:lnTo>
                    <a:lnTo>
                      <a:pt x="957" y="770"/>
                    </a:lnTo>
                    <a:lnTo>
                      <a:pt x="955" y="770"/>
                    </a:lnTo>
                    <a:lnTo>
                      <a:pt x="955" y="772"/>
                    </a:lnTo>
                    <a:lnTo>
                      <a:pt x="954" y="773"/>
                    </a:lnTo>
                    <a:lnTo>
                      <a:pt x="952" y="775"/>
                    </a:lnTo>
                    <a:lnTo>
                      <a:pt x="950" y="775"/>
                    </a:lnTo>
                    <a:lnTo>
                      <a:pt x="950" y="777"/>
                    </a:lnTo>
                    <a:lnTo>
                      <a:pt x="949" y="777"/>
                    </a:lnTo>
                    <a:lnTo>
                      <a:pt x="947" y="777"/>
                    </a:lnTo>
                    <a:lnTo>
                      <a:pt x="947" y="778"/>
                    </a:lnTo>
                    <a:lnTo>
                      <a:pt x="946" y="778"/>
                    </a:lnTo>
                    <a:lnTo>
                      <a:pt x="946" y="780"/>
                    </a:lnTo>
                    <a:lnTo>
                      <a:pt x="944" y="780"/>
                    </a:lnTo>
                    <a:lnTo>
                      <a:pt x="943" y="780"/>
                    </a:lnTo>
                    <a:lnTo>
                      <a:pt x="943" y="781"/>
                    </a:lnTo>
                    <a:lnTo>
                      <a:pt x="941" y="781"/>
                    </a:lnTo>
                    <a:lnTo>
                      <a:pt x="939" y="783"/>
                    </a:lnTo>
                    <a:lnTo>
                      <a:pt x="938" y="783"/>
                    </a:lnTo>
                    <a:lnTo>
                      <a:pt x="936" y="783"/>
                    </a:lnTo>
                    <a:lnTo>
                      <a:pt x="936" y="784"/>
                    </a:lnTo>
                    <a:lnTo>
                      <a:pt x="935" y="784"/>
                    </a:lnTo>
                    <a:lnTo>
                      <a:pt x="933" y="784"/>
                    </a:lnTo>
                    <a:lnTo>
                      <a:pt x="931" y="784"/>
                    </a:lnTo>
                    <a:lnTo>
                      <a:pt x="930" y="786"/>
                    </a:lnTo>
                    <a:lnTo>
                      <a:pt x="931" y="788"/>
                    </a:lnTo>
                    <a:lnTo>
                      <a:pt x="931" y="789"/>
                    </a:lnTo>
                    <a:lnTo>
                      <a:pt x="930" y="789"/>
                    </a:lnTo>
                    <a:lnTo>
                      <a:pt x="930" y="791"/>
                    </a:lnTo>
                    <a:lnTo>
                      <a:pt x="928" y="791"/>
                    </a:lnTo>
                    <a:lnTo>
                      <a:pt x="928" y="792"/>
                    </a:lnTo>
                    <a:lnTo>
                      <a:pt x="927" y="794"/>
                    </a:lnTo>
                    <a:lnTo>
                      <a:pt x="925" y="796"/>
                    </a:lnTo>
                    <a:lnTo>
                      <a:pt x="925" y="797"/>
                    </a:lnTo>
                    <a:lnTo>
                      <a:pt x="924" y="799"/>
                    </a:lnTo>
                    <a:lnTo>
                      <a:pt x="924" y="800"/>
                    </a:lnTo>
                    <a:lnTo>
                      <a:pt x="922" y="800"/>
                    </a:lnTo>
                    <a:lnTo>
                      <a:pt x="924" y="802"/>
                    </a:lnTo>
                    <a:lnTo>
                      <a:pt x="922" y="802"/>
                    </a:lnTo>
                    <a:lnTo>
                      <a:pt x="922" y="803"/>
                    </a:lnTo>
                    <a:lnTo>
                      <a:pt x="922" y="805"/>
                    </a:lnTo>
                    <a:lnTo>
                      <a:pt x="920" y="805"/>
                    </a:lnTo>
                    <a:lnTo>
                      <a:pt x="919" y="807"/>
                    </a:lnTo>
                    <a:lnTo>
                      <a:pt x="917" y="807"/>
                    </a:lnTo>
                    <a:lnTo>
                      <a:pt x="916" y="807"/>
                    </a:lnTo>
                    <a:lnTo>
                      <a:pt x="916" y="808"/>
                    </a:lnTo>
                    <a:lnTo>
                      <a:pt x="914" y="808"/>
                    </a:lnTo>
                    <a:lnTo>
                      <a:pt x="912" y="810"/>
                    </a:lnTo>
                    <a:lnTo>
                      <a:pt x="911" y="810"/>
                    </a:lnTo>
                    <a:lnTo>
                      <a:pt x="911" y="811"/>
                    </a:lnTo>
                    <a:lnTo>
                      <a:pt x="909" y="811"/>
                    </a:lnTo>
                    <a:lnTo>
                      <a:pt x="909" y="813"/>
                    </a:lnTo>
                    <a:lnTo>
                      <a:pt x="908" y="813"/>
                    </a:lnTo>
                    <a:lnTo>
                      <a:pt x="906" y="813"/>
                    </a:lnTo>
                    <a:lnTo>
                      <a:pt x="905" y="813"/>
                    </a:lnTo>
                    <a:lnTo>
                      <a:pt x="903" y="813"/>
                    </a:lnTo>
                    <a:lnTo>
                      <a:pt x="901" y="813"/>
                    </a:lnTo>
                    <a:lnTo>
                      <a:pt x="900" y="813"/>
                    </a:lnTo>
                    <a:lnTo>
                      <a:pt x="898" y="813"/>
                    </a:lnTo>
                    <a:lnTo>
                      <a:pt x="897" y="815"/>
                    </a:lnTo>
                    <a:lnTo>
                      <a:pt x="895" y="816"/>
                    </a:lnTo>
                    <a:lnTo>
                      <a:pt x="893" y="816"/>
                    </a:lnTo>
                    <a:lnTo>
                      <a:pt x="893" y="818"/>
                    </a:lnTo>
                    <a:lnTo>
                      <a:pt x="893" y="819"/>
                    </a:lnTo>
                    <a:lnTo>
                      <a:pt x="893" y="821"/>
                    </a:lnTo>
                    <a:lnTo>
                      <a:pt x="893" y="822"/>
                    </a:lnTo>
                    <a:lnTo>
                      <a:pt x="892" y="822"/>
                    </a:lnTo>
                    <a:lnTo>
                      <a:pt x="892" y="824"/>
                    </a:lnTo>
                    <a:lnTo>
                      <a:pt x="892" y="826"/>
                    </a:lnTo>
                    <a:lnTo>
                      <a:pt x="890" y="826"/>
                    </a:lnTo>
                    <a:lnTo>
                      <a:pt x="890" y="827"/>
                    </a:lnTo>
                    <a:lnTo>
                      <a:pt x="889" y="827"/>
                    </a:lnTo>
                    <a:lnTo>
                      <a:pt x="887" y="826"/>
                    </a:lnTo>
                    <a:lnTo>
                      <a:pt x="886" y="827"/>
                    </a:lnTo>
                    <a:lnTo>
                      <a:pt x="884" y="827"/>
                    </a:lnTo>
                    <a:lnTo>
                      <a:pt x="882" y="829"/>
                    </a:lnTo>
                    <a:lnTo>
                      <a:pt x="881" y="830"/>
                    </a:lnTo>
                    <a:lnTo>
                      <a:pt x="881" y="832"/>
                    </a:lnTo>
                    <a:lnTo>
                      <a:pt x="879" y="832"/>
                    </a:lnTo>
                    <a:lnTo>
                      <a:pt x="879" y="834"/>
                    </a:lnTo>
                    <a:lnTo>
                      <a:pt x="878" y="834"/>
                    </a:lnTo>
                    <a:lnTo>
                      <a:pt x="878" y="835"/>
                    </a:lnTo>
                    <a:lnTo>
                      <a:pt x="876" y="835"/>
                    </a:lnTo>
                    <a:lnTo>
                      <a:pt x="874" y="837"/>
                    </a:lnTo>
                    <a:lnTo>
                      <a:pt x="873" y="837"/>
                    </a:lnTo>
                    <a:lnTo>
                      <a:pt x="871" y="837"/>
                    </a:lnTo>
                    <a:lnTo>
                      <a:pt x="870" y="837"/>
                    </a:lnTo>
                    <a:lnTo>
                      <a:pt x="870" y="838"/>
                    </a:lnTo>
                    <a:lnTo>
                      <a:pt x="868" y="840"/>
                    </a:lnTo>
                    <a:lnTo>
                      <a:pt x="867" y="841"/>
                    </a:lnTo>
                    <a:lnTo>
                      <a:pt x="865" y="841"/>
                    </a:lnTo>
                    <a:lnTo>
                      <a:pt x="863" y="843"/>
                    </a:lnTo>
                    <a:lnTo>
                      <a:pt x="863" y="845"/>
                    </a:lnTo>
                    <a:lnTo>
                      <a:pt x="863" y="846"/>
                    </a:lnTo>
                    <a:lnTo>
                      <a:pt x="862" y="848"/>
                    </a:lnTo>
                    <a:lnTo>
                      <a:pt x="862" y="849"/>
                    </a:lnTo>
                    <a:lnTo>
                      <a:pt x="860" y="851"/>
                    </a:lnTo>
                    <a:lnTo>
                      <a:pt x="860" y="853"/>
                    </a:lnTo>
                    <a:lnTo>
                      <a:pt x="859" y="854"/>
                    </a:lnTo>
                    <a:lnTo>
                      <a:pt x="859" y="856"/>
                    </a:lnTo>
                    <a:lnTo>
                      <a:pt x="857" y="857"/>
                    </a:lnTo>
                    <a:lnTo>
                      <a:pt x="855" y="857"/>
                    </a:lnTo>
                    <a:lnTo>
                      <a:pt x="854" y="859"/>
                    </a:lnTo>
                    <a:lnTo>
                      <a:pt x="852" y="859"/>
                    </a:lnTo>
                    <a:lnTo>
                      <a:pt x="851" y="860"/>
                    </a:lnTo>
                    <a:lnTo>
                      <a:pt x="851" y="862"/>
                    </a:lnTo>
                    <a:lnTo>
                      <a:pt x="849" y="862"/>
                    </a:lnTo>
                    <a:lnTo>
                      <a:pt x="849" y="864"/>
                    </a:lnTo>
                    <a:lnTo>
                      <a:pt x="848" y="864"/>
                    </a:lnTo>
                    <a:lnTo>
                      <a:pt x="848" y="865"/>
                    </a:lnTo>
                    <a:lnTo>
                      <a:pt x="846" y="865"/>
                    </a:lnTo>
                    <a:lnTo>
                      <a:pt x="844" y="865"/>
                    </a:lnTo>
                    <a:lnTo>
                      <a:pt x="843" y="865"/>
                    </a:lnTo>
                    <a:lnTo>
                      <a:pt x="841" y="867"/>
                    </a:lnTo>
                    <a:lnTo>
                      <a:pt x="840" y="867"/>
                    </a:lnTo>
                    <a:lnTo>
                      <a:pt x="838" y="867"/>
                    </a:lnTo>
                    <a:lnTo>
                      <a:pt x="838" y="868"/>
                    </a:lnTo>
                    <a:lnTo>
                      <a:pt x="836" y="868"/>
                    </a:lnTo>
                    <a:lnTo>
                      <a:pt x="835" y="868"/>
                    </a:lnTo>
                    <a:lnTo>
                      <a:pt x="833" y="870"/>
                    </a:lnTo>
                    <a:lnTo>
                      <a:pt x="832" y="870"/>
                    </a:lnTo>
                    <a:lnTo>
                      <a:pt x="830" y="870"/>
                    </a:lnTo>
                    <a:lnTo>
                      <a:pt x="830" y="872"/>
                    </a:lnTo>
                    <a:lnTo>
                      <a:pt x="828" y="872"/>
                    </a:lnTo>
                    <a:lnTo>
                      <a:pt x="828" y="873"/>
                    </a:lnTo>
                    <a:lnTo>
                      <a:pt x="827" y="875"/>
                    </a:lnTo>
                    <a:lnTo>
                      <a:pt x="825" y="876"/>
                    </a:lnTo>
                    <a:lnTo>
                      <a:pt x="824" y="878"/>
                    </a:lnTo>
                    <a:lnTo>
                      <a:pt x="824" y="880"/>
                    </a:lnTo>
                    <a:lnTo>
                      <a:pt x="822" y="880"/>
                    </a:lnTo>
                    <a:lnTo>
                      <a:pt x="822" y="881"/>
                    </a:lnTo>
                    <a:lnTo>
                      <a:pt x="821" y="883"/>
                    </a:lnTo>
                    <a:lnTo>
                      <a:pt x="821" y="884"/>
                    </a:lnTo>
                    <a:lnTo>
                      <a:pt x="819" y="884"/>
                    </a:lnTo>
                    <a:lnTo>
                      <a:pt x="819" y="886"/>
                    </a:lnTo>
                    <a:lnTo>
                      <a:pt x="817" y="886"/>
                    </a:lnTo>
                    <a:lnTo>
                      <a:pt x="816" y="887"/>
                    </a:lnTo>
                    <a:lnTo>
                      <a:pt x="816" y="889"/>
                    </a:lnTo>
                    <a:lnTo>
                      <a:pt x="816" y="891"/>
                    </a:lnTo>
                    <a:lnTo>
                      <a:pt x="814" y="892"/>
                    </a:lnTo>
                    <a:lnTo>
                      <a:pt x="814" y="894"/>
                    </a:lnTo>
                    <a:lnTo>
                      <a:pt x="814" y="895"/>
                    </a:lnTo>
                    <a:lnTo>
                      <a:pt x="813" y="895"/>
                    </a:lnTo>
                    <a:lnTo>
                      <a:pt x="813" y="897"/>
                    </a:lnTo>
                    <a:lnTo>
                      <a:pt x="813" y="899"/>
                    </a:lnTo>
                    <a:lnTo>
                      <a:pt x="811" y="899"/>
                    </a:lnTo>
                    <a:lnTo>
                      <a:pt x="811" y="900"/>
                    </a:lnTo>
                    <a:lnTo>
                      <a:pt x="811" y="902"/>
                    </a:lnTo>
                    <a:lnTo>
                      <a:pt x="809" y="903"/>
                    </a:lnTo>
                    <a:lnTo>
                      <a:pt x="809" y="905"/>
                    </a:lnTo>
                    <a:lnTo>
                      <a:pt x="809" y="906"/>
                    </a:lnTo>
                    <a:lnTo>
                      <a:pt x="809" y="908"/>
                    </a:lnTo>
                    <a:lnTo>
                      <a:pt x="809" y="910"/>
                    </a:lnTo>
                    <a:lnTo>
                      <a:pt x="808" y="910"/>
                    </a:lnTo>
                    <a:lnTo>
                      <a:pt x="808" y="911"/>
                    </a:lnTo>
                    <a:lnTo>
                      <a:pt x="808" y="913"/>
                    </a:lnTo>
                    <a:lnTo>
                      <a:pt x="808" y="914"/>
                    </a:lnTo>
                    <a:lnTo>
                      <a:pt x="808" y="916"/>
                    </a:lnTo>
                    <a:lnTo>
                      <a:pt x="808" y="918"/>
                    </a:lnTo>
                    <a:lnTo>
                      <a:pt x="808" y="919"/>
                    </a:lnTo>
                    <a:lnTo>
                      <a:pt x="808" y="921"/>
                    </a:lnTo>
                    <a:lnTo>
                      <a:pt x="808" y="922"/>
                    </a:lnTo>
                    <a:lnTo>
                      <a:pt x="808" y="924"/>
                    </a:lnTo>
                    <a:lnTo>
                      <a:pt x="808" y="925"/>
                    </a:lnTo>
                    <a:lnTo>
                      <a:pt x="808" y="927"/>
                    </a:lnTo>
                    <a:lnTo>
                      <a:pt x="808" y="929"/>
                    </a:lnTo>
                    <a:lnTo>
                      <a:pt x="808" y="930"/>
                    </a:lnTo>
                    <a:lnTo>
                      <a:pt x="808" y="932"/>
                    </a:lnTo>
                    <a:lnTo>
                      <a:pt x="808" y="933"/>
                    </a:lnTo>
                    <a:lnTo>
                      <a:pt x="808" y="935"/>
                    </a:lnTo>
                    <a:lnTo>
                      <a:pt x="808" y="937"/>
                    </a:lnTo>
                    <a:lnTo>
                      <a:pt x="808" y="938"/>
                    </a:lnTo>
                    <a:lnTo>
                      <a:pt x="808" y="940"/>
                    </a:lnTo>
                    <a:lnTo>
                      <a:pt x="808" y="941"/>
                    </a:lnTo>
                    <a:lnTo>
                      <a:pt x="808" y="943"/>
                    </a:lnTo>
                    <a:lnTo>
                      <a:pt x="808" y="944"/>
                    </a:lnTo>
                    <a:lnTo>
                      <a:pt x="808" y="946"/>
                    </a:lnTo>
                    <a:lnTo>
                      <a:pt x="808" y="948"/>
                    </a:lnTo>
                    <a:lnTo>
                      <a:pt x="808" y="949"/>
                    </a:lnTo>
                    <a:lnTo>
                      <a:pt x="808" y="951"/>
                    </a:lnTo>
                    <a:lnTo>
                      <a:pt x="808" y="952"/>
                    </a:lnTo>
                    <a:lnTo>
                      <a:pt x="808" y="954"/>
                    </a:lnTo>
                    <a:lnTo>
                      <a:pt x="808" y="956"/>
                    </a:lnTo>
                    <a:lnTo>
                      <a:pt x="808" y="957"/>
                    </a:lnTo>
                    <a:lnTo>
                      <a:pt x="808" y="959"/>
                    </a:lnTo>
                    <a:lnTo>
                      <a:pt x="808" y="960"/>
                    </a:lnTo>
                    <a:lnTo>
                      <a:pt x="808" y="962"/>
                    </a:lnTo>
                    <a:lnTo>
                      <a:pt x="808" y="963"/>
                    </a:lnTo>
                    <a:lnTo>
                      <a:pt x="808" y="965"/>
                    </a:lnTo>
                    <a:lnTo>
                      <a:pt x="808" y="967"/>
                    </a:lnTo>
                    <a:lnTo>
                      <a:pt x="808" y="968"/>
                    </a:lnTo>
                    <a:lnTo>
                      <a:pt x="808" y="970"/>
                    </a:lnTo>
                    <a:lnTo>
                      <a:pt x="808" y="971"/>
                    </a:lnTo>
                    <a:lnTo>
                      <a:pt x="809" y="973"/>
                    </a:lnTo>
                    <a:lnTo>
                      <a:pt x="809" y="975"/>
                    </a:lnTo>
                    <a:lnTo>
                      <a:pt x="808" y="976"/>
                    </a:lnTo>
                    <a:lnTo>
                      <a:pt x="808" y="978"/>
                    </a:lnTo>
                    <a:lnTo>
                      <a:pt x="808" y="979"/>
                    </a:lnTo>
                    <a:lnTo>
                      <a:pt x="806" y="979"/>
                    </a:lnTo>
                    <a:lnTo>
                      <a:pt x="806" y="981"/>
                    </a:lnTo>
                    <a:lnTo>
                      <a:pt x="806" y="982"/>
                    </a:lnTo>
                    <a:lnTo>
                      <a:pt x="806" y="984"/>
                    </a:lnTo>
                    <a:lnTo>
                      <a:pt x="805" y="984"/>
                    </a:lnTo>
                    <a:lnTo>
                      <a:pt x="805" y="986"/>
                    </a:lnTo>
                    <a:lnTo>
                      <a:pt x="803" y="986"/>
                    </a:lnTo>
                    <a:lnTo>
                      <a:pt x="803" y="987"/>
                    </a:lnTo>
                    <a:lnTo>
                      <a:pt x="803" y="989"/>
                    </a:lnTo>
                    <a:lnTo>
                      <a:pt x="802" y="990"/>
                    </a:lnTo>
                    <a:lnTo>
                      <a:pt x="802" y="992"/>
                    </a:lnTo>
                    <a:lnTo>
                      <a:pt x="800" y="992"/>
                    </a:lnTo>
                    <a:lnTo>
                      <a:pt x="800" y="994"/>
                    </a:lnTo>
                    <a:lnTo>
                      <a:pt x="798" y="994"/>
                    </a:lnTo>
                    <a:lnTo>
                      <a:pt x="798" y="995"/>
                    </a:lnTo>
                    <a:lnTo>
                      <a:pt x="797" y="995"/>
                    </a:lnTo>
                    <a:lnTo>
                      <a:pt x="797" y="997"/>
                    </a:lnTo>
                    <a:lnTo>
                      <a:pt x="795" y="997"/>
                    </a:lnTo>
                    <a:lnTo>
                      <a:pt x="794" y="997"/>
                    </a:lnTo>
                    <a:lnTo>
                      <a:pt x="792" y="997"/>
                    </a:lnTo>
                    <a:lnTo>
                      <a:pt x="790" y="997"/>
                    </a:lnTo>
                    <a:lnTo>
                      <a:pt x="789" y="997"/>
                    </a:lnTo>
                    <a:lnTo>
                      <a:pt x="787" y="997"/>
                    </a:lnTo>
                    <a:lnTo>
                      <a:pt x="786" y="997"/>
                    </a:lnTo>
                    <a:lnTo>
                      <a:pt x="784" y="997"/>
                    </a:lnTo>
                    <a:lnTo>
                      <a:pt x="783" y="995"/>
                    </a:lnTo>
                    <a:lnTo>
                      <a:pt x="783" y="997"/>
                    </a:lnTo>
                    <a:lnTo>
                      <a:pt x="781" y="997"/>
                    </a:lnTo>
                    <a:lnTo>
                      <a:pt x="779" y="997"/>
                    </a:lnTo>
                    <a:lnTo>
                      <a:pt x="779" y="998"/>
                    </a:lnTo>
                    <a:lnTo>
                      <a:pt x="778" y="1000"/>
                    </a:lnTo>
                    <a:lnTo>
                      <a:pt x="776" y="1000"/>
                    </a:lnTo>
                    <a:lnTo>
                      <a:pt x="775" y="1001"/>
                    </a:lnTo>
                    <a:lnTo>
                      <a:pt x="773" y="1001"/>
                    </a:lnTo>
                    <a:lnTo>
                      <a:pt x="773" y="1000"/>
                    </a:lnTo>
                    <a:lnTo>
                      <a:pt x="771" y="1000"/>
                    </a:lnTo>
                    <a:lnTo>
                      <a:pt x="771" y="998"/>
                    </a:lnTo>
                    <a:lnTo>
                      <a:pt x="770" y="998"/>
                    </a:lnTo>
                    <a:lnTo>
                      <a:pt x="768" y="998"/>
                    </a:lnTo>
                    <a:lnTo>
                      <a:pt x="767" y="998"/>
                    </a:lnTo>
                    <a:lnTo>
                      <a:pt x="765" y="998"/>
                    </a:lnTo>
                    <a:lnTo>
                      <a:pt x="764" y="998"/>
                    </a:lnTo>
                    <a:lnTo>
                      <a:pt x="762" y="998"/>
                    </a:lnTo>
                    <a:lnTo>
                      <a:pt x="760" y="998"/>
                    </a:lnTo>
                    <a:lnTo>
                      <a:pt x="759" y="998"/>
                    </a:lnTo>
                    <a:lnTo>
                      <a:pt x="757" y="1000"/>
                    </a:lnTo>
                    <a:lnTo>
                      <a:pt x="757" y="1001"/>
                    </a:lnTo>
                    <a:lnTo>
                      <a:pt x="756" y="1001"/>
                    </a:lnTo>
                    <a:lnTo>
                      <a:pt x="754" y="1001"/>
                    </a:lnTo>
                    <a:lnTo>
                      <a:pt x="752" y="1001"/>
                    </a:lnTo>
                    <a:lnTo>
                      <a:pt x="751" y="1001"/>
                    </a:lnTo>
                    <a:lnTo>
                      <a:pt x="749" y="1001"/>
                    </a:lnTo>
                    <a:lnTo>
                      <a:pt x="749" y="1000"/>
                    </a:lnTo>
                    <a:lnTo>
                      <a:pt x="748" y="1000"/>
                    </a:lnTo>
                    <a:lnTo>
                      <a:pt x="746" y="1000"/>
                    </a:lnTo>
                    <a:lnTo>
                      <a:pt x="746" y="998"/>
                    </a:lnTo>
                    <a:lnTo>
                      <a:pt x="745" y="1000"/>
                    </a:lnTo>
                    <a:lnTo>
                      <a:pt x="743" y="1000"/>
                    </a:lnTo>
                    <a:lnTo>
                      <a:pt x="741" y="1000"/>
                    </a:lnTo>
                    <a:lnTo>
                      <a:pt x="741" y="998"/>
                    </a:lnTo>
                    <a:lnTo>
                      <a:pt x="740" y="998"/>
                    </a:lnTo>
                    <a:lnTo>
                      <a:pt x="738" y="998"/>
                    </a:lnTo>
                    <a:lnTo>
                      <a:pt x="738" y="997"/>
                    </a:lnTo>
                    <a:lnTo>
                      <a:pt x="737" y="997"/>
                    </a:lnTo>
                    <a:lnTo>
                      <a:pt x="735" y="998"/>
                    </a:lnTo>
                    <a:lnTo>
                      <a:pt x="733" y="998"/>
                    </a:lnTo>
                    <a:lnTo>
                      <a:pt x="732" y="998"/>
                    </a:lnTo>
                    <a:lnTo>
                      <a:pt x="730" y="997"/>
                    </a:lnTo>
                    <a:lnTo>
                      <a:pt x="729" y="997"/>
                    </a:lnTo>
                    <a:lnTo>
                      <a:pt x="727" y="997"/>
                    </a:lnTo>
                    <a:lnTo>
                      <a:pt x="726" y="997"/>
                    </a:lnTo>
                    <a:lnTo>
                      <a:pt x="724" y="998"/>
                    </a:lnTo>
                    <a:lnTo>
                      <a:pt x="722" y="998"/>
                    </a:lnTo>
                    <a:lnTo>
                      <a:pt x="721" y="998"/>
                    </a:lnTo>
                    <a:lnTo>
                      <a:pt x="719" y="998"/>
                    </a:lnTo>
                    <a:lnTo>
                      <a:pt x="718" y="1000"/>
                    </a:lnTo>
                    <a:lnTo>
                      <a:pt x="716" y="1000"/>
                    </a:lnTo>
                    <a:lnTo>
                      <a:pt x="714" y="1000"/>
                    </a:lnTo>
                    <a:lnTo>
                      <a:pt x="714" y="1001"/>
                    </a:lnTo>
                    <a:lnTo>
                      <a:pt x="713" y="1001"/>
                    </a:lnTo>
                    <a:lnTo>
                      <a:pt x="711" y="1001"/>
                    </a:lnTo>
                    <a:lnTo>
                      <a:pt x="711" y="1000"/>
                    </a:lnTo>
                    <a:lnTo>
                      <a:pt x="710" y="1000"/>
                    </a:lnTo>
                    <a:lnTo>
                      <a:pt x="708" y="1000"/>
                    </a:lnTo>
                    <a:lnTo>
                      <a:pt x="707" y="1000"/>
                    </a:lnTo>
                    <a:lnTo>
                      <a:pt x="705" y="1000"/>
                    </a:lnTo>
                    <a:lnTo>
                      <a:pt x="703" y="1000"/>
                    </a:lnTo>
                    <a:lnTo>
                      <a:pt x="702" y="1000"/>
                    </a:lnTo>
                    <a:lnTo>
                      <a:pt x="702" y="998"/>
                    </a:lnTo>
                    <a:lnTo>
                      <a:pt x="700" y="998"/>
                    </a:lnTo>
                    <a:lnTo>
                      <a:pt x="699" y="998"/>
                    </a:lnTo>
                    <a:lnTo>
                      <a:pt x="697" y="997"/>
                    </a:lnTo>
                    <a:lnTo>
                      <a:pt x="695" y="995"/>
                    </a:lnTo>
                    <a:lnTo>
                      <a:pt x="695" y="994"/>
                    </a:lnTo>
                    <a:lnTo>
                      <a:pt x="694" y="994"/>
                    </a:lnTo>
                    <a:lnTo>
                      <a:pt x="692" y="994"/>
                    </a:lnTo>
                    <a:lnTo>
                      <a:pt x="692" y="992"/>
                    </a:lnTo>
                    <a:lnTo>
                      <a:pt x="691" y="992"/>
                    </a:lnTo>
                    <a:lnTo>
                      <a:pt x="691" y="990"/>
                    </a:lnTo>
                    <a:lnTo>
                      <a:pt x="689" y="990"/>
                    </a:lnTo>
                    <a:lnTo>
                      <a:pt x="689" y="989"/>
                    </a:lnTo>
                    <a:lnTo>
                      <a:pt x="688" y="989"/>
                    </a:lnTo>
                    <a:lnTo>
                      <a:pt x="686" y="987"/>
                    </a:lnTo>
                    <a:lnTo>
                      <a:pt x="684" y="987"/>
                    </a:lnTo>
                    <a:lnTo>
                      <a:pt x="683" y="987"/>
                    </a:lnTo>
                    <a:lnTo>
                      <a:pt x="681" y="987"/>
                    </a:lnTo>
                    <a:lnTo>
                      <a:pt x="681" y="986"/>
                    </a:lnTo>
                    <a:lnTo>
                      <a:pt x="676" y="981"/>
                    </a:lnTo>
                    <a:lnTo>
                      <a:pt x="669" y="973"/>
                    </a:lnTo>
                    <a:lnTo>
                      <a:pt x="659" y="970"/>
                    </a:lnTo>
                    <a:lnTo>
                      <a:pt x="648" y="970"/>
                    </a:lnTo>
                    <a:lnTo>
                      <a:pt x="640" y="975"/>
                    </a:lnTo>
                    <a:lnTo>
                      <a:pt x="632" y="976"/>
                    </a:lnTo>
                    <a:lnTo>
                      <a:pt x="624" y="978"/>
                    </a:lnTo>
                    <a:lnTo>
                      <a:pt x="615" y="981"/>
                    </a:lnTo>
                    <a:lnTo>
                      <a:pt x="608" y="982"/>
                    </a:lnTo>
                    <a:lnTo>
                      <a:pt x="600" y="994"/>
                    </a:lnTo>
                    <a:lnTo>
                      <a:pt x="597" y="997"/>
                    </a:lnTo>
                    <a:lnTo>
                      <a:pt x="591" y="995"/>
                    </a:lnTo>
                    <a:lnTo>
                      <a:pt x="583" y="995"/>
                    </a:lnTo>
                    <a:lnTo>
                      <a:pt x="577" y="995"/>
                    </a:lnTo>
                    <a:lnTo>
                      <a:pt x="569" y="995"/>
                    </a:lnTo>
                    <a:lnTo>
                      <a:pt x="569" y="1001"/>
                    </a:lnTo>
                    <a:lnTo>
                      <a:pt x="566" y="1008"/>
                    </a:lnTo>
                    <a:lnTo>
                      <a:pt x="559" y="1017"/>
                    </a:lnTo>
                    <a:lnTo>
                      <a:pt x="554" y="1024"/>
                    </a:lnTo>
                    <a:lnTo>
                      <a:pt x="547" y="1028"/>
                    </a:lnTo>
                    <a:lnTo>
                      <a:pt x="543" y="1033"/>
                    </a:lnTo>
                    <a:lnTo>
                      <a:pt x="543" y="1035"/>
                    </a:lnTo>
                    <a:lnTo>
                      <a:pt x="542" y="1035"/>
                    </a:lnTo>
                    <a:lnTo>
                      <a:pt x="542" y="1036"/>
                    </a:lnTo>
                    <a:lnTo>
                      <a:pt x="540" y="1036"/>
                    </a:lnTo>
                    <a:lnTo>
                      <a:pt x="540" y="1038"/>
                    </a:lnTo>
                    <a:lnTo>
                      <a:pt x="539" y="1038"/>
                    </a:lnTo>
                    <a:lnTo>
                      <a:pt x="537" y="1038"/>
                    </a:lnTo>
                    <a:lnTo>
                      <a:pt x="535" y="1038"/>
                    </a:lnTo>
                    <a:lnTo>
                      <a:pt x="535" y="1039"/>
                    </a:lnTo>
                    <a:lnTo>
                      <a:pt x="534" y="1039"/>
                    </a:lnTo>
                    <a:lnTo>
                      <a:pt x="532" y="1039"/>
                    </a:lnTo>
                    <a:lnTo>
                      <a:pt x="531" y="1041"/>
                    </a:lnTo>
                    <a:lnTo>
                      <a:pt x="531" y="1043"/>
                    </a:lnTo>
                    <a:lnTo>
                      <a:pt x="529" y="1043"/>
                    </a:lnTo>
                    <a:lnTo>
                      <a:pt x="529" y="1044"/>
                    </a:lnTo>
                    <a:lnTo>
                      <a:pt x="529" y="1046"/>
                    </a:lnTo>
                    <a:lnTo>
                      <a:pt x="529" y="1047"/>
                    </a:lnTo>
                    <a:lnTo>
                      <a:pt x="529" y="1049"/>
                    </a:lnTo>
                    <a:lnTo>
                      <a:pt x="528" y="1049"/>
                    </a:lnTo>
                    <a:lnTo>
                      <a:pt x="526" y="1051"/>
                    </a:lnTo>
                    <a:lnTo>
                      <a:pt x="526" y="1049"/>
                    </a:lnTo>
                    <a:lnTo>
                      <a:pt x="524" y="1049"/>
                    </a:lnTo>
                    <a:lnTo>
                      <a:pt x="523" y="1049"/>
                    </a:lnTo>
                    <a:lnTo>
                      <a:pt x="521" y="1049"/>
                    </a:lnTo>
                    <a:lnTo>
                      <a:pt x="520" y="1049"/>
                    </a:lnTo>
                    <a:lnTo>
                      <a:pt x="520" y="1051"/>
                    </a:lnTo>
                    <a:lnTo>
                      <a:pt x="518" y="1051"/>
                    </a:lnTo>
                    <a:lnTo>
                      <a:pt x="518" y="1052"/>
                    </a:lnTo>
                    <a:lnTo>
                      <a:pt x="516" y="1052"/>
                    </a:lnTo>
                    <a:lnTo>
                      <a:pt x="516" y="1051"/>
                    </a:lnTo>
                    <a:lnTo>
                      <a:pt x="516" y="1049"/>
                    </a:lnTo>
                    <a:lnTo>
                      <a:pt x="515" y="1047"/>
                    </a:lnTo>
                    <a:lnTo>
                      <a:pt x="515" y="1046"/>
                    </a:lnTo>
                    <a:lnTo>
                      <a:pt x="513" y="1046"/>
                    </a:lnTo>
                    <a:lnTo>
                      <a:pt x="513" y="1047"/>
                    </a:lnTo>
                    <a:lnTo>
                      <a:pt x="512" y="1047"/>
                    </a:lnTo>
                    <a:lnTo>
                      <a:pt x="510" y="1047"/>
                    </a:lnTo>
                    <a:lnTo>
                      <a:pt x="509" y="1047"/>
                    </a:lnTo>
                    <a:lnTo>
                      <a:pt x="507" y="1047"/>
                    </a:lnTo>
                    <a:lnTo>
                      <a:pt x="507" y="1049"/>
                    </a:lnTo>
                    <a:lnTo>
                      <a:pt x="505" y="1049"/>
                    </a:lnTo>
                    <a:lnTo>
                      <a:pt x="504" y="1049"/>
                    </a:lnTo>
                    <a:lnTo>
                      <a:pt x="502" y="1049"/>
                    </a:lnTo>
                    <a:lnTo>
                      <a:pt x="501" y="1047"/>
                    </a:lnTo>
                    <a:lnTo>
                      <a:pt x="499" y="1047"/>
                    </a:lnTo>
                    <a:lnTo>
                      <a:pt x="497" y="1047"/>
                    </a:lnTo>
                    <a:lnTo>
                      <a:pt x="497" y="1049"/>
                    </a:lnTo>
                    <a:lnTo>
                      <a:pt x="496" y="1049"/>
                    </a:lnTo>
                    <a:lnTo>
                      <a:pt x="494" y="1049"/>
                    </a:lnTo>
                    <a:lnTo>
                      <a:pt x="493" y="1049"/>
                    </a:lnTo>
                    <a:lnTo>
                      <a:pt x="493" y="1046"/>
                    </a:lnTo>
                    <a:lnTo>
                      <a:pt x="494" y="1039"/>
                    </a:lnTo>
                    <a:lnTo>
                      <a:pt x="497" y="1035"/>
                    </a:lnTo>
                    <a:lnTo>
                      <a:pt x="501" y="1025"/>
                    </a:lnTo>
                    <a:lnTo>
                      <a:pt x="501" y="1016"/>
                    </a:lnTo>
                    <a:lnTo>
                      <a:pt x="502" y="1009"/>
                    </a:lnTo>
                    <a:lnTo>
                      <a:pt x="504" y="989"/>
                    </a:lnTo>
                    <a:lnTo>
                      <a:pt x="502" y="979"/>
                    </a:lnTo>
                    <a:lnTo>
                      <a:pt x="501" y="963"/>
                    </a:lnTo>
                    <a:lnTo>
                      <a:pt x="501" y="949"/>
                    </a:lnTo>
                    <a:lnTo>
                      <a:pt x="501" y="938"/>
                    </a:lnTo>
                    <a:lnTo>
                      <a:pt x="504" y="913"/>
                    </a:lnTo>
                    <a:lnTo>
                      <a:pt x="507" y="899"/>
                    </a:lnTo>
                    <a:lnTo>
                      <a:pt x="513" y="887"/>
                    </a:lnTo>
                    <a:lnTo>
                      <a:pt x="518" y="880"/>
                    </a:lnTo>
                    <a:lnTo>
                      <a:pt x="523" y="870"/>
                    </a:lnTo>
                    <a:lnTo>
                      <a:pt x="529" y="862"/>
                    </a:lnTo>
                    <a:lnTo>
                      <a:pt x="539" y="859"/>
                    </a:lnTo>
                    <a:lnTo>
                      <a:pt x="545" y="853"/>
                    </a:lnTo>
                    <a:lnTo>
                      <a:pt x="548" y="845"/>
                    </a:lnTo>
                    <a:lnTo>
                      <a:pt x="553" y="837"/>
                    </a:lnTo>
                    <a:lnTo>
                      <a:pt x="553" y="834"/>
                    </a:lnTo>
                    <a:lnTo>
                      <a:pt x="547" y="829"/>
                    </a:lnTo>
                    <a:lnTo>
                      <a:pt x="547" y="822"/>
                    </a:lnTo>
                    <a:lnTo>
                      <a:pt x="547" y="821"/>
                    </a:lnTo>
                    <a:lnTo>
                      <a:pt x="548" y="818"/>
                    </a:lnTo>
                    <a:lnTo>
                      <a:pt x="547" y="818"/>
                    </a:lnTo>
                    <a:lnTo>
                      <a:pt x="545" y="818"/>
                    </a:lnTo>
                    <a:lnTo>
                      <a:pt x="543" y="818"/>
                    </a:lnTo>
                    <a:lnTo>
                      <a:pt x="543" y="816"/>
                    </a:lnTo>
                    <a:lnTo>
                      <a:pt x="542" y="816"/>
                    </a:lnTo>
                    <a:lnTo>
                      <a:pt x="542" y="818"/>
                    </a:lnTo>
                    <a:lnTo>
                      <a:pt x="540" y="818"/>
                    </a:lnTo>
                    <a:lnTo>
                      <a:pt x="540" y="816"/>
                    </a:lnTo>
                    <a:lnTo>
                      <a:pt x="539" y="816"/>
                    </a:lnTo>
                    <a:lnTo>
                      <a:pt x="537" y="816"/>
                    </a:lnTo>
                    <a:lnTo>
                      <a:pt x="537" y="815"/>
                    </a:lnTo>
                    <a:lnTo>
                      <a:pt x="535" y="815"/>
                    </a:lnTo>
                    <a:lnTo>
                      <a:pt x="535" y="813"/>
                    </a:lnTo>
                    <a:lnTo>
                      <a:pt x="535" y="811"/>
                    </a:lnTo>
                    <a:lnTo>
                      <a:pt x="534" y="811"/>
                    </a:lnTo>
                    <a:lnTo>
                      <a:pt x="534" y="810"/>
                    </a:lnTo>
                    <a:lnTo>
                      <a:pt x="532" y="808"/>
                    </a:lnTo>
                    <a:lnTo>
                      <a:pt x="532" y="810"/>
                    </a:lnTo>
                    <a:lnTo>
                      <a:pt x="531" y="808"/>
                    </a:lnTo>
                    <a:lnTo>
                      <a:pt x="529" y="808"/>
                    </a:lnTo>
                    <a:lnTo>
                      <a:pt x="528" y="808"/>
                    </a:lnTo>
                    <a:lnTo>
                      <a:pt x="528" y="807"/>
                    </a:lnTo>
                    <a:lnTo>
                      <a:pt x="528" y="805"/>
                    </a:lnTo>
                    <a:lnTo>
                      <a:pt x="528" y="803"/>
                    </a:lnTo>
                    <a:lnTo>
                      <a:pt x="528" y="802"/>
                    </a:lnTo>
                    <a:lnTo>
                      <a:pt x="526" y="802"/>
                    </a:lnTo>
                    <a:lnTo>
                      <a:pt x="526" y="800"/>
                    </a:lnTo>
                    <a:lnTo>
                      <a:pt x="524" y="800"/>
                    </a:lnTo>
                    <a:lnTo>
                      <a:pt x="523" y="800"/>
                    </a:lnTo>
                    <a:lnTo>
                      <a:pt x="523" y="799"/>
                    </a:lnTo>
                    <a:lnTo>
                      <a:pt x="523" y="797"/>
                    </a:lnTo>
                    <a:lnTo>
                      <a:pt x="521" y="797"/>
                    </a:lnTo>
                    <a:lnTo>
                      <a:pt x="521" y="799"/>
                    </a:lnTo>
                    <a:lnTo>
                      <a:pt x="520" y="797"/>
                    </a:lnTo>
                    <a:lnTo>
                      <a:pt x="518" y="797"/>
                    </a:lnTo>
                    <a:lnTo>
                      <a:pt x="516" y="797"/>
                    </a:lnTo>
                    <a:lnTo>
                      <a:pt x="515" y="797"/>
                    </a:lnTo>
                    <a:lnTo>
                      <a:pt x="513" y="797"/>
                    </a:lnTo>
                    <a:lnTo>
                      <a:pt x="513" y="799"/>
                    </a:lnTo>
                    <a:lnTo>
                      <a:pt x="512" y="799"/>
                    </a:lnTo>
                    <a:lnTo>
                      <a:pt x="512" y="797"/>
                    </a:lnTo>
                    <a:lnTo>
                      <a:pt x="510" y="799"/>
                    </a:lnTo>
                    <a:lnTo>
                      <a:pt x="510" y="797"/>
                    </a:lnTo>
                    <a:lnTo>
                      <a:pt x="509" y="799"/>
                    </a:lnTo>
                    <a:lnTo>
                      <a:pt x="507" y="799"/>
                    </a:lnTo>
                    <a:lnTo>
                      <a:pt x="505" y="800"/>
                    </a:lnTo>
                    <a:lnTo>
                      <a:pt x="505" y="799"/>
                    </a:lnTo>
                    <a:lnTo>
                      <a:pt x="504" y="799"/>
                    </a:lnTo>
                    <a:lnTo>
                      <a:pt x="502" y="799"/>
                    </a:lnTo>
                    <a:lnTo>
                      <a:pt x="502" y="797"/>
                    </a:lnTo>
                    <a:lnTo>
                      <a:pt x="501" y="797"/>
                    </a:lnTo>
                    <a:lnTo>
                      <a:pt x="501" y="796"/>
                    </a:lnTo>
                    <a:lnTo>
                      <a:pt x="499" y="796"/>
                    </a:lnTo>
                    <a:lnTo>
                      <a:pt x="497" y="796"/>
                    </a:lnTo>
                    <a:lnTo>
                      <a:pt x="497" y="794"/>
                    </a:lnTo>
                    <a:lnTo>
                      <a:pt x="496" y="794"/>
                    </a:lnTo>
                    <a:lnTo>
                      <a:pt x="496" y="792"/>
                    </a:lnTo>
                    <a:lnTo>
                      <a:pt x="494" y="792"/>
                    </a:lnTo>
                    <a:lnTo>
                      <a:pt x="494" y="794"/>
                    </a:lnTo>
                    <a:lnTo>
                      <a:pt x="493" y="794"/>
                    </a:lnTo>
                    <a:lnTo>
                      <a:pt x="493" y="792"/>
                    </a:lnTo>
                    <a:lnTo>
                      <a:pt x="491" y="792"/>
                    </a:lnTo>
                    <a:lnTo>
                      <a:pt x="491" y="791"/>
                    </a:lnTo>
                    <a:lnTo>
                      <a:pt x="491" y="792"/>
                    </a:lnTo>
                    <a:lnTo>
                      <a:pt x="490" y="792"/>
                    </a:lnTo>
                    <a:lnTo>
                      <a:pt x="488" y="792"/>
                    </a:lnTo>
                    <a:lnTo>
                      <a:pt x="488" y="791"/>
                    </a:lnTo>
                    <a:lnTo>
                      <a:pt x="486" y="791"/>
                    </a:lnTo>
                    <a:lnTo>
                      <a:pt x="486" y="792"/>
                    </a:lnTo>
                    <a:lnTo>
                      <a:pt x="485" y="792"/>
                    </a:lnTo>
                    <a:lnTo>
                      <a:pt x="483" y="792"/>
                    </a:lnTo>
                    <a:lnTo>
                      <a:pt x="482" y="792"/>
                    </a:lnTo>
                    <a:lnTo>
                      <a:pt x="480" y="792"/>
                    </a:lnTo>
                    <a:lnTo>
                      <a:pt x="478" y="792"/>
                    </a:lnTo>
                    <a:lnTo>
                      <a:pt x="478" y="791"/>
                    </a:lnTo>
                    <a:lnTo>
                      <a:pt x="477" y="791"/>
                    </a:lnTo>
                    <a:lnTo>
                      <a:pt x="477" y="789"/>
                    </a:lnTo>
                    <a:lnTo>
                      <a:pt x="475" y="789"/>
                    </a:lnTo>
                    <a:lnTo>
                      <a:pt x="474" y="789"/>
                    </a:lnTo>
                    <a:lnTo>
                      <a:pt x="472" y="789"/>
                    </a:lnTo>
                    <a:lnTo>
                      <a:pt x="471" y="789"/>
                    </a:lnTo>
                    <a:lnTo>
                      <a:pt x="469" y="789"/>
                    </a:lnTo>
                    <a:lnTo>
                      <a:pt x="469" y="791"/>
                    </a:lnTo>
                    <a:lnTo>
                      <a:pt x="467" y="791"/>
                    </a:lnTo>
                    <a:lnTo>
                      <a:pt x="466" y="791"/>
                    </a:lnTo>
                    <a:lnTo>
                      <a:pt x="464" y="789"/>
                    </a:lnTo>
                    <a:lnTo>
                      <a:pt x="463" y="789"/>
                    </a:lnTo>
                    <a:lnTo>
                      <a:pt x="461" y="789"/>
                    </a:lnTo>
                    <a:lnTo>
                      <a:pt x="459" y="789"/>
                    </a:lnTo>
                    <a:lnTo>
                      <a:pt x="458" y="789"/>
                    </a:lnTo>
                    <a:lnTo>
                      <a:pt x="458" y="788"/>
                    </a:lnTo>
                    <a:lnTo>
                      <a:pt x="458" y="789"/>
                    </a:lnTo>
                    <a:lnTo>
                      <a:pt x="456" y="789"/>
                    </a:lnTo>
                    <a:lnTo>
                      <a:pt x="456" y="788"/>
                    </a:lnTo>
                    <a:lnTo>
                      <a:pt x="455" y="788"/>
                    </a:lnTo>
                    <a:lnTo>
                      <a:pt x="455" y="786"/>
                    </a:lnTo>
                    <a:lnTo>
                      <a:pt x="455" y="784"/>
                    </a:lnTo>
                    <a:lnTo>
                      <a:pt x="453" y="784"/>
                    </a:lnTo>
                    <a:lnTo>
                      <a:pt x="453" y="786"/>
                    </a:lnTo>
                    <a:lnTo>
                      <a:pt x="453" y="784"/>
                    </a:lnTo>
                    <a:lnTo>
                      <a:pt x="451" y="784"/>
                    </a:lnTo>
                    <a:lnTo>
                      <a:pt x="451" y="783"/>
                    </a:lnTo>
                    <a:lnTo>
                      <a:pt x="450" y="783"/>
                    </a:lnTo>
                    <a:lnTo>
                      <a:pt x="448" y="783"/>
                    </a:lnTo>
                    <a:lnTo>
                      <a:pt x="448" y="781"/>
                    </a:lnTo>
                    <a:lnTo>
                      <a:pt x="447" y="781"/>
                    </a:lnTo>
                    <a:lnTo>
                      <a:pt x="447" y="780"/>
                    </a:lnTo>
                    <a:lnTo>
                      <a:pt x="445" y="780"/>
                    </a:lnTo>
                    <a:lnTo>
                      <a:pt x="445" y="778"/>
                    </a:lnTo>
                    <a:lnTo>
                      <a:pt x="445" y="777"/>
                    </a:lnTo>
                    <a:lnTo>
                      <a:pt x="444" y="777"/>
                    </a:lnTo>
                    <a:lnTo>
                      <a:pt x="444" y="775"/>
                    </a:lnTo>
                    <a:lnTo>
                      <a:pt x="442" y="775"/>
                    </a:lnTo>
                    <a:lnTo>
                      <a:pt x="440" y="775"/>
                    </a:lnTo>
                    <a:lnTo>
                      <a:pt x="440" y="773"/>
                    </a:lnTo>
                    <a:lnTo>
                      <a:pt x="439" y="773"/>
                    </a:lnTo>
                    <a:lnTo>
                      <a:pt x="437" y="773"/>
                    </a:lnTo>
                    <a:lnTo>
                      <a:pt x="437" y="772"/>
                    </a:lnTo>
                    <a:lnTo>
                      <a:pt x="436" y="772"/>
                    </a:lnTo>
                    <a:lnTo>
                      <a:pt x="434" y="772"/>
                    </a:lnTo>
                    <a:lnTo>
                      <a:pt x="434" y="770"/>
                    </a:lnTo>
                    <a:lnTo>
                      <a:pt x="432" y="770"/>
                    </a:lnTo>
                    <a:lnTo>
                      <a:pt x="431" y="770"/>
                    </a:lnTo>
                    <a:lnTo>
                      <a:pt x="431" y="769"/>
                    </a:lnTo>
                    <a:lnTo>
                      <a:pt x="429" y="769"/>
                    </a:lnTo>
                    <a:lnTo>
                      <a:pt x="431" y="769"/>
                    </a:lnTo>
                    <a:lnTo>
                      <a:pt x="429" y="767"/>
                    </a:lnTo>
                    <a:lnTo>
                      <a:pt x="429" y="765"/>
                    </a:lnTo>
                    <a:lnTo>
                      <a:pt x="428" y="765"/>
                    </a:lnTo>
                    <a:lnTo>
                      <a:pt x="426" y="765"/>
                    </a:lnTo>
                    <a:lnTo>
                      <a:pt x="425" y="765"/>
                    </a:lnTo>
                    <a:lnTo>
                      <a:pt x="423" y="765"/>
                    </a:lnTo>
                    <a:lnTo>
                      <a:pt x="423" y="764"/>
                    </a:lnTo>
                    <a:lnTo>
                      <a:pt x="421" y="764"/>
                    </a:lnTo>
                    <a:lnTo>
                      <a:pt x="420" y="765"/>
                    </a:lnTo>
                    <a:lnTo>
                      <a:pt x="418" y="765"/>
                    </a:lnTo>
                    <a:lnTo>
                      <a:pt x="417" y="765"/>
                    </a:lnTo>
                    <a:lnTo>
                      <a:pt x="417" y="767"/>
                    </a:lnTo>
                    <a:lnTo>
                      <a:pt x="415" y="767"/>
                    </a:lnTo>
                    <a:lnTo>
                      <a:pt x="415" y="765"/>
                    </a:lnTo>
                    <a:lnTo>
                      <a:pt x="413" y="765"/>
                    </a:lnTo>
                    <a:lnTo>
                      <a:pt x="412" y="765"/>
                    </a:lnTo>
                    <a:lnTo>
                      <a:pt x="410" y="765"/>
                    </a:lnTo>
                    <a:lnTo>
                      <a:pt x="410" y="767"/>
                    </a:lnTo>
                    <a:lnTo>
                      <a:pt x="410" y="769"/>
                    </a:lnTo>
                    <a:lnTo>
                      <a:pt x="409" y="769"/>
                    </a:lnTo>
                    <a:lnTo>
                      <a:pt x="407" y="769"/>
                    </a:lnTo>
                    <a:lnTo>
                      <a:pt x="406" y="767"/>
                    </a:lnTo>
                    <a:lnTo>
                      <a:pt x="404" y="767"/>
                    </a:lnTo>
                    <a:lnTo>
                      <a:pt x="404" y="765"/>
                    </a:lnTo>
                    <a:lnTo>
                      <a:pt x="402" y="764"/>
                    </a:lnTo>
                    <a:lnTo>
                      <a:pt x="401" y="764"/>
                    </a:lnTo>
                    <a:lnTo>
                      <a:pt x="401" y="762"/>
                    </a:lnTo>
                    <a:lnTo>
                      <a:pt x="399" y="761"/>
                    </a:lnTo>
                    <a:lnTo>
                      <a:pt x="398" y="761"/>
                    </a:lnTo>
                    <a:lnTo>
                      <a:pt x="398" y="762"/>
                    </a:lnTo>
                    <a:lnTo>
                      <a:pt x="396" y="762"/>
                    </a:lnTo>
                    <a:lnTo>
                      <a:pt x="396" y="761"/>
                    </a:lnTo>
                    <a:lnTo>
                      <a:pt x="394" y="761"/>
                    </a:lnTo>
                    <a:lnTo>
                      <a:pt x="394" y="759"/>
                    </a:lnTo>
                    <a:lnTo>
                      <a:pt x="394" y="758"/>
                    </a:lnTo>
                    <a:lnTo>
                      <a:pt x="394" y="756"/>
                    </a:lnTo>
                    <a:lnTo>
                      <a:pt x="394" y="754"/>
                    </a:lnTo>
                    <a:lnTo>
                      <a:pt x="393" y="753"/>
                    </a:lnTo>
                    <a:lnTo>
                      <a:pt x="393" y="751"/>
                    </a:lnTo>
                    <a:lnTo>
                      <a:pt x="393" y="750"/>
                    </a:lnTo>
                    <a:lnTo>
                      <a:pt x="393" y="748"/>
                    </a:lnTo>
                    <a:lnTo>
                      <a:pt x="393" y="746"/>
                    </a:lnTo>
                    <a:lnTo>
                      <a:pt x="393" y="745"/>
                    </a:lnTo>
                    <a:lnTo>
                      <a:pt x="393" y="743"/>
                    </a:lnTo>
                    <a:lnTo>
                      <a:pt x="393" y="742"/>
                    </a:lnTo>
                    <a:lnTo>
                      <a:pt x="393" y="740"/>
                    </a:lnTo>
                    <a:lnTo>
                      <a:pt x="393" y="739"/>
                    </a:lnTo>
                    <a:lnTo>
                      <a:pt x="393" y="737"/>
                    </a:lnTo>
                    <a:lnTo>
                      <a:pt x="393" y="735"/>
                    </a:lnTo>
                    <a:lnTo>
                      <a:pt x="393" y="734"/>
                    </a:lnTo>
                    <a:lnTo>
                      <a:pt x="393" y="732"/>
                    </a:lnTo>
                    <a:lnTo>
                      <a:pt x="391" y="732"/>
                    </a:lnTo>
                    <a:lnTo>
                      <a:pt x="390" y="732"/>
                    </a:lnTo>
                    <a:lnTo>
                      <a:pt x="388" y="732"/>
                    </a:lnTo>
                    <a:lnTo>
                      <a:pt x="387" y="732"/>
                    </a:lnTo>
                    <a:lnTo>
                      <a:pt x="385" y="732"/>
                    </a:lnTo>
                    <a:lnTo>
                      <a:pt x="383" y="732"/>
                    </a:lnTo>
                    <a:lnTo>
                      <a:pt x="382" y="732"/>
                    </a:lnTo>
                    <a:lnTo>
                      <a:pt x="382" y="731"/>
                    </a:lnTo>
                    <a:lnTo>
                      <a:pt x="380" y="731"/>
                    </a:lnTo>
                    <a:lnTo>
                      <a:pt x="379" y="731"/>
                    </a:lnTo>
                    <a:lnTo>
                      <a:pt x="379" y="729"/>
                    </a:lnTo>
                    <a:lnTo>
                      <a:pt x="379" y="727"/>
                    </a:lnTo>
                    <a:lnTo>
                      <a:pt x="379" y="729"/>
                    </a:lnTo>
                    <a:lnTo>
                      <a:pt x="377" y="727"/>
                    </a:lnTo>
                    <a:lnTo>
                      <a:pt x="375" y="727"/>
                    </a:lnTo>
                    <a:lnTo>
                      <a:pt x="375" y="726"/>
                    </a:lnTo>
                    <a:lnTo>
                      <a:pt x="374" y="726"/>
                    </a:lnTo>
                    <a:lnTo>
                      <a:pt x="374" y="724"/>
                    </a:lnTo>
                    <a:lnTo>
                      <a:pt x="372" y="724"/>
                    </a:lnTo>
                    <a:lnTo>
                      <a:pt x="371" y="724"/>
                    </a:lnTo>
                    <a:lnTo>
                      <a:pt x="371" y="723"/>
                    </a:lnTo>
                    <a:lnTo>
                      <a:pt x="372" y="723"/>
                    </a:lnTo>
                    <a:lnTo>
                      <a:pt x="372" y="721"/>
                    </a:lnTo>
                    <a:lnTo>
                      <a:pt x="374" y="721"/>
                    </a:lnTo>
                    <a:lnTo>
                      <a:pt x="372" y="721"/>
                    </a:lnTo>
                    <a:lnTo>
                      <a:pt x="372" y="720"/>
                    </a:lnTo>
                    <a:lnTo>
                      <a:pt x="371" y="720"/>
                    </a:lnTo>
                    <a:lnTo>
                      <a:pt x="371" y="718"/>
                    </a:lnTo>
                    <a:lnTo>
                      <a:pt x="369" y="718"/>
                    </a:lnTo>
                    <a:lnTo>
                      <a:pt x="368" y="718"/>
                    </a:lnTo>
                    <a:lnTo>
                      <a:pt x="368" y="716"/>
                    </a:lnTo>
                    <a:lnTo>
                      <a:pt x="368" y="715"/>
                    </a:lnTo>
                    <a:lnTo>
                      <a:pt x="368" y="713"/>
                    </a:lnTo>
                    <a:lnTo>
                      <a:pt x="368" y="715"/>
                    </a:lnTo>
                    <a:lnTo>
                      <a:pt x="366" y="715"/>
                    </a:lnTo>
                    <a:lnTo>
                      <a:pt x="366" y="713"/>
                    </a:lnTo>
                    <a:lnTo>
                      <a:pt x="366" y="712"/>
                    </a:lnTo>
                    <a:lnTo>
                      <a:pt x="368" y="712"/>
                    </a:lnTo>
                    <a:lnTo>
                      <a:pt x="366" y="712"/>
                    </a:lnTo>
                    <a:lnTo>
                      <a:pt x="366" y="710"/>
                    </a:lnTo>
                    <a:lnTo>
                      <a:pt x="364" y="710"/>
                    </a:lnTo>
                    <a:lnTo>
                      <a:pt x="363" y="710"/>
                    </a:lnTo>
                    <a:lnTo>
                      <a:pt x="363" y="708"/>
                    </a:lnTo>
                    <a:lnTo>
                      <a:pt x="361" y="708"/>
                    </a:lnTo>
                    <a:lnTo>
                      <a:pt x="361" y="707"/>
                    </a:lnTo>
                    <a:lnTo>
                      <a:pt x="360" y="707"/>
                    </a:lnTo>
                    <a:lnTo>
                      <a:pt x="360" y="705"/>
                    </a:lnTo>
                    <a:lnTo>
                      <a:pt x="361" y="705"/>
                    </a:lnTo>
                    <a:lnTo>
                      <a:pt x="360" y="705"/>
                    </a:lnTo>
                    <a:lnTo>
                      <a:pt x="358" y="705"/>
                    </a:lnTo>
                    <a:lnTo>
                      <a:pt x="356" y="705"/>
                    </a:lnTo>
                    <a:lnTo>
                      <a:pt x="355" y="705"/>
                    </a:lnTo>
                    <a:lnTo>
                      <a:pt x="355" y="704"/>
                    </a:lnTo>
                    <a:lnTo>
                      <a:pt x="356" y="704"/>
                    </a:lnTo>
                    <a:lnTo>
                      <a:pt x="356" y="702"/>
                    </a:lnTo>
                    <a:lnTo>
                      <a:pt x="355" y="702"/>
                    </a:lnTo>
                    <a:lnTo>
                      <a:pt x="355" y="701"/>
                    </a:lnTo>
                    <a:lnTo>
                      <a:pt x="355" y="702"/>
                    </a:lnTo>
                    <a:lnTo>
                      <a:pt x="355" y="701"/>
                    </a:lnTo>
                    <a:lnTo>
                      <a:pt x="353" y="701"/>
                    </a:lnTo>
                    <a:lnTo>
                      <a:pt x="353" y="699"/>
                    </a:lnTo>
                    <a:lnTo>
                      <a:pt x="353" y="697"/>
                    </a:lnTo>
                    <a:lnTo>
                      <a:pt x="353" y="696"/>
                    </a:lnTo>
                    <a:lnTo>
                      <a:pt x="353" y="694"/>
                    </a:lnTo>
                    <a:lnTo>
                      <a:pt x="353" y="693"/>
                    </a:lnTo>
                    <a:lnTo>
                      <a:pt x="353" y="691"/>
                    </a:lnTo>
                    <a:lnTo>
                      <a:pt x="353" y="689"/>
                    </a:lnTo>
                    <a:lnTo>
                      <a:pt x="352" y="689"/>
                    </a:lnTo>
                    <a:lnTo>
                      <a:pt x="350" y="689"/>
                    </a:lnTo>
                    <a:lnTo>
                      <a:pt x="349" y="689"/>
                    </a:lnTo>
                    <a:lnTo>
                      <a:pt x="349" y="688"/>
                    </a:lnTo>
                    <a:lnTo>
                      <a:pt x="350" y="688"/>
                    </a:lnTo>
                    <a:lnTo>
                      <a:pt x="352" y="686"/>
                    </a:lnTo>
                    <a:lnTo>
                      <a:pt x="352" y="685"/>
                    </a:lnTo>
                    <a:lnTo>
                      <a:pt x="352" y="683"/>
                    </a:lnTo>
                    <a:lnTo>
                      <a:pt x="350" y="683"/>
                    </a:lnTo>
                    <a:lnTo>
                      <a:pt x="350" y="681"/>
                    </a:lnTo>
                    <a:lnTo>
                      <a:pt x="349" y="681"/>
                    </a:lnTo>
                    <a:lnTo>
                      <a:pt x="349" y="680"/>
                    </a:lnTo>
                    <a:lnTo>
                      <a:pt x="349" y="678"/>
                    </a:lnTo>
                    <a:lnTo>
                      <a:pt x="350" y="678"/>
                    </a:lnTo>
                    <a:lnTo>
                      <a:pt x="350" y="677"/>
                    </a:lnTo>
                    <a:lnTo>
                      <a:pt x="350" y="675"/>
                    </a:lnTo>
                    <a:lnTo>
                      <a:pt x="349" y="675"/>
                    </a:lnTo>
                    <a:lnTo>
                      <a:pt x="347" y="675"/>
                    </a:lnTo>
                    <a:lnTo>
                      <a:pt x="345" y="675"/>
                    </a:lnTo>
                    <a:lnTo>
                      <a:pt x="345" y="674"/>
                    </a:lnTo>
                    <a:lnTo>
                      <a:pt x="344" y="674"/>
                    </a:lnTo>
                    <a:lnTo>
                      <a:pt x="344" y="675"/>
                    </a:lnTo>
                    <a:lnTo>
                      <a:pt x="342" y="675"/>
                    </a:lnTo>
                    <a:lnTo>
                      <a:pt x="342" y="674"/>
                    </a:lnTo>
                    <a:lnTo>
                      <a:pt x="342" y="672"/>
                    </a:lnTo>
                    <a:lnTo>
                      <a:pt x="344" y="672"/>
                    </a:lnTo>
                    <a:lnTo>
                      <a:pt x="344" y="670"/>
                    </a:lnTo>
                    <a:lnTo>
                      <a:pt x="344" y="669"/>
                    </a:lnTo>
                    <a:lnTo>
                      <a:pt x="344" y="667"/>
                    </a:lnTo>
                    <a:lnTo>
                      <a:pt x="342" y="666"/>
                    </a:lnTo>
                    <a:lnTo>
                      <a:pt x="341" y="666"/>
                    </a:lnTo>
                    <a:lnTo>
                      <a:pt x="341" y="664"/>
                    </a:lnTo>
                    <a:lnTo>
                      <a:pt x="339" y="662"/>
                    </a:lnTo>
                    <a:lnTo>
                      <a:pt x="341" y="662"/>
                    </a:lnTo>
                    <a:lnTo>
                      <a:pt x="342" y="662"/>
                    </a:lnTo>
                    <a:lnTo>
                      <a:pt x="342" y="661"/>
                    </a:lnTo>
                    <a:lnTo>
                      <a:pt x="341" y="661"/>
                    </a:lnTo>
                    <a:lnTo>
                      <a:pt x="341" y="659"/>
                    </a:lnTo>
                    <a:lnTo>
                      <a:pt x="341" y="658"/>
                    </a:lnTo>
                    <a:lnTo>
                      <a:pt x="341" y="656"/>
                    </a:lnTo>
                    <a:lnTo>
                      <a:pt x="339" y="656"/>
                    </a:lnTo>
                    <a:lnTo>
                      <a:pt x="341" y="656"/>
                    </a:lnTo>
                    <a:lnTo>
                      <a:pt x="341" y="655"/>
                    </a:lnTo>
                    <a:lnTo>
                      <a:pt x="341" y="653"/>
                    </a:lnTo>
                    <a:lnTo>
                      <a:pt x="341" y="651"/>
                    </a:lnTo>
                    <a:lnTo>
                      <a:pt x="341" y="650"/>
                    </a:lnTo>
                    <a:lnTo>
                      <a:pt x="341" y="648"/>
                    </a:lnTo>
                    <a:lnTo>
                      <a:pt x="342" y="648"/>
                    </a:lnTo>
                    <a:lnTo>
                      <a:pt x="342" y="647"/>
                    </a:lnTo>
                    <a:lnTo>
                      <a:pt x="341" y="647"/>
                    </a:lnTo>
                    <a:lnTo>
                      <a:pt x="341" y="645"/>
                    </a:lnTo>
                    <a:lnTo>
                      <a:pt x="341" y="643"/>
                    </a:lnTo>
                    <a:lnTo>
                      <a:pt x="341" y="642"/>
                    </a:lnTo>
                    <a:lnTo>
                      <a:pt x="339" y="642"/>
                    </a:lnTo>
                    <a:lnTo>
                      <a:pt x="339" y="640"/>
                    </a:lnTo>
                    <a:lnTo>
                      <a:pt x="337" y="639"/>
                    </a:lnTo>
                    <a:lnTo>
                      <a:pt x="337" y="637"/>
                    </a:lnTo>
                    <a:lnTo>
                      <a:pt x="336" y="637"/>
                    </a:lnTo>
                    <a:lnTo>
                      <a:pt x="336" y="636"/>
                    </a:lnTo>
                    <a:lnTo>
                      <a:pt x="334" y="636"/>
                    </a:lnTo>
                    <a:lnTo>
                      <a:pt x="333" y="634"/>
                    </a:lnTo>
                    <a:lnTo>
                      <a:pt x="333" y="636"/>
                    </a:lnTo>
                    <a:lnTo>
                      <a:pt x="331" y="636"/>
                    </a:lnTo>
                    <a:lnTo>
                      <a:pt x="330" y="636"/>
                    </a:lnTo>
                    <a:lnTo>
                      <a:pt x="330" y="634"/>
                    </a:lnTo>
                    <a:lnTo>
                      <a:pt x="328" y="634"/>
                    </a:lnTo>
                    <a:lnTo>
                      <a:pt x="328" y="632"/>
                    </a:lnTo>
                    <a:lnTo>
                      <a:pt x="326" y="632"/>
                    </a:lnTo>
                    <a:lnTo>
                      <a:pt x="326" y="631"/>
                    </a:lnTo>
                    <a:lnTo>
                      <a:pt x="326" y="629"/>
                    </a:lnTo>
                    <a:lnTo>
                      <a:pt x="325" y="629"/>
                    </a:lnTo>
                    <a:lnTo>
                      <a:pt x="325" y="628"/>
                    </a:lnTo>
                    <a:lnTo>
                      <a:pt x="323" y="628"/>
                    </a:lnTo>
                    <a:lnTo>
                      <a:pt x="323" y="626"/>
                    </a:lnTo>
                    <a:lnTo>
                      <a:pt x="322" y="624"/>
                    </a:lnTo>
                    <a:lnTo>
                      <a:pt x="322" y="623"/>
                    </a:lnTo>
                    <a:lnTo>
                      <a:pt x="322" y="621"/>
                    </a:lnTo>
                    <a:lnTo>
                      <a:pt x="322" y="620"/>
                    </a:lnTo>
                    <a:lnTo>
                      <a:pt x="322" y="618"/>
                    </a:lnTo>
                    <a:lnTo>
                      <a:pt x="320" y="618"/>
                    </a:lnTo>
                    <a:lnTo>
                      <a:pt x="320" y="617"/>
                    </a:lnTo>
                    <a:lnTo>
                      <a:pt x="320" y="615"/>
                    </a:lnTo>
                    <a:lnTo>
                      <a:pt x="320" y="613"/>
                    </a:lnTo>
                    <a:lnTo>
                      <a:pt x="318" y="613"/>
                    </a:lnTo>
                    <a:lnTo>
                      <a:pt x="318" y="612"/>
                    </a:lnTo>
                    <a:lnTo>
                      <a:pt x="318" y="610"/>
                    </a:lnTo>
                    <a:lnTo>
                      <a:pt x="317" y="610"/>
                    </a:lnTo>
                    <a:lnTo>
                      <a:pt x="315" y="610"/>
                    </a:lnTo>
                    <a:lnTo>
                      <a:pt x="314" y="610"/>
                    </a:lnTo>
                    <a:lnTo>
                      <a:pt x="312" y="610"/>
                    </a:lnTo>
                    <a:lnTo>
                      <a:pt x="311" y="610"/>
                    </a:lnTo>
                    <a:lnTo>
                      <a:pt x="309" y="610"/>
                    </a:lnTo>
                    <a:lnTo>
                      <a:pt x="307" y="610"/>
                    </a:lnTo>
                    <a:lnTo>
                      <a:pt x="307" y="609"/>
                    </a:lnTo>
                    <a:lnTo>
                      <a:pt x="306" y="609"/>
                    </a:lnTo>
                    <a:lnTo>
                      <a:pt x="306" y="607"/>
                    </a:lnTo>
                    <a:lnTo>
                      <a:pt x="304" y="607"/>
                    </a:lnTo>
                    <a:lnTo>
                      <a:pt x="304" y="605"/>
                    </a:lnTo>
                    <a:lnTo>
                      <a:pt x="303" y="605"/>
                    </a:lnTo>
                    <a:lnTo>
                      <a:pt x="303" y="607"/>
                    </a:lnTo>
                    <a:lnTo>
                      <a:pt x="301" y="607"/>
                    </a:lnTo>
                    <a:lnTo>
                      <a:pt x="301" y="609"/>
                    </a:lnTo>
                    <a:lnTo>
                      <a:pt x="299" y="609"/>
                    </a:lnTo>
                    <a:lnTo>
                      <a:pt x="298" y="609"/>
                    </a:lnTo>
                    <a:lnTo>
                      <a:pt x="296" y="609"/>
                    </a:lnTo>
                    <a:lnTo>
                      <a:pt x="295" y="609"/>
                    </a:lnTo>
                    <a:lnTo>
                      <a:pt x="293" y="609"/>
                    </a:lnTo>
                    <a:lnTo>
                      <a:pt x="293" y="607"/>
                    </a:lnTo>
                    <a:lnTo>
                      <a:pt x="292" y="607"/>
                    </a:lnTo>
                    <a:lnTo>
                      <a:pt x="292" y="605"/>
                    </a:lnTo>
                    <a:lnTo>
                      <a:pt x="290" y="605"/>
                    </a:lnTo>
                    <a:lnTo>
                      <a:pt x="288" y="605"/>
                    </a:lnTo>
                    <a:lnTo>
                      <a:pt x="288" y="604"/>
                    </a:lnTo>
                    <a:lnTo>
                      <a:pt x="287" y="604"/>
                    </a:lnTo>
                    <a:lnTo>
                      <a:pt x="285" y="604"/>
                    </a:lnTo>
                    <a:lnTo>
                      <a:pt x="284" y="604"/>
                    </a:lnTo>
                    <a:lnTo>
                      <a:pt x="282" y="604"/>
                    </a:lnTo>
                    <a:lnTo>
                      <a:pt x="282" y="605"/>
                    </a:lnTo>
                    <a:lnTo>
                      <a:pt x="280" y="605"/>
                    </a:lnTo>
                    <a:lnTo>
                      <a:pt x="279" y="607"/>
                    </a:lnTo>
                    <a:lnTo>
                      <a:pt x="277" y="607"/>
                    </a:lnTo>
                    <a:lnTo>
                      <a:pt x="277" y="605"/>
                    </a:lnTo>
                    <a:lnTo>
                      <a:pt x="276" y="605"/>
                    </a:lnTo>
                    <a:lnTo>
                      <a:pt x="276" y="604"/>
                    </a:lnTo>
                    <a:lnTo>
                      <a:pt x="277" y="604"/>
                    </a:lnTo>
                    <a:lnTo>
                      <a:pt x="276" y="604"/>
                    </a:lnTo>
                    <a:lnTo>
                      <a:pt x="276" y="602"/>
                    </a:lnTo>
                    <a:lnTo>
                      <a:pt x="274" y="602"/>
                    </a:lnTo>
                    <a:lnTo>
                      <a:pt x="274" y="604"/>
                    </a:lnTo>
                    <a:lnTo>
                      <a:pt x="273" y="604"/>
                    </a:lnTo>
                    <a:lnTo>
                      <a:pt x="273" y="602"/>
                    </a:lnTo>
                    <a:lnTo>
                      <a:pt x="271" y="602"/>
                    </a:lnTo>
                    <a:lnTo>
                      <a:pt x="271" y="604"/>
                    </a:lnTo>
                    <a:lnTo>
                      <a:pt x="269" y="604"/>
                    </a:lnTo>
                    <a:lnTo>
                      <a:pt x="268" y="604"/>
                    </a:lnTo>
                    <a:lnTo>
                      <a:pt x="268" y="602"/>
                    </a:lnTo>
                    <a:lnTo>
                      <a:pt x="266" y="602"/>
                    </a:lnTo>
                    <a:lnTo>
                      <a:pt x="265" y="602"/>
                    </a:lnTo>
                    <a:lnTo>
                      <a:pt x="263" y="602"/>
                    </a:lnTo>
                    <a:lnTo>
                      <a:pt x="261" y="602"/>
                    </a:lnTo>
                    <a:lnTo>
                      <a:pt x="260" y="602"/>
                    </a:lnTo>
                    <a:lnTo>
                      <a:pt x="258" y="602"/>
                    </a:lnTo>
                    <a:lnTo>
                      <a:pt x="258" y="601"/>
                    </a:lnTo>
                    <a:lnTo>
                      <a:pt x="258" y="599"/>
                    </a:lnTo>
                    <a:lnTo>
                      <a:pt x="258" y="598"/>
                    </a:lnTo>
                    <a:lnTo>
                      <a:pt x="257" y="598"/>
                    </a:lnTo>
                    <a:lnTo>
                      <a:pt x="257" y="599"/>
                    </a:lnTo>
                    <a:lnTo>
                      <a:pt x="255" y="599"/>
                    </a:lnTo>
                    <a:lnTo>
                      <a:pt x="257" y="599"/>
                    </a:lnTo>
                    <a:lnTo>
                      <a:pt x="257" y="598"/>
                    </a:lnTo>
                    <a:lnTo>
                      <a:pt x="255" y="598"/>
                    </a:lnTo>
                    <a:lnTo>
                      <a:pt x="253" y="598"/>
                    </a:lnTo>
                    <a:lnTo>
                      <a:pt x="252" y="598"/>
                    </a:lnTo>
                    <a:lnTo>
                      <a:pt x="250" y="598"/>
                    </a:lnTo>
                    <a:lnTo>
                      <a:pt x="249" y="598"/>
                    </a:lnTo>
                    <a:lnTo>
                      <a:pt x="247" y="598"/>
                    </a:lnTo>
                    <a:lnTo>
                      <a:pt x="247" y="599"/>
                    </a:lnTo>
                    <a:lnTo>
                      <a:pt x="247" y="601"/>
                    </a:lnTo>
                    <a:lnTo>
                      <a:pt x="246" y="601"/>
                    </a:lnTo>
                    <a:lnTo>
                      <a:pt x="244" y="601"/>
                    </a:lnTo>
                    <a:lnTo>
                      <a:pt x="244" y="599"/>
                    </a:lnTo>
                    <a:lnTo>
                      <a:pt x="242" y="601"/>
                    </a:lnTo>
                    <a:lnTo>
                      <a:pt x="241" y="602"/>
                    </a:lnTo>
                    <a:lnTo>
                      <a:pt x="239" y="602"/>
                    </a:lnTo>
                    <a:lnTo>
                      <a:pt x="239" y="604"/>
                    </a:lnTo>
                    <a:lnTo>
                      <a:pt x="239" y="605"/>
                    </a:lnTo>
                    <a:lnTo>
                      <a:pt x="238" y="605"/>
                    </a:lnTo>
                    <a:lnTo>
                      <a:pt x="238" y="607"/>
                    </a:lnTo>
                    <a:lnTo>
                      <a:pt x="238" y="609"/>
                    </a:lnTo>
                    <a:lnTo>
                      <a:pt x="238" y="610"/>
                    </a:lnTo>
                    <a:lnTo>
                      <a:pt x="236" y="610"/>
                    </a:lnTo>
                    <a:lnTo>
                      <a:pt x="234" y="610"/>
                    </a:lnTo>
                    <a:lnTo>
                      <a:pt x="234" y="612"/>
                    </a:lnTo>
                    <a:lnTo>
                      <a:pt x="233" y="612"/>
                    </a:lnTo>
                    <a:lnTo>
                      <a:pt x="231" y="613"/>
                    </a:lnTo>
                    <a:lnTo>
                      <a:pt x="230" y="613"/>
                    </a:lnTo>
                    <a:lnTo>
                      <a:pt x="228" y="613"/>
                    </a:lnTo>
                    <a:lnTo>
                      <a:pt x="228" y="612"/>
                    </a:lnTo>
                    <a:lnTo>
                      <a:pt x="227" y="612"/>
                    </a:lnTo>
                    <a:lnTo>
                      <a:pt x="225" y="613"/>
                    </a:lnTo>
                    <a:lnTo>
                      <a:pt x="227" y="613"/>
                    </a:lnTo>
                    <a:lnTo>
                      <a:pt x="227" y="615"/>
                    </a:lnTo>
                    <a:lnTo>
                      <a:pt x="227" y="617"/>
                    </a:lnTo>
                    <a:lnTo>
                      <a:pt x="225" y="617"/>
                    </a:lnTo>
                    <a:lnTo>
                      <a:pt x="225" y="618"/>
                    </a:lnTo>
                    <a:lnTo>
                      <a:pt x="223" y="618"/>
                    </a:lnTo>
                    <a:lnTo>
                      <a:pt x="222" y="618"/>
                    </a:lnTo>
                    <a:lnTo>
                      <a:pt x="222" y="620"/>
                    </a:lnTo>
                    <a:lnTo>
                      <a:pt x="222" y="621"/>
                    </a:lnTo>
                    <a:lnTo>
                      <a:pt x="220" y="621"/>
                    </a:lnTo>
                    <a:lnTo>
                      <a:pt x="220" y="623"/>
                    </a:lnTo>
                    <a:lnTo>
                      <a:pt x="220" y="621"/>
                    </a:lnTo>
                    <a:lnTo>
                      <a:pt x="220" y="620"/>
                    </a:lnTo>
                    <a:lnTo>
                      <a:pt x="219" y="621"/>
                    </a:lnTo>
                    <a:lnTo>
                      <a:pt x="219" y="620"/>
                    </a:lnTo>
                    <a:lnTo>
                      <a:pt x="217" y="620"/>
                    </a:lnTo>
                    <a:lnTo>
                      <a:pt x="217" y="621"/>
                    </a:lnTo>
                    <a:lnTo>
                      <a:pt x="215" y="621"/>
                    </a:lnTo>
                    <a:lnTo>
                      <a:pt x="214" y="621"/>
                    </a:lnTo>
                    <a:lnTo>
                      <a:pt x="214" y="623"/>
                    </a:lnTo>
                    <a:lnTo>
                      <a:pt x="215" y="623"/>
                    </a:lnTo>
                    <a:lnTo>
                      <a:pt x="215" y="624"/>
                    </a:lnTo>
                    <a:lnTo>
                      <a:pt x="217" y="624"/>
                    </a:lnTo>
                    <a:lnTo>
                      <a:pt x="215" y="624"/>
                    </a:lnTo>
                    <a:lnTo>
                      <a:pt x="215" y="626"/>
                    </a:lnTo>
                    <a:lnTo>
                      <a:pt x="214" y="626"/>
                    </a:lnTo>
                    <a:lnTo>
                      <a:pt x="214" y="628"/>
                    </a:lnTo>
                    <a:lnTo>
                      <a:pt x="214" y="629"/>
                    </a:lnTo>
                    <a:lnTo>
                      <a:pt x="212" y="629"/>
                    </a:lnTo>
                    <a:lnTo>
                      <a:pt x="211" y="629"/>
                    </a:lnTo>
                    <a:lnTo>
                      <a:pt x="211" y="631"/>
                    </a:lnTo>
                    <a:lnTo>
                      <a:pt x="212" y="631"/>
                    </a:lnTo>
                    <a:lnTo>
                      <a:pt x="211" y="631"/>
                    </a:lnTo>
                    <a:lnTo>
                      <a:pt x="211" y="632"/>
                    </a:lnTo>
                    <a:lnTo>
                      <a:pt x="211" y="631"/>
                    </a:lnTo>
                    <a:lnTo>
                      <a:pt x="209" y="631"/>
                    </a:lnTo>
                    <a:lnTo>
                      <a:pt x="208" y="629"/>
                    </a:lnTo>
                    <a:lnTo>
                      <a:pt x="208" y="631"/>
                    </a:lnTo>
                    <a:lnTo>
                      <a:pt x="206" y="631"/>
                    </a:lnTo>
                    <a:lnTo>
                      <a:pt x="206" y="632"/>
                    </a:lnTo>
                    <a:lnTo>
                      <a:pt x="206" y="634"/>
                    </a:lnTo>
                    <a:lnTo>
                      <a:pt x="204" y="634"/>
                    </a:lnTo>
                    <a:lnTo>
                      <a:pt x="203" y="634"/>
                    </a:lnTo>
                    <a:lnTo>
                      <a:pt x="201" y="634"/>
                    </a:lnTo>
                    <a:lnTo>
                      <a:pt x="200" y="634"/>
                    </a:lnTo>
                    <a:lnTo>
                      <a:pt x="200" y="632"/>
                    </a:lnTo>
                    <a:lnTo>
                      <a:pt x="198" y="632"/>
                    </a:lnTo>
                    <a:lnTo>
                      <a:pt x="196" y="632"/>
                    </a:lnTo>
                    <a:lnTo>
                      <a:pt x="195" y="632"/>
                    </a:lnTo>
                    <a:lnTo>
                      <a:pt x="193" y="632"/>
                    </a:lnTo>
                    <a:lnTo>
                      <a:pt x="193" y="634"/>
                    </a:lnTo>
                    <a:lnTo>
                      <a:pt x="192" y="634"/>
                    </a:lnTo>
                    <a:lnTo>
                      <a:pt x="192" y="636"/>
                    </a:lnTo>
                    <a:lnTo>
                      <a:pt x="192" y="637"/>
                    </a:lnTo>
                    <a:lnTo>
                      <a:pt x="190" y="637"/>
                    </a:lnTo>
                    <a:lnTo>
                      <a:pt x="189" y="637"/>
                    </a:lnTo>
                    <a:lnTo>
                      <a:pt x="187" y="637"/>
                    </a:lnTo>
                    <a:lnTo>
                      <a:pt x="187" y="636"/>
                    </a:lnTo>
                    <a:lnTo>
                      <a:pt x="187" y="634"/>
                    </a:lnTo>
                    <a:lnTo>
                      <a:pt x="187" y="632"/>
                    </a:lnTo>
                    <a:lnTo>
                      <a:pt x="185" y="632"/>
                    </a:lnTo>
                    <a:lnTo>
                      <a:pt x="184" y="632"/>
                    </a:lnTo>
                    <a:lnTo>
                      <a:pt x="184" y="634"/>
                    </a:lnTo>
                    <a:lnTo>
                      <a:pt x="182" y="634"/>
                    </a:lnTo>
                    <a:lnTo>
                      <a:pt x="182" y="632"/>
                    </a:lnTo>
                    <a:lnTo>
                      <a:pt x="181" y="632"/>
                    </a:lnTo>
                    <a:lnTo>
                      <a:pt x="181" y="634"/>
                    </a:lnTo>
                    <a:lnTo>
                      <a:pt x="179" y="634"/>
                    </a:lnTo>
                    <a:lnTo>
                      <a:pt x="181" y="634"/>
                    </a:lnTo>
                    <a:lnTo>
                      <a:pt x="181" y="636"/>
                    </a:lnTo>
                    <a:lnTo>
                      <a:pt x="179" y="636"/>
                    </a:lnTo>
                    <a:lnTo>
                      <a:pt x="179" y="637"/>
                    </a:lnTo>
                    <a:lnTo>
                      <a:pt x="177" y="637"/>
                    </a:lnTo>
                    <a:lnTo>
                      <a:pt x="177" y="636"/>
                    </a:lnTo>
                    <a:lnTo>
                      <a:pt x="176" y="636"/>
                    </a:lnTo>
                    <a:lnTo>
                      <a:pt x="176" y="634"/>
                    </a:lnTo>
                    <a:lnTo>
                      <a:pt x="174" y="634"/>
                    </a:lnTo>
                    <a:lnTo>
                      <a:pt x="174" y="632"/>
                    </a:lnTo>
                    <a:lnTo>
                      <a:pt x="174" y="631"/>
                    </a:lnTo>
                    <a:lnTo>
                      <a:pt x="173" y="631"/>
                    </a:lnTo>
                    <a:lnTo>
                      <a:pt x="171" y="631"/>
                    </a:lnTo>
                    <a:lnTo>
                      <a:pt x="171" y="629"/>
                    </a:lnTo>
                    <a:lnTo>
                      <a:pt x="171" y="628"/>
                    </a:lnTo>
                    <a:lnTo>
                      <a:pt x="170" y="628"/>
                    </a:lnTo>
                    <a:lnTo>
                      <a:pt x="170" y="629"/>
                    </a:lnTo>
                    <a:lnTo>
                      <a:pt x="168" y="629"/>
                    </a:lnTo>
                    <a:lnTo>
                      <a:pt x="168" y="628"/>
                    </a:lnTo>
                    <a:lnTo>
                      <a:pt x="166" y="628"/>
                    </a:lnTo>
                    <a:lnTo>
                      <a:pt x="165" y="628"/>
                    </a:lnTo>
                    <a:lnTo>
                      <a:pt x="165" y="629"/>
                    </a:lnTo>
                    <a:lnTo>
                      <a:pt x="163" y="629"/>
                    </a:lnTo>
                    <a:lnTo>
                      <a:pt x="162" y="629"/>
                    </a:lnTo>
                    <a:lnTo>
                      <a:pt x="160" y="629"/>
                    </a:lnTo>
                    <a:lnTo>
                      <a:pt x="160" y="631"/>
                    </a:lnTo>
                    <a:lnTo>
                      <a:pt x="158" y="631"/>
                    </a:lnTo>
                    <a:lnTo>
                      <a:pt x="158" y="629"/>
                    </a:lnTo>
                    <a:lnTo>
                      <a:pt x="158" y="631"/>
                    </a:lnTo>
                    <a:lnTo>
                      <a:pt x="157" y="631"/>
                    </a:lnTo>
                    <a:lnTo>
                      <a:pt x="157" y="632"/>
                    </a:lnTo>
                    <a:lnTo>
                      <a:pt x="157" y="634"/>
                    </a:lnTo>
                    <a:lnTo>
                      <a:pt x="155" y="634"/>
                    </a:lnTo>
                    <a:lnTo>
                      <a:pt x="155" y="632"/>
                    </a:lnTo>
                    <a:lnTo>
                      <a:pt x="154" y="634"/>
                    </a:lnTo>
                    <a:lnTo>
                      <a:pt x="152" y="634"/>
                    </a:lnTo>
                    <a:lnTo>
                      <a:pt x="152" y="632"/>
                    </a:lnTo>
                    <a:lnTo>
                      <a:pt x="152" y="631"/>
                    </a:lnTo>
                    <a:lnTo>
                      <a:pt x="151" y="631"/>
                    </a:lnTo>
                    <a:lnTo>
                      <a:pt x="149" y="631"/>
                    </a:lnTo>
                    <a:lnTo>
                      <a:pt x="147" y="632"/>
                    </a:lnTo>
                    <a:lnTo>
                      <a:pt x="147" y="634"/>
                    </a:lnTo>
                    <a:lnTo>
                      <a:pt x="146" y="634"/>
                    </a:lnTo>
                    <a:lnTo>
                      <a:pt x="147" y="634"/>
                    </a:lnTo>
                    <a:lnTo>
                      <a:pt x="147" y="636"/>
                    </a:lnTo>
                    <a:lnTo>
                      <a:pt x="149" y="636"/>
                    </a:lnTo>
                    <a:lnTo>
                      <a:pt x="147" y="637"/>
                    </a:lnTo>
                    <a:lnTo>
                      <a:pt x="146" y="637"/>
                    </a:lnTo>
                    <a:lnTo>
                      <a:pt x="146" y="636"/>
                    </a:lnTo>
                    <a:lnTo>
                      <a:pt x="144" y="634"/>
                    </a:lnTo>
                    <a:lnTo>
                      <a:pt x="143" y="634"/>
                    </a:lnTo>
                    <a:lnTo>
                      <a:pt x="141" y="634"/>
                    </a:lnTo>
                    <a:lnTo>
                      <a:pt x="139" y="634"/>
                    </a:lnTo>
                    <a:lnTo>
                      <a:pt x="139" y="632"/>
                    </a:lnTo>
                    <a:lnTo>
                      <a:pt x="138" y="632"/>
                    </a:lnTo>
                    <a:lnTo>
                      <a:pt x="138" y="634"/>
                    </a:lnTo>
                    <a:lnTo>
                      <a:pt x="136" y="634"/>
                    </a:lnTo>
                    <a:lnTo>
                      <a:pt x="135" y="634"/>
                    </a:lnTo>
                    <a:lnTo>
                      <a:pt x="133" y="634"/>
                    </a:lnTo>
                    <a:lnTo>
                      <a:pt x="132" y="634"/>
                    </a:lnTo>
                    <a:lnTo>
                      <a:pt x="130" y="634"/>
                    </a:lnTo>
                    <a:lnTo>
                      <a:pt x="128" y="634"/>
                    </a:lnTo>
                    <a:lnTo>
                      <a:pt x="127" y="634"/>
                    </a:lnTo>
                    <a:lnTo>
                      <a:pt x="125" y="634"/>
                    </a:lnTo>
                    <a:lnTo>
                      <a:pt x="124" y="634"/>
                    </a:lnTo>
                    <a:lnTo>
                      <a:pt x="122" y="634"/>
                    </a:lnTo>
                    <a:lnTo>
                      <a:pt x="122" y="632"/>
                    </a:lnTo>
                    <a:lnTo>
                      <a:pt x="120" y="632"/>
                    </a:lnTo>
                    <a:lnTo>
                      <a:pt x="120" y="631"/>
                    </a:lnTo>
                    <a:lnTo>
                      <a:pt x="120" y="629"/>
                    </a:lnTo>
                    <a:lnTo>
                      <a:pt x="119" y="629"/>
                    </a:lnTo>
                    <a:lnTo>
                      <a:pt x="119" y="628"/>
                    </a:lnTo>
                    <a:lnTo>
                      <a:pt x="117" y="628"/>
                    </a:lnTo>
                    <a:lnTo>
                      <a:pt x="116" y="628"/>
                    </a:lnTo>
                    <a:lnTo>
                      <a:pt x="114" y="628"/>
                    </a:lnTo>
                    <a:lnTo>
                      <a:pt x="114" y="626"/>
                    </a:lnTo>
                    <a:lnTo>
                      <a:pt x="113" y="626"/>
                    </a:lnTo>
                    <a:lnTo>
                      <a:pt x="113" y="624"/>
                    </a:lnTo>
                    <a:lnTo>
                      <a:pt x="113" y="623"/>
                    </a:lnTo>
                    <a:lnTo>
                      <a:pt x="111" y="623"/>
                    </a:lnTo>
                    <a:lnTo>
                      <a:pt x="109" y="623"/>
                    </a:lnTo>
                    <a:lnTo>
                      <a:pt x="108" y="623"/>
                    </a:lnTo>
                    <a:lnTo>
                      <a:pt x="108" y="624"/>
                    </a:lnTo>
                    <a:lnTo>
                      <a:pt x="106" y="624"/>
                    </a:lnTo>
                    <a:lnTo>
                      <a:pt x="105" y="624"/>
                    </a:lnTo>
                    <a:lnTo>
                      <a:pt x="103" y="624"/>
                    </a:lnTo>
                    <a:lnTo>
                      <a:pt x="101" y="624"/>
                    </a:lnTo>
                    <a:lnTo>
                      <a:pt x="100" y="624"/>
                    </a:lnTo>
                    <a:lnTo>
                      <a:pt x="98" y="624"/>
                    </a:lnTo>
                    <a:lnTo>
                      <a:pt x="97" y="624"/>
                    </a:lnTo>
                    <a:lnTo>
                      <a:pt x="97" y="623"/>
                    </a:lnTo>
                    <a:lnTo>
                      <a:pt x="95" y="623"/>
                    </a:lnTo>
                    <a:lnTo>
                      <a:pt x="94" y="623"/>
                    </a:lnTo>
                    <a:lnTo>
                      <a:pt x="92" y="621"/>
                    </a:lnTo>
                    <a:lnTo>
                      <a:pt x="92" y="620"/>
                    </a:lnTo>
                    <a:lnTo>
                      <a:pt x="90" y="620"/>
                    </a:lnTo>
                    <a:lnTo>
                      <a:pt x="89" y="620"/>
                    </a:lnTo>
                    <a:lnTo>
                      <a:pt x="87" y="620"/>
                    </a:lnTo>
                    <a:lnTo>
                      <a:pt x="87" y="621"/>
                    </a:lnTo>
                    <a:lnTo>
                      <a:pt x="87" y="623"/>
                    </a:lnTo>
                    <a:lnTo>
                      <a:pt x="86" y="623"/>
                    </a:lnTo>
                    <a:lnTo>
                      <a:pt x="86" y="624"/>
                    </a:lnTo>
                    <a:lnTo>
                      <a:pt x="86" y="626"/>
                    </a:lnTo>
                    <a:lnTo>
                      <a:pt x="84" y="626"/>
                    </a:lnTo>
                    <a:lnTo>
                      <a:pt x="82" y="626"/>
                    </a:lnTo>
                    <a:lnTo>
                      <a:pt x="81" y="626"/>
                    </a:lnTo>
                    <a:lnTo>
                      <a:pt x="81" y="628"/>
                    </a:lnTo>
                    <a:lnTo>
                      <a:pt x="79" y="628"/>
                    </a:lnTo>
                    <a:lnTo>
                      <a:pt x="78" y="628"/>
                    </a:lnTo>
                    <a:lnTo>
                      <a:pt x="78" y="626"/>
                    </a:lnTo>
                    <a:lnTo>
                      <a:pt x="78" y="624"/>
                    </a:lnTo>
                    <a:lnTo>
                      <a:pt x="76" y="624"/>
                    </a:lnTo>
                    <a:lnTo>
                      <a:pt x="76" y="623"/>
                    </a:lnTo>
                    <a:lnTo>
                      <a:pt x="74" y="623"/>
                    </a:lnTo>
                    <a:lnTo>
                      <a:pt x="73" y="623"/>
                    </a:lnTo>
                    <a:lnTo>
                      <a:pt x="71" y="623"/>
                    </a:lnTo>
                    <a:lnTo>
                      <a:pt x="71" y="621"/>
                    </a:lnTo>
                    <a:lnTo>
                      <a:pt x="70" y="621"/>
                    </a:lnTo>
                    <a:lnTo>
                      <a:pt x="70" y="620"/>
                    </a:lnTo>
                    <a:lnTo>
                      <a:pt x="70" y="618"/>
                    </a:lnTo>
                    <a:lnTo>
                      <a:pt x="70" y="617"/>
                    </a:lnTo>
                    <a:lnTo>
                      <a:pt x="70" y="615"/>
                    </a:lnTo>
                    <a:lnTo>
                      <a:pt x="68" y="613"/>
                    </a:lnTo>
                    <a:lnTo>
                      <a:pt x="68" y="612"/>
                    </a:lnTo>
                    <a:lnTo>
                      <a:pt x="68" y="610"/>
                    </a:lnTo>
                    <a:lnTo>
                      <a:pt x="68" y="609"/>
                    </a:lnTo>
                    <a:lnTo>
                      <a:pt x="68" y="607"/>
                    </a:lnTo>
                    <a:lnTo>
                      <a:pt x="67" y="607"/>
                    </a:lnTo>
                    <a:lnTo>
                      <a:pt x="65" y="607"/>
                    </a:lnTo>
                    <a:lnTo>
                      <a:pt x="65" y="609"/>
                    </a:lnTo>
                    <a:lnTo>
                      <a:pt x="63" y="609"/>
                    </a:lnTo>
                    <a:lnTo>
                      <a:pt x="62" y="609"/>
                    </a:lnTo>
                    <a:lnTo>
                      <a:pt x="60" y="609"/>
                    </a:lnTo>
                    <a:lnTo>
                      <a:pt x="59" y="609"/>
                    </a:lnTo>
                    <a:lnTo>
                      <a:pt x="57" y="609"/>
                    </a:lnTo>
                    <a:lnTo>
                      <a:pt x="55" y="607"/>
                    </a:lnTo>
                    <a:lnTo>
                      <a:pt x="55" y="605"/>
                    </a:lnTo>
                    <a:lnTo>
                      <a:pt x="54" y="605"/>
                    </a:lnTo>
                    <a:lnTo>
                      <a:pt x="52" y="605"/>
                    </a:lnTo>
                    <a:lnTo>
                      <a:pt x="51" y="605"/>
                    </a:lnTo>
                    <a:lnTo>
                      <a:pt x="49" y="605"/>
                    </a:lnTo>
                    <a:lnTo>
                      <a:pt x="49" y="607"/>
                    </a:lnTo>
                    <a:lnTo>
                      <a:pt x="48" y="607"/>
                    </a:lnTo>
                    <a:lnTo>
                      <a:pt x="48" y="609"/>
                    </a:lnTo>
                    <a:lnTo>
                      <a:pt x="46" y="609"/>
                    </a:lnTo>
                    <a:lnTo>
                      <a:pt x="44" y="609"/>
                    </a:lnTo>
                    <a:lnTo>
                      <a:pt x="43" y="609"/>
                    </a:lnTo>
                    <a:lnTo>
                      <a:pt x="41" y="609"/>
                    </a:lnTo>
                    <a:lnTo>
                      <a:pt x="41" y="610"/>
                    </a:lnTo>
                    <a:lnTo>
                      <a:pt x="40" y="610"/>
                    </a:lnTo>
                    <a:lnTo>
                      <a:pt x="40" y="609"/>
                    </a:lnTo>
                    <a:lnTo>
                      <a:pt x="40" y="607"/>
                    </a:lnTo>
                    <a:lnTo>
                      <a:pt x="40" y="605"/>
                    </a:lnTo>
                    <a:lnTo>
                      <a:pt x="40" y="604"/>
                    </a:lnTo>
                    <a:lnTo>
                      <a:pt x="40" y="602"/>
                    </a:lnTo>
                    <a:lnTo>
                      <a:pt x="40" y="601"/>
                    </a:lnTo>
                    <a:lnTo>
                      <a:pt x="40" y="599"/>
                    </a:lnTo>
                    <a:lnTo>
                      <a:pt x="40" y="598"/>
                    </a:lnTo>
                    <a:lnTo>
                      <a:pt x="38" y="598"/>
                    </a:lnTo>
                    <a:lnTo>
                      <a:pt x="38" y="596"/>
                    </a:lnTo>
                    <a:lnTo>
                      <a:pt x="36" y="596"/>
                    </a:lnTo>
                    <a:lnTo>
                      <a:pt x="35" y="594"/>
                    </a:lnTo>
                    <a:lnTo>
                      <a:pt x="33" y="593"/>
                    </a:lnTo>
                    <a:lnTo>
                      <a:pt x="33" y="591"/>
                    </a:lnTo>
                    <a:lnTo>
                      <a:pt x="35" y="591"/>
                    </a:lnTo>
                    <a:lnTo>
                      <a:pt x="35" y="590"/>
                    </a:lnTo>
                    <a:lnTo>
                      <a:pt x="36" y="590"/>
                    </a:lnTo>
                    <a:lnTo>
                      <a:pt x="38" y="588"/>
                    </a:lnTo>
                    <a:lnTo>
                      <a:pt x="40" y="588"/>
                    </a:lnTo>
                    <a:lnTo>
                      <a:pt x="40" y="586"/>
                    </a:lnTo>
                    <a:lnTo>
                      <a:pt x="40" y="585"/>
                    </a:lnTo>
                    <a:lnTo>
                      <a:pt x="38" y="585"/>
                    </a:lnTo>
                    <a:lnTo>
                      <a:pt x="36" y="585"/>
                    </a:lnTo>
                    <a:lnTo>
                      <a:pt x="35" y="585"/>
                    </a:lnTo>
                    <a:lnTo>
                      <a:pt x="33" y="585"/>
                    </a:lnTo>
                    <a:lnTo>
                      <a:pt x="33" y="583"/>
                    </a:lnTo>
                    <a:lnTo>
                      <a:pt x="33" y="582"/>
                    </a:lnTo>
                    <a:lnTo>
                      <a:pt x="33" y="580"/>
                    </a:lnTo>
                    <a:lnTo>
                      <a:pt x="33" y="579"/>
                    </a:lnTo>
                    <a:lnTo>
                      <a:pt x="35" y="579"/>
                    </a:lnTo>
                    <a:lnTo>
                      <a:pt x="35" y="577"/>
                    </a:lnTo>
                    <a:lnTo>
                      <a:pt x="35" y="575"/>
                    </a:lnTo>
                    <a:lnTo>
                      <a:pt x="33" y="574"/>
                    </a:lnTo>
                    <a:lnTo>
                      <a:pt x="32" y="574"/>
                    </a:lnTo>
                    <a:lnTo>
                      <a:pt x="30" y="574"/>
                    </a:lnTo>
                    <a:lnTo>
                      <a:pt x="29" y="574"/>
                    </a:lnTo>
                    <a:lnTo>
                      <a:pt x="27" y="574"/>
                    </a:lnTo>
                    <a:lnTo>
                      <a:pt x="27" y="572"/>
                    </a:lnTo>
                    <a:lnTo>
                      <a:pt x="25" y="572"/>
                    </a:lnTo>
                    <a:lnTo>
                      <a:pt x="25" y="571"/>
                    </a:lnTo>
                    <a:lnTo>
                      <a:pt x="25" y="569"/>
                    </a:lnTo>
                    <a:lnTo>
                      <a:pt x="25" y="567"/>
                    </a:lnTo>
                    <a:lnTo>
                      <a:pt x="24" y="567"/>
                    </a:lnTo>
                    <a:lnTo>
                      <a:pt x="24" y="566"/>
                    </a:lnTo>
                    <a:lnTo>
                      <a:pt x="22" y="566"/>
                    </a:lnTo>
                    <a:lnTo>
                      <a:pt x="21" y="564"/>
                    </a:lnTo>
                    <a:lnTo>
                      <a:pt x="19" y="564"/>
                    </a:lnTo>
                    <a:lnTo>
                      <a:pt x="17" y="564"/>
                    </a:lnTo>
                    <a:lnTo>
                      <a:pt x="17" y="563"/>
                    </a:lnTo>
                    <a:lnTo>
                      <a:pt x="16" y="563"/>
                    </a:lnTo>
                    <a:lnTo>
                      <a:pt x="16" y="561"/>
                    </a:lnTo>
                    <a:lnTo>
                      <a:pt x="14" y="561"/>
                    </a:lnTo>
                    <a:lnTo>
                      <a:pt x="13" y="561"/>
                    </a:lnTo>
                    <a:lnTo>
                      <a:pt x="13" y="560"/>
                    </a:lnTo>
                    <a:lnTo>
                      <a:pt x="11" y="560"/>
                    </a:lnTo>
                    <a:lnTo>
                      <a:pt x="10" y="560"/>
                    </a:lnTo>
                    <a:lnTo>
                      <a:pt x="10" y="558"/>
                    </a:lnTo>
                    <a:lnTo>
                      <a:pt x="8" y="558"/>
                    </a:lnTo>
                    <a:lnTo>
                      <a:pt x="8" y="556"/>
                    </a:lnTo>
                    <a:lnTo>
                      <a:pt x="6" y="556"/>
                    </a:lnTo>
                    <a:lnTo>
                      <a:pt x="5" y="555"/>
                    </a:lnTo>
                    <a:lnTo>
                      <a:pt x="5" y="553"/>
                    </a:lnTo>
                    <a:lnTo>
                      <a:pt x="3" y="553"/>
                    </a:lnTo>
                    <a:lnTo>
                      <a:pt x="3" y="552"/>
                    </a:lnTo>
                    <a:lnTo>
                      <a:pt x="3" y="550"/>
                    </a:lnTo>
                    <a:lnTo>
                      <a:pt x="2" y="550"/>
                    </a:lnTo>
                    <a:lnTo>
                      <a:pt x="2" y="548"/>
                    </a:lnTo>
                    <a:lnTo>
                      <a:pt x="2" y="547"/>
                    </a:lnTo>
                    <a:lnTo>
                      <a:pt x="0" y="547"/>
                    </a:lnTo>
                    <a:lnTo>
                      <a:pt x="0" y="545"/>
                    </a:lnTo>
                    <a:lnTo>
                      <a:pt x="2" y="544"/>
                    </a:lnTo>
                    <a:lnTo>
                      <a:pt x="3" y="542"/>
                    </a:lnTo>
                    <a:lnTo>
                      <a:pt x="5" y="541"/>
                    </a:lnTo>
                    <a:lnTo>
                      <a:pt x="5" y="539"/>
                    </a:lnTo>
                    <a:lnTo>
                      <a:pt x="6" y="537"/>
                    </a:lnTo>
                    <a:lnTo>
                      <a:pt x="8" y="537"/>
                    </a:lnTo>
                    <a:lnTo>
                      <a:pt x="10" y="537"/>
                    </a:lnTo>
                    <a:lnTo>
                      <a:pt x="10" y="536"/>
                    </a:lnTo>
                    <a:lnTo>
                      <a:pt x="11" y="536"/>
                    </a:lnTo>
                    <a:lnTo>
                      <a:pt x="11" y="534"/>
                    </a:lnTo>
                    <a:lnTo>
                      <a:pt x="11" y="533"/>
                    </a:lnTo>
                    <a:lnTo>
                      <a:pt x="11" y="531"/>
                    </a:lnTo>
                    <a:lnTo>
                      <a:pt x="11" y="529"/>
                    </a:lnTo>
                    <a:lnTo>
                      <a:pt x="13" y="529"/>
                    </a:lnTo>
                    <a:lnTo>
                      <a:pt x="13" y="528"/>
                    </a:lnTo>
                    <a:lnTo>
                      <a:pt x="14" y="528"/>
                    </a:lnTo>
                    <a:lnTo>
                      <a:pt x="16" y="528"/>
                    </a:lnTo>
                    <a:lnTo>
                      <a:pt x="17" y="528"/>
                    </a:lnTo>
                    <a:lnTo>
                      <a:pt x="19" y="526"/>
                    </a:lnTo>
                    <a:lnTo>
                      <a:pt x="21" y="526"/>
                    </a:lnTo>
                    <a:lnTo>
                      <a:pt x="22" y="526"/>
                    </a:lnTo>
                    <a:lnTo>
                      <a:pt x="24" y="526"/>
                    </a:lnTo>
                    <a:lnTo>
                      <a:pt x="24" y="525"/>
                    </a:lnTo>
                    <a:lnTo>
                      <a:pt x="25" y="525"/>
                    </a:lnTo>
                    <a:lnTo>
                      <a:pt x="25" y="523"/>
                    </a:lnTo>
                    <a:lnTo>
                      <a:pt x="27" y="523"/>
                    </a:lnTo>
                    <a:lnTo>
                      <a:pt x="29" y="523"/>
                    </a:lnTo>
                    <a:lnTo>
                      <a:pt x="30" y="523"/>
                    </a:lnTo>
                    <a:lnTo>
                      <a:pt x="30" y="522"/>
                    </a:lnTo>
                    <a:lnTo>
                      <a:pt x="32" y="522"/>
                    </a:lnTo>
                    <a:lnTo>
                      <a:pt x="33" y="522"/>
                    </a:lnTo>
                    <a:lnTo>
                      <a:pt x="33" y="520"/>
                    </a:lnTo>
                    <a:lnTo>
                      <a:pt x="35" y="520"/>
                    </a:lnTo>
                    <a:lnTo>
                      <a:pt x="36" y="520"/>
                    </a:lnTo>
                    <a:lnTo>
                      <a:pt x="38" y="520"/>
                    </a:lnTo>
                    <a:lnTo>
                      <a:pt x="38" y="518"/>
                    </a:lnTo>
                    <a:lnTo>
                      <a:pt x="40" y="518"/>
                    </a:lnTo>
                    <a:lnTo>
                      <a:pt x="41" y="518"/>
                    </a:lnTo>
                    <a:lnTo>
                      <a:pt x="41" y="517"/>
                    </a:lnTo>
                    <a:lnTo>
                      <a:pt x="43" y="517"/>
                    </a:lnTo>
                    <a:lnTo>
                      <a:pt x="44" y="517"/>
                    </a:lnTo>
                    <a:lnTo>
                      <a:pt x="46" y="517"/>
                    </a:lnTo>
                    <a:lnTo>
                      <a:pt x="46" y="518"/>
                    </a:lnTo>
                    <a:lnTo>
                      <a:pt x="48" y="518"/>
                    </a:lnTo>
                    <a:lnTo>
                      <a:pt x="49" y="518"/>
                    </a:lnTo>
                    <a:lnTo>
                      <a:pt x="51" y="517"/>
                    </a:lnTo>
                    <a:lnTo>
                      <a:pt x="52" y="517"/>
                    </a:lnTo>
                    <a:lnTo>
                      <a:pt x="54" y="517"/>
                    </a:lnTo>
                    <a:lnTo>
                      <a:pt x="55" y="515"/>
                    </a:lnTo>
                    <a:lnTo>
                      <a:pt x="57" y="515"/>
                    </a:lnTo>
                    <a:lnTo>
                      <a:pt x="59" y="515"/>
                    </a:lnTo>
                    <a:lnTo>
                      <a:pt x="60" y="515"/>
                    </a:lnTo>
                    <a:lnTo>
                      <a:pt x="62" y="514"/>
                    </a:lnTo>
                    <a:lnTo>
                      <a:pt x="63" y="514"/>
                    </a:lnTo>
                    <a:lnTo>
                      <a:pt x="63" y="512"/>
                    </a:lnTo>
                    <a:lnTo>
                      <a:pt x="63" y="510"/>
                    </a:lnTo>
                    <a:lnTo>
                      <a:pt x="63" y="509"/>
                    </a:lnTo>
                    <a:lnTo>
                      <a:pt x="63" y="507"/>
                    </a:lnTo>
                    <a:lnTo>
                      <a:pt x="63" y="506"/>
                    </a:lnTo>
                    <a:lnTo>
                      <a:pt x="63" y="504"/>
                    </a:lnTo>
                    <a:lnTo>
                      <a:pt x="62" y="502"/>
                    </a:lnTo>
                    <a:lnTo>
                      <a:pt x="62" y="501"/>
                    </a:lnTo>
                    <a:lnTo>
                      <a:pt x="62" y="499"/>
                    </a:lnTo>
                    <a:lnTo>
                      <a:pt x="60" y="498"/>
                    </a:lnTo>
                    <a:lnTo>
                      <a:pt x="60" y="496"/>
                    </a:lnTo>
                    <a:lnTo>
                      <a:pt x="60" y="495"/>
                    </a:lnTo>
                    <a:lnTo>
                      <a:pt x="59" y="493"/>
                    </a:lnTo>
                    <a:lnTo>
                      <a:pt x="59" y="491"/>
                    </a:lnTo>
                    <a:lnTo>
                      <a:pt x="59" y="490"/>
                    </a:lnTo>
                    <a:lnTo>
                      <a:pt x="59" y="488"/>
                    </a:lnTo>
                    <a:lnTo>
                      <a:pt x="59" y="487"/>
                    </a:lnTo>
                    <a:lnTo>
                      <a:pt x="57" y="487"/>
                    </a:lnTo>
                    <a:lnTo>
                      <a:pt x="57" y="485"/>
                    </a:lnTo>
                    <a:lnTo>
                      <a:pt x="57" y="483"/>
                    </a:lnTo>
                    <a:lnTo>
                      <a:pt x="57" y="482"/>
                    </a:lnTo>
                    <a:lnTo>
                      <a:pt x="57" y="480"/>
                    </a:lnTo>
                    <a:lnTo>
                      <a:pt x="57" y="479"/>
                    </a:lnTo>
                    <a:lnTo>
                      <a:pt x="55" y="477"/>
                    </a:lnTo>
                    <a:lnTo>
                      <a:pt x="55" y="476"/>
                    </a:lnTo>
                    <a:lnTo>
                      <a:pt x="55" y="474"/>
                    </a:lnTo>
                    <a:lnTo>
                      <a:pt x="55" y="472"/>
                    </a:lnTo>
                    <a:lnTo>
                      <a:pt x="55" y="471"/>
                    </a:lnTo>
                    <a:lnTo>
                      <a:pt x="54" y="469"/>
                    </a:lnTo>
                    <a:lnTo>
                      <a:pt x="54" y="468"/>
                    </a:lnTo>
                    <a:lnTo>
                      <a:pt x="54" y="466"/>
                    </a:lnTo>
                    <a:lnTo>
                      <a:pt x="54" y="464"/>
                    </a:lnTo>
                    <a:lnTo>
                      <a:pt x="54" y="463"/>
                    </a:lnTo>
                    <a:lnTo>
                      <a:pt x="52" y="461"/>
                    </a:lnTo>
                    <a:lnTo>
                      <a:pt x="52" y="460"/>
                    </a:lnTo>
                    <a:lnTo>
                      <a:pt x="52" y="458"/>
                    </a:lnTo>
                    <a:lnTo>
                      <a:pt x="52" y="457"/>
                    </a:lnTo>
                    <a:lnTo>
                      <a:pt x="51" y="455"/>
                    </a:lnTo>
                    <a:lnTo>
                      <a:pt x="51" y="453"/>
                    </a:lnTo>
                    <a:lnTo>
                      <a:pt x="51" y="452"/>
                    </a:lnTo>
                    <a:lnTo>
                      <a:pt x="51" y="450"/>
                    </a:lnTo>
                    <a:lnTo>
                      <a:pt x="51" y="449"/>
                    </a:lnTo>
                    <a:lnTo>
                      <a:pt x="49" y="449"/>
                    </a:lnTo>
                    <a:lnTo>
                      <a:pt x="49" y="447"/>
                    </a:lnTo>
                    <a:lnTo>
                      <a:pt x="49" y="445"/>
                    </a:lnTo>
                    <a:lnTo>
                      <a:pt x="49" y="444"/>
                    </a:lnTo>
                    <a:lnTo>
                      <a:pt x="49" y="442"/>
                    </a:lnTo>
                    <a:lnTo>
                      <a:pt x="49" y="441"/>
                    </a:lnTo>
                    <a:lnTo>
                      <a:pt x="48" y="441"/>
                    </a:lnTo>
                    <a:lnTo>
                      <a:pt x="48" y="439"/>
                    </a:lnTo>
                    <a:lnTo>
                      <a:pt x="48" y="438"/>
                    </a:lnTo>
                    <a:lnTo>
                      <a:pt x="48" y="436"/>
                    </a:lnTo>
                    <a:lnTo>
                      <a:pt x="48" y="434"/>
                    </a:lnTo>
                    <a:lnTo>
                      <a:pt x="49" y="434"/>
                    </a:lnTo>
                    <a:lnTo>
                      <a:pt x="49" y="433"/>
                    </a:lnTo>
                    <a:lnTo>
                      <a:pt x="49" y="431"/>
                    </a:lnTo>
                    <a:lnTo>
                      <a:pt x="51" y="431"/>
                    </a:lnTo>
                    <a:lnTo>
                      <a:pt x="51" y="430"/>
                    </a:lnTo>
                    <a:lnTo>
                      <a:pt x="51" y="428"/>
                    </a:lnTo>
                    <a:lnTo>
                      <a:pt x="52" y="428"/>
                    </a:lnTo>
                    <a:lnTo>
                      <a:pt x="52" y="426"/>
                    </a:lnTo>
                    <a:lnTo>
                      <a:pt x="52" y="425"/>
                    </a:lnTo>
                    <a:lnTo>
                      <a:pt x="51" y="423"/>
                    </a:lnTo>
                    <a:lnTo>
                      <a:pt x="51" y="422"/>
                    </a:lnTo>
                    <a:lnTo>
                      <a:pt x="51" y="420"/>
                    </a:lnTo>
                    <a:lnTo>
                      <a:pt x="51" y="419"/>
                    </a:lnTo>
                    <a:lnTo>
                      <a:pt x="51" y="417"/>
                    </a:lnTo>
                    <a:lnTo>
                      <a:pt x="52" y="417"/>
                    </a:lnTo>
                    <a:lnTo>
                      <a:pt x="52" y="415"/>
                    </a:lnTo>
                    <a:lnTo>
                      <a:pt x="52" y="414"/>
                    </a:lnTo>
                    <a:lnTo>
                      <a:pt x="52" y="412"/>
                    </a:lnTo>
                    <a:lnTo>
                      <a:pt x="54" y="411"/>
                    </a:lnTo>
                    <a:lnTo>
                      <a:pt x="54" y="409"/>
                    </a:lnTo>
                    <a:lnTo>
                      <a:pt x="54" y="407"/>
                    </a:lnTo>
                    <a:lnTo>
                      <a:pt x="55" y="407"/>
                    </a:lnTo>
                    <a:lnTo>
                      <a:pt x="55" y="406"/>
                    </a:lnTo>
                    <a:lnTo>
                      <a:pt x="57" y="404"/>
                    </a:lnTo>
                    <a:lnTo>
                      <a:pt x="57" y="403"/>
                    </a:lnTo>
                    <a:lnTo>
                      <a:pt x="59" y="403"/>
                    </a:lnTo>
                    <a:lnTo>
                      <a:pt x="59" y="401"/>
                    </a:lnTo>
                    <a:lnTo>
                      <a:pt x="59" y="400"/>
                    </a:lnTo>
                    <a:lnTo>
                      <a:pt x="60" y="400"/>
                    </a:lnTo>
                    <a:lnTo>
                      <a:pt x="60" y="398"/>
                    </a:lnTo>
                    <a:lnTo>
                      <a:pt x="60" y="396"/>
                    </a:lnTo>
                    <a:lnTo>
                      <a:pt x="60" y="395"/>
                    </a:lnTo>
                    <a:lnTo>
                      <a:pt x="62" y="395"/>
                    </a:lnTo>
                    <a:lnTo>
                      <a:pt x="62" y="393"/>
                    </a:lnTo>
                    <a:lnTo>
                      <a:pt x="62" y="392"/>
                    </a:lnTo>
                    <a:lnTo>
                      <a:pt x="62" y="390"/>
                    </a:lnTo>
                    <a:lnTo>
                      <a:pt x="63" y="388"/>
                    </a:lnTo>
                    <a:lnTo>
                      <a:pt x="63" y="387"/>
                    </a:lnTo>
                    <a:lnTo>
                      <a:pt x="63" y="385"/>
                    </a:lnTo>
                    <a:lnTo>
                      <a:pt x="63" y="384"/>
                    </a:lnTo>
                    <a:lnTo>
                      <a:pt x="63" y="382"/>
                    </a:lnTo>
                    <a:lnTo>
                      <a:pt x="65" y="381"/>
                    </a:lnTo>
                    <a:lnTo>
                      <a:pt x="65" y="379"/>
                    </a:lnTo>
                    <a:lnTo>
                      <a:pt x="67" y="379"/>
                    </a:lnTo>
                    <a:lnTo>
                      <a:pt x="67" y="377"/>
                    </a:lnTo>
                    <a:lnTo>
                      <a:pt x="67" y="376"/>
                    </a:lnTo>
                    <a:lnTo>
                      <a:pt x="68" y="376"/>
                    </a:lnTo>
                    <a:lnTo>
                      <a:pt x="68" y="374"/>
                    </a:lnTo>
                    <a:lnTo>
                      <a:pt x="70" y="373"/>
                    </a:lnTo>
                    <a:lnTo>
                      <a:pt x="70" y="371"/>
                    </a:lnTo>
                    <a:lnTo>
                      <a:pt x="71" y="371"/>
                    </a:lnTo>
                    <a:lnTo>
                      <a:pt x="71" y="369"/>
                    </a:lnTo>
                    <a:lnTo>
                      <a:pt x="71" y="368"/>
                    </a:lnTo>
                    <a:lnTo>
                      <a:pt x="71" y="366"/>
                    </a:lnTo>
                    <a:lnTo>
                      <a:pt x="70" y="366"/>
                    </a:lnTo>
                    <a:lnTo>
                      <a:pt x="70" y="365"/>
                    </a:lnTo>
                    <a:lnTo>
                      <a:pt x="68" y="365"/>
                    </a:lnTo>
                    <a:lnTo>
                      <a:pt x="68" y="363"/>
                    </a:lnTo>
                    <a:lnTo>
                      <a:pt x="68" y="362"/>
                    </a:lnTo>
                    <a:lnTo>
                      <a:pt x="67" y="362"/>
                    </a:lnTo>
                    <a:lnTo>
                      <a:pt x="67" y="360"/>
                    </a:lnTo>
                    <a:lnTo>
                      <a:pt x="65" y="358"/>
                    </a:lnTo>
                    <a:lnTo>
                      <a:pt x="65" y="357"/>
                    </a:lnTo>
                    <a:lnTo>
                      <a:pt x="63" y="357"/>
                    </a:lnTo>
                    <a:lnTo>
                      <a:pt x="63" y="355"/>
                    </a:lnTo>
                    <a:lnTo>
                      <a:pt x="62" y="355"/>
                    </a:lnTo>
                    <a:lnTo>
                      <a:pt x="62" y="354"/>
                    </a:lnTo>
                    <a:lnTo>
                      <a:pt x="60" y="352"/>
                    </a:lnTo>
                    <a:lnTo>
                      <a:pt x="60" y="350"/>
                    </a:lnTo>
                    <a:lnTo>
                      <a:pt x="60" y="349"/>
                    </a:lnTo>
                    <a:lnTo>
                      <a:pt x="62" y="349"/>
                    </a:lnTo>
                    <a:lnTo>
                      <a:pt x="63" y="349"/>
                    </a:lnTo>
                    <a:lnTo>
                      <a:pt x="65" y="347"/>
                    </a:lnTo>
                    <a:lnTo>
                      <a:pt x="67" y="347"/>
                    </a:lnTo>
                    <a:lnTo>
                      <a:pt x="68" y="347"/>
                    </a:lnTo>
                    <a:lnTo>
                      <a:pt x="68" y="346"/>
                    </a:lnTo>
                    <a:lnTo>
                      <a:pt x="70" y="346"/>
                    </a:lnTo>
                    <a:lnTo>
                      <a:pt x="71" y="344"/>
                    </a:lnTo>
                    <a:lnTo>
                      <a:pt x="73" y="343"/>
                    </a:lnTo>
                    <a:lnTo>
                      <a:pt x="74" y="343"/>
                    </a:lnTo>
                    <a:lnTo>
                      <a:pt x="74" y="341"/>
                    </a:lnTo>
                    <a:lnTo>
                      <a:pt x="76" y="341"/>
                    </a:lnTo>
                    <a:lnTo>
                      <a:pt x="78" y="341"/>
                    </a:lnTo>
                    <a:lnTo>
                      <a:pt x="78" y="343"/>
                    </a:lnTo>
                    <a:lnTo>
                      <a:pt x="79" y="343"/>
                    </a:lnTo>
                    <a:lnTo>
                      <a:pt x="81" y="343"/>
                    </a:lnTo>
                    <a:lnTo>
                      <a:pt x="82" y="341"/>
                    </a:lnTo>
                    <a:lnTo>
                      <a:pt x="84" y="341"/>
                    </a:lnTo>
                    <a:lnTo>
                      <a:pt x="86" y="341"/>
                    </a:lnTo>
                    <a:lnTo>
                      <a:pt x="86" y="339"/>
                    </a:lnTo>
                    <a:lnTo>
                      <a:pt x="87" y="339"/>
                    </a:lnTo>
                    <a:lnTo>
                      <a:pt x="89" y="338"/>
                    </a:lnTo>
                    <a:lnTo>
                      <a:pt x="90" y="338"/>
                    </a:lnTo>
                    <a:lnTo>
                      <a:pt x="92" y="336"/>
                    </a:lnTo>
                    <a:lnTo>
                      <a:pt x="92" y="335"/>
                    </a:lnTo>
                    <a:lnTo>
                      <a:pt x="92" y="333"/>
                    </a:lnTo>
                    <a:lnTo>
                      <a:pt x="92" y="331"/>
                    </a:lnTo>
                    <a:lnTo>
                      <a:pt x="94" y="330"/>
                    </a:lnTo>
                    <a:lnTo>
                      <a:pt x="94" y="328"/>
                    </a:lnTo>
                    <a:lnTo>
                      <a:pt x="95" y="328"/>
                    </a:lnTo>
                    <a:lnTo>
                      <a:pt x="95" y="327"/>
                    </a:lnTo>
                    <a:lnTo>
                      <a:pt x="95" y="325"/>
                    </a:lnTo>
                    <a:lnTo>
                      <a:pt x="97" y="325"/>
                    </a:lnTo>
                    <a:lnTo>
                      <a:pt x="98" y="325"/>
                    </a:lnTo>
                    <a:lnTo>
                      <a:pt x="98" y="324"/>
                    </a:lnTo>
                    <a:lnTo>
                      <a:pt x="100" y="324"/>
                    </a:lnTo>
                    <a:lnTo>
                      <a:pt x="100" y="322"/>
                    </a:lnTo>
                    <a:lnTo>
                      <a:pt x="100" y="320"/>
                    </a:lnTo>
                    <a:lnTo>
                      <a:pt x="101" y="320"/>
                    </a:lnTo>
                    <a:lnTo>
                      <a:pt x="101" y="319"/>
                    </a:lnTo>
                    <a:lnTo>
                      <a:pt x="103" y="317"/>
                    </a:lnTo>
                    <a:lnTo>
                      <a:pt x="105" y="316"/>
                    </a:lnTo>
                    <a:lnTo>
                      <a:pt x="106" y="316"/>
                    </a:lnTo>
                    <a:lnTo>
                      <a:pt x="106" y="314"/>
                    </a:lnTo>
                    <a:lnTo>
                      <a:pt x="108" y="312"/>
                    </a:lnTo>
                    <a:lnTo>
                      <a:pt x="108" y="311"/>
                    </a:lnTo>
                    <a:lnTo>
                      <a:pt x="108" y="309"/>
                    </a:lnTo>
                    <a:lnTo>
                      <a:pt x="108" y="308"/>
                    </a:lnTo>
                    <a:lnTo>
                      <a:pt x="109" y="308"/>
                    </a:lnTo>
                    <a:lnTo>
                      <a:pt x="111" y="306"/>
                    </a:lnTo>
                    <a:lnTo>
                      <a:pt x="111" y="304"/>
                    </a:lnTo>
                    <a:lnTo>
                      <a:pt x="111" y="303"/>
                    </a:lnTo>
                    <a:lnTo>
                      <a:pt x="113" y="303"/>
                    </a:lnTo>
                    <a:lnTo>
                      <a:pt x="114" y="303"/>
                    </a:lnTo>
                    <a:lnTo>
                      <a:pt x="116" y="304"/>
                    </a:lnTo>
                    <a:lnTo>
                      <a:pt x="116" y="303"/>
                    </a:lnTo>
                    <a:lnTo>
                      <a:pt x="117" y="303"/>
                    </a:lnTo>
                    <a:lnTo>
                      <a:pt x="119" y="303"/>
                    </a:lnTo>
                    <a:lnTo>
                      <a:pt x="119" y="301"/>
                    </a:lnTo>
                    <a:lnTo>
                      <a:pt x="117" y="300"/>
                    </a:lnTo>
                    <a:lnTo>
                      <a:pt x="117" y="298"/>
                    </a:lnTo>
                    <a:lnTo>
                      <a:pt x="117" y="297"/>
                    </a:lnTo>
                    <a:lnTo>
                      <a:pt x="117" y="295"/>
                    </a:lnTo>
                    <a:lnTo>
                      <a:pt x="119" y="293"/>
                    </a:lnTo>
                    <a:lnTo>
                      <a:pt x="119" y="292"/>
                    </a:lnTo>
                    <a:lnTo>
                      <a:pt x="119" y="290"/>
                    </a:lnTo>
                    <a:lnTo>
                      <a:pt x="119" y="289"/>
                    </a:lnTo>
                    <a:lnTo>
                      <a:pt x="119" y="290"/>
                    </a:lnTo>
                    <a:lnTo>
                      <a:pt x="117" y="290"/>
                    </a:lnTo>
                    <a:lnTo>
                      <a:pt x="117" y="289"/>
                    </a:lnTo>
                    <a:lnTo>
                      <a:pt x="117" y="287"/>
                    </a:lnTo>
                    <a:lnTo>
                      <a:pt x="117" y="285"/>
                    </a:lnTo>
                    <a:lnTo>
                      <a:pt x="117" y="284"/>
                    </a:lnTo>
                    <a:lnTo>
                      <a:pt x="116" y="282"/>
                    </a:lnTo>
                    <a:lnTo>
                      <a:pt x="116" y="281"/>
                    </a:lnTo>
                    <a:lnTo>
                      <a:pt x="116" y="279"/>
                    </a:lnTo>
                    <a:lnTo>
                      <a:pt x="114" y="279"/>
                    </a:lnTo>
                    <a:lnTo>
                      <a:pt x="114" y="278"/>
                    </a:lnTo>
                    <a:lnTo>
                      <a:pt x="114" y="276"/>
                    </a:lnTo>
                    <a:lnTo>
                      <a:pt x="116" y="274"/>
                    </a:lnTo>
                    <a:lnTo>
                      <a:pt x="116" y="273"/>
                    </a:lnTo>
                    <a:lnTo>
                      <a:pt x="117" y="273"/>
                    </a:lnTo>
                    <a:lnTo>
                      <a:pt x="119" y="273"/>
                    </a:lnTo>
                    <a:lnTo>
                      <a:pt x="119" y="271"/>
                    </a:lnTo>
                    <a:lnTo>
                      <a:pt x="119" y="270"/>
                    </a:lnTo>
                    <a:lnTo>
                      <a:pt x="120" y="268"/>
                    </a:lnTo>
                    <a:lnTo>
                      <a:pt x="122" y="268"/>
                    </a:lnTo>
                    <a:lnTo>
                      <a:pt x="124" y="268"/>
                    </a:lnTo>
                    <a:lnTo>
                      <a:pt x="125" y="268"/>
                    </a:lnTo>
                    <a:lnTo>
                      <a:pt x="127" y="268"/>
                    </a:lnTo>
                    <a:lnTo>
                      <a:pt x="127" y="270"/>
                    </a:lnTo>
                    <a:lnTo>
                      <a:pt x="128" y="270"/>
                    </a:lnTo>
                    <a:lnTo>
                      <a:pt x="130" y="268"/>
                    </a:lnTo>
                    <a:lnTo>
                      <a:pt x="132" y="268"/>
                    </a:lnTo>
                    <a:lnTo>
                      <a:pt x="133" y="268"/>
                    </a:lnTo>
                    <a:lnTo>
                      <a:pt x="133" y="266"/>
                    </a:lnTo>
                    <a:lnTo>
                      <a:pt x="135" y="266"/>
                    </a:lnTo>
                    <a:lnTo>
                      <a:pt x="136" y="265"/>
                    </a:lnTo>
                    <a:lnTo>
                      <a:pt x="136" y="263"/>
                    </a:lnTo>
                    <a:lnTo>
                      <a:pt x="138" y="263"/>
                    </a:lnTo>
                    <a:lnTo>
                      <a:pt x="139" y="262"/>
                    </a:lnTo>
                    <a:lnTo>
                      <a:pt x="139" y="260"/>
                    </a:lnTo>
                    <a:lnTo>
                      <a:pt x="139" y="259"/>
                    </a:lnTo>
                    <a:lnTo>
                      <a:pt x="141" y="259"/>
                    </a:lnTo>
                    <a:lnTo>
                      <a:pt x="141" y="257"/>
                    </a:lnTo>
                    <a:lnTo>
                      <a:pt x="143" y="255"/>
                    </a:lnTo>
                    <a:lnTo>
                      <a:pt x="143" y="254"/>
                    </a:lnTo>
                    <a:lnTo>
                      <a:pt x="144" y="254"/>
                    </a:lnTo>
                    <a:lnTo>
                      <a:pt x="144" y="252"/>
                    </a:lnTo>
                    <a:lnTo>
                      <a:pt x="146" y="251"/>
                    </a:lnTo>
                    <a:lnTo>
                      <a:pt x="146" y="249"/>
                    </a:lnTo>
                    <a:lnTo>
                      <a:pt x="146" y="247"/>
                    </a:lnTo>
                    <a:lnTo>
                      <a:pt x="147" y="246"/>
                    </a:lnTo>
                    <a:lnTo>
                      <a:pt x="147" y="244"/>
                    </a:lnTo>
                    <a:lnTo>
                      <a:pt x="147" y="243"/>
                    </a:lnTo>
                    <a:lnTo>
                      <a:pt x="147" y="241"/>
                    </a:lnTo>
                    <a:lnTo>
                      <a:pt x="147" y="240"/>
                    </a:lnTo>
                    <a:lnTo>
                      <a:pt x="146" y="240"/>
                    </a:lnTo>
                    <a:lnTo>
                      <a:pt x="146" y="238"/>
                    </a:lnTo>
                    <a:lnTo>
                      <a:pt x="146" y="236"/>
                    </a:lnTo>
                    <a:lnTo>
                      <a:pt x="146" y="235"/>
                    </a:lnTo>
                    <a:lnTo>
                      <a:pt x="147" y="235"/>
                    </a:lnTo>
                    <a:lnTo>
                      <a:pt x="147" y="233"/>
                    </a:lnTo>
                    <a:lnTo>
                      <a:pt x="147" y="232"/>
                    </a:lnTo>
                    <a:lnTo>
                      <a:pt x="146" y="232"/>
                    </a:lnTo>
                    <a:lnTo>
                      <a:pt x="146" y="230"/>
                    </a:lnTo>
                    <a:lnTo>
                      <a:pt x="144" y="230"/>
                    </a:lnTo>
                    <a:lnTo>
                      <a:pt x="144" y="228"/>
                    </a:lnTo>
                    <a:lnTo>
                      <a:pt x="144" y="227"/>
                    </a:lnTo>
                    <a:lnTo>
                      <a:pt x="143" y="227"/>
                    </a:lnTo>
                    <a:lnTo>
                      <a:pt x="143" y="225"/>
                    </a:lnTo>
                    <a:lnTo>
                      <a:pt x="143" y="224"/>
                    </a:lnTo>
                    <a:lnTo>
                      <a:pt x="143" y="222"/>
                    </a:lnTo>
                    <a:lnTo>
                      <a:pt x="143" y="221"/>
                    </a:lnTo>
                    <a:lnTo>
                      <a:pt x="144" y="219"/>
                    </a:lnTo>
                    <a:lnTo>
                      <a:pt x="143" y="217"/>
                    </a:lnTo>
                    <a:lnTo>
                      <a:pt x="141" y="217"/>
                    </a:lnTo>
                    <a:lnTo>
                      <a:pt x="143" y="216"/>
                    </a:lnTo>
                    <a:lnTo>
                      <a:pt x="141" y="214"/>
                    </a:lnTo>
                    <a:lnTo>
                      <a:pt x="141" y="213"/>
                    </a:lnTo>
                    <a:lnTo>
                      <a:pt x="139" y="211"/>
                    </a:lnTo>
                    <a:lnTo>
                      <a:pt x="138" y="209"/>
                    </a:lnTo>
                    <a:lnTo>
                      <a:pt x="136" y="209"/>
                    </a:lnTo>
                    <a:lnTo>
                      <a:pt x="136" y="208"/>
                    </a:lnTo>
                    <a:lnTo>
                      <a:pt x="138" y="208"/>
                    </a:lnTo>
                    <a:lnTo>
                      <a:pt x="138" y="206"/>
                    </a:lnTo>
                    <a:lnTo>
                      <a:pt x="138" y="205"/>
                    </a:lnTo>
                    <a:lnTo>
                      <a:pt x="138" y="203"/>
                    </a:lnTo>
                    <a:lnTo>
                      <a:pt x="138" y="202"/>
                    </a:lnTo>
                    <a:lnTo>
                      <a:pt x="138" y="200"/>
                    </a:lnTo>
                    <a:lnTo>
                      <a:pt x="136" y="200"/>
                    </a:lnTo>
                    <a:lnTo>
                      <a:pt x="136" y="198"/>
                    </a:lnTo>
                    <a:lnTo>
                      <a:pt x="136" y="197"/>
                    </a:lnTo>
                    <a:lnTo>
                      <a:pt x="136" y="195"/>
                    </a:lnTo>
                    <a:lnTo>
                      <a:pt x="138" y="195"/>
                    </a:lnTo>
                    <a:lnTo>
                      <a:pt x="138" y="194"/>
                    </a:lnTo>
                    <a:lnTo>
                      <a:pt x="138" y="192"/>
                    </a:lnTo>
                    <a:lnTo>
                      <a:pt x="139" y="192"/>
                    </a:lnTo>
                    <a:lnTo>
                      <a:pt x="139" y="190"/>
                    </a:lnTo>
                    <a:lnTo>
                      <a:pt x="139" y="189"/>
                    </a:lnTo>
                    <a:lnTo>
                      <a:pt x="139" y="187"/>
                    </a:lnTo>
                    <a:lnTo>
                      <a:pt x="139" y="186"/>
                    </a:lnTo>
                    <a:lnTo>
                      <a:pt x="138" y="186"/>
                    </a:lnTo>
                    <a:lnTo>
                      <a:pt x="138" y="184"/>
                    </a:lnTo>
                    <a:lnTo>
                      <a:pt x="136" y="184"/>
                    </a:lnTo>
                    <a:lnTo>
                      <a:pt x="136" y="183"/>
                    </a:lnTo>
                    <a:lnTo>
                      <a:pt x="135" y="183"/>
                    </a:lnTo>
                    <a:lnTo>
                      <a:pt x="133" y="184"/>
                    </a:lnTo>
                    <a:lnTo>
                      <a:pt x="132" y="184"/>
                    </a:lnTo>
                    <a:lnTo>
                      <a:pt x="132" y="186"/>
                    </a:lnTo>
                    <a:lnTo>
                      <a:pt x="130" y="187"/>
                    </a:lnTo>
                    <a:lnTo>
                      <a:pt x="130" y="189"/>
                    </a:lnTo>
                    <a:lnTo>
                      <a:pt x="128" y="189"/>
                    </a:lnTo>
                    <a:lnTo>
                      <a:pt x="127" y="187"/>
                    </a:lnTo>
                    <a:lnTo>
                      <a:pt x="127" y="186"/>
                    </a:lnTo>
                    <a:lnTo>
                      <a:pt x="125" y="184"/>
                    </a:lnTo>
                    <a:lnTo>
                      <a:pt x="125" y="183"/>
                    </a:lnTo>
                    <a:lnTo>
                      <a:pt x="125" y="181"/>
                    </a:lnTo>
                    <a:lnTo>
                      <a:pt x="125" y="179"/>
                    </a:lnTo>
                    <a:lnTo>
                      <a:pt x="125" y="178"/>
                    </a:lnTo>
                    <a:lnTo>
                      <a:pt x="125" y="176"/>
                    </a:lnTo>
                    <a:lnTo>
                      <a:pt x="125" y="175"/>
                    </a:lnTo>
                    <a:lnTo>
                      <a:pt x="125" y="173"/>
                    </a:lnTo>
                    <a:lnTo>
                      <a:pt x="125" y="171"/>
                    </a:lnTo>
                    <a:lnTo>
                      <a:pt x="124" y="171"/>
                    </a:lnTo>
                    <a:lnTo>
                      <a:pt x="124" y="170"/>
                    </a:lnTo>
                    <a:lnTo>
                      <a:pt x="124" y="168"/>
                    </a:lnTo>
                    <a:lnTo>
                      <a:pt x="124" y="167"/>
                    </a:lnTo>
                    <a:lnTo>
                      <a:pt x="124" y="165"/>
                    </a:lnTo>
                    <a:lnTo>
                      <a:pt x="124" y="164"/>
                    </a:lnTo>
                    <a:lnTo>
                      <a:pt x="124" y="162"/>
                    </a:lnTo>
                    <a:lnTo>
                      <a:pt x="124" y="160"/>
                    </a:lnTo>
                    <a:lnTo>
                      <a:pt x="124" y="159"/>
                    </a:lnTo>
                    <a:lnTo>
                      <a:pt x="124" y="157"/>
                    </a:lnTo>
                    <a:lnTo>
                      <a:pt x="124" y="156"/>
                    </a:lnTo>
                    <a:lnTo>
                      <a:pt x="125" y="156"/>
                    </a:lnTo>
                    <a:lnTo>
                      <a:pt x="125" y="154"/>
                    </a:lnTo>
                    <a:lnTo>
                      <a:pt x="127" y="154"/>
                    </a:lnTo>
                    <a:lnTo>
                      <a:pt x="127" y="152"/>
                    </a:lnTo>
                    <a:lnTo>
                      <a:pt x="128" y="151"/>
                    </a:lnTo>
                    <a:lnTo>
                      <a:pt x="128" y="149"/>
                    </a:lnTo>
                    <a:lnTo>
                      <a:pt x="128" y="148"/>
                    </a:lnTo>
                    <a:lnTo>
                      <a:pt x="130" y="146"/>
                    </a:lnTo>
                    <a:lnTo>
                      <a:pt x="130" y="145"/>
                    </a:lnTo>
                    <a:lnTo>
                      <a:pt x="130" y="143"/>
                    </a:lnTo>
                    <a:lnTo>
                      <a:pt x="132" y="141"/>
                    </a:lnTo>
                    <a:lnTo>
                      <a:pt x="132" y="140"/>
                    </a:lnTo>
                    <a:lnTo>
                      <a:pt x="132" y="138"/>
                    </a:lnTo>
                    <a:lnTo>
                      <a:pt x="133" y="137"/>
                    </a:lnTo>
                    <a:lnTo>
                      <a:pt x="133" y="135"/>
                    </a:lnTo>
                    <a:lnTo>
                      <a:pt x="133" y="133"/>
                    </a:lnTo>
                    <a:lnTo>
                      <a:pt x="135" y="132"/>
                    </a:lnTo>
                    <a:lnTo>
                      <a:pt x="135" y="130"/>
                    </a:lnTo>
                    <a:lnTo>
                      <a:pt x="136" y="129"/>
                    </a:lnTo>
                    <a:lnTo>
                      <a:pt x="136" y="127"/>
                    </a:lnTo>
                    <a:lnTo>
                      <a:pt x="138" y="125"/>
                    </a:lnTo>
                    <a:lnTo>
                      <a:pt x="138" y="124"/>
                    </a:lnTo>
                    <a:lnTo>
                      <a:pt x="139" y="122"/>
                    </a:lnTo>
                    <a:lnTo>
                      <a:pt x="139" y="121"/>
                    </a:lnTo>
                    <a:lnTo>
                      <a:pt x="141" y="121"/>
                    </a:lnTo>
                    <a:lnTo>
                      <a:pt x="143" y="121"/>
                    </a:lnTo>
                    <a:lnTo>
                      <a:pt x="144" y="121"/>
                    </a:lnTo>
                    <a:lnTo>
                      <a:pt x="146" y="119"/>
                    </a:lnTo>
                    <a:lnTo>
                      <a:pt x="147" y="119"/>
                    </a:lnTo>
                    <a:lnTo>
                      <a:pt x="149" y="119"/>
                    </a:lnTo>
                    <a:lnTo>
                      <a:pt x="151" y="119"/>
                    </a:lnTo>
                    <a:lnTo>
                      <a:pt x="152" y="119"/>
                    </a:lnTo>
                    <a:lnTo>
                      <a:pt x="154" y="118"/>
                    </a:lnTo>
                    <a:lnTo>
                      <a:pt x="155" y="118"/>
                    </a:lnTo>
                    <a:lnTo>
                      <a:pt x="157" y="118"/>
                    </a:lnTo>
                    <a:lnTo>
                      <a:pt x="158" y="118"/>
                    </a:lnTo>
                    <a:lnTo>
                      <a:pt x="160" y="118"/>
                    </a:lnTo>
                    <a:lnTo>
                      <a:pt x="162" y="118"/>
                    </a:lnTo>
                    <a:lnTo>
                      <a:pt x="163" y="116"/>
                    </a:lnTo>
                    <a:lnTo>
                      <a:pt x="165" y="116"/>
                    </a:lnTo>
                    <a:lnTo>
                      <a:pt x="166" y="116"/>
                    </a:lnTo>
                    <a:lnTo>
                      <a:pt x="168" y="116"/>
                    </a:lnTo>
                    <a:lnTo>
                      <a:pt x="170" y="116"/>
                    </a:lnTo>
                    <a:lnTo>
                      <a:pt x="170" y="118"/>
                    </a:lnTo>
                    <a:lnTo>
                      <a:pt x="171" y="118"/>
                    </a:lnTo>
                    <a:lnTo>
                      <a:pt x="173" y="118"/>
                    </a:lnTo>
                    <a:lnTo>
                      <a:pt x="174" y="118"/>
                    </a:lnTo>
                    <a:lnTo>
                      <a:pt x="176" y="118"/>
                    </a:lnTo>
                    <a:lnTo>
                      <a:pt x="176" y="119"/>
                    </a:lnTo>
                    <a:lnTo>
                      <a:pt x="177" y="119"/>
                    </a:lnTo>
                    <a:lnTo>
                      <a:pt x="179" y="119"/>
                    </a:lnTo>
                    <a:lnTo>
                      <a:pt x="181" y="119"/>
                    </a:lnTo>
                    <a:lnTo>
                      <a:pt x="182" y="119"/>
                    </a:lnTo>
                    <a:lnTo>
                      <a:pt x="184" y="119"/>
                    </a:lnTo>
                    <a:lnTo>
                      <a:pt x="185" y="119"/>
                    </a:lnTo>
                    <a:lnTo>
                      <a:pt x="187" y="119"/>
                    </a:lnTo>
                    <a:lnTo>
                      <a:pt x="189" y="119"/>
                    </a:lnTo>
                    <a:lnTo>
                      <a:pt x="190" y="119"/>
                    </a:lnTo>
                    <a:lnTo>
                      <a:pt x="192" y="119"/>
                    </a:lnTo>
                    <a:lnTo>
                      <a:pt x="193" y="119"/>
                    </a:lnTo>
                    <a:lnTo>
                      <a:pt x="195" y="119"/>
                    </a:lnTo>
                    <a:lnTo>
                      <a:pt x="195" y="121"/>
                    </a:lnTo>
                    <a:lnTo>
                      <a:pt x="196" y="121"/>
                    </a:lnTo>
                    <a:lnTo>
                      <a:pt x="198" y="121"/>
                    </a:lnTo>
                    <a:lnTo>
                      <a:pt x="200" y="121"/>
                    </a:lnTo>
                    <a:lnTo>
                      <a:pt x="201" y="121"/>
                    </a:lnTo>
                    <a:lnTo>
                      <a:pt x="203" y="121"/>
                    </a:lnTo>
                    <a:lnTo>
                      <a:pt x="204" y="119"/>
                    </a:lnTo>
                    <a:lnTo>
                      <a:pt x="206" y="119"/>
                    </a:lnTo>
                    <a:lnTo>
                      <a:pt x="206" y="118"/>
                    </a:lnTo>
                    <a:lnTo>
                      <a:pt x="208" y="116"/>
                    </a:lnTo>
                    <a:lnTo>
                      <a:pt x="208" y="114"/>
                    </a:lnTo>
                    <a:lnTo>
                      <a:pt x="209" y="114"/>
                    </a:lnTo>
                    <a:lnTo>
                      <a:pt x="209" y="113"/>
                    </a:lnTo>
                    <a:lnTo>
                      <a:pt x="211" y="111"/>
                    </a:lnTo>
                    <a:lnTo>
                      <a:pt x="211" y="110"/>
                    </a:lnTo>
                    <a:lnTo>
                      <a:pt x="209" y="108"/>
                    </a:lnTo>
                    <a:lnTo>
                      <a:pt x="209" y="106"/>
                    </a:lnTo>
                    <a:lnTo>
                      <a:pt x="209" y="105"/>
                    </a:lnTo>
                    <a:lnTo>
                      <a:pt x="209" y="103"/>
                    </a:lnTo>
                    <a:lnTo>
                      <a:pt x="208" y="103"/>
                    </a:lnTo>
                    <a:lnTo>
                      <a:pt x="208" y="102"/>
                    </a:lnTo>
                    <a:lnTo>
                      <a:pt x="208" y="100"/>
                    </a:lnTo>
                    <a:lnTo>
                      <a:pt x="206" y="100"/>
                    </a:lnTo>
                    <a:lnTo>
                      <a:pt x="206" y="99"/>
                    </a:lnTo>
                    <a:lnTo>
                      <a:pt x="206" y="97"/>
                    </a:lnTo>
                    <a:lnTo>
                      <a:pt x="204" y="95"/>
                    </a:lnTo>
                    <a:lnTo>
                      <a:pt x="204" y="94"/>
                    </a:lnTo>
                    <a:lnTo>
                      <a:pt x="206" y="94"/>
                    </a:lnTo>
                    <a:lnTo>
                      <a:pt x="206" y="92"/>
                    </a:lnTo>
                    <a:lnTo>
                      <a:pt x="204" y="92"/>
                    </a:lnTo>
                    <a:lnTo>
                      <a:pt x="204" y="91"/>
                    </a:lnTo>
                    <a:lnTo>
                      <a:pt x="203" y="91"/>
                    </a:lnTo>
                    <a:lnTo>
                      <a:pt x="201" y="91"/>
                    </a:lnTo>
                    <a:lnTo>
                      <a:pt x="201" y="89"/>
                    </a:lnTo>
                    <a:lnTo>
                      <a:pt x="200" y="89"/>
                    </a:lnTo>
                    <a:lnTo>
                      <a:pt x="198" y="89"/>
                    </a:lnTo>
                    <a:lnTo>
                      <a:pt x="196" y="87"/>
                    </a:lnTo>
                    <a:lnTo>
                      <a:pt x="195" y="86"/>
                    </a:lnTo>
                    <a:lnTo>
                      <a:pt x="195" y="84"/>
                    </a:lnTo>
                    <a:lnTo>
                      <a:pt x="195" y="83"/>
                    </a:lnTo>
                    <a:lnTo>
                      <a:pt x="195" y="81"/>
                    </a:lnTo>
                    <a:lnTo>
                      <a:pt x="195" y="80"/>
                    </a:lnTo>
                    <a:lnTo>
                      <a:pt x="196" y="80"/>
                    </a:lnTo>
                    <a:lnTo>
                      <a:pt x="198" y="78"/>
                    </a:lnTo>
                    <a:lnTo>
                      <a:pt x="200" y="78"/>
                    </a:lnTo>
                    <a:lnTo>
                      <a:pt x="200" y="76"/>
                    </a:lnTo>
                    <a:lnTo>
                      <a:pt x="200" y="75"/>
                    </a:lnTo>
                    <a:lnTo>
                      <a:pt x="198" y="73"/>
                    </a:lnTo>
                    <a:lnTo>
                      <a:pt x="200" y="72"/>
                    </a:lnTo>
                    <a:lnTo>
                      <a:pt x="200" y="70"/>
                    </a:lnTo>
                    <a:lnTo>
                      <a:pt x="201" y="68"/>
                    </a:lnTo>
                    <a:lnTo>
                      <a:pt x="201" y="67"/>
                    </a:lnTo>
                    <a:lnTo>
                      <a:pt x="201" y="65"/>
                    </a:lnTo>
                    <a:lnTo>
                      <a:pt x="203" y="65"/>
                    </a:lnTo>
                    <a:lnTo>
                      <a:pt x="203" y="64"/>
                    </a:lnTo>
                    <a:lnTo>
                      <a:pt x="204" y="64"/>
                    </a:lnTo>
                    <a:lnTo>
                      <a:pt x="206" y="62"/>
                    </a:lnTo>
                    <a:lnTo>
                      <a:pt x="208" y="62"/>
                    </a:lnTo>
                    <a:lnTo>
                      <a:pt x="208" y="61"/>
                    </a:lnTo>
                    <a:lnTo>
                      <a:pt x="209" y="59"/>
                    </a:lnTo>
                    <a:lnTo>
                      <a:pt x="209" y="57"/>
                    </a:lnTo>
                    <a:lnTo>
                      <a:pt x="209" y="56"/>
                    </a:lnTo>
                    <a:lnTo>
                      <a:pt x="211" y="54"/>
                    </a:lnTo>
                    <a:lnTo>
                      <a:pt x="211" y="53"/>
                    </a:lnTo>
                    <a:lnTo>
                      <a:pt x="212" y="53"/>
                    </a:lnTo>
                    <a:lnTo>
                      <a:pt x="212" y="51"/>
                    </a:lnTo>
                    <a:lnTo>
                      <a:pt x="214" y="51"/>
                    </a:lnTo>
                    <a:lnTo>
                      <a:pt x="215" y="51"/>
                    </a:lnTo>
                    <a:lnTo>
                      <a:pt x="215" y="53"/>
                    </a:lnTo>
                    <a:lnTo>
                      <a:pt x="217" y="53"/>
                    </a:lnTo>
                    <a:lnTo>
                      <a:pt x="219" y="53"/>
                    </a:lnTo>
                    <a:lnTo>
                      <a:pt x="220" y="53"/>
                    </a:lnTo>
                    <a:lnTo>
                      <a:pt x="222" y="53"/>
                    </a:lnTo>
                    <a:lnTo>
                      <a:pt x="223" y="54"/>
                    </a:lnTo>
                    <a:lnTo>
                      <a:pt x="225" y="56"/>
                    </a:lnTo>
                    <a:lnTo>
                      <a:pt x="225" y="57"/>
                    </a:lnTo>
                    <a:lnTo>
                      <a:pt x="225" y="59"/>
                    </a:lnTo>
                    <a:lnTo>
                      <a:pt x="227" y="59"/>
                    </a:lnTo>
                    <a:lnTo>
                      <a:pt x="227" y="61"/>
                    </a:lnTo>
                    <a:lnTo>
                      <a:pt x="228" y="61"/>
                    </a:lnTo>
                    <a:lnTo>
                      <a:pt x="228" y="62"/>
                    </a:lnTo>
                    <a:lnTo>
                      <a:pt x="230" y="62"/>
                    </a:lnTo>
                    <a:lnTo>
                      <a:pt x="231" y="62"/>
                    </a:lnTo>
                    <a:lnTo>
                      <a:pt x="231" y="64"/>
                    </a:lnTo>
                    <a:lnTo>
                      <a:pt x="241" y="64"/>
                    </a:lnTo>
                    <a:lnTo>
                      <a:pt x="268" y="64"/>
                    </a:lnTo>
                    <a:lnTo>
                      <a:pt x="301" y="87"/>
                    </a:lnTo>
                    <a:lnTo>
                      <a:pt x="301" y="89"/>
                    </a:lnTo>
                    <a:lnTo>
                      <a:pt x="301" y="91"/>
                    </a:lnTo>
                    <a:lnTo>
                      <a:pt x="301" y="92"/>
                    </a:lnTo>
                    <a:lnTo>
                      <a:pt x="301" y="94"/>
                    </a:lnTo>
                    <a:lnTo>
                      <a:pt x="301" y="95"/>
                    </a:lnTo>
                    <a:lnTo>
                      <a:pt x="299" y="97"/>
                    </a:lnTo>
                    <a:lnTo>
                      <a:pt x="299" y="99"/>
                    </a:lnTo>
                    <a:lnTo>
                      <a:pt x="299" y="100"/>
                    </a:lnTo>
                    <a:lnTo>
                      <a:pt x="299" y="102"/>
                    </a:lnTo>
                    <a:lnTo>
                      <a:pt x="299" y="103"/>
                    </a:lnTo>
                    <a:lnTo>
                      <a:pt x="299" y="105"/>
                    </a:lnTo>
                    <a:lnTo>
                      <a:pt x="299" y="106"/>
                    </a:lnTo>
                    <a:lnTo>
                      <a:pt x="299" y="108"/>
                    </a:lnTo>
                    <a:lnTo>
                      <a:pt x="301" y="110"/>
                    </a:lnTo>
                    <a:lnTo>
                      <a:pt x="301" y="111"/>
                    </a:lnTo>
                    <a:lnTo>
                      <a:pt x="301" y="113"/>
                    </a:lnTo>
                    <a:lnTo>
                      <a:pt x="301" y="114"/>
                    </a:lnTo>
                    <a:lnTo>
                      <a:pt x="301" y="116"/>
                    </a:lnTo>
                    <a:lnTo>
                      <a:pt x="301" y="118"/>
                    </a:lnTo>
                    <a:lnTo>
                      <a:pt x="301" y="119"/>
                    </a:lnTo>
                    <a:lnTo>
                      <a:pt x="301" y="121"/>
                    </a:lnTo>
                    <a:lnTo>
                      <a:pt x="301" y="122"/>
                    </a:lnTo>
                    <a:lnTo>
                      <a:pt x="301" y="124"/>
                    </a:lnTo>
                    <a:lnTo>
                      <a:pt x="303" y="124"/>
                    </a:lnTo>
                    <a:lnTo>
                      <a:pt x="303" y="125"/>
                    </a:lnTo>
                    <a:lnTo>
                      <a:pt x="303" y="127"/>
                    </a:lnTo>
                    <a:lnTo>
                      <a:pt x="303" y="129"/>
                    </a:lnTo>
                    <a:lnTo>
                      <a:pt x="303" y="130"/>
                    </a:lnTo>
                    <a:lnTo>
                      <a:pt x="303" y="132"/>
                    </a:lnTo>
                    <a:lnTo>
                      <a:pt x="303" y="133"/>
                    </a:lnTo>
                    <a:lnTo>
                      <a:pt x="303" y="135"/>
                    </a:lnTo>
                    <a:lnTo>
                      <a:pt x="304" y="137"/>
                    </a:lnTo>
                    <a:lnTo>
                      <a:pt x="304" y="138"/>
                    </a:lnTo>
                    <a:lnTo>
                      <a:pt x="304" y="140"/>
                    </a:lnTo>
                    <a:lnTo>
                      <a:pt x="304" y="141"/>
                    </a:lnTo>
                    <a:lnTo>
                      <a:pt x="304" y="143"/>
                    </a:lnTo>
                    <a:lnTo>
                      <a:pt x="304" y="145"/>
                    </a:lnTo>
                    <a:lnTo>
                      <a:pt x="304" y="146"/>
                    </a:lnTo>
                    <a:lnTo>
                      <a:pt x="304" y="148"/>
                    </a:lnTo>
                    <a:lnTo>
                      <a:pt x="304" y="149"/>
                    </a:lnTo>
                    <a:lnTo>
                      <a:pt x="306" y="149"/>
                    </a:lnTo>
                    <a:lnTo>
                      <a:pt x="306" y="151"/>
                    </a:lnTo>
                    <a:lnTo>
                      <a:pt x="306" y="152"/>
                    </a:lnTo>
                    <a:lnTo>
                      <a:pt x="307" y="152"/>
                    </a:lnTo>
                    <a:lnTo>
                      <a:pt x="307" y="154"/>
                    </a:lnTo>
                    <a:lnTo>
                      <a:pt x="309" y="156"/>
                    </a:lnTo>
                    <a:lnTo>
                      <a:pt x="309" y="157"/>
                    </a:lnTo>
                    <a:lnTo>
                      <a:pt x="309" y="159"/>
                    </a:lnTo>
                    <a:lnTo>
                      <a:pt x="309" y="160"/>
                    </a:lnTo>
                    <a:lnTo>
                      <a:pt x="309" y="162"/>
                    </a:lnTo>
                    <a:lnTo>
                      <a:pt x="309" y="164"/>
                    </a:lnTo>
                    <a:lnTo>
                      <a:pt x="309" y="165"/>
                    </a:lnTo>
                    <a:lnTo>
                      <a:pt x="309" y="167"/>
                    </a:lnTo>
                    <a:lnTo>
                      <a:pt x="307" y="167"/>
                    </a:lnTo>
                    <a:lnTo>
                      <a:pt x="307" y="168"/>
                    </a:lnTo>
                    <a:lnTo>
                      <a:pt x="307" y="170"/>
                    </a:lnTo>
                    <a:lnTo>
                      <a:pt x="307" y="171"/>
                    </a:lnTo>
                    <a:lnTo>
                      <a:pt x="307" y="173"/>
                    </a:lnTo>
                    <a:lnTo>
                      <a:pt x="307" y="175"/>
                    </a:lnTo>
                    <a:lnTo>
                      <a:pt x="306" y="175"/>
                    </a:lnTo>
                    <a:lnTo>
                      <a:pt x="306" y="176"/>
                    </a:lnTo>
                    <a:lnTo>
                      <a:pt x="304" y="176"/>
                    </a:lnTo>
                    <a:lnTo>
                      <a:pt x="304" y="178"/>
                    </a:lnTo>
                    <a:lnTo>
                      <a:pt x="304" y="179"/>
                    </a:lnTo>
                    <a:lnTo>
                      <a:pt x="304" y="181"/>
                    </a:lnTo>
                    <a:lnTo>
                      <a:pt x="304" y="183"/>
                    </a:lnTo>
                    <a:lnTo>
                      <a:pt x="306" y="183"/>
                    </a:lnTo>
                    <a:lnTo>
                      <a:pt x="307" y="184"/>
                    </a:lnTo>
                    <a:lnTo>
                      <a:pt x="309" y="184"/>
                    </a:lnTo>
                    <a:lnTo>
                      <a:pt x="311" y="184"/>
                    </a:lnTo>
                    <a:lnTo>
                      <a:pt x="312" y="183"/>
                    </a:lnTo>
                    <a:lnTo>
                      <a:pt x="314" y="181"/>
                    </a:lnTo>
                    <a:lnTo>
                      <a:pt x="315" y="179"/>
                    </a:lnTo>
                    <a:lnTo>
                      <a:pt x="317" y="179"/>
                    </a:lnTo>
                    <a:lnTo>
                      <a:pt x="317" y="178"/>
                    </a:lnTo>
                    <a:lnTo>
                      <a:pt x="318" y="178"/>
                    </a:lnTo>
                    <a:lnTo>
                      <a:pt x="318" y="176"/>
                    </a:lnTo>
                    <a:lnTo>
                      <a:pt x="318" y="175"/>
                    </a:lnTo>
                    <a:lnTo>
                      <a:pt x="320" y="175"/>
                    </a:lnTo>
                    <a:lnTo>
                      <a:pt x="320" y="173"/>
                    </a:lnTo>
                    <a:lnTo>
                      <a:pt x="322" y="173"/>
                    </a:lnTo>
                    <a:lnTo>
                      <a:pt x="323" y="171"/>
                    </a:lnTo>
                    <a:lnTo>
                      <a:pt x="325" y="171"/>
                    </a:lnTo>
                    <a:lnTo>
                      <a:pt x="326" y="171"/>
                    </a:lnTo>
                    <a:lnTo>
                      <a:pt x="326" y="170"/>
                    </a:lnTo>
                    <a:lnTo>
                      <a:pt x="328" y="170"/>
                    </a:lnTo>
                    <a:lnTo>
                      <a:pt x="328" y="168"/>
                    </a:lnTo>
                    <a:lnTo>
                      <a:pt x="330" y="168"/>
                    </a:lnTo>
                    <a:lnTo>
                      <a:pt x="330" y="167"/>
                    </a:lnTo>
                    <a:lnTo>
                      <a:pt x="331" y="167"/>
                    </a:lnTo>
                    <a:lnTo>
                      <a:pt x="331" y="165"/>
                    </a:lnTo>
                    <a:lnTo>
                      <a:pt x="333" y="165"/>
                    </a:lnTo>
                    <a:lnTo>
                      <a:pt x="333" y="164"/>
                    </a:lnTo>
                    <a:lnTo>
                      <a:pt x="334" y="164"/>
                    </a:lnTo>
                    <a:lnTo>
                      <a:pt x="336" y="162"/>
                    </a:lnTo>
                    <a:lnTo>
                      <a:pt x="337" y="160"/>
                    </a:lnTo>
                    <a:lnTo>
                      <a:pt x="339" y="160"/>
                    </a:lnTo>
                    <a:lnTo>
                      <a:pt x="339" y="159"/>
                    </a:lnTo>
                    <a:lnTo>
                      <a:pt x="341" y="159"/>
                    </a:lnTo>
                    <a:lnTo>
                      <a:pt x="341" y="157"/>
                    </a:lnTo>
                    <a:lnTo>
                      <a:pt x="342" y="157"/>
                    </a:lnTo>
                    <a:lnTo>
                      <a:pt x="344" y="156"/>
                    </a:lnTo>
                    <a:lnTo>
                      <a:pt x="345" y="156"/>
                    </a:lnTo>
                    <a:lnTo>
                      <a:pt x="345" y="154"/>
                    </a:lnTo>
                    <a:lnTo>
                      <a:pt x="347" y="154"/>
                    </a:lnTo>
                    <a:lnTo>
                      <a:pt x="347" y="152"/>
                    </a:lnTo>
                    <a:lnTo>
                      <a:pt x="349" y="152"/>
                    </a:lnTo>
                    <a:lnTo>
                      <a:pt x="350" y="151"/>
                    </a:lnTo>
                    <a:lnTo>
                      <a:pt x="352" y="151"/>
                    </a:lnTo>
                    <a:lnTo>
                      <a:pt x="352" y="149"/>
                    </a:lnTo>
                    <a:lnTo>
                      <a:pt x="353" y="149"/>
                    </a:lnTo>
                    <a:lnTo>
                      <a:pt x="355" y="149"/>
                    </a:lnTo>
                    <a:lnTo>
                      <a:pt x="355" y="148"/>
                    </a:lnTo>
                    <a:lnTo>
                      <a:pt x="356" y="148"/>
                    </a:lnTo>
                    <a:lnTo>
                      <a:pt x="358" y="148"/>
                    </a:lnTo>
                    <a:lnTo>
                      <a:pt x="358" y="146"/>
                    </a:lnTo>
                    <a:lnTo>
                      <a:pt x="360" y="146"/>
                    </a:lnTo>
                    <a:lnTo>
                      <a:pt x="361" y="146"/>
                    </a:lnTo>
                    <a:lnTo>
                      <a:pt x="363" y="146"/>
                    </a:lnTo>
                    <a:lnTo>
                      <a:pt x="363" y="145"/>
                    </a:lnTo>
                    <a:lnTo>
                      <a:pt x="364" y="145"/>
                    </a:lnTo>
                    <a:lnTo>
                      <a:pt x="366" y="145"/>
                    </a:lnTo>
                    <a:lnTo>
                      <a:pt x="368" y="145"/>
                    </a:lnTo>
                    <a:lnTo>
                      <a:pt x="369" y="143"/>
                    </a:lnTo>
                    <a:lnTo>
                      <a:pt x="371" y="143"/>
                    </a:lnTo>
                    <a:lnTo>
                      <a:pt x="372" y="143"/>
                    </a:lnTo>
                    <a:lnTo>
                      <a:pt x="374" y="143"/>
                    </a:lnTo>
                    <a:lnTo>
                      <a:pt x="375" y="143"/>
                    </a:lnTo>
                    <a:lnTo>
                      <a:pt x="377" y="143"/>
                    </a:lnTo>
                    <a:lnTo>
                      <a:pt x="377" y="141"/>
                    </a:lnTo>
                    <a:lnTo>
                      <a:pt x="379" y="141"/>
                    </a:lnTo>
                    <a:lnTo>
                      <a:pt x="380" y="141"/>
                    </a:lnTo>
                    <a:lnTo>
                      <a:pt x="382" y="141"/>
                    </a:lnTo>
                    <a:lnTo>
                      <a:pt x="383" y="141"/>
                    </a:lnTo>
                    <a:lnTo>
                      <a:pt x="385" y="143"/>
                    </a:lnTo>
                    <a:lnTo>
                      <a:pt x="387" y="143"/>
                    </a:lnTo>
                    <a:lnTo>
                      <a:pt x="388" y="143"/>
                    </a:lnTo>
                    <a:lnTo>
                      <a:pt x="388" y="145"/>
                    </a:lnTo>
                    <a:lnTo>
                      <a:pt x="390" y="145"/>
                    </a:lnTo>
                    <a:lnTo>
                      <a:pt x="391" y="145"/>
                    </a:lnTo>
                    <a:lnTo>
                      <a:pt x="391" y="146"/>
                    </a:lnTo>
                    <a:lnTo>
                      <a:pt x="393" y="146"/>
                    </a:lnTo>
                    <a:lnTo>
                      <a:pt x="393" y="148"/>
                    </a:lnTo>
                    <a:lnTo>
                      <a:pt x="394" y="148"/>
                    </a:lnTo>
                    <a:lnTo>
                      <a:pt x="396" y="148"/>
                    </a:lnTo>
                    <a:lnTo>
                      <a:pt x="398" y="148"/>
                    </a:lnTo>
                    <a:lnTo>
                      <a:pt x="399" y="148"/>
                    </a:lnTo>
                    <a:lnTo>
                      <a:pt x="401" y="148"/>
                    </a:lnTo>
                    <a:lnTo>
                      <a:pt x="402" y="148"/>
                    </a:lnTo>
                    <a:lnTo>
                      <a:pt x="402" y="149"/>
                    </a:lnTo>
                    <a:lnTo>
                      <a:pt x="404" y="149"/>
                    </a:lnTo>
                    <a:lnTo>
                      <a:pt x="406" y="149"/>
                    </a:lnTo>
                    <a:lnTo>
                      <a:pt x="407" y="151"/>
                    </a:lnTo>
                    <a:lnTo>
                      <a:pt x="409" y="151"/>
                    </a:lnTo>
                    <a:lnTo>
                      <a:pt x="409" y="152"/>
                    </a:lnTo>
                    <a:lnTo>
                      <a:pt x="410" y="152"/>
                    </a:lnTo>
                    <a:lnTo>
                      <a:pt x="412" y="154"/>
                    </a:lnTo>
                    <a:lnTo>
                      <a:pt x="413" y="154"/>
                    </a:lnTo>
                    <a:lnTo>
                      <a:pt x="415" y="156"/>
                    </a:lnTo>
                    <a:lnTo>
                      <a:pt x="417" y="156"/>
                    </a:lnTo>
                    <a:lnTo>
                      <a:pt x="417" y="157"/>
                    </a:lnTo>
                    <a:lnTo>
                      <a:pt x="418" y="157"/>
                    </a:lnTo>
                    <a:lnTo>
                      <a:pt x="418" y="159"/>
                    </a:lnTo>
                    <a:lnTo>
                      <a:pt x="420" y="159"/>
                    </a:lnTo>
                    <a:lnTo>
                      <a:pt x="420" y="160"/>
                    </a:lnTo>
                    <a:lnTo>
                      <a:pt x="421" y="160"/>
                    </a:lnTo>
                    <a:lnTo>
                      <a:pt x="423" y="160"/>
                    </a:lnTo>
                    <a:lnTo>
                      <a:pt x="425" y="162"/>
                    </a:lnTo>
                    <a:lnTo>
                      <a:pt x="426" y="162"/>
                    </a:lnTo>
                    <a:lnTo>
                      <a:pt x="428" y="162"/>
                    </a:lnTo>
                    <a:lnTo>
                      <a:pt x="428" y="164"/>
                    </a:lnTo>
                    <a:lnTo>
                      <a:pt x="429" y="164"/>
                    </a:lnTo>
                    <a:lnTo>
                      <a:pt x="431" y="165"/>
                    </a:lnTo>
                    <a:lnTo>
                      <a:pt x="432" y="165"/>
                    </a:lnTo>
                    <a:lnTo>
                      <a:pt x="434" y="165"/>
                    </a:lnTo>
                    <a:lnTo>
                      <a:pt x="436" y="167"/>
                    </a:lnTo>
                    <a:lnTo>
                      <a:pt x="437" y="167"/>
                    </a:lnTo>
                    <a:lnTo>
                      <a:pt x="439" y="167"/>
                    </a:lnTo>
                    <a:lnTo>
                      <a:pt x="440" y="167"/>
                    </a:lnTo>
                    <a:lnTo>
                      <a:pt x="442" y="167"/>
                    </a:lnTo>
                    <a:lnTo>
                      <a:pt x="444" y="167"/>
                    </a:lnTo>
                    <a:lnTo>
                      <a:pt x="445" y="167"/>
                    </a:lnTo>
                    <a:lnTo>
                      <a:pt x="445" y="165"/>
                    </a:lnTo>
                    <a:lnTo>
                      <a:pt x="447" y="165"/>
                    </a:lnTo>
                    <a:lnTo>
                      <a:pt x="447" y="164"/>
                    </a:lnTo>
                    <a:lnTo>
                      <a:pt x="447" y="162"/>
                    </a:lnTo>
                    <a:lnTo>
                      <a:pt x="447" y="160"/>
                    </a:lnTo>
                    <a:lnTo>
                      <a:pt x="448" y="160"/>
                    </a:lnTo>
                    <a:lnTo>
                      <a:pt x="448" y="159"/>
                    </a:lnTo>
                    <a:lnTo>
                      <a:pt x="450" y="159"/>
                    </a:lnTo>
                    <a:lnTo>
                      <a:pt x="450" y="157"/>
                    </a:lnTo>
                    <a:lnTo>
                      <a:pt x="451" y="156"/>
                    </a:lnTo>
                    <a:lnTo>
                      <a:pt x="451" y="154"/>
                    </a:lnTo>
                    <a:lnTo>
                      <a:pt x="453" y="154"/>
                    </a:lnTo>
                    <a:lnTo>
                      <a:pt x="453" y="152"/>
                    </a:lnTo>
                    <a:lnTo>
                      <a:pt x="455" y="152"/>
                    </a:lnTo>
                    <a:lnTo>
                      <a:pt x="456" y="151"/>
                    </a:lnTo>
                    <a:lnTo>
                      <a:pt x="458" y="151"/>
                    </a:lnTo>
                    <a:lnTo>
                      <a:pt x="459" y="151"/>
                    </a:lnTo>
                    <a:lnTo>
                      <a:pt x="459" y="149"/>
                    </a:lnTo>
                    <a:lnTo>
                      <a:pt x="459" y="148"/>
                    </a:lnTo>
                    <a:lnTo>
                      <a:pt x="459" y="146"/>
                    </a:lnTo>
                    <a:lnTo>
                      <a:pt x="458" y="146"/>
                    </a:lnTo>
                    <a:lnTo>
                      <a:pt x="459" y="145"/>
                    </a:lnTo>
                    <a:lnTo>
                      <a:pt x="459" y="143"/>
                    </a:lnTo>
                    <a:lnTo>
                      <a:pt x="459" y="141"/>
                    </a:lnTo>
                    <a:lnTo>
                      <a:pt x="461" y="141"/>
                    </a:lnTo>
                    <a:lnTo>
                      <a:pt x="461" y="140"/>
                    </a:lnTo>
                    <a:lnTo>
                      <a:pt x="459" y="138"/>
                    </a:lnTo>
                    <a:lnTo>
                      <a:pt x="459" y="137"/>
                    </a:lnTo>
                    <a:lnTo>
                      <a:pt x="458" y="137"/>
                    </a:lnTo>
                    <a:lnTo>
                      <a:pt x="456" y="135"/>
                    </a:lnTo>
                    <a:lnTo>
                      <a:pt x="455" y="133"/>
                    </a:lnTo>
                    <a:lnTo>
                      <a:pt x="455" y="132"/>
                    </a:lnTo>
                    <a:lnTo>
                      <a:pt x="456" y="132"/>
                    </a:lnTo>
                    <a:lnTo>
                      <a:pt x="456" y="130"/>
                    </a:lnTo>
                    <a:lnTo>
                      <a:pt x="456" y="129"/>
                    </a:lnTo>
                    <a:lnTo>
                      <a:pt x="456" y="127"/>
                    </a:lnTo>
                    <a:lnTo>
                      <a:pt x="458" y="125"/>
                    </a:lnTo>
                    <a:lnTo>
                      <a:pt x="458" y="124"/>
                    </a:lnTo>
                    <a:lnTo>
                      <a:pt x="458" y="122"/>
                    </a:lnTo>
                    <a:lnTo>
                      <a:pt x="458" y="121"/>
                    </a:lnTo>
                    <a:lnTo>
                      <a:pt x="459" y="121"/>
                    </a:lnTo>
                    <a:lnTo>
                      <a:pt x="459" y="119"/>
                    </a:lnTo>
                    <a:lnTo>
                      <a:pt x="459" y="118"/>
                    </a:lnTo>
                    <a:lnTo>
                      <a:pt x="461" y="116"/>
                    </a:lnTo>
                    <a:lnTo>
                      <a:pt x="461" y="114"/>
                    </a:lnTo>
                    <a:lnTo>
                      <a:pt x="461" y="113"/>
                    </a:lnTo>
                    <a:lnTo>
                      <a:pt x="461" y="111"/>
                    </a:lnTo>
                    <a:lnTo>
                      <a:pt x="463" y="111"/>
                    </a:lnTo>
                    <a:lnTo>
                      <a:pt x="463" y="110"/>
                    </a:lnTo>
                    <a:lnTo>
                      <a:pt x="463" y="108"/>
                    </a:lnTo>
                    <a:lnTo>
                      <a:pt x="464" y="108"/>
                    </a:lnTo>
                    <a:lnTo>
                      <a:pt x="464" y="106"/>
                    </a:lnTo>
                    <a:lnTo>
                      <a:pt x="466" y="106"/>
                    </a:lnTo>
                    <a:lnTo>
                      <a:pt x="467" y="106"/>
                    </a:lnTo>
                    <a:lnTo>
                      <a:pt x="471" y="108"/>
                    </a:lnTo>
                    <a:lnTo>
                      <a:pt x="475" y="106"/>
                    </a:lnTo>
                    <a:lnTo>
                      <a:pt x="477" y="105"/>
                    </a:lnTo>
                    <a:lnTo>
                      <a:pt x="480" y="103"/>
                    </a:lnTo>
                    <a:lnTo>
                      <a:pt x="482" y="102"/>
                    </a:lnTo>
                    <a:lnTo>
                      <a:pt x="483" y="100"/>
                    </a:lnTo>
                    <a:lnTo>
                      <a:pt x="483" y="97"/>
                    </a:lnTo>
                    <a:lnTo>
                      <a:pt x="485" y="97"/>
                    </a:lnTo>
                    <a:lnTo>
                      <a:pt x="486" y="97"/>
                    </a:lnTo>
                    <a:lnTo>
                      <a:pt x="486" y="99"/>
                    </a:lnTo>
                    <a:lnTo>
                      <a:pt x="488" y="97"/>
                    </a:lnTo>
                    <a:lnTo>
                      <a:pt x="490" y="97"/>
                    </a:lnTo>
                    <a:lnTo>
                      <a:pt x="491" y="97"/>
                    </a:lnTo>
                    <a:lnTo>
                      <a:pt x="491" y="99"/>
                    </a:lnTo>
                    <a:lnTo>
                      <a:pt x="491" y="100"/>
                    </a:lnTo>
                    <a:lnTo>
                      <a:pt x="493" y="100"/>
                    </a:lnTo>
                    <a:lnTo>
                      <a:pt x="493" y="102"/>
                    </a:lnTo>
                    <a:lnTo>
                      <a:pt x="493" y="103"/>
                    </a:lnTo>
                    <a:lnTo>
                      <a:pt x="494" y="103"/>
                    </a:lnTo>
                    <a:lnTo>
                      <a:pt x="494" y="105"/>
                    </a:lnTo>
                    <a:lnTo>
                      <a:pt x="496" y="105"/>
                    </a:lnTo>
                    <a:lnTo>
                      <a:pt x="497" y="105"/>
                    </a:lnTo>
                    <a:lnTo>
                      <a:pt x="499" y="105"/>
                    </a:lnTo>
                    <a:lnTo>
                      <a:pt x="501" y="105"/>
                    </a:lnTo>
                    <a:lnTo>
                      <a:pt x="501" y="106"/>
                    </a:lnTo>
                    <a:lnTo>
                      <a:pt x="502" y="106"/>
                    </a:lnTo>
                    <a:lnTo>
                      <a:pt x="502" y="108"/>
                    </a:lnTo>
                    <a:lnTo>
                      <a:pt x="502" y="110"/>
                    </a:lnTo>
                    <a:lnTo>
                      <a:pt x="502" y="111"/>
                    </a:lnTo>
                    <a:lnTo>
                      <a:pt x="502" y="113"/>
                    </a:lnTo>
                    <a:lnTo>
                      <a:pt x="504" y="113"/>
                    </a:lnTo>
                    <a:lnTo>
                      <a:pt x="504" y="114"/>
                    </a:lnTo>
                    <a:lnTo>
                      <a:pt x="504" y="116"/>
                    </a:lnTo>
                    <a:lnTo>
                      <a:pt x="504" y="118"/>
                    </a:lnTo>
                    <a:lnTo>
                      <a:pt x="504" y="119"/>
                    </a:lnTo>
                    <a:lnTo>
                      <a:pt x="505" y="121"/>
                    </a:lnTo>
                    <a:lnTo>
                      <a:pt x="505" y="122"/>
                    </a:lnTo>
                    <a:lnTo>
                      <a:pt x="507" y="122"/>
                    </a:lnTo>
                    <a:lnTo>
                      <a:pt x="507" y="124"/>
                    </a:lnTo>
                    <a:lnTo>
                      <a:pt x="507" y="125"/>
                    </a:lnTo>
                    <a:lnTo>
                      <a:pt x="505" y="125"/>
                    </a:lnTo>
                    <a:lnTo>
                      <a:pt x="505" y="127"/>
                    </a:lnTo>
                    <a:lnTo>
                      <a:pt x="505" y="129"/>
                    </a:lnTo>
                    <a:lnTo>
                      <a:pt x="505" y="130"/>
                    </a:lnTo>
                    <a:lnTo>
                      <a:pt x="504" y="130"/>
                    </a:lnTo>
                    <a:lnTo>
                      <a:pt x="504" y="132"/>
                    </a:lnTo>
                    <a:lnTo>
                      <a:pt x="504" y="133"/>
                    </a:lnTo>
                    <a:lnTo>
                      <a:pt x="505" y="133"/>
                    </a:lnTo>
                    <a:lnTo>
                      <a:pt x="507" y="133"/>
                    </a:lnTo>
                    <a:lnTo>
                      <a:pt x="507" y="132"/>
                    </a:lnTo>
                    <a:lnTo>
                      <a:pt x="509" y="132"/>
                    </a:lnTo>
                    <a:lnTo>
                      <a:pt x="510" y="132"/>
                    </a:lnTo>
                    <a:lnTo>
                      <a:pt x="512" y="132"/>
                    </a:lnTo>
                    <a:lnTo>
                      <a:pt x="513" y="132"/>
                    </a:lnTo>
                    <a:lnTo>
                      <a:pt x="513" y="130"/>
                    </a:lnTo>
                    <a:lnTo>
                      <a:pt x="515" y="130"/>
                    </a:lnTo>
                    <a:lnTo>
                      <a:pt x="516" y="130"/>
                    </a:lnTo>
                    <a:lnTo>
                      <a:pt x="518" y="130"/>
                    </a:lnTo>
                    <a:lnTo>
                      <a:pt x="520" y="130"/>
                    </a:lnTo>
                    <a:lnTo>
                      <a:pt x="521" y="130"/>
                    </a:lnTo>
                    <a:lnTo>
                      <a:pt x="521" y="129"/>
                    </a:lnTo>
                    <a:lnTo>
                      <a:pt x="523" y="129"/>
                    </a:lnTo>
                    <a:lnTo>
                      <a:pt x="524" y="129"/>
                    </a:lnTo>
                    <a:lnTo>
                      <a:pt x="526" y="129"/>
                    </a:lnTo>
                    <a:lnTo>
                      <a:pt x="528" y="127"/>
                    </a:lnTo>
                    <a:lnTo>
                      <a:pt x="529" y="127"/>
                    </a:lnTo>
                    <a:lnTo>
                      <a:pt x="529" y="125"/>
                    </a:lnTo>
                    <a:lnTo>
                      <a:pt x="531" y="125"/>
                    </a:lnTo>
                    <a:lnTo>
                      <a:pt x="532" y="125"/>
                    </a:lnTo>
                    <a:lnTo>
                      <a:pt x="534" y="124"/>
                    </a:lnTo>
                    <a:lnTo>
                      <a:pt x="535" y="124"/>
                    </a:lnTo>
                    <a:lnTo>
                      <a:pt x="537" y="124"/>
                    </a:lnTo>
                    <a:lnTo>
                      <a:pt x="539" y="124"/>
                    </a:lnTo>
                    <a:lnTo>
                      <a:pt x="540" y="124"/>
                    </a:lnTo>
                    <a:lnTo>
                      <a:pt x="540" y="122"/>
                    </a:lnTo>
                    <a:lnTo>
                      <a:pt x="542" y="122"/>
                    </a:lnTo>
                    <a:lnTo>
                      <a:pt x="543" y="122"/>
                    </a:lnTo>
                    <a:lnTo>
                      <a:pt x="545" y="122"/>
                    </a:lnTo>
                    <a:lnTo>
                      <a:pt x="545" y="121"/>
                    </a:lnTo>
                    <a:lnTo>
                      <a:pt x="547" y="121"/>
                    </a:lnTo>
                    <a:lnTo>
                      <a:pt x="548" y="121"/>
                    </a:lnTo>
                    <a:lnTo>
                      <a:pt x="548" y="119"/>
                    </a:lnTo>
                    <a:lnTo>
                      <a:pt x="550" y="119"/>
                    </a:lnTo>
                    <a:lnTo>
                      <a:pt x="551" y="119"/>
                    </a:lnTo>
                    <a:lnTo>
                      <a:pt x="551" y="118"/>
                    </a:lnTo>
                    <a:lnTo>
                      <a:pt x="553" y="118"/>
                    </a:lnTo>
                    <a:lnTo>
                      <a:pt x="554" y="118"/>
                    </a:lnTo>
                    <a:lnTo>
                      <a:pt x="556" y="116"/>
                    </a:lnTo>
                    <a:lnTo>
                      <a:pt x="554" y="116"/>
                    </a:lnTo>
                    <a:lnTo>
                      <a:pt x="554" y="114"/>
                    </a:lnTo>
                    <a:lnTo>
                      <a:pt x="554" y="113"/>
                    </a:lnTo>
                    <a:lnTo>
                      <a:pt x="553" y="113"/>
                    </a:lnTo>
                    <a:lnTo>
                      <a:pt x="553" y="111"/>
                    </a:lnTo>
                    <a:lnTo>
                      <a:pt x="553" y="110"/>
                    </a:lnTo>
                    <a:lnTo>
                      <a:pt x="553" y="108"/>
                    </a:lnTo>
                    <a:lnTo>
                      <a:pt x="553" y="106"/>
                    </a:lnTo>
                    <a:lnTo>
                      <a:pt x="551" y="106"/>
                    </a:lnTo>
                    <a:lnTo>
                      <a:pt x="551" y="105"/>
                    </a:lnTo>
                    <a:lnTo>
                      <a:pt x="550" y="105"/>
                    </a:lnTo>
                    <a:lnTo>
                      <a:pt x="548" y="103"/>
                    </a:lnTo>
                    <a:lnTo>
                      <a:pt x="547" y="103"/>
                    </a:lnTo>
                    <a:lnTo>
                      <a:pt x="545" y="103"/>
                    </a:lnTo>
                    <a:lnTo>
                      <a:pt x="543" y="103"/>
                    </a:lnTo>
                    <a:lnTo>
                      <a:pt x="542" y="103"/>
                    </a:lnTo>
                    <a:lnTo>
                      <a:pt x="540" y="105"/>
                    </a:lnTo>
                    <a:lnTo>
                      <a:pt x="539" y="105"/>
                    </a:lnTo>
                    <a:lnTo>
                      <a:pt x="537" y="105"/>
                    </a:lnTo>
                    <a:lnTo>
                      <a:pt x="537" y="103"/>
                    </a:lnTo>
                    <a:lnTo>
                      <a:pt x="537" y="102"/>
                    </a:lnTo>
                    <a:lnTo>
                      <a:pt x="535" y="100"/>
                    </a:lnTo>
                    <a:lnTo>
                      <a:pt x="535" y="99"/>
                    </a:lnTo>
                    <a:lnTo>
                      <a:pt x="534" y="97"/>
                    </a:lnTo>
                    <a:lnTo>
                      <a:pt x="532" y="95"/>
                    </a:lnTo>
                    <a:lnTo>
                      <a:pt x="531" y="95"/>
                    </a:lnTo>
                    <a:lnTo>
                      <a:pt x="531" y="94"/>
                    </a:lnTo>
                    <a:lnTo>
                      <a:pt x="529" y="94"/>
                    </a:lnTo>
                    <a:lnTo>
                      <a:pt x="529" y="95"/>
                    </a:lnTo>
                    <a:lnTo>
                      <a:pt x="528" y="95"/>
                    </a:lnTo>
                    <a:lnTo>
                      <a:pt x="528" y="94"/>
                    </a:lnTo>
                    <a:lnTo>
                      <a:pt x="528" y="92"/>
                    </a:lnTo>
                    <a:lnTo>
                      <a:pt x="528" y="91"/>
                    </a:lnTo>
                    <a:lnTo>
                      <a:pt x="526" y="91"/>
                    </a:lnTo>
                    <a:lnTo>
                      <a:pt x="526" y="89"/>
                    </a:lnTo>
                    <a:lnTo>
                      <a:pt x="524" y="87"/>
                    </a:lnTo>
                    <a:lnTo>
                      <a:pt x="524" y="86"/>
                    </a:lnTo>
                    <a:lnTo>
                      <a:pt x="523" y="86"/>
                    </a:lnTo>
                    <a:lnTo>
                      <a:pt x="523" y="84"/>
                    </a:lnTo>
                    <a:lnTo>
                      <a:pt x="523" y="83"/>
                    </a:lnTo>
                    <a:lnTo>
                      <a:pt x="524" y="83"/>
                    </a:lnTo>
                    <a:lnTo>
                      <a:pt x="526" y="83"/>
                    </a:lnTo>
                    <a:lnTo>
                      <a:pt x="526" y="81"/>
                    </a:lnTo>
                    <a:lnTo>
                      <a:pt x="528" y="81"/>
                    </a:lnTo>
                    <a:lnTo>
                      <a:pt x="529" y="81"/>
                    </a:lnTo>
                    <a:lnTo>
                      <a:pt x="531" y="80"/>
                    </a:lnTo>
                    <a:lnTo>
                      <a:pt x="532" y="80"/>
                    </a:lnTo>
                    <a:lnTo>
                      <a:pt x="532" y="78"/>
                    </a:lnTo>
                    <a:lnTo>
                      <a:pt x="532" y="76"/>
                    </a:lnTo>
                    <a:lnTo>
                      <a:pt x="532" y="75"/>
                    </a:lnTo>
                    <a:lnTo>
                      <a:pt x="531" y="75"/>
                    </a:lnTo>
                    <a:lnTo>
                      <a:pt x="531" y="73"/>
                    </a:lnTo>
                    <a:lnTo>
                      <a:pt x="531" y="72"/>
                    </a:lnTo>
                    <a:lnTo>
                      <a:pt x="532" y="72"/>
                    </a:lnTo>
                    <a:lnTo>
                      <a:pt x="534" y="72"/>
                    </a:lnTo>
                    <a:lnTo>
                      <a:pt x="535" y="72"/>
                    </a:lnTo>
                    <a:lnTo>
                      <a:pt x="537" y="72"/>
                    </a:lnTo>
                    <a:lnTo>
                      <a:pt x="539" y="72"/>
                    </a:lnTo>
                    <a:lnTo>
                      <a:pt x="540" y="72"/>
                    </a:lnTo>
                    <a:lnTo>
                      <a:pt x="542" y="72"/>
                    </a:lnTo>
                    <a:lnTo>
                      <a:pt x="543" y="70"/>
                    </a:lnTo>
                    <a:lnTo>
                      <a:pt x="543" y="68"/>
                    </a:lnTo>
                    <a:lnTo>
                      <a:pt x="543" y="67"/>
                    </a:lnTo>
                    <a:lnTo>
                      <a:pt x="543" y="65"/>
                    </a:lnTo>
                    <a:lnTo>
                      <a:pt x="543" y="64"/>
                    </a:lnTo>
                    <a:lnTo>
                      <a:pt x="545" y="64"/>
                    </a:lnTo>
                    <a:lnTo>
                      <a:pt x="545" y="62"/>
                    </a:lnTo>
                    <a:lnTo>
                      <a:pt x="545" y="61"/>
                    </a:lnTo>
                    <a:lnTo>
                      <a:pt x="547" y="59"/>
                    </a:lnTo>
                    <a:lnTo>
                      <a:pt x="547" y="57"/>
                    </a:lnTo>
                    <a:lnTo>
                      <a:pt x="548" y="57"/>
                    </a:lnTo>
                    <a:lnTo>
                      <a:pt x="548" y="56"/>
                    </a:lnTo>
                    <a:lnTo>
                      <a:pt x="548" y="54"/>
                    </a:lnTo>
                    <a:lnTo>
                      <a:pt x="548" y="53"/>
                    </a:lnTo>
                    <a:lnTo>
                      <a:pt x="548" y="51"/>
                    </a:lnTo>
                    <a:lnTo>
                      <a:pt x="548" y="49"/>
                    </a:lnTo>
                    <a:lnTo>
                      <a:pt x="548" y="48"/>
                    </a:lnTo>
                    <a:lnTo>
                      <a:pt x="548" y="46"/>
                    </a:lnTo>
                    <a:lnTo>
                      <a:pt x="548" y="45"/>
                    </a:lnTo>
                    <a:lnTo>
                      <a:pt x="548" y="43"/>
                    </a:lnTo>
                    <a:lnTo>
                      <a:pt x="548" y="42"/>
                    </a:lnTo>
                    <a:lnTo>
                      <a:pt x="547" y="42"/>
                    </a:lnTo>
                    <a:lnTo>
                      <a:pt x="547" y="40"/>
                    </a:lnTo>
                    <a:lnTo>
                      <a:pt x="547" y="38"/>
                    </a:lnTo>
                    <a:lnTo>
                      <a:pt x="547" y="37"/>
                    </a:lnTo>
                    <a:lnTo>
                      <a:pt x="545" y="37"/>
                    </a:lnTo>
                    <a:lnTo>
                      <a:pt x="545" y="35"/>
                    </a:lnTo>
                    <a:lnTo>
                      <a:pt x="545" y="34"/>
                    </a:lnTo>
                    <a:lnTo>
                      <a:pt x="545" y="32"/>
                    </a:lnTo>
                    <a:lnTo>
                      <a:pt x="543" y="32"/>
                    </a:lnTo>
                    <a:lnTo>
                      <a:pt x="543" y="30"/>
                    </a:lnTo>
                    <a:lnTo>
                      <a:pt x="545" y="30"/>
                    </a:lnTo>
                    <a:lnTo>
                      <a:pt x="545" y="29"/>
                    </a:lnTo>
                    <a:lnTo>
                      <a:pt x="547" y="30"/>
                    </a:lnTo>
                    <a:lnTo>
                      <a:pt x="548" y="30"/>
                    </a:lnTo>
                    <a:lnTo>
                      <a:pt x="550" y="30"/>
                    </a:lnTo>
                    <a:lnTo>
                      <a:pt x="551" y="30"/>
                    </a:lnTo>
                    <a:lnTo>
                      <a:pt x="553" y="30"/>
                    </a:lnTo>
                    <a:lnTo>
                      <a:pt x="554" y="30"/>
                    </a:lnTo>
                    <a:lnTo>
                      <a:pt x="556" y="30"/>
                    </a:lnTo>
                    <a:lnTo>
                      <a:pt x="556" y="29"/>
                    </a:lnTo>
                    <a:lnTo>
                      <a:pt x="558" y="29"/>
                    </a:lnTo>
                    <a:lnTo>
                      <a:pt x="559" y="29"/>
                    </a:lnTo>
                    <a:lnTo>
                      <a:pt x="561" y="29"/>
                    </a:lnTo>
                    <a:lnTo>
                      <a:pt x="562" y="29"/>
                    </a:lnTo>
                    <a:lnTo>
                      <a:pt x="564" y="29"/>
                    </a:lnTo>
                    <a:lnTo>
                      <a:pt x="564" y="27"/>
                    </a:lnTo>
                    <a:lnTo>
                      <a:pt x="566" y="27"/>
                    </a:lnTo>
                    <a:lnTo>
                      <a:pt x="567" y="27"/>
                    </a:lnTo>
                    <a:lnTo>
                      <a:pt x="569" y="26"/>
                    </a:lnTo>
                    <a:lnTo>
                      <a:pt x="570" y="26"/>
                    </a:lnTo>
                    <a:lnTo>
                      <a:pt x="572" y="26"/>
                    </a:lnTo>
                    <a:lnTo>
                      <a:pt x="573" y="26"/>
                    </a:lnTo>
                    <a:lnTo>
                      <a:pt x="573" y="24"/>
                    </a:lnTo>
                    <a:lnTo>
                      <a:pt x="575" y="24"/>
                    </a:lnTo>
                    <a:lnTo>
                      <a:pt x="577" y="24"/>
                    </a:lnTo>
                    <a:lnTo>
                      <a:pt x="578" y="23"/>
                    </a:lnTo>
                    <a:lnTo>
                      <a:pt x="580" y="23"/>
                    </a:lnTo>
                    <a:lnTo>
                      <a:pt x="580" y="21"/>
                    </a:lnTo>
                    <a:lnTo>
                      <a:pt x="581" y="21"/>
                    </a:lnTo>
                    <a:lnTo>
                      <a:pt x="583" y="21"/>
                    </a:lnTo>
                    <a:lnTo>
                      <a:pt x="583" y="19"/>
                    </a:lnTo>
                    <a:lnTo>
                      <a:pt x="585" y="19"/>
                    </a:lnTo>
                    <a:lnTo>
                      <a:pt x="585" y="18"/>
                    </a:lnTo>
                    <a:lnTo>
                      <a:pt x="586" y="18"/>
                    </a:lnTo>
                    <a:lnTo>
                      <a:pt x="586" y="16"/>
                    </a:lnTo>
                    <a:lnTo>
                      <a:pt x="588" y="15"/>
                    </a:lnTo>
                    <a:lnTo>
                      <a:pt x="588" y="13"/>
                    </a:lnTo>
                    <a:lnTo>
                      <a:pt x="589" y="13"/>
                    </a:lnTo>
                    <a:lnTo>
                      <a:pt x="589" y="11"/>
                    </a:lnTo>
                    <a:lnTo>
                      <a:pt x="591" y="11"/>
                    </a:lnTo>
                    <a:lnTo>
                      <a:pt x="592" y="11"/>
                    </a:lnTo>
                    <a:lnTo>
                      <a:pt x="594" y="11"/>
                    </a:lnTo>
                    <a:lnTo>
                      <a:pt x="596" y="11"/>
                    </a:lnTo>
                    <a:lnTo>
                      <a:pt x="597" y="11"/>
                    </a:lnTo>
                    <a:lnTo>
                      <a:pt x="599" y="11"/>
                    </a:lnTo>
                    <a:lnTo>
                      <a:pt x="600" y="11"/>
                    </a:lnTo>
                    <a:lnTo>
                      <a:pt x="602" y="11"/>
                    </a:lnTo>
                    <a:lnTo>
                      <a:pt x="602" y="13"/>
                    </a:lnTo>
                    <a:lnTo>
                      <a:pt x="604" y="13"/>
                    </a:lnTo>
                    <a:lnTo>
                      <a:pt x="605" y="13"/>
                    </a:lnTo>
                    <a:lnTo>
                      <a:pt x="607" y="15"/>
                    </a:lnTo>
                    <a:lnTo>
                      <a:pt x="608" y="15"/>
                    </a:lnTo>
                    <a:lnTo>
                      <a:pt x="608" y="16"/>
                    </a:lnTo>
                    <a:lnTo>
                      <a:pt x="610" y="16"/>
                    </a:lnTo>
                    <a:lnTo>
                      <a:pt x="611" y="16"/>
                    </a:lnTo>
                    <a:lnTo>
                      <a:pt x="613" y="16"/>
                    </a:lnTo>
                    <a:lnTo>
                      <a:pt x="615" y="16"/>
                    </a:lnTo>
                    <a:lnTo>
                      <a:pt x="616" y="16"/>
                    </a:lnTo>
                    <a:lnTo>
                      <a:pt x="618" y="16"/>
                    </a:lnTo>
                    <a:lnTo>
                      <a:pt x="619" y="16"/>
                    </a:lnTo>
                    <a:lnTo>
                      <a:pt x="621" y="15"/>
                    </a:lnTo>
                    <a:lnTo>
                      <a:pt x="623" y="15"/>
                    </a:lnTo>
                    <a:lnTo>
                      <a:pt x="624" y="13"/>
                    </a:lnTo>
                    <a:lnTo>
                      <a:pt x="626" y="13"/>
                    </a:lnTo>
                    <a:lnTo>
                      <a:pt x="627" y="13"/>
                    </a:lnTo>
                    <a:lnTo>
                      <a:pt x="629" y="13"/>
                    </a:lnTo>
                    <a:lnTo>
                      <a:pt x="629" y="11"/>
                    </a:lnTo>
                    <a:lnTo>
                      <a:pt x="630" y="11"/>
                    </a:lnTo>
                    <a:lnTo>
                      <a:pt x="632" y="11"/>
                    </a:lnTo>
                    <a:lnTo>
                      <a:pt x="632" y="10"/>
                    </a:lnTo>
                    <a:lnTo>
                      <a:pt x="634" y="10"/>
                    </a:lnTo>
                    <a:lnTo>
                      <a:pt x="635" y="8"/>
                    </a:lnTo>
                    <a:lnTo>
                      <a:pt x="637" y="7"/>
                    </a:lnTo>
                    <a:lnTo>
                      <a:pt x="638" y="8"/>
                    </a:lnTo>
                    <a:lnTo>
                      <a:pt x="640" y="8"/>
                    </a:lnTo>
                    <a:lnTo>
                      <a:pt x="642" y="10"/>
                    </a:lnTo>
                    <a:lnTo>
                      <a:pt x="642" y="11"/>
                    </a:lnTo>
                    <a:lnTo>
                      <a:pt x="643" y="11"/>
                    </a:lnTo>
                    <a:lnTo>
                      <a:pt x="645" y="11"/>
                    </a:lnTo>
                    <a:lnTo>
                      <a:pt x="645" y="13"/>
                    </a:lnTo>
                    <a:lnTo>
                      <a:pt x="645" y="15"/>
                    </a:lnTo>
                    <a:lnTo>
                      <a:pt x="646" y="15"/>
                    </a:lnTo>
                    <a:lnTo>
                      <a:pt x="646" y="16"/>
                    </a:lnTo>
                    <a:lnTo>
                      <a:pt x="646" y="18"/>
                    </a:lnTo>
                    <a:lnTo>
                      <a:pt x="646" y="19"/>
                    </a:lnTo>
                    <a:lnTo>
                      <a:pt x="648" y="21"/>
                    </a:lnTo>
                    <a:lnTo>
                      <a:pt x="650" y="21"/>
                    </a:lnTo>
                    <a:lnTo>
                      <a:pt x="651" y="23"/>
                    </a:lnTo>
                    <a:lnTo>
                      <a:pt x="653" y="23"/>
                    </a:lnTo>
                    <a:lnTo>
                      <a:pt x="653" y="24"/>
                    </a:lnTo>
                    <a:lnTo>
                      <a:pt x="654" y="24"/>
                    </a:lnTo>
                    <a:lnTo>
                      <a:pt x="656" y="26"/>
                    </a:lnTo>
                    <a:lnTo>
                      <a:pt x="657" y="26"/>
                    </a:lnTo>
                    <a:lnTo>
                      <a:pt x="659" y="26"/>
                    </a:lnTo>
                    <a:lnTo>
                      <a:pt x="659" y="27"/>
                    </a:lnTo>
                    <a:lnTo>
                      <a:pt x="661" y="29"/>
                    </a:lnTo>
                    <a:lnTo>
                      <a:pt x="662" y="29"/>
                    </a:lnTo>
                    <a:lnTo>
                      <a:pt x="664" y="29"/>
                    </a:lnTo>
                    <a:lnTo>
                      <a:pt x="665" y="29"/>
                    </a:lnTo>
                    <a:lnTo>
                      <a:pt x="667" y="29"/>
                    </a:lnTo>
                    <a:lnTo>
                      <a:pt x="669" y="29"/>
                    </a:lnTo>
                    <a:lnTo>
                      <a:pt x="670" y="29"/>
                    </a:lnTo>
                    <a:lnTo>
                      <a:pt x="672" y="29"/>
                    </a:lnTo>
                    <a:lnTo>
                      <a:pt x="673" y="29"/>
                    </a:lnTo>
                    <a:lnTo>
                      <a:pt x="675" y="29"/>
                    </a:lnTo>
                    <a:lnTo>
                      <a:pt x="676" y="29"/>
                    </a:lnTo>
                    <a:lnTo>
                      <a:pt x="678" y="27"/>
                    </a:lnTo>
                    <a:lnTo>
                      <a:pt x="680" y="27"/>
                    </a:lnTo>
                    <a:lnTo>
                      <a:pt x="681" y="27"/>
                    </a:lnTo>
                    <a:lnTo>
                      <a:pt x="683" y="27"/>
                    </a:lnTo>
                    <a:lnTo>
                      <a:pt x="684" y="29"/>
                    </a:lnTo>
                    <a:lnTo>
                      <a:pt x="686" y="27"/>
                    </a:lnTo>
                    <a:lnTo>
                      <a:pt x="688" y="27"/>
                    </a:lnTo>
                    <a:lnTo>
                      <a:pt x="689" y="27"/>
                    </a:lnTo>
                    <a:lnTo>
                      <a:pt x="689" y="29"/>
                    </a:lnTo>
                    <a:lnTo>
                      <a:pt x="691" y="29"/>
                    </a:lnTo>
                    <a:lnTo>
                      <a:pt x="692" y="27"/>
                    </a:lnTo>
                    <a:lnTo>
                      <a:pt x="692" y="29"/>
                    </a:lnTo>
                    <a:lnTo>
                      <a:pt x="694" y="29"/>
                    </a:lnTo>
                    <a:lnTo>
                      <a:pt x="694" y="27"/>
                    </a:lnTo>
                    <a:lnTo>
                      <a:pt x="695" y="27"/>
                    </a:lnTo>
                    <a:lnTo>
                      <a:pt x="697" y="27"/>
                    </a:lnTo>
                    <a:lnTo>
                      <a:pt x="699" y="27"/>
                    </a:lnTo>
                    <a:lnTo>
                      <a:pt x="699" y="26"/>
                    </a:lnTo>
                    <a:lnTo>
                      <a:pt x="700" y="26"/>
                    </a:lnTo>
                    <a:lnTo>
                      <a:pt x="700" y="24"/>
                    </a:lnTo>
                    <a:lnTo>
                      <a:pt x="702" y="24"/>
                    </a:lnTo>
                    <a:lnTo>
                      <a:pt x="703" y="26"/>
                    </a:lnTo>
                    <a:lnTo>
                      <a:pt x="705" y="26"/>
                    </a:lnTo>
                    <a:lnTo>
                      <a:pt x="707" y="26"/>
                    </a:lnTo>
                    <a:lnTo>
                      <a:pt x="708" y="26"/>
                    </a:lnTo>
                    <a:lnTo>
                      <a:pt x="708" y="24"/>
                    </a:lnTo>
                    <a:lnTo>
                      <a:pt x="710" y="23"/>
                    </a:lnTo>
                    <a:lnTo>
                      <a:pt x="710" y="21"/>
                    </a:lnTo>
                    <a:lnTo>
                      <a:pt x="710" y="19"/>
                    </a:lnTo>
                    <a:lnTo>
                      <a:pt x="711" y="19"/>
                    </a:lnTo>
                    <a:lnTo>
                      <a:pt x="713" y="18"/>
                    </a:lnTo>
                    <a:lnTo>
                      <a:pt x="714" y="18"/>
                    </a:lnTo>
                    <a:lnTo>
                      <a:pt x="714" y="19"/>
                    </a:lnTo>
                    <a:lnTo>
                      <a:pt x="716" y="19"/>
                    </a:lnTo>
                    <a:lnTo>
                      <a:pt x="718" y="19"/>
                    </a:lnTo>
                    <a:lnTo>
                      <a:pt x="719" y="18"/>
                    </a:lnTo>
                    <a:lnTo>
                      <a:pt x="727" y="13"/>
                    </a:lnTo>
                    <a:lnTo>
                      <a:pt x="729" y="13"/>
                    </a:lnTo>
                    <a:lnTo>
                      <a:pt x="730" y="13"/>
                    </a:lnTo>
                    <a:lnTo>
                      <a:pt x="732" y="11"/>
                    </a:lnTo>
                    <a:lnTo>
                      <a:pt x="733" y="11"/>
                    </a:lnTo>
                    <a:lnTo>
                      <a:pt x="735" y="11"/>
                    </a:lnTo>
                    <a:lnTo>
                      <a:pt x="735" y="10"/>
                    </a:lnTo>
                    <a:lnTo>
                      <a:pt x="737" y="10"/>
                    </a:lnTo>
                    <a:lnTo>
                      <a:pt x="737" y="11"/>
                    </a:lnTo>
                    <a:lnTo>
                      <a:pt x="738" y="11"/>
                    </a:lnTo>
                    <a:lnTo>
                      <a:pt x="740" y="11"/>
                    </a:lnTo>
                    <a:lnTo>
                      <a:pt x="741" y="11"/>
                    </a:lnTo>
                    <a:lnTo>
                      <a:pt x="741" y="10"/>
                    </a:lnTo>
                    <a:lnTo>
                      <a:pt x="743" y="10"/>
                    </a:lnTo>
                    <a:lnTo>
                      <a:pt x="745" y="8"/>
                    </a:lnTo>
                    <a:lnTo>
                      <a:pt x="746" y="8"/>
                    </a:lnTo>
                    <a:lnTo>
                      <a:pt x="748" y="8"/>
                    </a:lnTo>
                    <a:lnTo>
                      <a:pt x="749" y="8"/>
                    </a:lnTo>
                    <a:lnTo>
                      <a:pt x="751" y="7"/>
                    </a:lnTo>
                    <a:lnTo>
                      <a:pt x="752" y="7"/>
                    </a:lnTo>
                    <a:lnTo>
                      <a:pt x="752" y="5"/>
                    </a:lnTo>
                    <a:lnTo>
                      <a:pt x="754" y="7"/>
                    </a:lnTo>
                    <a:lnTo>
                      <a:pt x="756" y="7"/>
                    </a:lnTo>
                    <a:lnTo>
                      <a:pt x="757" y="7"/>
                    </a:lnTo>
                    <a:lnTo>
                      <a:pt x="757" y="5"/>
                    </a:lnTo>
                    <a:lnTo>
                      <a:pt x="759" y="5"/>
                    </a:lnTo>
                    <a:lnTo>
                      <a:pt x="760" y="5"/>
                    </a:lnTo>
                    <a:lnTo>
                      <a:pt x="762" y="5"/>
                    </a:lnTo>
                    <a:lnTo>
                      <a:pt x="764" y="5"/>
                    </a:lnTo>
                    <a:lnTo>
                      <a:pt x="765" y="5"/>
                    </a:lnTo>
                    <a:lnTo>
                      <a:pt x="767" y="5"/>
                    </a:lnTo>
                    <a:lnTo>
                      <a:pt x="768" y="5"/>
                    </a:lnTo>
                    <a:lnTo>
                      <a:pt x="768" y="4"/>
                    </a:lnTo>
                    <a:lnTo>
                      <a:pt x="770" y="5"/>
                    </a:lnTo>
                    <a:lnTo>
                      <a:pt x="771" y="4"/>
                    </a:lnTo>
                    <a:lnTo>
                      <a:pt x="773" y="4"/>
                    </a:lnTo>
                    <a:lnTo>
                      <a:pt x="775" y="4"/>
                    </a:lnTo>
                    <a:lnTo>
                      <a:pt x="775" y="5"/>
                    </a:lnTo>
                    <a:lnTo>
                      <a:pt x="776" y="5"/>
                    </a:lnTo>
                    <a:lnTo>
                      <a:pt x="776" y="7"/>
                    </a:lnTo>
                    <a:lnTo>
                      <a:pt x="778" y="7"/>
                    </a:lnTo>
                    <a:lnTo>
                      <a:pt x="778" y="8"/>
                    </a:lnTo>
                    <a:lnTo>
                      <a:pt x="779" y="8"/>
                    </a:lnTo>
                    <a:lnTo>
                      <a:pt x="781" y="8"/>
                    </a:lnTo>
                    <a:lnTo>
                      <a:pt x="783" y="10"/>
                    </a:lnTo>
                    <a:lnTo>
                      <a:pt x="783" y="11"/>
                    </a:lnTo>
                    <a:lnTo>
                      <a:pt x="784" y="11"/>
                    </a:lnTo>
                    <a:lnTo>
                      <a:pt x="786" y="10"/>
                    </a:lnTo>
                    <a:lnTo>
                      <a:pt x="787" y="10"/>
                    </a:lnTo>
                    <a:lnTo>
                      <a:pt x="787" y="8"/>
                    </a:lnTo>
                    <a:lnTo>
                      <a:pt x="789" y="8"/>
                    </a:lnTo>
                    <a:lnTo>
                      <a:pt x="790" y="8"/>
                    </a:lnTo>
                    <a:lnTo>
                      <a:pt x="792" y="8"/>
                    </a:lnTo>
                    <a:lnTo>
                      <a:pt x="794" y="10"/>
                    </a:lnTo>
                    <a:lnTo>
                      <a:pt x="795" y="10"/>
                    </a:lnTo>
                    <a:lnTo>
                      <a:pt x="797" y="10"/>
                    </a:lnTo>
                    <a:lnTo>
                      <a:pt x="798" y="10"/>
                    </a:lnTo>
                    <a:lnTo>
                      <a:pt x="800" y="11"/>
                    </a:lnTo>
                    <a:lnTo>
                      <a:pt x="800" y="10"/>
                    </a:lnTo>
                    <a:lnTo>
                      <a:pt x="802" y="10"/>
                    </a:lnTo>
                    <a:lnTo>
                      <a:pt x="803" y="10"/>
                    </a:lnTo>
                    <a:lnTo>
                      <a:pt x="805" y="10"/>
                    </a:lnTo>
                    <a:lnTo>
                      <a:pt x="806" y="10"/>
                    </a:lnTo>
                    <a:lnTo>
                      <a:pt x="808" y="8"/>
                    </a:lnTo>
                    <a:lnTo>
                      <a:pt x="809" y="7"/>
                    </a:lnTo>
                    <a:lnTo>
                      <a:pt x="811" y="7"/>
                    </a:lnTo>
                    <a:lnTo>
                      <a:pt x="813" y="7"/>
                    </a:lnTo>
                    <a:lnTo>
                      <a:pt x="814" y="7"/>
                    </a:lnTo>
                    <a:lnTo>
                      <a:pt x="816" y="7"/>
                    </a:lnTo>
                    <a:lnTo>
                      <a:pt x="816" y="5"/>
                    </a:lnTo>
                    <a:lnTo>
                      <a:pt x="817" y="5"/>
                    </a:lnTo>
                    <a:lnTo>
                      <a:pt x="819" y="5"/>
                    </a:lnTo>
                    <a:lnTo>
                      <a:pt x="819" y="4"/>
                    </a:lnTo>
                    <a:lnTo>
                      <a:pt x="821" y="2"/>
                    </a:lnTo>
                    <a:lnTo>
                      <a:pt x="821" y="4"/>
                    </a:lnTo>
                    <a:lnTo>
                      <a:pt x="822" y="4"/>
                    </a:lnTo>
                    <a:lnTo>
                      <a:pt x="824" y="4"/>
                    </a:lnTo>
                    <a:lnTo>
                      <a:pt x="825" y="4"/>
                    </a:lnTo>
                    <a:lnTo>
                      <a:pt x="825" y="2"/>
                    </a:lnTo>
                    <a:lnTo>
                      <a:pt x="827" y="2"/>
                    </a:lnTo>
                    <a:lnTo>
                      <a:pt x="828" y="2"/>
                    </a:lnTo>
                    <a:lnTo>
                      <a:pt x="830" y="0"/>
                    </a:lnTo>
                    <a:lnTo>
                      <a:pt x="830" y="2"/>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51" name="Freeform 131"/>
              <p:cNvSpPr>
                <a:spLocks/>
              </p:cNvSpPr>
              <p:nvPr/>
            </p:nvSpPr>
            <p:spPr bwMode="auto">
              <a:xfrm>
                <a:off x="3231" y="1476"/>
                <a:ext cx="251" cy="981"/>
              </a:xfrm>
              <a:custGeom>
                <a:avLst/>
                <a:gdLst>
                  <a:gd name="T0" fmla="*/ 45 w 251"/>
                  <a:gd name="T1" fmla="*/ 7 h 981"/>
                  <a:gd name="T2" fmla="*/ 56 w 251"/>
                  <a:gd name="T3" fmla="*/ 19 h 981"/>
                  <a:gd name="T4" fmla="*/ 73 w 251"/>
                  <a:gd name="T5" fmla="*/ 18 h 981"/>
                  <a:gd name="T6" fmla="*/ 94 w 251"/>
                  <a:gd name="T7" fmla="*/ 24 h 981"/>
                  <a:gd name="T8" fmla="*/ 118 w 251"/>
                  <a:gd name="T9" fmla="*/ 26 h 981"/>
                  <a:gd name="T10" fmla="*/ 135 w 251"/>
                  <a:gd name="T11" fmla="*/ 30 h 981"/>
                  <a:gd name="T12" fmla="*/ 148 w 251"/>
                  <a:gd name="T13" fmla="*/ 45 h 981"/>
                  <a:gd name="T14" fmla="*/ 171 w 251"/>
                  <a:gd name="T15" fmla="*/ 51 h 981"/>
                  <a:gd name="T16" fmla="*/ 189 w 251"/>
                  <a:gd name="T17" fmla="*/ 54 h 981"/>
                  <a:gd name="T18" fmla="*/ 209 w 251"/>
                  <a:gd name="T19" fmla="*/ 56 h 981"/>
                  <a:gd name="T20" fmla="*/ 233 w 251"/>
                  <a:gd name="T21" fmla="*/ 61 h 981"/>
                  <a:gd name="T22" fmla="*/ 247 w 251"/>
                  <a:gd name="T23" fmla="*/ 54 h 981"/>
                  <a:gd name="T24" fmla="*/ 247 w 251"/>
                  <a:gd name="T25" fmla="*/ 73 h 981"/>
                  <a:gd name="T26" fmla="*/ 236 w 251"/>
                  <a:gd name="T27" fmla="*/ 89 h 981"/>
                  <a:gd name="T28" fmla="*/ 214 w 251"/>
                  <a:gd name="T29" fmla="*/ 87 h 981"/>
                  <a:gd name="T30" fmla="*/ 206 w 251"/>
                  <a:gd name="T31" fmla="*/ 108 h 981"/>
                  <a:gd name="T32" fmla="*/ 192 w 251"/>
                  <a:gd name="T33" fmla="*/ 130 h 981"/>
                  <a:gd name="T34" fmla="*/ 181 w 251"/>
                  <a:gd name="T35" fmla="*/ 151 h 981"/>
                  <a:gd name="T36" fmla="*/ 170 w 251"/>
                  <a:gd name="T37" fmla="*/ 175 h 981"/>
                  <a:gd name="T38" fmla="*/ 151 w 251"/>
                  <a:gd name="T39" fmla="*/ 190 h 981"/>
                  <a:gd name="T40" fmla="*/ 138 w 251"/>
                  <a:gd name="T41" fmla="*/ 213 h 981"/>
                  <a:gd name="T42" fmla="*/ 137 w 251"/>
                  <a:gd name="T43" fmla="*/ 238 h 981"/>
                  <a:gd name="T44" fmla="*/ 140 w 251"/>
                  <a:gd name="T45" fmla="*/ 263 h 981"/>
                  <a:gd name="T46" fmla="*/ 138 w 251"/>
                  <a:gd name="T47" fmla="*/ 292 h 981"/>
                  <a:gd name="T48" fmla="*/ 129 w 251"/>
                  <a:gd name="T49" fmla="*/ 319 h 981"/>
                  <a:gd name="T50" fmla="*/ 132 w 251"/>
                  <a:gd name="T51" fmla="*/ 343 h 981"/>
                  <a:gd name="T52" fmla="*/ 140 w 251"/>
                  <a:gd name="T53" fmla="*/ 362 h 981"/>
                  <a:gd name="T54" fmla="*/ 129 w 251"/>
                  <a:gd name="T55" fmla="*/ 382 h 981"/>
                  <a:gd name="T56" fmla="*/ 133 w 251"/>
                  <a:gd name="T57" fmla="*/ 406 h 981"/>
                  <a:gd name="T58" fmla="*/ 144 w 251"/>
                  <a:gd name="T59" fmla="*/ 423 h 981"/>
                  <a:gd name="T60" fmla="*/ 165 w 251"/>
                  <a:gd name="T61" fmla="*/ 433 h 981"/>
                  <a:gd name="T62" fmla="*/ 181 w 251"/>
                  <a:gd name="T63" fmla="*/ 447 h 981"/>
                  <a:gd name="T64" fmla="*/ 198 w 251"/>
                  <a:gd name="T65" fmla="*/ 457 h 981"/>
                  <a:gd name="T66" fmla="*/ 216 w 251"/>
                  <a:gd name="T67" fmla="*/ 474 h 981"/>
                  <a:gd name="T68" fmla="*/ 232 w 251"/>
                  <a:gd name="T69" fmla="*/ 490 h 981"/>
                  <a:gd name="T70" fmla="*/ 219 w 251"/>
                  <a:gd name="T71" fmla="*/ 507 h 981"/>
                  <a:gd name="T72" fmla="*/ 203 w 251"/>
                  <a:gd name="T73" fmla="*/ 525 h 981"/>
                  <a:gd name="T74" fmla="*/ 184 w 251"/>
                  <a:gd name="T75" fmla="*/ 542 h 981"/>
                  <a:gd name="T76" fmla="*/ 175 w 251"/>
                  <a:gd name="T77" fmla="*/ 560 h 981"/>
                  <a:gd name="T78" fmla="*/ 194 w 251"/>
                  <a:gd name="T79" fmla="*/ 574 h 981"/>
                  <a:gd name="T80" fmla="*/ 189 w 251"/>
                  <a:gd name="T81" fmla="*/ 598 h 981"/>
                  <a:gd name="T82" fmla="*/ 176 w 251"/>
                  <a:gd name="T83" fmla="*/ 612 h 981"/>
                  <a:gd name="T84" fmla="*/ 175 w 251"/>
                  <a:gd name="T85" fmla="*/ 639 h 981"/>
                  <a:gd name="T86" fmla="*/ 170 w 251"/>
                  <a:gd name="T87" fmla="*/ 664 h 981"/>
                  <a:gd name="T88" fmla="*/ 162 w 251"/>
                  <a:gd name="T89" fmla="*/ 688 h 981"/>
                  <a:gd name="T90" fmla="*/ 157 w 251"/>
                  <a:gd name="T91" fmla="*/ 712 h 981"/>
                  <a:gd name="T92" fmla="*/ 157 w 251"/>
                  <a:gd name="T93" fmla="*/ 739 h 981"/>
                  <a:gd name="T94" fmla="*/ 163 w 251"/>
                  <a:gd name="T95" fmla="*/ 761 h 981"/>
                  <a:gd name="T96" fmla="*/ 143 w 251"/>
                  <a:gd name="T97" fmla="*/ 777 h 981"/>
                  <a:gd name="T98" fmla="*/ 125 w 251"/>
                  <a:gd name="T99" fmla="*/ 788 h 981"/>
                  <a:gd name="T100" fmla="*/ 113 w 251"/>
                  <a:gd name="T101" fmla="*/ 807 h 981"/>
                  <a:gd name="T102" fmla="*/ 91 w 251"/>
                  <a:gd name="T103" fmla="*/ 815 h 981"/>
                  <a:gd name="T104" fmla="*/ 75 w 251"/>
                  <a:gd name="T105" fmla="*/ 830 h 981"/>
                  <a:gd name="T106" fmla="*/ 57 w 251"/>
                  <a:gd name="T107" fmla="*/ 846 h 981"/>
                  <a:gd name="T108" fmla="*/ 40 w 251"/>
                  <a:gd name="T109" fmla="*/ 865 h 981"/>
                  <a:gd name="T110" fmla="*/ 18 w 251"/>
                  <a:gd name="T111" fmla="*/ 878 h 981"/>
                  <a:gd name="T112" fmla="*/ 7 w 251"/>
                  <a:gd name="T113" fmla="*/ 899 h 981"/>
                  <a:gd name="T114" fmla="*/ 2 w 251"/>
                  <a:gd name="T115" fmla="*/ 922 h 981"/>
                  <a:gd name="T116" fmla="*/ 2 w 251"/>
                  <a:gd name="T117" fmla="*/ 949 h 981"/>
                  <a:gd name="T118" fmla="*/ 2 w 251"/>
                  <a:gd name="T119" fmla="*/ 976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1" h="981">
                    <a:moveTo>
                      <a:pt x="24" y="2"/>
                    </a:moveTo>
                    <a:lnTo>
                      <a:pt x="26" y="2"/>
                    </a:lnTo>
                    <a:lnTo>
                      <a:pt x="26" y="0"/>
                    </a:lnTo>
                    <a:lnTo>
                      <a:pt x="27" y="2"/>
                    </a:lnTo>
                    <a:lnTo>
                      <a:pt x="29" y="2"/>
                    </a:lnTo>
                    <a:lnTo>
                      <a:pt x="30" y="2"/>
                    </a:lnTo>
                    <a:lnTo>
                      <a:pt x="32" y="2"/>
                    </a:lnTo>
                    <a:lnTo>
                      <a:pt x="32" y="4"/>
                    </a:lnTo>
                    <a:lnTo>
                      <a:pt x="32" y="2"/>
                    </a:lnTo>
                    <a:lnTo>
                      <a:pt x="34" y="2"/>
                    </a:lnTo>
                    <a:lnTo>
                      <a:pt x="35" y="2"/>
                    </a:lnTo>
                    <a:lnTo>
                      <a:pt x="37" y="2"/>
                    </a:lnTo>
                    <a:lnTo>
                      <a:pt x="38" y="2"/>
                    </a:lnTo>
                    <a:lnTo>
                      <a:pt x="40" y="4"/>
                    </a:lnTo>
                    <a:lnTo>
                      <a:pt x="42" y="4"/>
                    </a:lnTo>
                    <a:lnTo>
                      <a:pt x="43" y="5"/>
                    </a:lnTo>
                    <a:lnTo>
                      <a:pt x="45" y="7"/>
                    </a:lnTo>
                    <a:lnTo>
                      <a:pt x="45" y="8"/>
                    </a:lnTo>
                    <a:lnTo>
                      <a:pt x="46" y="8"/>
                    </a:lnTo>
                    <a:lnTo>
                      <a:pt x="46" y="10"/>
                    </a:lnTo>
                    <a:lnTo>
                      <a:pt x="45" y="11"/>
                    </a:lnTo>
                    <a:lnTo>
                      <a:pt x="45" y="13"/>
                    </a:lnTo>
                    <a:lnTo>
                      <a:pt x="43" y="13"/>
                    </a:lnTo>
                    <a:lnTo>
                      <a:pt x="43" y="15"/>
                    </a:lnTo>
                    <a:lnTo>
                      <a:pt x="43" y="16"/>
                    </a:lnTo>
                    <a:lnTo>
                      <a:pt x="45" y="16"/>
                    </a:lnTo>
                    <a:lnTo>
                      <a:pt x="45" y="18"/>
                    </a:lnTo>
                    <a:lnTo>
                      <a:pt x="46" y="18"/>
                    </a:lnTo>
                    <a:lnTo>
                      <a:pt x="48" y="18"/>
                    </a:lnTo>
                    <a:lnTo>
                      <a:pt x="49" y="19"/>
                    </a:lnTo>
                    <a:lnTo>
                      <a:pt x="51" y="19"/>
                    </a:lnTo>
                    <a:lnTo>
                      <a:pt x="53" y="21"/>
                    </a:lnTo>
                    <a:lnTo>
                      <a:pt x="54" y="19"/>
                    </a:lnTo>
                    <a:lnTo>
                      <a:pt x="56" y="19"/>
                    </a:lnTo>
                    <a:lnTo>
                      <a:pt x="56" y="18"/>
                    </a:lnTo>
                    <a:lnTo>
                      <a:pt x="57" y="16"/>
                    </a:lnTo>
                    <a:lnTo>
                      <a:pt x="59" y="16"/>
                    </a:lnTo>
                    <a:lnTo>
                      <a:pt x="59" y="18"/>
                    </a:lnTo>
                    <a:lnTo>
                      <a:pt x="61" y="16"/>
                    </a:lnTo>
                    <a:lnTo>
                      <a:pt x="61" y="18"/>
                    </a:lnTo>
                    <a:lnTo>
                      <a:pt x="62" y="18"/>
                    </a:lnTo>
                    <a:lnTo>
                      <a:pt x="62" y="16"/>
                    </a:lnTo>
                    <a:lnTo>
                      <a:pt x="64" y="16"/>
                    </a:lnTo>
                    <a:lnTo>
                      <a:pt x="64" y="15"/>
                    </a:lnTo>
                    <a:lnTo>
                      <a:pt x="65" y="16"/>
                    </a:lnTo>
                    <a:lnTo>
                      <a:pt x="65" y="15"/>
                    </a:lnTo>
                    <a:lnTo>
                      <a:pt x="67" y="16"/>
                    </a:lnTo>
                    <a:lnTo>
                      <a:pt x="68" y="16"/>
                    </a:lnTo>
                    <a:lnTo>
                      <a:pt x="70" y="18"/>
                    </a:lnTo>
                    <a:lnTo>
                      <a:pt x="72" y="18"/>
                    </a:lnTo>
                    <a:lnTo>
                      <a:pt x="73" y="18"/>
                    </a:lnTo>
                    <a:lnTo>
                      <a:pt x="75" y="18"/>
                    </a:lnTo>
                    <a:lnTo>
                      <a:pt x="76" y="18"/>
                    </a:lnTo>
                    <a:lnTo>
                      <a:pt x="78" y="18"/>
                    </a:lnTo>
                    <a:lnTo>
                      <a:pt x="80" y="18"/>
                    </a:lnTo>
                    <a:lnTo>
                      <a:pt x="80" y="19"/>
                    </a:lnTo>
                    <a:lnTo>
                      <a:pt x="81" y="19"/>
                    </a:lnTo>
                    <a:lnTo>
                      <a:pt x="83" y="19"/>
                    </a:lnTo>
                    <a:lnTo>
                      <a:pt x="84" y="21"/>
                    </a:lnTo>
                    <a:lnTo>
                      <a:pt x="86" y="21"/>
                    </a:lnTo>
                    <a:lnTo>
                      <a:pt x="87" y="21"/>
                    </a:lnTo>
                    <a:lnTo>
                      <a:pt x="87" y="23"/>
                    </a:lnTo>
                    <a:lnTo>
                      <a:pt x="89" y="23"/>
                    </a:lnTo>
                    <a:lnTo>
                      <a:pt x="89" y="24"/>
                    </a:lnTo>
                    <a:lnTo>
                      <a:pt x="91" y="24"/>
                    </a:lnTo>
                    <a:lnTo>
                      <a:pt x="91" y="26"/>
                    </a:lnTo>
                    <a:lnTo>
                      <a:pt x="92" y="24"/>
                    </a:lnTo>
                    <a:lnTo>
                      <a:pt x="94" y="24"/>
                    </a:lnTo>
                    <a:lnTo>
                      <a:pt x="95" y="24"/>
                    </a:lnTo>
                    <a:lnTo>
                      <a:pt x="97" y="24"/>
                    </a:lnTo>
                    <a:lnTo>
                      <a:pt x="97" y="26"/>
                    </a:lnTo>
                    <a:lnTo>
                      <a:pt x="99" y="26"/>
                    </a:lnTo>
                    <a:lnTo>
                      <a:pt x="100" y="26"/>
                    </a:lnTo>
                    <a:lnTo>
                      <a:pt x="102" y="24"/>
                    </a:lnTo>
                    <a:lnTo>
                      <a:pt x="102" y="26"/>
                    </a:lnTo>
                    <a:lnTo>
                      <a:pt x="103" y="26"/>
                    </a:lnTo>
                    <a:lnTo>
                      <a:pt x="105" y="27"/>
                    </a:lnTo>
                    <a:lnTo>
                      <a:pt x="106" y="26"/>
                    </a:lnTo>
                    <a:lnTo>
                      <a:pt x="108" y="26"/>
                    </a:lnTo>
                    <a:lnTo>
                      <a:pt x="110" y="24"/>
                    </a:lnTo>
                    <a:lnTo>
                      <a:pt x="111" y="24"/>
                    </a:lnTo>
                    <a:lnTo>
                      <a:pt x="113" y="26"/>
                    </a:lnTo>
                    <a:lnTo>
                      <a:pt x="114" y="26"/>
                    </a:lnTo>
                    <a:lnTo>
                      <a:pt x="116" y="27"/>
                    </a:lnTo>
                    <a:lnTo>
                      <a:pt x="118" y="26"/>
                    </a:lnTo>
                    <a:lnTo>
                      <a:pt x="119" y="26"/>
                    </a:lnTo>
                    <a:lnTo>
                      <a:pt x="121" y="26"/>
                    </a:lnTo>
                    <a:lnTo>
                      <a:pt x="122" y="27"/>
                    </a:lnTo>
                    <a:lnTo>
                      <a:pt x="122" y="29"/>
                    </a:lnTo>
                    <a:lnTo>
                      <a:pt x="124" y="29"/>
                    </a:lnTo>
                    <a:lnTo>
                      <a:pt x="124" y="27"/>
                    </a:lnTo>
                    <a:lnTo>
                      <a:pt x="125" y="27"/>
                    </a:lnTo>
                    <a:lnTo>
                      <a:pt x="127" y="29"/>
                    </a:lnTo>
                    <a:lnTo>
                      <a:pt x="129" y="29"/>
                    </a:lnTo>
                    <a:lnTo>
                      <a:pt x="130" y="29"/>
                    </a:lnTo>
                    <a:lnTo>
                      <a:pt x="130" y="27"/>
                    </a:lnTo>
                    <a:lnTo>
                      <a:pt x="130" y="29"/>
                    </a:lnTo>
                    <a:lnTo>
                      <a:pt x="132" y="29"/>
                    </a:lnTo>
                    <a:lnTo>
                      <a:pt x="133" y="27"/>
                    </a:lnTo>
                    <a:lnTo>
                      <a:pt x="133" y="29"/>
                    </a:lnTo>
                    <a:lnTo>
                      <a:pt x="135" y="29"/>
                    </a:lnTo>
                    <a:lnTo>
                      <a:pt x="135" y="30"/>
                    </a:lnTo>
                    <a:lnTo>
                      <a:pt x="135" y="32"/>
                    </a:lnTo>
                    <a:lnTo>
                      <a:pt x="137" y="32"/>
                    </a:lnTo>
                    <a:lnTo>
                      <a:pt x="137" y="34"/>
                    </a:lnTo>
                    <a:lnTo>
                      <a:pt x="138" y="34"/>
                    </a:lnTo>
                    <a:lnTo>
                      <a:pt x="140" y="34"/>
                    </a:lnTo>
                    <a:lnTo>
                      <a:pt x="140" y="35"/>
                    </a:lnTo>
                    <a:lnTo>
                      <a:pt x="140" y="37"/>
                    </a:lnTo>
                    <a:lnTo>
                      <a:pt x="140" y="38"/>
                    </a:lnTo>
                    <a:lnTo>
                      <a:pt x="140" y="40"/>
                    </a:lnTo>
                    <a:lnTo>
                      <a:pt x="141" y="40"/>
                    </a:lnTo>
                    <a:lnTo>
                      <a:pt x="143" y="40"/>
                    </a:lnTo>
                    <a:lnTo>
                      <a:pt x="143" y="42"/>
                    </a:lnTo>
                    <a:lnTo>
                      <a:pt x="144" y="42"/>
                    </a:lnTo>
                    <a:lnTo>
                      <a:pt x="144" y="43"/>
                    </a:lnTo>
                    <a:lnTo>
                      <a:pt x="146" y="43"/>
                    </a:lnTo>
                    <a:lnTo>
                      <a:pt x="146" y="45"/>
                    </a:lnTo>
                    <a:lnTo>
                      <a:pt x="148" y="45"/>
                    </a:lnTo>
                    <a:lnTo>
                      <a:pt x="148" y="46"/>
                    </a:lnTo>
                    <a:lnTo>
                      <a:pt x="149" y="46"/>
                    </a:lnTo>
                    <a:lnTo>
                      <a:pt x="151" y="48"/>
                    </a:lnTo>
                    <a:lnTo>
                      <a:pt x="152" y="48"/>
                    </a:lnTo>
                    <a:lnTo>
                      <a:pt x="154" y="48"/>
                    </a:lnTo>
                    <a:lnTo>
                      <a:pt x="156" y="48"/>
                    </a:lnTo>
                    <a:lnTo>
                      <a:pt x="157" y="48"/>
                    </a:lnTo>
                    <a:lnTo>
                      <a:pt x="159" y="48"/>
                    </a:lnTo>
                    <a:lnTo>
                      <a:pt x="160" y="48"/>
                    </a:lnTo>
                    <a:lnTo>
                      <a:pt x="162" y="49"/>
                    </a:lnTo>
                    <a:lnTo>
                      <a:pt x="163" y="49"/>
                    </a:lnTo>
                    <a:lnTo>
                      <a:pt x="165" y="51"/>
                    </a:lnTo>
                    <a:lnTo>
                      <a:pt x="167" y="51"/>
                    </a:lnTo>
                    <a:lnTo>
                      <a:pt x="167" y="53"/>
                    </a:lnTo>
                    <a:lnTo>
                      <a:pt x="168" y="53"/>
                    </a:lnTo>
                    <a:lnTo>
                      <a:pt x="170" y="51"/>
                    </a:lnTo>
                    <a:lnTo>
                      <a:pt x="171" y="51"/>
                    </a:lnTo>
                    <a:lnTo>
                      <a:pt x="173" y="49"/>
                    </a:lnTo>
                    <a:lnTo>
                      <a:pt x="173" y="51"/>
                    </a:lnTo>
                    <a:lnTo>
                      <a:pt x="175" y="51"/>
                    </a:lnTo>
                    <a:lnTo>
                      <a:pt x="175" y="49"/>
                    </a:lnTo>
                    <a:lnTo>
                      <a:pt x="176" y="49"/>
                    </a:lnTo>
                    <a:lnTo>
                      <a:pt x="178" y="49"/>
                    </a:lnTo>
                    <a:lnTo>
                      <a:pt x="179" y="49"/>
                    </a:lnTo>
                    <a:lnTo>
                      <a:pt x="181" y="48"/>
                    </a:lnTo>
                    <a:lnTo>
                      <a:pt x="182" y="48"/>
                    </a:lnTo>
                    <a:lnTo>
                      <a:pt x="184" y="48"/>
                    </a:lnTo>
                    <a:lnTo>
                      <a:pt x="184" y="49"/>
                    </a:lnTo>
                    <a:lnTo>
                      <a:pt x="186" y="49"/>
                    </a:lnTo>
                    <a:lnTo>
                      <a:pt x="186" y="51"/>
                    </a:lnTo>
                    <a:lnTo>
                      <a:pt x="187" y="51"/>
                    </a:lnTo>
                    <a:lnTo>
                      <a:pt x="187" y="53"/>
                    </a:lnTo>
                    <a:lnTo>
                      <a:pt x="187" y="54"/>
                    </a:lnTo>
                    <a:lnTo>
                      <a:pt x="189" y="54"/>
                    </a:lnTo>
                    <a:lnTo>
                      <a:pt x="190" y="54"/>
                    </a:lnTo>
                    <a:lnTo>
                      <a:pt x="190" y="53"/>
                    </a:lnTo>
                    <a:lnTo>
                      <a:pt x="190" y="54"/>
                    </a:lnTo>
                    <a:lnTo>
                      <a:pt x="190" y="56"/>
                    </a:lnTo>
                    <a:lnTo>
                      <a:pt x="192" y="56"/>
                    </a:lnTo>
                    <a:lnTo>
                      <a:pt x="192" y="57"/>
                    </a:lnTo>
                    <a:lnTo>
                      <a:pt x="194" y="57"/>
                    </a:lnTo>
                    <a:lnTo>
                      <a:pt x="195" y="57"/>
                    </a:lnTo>
                    <a:lnTo>
                      <a:pt x="197" y="57"/>
                    </a:lnTo>
                    <a:lnTo>
                      <a:pt x="198" y="57"/>
                    </a:lnTo>
                    <a:lnTo>
                      <a:pt x="200" y="57"/>
                    </a:lnTo>
                    <a:lnTo>
                      <a:pt x="201" y="57"/>
                    </a:lnTo>
                    <a:lnTo>
                      <a:pt x="203" y="57"/>
                    </a:lnTo>
                    <a:lnTo>
                      <a:pt x="205" y="56"/>
                    </a:lnTo>
                    <a:lnTo>
                      <a:pt x="206" y="56"/>
                    </a:lnTo>
                    <a:lnTo>
                      <a:pt x="208" y="56"/>
                    </a:lnTo>
                    <a:lnTo>
                      <a:pt x="209" y="56"/>
                    </a:lnTo>
                    <a:lnTo>
                      <a:pt x="209" y="57"/>
                    </a:lnTo>
                    <a:lnTo>
                      <a:pt x="211" y="57"/>
                    </a:lnTo>
                    <a:lnTo>
                      <a:pt x="213" y="59"/>
                    </a:lnTo>
                    <a:lnTo>
                      <a:pt x="216" y="61"/>
                    </a:lnTo>
                    <a:lnTo>
                      <a:pt x="217" y="61"/>
                    </a:lnTo>
                    <a:lnTo>
                      <a:pt x="217" y="62"/>
                    </a:lnTo>
                    <a:lnTo>
                      <a:pt x="219" y="62"/>
                    </a:lnTo>
                    <a:lnTo>
                      <a:pt x="221" y="62"/>
                    </a:lnTo>
                    <a:lnTo>
                      <a:pt x="221" y="64"/>
                    </a:lnTo>
                    <a:lnTo>
                      <a:pt x="222" y="64"/>
                    </a:lnTo>
                    <a:lnTo>
                      <a:pt x="224" y="64"/>
                    </a:lnTo>
                    <a:lnTo>
                      <a:pt x="225" y="64"/>
                    </a:lnTo>
                    <a:lnTo>
                      <a:pt x="227" y="64"/>
                    </a:lnTo>
                    <a:lnTo>
                      <a:pt x="228" y="64"/>
                    </a:lnTo>
                    <a:lnTo>
                      <a:pt x="230" y="64"/>
                    </a:lnTo>
                    <a:lnTo>
                      <a:pt x="232" y="62"/>
                    </a:lnTo>
                    <a:lnTo>
                      <a:pt x="233" y="61"/>
                    </a:lnTo>
                    <a:lnTo>
                      <a:pt x="233" y="59"/>
                    </a:lnTo>
                    <a:lnTo>
                      <a:pt x="235" y="57"/>
                    </a:lnTo>
                    <a:lnTo>
                      <a:pt x="235" y="56"/>
                    </a:lnTo>
                    <a:lnTo>
                      <a:pt x="235" y="54"/>
                    </a:lnTo>
                    <a:lnTo>
                      <a:pt x="235" y="53"/>
                    </a:lnTo>
                    <a:lnTo>
                      <a:pt x="236" y="53"/>
                    </a:lnTo>
                    <a:lnTo>
                      <a:pt x="236" y="51"/>
                    </a:lnTo>
                    <a:lnTo>
                      <a:pt x="236" y="49"/>
                    </a:lnTo>
                    <a:lnTo>
                      <a:pt x="236" y="48"/>
                    </a:lnTo>
                    <a:lnTo>
                      <a:pt x="238" y="48"/>
                    </a:lnTo>
                    <a:lnTo>
                      <a:pt x="240" y="49"/>
                    </a:lnTo>
                    <a:lnTo>
                      <a:pt x="241" y="49"/>
                    </a:lnTo>
                    <a:lnTo>
                      <a:pt x="241" y="51"/>
                    </a:lnTo>
                    <a:lnTo>
                      <a:pt x="243" y="51"/>
                    </a:lnTo>
                    <a:lnTo>
                      <a:pt x="244" y="53"/>
                    </a:lnTo>
                    <a:lnTo>
                      <a:pt x="246" y="54"/>
                    </a:lnTo>
                    <a:lnTo>
                      <a:pt x="247" y="54"/>
                    </a:lnTo>
                    <a:lnTo>
                      <a:pt x="249" y="54"/>
                    </a:lnTo>
                    <a:lnTo>
                      <a:pt x="249" y="53"/>
                    </a:lnTo>
                    <a:lnTo>
                      <a:pt x="251" y="53"/>
                    </a:lnTo>
                    <a:lnTo>
                      <a:pt x="251" y="54"/>
                    </a:lnTo>
                    <a:lnTo>
                      <a:pt x="251" y="56"/>
                    </a:lnTo>
                    <a:lnTo>
                      <a:pt x="249" y="57"/>
                    </a:lnTo>
                    <a:lnTo>
                      <a:pt x="249" y="59"/>
                    </a:lnTo>
                    <a:lnTo>
                      <a:pt x="249" y="61"/>
                    </a:lnTo>
                    <a:lnTo>
                      <a:pt x="249" y="62"/>
                    </a:lnTo>
                    <a:lnTo>
                      <a:pt x="249" y="64"/>
                    </a:lnTo>
                    <a:lnTo>
                      <a:pt x="249" y="65"/>
                    </a:lnTo>
                    <a:lnTo>
                      <a:pt x="249" y="67"/>
                    </a:lnTo>
                    <a:lnTo>
                      <a:pt x="249" y="68"/>
                    </a:lnTo>
                    <a:lnTo>
                      <a:pt x="249" y="70"/>
                    </a:lnTo>
                    <a:lnTo>
                      <a:pt x="249" y="72"/>
                    </a:lnTo>
                    <a:lnTo>
                      <a:pt x="247" y="72"/>
                    </a:lnTo>
                    <a:lnTo>
                      <a:pt x="247" y="73"/>
                    </a:lnTo>
                    <a:lnTo>
                      <a:pt x="247" y="75"/>
                    </a:lnTo>
                    <a:lnTo>
                      <a:pt x="247" y="76"/>
                    </a:lnTo>
                    <a:lnTo>
                      <a:pt x="246" y="76"/>
                    </a:lnTo>
                    <a:lnTo>
                      <a:pt x="244" y="76"/>
                    </a:lnTo>
                    <a:lnTo>
                      <a:pt x="244" y="78"/>
                    </a:lnTo>
                    <a:lnTo>
                      <a:pt x="243" y="78"/>
                    </a:lnTo>
                    <a:lnTo>
                      <a:pt x="243" y="80"/>
                    </a:lnTo>
                    <a:lnTo>
                      <a:pt x="244" y="81"/>
                    </a:lnTo>
                    <a:lnTo>
                      <a:pt x="244" y="83"/>
                    </a:lnTo>
                    <a:lnTo>
                      <a:pt x="244" y="84"/>
                    </a:lnTo>
                    <a:lnTo>
                      <a:pt x="244" y="86"/>
                    </a:lnTo>
                    <a:lnTo>
                      <a:pt x="243" y="87"/>
                    </a:lnTo>
                    <a:lnTo>
                      <a:pt x="243" y="89"/>
                    </a:lnTo>
                    <a:lnTo>
                      <a:pt x="241" y="89"/>
                    </a:lnTo>
                    <a:lnTo>
                      <a:pt x="240" y="89"/>
                    </a:lnTo>
                    <a:lnTo>
                      <a:pt x="238" y="89"/>
                    </a:lnTo>
                    <a:lnTo>
                      <a:pt x="236" y="89"/>
                    </a:lnTo>
                    <a:lnTo>
                      <a:pt x="235" y="89"/>
                    </a:lnTo>
                    <a:lnTo>
                      <a:pt x="233" y="89"/>
                    </a:lnTo>
                    <a:lnTo>
                      <a:pt x="232" y="87"/>
                    </a:lnTo>
                    <a:lnTo>
                      <a:pt x="230" y="87"/>
                    </a:lnTo>
                    <a:lnTo>
                      <a:pt x="228" y="87"/>
                    </a:lnTo>
                    <a:lnTo>
                      <a:pt x="227" y="87"/>
                    </a:lnTo>
                    <a:lnTo>
                      <a:pt x="225" y="87"/>
                    </a:lnTo>
                    <a:lnTo>
                      <a:pt x="224" y="87"/>
                    </a:lnTo>
                    <a:lnTo>
                      <a:pt x="224" y="86"/>
                    </a:lnTo>
                    <a:lnTo>
                      <a:pt x="222" y="86"/>
                    </a:lnTo>
                    <a:lnTo>
                      <a:pt x="222" y="84"/>
                    </a:lnTo>
                    <a:lnTo>
                      <a:pt x="221" y="84"/>
                    </a:lnTo>
                    <a:lnTo>
                      <a:pt x="219" y="84"/>
                    </a:lnTo>
                    <a:lnTo>
                      <a:pt x="217" y="84"/>
                    </a:lnTo>
                    <a:lnTo>
                      <a:pt x="216" y="86"/>
                    </a:lnTo>
                    <a:lnTo>
                      <a:pt x="214" y="86"/>
                    </a:lnTo>
                    <a:lnTo>
                      <a:pt x="214" y="87"/>
                    </a:lnTo>
                    <a:lnTo>
                      <a:pt x="214" y="89"/>
                    </a:lnTo>
                    <a:lnTo>
                      <a:pt x="213" y="91"/>
                    </a:lnTo>
                    <a:lnTo>
                      <a:pt x="213" y="92"/>
                    </a:lnTo>
                    <a:lnTo>
                      <a:pt x="213" y="94"/>
                    </a:lnTo>
                    <a:lnTo>
                      <a:pt x="213" y="95"/>
                    </a:lnTo>
                    <a:lnTo>
                      <a:pt x="213" y="97"/>
                    </a:lnTo>
                    <a:lnTo>
                      <a:pt x="213" y="99"/>
                    </a:lnTo>
                    <a:lnTo>
                      <a:pt x="211" y="99"/>
                    </a:lnTo>
                    <a:lnTo>
                      <a:pt x="211" y="100"/>
                    </a:lnTo>
                    <a:lnTo>
                      <a:pt x="211" y="102"/>
                    </a:lnTo>
                    <a:lnTo>
                      <a:pt x="209" y="102"/>
                    </a:lnTo>
                    <a:lnTo>
                      <a:pt x="209" y="103"/>
                    </a:lnTo>
                    <a:lnTo>
                      <a:pt x="208" y="103"/>
                    </a:lnTo>
                    <a:lnTo>
                      <a:pt x="208" y="105"/>
                    </a:lnTo>
                    <a:lnTo>
                      <a:pt x="208" y="106"/>
                    </a:lnTo>
                    <a:lnTo>
                      <a:pt x="206" y="106"/>
                    </a:lnTo>
                    <a:lnTo>
                      <a:pt x="206" y="108"/>
                    </a:lnTo>
                    <a:lnTo>
                      <a:pt x="205" y="108"/>
                    </a:lnTo>
                    <a:lnTo>
                      <a:pt x="205" y="110"/>
                    </a:lnTo>
                    <a:lnTo>
                      <a:pt x="203" y="111"/>
                    </a:lnTo>
                    <a:lnTo>
                      <a:pt x="201" y="113"/>
                    </a:lnTo>
                    <a:lnTo>
                      <a:pt x="200" y="114"/>
                    </a:lnTo>
                    <a:lnTo>
                      <a:pt x="198" y="116"/>
                    </a:lnTo>
                    <a:lnTo>
                      <a:pt x="198" y="118"/>
                    </a:lnTo>
                    <a:lnTo>
                      <a:pt x="197" y="118"/>
                    </a:lnTo>
                    <a:lnTo>
                      <a:pt x="197" y="119"/>
                    </a:lnTo>
                    <a:lnTo>
                      <a:pt x="197" y="121"/>
                    </a:lnTo>
                    <a:lnTo>
                      <a:pt x="195" y="121"/>
                    </a:lnTo>
                    <a:lnTo>
                      <a:pt x="195" y="122"/>
                    </a:lnTo>
                    <a:lnTo>
                      <a:pt x="195" y="124"/>
                    </a:lnTo>
                    <a:lnTo>
                      <a:pt x="194" y="125"/>
                    </a:lnTo>
                    <a:lnTo>
                      <a:pt x="194" y="127"/>
                    </a:lnTo>
                    <a:lnTo>
                      <a:pt x="192" y="129"/>
                    </a:lnTo>
                    <a:lnTo>
                      <a:pt x="192" y="130"/>
                    </a:lnTo>
                    <a:lnTo>
                      <a:pt x="192" y="132"/>
                    </a:lnTo>
                    <a:lnTo>
                      <a:pt x="190" y="132"/>
                    </a:lnTo>
                    <a:lnTo>
                      <a:pt x="190" y="133"/>
                    </a:lnTo>
                    <a:lnTo>
                      <a:pt x="190" y="135"/>
                    </a:lnTo>
                    <a:lnTo>
                      <a:pt x="189" y="137"/>
                    </a:lnTo>
                    <a:lnTo>
                      <a:pt x="189" y="138"/>
                    </a:lnTo>
                    <a:lnTo>
                      <a:pt x="187" y="138"/>
                    </a:lnTo>
                    <a:lnTo>
                      <a:pt x="187" y="140"/>
                    </a:lnTo>
                    <a:lnTo>
                      <a:pt x="187" y="141"/>
                    </a:lnTo>
                    <a:lnTo>
                      <a:pt x="186" y="143"/>
                    </a:lnTo>
                    <a:lnTo>
                      <a:pt x="186" y="145"/>
                    </a:lnTo>
                    <a:lnTo>
                      <a:pt x="184" y="145"/>
                    </a:lnTo>
                    <a:lnTo>
                      <a:pt x="184" y="146"/>
                    </a:lnTo>
                    <a:lnTo>
                      <a:pt x="184" y="148"/>
                    </a:lnTo>
                    <a:lnTo>
                      <a:pt x="182" y="149"/>
                    </a:lnTo>
                    <a:lnTo>
                      <a:pt x="182" y="151"/>
                    </a:lnTo>
                    <a:lnTo>
                      <a:pt x="181" y="151"/>
                    </a:lnTo>
                    <a:lnTo>
                      <a:pt x="181" y="152"/>
                    </a:lnTo>
                    <a:lnTo>
                      <a:pt x="179" y="154"/>
                    </a:lnTo>
                    <a:lnTo>
                      <a:pt x="179" y="156"/>
                    </a:lnTo>
                    <a:lnTo>
                      <a:pt x="178" y="157"/>
                    </a:lnTo>
                    <a:lnTo>
                      <a:pt x="178" y="159"/>
                    </a:lnTo>
                    <a:lnTo>
                      <a:pt x="176" y="160"/>
                    </a:lnTo>
                    <a:lnTo>
                      <a:pt x="176" y="162"/>
                    </a:lnTo>
                    <a:lnTo>
                      <a:pt x="176" y="164"/>
                    </a:lnTo>
                    <a:lnTo>
                      <a:pt x="176" y="165"/>
                    </a:lnTo>
                    <a:lnTo>
                      <a:pt x="176" y="167"/>
                    </a:lnTo>
                    <a:lnTo>
                      <a:pt x="175" y="167"/>
                    </a:lnTo>
                    <a:lnTo>
                      <a:pt x="175" y="168"/>
                    </a:lnTo>
                    <a:lnTo>
                      <a:pt x="173" y="170"/>
                    </a:lnTo>
                    <a:lnTo>
                      <a:pt x="171" y="171"/>
                    </a:lnTo>
                    <a:lnTo>
                      <a:pt x="171" y="173"/>
                    </a:lnTo>
                    <a:lnTo>
                      <a:pt x="170" y="173"/>
                    </a:lnTo>
                    <a:lnTo>
                      <a:pt x="170" y="175"/>
                    </a:lnTo>
                    <a:lnTo>
                      <a:pt x="168" y="175"/>
                    </a:lnTo>
                    <a:lnTo>
                      <a:pt x="167" y="176"/>
                    </a:lnTo>
                    <a:lnTo>
                      <a:pt x="165" y="178"/>
                    </a:lnTo>
                    <a:lnTo>
                      <a:pt x="163" y="178"/>
                    </a:lnTo>
                    <a:lnTo>
                      <a:pt x="163" y="179"/>
                    </a:lnTo>
                    <a:lnTo>
                      <a:pt x="162" y="179"/>
                    </a:lnTo>
                    <a:lnTo>
                      <a:pt x="162" y="181"/>
                    </a:lnTo>
                    <a:lnTo>
                      <a:pt x="160" y="183"/>
                    </a:lnTo>
                    <a:lnTo>
                      <a:pt x="159" y="183"/>
                    </a:lnTo>
                    <a:lnTo>
                      <a:pt x="157" y="184"/>
                    </a:lnTo>
                    <a:lnTo>
                      <a:pt x="156" y="184"/>
                    </a:lnTo>
                    <a:lnTo>
                      <a:pt x="154" y="186"/>
                    </a:lnTo>
                    <a:lnTo>
                      <a:pt x="152" y="186"/>
                    </a:lnTo>
                    <a:lnTo>
                      <a:pt x="152" y="187"/>
                    </a:lnTo>
                    <a:lnTo>
                      <a:pt x="152" y="189"/>
                    </a:lnTo>
                    <a:lnTo>
                      <a:pt x="151" y="189"/>
                    </a:lnTo>
                    <a:lnTo>
                      <a:pt x="151" y="190"/>
                    </a:lnTo>
                    <a:lnTo>
                      <a:pt x="149" y="192"/>
                    </a:lnTo>
                    <a:lnTo>
                      <a:pt x="149" y="194"/>
                    </a:lnTo>
                    <a:lnTo>
                      <a:pt x="148" y="194"/>
                    </a:lnTo>
                    <a:lnTo>
                      <a:pt x="148" y="195"/>
                    </a:lnTo>
                    <a:lnTo>
                      <a:pt x="146" y="197"/>
                    </a:lnTo>
                    <a:lnTo>
                      <a:pt x="144" y="198"/>
                    </a:lnTo>
                    <a:lnTo>
                      <a:pt x="144" y="200"/>
                    </a:lnTo>
                    <a:lnTo>
                      <a:pt x="143" y="202"/>
                    </a:lnTo>
                    <a:lnTo>
                      <a:pt x="143" y="203"/>
                    </a:lnTo>
                    <a:lnTo>
                      <a:pt x="141" y="203"/>
                    </a:lnTo>
                    <a:lnTo>
                      <a:pt x="141" y="205"/>
                    </a:lnTo>
                    <a:lnTo>
                      <a:pt x="140" y="206"/>
                    </a:lnTo>
                    <a:lnTo>
                      <a:pt x="140" y="208"/>
                    </a:lnTo>
                    <a:lnTo>
                      <a:pt x="140" y="209"/>
                    </a:lnTo>
                    <a:lnTo>
                      <a:pt x="138" y="209"/>
                    </a:lnTo>
                    <a:lnTo>
                      <a:pt x="138" y="211"/>
                    </a:lnTo>
                    <a:lnTo>
                      <a:pt x="138" y="213"/>
                    </a:lnTo>
                    <a:lnTo>
                      <a:pt x="138" y="214"/>
                    </a:lnTo>
                    <a:lnTo>
                      <a:pt x="138" y="216"/>
                    </a:lnTo>
                    <a:lnTo>
                      <a:pt x="137" y="217"/>
                    </a:lnTo>
                    <a:lnTo>
                      <a:pt x="137" y="219"/>
                    </a:lnTo>
                    <a:lnTo>
                      <a:pt x="137" y="221"/>
                    </a:lnTo>
                    <a:lnTo>
                      <a:pt x="138" y="222"/>
                    </a:lnTo>
                    <a:lnTo>
                      <a:pt x="138" y="224"/>
                    </a:lnTo>
                    <a:lnTo>
                      <a:pt x="137" y="224"/>
                    </a:lnTo>
                    <a:lnTo>
                      <a:pt x="137" y="225"/>
                    </a:lnTo>
                    <a:lnTo>
                      <a:pt x="137" y="227"/>
                    </a:lnTo>
                    <a:lnTo>
                      <a:pt x="137" y="228"/>
                    </a:lnTo>
                    <a:lnTo>
                      <a:pt x="137" y="230"/>
                    </a:lnTo>
                    <a:lnTo>
                      <a:pt x="137" y="232"/>
                    </a:lnTo>
                    <a:lnTo>
                      <a:pt x="137" y="233"/>
                    </a:lnTo>
                    <a:lnTo>
                      <a:pt x="137" y="235"/>
                    </a:lnTo>
                    <a:lnTo>
                      <a:pt x="137" y="236"/>
                    </a:lnTo>
                    <a:lnTo>
                      <a:pt x="137" y="238"/>
                    </a:lnTo>
                    <a:lnTo>
                      <a:pt x="138" y="240"/>
                    </a:lnTo>
                    <a:lnTo>
                      <a:pt x="138" y="241"/>
                    </a:lnTo>
                    <a:lnTo>
                      <a:pt x="138" y="243"/>
                    </a:lnTo>
                    <a:lnTo>
                      <a:pt x="140" y="244"/>
                    </a:lnTo>
                    <a:lnTo>
                      <a:pt x="140" y="246"/>
                    </a:lnTo>
                    <a:lnTo>
                      <a:pt x="140" y="247"/>
                    </a:lnTo>
                    <a:lnTo>
                      <a:pt x="140" y="249"/>
                    </a:lnTo>
                    <a:lnTo>
                      <a:pt x="141" y="249"/>
                    </a:lnTo>
                    <a:lnTo>
                      <a:pt x="141" y="251"/>
                    </a:lnTo>
                    <a:lnTo>
                      <a:pt x="141" y="252"/>
                    </a:lnTo>
                    <a:lnTo>
                      <a:pt x="141" y="254"/>
                    </a:lnTo>
                    <a:lnTo>
                      <a:pt x="141" y="255"/>
                    </a:lnTo>
                    <a:lnTo>
                      <a:pt x="141" y="257"/>
                    </a:lnTo>
                    <a:lnTo>
                      <a:pt x="141" y="259"/>
                    </a:lnTo>
                    <a:lnTo>
                      <a:pt x="141" y="260"/>
                    </a:lnTo>
                    <a:lnTo>
                      <a:pt x="141" y="262"/>
                    </a:lnTo>
                    <a:lnTo>
                      <a:pt x="140" y="263"/>
                    </a:lnTo>
                    <a:lnTo>
                      <a:pt x="140" y="265"/>
                    </a:lnTo>
                    <a:lnTo>
                      <a:pt x="140" y="266"/>
                    </a:lnTo>
                    <a:lnTo>
                      <a:pt x="140" y="268"/>
                    </a:lnTo>
                    <a:lnTo>
                      <a:pt x="140" y="270"/>
                    </a:lnTo>
                    <a:lnTo>
                      <a:pt x="141" y="271"/>
                    </a:lnTo>
                    <a:lnTo>
                      <a:pt x="141" y="273"/>
                    </a:lnTo>
                    <a:lnTo>
                      <a:pt x="141" y="274"/>
                    </a:lnTo>
                    <a:lnTo>
                      <a:pt x="141" y="276"/>
                    </a:lnTo>
                    <a:lnTo>
                      <a:pt x="141" y="278"/>
                    </a:lnTo>
                    <a:lnTo>
                      <a:pt x="141" y="279"/>
                    </a:lnTo>
                    <a:lnTo>
                      <a:pt x="141" y="281"/>
                    </a:lnTo>
                    <a:lnTo>
                      <a:pt x="141" y="282"/>
                    </a:lnTo>
                    <a:lnTo>
                      <a:pt x="141" y="284"/>
                    </a:lnTo>
                    <a:lnTo>
                      <a:pt x="141" y="285"/>
                    </a:lnTo>
                    <a:lnTo>
                      <a:pt x="141" y="287"/>
                    </a:lnTo>
                    <a:lnTo>
                      <a:pt x="140" y="290"/>
                    </a:lnTo>
                    <a:lnTo>
                      <a:pt x="138" y="292"/>
                    </a:lnTo>
                    <a:lnTo>
                      <a:pt x="138" y="293"/>
                    </a:lnTo>
                    <a:lnTo>
                      <a:pt x="138" y="295"/>
                    </a:lnTo>
                    <a:lnTo>
                      <a:pt x="137" y="297"/>
                    </a:lnTo>
                    <a:lnTo>
                      <a:pt x="135" y="298"/>
                    </a:lnTo>
                    <a:lnTo>
                      <a:pt x="135" y="300"/>
                    </a:lnTo>
                    <a:lnTo>
                      <a:pt x="135" y="301"/>
                    </a:lnTo>
                    <a:lnTo>
                      <a:pt x="133" y="303"/>
                    </a:lnTo>
                    <a:lnTo>
                      <a:pt x="133" y="304"/>
                    </a:lnTo>
                    <a:lnTo>
                      <a:pt x="133" y="306"/>
                    </a:lnTo>
                    <a:lnTo>
                      <a:pt x="132" y="308"/>
                    </a:lnTo>
                    <a:lnTo>
                      <a:pt x="132" y="309"/>
                    </a:lnTo>
                    <a:lnTo>
                      <a:pt x="132" y="311"/>
                    </a:lnTo>
                    <a:lnTo>
                      <a:pt x="130" y="312"/>
                    </a:lnTo>
                    <a:lnTo>
                      <a:pt x="130" y="314"/>
                    </a:lnTo>
                    <a:lnTo>
                      <a:pt x="130" y="316"/>
                    </a:lnTo>
                    <a:lnTo>
                      <a:pt x="129" y="317"/>
                    </a:lnTo>
                    <a:lnTo>
                      <a:pt x="129" y="319"/>
                    </a:lnTo>
                    <a:lnTo>
                      <a:pt x="129" y="320"/>
                    </a:lnTo>
                    <a:lnTo>
                      <a:pt x="129" y="322"/>
                    </a:lnTo>
                    <a:lnTo>
                      <a:pt x="129" y="324"/>
                    </a:lnTo>
                    <a:lnTo>
                      <a:pt x="129" y="325"/>
                    </a:lnTo>
                    <a:lnTo>
                      <a:pt x="129" y="327"/>
                    </a:lnTo>
                    <a:lnTo>
                      <a:pt x="129" y="328"/>
                    </a:lnTo>
                    <a:lnTo>
                      <a:pt x="129" y="330"/>
                    </a:lnTo>
                    <a:lnTo>
                      <a:pt x="129" y="331"/>
                    </a:lnTo>
                    <a:lnTo>
                      <a:pt x="129" y="333"/>
                    </a:lnTo>
                    <a:lnTo>
                      <a:pt x="129" y="335"/>
                    </a:lnTo>
                    <a:lnTo>
                      <a:pt x="129" y="336"/>
                    </a:lnTo>
                    <a:lnTo>
                      <a:pt x="130" y="336"/>
                    </a:lnTo>
                    <a:lnTo>
                      <a:pt x="130" y="338"/>
                    </a:lnTo>
                    <a:lnTo>
                      <a:pt x="130" y="339"/>
                    </a:lnTo>
                    <a:lnTo>
                      <a:pt x="132" y="339"/>
                    </a:lnTo>
                    <a:lnTo>
                      <a:pt x="132" y="341"/>
                    </a:lnTo>
                    <a:lnTo>
                      <a:pt x="132" y="343"/>
                    </a:lnTo>
                    <a:lnTo>
                      <a:pt x="133" y="343"/>
                    </a:lnTo>
                    <a:lnTo>
                      <a:pt x="133" y="344"/>
                    </a:lnTo>
                    <a:lnTo>
                      <a:pt x="133" y="346"/>
                    </a:lnTo>
                    <a:lnTo>
                      <a:pt x="135" y="346"/>
                    </a:lnTo>
                    <a:lnTo>
                      <a:pt x="135" y="347"/>
                    </a:lnTo>
                    <a:lnTo>
                      <a:pt x="135" y="349"/>
                    </a:lnTo>
                    <a:lnTo>
                      <a:pt x="135" y="350"/>
                    </a:lnTo>
                    <a:lnTo>
                      <a:pt x="137" y="352"/>
                    </a:lnTo>
                    <a:lnTo>
                      <a:pt x="137" y="354"/>
                    </a:lnTo>
                    <a:lnTo>
                      <a:pt x="137" y="355"/>
                    </a:lnTo>
                    <a:lnTo>
                      <a:pt x="138" y="355"/>
                    </a:lnTo>
                    <a:lnTo>
                      <a:pt x="138" y="357"/>
                    </a:lnTo>
                    <a:lnTo>
                      <a:pt x="140" y="357"/>
                    </a:lnTo>
                    <a:lnTo>
                      <a:pt x="140" y="358"/>
                    </a:lnTo>
                    <a:lnTo>
                      <a:pt x="141" y="358"/>
                    </a:lnTo>
                    <a:lnTo>
                      <a:pt x="140" y="360"/>
                    </a:lnTo>
                    <a:lnTo>
                      <a:pt x="140" y="362"/>
                    </a:lnTo>
                    <a:lnTo>
                      <a:pt x="138" y="363"/>
                    </a:lnTo>
                    <a:lnTo>
                      <a:pt x="138" y="365"/>
                    </a:lnTo>
                    <a:lnTo>
                      <a:pt x="137" y="366"/>
                    </a:lnTo>
                    <a:lnTo>
                      <a:pt x="137" y="368"/>
                    </a:lnTo>
                    <a:lnTo>
                      <a:pt x="135" y="369"/>
                    </a:lnTo>
                    <a:lnTo>
                      <a:pt x="135" y="371"/>
                    </a:lnTo>
                    <a:lnTo>
                      <a:pt x="135" y="373"/>
                    </a:lnTo>
                    <a:lnTo>
                      <a:pt x="133" y="373"/>
                    </a:lnTo>
                    <a:lnTo>
                      <a:pt x="133" y="374"/>
                    </a:lnTo>
                    <a:lnTo>
                      <a:pt x="133" y="376"/>
                    </a:lnTo>
                    <a:lnTo>
                      <a:pt x="132" y="376"/>
                    </a:lnTo>
                    <a:lnTo>
                      <a:pt x="132" y="377"/>
                    </a:lnTo>
                    <a:lnTo>
                      <a:pt x="132" y="379"/>
                    </a:lnTo>
                    <a:lnTo>
                      <a:pt x="132" y="381"/>
                    </a:lnTo>
                    <a:lnTo>
                      <a:pt x="130" y="381"/>
                    </a:lnTo>
                    <a:lnTo>
                      <a:pt x="130" y="382"/>
                    </a:lnTo>
                    <a:lnTo>
                      <a:pt x="129" y="382"/>
                    </a:lnTo>
                    <a:lnTo>
                      <a:pt x="129" y="384"/>
                    </a:lnTo>
                    <a:lnTo>
                      <a:pt x="129" y="385"/>
                    </a:lnTo>
                    <a:lnTo>
                      <a:pt x="127" y="385"/>
                    </a:lnTo>
                    <a:lnTo>
                      <a:pt x="127" y="387"/>
                    </a:lnTo>
                    <a:lnTo>
                      <a:pt x="127" y="388"/>
                    </a:lnTo>
                    <a:lnTo>
                      <a:pt x="127" y="390"/>
                    </a:lnTo>
                    <a:lnTo>
                      <a:pt x="129" y="392"/>
                    </a:lnTo>
                    <a:lnTo>
                      <a:pt x="129" y="393"/>
                    </a:lnTo>
                    <a:lnTo>
                      <a:pt x="129" y="395"/>
                    </a:lnTo>
                    <a:lnTo>
                      <a:pt x="129" y="396"/>
                    </a:lnTo>
                    <a:lnTo>
                      <a:pt x="130" y="398"/>
                    </a:lnTo>
                    <a:lnTo>
                      <a:pt x="130" y="400"/>
                    </a:lnTo>
                    <a:lnTo>
                      <a:pt x="130" y="401"/>
                    </a:lnTo>
                    <a:lnTo>
                      <a:pt x="132" y="403"/>
                    </a:lnTo>
                    <a:lnTo>
                      <a:pt x="132" y="404"/>
                    </a:lnTo>
                    <a:lnTo>
                      <a:pt x="132" y="406"/>
                    </a:lnTo>
                    <a:lnTo>
                      <a:pt x="133" y="406"/>
                    </a:lnTo>
                    <a:lnTo>
                      <a:pt x="133" y="407"/>
                    </a:lnTo>
                    <a:lnTo>
                      <a:pt x="133" y="409"/>
                    </a:lnTo>
                    <a:lnTo>
                      <a:pt x="133" y="411"/>
                    </a:lnTo>
                    <a:lnTo>
                      <a:pt x="133" y="412"/>
                    </a:lnTo>
                    <a:lnTo>
                      <a:pt x="133" y="414"/>
                    </a:lnTo>
                    <a:lnTo>
                      <a:pt x="133" y="415"/>
                    </a:lnTo>
                    <a:lnTo>
                      <a:pt x="135" y="415"/>
                    </a:lnTo>
                    <a:lnTo>
                      <a:pt x="135" y="417"/>
                    </a:lnTo>
                    <a:lnTo>
                      <a:pt x="135" y="419"/>
                    </a:lnTo>
                    <a:lnTo>
                      <a:pt x="137" y="420"/>
                    </a:lnTo>
                    <a:lnTo>
                      <a:pt x="137" y="422"/>
                    </a:lnTo>
                    <a:lnTo>
                      <a:pt x="138" y="422"/>
                    </a:lnTo>
                    <a:lnTo>
                      <a:pt x="140" y="422"/>
                    </a:lnTo>
                    <a:lnTo>
                      <a:pt x="141" y="422"/>
                    </a:lnTo>
                    <a:lnTo>
                      <a:pt x="143" y="422"/>
                    </a:lnTo>
                    <a:lnTo>
                      <a:pt x="143" y="423"/>
                    </a:lnTo>
                    <a:lnTo>
                      <a:pt x="144" y="423"/>
                    </a:lnTo>
                    <a:lnTo>
                      <a:pt x="146" y="423"/>
                    </a:lnTo>
                    <a:lnTo>
                      <a:pt x="148" y="425"/>
                    </a:lnTo>
                    <a:lnTo>
                      <a:pt x="149" y="425"/>
                    </a:lnTo>
                    <a:lnTo>
                      <a:pt x="149" y="426"/>
                    </a:lnTo>
                    <a:lnTo>
                      <a:pt x="151" y="426"/>
                    </a:lnTo>
                    <a:lnTo>
                      <a:pt x="152" y="428"/>
                    </a:lnTo>
                    <a:lnTo>
                      <a:pt x="152" y="430"/>
                    </a:lnTo>
                    <a:lnTo>
                      <a:pt x="154" y="430"/>
                    </a:lnTo>
                    <a:lnTo>
                      <a:pt x="156" y="430"/>
                    </a:lnTo>
                    <a:lnTo>
                      <a:pt x="156" y="431"/>
                    </a:lnTo>
                    <a:lnTo>
                      <a:pt x="157" y="431"/>
                    </a:lnTo>
                    <a:lnTo>
                      <a:pt x="159" y="431"/>
                    </a:lnTo>
                    <a:lnTo>
                      <a:pt x="160" y="431"/>
                    </a:lnTo>
                    <a:lnTo>
                      <a:pt x="162" y="431"/>
                    </a:lnTo>
                    <a:lnTo>
                      <a:pt x="163" y="431"/>
                    </a:lnTo>
                    <a:lnTo>
                      <a:pt x="163" y="433"/>
                    </a:lnTo>
                    <a:lnTo>
                      <a:pt x="165" y="433"/>
                    </a:lnTo>
                    <a:lnTo>
                      <a:pt x="167" y="433"/>
                    </a:lnTo>
                    <a:lnTo>
                      <a:pt x="167" y="434"/>
                    </a:lnTo>
                    <a:lnTo>
                      <a:pt x="168" y="434"/>
                    </a:lnTo>
                    <a:lnTo>
                      <a:pt x="170" y="434"/>
                    </a:lnTo>
                    <a:lnTo>
                      <a:pt x="171" y="436"/>
                    </a:lnTo>
                    <a:lnTo>
                      <a:pt x="173" y="436"/>
                    </a:lnTo>
                    <a:lnTo>
                      <a:pt x="173" y="438"/>
                    </a:lnTo>
                    <a:lnTo>
                      <a:pt x="175" y="438"/>
                    </a:lnTo>
                    <a:lnTo>
                      <a:pt x="176" y="439"/>
                    </a:lnTo>
                    <a:lnTo>
                      <a:pt x="176" y="441"/>
                    </a:lnTo>
                    <a:lnTo>
                      <a:pt x="176" y="442"/>
                    </a:lnTo>
                    <a:lnTo>
                      <a:pt x="178" y="442"/>
                    </a:lnTo>
                    <a:lnTo>
                      <a:pt x="178" y="444"/>
                    </a:lnTo>
                    <a:lnTo>
                      <a:pt x="178" y="445"/>
                    </a:lnTo>
                    <a:lnTo>
                      <a:pt x="179" y="445"/>
                    </a:lnTo>
                    <a:lnTo>
                      <a:pt x="179" y="447"/>
                    </a:lnTo>
                    <a:lnTo>
                      <a:pt x="181" y="447"/>
                    </a:lnTo>
                    <a:lnTo>
                      <a:pt x="181" y="449"/>
                    </a:lnTo>
                    <a:lnTo>
                      <a:pt x="182" y="449"/>
                    </a:lnTo>
                    <a:lnTo>
                      <a:pt x="184" y="449"/>
                    </a:lnTo>
                    <a:lnTo>
                      <a:pt x="186" y="449"/>
                    </a:lnTo>
                    <a:lnTo>
                      <a:pt x="187" y="449"/>
                    </a:lnTo>
                    <a:lnTo>
                      <a:pt x="187" y="450"/>
                    </a:lnTo>
                    <a:lnTo>
                      <a:pt x="189" y="450"/>
                    </a:lnTo>
                    <a:lnTo>
                      <a:pt x="190" y="450"/>
                    </a:lnTo>
                    <a:lnTo>
                      <a:pt x="192" y="450"/>
                    </a:lnTo>
                    <a:lnTo>
                      <a:pt x="192" y="452"/>
                    </a:lnTo>
                    <a:lnTo>
                      <a:pt x="194" y="452"/>
                    </a:lnTo>
                    <a:lnTo>
                      <a:pt x="195" y="452"/>
                    </a:lnTo>
                    <a:lnTo>
                      <a:pt x="195" y="453"/>
                    </a:lnTo>
                    <a:lnTo>
                      <a:pt x="197" y="453"/>
                    </a:lnTo>
                    <a:lnTo>
                      <a:pt x="197" y="455"/>
                    </a:lnTo>
                    <a:lnTo>
                      <a:pt x="198" y="455"/>
                    </a:lnTo>
                    <a:lnTo>
                      <a:pt x="198" y="457"/>
                    </a:lnTo>
                    <a:lnTo>
                      <a:pt x="200" y="458"/>
                    </a:lnTo>
                    <a:lnTo>
                      <a:pt x="200" y="460"/>
                    </a:lnTo>
                    <a:lnTo>
                      <a:pt x="201" y="461"/>
                    </a:lnTo>
                    <a:lnTo>
                      <a:pt x="201" y="463"/>
                    </a:lnTo>
                    <a:lnTo>
                      <a:pt x="203" y="464"/>
                    </a:lnTo>
                    <a:lnTo>
                      <a:pt x="205" y="464"/>
                    </a:lnTo>
                    <a:lnTo>
                      <a:pt x="205" y="466"/>
                    </a:lnTo>
                    <a:lnTo>
                      <a:pt x="206" y="466"/>
                    </a:lnTo>
                    <a:lnTo>
                      <a:pt x="206" y="468"/>
                    </a:lnTo>
                    <a:lnTo>
                      <a:pt x="208" y="468"/>
                    </a:lnTo>
                    <a:lnTo>
                      <a:pt x="209" y="469"/>
                    </a:lnTo>
                    <a:lnTo>
                      <a:pt x="211" y="469"/>
                    </a:lnTo>
                    <a:lnTo>
                      <a:pt x="211" y="471"/>
                    </a:lnTo>
                    <a:lnTo>
                      <a:pt x="213" y="471"/>
                    </a:lnTo>
                    <a:lnTo>
                      <a:pt x="214" y="472"/>
                    </a:lnTo>
                    <a:lnTo>
                      <a:pt x="214" y="474"/>
                    </a:lnTo>
                    <a:lnTo>
                      <a:pt x="216" y="474"/>
                    </a:lnTo>
                    <a:lnTo>
                      <a:pt x="216" y="476"/>
                    </a:lnTo>
                    <a:lnTo>
                      <a:pt x="217" y="476"/>
                    </a:lnTo>
                    <a:lnTo>
                      <a:pt x="217" y="477"/>
                    </a:lnTo>
                    <a:lnTo>
                      <a:pt x="219" y="477"/>
                    </a:lnTo>
                    <a:lnTo>
                      <a:pt x="219" y="479"/>
                    </a:lnTo>
                    <a:lnTo>
                      <a:pt x="221" y="480"/>
                    </a:lnTo>
                    <a:lnTo>
                      <a:pt x="222" y="482"/>
                    </a:lnTo>
                    <a:lnTo>
                      <a:pt x="222" y="483"/>
                    </a:lnTo>
                    <a:lnTo>
                      <a:pt x="224" y="483"/>
                    </a:lnTo>
                    <a:lnTo>
                      <a:pt x="224" y="485"/>
                    </a:lnTo>
                    <a:lnTo>
                      <a:pt x="225" y="485"/>
                    </a:lnTo>
                    <a:lnTo>
                      <a:pt x="227" y="485"/>
                    </a:lnTo>
                    <a:lnTo>
                      <a:pt x="227" y="487"/>
                    </a:lnTo>
                    <a:lnTo>
                      <a:pt x="228" y="487"/>
                    </a:lnTo>
                    <a:lnTo>
                      <a:pt x="230" y="487"/>
                    </a:lnTo>
                    <a:lnTo>
                      <a:pt x="232" y="488"/>
                    </a:lnTo>
                    <a:lnTo>
                      <a:pt x="232" y="490"/>
                    </a:lnTo>
                    <a:lnTo>
                      <a:pt x="233" y="491"/>
                    </a:lnTo>
                    <a:lnTo>
                      <a:pt x="233" y="493"/>
                    </a:lnTo>
                    <a:lnTo>
                      <a:pt x="232" y="493"/>
                    </a:lnTo>
                    <a:lnTo>
                      <a:pt x="232" y="495"/>
                    </a:lnTo>
                    <a:lnTo>
                      <a:pt x="230" y="496"/>
                    </a:lnTo>
                    <a:lnTo>
                      <a:pt x="228" y="496"/>
                    </a:lnTo>
                    <a:lnTo>
                      <a:pt x="228" y="498"/>
                    </a:lnTo>
                    <a:lnTo>
                      <a:pt x="227" y="499"/>
                    </a:lnTo>
                    <a:lnTo>
                      <a:pt x="225" y="501"/>
                    </a:lnTo>
                    <a:lnTo>
                      <a:pt x="225" y="502"/>
                    </a:lnTo>
                    <a:lnTo>
                      <a:pt x="224" y="502"/>
                    </a:lnTo>
                    <a:lnTo>
                      <a:pt x="224" y="504"/>
                    </a:lnTo>
                    <a:lnTo>
                      <a:pt x="222" y="504"/>
                    </a:lnTo>
                    <a:lnTo>
                      <a:pt x="222" y="506"/>
                    </a:lnTo>
                    <a:lnTo>
                      <a:pt x="221" y="506"/>
                    </a:lnTo>
                    <a:lnTo>
                      <a:pt x="221" y="507"/>
                    </a:lnTo>
                    <a:lnTo>
                      <a:pt x="219" y="507"/>
                    </a:lnTo>
                    <a:lnTo>
                      <a:pt x="219" y="509"/>
                    </a:lnTo>
                    <a:lnTo>
                      <a:pt x="217" y="509"/>
                    </a:lnTo>
                    <a:lnTo>
                      <a:pt x="217" y="510"/>
                    </a:lnTo>
                    <a:lnTo>
                      <a:pt x="216" y="510"/>
                    </a:lnTo>
                    <a:lnTo>
                      <a:pt x="216" y="512"/>
                    </a:lnTo>
                    <a:lnTo>
                      <a:pt x="214" y="514"/>
                    </a:lnTo>
                    <a:lnTo>
                      <a:pt x="213" y="515"/>
                    </a:lnTo>
                    <a:lnTo>
                      <a:pt x="211" y="517"/>
                    </a:lnTo>
                    <a:lnTo>
                      <a:pt x="211" y="518"/>
                    </a:lnTo>
                    <a:lnTo>
                      <a:pt x="209" y="518"/>
                    </a:lnTo>
                    <a:lnTo>
                      <a:pt x="208" y="520"/>
                    </a:lnTo>
                    <a:lnTo>
                      <a:pt x="208" y="522"/>
                    </a:lnTo>
                    <a:lnTo>
                      <a:pt x="206" y="522"/>
                    </a:lnTo>
                    <a:lnTo>
                      <a:pt x="206" y="523"/>
                    </a:lnTo>
                    <a:lnTo>
                      <a:pt x="205" y="523"/>
                    </a:lnTo>
                    <a:lnTo>
                      <a:pt x="205" y="525"/>
                    </a:lnTo>
                    <a:lnTo>
                      <a:pt x="203" y="525"/>
                    </a:lnTo>
                    <a:lnTo>
                      <a:pt x="203" y="526"/>
                    </a:lnTo>
                    <a:lnTo>
                      <a:pt x="201" y="526"/>
                    </a:lnTo>
                    <a:lnTo>
                      <a:pt x="201" y="528"/>
                    </a:lnTo>
                    <a:lnTo>
                      <a:pt x="200" y="529"/>
                    </a:lnTo>
                    <a:lnTo>
                      <a:pt x="198" y="529"/>
                    </a:lnTo>
                    <a:lnTo>
                      <a:pt x="198" y="531"/>
                    </a:lnTo>
                    <a:lnTo>
                      <a:pt x="197" y="531"/>
                    </a:lnTo>
                    <a:lnTo>
                      <a:pt x="195" y="533"/>
                    </a:lnTo>
                    <a:lnTo>
                      <a:pt x="194" y="533"/>
                    </a:lnTo>
                    <a:lnTo>
                      <a:pt x="192" y="534"/>
                    </a:lnTo>
                    <a:lnTo>
                      <a:pt x="190" y="536"/>
                    </a:lnTo>
                    <a:lnTo>
                      <a:pt x="189" y="537"/>
                    </a:lnTo>
                    <a:lnTo>
                      <a:pt x="187" y="539"/>
                    </a:lnTo>
                    <a:lnTo>
                      <a:pt x="187" y="541"/>
                    </a:lnTo>
                    <a:lnTo>
                      <a:pt x="186" y="541"/>
                    </a:lnTo>
                    <a:lnTo>
                      <a:pt x="186" y="542"/>
                    </a:lnTo>
                    <a:lnTo>
                      <a:pt x="184" y="542"/>
                    </a:lnTo>
                    <a:lnTo>
                      <a:pt x="184" y="544"/>
                    </a:lnTo>
                    <a:lnTo>
                      <a:pt x="182" y="544"/>
                    </a:lnTo>
                    <a:lnTo>
                      <a:pt x="182" y="545"/>
                    </a:lnTo>
                    <a:lnTo>
                      <a:pt x="182" y="547"/>
                    </a:lnTo>
                    <a:lnTo>
                      <a:pt x="181" y="547"/>
                    </a:lnTo>
                    <a:lnTo>
                      <a:pt x="179" y="548"/>
                    </a:lnTo>
                    <a:lnTo>
                      <a:pt x="179" y="550"/>
                    </a:lnTo>
                    <a:lnTo>
                      <a:pt x="179" y="552"/>
                    </a:lnTo>
                    <a:lnTo>
                      <a:pt x="178" y="552"/>
                    </a:lnTo>
                    <a:lnTo>
                      <a:pt x="178" y="553"/>
                    </a:lnTo>
                    <a:lnTo>
                      <a:pt x="176" y="553"/>
                    </a:lnTo>
                    <a:lnTo>
                      <a:pt x="176" y="555"/>
                    </a:lnTo>
                    <a:lnTo>
                      <a:pt x="175" y="556"/>
                    </a:lnTo>
                    <a:lnTo>
                      <a:pt x="175" y="558"/>
                    </a:lnTo>
                    <a:lnTo>
                      <a:pt x="173" y="558"/>
                    </a:lnTo>
                    <a:lnTo>
                      <a:pt x="173" y="560"/>
                    </a:lnTo>
                    <a:lnTo>
                      <a:pt x="175" y="560"/>
                    </a:lnTo>
                    <a:lnTo>
                      <a:pt x="175" y="561"/>
                    </a:lnTo>
                    <a:lnTo>
                      <a:pt x="176" y="563"/>
                    </a:lnTo>
                    <a:lnTo>
                      <a:pt x="178" y="564"/>
                    </a:lnTo>
                    <a:lnTo>
                      <a:pt x="179" y="564"/>
                    </a:lnTo>
                    <a:lnTo>
                      <a:pt x="179" y="566"/>
                    </a:lnTo>
                    <a:lnTo>
                      <a:pt x="181" y="566"/>
                    </a:lnTo>
                    <a:lnTo>
                      <a:pt x="182" y="566"/>
                    </a:lnTo>
                    <a:lnTo>
                      <a:pt x="184" y="567"/>
                    </a:lnTo>
                    <a:lnTo>
                      <a:pt x="186" y="567"/>
                    </a:lnTo>
                    <a:lnTo>
                      <a:pt x="186" y="569"/>
                    </a:lnTo>
                    <a:lnTo>
                      <a:pt x="187" y="569"/>
                    </a:lnTo>
                    <a:lnTo>
                      <a:pt x="187" y="571"/>
                    </a:lnTo>
                    <a:lnTo>
                      <a:pt x="189" y="571"/>
                    </a:lnTo>
                    <a:lnTo>
                      <a:pt x="190" y="572"/>
                    </a:lnTo>
                    <a:lnTo>
                      <a:pt x="192" y="572"/>
                    </a:lnTo>
                    <a:lnTo>
                      <a:pt x="192" y="574"/>
                    </a:lnTo>
                    <a:lnTo>
                      <a:pt x="194" y="574"/>
                    </a:lnTo>
                    <a:lnTo>
                      <a:pt x="194" y="575"/>
                    </a:lnTo>
                    <a:lnTo>
                      <a:pt x="194" y="577"/>
                    </a:lnTo>
                    <a:lnTo>
                      <a:pt x="194" y="579"/>
                    </a:lnTo>
                    <a:lnTo>
                      <a:pt x="194" y="580"/>
                    </a:lnTo>
                    <a:lnTo>
                      <a:pt x="194" y="582"/>
                    </a:lnTo>
                    <a:lnTo>
                      <a:pt x="194" y="583"/>
                    </a:lnTo>
                    <a:lnTo>
                      <a:pt x="194" y="585"/>
                    </a:lnTo>
                    <a:lnTo>
                      <a:pt x="194" y="586"/>
                    </a:lnTo>
                    <a:lnTo>
                      <a:pt x="194" y="588"/>
                    </a:lnTo>
                    <a:lnTo>
                      <a:pt x="194" y="590"/>
                    </a:lnTo>
                    <a:lnTo>
                      <a:pt x="192" y="590"/>
                    </a:lnTo>
                    <a:lnTo>
                      <a:pt x="192" y="591"/>
                    </a:lnTo>
                    <a:lnTo>
                      <a:pt x="190" y="593"/>
                    </a:lnTo>
                    <a:lnTo>
                      <a:pt x="190" y="594"/>
                    </a:lnTo>
                    <a:lnTo>
                      <a:pt x="190" y="596"/>
                    </a:lnTo>
                    <a:lnTo>
                      <a:pt x="189" y="596"/>
                    </a:lnTo>
                    <a:lnTo>
                      <a:pt x="189" y="598"/>
                    </a:lnTo>
                    <a:lnTo>
                      <a:pt x="189" y="599"/>
                    </a:lnTo>
                    <a:lnTo>
                      <a:pt x="187" y="599"/>
                    </a:lnTo>
                    <a:lnTo>
                      <a:pt x="187" y="601"/>
                    </a:lnTo>
                    <a:lnTo>
                      <a:pt x="186" y="602"/>
                    </a:lnTo>
                    <a:lnTo>
                      <a:pt x="186" y="604"/>
                    </a:lnTo>
                    <a:lnTo>
                      <a:pt x="184" y="604"/>
                    </a:lnTo>
                    <a:lnTo>
                      <a:pt x="184" y="605"/>
                    </a:lnTo>
                    <a:lnTo>
                      <a:pt x="182" y="607"/>
                    </a:lnTo>
                    <a:lnTo>
                      <a:pt x="181" y="607"/>
                    </a:lnTo>
                    <a:lnTo>
                      <a:pt x="179" y="607"/>
                    </a:lnTo>
                    <a:lnTo>
                      <a:pt x="178" y="607"/>
                    </a:lnTo>
                    <a:lnTo>
                      <a:pt x="176" y="607"/>
                    </a:lnTo>
                    <a:lnTo>
                      <a:pt x="175" y="607"/>
                    </a:lnTo>
                    <a:lnTo>
                      <a:pt x="175" y="609"/>
                    </a:lnTo>
                    <a:lnTo>
                      <a:pt x="176" y="609"/>
                    </a:lnTo>
                    <a:lnTo>
                      <a:pt x="176" y="610"/>
                    </a:lnTo>
                    <a:lnTo>
                      <a:pt x="176" y="612"/>
                    </a:lnTo>
                    <a:lnTo>
                      <a:pt x="176" y="613"/>
                    </a:lnTo>
                    <a:lnTo>
                      <a:pt x="176" y="615"/>
                    </a:lnTo>
                    <a:lnTo>
                      <a:pt x="176" y="617"/>
                    </a:lnTo>
                    <a:lnTo>
                      <a:pt x="176" y="618"/>
                    </a:lnTo>
                    <a:lnTo>
                      <a:pt x="176" y="620"/>
                    </a:lnTo>
                    <a:lnTo>
                      <a:pt x="176" y="621"/>
                    </a:lnTo>
                    <a:lnTo>
                      <a:pt x="175" y="623"/>
                    </a:lnTo>
                    <a:lnTo>
                      <a:pt x="175" y="624"/>
                    </a:lnTo>
                    <a:lnTo>
                      <a:pt x="175" y="626"/>
                    </a:lnTo>
                    <a:lnTo>
                      <a:pt x="175" y="628"/>
                    </a:lnTo>
                    <a:lnTo>
                      <a:pt x="175" y="629"/>
                    </a:lnTo>
                    <a:lnTo>
                      <a:pt x="175" y="631"/>
                    </a:lnTo>
                    <a:lnTo>
                      <a:pt x="175" y="632"/>
                    </a:lnTo>
                    <a:lnTo>
                      <a:pt x="175" y="634"/>
                    </a:lnTo>
                    <a:lnTo>
                      <a:pt x="175" y="636"/>
                    </a:lnTo>
                    <a:lnTo>
                      <a:pt x="175" y="637"/>
                    </a:lnTo>
                    <a:lnTo>
                      <a:pt x="175" y="639"/>
                    </a:lnTo>
                    <a:lnTo>
                      <a:pt x="175" y="640"/>
                    </a:lnTo>
                    <a:lnTo>
                      <a:pt x="175" y="642"/>
                    </a:lnTo>
                    <a:lnTo>
                      <a:pt x="175" y="643"/>
                    </a:lnTo>
                    <a:lnTo>
                      <a:pt x="175" y="645"/>
                    </a:lnTo>
                    <a:lnTo>
                      <a:pt x="175" y="647"/>
                    </a:lnTo>
                    <a:lnTo>
                      <a:pt x="175" y="648"/>
                    </a:lnTo>
                    <a:lnTo>
                      <a:pt x="175" y="650"/>
                    </a:lnTo>
                    <a:lnTo>
                      <a:pt x="175" y="651"/>
                    </a:lnTo>
                    <a:lnTo>
                      <a:pt x="175" y="653"/>
                    </a:lnTo>
                    <a:lnTo>
                      <a:pt x="175" y="655"/>
                    </a:lnTo>
                    <a:lnTo>
                      <a:pt x="175" y="656"/>
                    </a:lnTo>
                    <a:lnTo>
                      <a:pt x="173" y="656"/>
                    </a:lnTo>
                    <a:lnTo>
                      <a:pt x="173" y="658"/>
                    </a:lnTo>
                    <a:lnTo>
                      <a:pt x="171" y="659"/>
                    </a:lnTo>
                    <a:lnTo>
                      <a:pt x="171" y="661"/>
                    </a:lnTo>
                    <a:lnTo>
                      <a:pt x="170" y="662"/>
                    </a:lnTo>
                    <a:lnTo>
                      <a:pt x="170" y="664"/>
                    </a:lnTo>
                    <a:lnTo>
                      <a:pt x="168" y="666"/>
                    </a:lnTo>
                    <a:lnTo>
                      <a:pt x="168" y="667"/>
                    </a:lnTo>
                    <a:lnTo>
                      <a:pt x="168" y="669"/>
                    </a:lnTo>
                    <a:lnTo>
                      <a:pt x="167" y="670"/>
                    </a:lnTo>
                    <a:lnTo>
                      <a:pt x="167" y="672"/>
                    </a:lnTo>
                    <a:lnTo>
                      <a:pt x="167" y="674"/>
                    </a:lnTo>
                    <a:lnTo>
                      <a:pt x="165" y="674"/>
                    </a:lnTo>
                    <a:lnTo>
                      <a:pt x="165" y="675"/>
                    </a:lnTo>
                    <a:lnTo>
                      <a:pt x="165" y="677"/>
                    </a:lnTo>
                    <a:lnTo>
                      <a:pt x="165" y="678"/>
                    </a:lnTo>
                    <a:lnTo>
                      <a:pt x="163" y="680"/>
                    </a:lnTo>
                    <a:lnTo>
                      <a:pt x="163" y="681"/>
                    </a:lnTo>
                    <a:lnTo>
                      <a:pt x="163" y="683"/>
                    </a:lnTo>
                    <a:lnTo>
                      <a:pt x="163" y="685"/>
                    </a:lnTo>
                    <a:lnTo>
                      <a:pt x="163" y="686"/>
                    </a:lnTo>
                    <a:lnTo>
                      <a:pt x="162" y="686"/>
                    </a:lnTo>
                    <a:lnTo>
                      <a:pt x="162" y="688"/>
                    </a:lnTo>
                    <a:lnTo>
                      <a:pt x="162" y="689"/>
                    </a:lnTo>
                    <a:lnTo>
                      <a:pt x="162" y="691"/>
                    </a:lnTo>
                    <a:lnTo>
                      <a:pt x="160" y="693"/>
                    </a:lnTo>
                    <a:lnTo>
                      <a:pt x="160" y="694"/>
                    </a:lnTo>
                    <a:lnTo>
                      <a:pt x="160" y="696"/>
                    </a:lnTo>
                    <a:lnTo>
                      <a:pt x="159" y="696"/>
                    </a:lnTo>
                    <a:lnTo>
                      <a:pt x="159" y="697"/>
                    </a:lnTo>
                    <a:lnTo>
                      <a:pt x="159" y="699"/>
                    </a:lnTo>
                    <a:lnTo>
                      <a:pt x="159" y="701"/>
                    </a:lnTo>
                    <a:lnTo>
                      <a:pt x="157" y="701"/>
                    </a:lnTo>
                    <a:lnTo>
                      <a:pt x="157" y="702"/>
                    </a:lnTo>
                    <a:lnTo>
                      <a:pt x="157" y="704"/>
                    </a:lnTo>
                    <a:lnTo>
                      <a:pt x="157" y="705"/>
                    </a:lnTo>
                    <a:lnTo>
                      <a:pt x="157" y="707"/>
                    </a:lnTo>
                    <a:lnTo>
                      <a:pt x="157" y="708"/>
                    </a:lnTo>
                    <a:lnTo>
                      <a:pt x="157" y="710"/>
                    </a:lnTo>
                    <a:lnTo>
                      <a:pt x="157" y="712"/>
                    </a:lnTo>
                    <a:lnTo>
                      <a:pt x="157" y="713"/>
                    </a:lnTo>
                    <a:lnTo>
                      <a:pt x="157" y="715"/>
                    </a:lnTo>
                    <a:lnTo>
                      <a:pt x="157" y="716"/>
                    </a:lnTo>
                    <a:lnTo>
                      <a:pt x="157" y="718"/>
                    </a:lnTo>
                    <a:lnTo>
                      <a:pt x="157" y="720"/>
                    </a:lnTo>
                    <a:lnTo>
                      <a:pt x="157" y="721"/>
                    </a:lnTo>
                    <a:lnTo>
                      <a:pt x="157" y="723"/>
                    </a:lnTo>
                    <a:lnTo>
                      <a:pt x="157" y="724"/>
                    </a:lnTo>
                    <a:lnTo>
                      <a:pt x="157" y="726"/>
                    </a:lnTo>
                    <a:lnTo>
                      <a:pt x="157" y="727"/>
                    </a:lnTo>
                    <a:lnTo>
                      <a:pt x="157" y="729"/>
                    </a:lnTo>
                    <a:lnTo>
                      <a:pt x="157" y="731"/>
                    </a:lnTo>
                    <a:lnTo>
                      <a:pt x="157" y="732"/>
                    </a:lnTo>
                    <a:lnTo>
                      <a:pt x="157" y="734"/>
                    </a:lnTo>
                    <a:lnTo>
                      <a:pt x="157" y="735"/>
                    </a:lnTo>
                    <a:lnTo>
                      <a:pt x="157" y="737"/>
                    </a:lnTo>
                    <a:lnTo>
                      <a:pt x="157" y="739"/>
                    </a:lnTo>
                    <a:lnTo>
                      <a:pt x="157" y="740"/>
                    </a:lnTo>
                    <a:lnTo>
                      <a:pt x="157" y="742"/>
                    </a:lnTo>
                    <a:lnTo>
                      <a:pt x="157" y="743"/>
                    </a:lnTo>
                    <a:lnTo>
                      <a:pt x="157" y="745"/>
                    </a:lnTo>
                    <a:lnTo>
                      <a:pt x="157" y="746"/>
                    </a:lnTo>
                    <a:lnTo>
                      <a:pt x="157" y="748"/>
                    </a:lnTo>
                    <a:lnTo>
                      <a:pt x="157" y="750"/>
                    </a:lnTo>
                    <a:lnTo>
                      <a:pt x="159" y="750"/>
                    </a:lnTo>
                    <a:lnTo>
                      <a:pt x="159" y="751"/>
                    </a:lnTo>
                    <a:lnTo>
                      <a:pt x="159" y="753"/>
                    </a:lnTo>
                    <a:lnTo>
                      <a:pt x="160" y="753"/>
                    </a:lnTo>
                    <a:lnTo>
                      <a:pt x="160" y="754"/>
                    </a:lnTo>
                    <a:lnTo>
                      <a:pt x="160" y="756"/>
                    </a:lnTo>
                    <a:lnTo>
                      <a:pt x="162" y="758"/>
                    </a:lnTo>
                    <a:lnTo>
                      <a:pt x="162" y="759"/>
                    </a:lnTo>
                    <a:lnTo>
                      <a:pt x="163" y="759"/>
                    </a:lnTo>
                    <a:lnTo>
                      <a:pt x="163" y="761"/>
                    </a:lnTo>
                    <a:lnTo>
                      <a:pt x="163" y="762"/>
                    </a:lnTo>
                    <a:lnTo>
                      <a:pt x="162" y="762"/>
                    </a:lnTo>
                    <a:lnTo>
                      <a:pt x="160" y="764"/>
                    </a:lnTo>
                    <a:lnTo>
                      <a:pt x="159" y="764"/>
                    </a:lnTo>
                    <a:lnTo>
                      <a:pt x="157" y="764"/>
                    </a:lnTo>
                    <a:lnTo>
                      <a:pt x="157" y="765"/>
                    </a:lnTo>
                    <a:lnTo>
                      <a:pt x="156" y="765"/>
                    </a:lnTo>
                    <a:lnTo>
                      <a:pt x="154" y="767"/>
                    </a:lnTo>
                    <a:lnTo>
                      <a:pt x="152" y="769"/>
                    </a:lnTo>
                    <a:lnTo>
                      <a:pt x="151" y="770"/>
                    </a:lnTo>
                    <a:lnTo>
                      <a:pt x="149" y="770"/>
                    </a:lnTo>
                    <a:lnTo>
                      <a:pt x="149" y="772"/>
                    </a:lnTo>
                    <a:lnTo>
                      <a:pt x="148" y="773"/>
                    </a:lnTo>
                    <a:lnTo>
                      <a:pt x="146" y="775"/>
                    </a:lnTo>
                    <a:lnTo>
                      <a:pt x="144" y="775"/>
                    </a:lnTo>
                    <a:lnTo>
                      <a:pt x="144" y="777"/>
                    </a:lnTo>
                    <a:lnTo>
                      <a:pt x="143" y="777"/>
                    </a:lnTo>
                    <a:lnTo>
                      <a:pt x="141" y="777"/>
                    </a:lnTo>
                    <a:lnTo>
                      <a:pt x="141" y="778"/>
                    </a:lnTo>
                    <a:lnTo>
                      <a:pt x="140" y="778"/>
                    </a:lnTo>
                    <a:lnTo>
                      <a:pt x="140" y="780"/>
                    </a:lnTo>
                    <a:lnTo>
                      <a:pt x="138" y="780"/>
                    </a:lnTo>
                    <a:lnTo>
                      <a:pt x="137" y="780"/>
                    </a:lnTo>
                    <a:lnTo>
                      <a:pt x="137" y="781"/>
                    </a:lnTo>
                    <a:lnTo>
                      <a:pt x="135" y="781"/>
                    </a:lnTo>
                    <a:lnTo>
                      <a:pt x="133" y="783"/>
                    </a:lnTo>
                    <a:lnTo>
                      <a:pt x="132" y="783"/>
                    </a:lnTo>
                    <a:lnTo>
                      <a:pt x="130" y="783"/>
                    </a:lnTo>
                    <a:lnTo>
                      <a:pt x="130" y="784"/>
                    </a:lnTo>
                    <a:lnTo>
                      <a:pt x="129" y="784"/>
                    </a:lnTo>
                    <a:lnTo>
                      <a:pt x="127" y="784"/>
                    </a:lnTo>
                    <a:lnTo>
                      <a:pt x="125" y="784"/>
                    </a:lnTo>
                    <a:lnTo>
                      <a:pt x="124" y="786"/>
                    </a:lnTo>
                    <a:lnTo>
                      <a:pt x="125" y="788"/>
                    </a:lnTo>
                    <a:lnTo>
                      <a:pt x="125" y="789"/>
                    </a:lnTo>
                    <a:lnTo>
                      <a:pt x="124" y="789"/>
                    </a:lnTo>
                    <a:lnTo>
                      <a:pt x="124" y="791"/>
                    </a:lnTo>
                    <a:lnTo>
                      <a:pt x="122" y="791"/>
                    </a:lnTo>
                    <a:lnTo>
                      <a:pt x="122" y="792"/>
                    </a:lnTo>
                    <a:lnTo>
                      <a:pt x="121" y="794"/>
                    </a:lnTo>
                    <a:lnTo>
                      <a:pt x="119" y="796"/>
                    </a:lnTo>
                    <a:lnTo>
                      <a:pt x="119" y="797"/>
                    </a:lnTo>
                    <a:lnTo>
                      <a:pt x="118" y="799"/>
                    </a:lnTo>
                    <a:lnTo>
                      <a:pt x="118" y="800"/>
                    </a:lnTo>
                    <a:lnTo>
                      <a:pt x="116" y="800"/>
                    </a:lnTo>
                    <a:lnTo>
                      <a:pt x="118" y="802"/>
                    </a:lnTo>
                    <a:lnTo>
                      <a:pt x="116" y="802"/>
                    </a:lnTo>
                    <a:lnTo>
                      <a:pt x="116" y="803"/>
                    </a:lnTo>
                    <a:lnTo>
                      <a:pt x="116" y="805"/>
                    </a:lnTo>
                    <a:lnTo>
                      <a:pt x="114" y="805"/>
                    </a:lnTo>
                    <a:lnTo>
                      <a:pt x="113" y="807"/>
                    </a:lnTo>
                    <a:lnTo>
                      <a:pt x="111" y="807"/>
                    </a:lnTo>
                    <a:lnTo>
                      <a:pt x="110" y="807"/>
                    </a:lnTo>
                    <a:lnTo>
                      <a:pt x="110" y="808"/>
                    </a:lnTo>
                    <a:lnTo>
                      <a:pt x="108" y="808"/>
                    </a:lnTo>
                    <a:lnTo>
                      <a:pt x="106" y="810"/>
                    </a:lnTo>
                    <a:lnTo>
                      <a:pt x="105" y="810"/>
                    </a:lnTo>
                    <a:lnTo>
                      <a:pt x="105" y="811"/>
                    </a:lnTo>
                    <a:lnTo>
                      <a:pt x="103" y="811"/>
                    </a:lnTo>
                    <a:lnTo>
                      <a:pt x="103" y="813"/>
                    </a:lnTo>
                    <a:lnTo>
                      <a:pt x="102" y="813"/>
                    </a:lnTo>
                    <a:lnTo>
                      <a:pt x="100" y="813"/>
                    </a:lnTo>
                    <a:lnTo>
                      <a:pt x="99" y="813"/>
                    </a:lnTo>
                    <a:lnTo>
                      <a:pt x="97" y="813"/>
                    </a:lnTo>
                    <a:lnTo>
                      <a:pt x="95" y="813"/>
                    </a:lnTo>
                    <a:lnTo>
                      <a:pt x="94" y="813"/>
                    </a:lnTo>
                    <a:lnTo>
                      <a:pt x="92" y="813"/>
                    </a:lnTo>
                    <a:lnTo>
                      <a:pt x="91" y="815"/>
                    </a:lnTo>
                    <a:lnTo>
                      <a:pt x="89" y="816"/>
                    </a:lnTo>
                    <a:lnTo>
                      <a:pt x="87" y="816"/>
                    </a:lnTo>
                    <a:lnTo>
                      <a:pt x="87" y="818"/>
                    </a:lnTo>
                    <a:lnTo>
                      <a:pt x="87" y="819"/>
                    </a:lnTo>
                    <a:lnTo>
                      <a:pt x="87" y="821"/>
                    </a:lnTo>
                    <a:lnTo>
                      <a:pt x="87" y="822"/>
                    </a:lnTo>
                    <a:lnTo>
                      <a:pt x="86" y="822"/>
                    </a:lnTo>
                    <a:lnTo>
                      <a:pt x="86" y="824"/>
                    </a:lnTo>
                    <a:lnTo>
                      <a:pt x="86" y="826"/>
                    </a:lnTo>
                    <a:lnTo>
                      <a:pt x="84" y="826"/>
                    </a:lnTo>
                    <a:lnTo>
                      <a:pt x="84" y="827"/>
                    </a:lnTo>
                    <a:lnTo>
                      <a:pt x="83" y="827"/>
                    </a:lnTo>
                    <a:lnTo>
                      <a:pt x="81" y="826"/>
                    </a:lnTo>
                    <a:lnTo>
                      <a:pt x="80" y="827"/>
                    </a:lnTo>
                    <a:lnTo>
                      <a:pt x="78" y="827"/>
                    </a:lnTo>
                    <a:lnTo>
                      <a:pt x="76" y="829"/>
                    </a:lnTo>
                    <a:lnTo>
                      <a:pt x="75" y="830"/>
                    </a:lnTo>
                    <a:lnTo>
                      <a:pt x="75" y="832"/>
                    </a:lnTo>
                    <a:lnTo>
                      <a:pt x="73" y="832"/>
                    </a:lnTo>
                    <a:lnTo>
                      <a:pt x="73" y="834"/>
                    </a:lnTo>
                    <a:lnTo>
                      <a:pt x="72" y="834"/>
                    </a:lnTo>
                    <a:lnTo>
                      <a:pt x="72" y="835"/>
                    </a:lnTo>
                    <a:lnTo>
                      <a:pt x="70" y="835"/>
                    </a:lnTo>
                    <a:lnTo>
                      <a:pt x="68" y="837"/>
                    </a:lnTo>
                    <a:lnTo>
                      <a:pt x="67" y="837"/>
                    </a:lnTo>
                    <a:lnTo>
                      <a:pt x="65" y="837"/>
                    </a:lnTo>
                    <a:lnTo>
                      <a:pt x="64" y="837"/>
                    </a:lnTo>
                    <a:lnTo>
                      <a:pt x="64" y="838"/>
                    </a:lnTo>
                    <a:lnTo>
                      <a:pt x="62" y="840"/>
                    </a:lnTo>
                    <a:lnTo>
                      <a:pt x="61" y="841"/>
                    </a:lnTo>
                    <a:lnTo>
                      <a:pt x="59" y="841"/>
                    </a:lnTo>
                    <a:lnTo>
                      <a:pt x="57" y="843"/>
                    </a:lnTo>
                    <a:lnTo>
                      <a:pt x="57" y="845"/>
                    </a:lnTo>
                    <a:lnTo>
                      <a:pt x="57" y="846"/>
                    </a:lnTo>
                    <a:lnTo>
                      <a:pt x="56" y="848"/>
                    </a:lnTo>
                    <a:lnTo>
                      <a:pt x="56" y="849"/>
                    </a:lnTo>
                    <a:lnTo>
                      <a:pt x="54" y="851"/>
                    </a:lnTo>
                    <a:lnTo>
                      <a:pt x="54" y="853"/>
                    </a:lnTo>
                    <a:lnTo>
                      <a:pt x="53" y="854"/>
                    </a:lnTo>
                    <a:lnTo>
                      <a:pt x="53" y="856"/>
                    </a:lnTo>
                    <a:lnTo>
                      <a:pt x="51" y="857"/>
                    </a:lnTo>
                    <a:lnTo>
                      <a:pt x="49" y="857"/>
                    </a:lnTo>
                    <a:lnTo>
                      <a:pt x="48" y="859"/>
                    </a:lnTo>
                    <a:lnTo>
                      <a:pt x="46" y="859"/>
                    </a:lnTo>
                    <a:lnTo>
                      <a:pt x="45" y="860"/>
                    </a:lnTo>
                    <a:lnTo>
                      <a:pt x="45" y="862"/>
                    </a:lnTo>
                    <a:lnTo>
                      <a:pt x="43" y="862"/>
                    </a:lnTo>
                    <a:lnTo>
                      <a:pt x="43" y="864"/>
                    </a:lnTo>
                    <a:lnTo>
                      <a:pt x="42" y="864"/>
                    </a:lnTo>
                    <a:lnTo>
                      <a:pt x="42" y="865"/>
                    </a:lnTo>
                    <a:lnTo>
                      <a:pt x="40" y="865"/>
                    </a:lnTo>
                    <a:lnTo>
                      <a:pt x="38" y="865"/>
                    </a:lnTo>
                    <a:lnTo>
                      <a:pt x="37" y="865"/>
                    </a:lnTo>
                    <a:lnTo>
                      <a:pt x="35" y="867"/>
                    </a:lnTo>
                    <a:lnTo>
                      <a:pt x="34" y="867"/>
                    </a:lnTo>
                    <a:lnTo>
                      <a:pt x="32" y="867"/>
                    </a:lnTo>
                    <a:lnTo>
                      <a:pt x="32" y="868"/>
                    </a:lnTo>
                    <a:lnTo>
                      <a:pt x="30" y="868"/>
                    </a:lnTo>
                    <a:lnTo>
                      <a:pt x="29" y="868"/>
                    </a:lnTo>
                    <a:lnTo>
                      <a:pt x="27" y="870"/>
                    </a:lnTo>
                    <a:lnTo>
                      <a:pt x="26" y="870"/>
                    </a:lnTo>
                    <a:lnTo>
                      <a:pt x="24" y="870"/>
                    </a:lnTo>
                    <a:lnTo>
                      <a:pt x="24" y="872"/>
                    </a:lnTo>
                    <a:lnTo>
                      <a:pt x="22" y="872"/>
                    </a:lnTo>
                    <a:lnTo>
                      <a:pt x="22" y="873"/>
                    </a:lnTo>
                    <a:lnTo>
                      <a:pt x="21" y="875"/>
                    </a:lnTo>
                    <a:lnTo>
                      <a:pt x="19" y="876"/>
                    </a:lnTo>
                    <a:lnTo>
                      <a:pt x="18" y="878"/>
                    </a:lnTo>
                    <a:lnTo>
                      <a:pt x="18" y="880"/>
                    </a:lnTo>
                    <a:lnTo>
                      <a:pt x="16" y="880"/>
                    </a:lnTo>
                    <a:lnTo>
                      <a:pt x="16" y="881"/>
                    </a:lnTo>
                    <a:lnTo>
                      <a:pt x="15" y="883"/>
                    </a:lnTo>
                    <a:lnTo>
                      <a:pt x="15" y="884"/>
                    </a:lnTo>
                    <a:lnTo>
                      <a:pt x="13" y="884"/>
                    </a:lnTo>
                    <a:lnTo>
                      <a:pt x="13" y="886"/>
                    </a:lnTo>
                    <a:lnTo>
                      <a:pt x="11" y="886"/>
                    </a:lnTo>
                    <a:lnTo>
                      <a:pt x="10" y="887"/>
                    </a:lnTo>
                    <a:lnTo>
                      <a:pt x="10" y="889"/>
                    </a:lnTo>
                    <a:lnTo>
                      <a:pt x="10" y="891"/>
                    </a:lnTo>
                    <a:lnTo>
                      <a:pt x="8" y="892"/>
                    </a:lnTo>
                    <a:lnTo>
                      <a:pt x="8" y="894"/>
                    </a:lnTo>
                    <a:lnTo>
                      <a:pt x="8" y="895"/>
                    </a:lnTo>
                    <a:lnTo>
                      <a:pt x="7" y="895"/>
                    </a:lnTo>
                    <a:lnTo>
                      <a:pt x="7" y="897"/>
                    </a:lnTo>
                    <a:lnTo>
                      <a:pt x="7" y="899"/>
                    </a:lnTo>
                    <a:lnTo>
                      <a:pt x="5" y="899"/>
                    </a:lnTo>
                    <a:lnTo>
                      <a:pt x="5" y="900"/>
                    </a:lnTo>
                    <a:lnTo>
                      <a:pt x="5" y="902"/>
                    </a:lnTo>
                    <a:lnTo>
                      <a:pt x="3" y="903"/>
                    </a:lnTo>
                    <a:lnTo>
                      <a:pt x="3" y="905"/>
                    </a:lnTo>
                    <a:lnTo>
                      <a:pt x="3" y="906"/>
                    </a:lnTo>
                    <a:lnTo>
                      <a:pt x="3" y="908"/>
                    </a:lnTo>
                    <a:lnTo>
                      <a:pt x="3" y="910"/>
                    </a:lnTo>
                    <a:lnTo>
                      <a:pt x="2" y="910"/>
                    </a:lnTo>
                    <a:lnTo>
                      <a:pt x="2" y="911"/>
                    </a:lnTo>
                    <a:lnTo>
                      <a:pt x="2" y="913"/>
                    </a:lnTo>
                    <a:lnTo>
                      <a:pt x="2" y="914"/>
                    </a:lnTo>
                    <a:lnTo>
                      <a:pt x="2" y="916"/>
                    </a:lnTo>
                    <a:lnTo>
                      <a:pt x="2" y="918"/>
                    </a:lnTo>
                    <a:lnTo>
                      <a:pt x="2" y="919"/>
                    </a:lnTo>
                    <a:lnTo>
                      <a:pt x="2" y="921"/>
                    </a:lnTo>
                    <a:lnTo>
                      <a:pt x="2" y="922"/>
                    </a:lnTo>
                    <a:lnTo>
                      <a:pt x="2" y="924"/>
                    </a:lnTo>
                    <a:lnTo>
                      <a:pt x="2" y="925"/>
                    </a:lnTo>
                    <a:lnTo>
                      <a:pt x="2" y="927"/>
                    </a:lnTo>
                    <a:lnTo>
                      <a:pt x="2" y="929"/>
                    </a:lnTo>
                    <a:lnTo>
                      <a:pt x="2" y="930"/>
                    </a:lnTo>
                    <a:lnTo>
                      <a:pt x="2" y="932"/>
                    </a:lnTo>
                    <a:lnTo>
                      <a:pt x="2" y="933"/>
                    </a:lnTo>
                    <a:lnTo>
                      <a:pt x="2" y="935"/>
                    </a:lnTo>
                    <a:lnTo>
                      <a:pt x="2" y="937"/>
                    </a:lnTo>
                    <a:lnTo>
                      <a:pt x="2" y="938"/>
                    </a:lnTo>
                    <a:lnTo>
                      <a:pt x="2" y="940"/>
                    </a:lnTo>
                    <a:lnTo>
                      <a:pt x="2" y="941"/>
                    </a:lnTo>
                    <a:lnTo>
                      <a:pt x="2" y="943"/>
                    </a:lnTo>
                    <a:lnTo>
                      <a:pt x="2" y="944"/>
                    </a:lnTo>
                    <a:lnTo>
                      <a:pt x="2" y="946"/>
                    </a:lnTo>
                    <a:lnTo>
                      <a:pt x="2" y="948"/>
                    </a:lnTo>
                    <a:lnTo>
                      <a:pt x="2" y="949"/>
                    </a:lnTo>
                    <a:lnTo>
                      <a:pt x="2" y="951"/>
                    </a:lnTo>
                    <a:lnTo>
                      <a:pt x="2" y="952"/>
                    </a:lnTo>
                    <a:lnTo>
                      <a:pt x="2" y="954"/>
                    </a:lnTo>
                    <a:lnTo>
                      <a:pt x="2" y="956"/>
                    </a:lnTo>
                    <a:lnTo>
                      <a:pt x="2" y="957"/>
                    </a:lnTo>
                    <a:lnTo>
                      <a:pt x="2" y="959"/>
                    </a:lnTo>
                    <a:lnTo>
                      <a:pt x="2" y="960"/>
                    </a:lnTo>
                    <a:lnTo>
                      <a:pt x="2" y="962"/>
                    </a:lnTo>
                    <a:lnTo>
                      <a:pt x="2" y="963"/>
                    </a:lnTo>
                    <a:lnTo>
                      <a:pt x="2" y="965"/>
                    </a:lnTo>
                    <a:lnTo>
                      <a:pt x="2" y="967"/>
                    </a:lnTo>
                    <a:lnTo>
                      <a:pt x="2" y="968"/>
                    </a:lnTo>
                    <a:lnTo>
                      <a:pt x="2" y="970"/>
                    </a:lnTo>
                    <a:lnTo>
                      <a:pt x="2" y="971"/>
                    </a:lnTo>
                    <a:lnTo>
                      <a:pt x="3" y="973"/>
                    </a:lnTo>
                    <a:lnTo>
                      <a:pt x="3" y="975"/>
                    </a:lnTo>
                    <a:lnTo>
                      <a:pt x="2" y="976"/>
                    </a:lnTo>
                    <a:lnTo>
                      <a:pt x="2" y="978"/>
                    </a:lnTo>
                    <a:lnTo>
                      <a:pt x="2" y="979"/>
                    </a:lnTo>
                    <a:lnTo>
                      <a:pt x="0" y="979"/>
                    </a:lnTo>
                    <a:lnTo>
                      <a:pt x="0" y="981"/>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52" name="Freeform 132"/>
              <p:cNvSpPr>
                <a:spLocks/>
              </p:cNvSpPr>
              <p:nvPr/>
            </p:nvSpPr>
            <p:spPr bwMode="auto">
              <a:xfrm>
                <a:off x="2425" y="1909"/>
                <a:ext cx="806" cy="619"/>
              </a:xfrm>
              <a:custGeom>
                <a:avLst/>
                <a:gdLst>
                  <a:gd name="T0" fmla="*/ 795 w 806"/>
                  <a:gd name="T1" fmla="*/ 564 h 619"/>
                  <a:gd name="T2" fmla="*/ 773 w 806"/>
                  <a:gd name="T3" fmla="*/ 567 h 619"/>
                  <a:gd name="T4" fmla="*/ 749 w 806"/>
                  <a:gd name="T5" fmla="*/ 568 h 619"/>
                  <a:gd name="T6" fmla="*/ 729 w 806"/>
                  <a:gd name="T7" fmla="*/ 564 h 619"/>
                  <a:gd name="T8" fmla="*/ 705 w 806"/>
                  <a:gd name="T9" fmla="*/ 567 h 619"/>
                  <a:gd name="T10" fmla="*/ 686 w 806"/>
                  <a:gd name="T11" fmla="*/ 554 h 619"/>
                  <a:gd name="T12" fmla="*/ 583 w 806"/>
                  <a:gd name="T13" fmla="*/ 562 h 619"/>
                  <a:gd name="T14" fmla="*/ 535 w 806"/>
                  <a:gd name="T15" fmla="*/ 606 h 619"/>
                  <a:gd name="T16" fmla="*/ 520 w 806"/>
                  <a:gd name="T17" fmla="*/ 618 h 619"/>
                  <a:gd name="T18" fmla="*/ 502 w 806"/>
                  <a:gd name="T19" fmla="*/ 616 h 619"/>
                  <a:gd name="T20" fmla="*/ 501 w 806"/>
                  <a:gd name="T21" fmla="*/ 516 h 619"/>
                  <a:gd name="T22" fmla="*/ 547 w 806"/>
                  <a:gd name="T23" fmla="*/ 385 h 619"/>
                  <a:gd name="T24" fmla="*/ 532 w 806"/>
                  <a:gd name="T25" fmla="*/ 377 h 619"/>
                  <a:gd name="T26" fmla="*/ 518 w 806"/>
                  <a:gd name="T27" fmla="*/ 364 h 619"/>
                  <a:gd name="T28" fmla="*/ 501 w 806"/>
                  <a:gd name="T29" fmla="*/ 363 h 619"/>
                  <a:gd name="T30" fmla="*/ 486 w 806"/>
                  <a:gd name="T31" fmla="*/ 359 h 619"/>
                  <a:gd name="T32" fmla="*/ 464 w 806"/>
                  <a:gd name="T33" fmla="*/ 356 h 619"/>
                  <a:gd name="T34" fmla="*/ 450 w 806"/>
                  <a:gd name="T35" fmla="*/ 350 h 619"/>
                  <a:gd name="T36" fmla="*/ 434 w 806"/>
                  <a:gd name="T37" fmla="*/ 339 h 619"/>
                  <a:gd name="T38" fmla="*/ 417 w 806"/>
                  <a:gd name="T39" fmla="*/ 332 h 619"/>
                  <a:gd name="T40" fmla="*/ 399 w 806"/>
                  <a:gd name="T41" fmla="*/ 328 h 619"/>
                  <a:gd name="T42" fmla="*/ 393 w 806"/>
                  <a:gd name="T43" fmla="*/ 309 h 619"/>
                  <a:gd name="T44" fmla="*/ 379 w 806"/>
                  <a:gd name="T45" fmla="*/ 296 h 619"/>
                  <a:gd name="T46" fmla="*/ 371 w 806"/>
                  <a:gd name="T47" fmla="*/ 285 h 619"/>
                  <a:gd name="T48" fmla="*/ 361 w 806"/>
                  <a:gd name="T49" fmla="*/ 274 h 619"/>
                  <a:gd name="T50" fmla="*/ 353 w 806"/>
                  <a:gd name="T51" fmla="*/ 264 h 619"/>
                  <a:gd name="T52" fmla="*/ 349 w 806"/>
                  <a:gd name="T53" fmla="*/ 247 h 619"/>
                  <a:gd name="T54" fmla="*/ 344 w 806"/>
                  <a:gd name="T55" fmla="*/ 234 h 619"/>
                  <a:gd name="T56" fmla="*/ 341 w 806"/>
                  <a:gd name="T57" fmla="*/ 217 h 619"/>
                  <a:gd name="T58" fmla="*/ 331 w 806"/>
                  <a:gd name="T59" fmla="*/ 203 h 619"/>
                  <a:gd name="T60" fmla="*/ 320 w 806"/>
                  <a:gd name="T61" fmla="*/ 185 h 619"/>
                  <a:gd name="T62" fmla="*/ 304 w 806"/>
                  <a:gd name="T63" fmla="*/ 174 h 619"/>
                  <a:gd name="T64" fmla="*/ 287 w 806"/>
                  <a:gd name="T65" fmla="*/ 171 h 619"/>
                  <a:gd name="T66" fmla="*/ 273 w 806"/>
                  <a:gd name="T67" fmla="*/ 169 h 619"/>
                  <a:gd name="T68" fmla="*/ 255 w 806"/>
                  <a:gd name="T69" fmla="*/ 166 h 619"/>
                  <a:gd name="T70" fmla="*/ 239 w 806"/>
                  <a:gd name="T71" fmla="*/ 171 h 619"/>
                  <a:gd name="T72" fmla="*/ 227 w 806"/>
                  <a:gd name="T73" fmla="*/ 182 h 619"/>
                  <a:gd name="T74" fmla="*/ 214 w 806"/>
                  <a:gd name="T75" fmla="*/ 188 h 619"/>
                  <a:gd name="T76" fmla="*/ 209 w 806"/>
                  <a:gd name="T77" fmla="*/ 198 h 619"/>
                  <a:gd name="T78" fmla="*/ 192 w 806"/>
                  <a:gd name="T79" fmla="*/ 203 h 619"/>
                  <a:gd name="T80" fmla="*/ 181 w 806"/>
                  <a:gd name="T81" fmla="*/ 203 h 619"/>
                  <a:gd name="T82" fmla="*/ 168 w 806"/>
                  <a:gd name="T83" fmla="*/ 195 h 619"/>
                  <a:gd name="T84" fmla="*/ 152 w 806"/>
                  <a:gd name="T85" fmla="*/ 201 h 619"/>
                  <a:gd name="T86" fmla="*/ 139 w 806"/>
                  <a:gd name="T87" fmla="*/ 201 h 619"/>
                  <a:gd name="T88" fmla="*/ 120 w 806"/>
                  <a:gd name="T89" fmla="*/ 196 h 619"/>
                  <a:gd name="T90" fmla="*/ 101 w 806"/>
                  <a:gd name="T91" fmla="*/ 191 h 619"/>
                  <a:gd name="T92" fmla="*/ 84 w 806"/>
                  <a:gd name="T93" fmla="*/ 193 h 619"/>
                  <a:gd name="T94" fmla="*/ 70 w 806"/>
                  <a:gd name="T95" fmla="*/ 184 h 619"/>
                  <a:gd name="T96" fmla="*/ 54 w 806"/>
                  <a:gd name="T97" fmla="*/ 172 h 619"/>
                  <a:gd name="T98" fmla="*/ 40 w 806"/>
                  <a:gd name="T99" fmla="*/ 169 h 619"/>
                  <a:gd name="T100" fmla="*/ 38 w 806"/>
                  <a:gd name="T101" fmla="*/ 152 h 619"/>
                  <a:gd name="T102" fmla="*/ 25 w 806"/>
                  <a:gd name="T103" fmla="*/ 139 h 619"/>
                  <a:gd name="T104" fmla="*/ 10 w 806"/>
                  <a:gd name="T105" fmla="*/ 127 h 619"/>
                  <a:gd name="T106" fmla="*/ 5 w 806"/>
                  <a:gd name="T107" fmla="*/ 108 h 619"/>
                  <a:gd name="T108" fmla="*/ 21 w 806"/>
                  <a:gd name="T109" fmla="*/ 93 h 619"/>
                  <a:gd name="T110" fmla="*/ 40 w 806"/>
                  <a:gd name="T111" fmla="*/ 85 h 619"/>
                  <a:gd name="T112" fmla="*/ 63 w 806"/>
                  <a:gd name="T113" fmla="*/ 81 h 619"/>
                  <a:gd name="T114" fmla="*/ 59 w 806"/>
                  <a:gd name="T115" fmla="*/ 54 h 619"/>
                  <a:gd name="T116" fmla="*/ 52 w 806"/>
                  <a:gd name="T117" fmla="*/ 28 h 619"/>
                  <a:gd name="T118" fmla="*/ 48 w 806"/>
                  <a:gd name="T119" fmla="*/ 5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6" h="619">
                    <a:moveTo>
                      <a:pt x="806" y="548"/>
                    </a:moveTo>
                    <a:lnTo>
                      <a:pt x="806" y="549"/>
                    </a:lnTo>
                    <a:lnTo>
                      <a:pt x="806" y="551"/>
                    </a:lnTo>
                    <a:lnTo>
                      <a:pt x="805" y="551"/>
                    </a:lnTo>
                    <a:lnTo>
                      <a:pt x="805" y="553"/>
                    </a:lnTo>
                    <a:lnTo>
                      <a:pt x="803" y="553"/>
                    </a:lnTo>
                    <a:lnTo>
                      <a:pt x="803" y="554"/>
                    </a:lnTo>
                    <a:lnTo>
                      <a:pt x="803" y="556"/>
                    </a:lnTo>
                    <a:lnTo>
                      <a:pt x="802" y="557"/>
                    </a:lnTo>
                    <a:lnTo>
                      <a:pt x="802" y="559"/>
                    </a:lnTo>
                    <a:lnTo>
                      <a:pt x="800" y="559"/>
                    </a:lnTo>
                    <a:lnTo>
                      <a:pt x="800" y="561"/>
                    </a:lnTo>
                    <a:lnTo>
                      <a:pt x="798" y="561"/>
                    </a:lnTo>
                    <a:lnTo>
                      <a:pt x="798" y="562"/>
                    </a:lnTo>
                    <a:lnTo>
                      <a:pt x="797" y="562"/>
                    </a:lnTo>
                    <a:lnTo>
                      <a:pt x="797" y="564"/>
                    </a:lnTo>
                    <a:lnTo>
                      <a:pt x="795" y="564"/>
                    </a:lnTo>
                    <a:lnTo>
                      <a:pt x="794" y="564"/>
                    </a:lnTo>
                    <a:lnTo>
                      <a:pt x="792" y="564"/>
                    </a:lnTo>
                    <a:lnTo>
                      <a:pt x="790" y="564"/>
                    </a:lnTo>
                    <a:lnTo>
                      <a:pt x="789" y="564"/>
                    </a:lnTo>
                    <a:lnTo>
                      <a:pt x="787" y="564"/>
                    </a:lnTo>
                    <a:lnTo>
                      <a:pt x="786" y="564"/>
                    </a:lnTo>
                    <a:lnTo>
                      <a:pt x="784" y="564"/>
                    </a:lnTo>
                    <a:lnTo>
                      <a:pt x="783" y="562"/>
                    </a:lnTo>
                    <a:lnTo>
                      <a:pt x="783" y="564"/>
                    </a:lnTo>
                    <a:lnTo>
                      <a:pt x="781" y="564"/>
                    </a:lnTo>
                    <a:lnTo>
                      <a:pt x="779" y="564"/>
                    </a:lnTo>
                    <a:lnTo>
                      <a:pt x="779" y="565"/>
                    </a:lnTo>
                    <a:lnTo>
                      <a:pt x="778" y="567"/>
                    </a:lnTo>
                    <a:lnTo>
                      <a:pt x="776" y="567"/>
                    </a:lnTo>
                    <a:lnTo>
                      <a:pt x="775" y="568"/>
                    </a:lnTo>
                    <a:lnTo>
                      <a:pt x="773" y="568"/>
                    </a:lnTo>
                    <a:lnTo>
                      <a:pt x="773" y="567"/>
                    </a:lnTo>
                    <a:lnTo>
                      <a:pt x="771" y="567"/>
                    </a:lnTo>
                    <a:lnTo>
                      <a:pt x="771" y="565"/>
                    </a:lnTo>
                    <a:lnTo>
                      <a:pt x="770" y="565"/>
                    </a:lnTo>
                    <a:lnTo>
                      <a:pt x="768" y="565"/>
                    </a:lnTo>
                    <a:lnTo>
                      <a:pt x="767" y="565"/>
                    </a:lnTo>
                    <a:lnTo>
                      <a:pt x="765" y="565"/>
                    </a:lnTo>
                    <a:lnTo>
                      <a:pt x="764" y="565"/>
                    </a:lnTo>
                    <a:lnTo>
                      <a:pt x="762" y="565"/>
                    </a:lnTo>
                    <a:lnTo>
                      <a:pt x="760" y="565"/>
                    </a:lnTo>
                    <a:lnTo>
                      <a:pt x="759" y="565"/>
                    </a:lnTo>
                    <a:lnTo>
                      <a:pt x="757" y="567"/>
                    </a:lnTo>
                    <a:lnTo>
                      <a:pt x="757" y="568"/>
                    </a:lnTo>
                    <a:lnTo>
                      <a:pt x="756" y="568"/>
                    </a:lnTo>
                    <a:lnTo>
                      <a:pt x="754" y="568"/>
                    </a:lnTo>
                    <a:lnTo>
                      <a:pt x="752" y="568"/>
                    </a:lnTo>
                    <a:lnTo>
                      <a:pt x="751" y="568"/>
                    </a:lnTo>
                    <a:lnTo>
                      <a:pt x="749" y="568"/>
                    </a:lnTo>
                    <a:lnTo>
                      <a:pt x="749" y="567"/>
                    </a:lnTo>
                    <a:lnTo>
                      <a:pt x="748" y="567"/>
                    </a:lnTo>
                    <a:lnTo>
                      <a:pt x="746" y="567"/>
                    </a:lnTo>
                    <a:lnTo>
                      <a:pt x="746" y="565"/>
                    </a:lnTo>
                    <a:lnTo>
                      <a:pt x="745" y="567"/>
                    </a:lnTo>
                    <a:lnTo>
                      <a:pt x="743" y="567"/>
                    </a:lnTo>
                    <a:lnTo>
                      <a:pt x="741" y="567"/>
                    </a:lnTo>
                    <a:lnTo>
                      <a:pt x="741" y="565"/>
                    </a:lnTo>
                    <a:lnTo>
                      <a:pt x="740" y="565"/>
                    </a:lnTo>
                    <a:lnTo>
                      <a:pt x="738" y="565"/>
                    </a:lnTo>
                    <a:lnTo>
                      <a:pt x="738" y="564"/>
                    </a:lnTo>
                    <a:lnTo>
                      <a:pt x="737" y="564"/>
                    </a:lnTo>
                    <a:lnTo>
                      <a:pt x="735" y="565"/>
                    </a:lnTo>
                    <a:lnTo>
                      <a:pt x="733" y="565"/>
                    </a:lnTo>
                    <a:lnTo>
                      <a:pt x="732" y="565"/>
                    </a:lnTo>
                    <a:lnTo>
                      <a:pt x="730" y="564"/>
                    </a:lnTo>
                    <a:lnTo>
                      <a:pt x="729" y="564"/>
                    </a:lnTo>
                    <a:lnTo>
                      <a:pt x="727" y="564"/>
                    </a:lnTo>
                    <a:lnTo>
                      <a:pt x="726" y="564"/>
                    </a:lnTo>
                    <a:lnTo>
                      <a:pt x="724" y="565"/>
                    </a:lnTo>
                    <a:lnTo>
                      <a:pt x="722" y="565"/>
                    </a:lnTo>
                    <a:lnTo>
                      <a:pt x="721" y="565"/>
                    </a:lnTo>
                    <a:lnTo>
                      <a:pt x="719" y="565"/>
                    </a:lnTo>
                    <a:lnTo>
                      <a:pt x="718" y="567"/>
                    </a:lnTo>
                    <a:lnTo>
                      <a:pt x="716" y="567"/>
                    </a:lnTo>
                    <a:lnTo>
                      <a:pt x="714" y="567"/>
                    </a:lnTo>
                    <a:lnTo>
                      <a:pt x="714" y="568"/>
                    </a:lnTo>
                    <a:lnTo>
                      <a:pt x="713" y="568"/>
                    </a:lnTo>
                    <a:lnTo>
                      <a:pt x="711" y="568"/>
                    </a:lnTo>
                    <a:lnTo>
                      <a:pt x="711" y="567"/>
                    </a:lnTo>
                    <a:lnTo>
                      <a:pt x="710" y="567"/>
                    </a:lnTo>
                    <a:lnTo>
                      <a:pt x="708" y="567"/>
                    </a:lnTo>
                    <a:lnTo>
                      <a:pt x="707" y="567"/>
                    </a:lnTo>
                    <a:lnTo>
                      <a:pt x="705" y="567"/>
                    </a:lnTo>
                    <a:lnTo>
                      <a:pt x="703" y="567"/>
                    </a:lnTo>
                    <a:lnTo>
                      <a:pt x="702" y="567"/>
                    </a:lnTo>
                    <a:lnTo>
                      <a:pt x="702" y="565"/>
                    </a:lnTo>
                    <a:lnTo>
                      <a:pt x="700" y="565"/>
                    </a:lnTo>
                    <a:lnTo>
                      <a:pt x="699" y="565"/>
                    </a:lnTo>
                    <a:lnTo>
                      <a:pt x="697" y="564"/>
                    </a:lnTo>
                    <a:lnTo>
                      <a:pt x="695" y="562"/>
                    </a:lnTo>
                    <a:lnTo>
                      <a:pt x="695" y="561"/>
                    </a:lnTo>
                    <a:lnTo>
                      <a:pt x="694" y="561"/>
                    </a:lnTo>
                    <a:lnTo>
                      <a:pt x="692" y="561"/>
                    </a:lnTo>
                    <a:lnTo>
                      <a:pt x="692" y="559"/>
                    </a:lnTo>
                    <a:lnTo>
                      <a:pt x="691" y="559"/>
                    </a:lnTo>
                    <a:lnTo>
                      <a:pt x="691" y="557"/>
                    </a:lnTo>
                    <a:lnTo>
                      <a:pt x="689" y="557"/>
                    </a:lnTo>
                    <a:lnTo>
                      <a:pt x="689" y="556"/>
                    </a:lnTo>
                    <a:lnTo>
                      <a:pt x="688" y="556"/>
                    </a:lnTo>
                    <a:lnTo>
                      <a:pt x="686" y="554"/>
                    </a:lnTo>
                    <a:lnTo>
                      <a:pt x="684" y="554"/>
                    </a:lnTo>
                    <a:lnTo>
                      <a:pt x="683" y="554"/>
                    </a:lnTo>
                    <a:lnTo>
                      <a:pt x="681" y="554"/>
                    </a:lnTo>
                    <a:lnTo>
                      <a:pt x="681" y="553"/>
                    </a:lnTo>
                    <a:lnTo>
                      <a:pt x="676" y="548"/>
                    </a:lnTo>
                    <a:lnTo>
                      <a:pt x="669" y="540"/>
                    </a:lnTo>
                    <a:lnTo>
                      <a:pt x="659" y="537"/>
                    </a:lnTo>
                    <a:lnTo>
                      <a:pt x="648" y="537"/>
                    </a:lnTo>
                    <a:lnTo>
                      <a:pt x="640" y="542"/>
                    </a:lnTo>
                    <a:lnTo>
                      <a:pt x="632" y="543"/>
                    </a:lnTo>
                    <a:lnTo>
                      <a:pt x="624" y="545"/>
                    </a:lnTo>
                    <a:lnTo>
                      <a:pt x="615" y="548"/>
                    </a:lnTo>
                    <a:lnTo>
                      <a:pt x="608" y="549"/>
                    </a:lnTo>
                    <a:lnTo>
                      <a:pt x="600" y="561"/>
                    </a:lnTo>
                    <a:lnTo>
                      <a:pt x="597" y="564"/>
                    </a:lnTo>
                    <a:lnTo>
                      <a:pt x="591" y="562"/>
                    </a:lnTo>
                    <a:lnTo>
                      <a:pt x="583" y="562"/>
                    </a:lnTo>
                    <a:lnTo>
                      <a:pt x="577" y="562"/>
                    </a:lnTo>
                    <a:lnTo>
                      <a:pt x="569" y="562"/>
                    </a:lnTo>
                    <a:lnTo>
                      <a:pt x="569" y="568"/>
                    </a:lnTo>
                    <a:lnTo>
                      <a:pt x="566" y="575"/>
                    </a:lnTo>
                    <a:lnTo>
                      <a:pt x="559" y="584"/>
                    </a:lnTo>
                    <a:lnTo>
                      <a:pt x="554" y="591"/>
                    </a:lnTo>
                    <a:lnTo>
                      <a:pt x="547" y="595"/>
                    </a:lnTo>
                    <a:lnTo>
                      <a:pt x="543" y="600"/>
                    </a:lnTo>
                    <a:lnTo>
                      <a:pt x="543" y="602"/>
                    </a:lnTo>
                    <a:lnTo>
                      <a:pt x="542" y="602"/>
                    </a:lnTo>
                    <a:lnTo>
                      <a:pt x="542" y="603"/>
                    </a:lnTo>
                    <a:lnTo>
                      <a:pt x="540" y="603"/>
                    </a:lnTo>
                    <a:lnTo>
                      <a:pt x="540" y="605"/>
                    </a:lnTo>
                    <a:lnTo>
                      <a:pt x="539" y="605"/>
                    </a:lnTo>
                    <a:lnTo>
                      <a:pt x="537" y="605"/>
                    </a:lnTo>
                    <a:lnTo>
                      <a:pt x="535" y="605"/>
                    </a:lnTo>
                    <a:lnTo>
                      <a:pt x="535" y="606"/>
                    </a:lnTo>
                    <a:lnTo>
                      <a:pt x="534" y="606"/>
                    </a:lnTo>
                    <a:lnTo>
                      <a:pt x="532" y="606"/>
                    </a:lnTo>
                    <a:lnTo>
                      <a:pt x="531" y="608"/>
                    </a:lnTo>
                    <a:lnTo>
                      <a:pt x="531" y="610"/>
                    </a:lnTo>
                    <a:lnTo>
                      <a:pt x="529" y="610"/>
                    </a:lnTo>
                    <a:lnTo>
                      <a:pt x="529" y="611"/>
                    </a:lnTo>
                    <a:lnTo>
                      <a:pt x="529" y="613"/>
                    </a:lnTo>
                    <a:lnTo>
                      <a:pt x="529" y="614"/>
                    </a:lnTo>
                    <a:lnTo>
                      <a:pt x="529" y="616"/>
                    </a:lnTo>
                    <a:lnTo>
                      <a:pt x="528" y="616"/>
                    </a:lnTo>
                    <a:lnTo>
                      <a:pt x="526" y="618"/>
                    </a:lnTo>
                    <a:lnTo>
                      <a:pt x="526" y="616"/>
                    </a:lnTo>
                    <a:lnTo>
                      <a:pt x="524" y="616"/>
                    </a:lnTo>
                    <a:lnTo>
                      <a:pt x="523" y="616"/>
                    </a:lnTo>
                    <a:lnTo>
                      <a:pt x="521" y="616"/>
                    </a:lnTo>
                    <a:lnTo>
                      <a:pt x="520" y="616"/>
                    </a:lnTo>
                    <a:lnTo>
                      <a:pt x="520" y="618"/>
                    </a:lnTo>
                    <a:lnTo>
                      <a:pt x="518" y="618"/>
                    </a:lnTo>
                    <a:lnTo>
                      <a:pt x="518" y="619"/>
                    </a:lnTo>
                    <a:lnTo>
                      <a:pt x="516" y="619"/>
                    </a:lnTo>
                    <a:lnTo>
                      <a:pt x="516" y="618"/>
                    </a:lnTo>
                    <a:lnTo>
                      <a:pt x="516" y="616"/>
                    </a:lnTo>
                    <a:lnTo>
                      <a:pt x="515" y="614"/>
                    </a:lnTo>
                    <a:lnTo>
                      <a:pt x="515" y="613"/>
                    </a:lnTo>
                    <a:lnTo>
                      <a:pt x="513" y="613"/>
                    </a:lnTo>
                    <a:lnTo>
                      <a:pt x="513" y="614"/>
                    </a:lnTo>
                    <a:lnTo>
                      <a:pt x="512" y="614"/>
                    </a:lnTo>
                    <a:lnTo>
                      <a:pt x="510" y="614"/>
                    </a:lnTo>
                    <a:lnTo>
                      <a:pt x="509" y="614"/>
                    </a:lnTo>
                    <a:lnTo>
                      <a:pt x="507" y="614"/>
                    </a:lnTo>
                    <a:lnTo>
                      <a:pt x="507" y="616"/>
                    </a:lnTo>
                    <a:lnTo>
                      <a:pt x="505" y="616"/>
                    </a:lnTo>
                    <a:lnTo>
                      <a:pt x="504" y="616"/>
                    </a:lnTo>
                    <a:lnTo>
                      <a:pt x="502" y="616"/>
                    </a:lnTo>
                    <a:lnTo>
                      <a:pt x="501" y="614"/>
                    </a:lnTo>
                    <a:lnTo>
                      <a:pt x="499" y="614"/>
                    </a:lnTo>
                    <a:lnTo>
                      <a:pt x="497" y="614"/>
                    </a:lnTo>
                    <a:lnTo>
                      <a:pt x="497" y="616"/>
                    </a:lnTo>
                    <a:lnTo>
                      <a:pt x="496" y="616"/>
                    </a:lnTo>
                    <a:lnTo>
                      <a:pt x="494" y="616"/>
                    </a:lnTo>
                    <a:lnTo>
                      <a:pt x="493" y="616"/>
                    </a:lnTo>
                    <a:lnTo>
                      <a:pt x="493" y="613"/>
                    </a:lnTo>
                    <a:lnTo>
                      <a:pt x="494" y="606"/>
                    </a:lnTo>
                    <a:lnTo>
                      <a:pt x="497" y="602"/>
                    </a:lnTo>
                    <a:lnTo>
                      <a:pt x="501" y="592"/>
                    </a:lnTo>
                    <a:lnTo>
                      <a:pt x="501" y="583"/>
                    </a:lnTo>
                    <a:lnTo>
                      <a:pt x="502" y="576"/>
                    </a:lnTo>
                    <a:lnTo>
                      <a:pt x="504" y="556"/>
                    </a:lnTo>
                    <a:lnTo>
                      <a:pt x="502" y="546"/>
                    </a:lnTo>
                    <a:lnTo>
                      <a:pt x="501" y="530"/>
                    </a:lnTo>
                    <a:lnTo>
                      <a:pt x="501" y="516"/>
                    </a:lnTo>
                    <a:lnTo>
                      <a:pt x="501" y="505"/>
                    </a:lnTo>
                    <a:lnTo>
                      <a:pt x="504" y="480"/>
                    </a:lnTo>
                    <a:lnTo>
                      <a:pt x="507" y="466"/>
                    </a:lnTo>
                    <a:lnTo>
                      <a:pt x="513" y="454"/>
                    </a:lnTo>
                    <a:lnTo>
                      <a:pt x="518" y="447"/>
                    </a:lnTo>
                    <a:lnTo>
                      <a:pt x="523" y="437"/>
                    </a:lnTo>
                    <a:lnTo>
                      <a:pt x="529" y="429"/>
                    </a:lnTo>
                    <a:lnTo>
                      <a:pt x="539" y="426"/>
                    </a:lnTo>
                    <a:lnTo>
                      <a:pt x="545" y="420"/>
                    </a:lnTo>
                    <a:lnTo>
                      <a:pt x="548" y="412"/>
                    </a:lnTo>
                    <a:lnTo>
                      <a:pt x="553" y="404"/>
                    </a:lnTo>
                    <a:lnTo>
                      <a:pt x="553" y="401"/>
                    </a:lnTo>
                    <a:lnTo>
                      <a:pt x="547" y="396"/>
                    </a:lnTo>
                    <a:lnTo>
                      <a:pt x="547" y="389"/>
                    </a:lnTo>
                    <a:lnTo>
                      <a:pt x="547" y="388"/>
                    </a:lnTo>
                    <a:lnTo>
                      <a:pt x="548" y="385"/>
                    </a:lnTo>
                    <a:lnTo>
                      <a:pt x="547" y="385"/>
                    </a:lnTo>
                    <a:lnTo>
                      <a:pt x="545" y="385"/>
                    </a:lnTo>
                    <a:lnTo>
                      <a:pt x="543" y="385"/>
                    </a:lnTo>
                    <a:lnTo>
                      <a:pt x="543" y="383"/>
                    </a:lnTo>
                    <a:lnTo>
                      <a:pt x="542" y="383"/>
                    </a:lnTo>
                    <a:lnTo>
                      <a:pt x="542" y="385"/>
                    </a:lnTo>
                    <a:lnTo>
                      <a:pt x="540" y="385"/>
                    </a:lnTo>
                    <a:lnTo>
                      <a:pt x="540" y="383"/>
                    </a:lnTo>
                    <a:lnTo>
                      <a:pt x="539" y="383"/>
                    </a:lnTo>
                    <a:lnTo>
                      <a:pt x="537" y="383"/>
                    </a:lnTo>
                    <a:lnTo>
                      <a:pt x="537" y="382"/>
                    </a:lnTo>
                    <a:lnTo>
                      <a:pt x="535" y="382"/>
                    </a:lnTo>
                    <a:lnTo>
                      <a:pt x="535" y="380"/>
                    </a:lnTo>
                    <a:lnTo>
                      <a:pt x="535" y="378"/>
                    </a:lnTo>
                    <a:lnTo>
                      <a:pt x="534" y="378"/>
                    </a:lnTo>
                    <a:lnTo>
                      <a:pt x="534" y="377"/>
                    </a:lnTo>
                    <a:lnTo>
                      <a:pt x="532" y="375"/>
                    </a:lnTo>
                    <a:lnTo>
                      <a:pt x="532" y="377"/>
                    </a:lnTo>
                    <a:lnTo>
                      <a:pt x="531" y="375"/>
                    </a:lnTo>
                    <a:lnTo>
                      <a:pt x="529" y="375"/>
                    </a:lnTo>
                    <a:lnTo>
                      <a:pt x="528" y="375"/>
                    </a:lnTo>
                    <a:lnTo>
                      <a:pt x="528" y="374"/>
                    </a:lnTo>
                    <a:lnTo>
                      <a:pt x="528" y="372"/>
                    </a:lnTo>
                    <a:lnTo>
                      <a:pt x="528" y="370"/>
                    </a:lnTo>
                    <a:lnTo>
                      <a:pt x="528" y="369"/>
                    </a:lnTo>
                    <a:lnTo>
                      <a:pt x="526" y="369"/>
                    </a:lnTo>
                    <a:lnTo>
                      <a:pt x="526" y="367"/>
                    </a:lnTo>
                    <a:lnTo>
                      <a:pt x="524" y="367"/>
                    </a:lnTo>
                    <a:lnTo>
                      <a:pt x="523" y="367"/>
                    </a:lnTo>
                    <a:lnTo>
                      <a:pt x="523" y="366"/>
                    </a:lnTo>
                    <a:lnTo>
                      <a:pt x="523" y="364"/>
                    </a:lnTo>
                    <a:lnTo>
                      <a:pt x="521" y="364"/>
                    </a:lnTo>
                    <a:lnTo>
                      <a:pt x="521" y="366"/>
                    </a:lnTo>
                    <a:lnTo>
                      <a:pt x="520" y="364"/>
                    </a:lnTo>
                    <a:lnTo>
                      <a:pt x="518" y="364"/>
                    </a:lnTo>
                    <a:lnTo>
                      <a:pt x="516" y="364"/>
                    </a:lnTo>
                    <a:lnTo>
                      <a:pt x="515" y="364"/>
                    </a:lnTo>
                    <a:lnTo>
                      <a:pt x="513" y="364"/>
                    </a:lnTo>
                    <a:lnTo>
                      <a:pt x="513" y="366"/>
                    </a:lnTo>
                    <a:lnTo>
                      <a:pt x="512" y="366"/>
                    </a:lnTo>
                    <a:lnTo>
                      <a:pt x="512" y="364"/>
                    </a:lnTo>
                    <a:lnTo>
                      <a:pt x="510" y="366"/>
                    </a:lnTo>
                    <a:lnTo>
                      <a:pt x="510" y="364"/>
                    </a:lnTo>
                    <a:lnTo>
                      <a:pt x="509" y="366"/>
                    </a:lnTo>
                    <a:lnTo>
                      <a:pt x="507" y="366"/>
                    </a:lnTo>
                    <a:lnTo>
                      <a:pt x="505" y="367"/>
                    </a:lnTo>
                    <a:lnTo>
                      <a:pt x="505" y="366"/>
                    </a:lnTo>
                    <a:lnTo>
                      <a:pt x="504" y="366"/>
                    </a:lnTo>
                    <a:lnTo>
                      <a:pt x="502" y="366"/>
                    </a:lnTo>
                    <a:lnTo>
                      <a:pt x="502" y="364"/>
                    </a:lnTo>
                    <a:lnTo>
                      <a:pt x="501" y="364"/>
                    </a:lnTo>
                    <a:lnTo>
                      <a:pt x="501" y="363"/>
                    </a:lnTo>
                    <a:lnTo>
                      <a:pt x="499" y="363"/>
                    </a:lnTo>
                    <a:lnTo>
                      <a:pt x="497" y="363"/>
                    </a:lnTo>
                    <a:lnTo>
                      <a:pt x="497" y="361"/>
                    </a:lnTo>
                    <a:lnTo>
                      <a:pt x="496" y="361"/>
                    </a:lnTo>
                    <a:lnTo>
                      <a:pt x="496" y="359"/>
                    </a:lnTo>
                    <a:lnTo>
                      <a:pt x="494" y="359"/>
                    </a:lnTo>
                    <a:lnTo>
                      <a:pt x="494" y="361"/>
                    </a:lnTo>
                    <a:lnTo>
                      <a:pt x="493" y="361"/>
                    </a:lnTo>
                    <a:lnTo>
                      <a:pt x="493" y="359"/>
                    </a:lnTo>
                    <a:lnTo>
                      <a:pt x="491" y="359"/>
                    </a:lnTo>
                    <a:lnTo>
                      <a:pt x="491" y="358"/>
                    </a:lnTo>
                    <a:lnTo>
                      <a:pt x="491" y="359"/>
                    </a:lnTo>
                    <a:lnTo>
                      <a:pt x="490" y="359"/>
                    </a:lnTo>
                    <a:lnTo>
                      <a:pt x="488" y="359"/>
                    </a:lnTo>
                    <a:lnTo>
                      <a:pt x="488" y="358"/>
                    </a:lnTo>
                    <a:lnTo>
                      <a:pt x="486" y="358"/>
                    </a:lnTo>
                    <a:lnTo>
                      <a:pt x="486" y="359"/>
                    </a:lnTo>
                    <a:lnTo>
                      <a:pt x="485" y="359"/>
                    </a:lnTo>
                    <a:lnTo>
                      <a:pt x="483" y="359"/>
                    </a:lnTo>
                    <a:lnTo>
                      <a:pt x="482" y="359"/>
                    </a:lnTo>
                    <a:lnTo>
                      <a:pt x="480" y="359"/>
                    </a:lnTo>
                    <a:lnTo>
                      <a:pt x="478" y="359"/>
                    </a:lnTo>
                    <a:lnTo>
                      <a:pt x="478" y="358"/>
                    </a:lnTo>
                    <a:lnTo>
                      <a:pt x="477" y="358"/>
                    </a:lnTo>
                    <a:lnTo>
                      <a:pt x="477" y="356"/>
                    </a:lnTo>
                    <a:lnTo>
                      <a:pt x="475" y="356"/>
                    </a:lnTo>
                    <a:lnTo>
                      <a:pt x="474" y="356"/>
                    </a:lnTo>
                    <a:lnTo>
                      <a:pt x="472" y="356"/>
                    </a:lnTo>
                    <a:lnTo>
                      <a:pt x="471" y="356"/>
                    </a:lnTo>
                    <a:lnTo>
                      <a:pt x="469" y="356"/>
                    </a:lnTo>
                    <a:lnTo>
                      <a:pt x="469" y="358"/>
                    </a:lnTo>
                    <a:lnTo>
                      <a:pt x="467" y="358"/>
                    </a:lnTo>
                    <a:lnTo>
                      <a:pt x="466" y="358"/>
                    </a:lnTo>
                    <a:lnTo>
                      <a:pt x="464" y="356"/>
                    </a:lnTo>
                    <a:lnTo>
                      <a:pt x="463" y="356"/>
                    </a:lnTo>
                    <a:lnTo>
                      <a:pt x="461" y="356"/>
                    </a:lnTo>
                    <a:lnTo>
                      <a:pt x="459" y="356"/>
                    </a:lnTo>
                    <a:lnTo>
                      <a:pt x="458" y="356"/>
                    </a:lnTo>
                    <a:lnTo>
                      <a:pt x="458" y="355"/>
                    </a:lnTo>
                    <a:lnTo>
                      <a:pt x="458" y="356"/>
                    </a:lnTo>
                    <a:lnTo>
                      <a:pt x="456" y="356"/>
                    </a:lnTo>
                    <a:lnTo>
                      <a:pt x="456" y="355"/>
                    </a:lnTo>
                    <a:lnTo>
                      <a:pt x="455" y="355"/>
                    </a:lnTo>
                    <a:lnTo>
                      <a:pt x="455" y="353"/>
                    </a:lnTo>
                    <a:lnTo>
                      <a:pt x="455" y="351"/>
                    </a:lnTo>
                    <a:lnTo>
                      <a:pt x="453" y="351"/>
                    </a:lnTo>
                    <a:lnTo>
                      <a:pt x="453" y="353"/>
                    </a:lnTo>
                    <a:lnTo>
                      <a:pt x="453" y="351"/>
                    </a:lnTo>
                    <a:lnTo>
                      <a:pt x="451" y="351"/>
                    </a:lnTo>
                    <a:lnTo>
                      <a:pt x="451" y="350"/>
                    </a:lnTo>
                    <a:lnTo>
                      <a:pt x="450" y="350"/>
                    </a:lnTo>
                    <a:lnTo>
                      <a:pt x="448" y="350"/>
                    </a:lnTo>
                    <a:lnTo>
                      <a:pt x="448" y="348"/>
                    </a:lnTo>
                    <a:lnTo>
                      <a:pt x="447" y="348"/>
                    </a:lnTo>
                    <a:lnTo>
                      <a:pt x="447" y="347"/>
                    </a:lnTo>
                    <a:lnTo>
                      <a:pt x="445" y="347"/>
                    </a:lnTo>
                    <a:lnTo>
                      <a:pt x="445" y="345"/>
                    </a:lnTo>
                    <a:lnTo>
                      <a:pt x="445" y="344"/>
                    </a:lnTo>
                    <a:lnTo>
                      <a:pt x="444" y="344"/>
                    </a:lnTo>
                    <a:lnTo>
                      <a:pt x="444" y="342"/>
                    </a:lnTo>
                    <a:lnTo>
                      <a:pt x="442" y="342"/>
                    </a:lnTo>
                    <a:lnTo>
                      <a:pt x="440" y="342"/>
                    </a:lnTo>
                    <a:lnTo>
                      <a:pt x="440" y="340"/>
                    </a:lnTo>
                    <a:lnTo>
                      <a:pt x="439" y="340"/>
                    </a:lnTo>
                    <a:lnTo>
                      <a:pt x="437" y="340"/>
                    </a:lnTo>
                    <a:lnTo>
                      <a:pt x="437" y="339"/>
                    </a:lnTo>
                    <a:lnTo>
                      <a:pt x="436" y="339"/>
                    </a:lnTo>
                    <a:lnTo>
                      <a:pt x="434" y="339"/>
                    </a:lnTo>
                    <a:lnTo>
                      <a:pt x="434" y="337"/>
                    </a:lnTo>
                    <a:lnTo>
                      <a:pt x="432" y="337"/>
                    </a:lnTo>
                    <a:lnTo>
                      <a:pt x="431" y="337"/>
                    </a:lnTo>
                    <a:lnTo>
                      <a:pt x="431" y="336"/>
                    </a:lnTo>
                    <a:lnTo>
                      <a:pt x="429" y="336"/>
                    </a:lnTo>
                    <a:lnTo>
                      <a:pt x="431" y="336"/>
                    </a:lnTo>
                    <a:lnTo>
                      <a:pt x="429" y="334"/>
                    </a:lnTo>
                    <a:lnTo>
                      <a:pt x="429" y="332"/>
                    </a:lnTo>
                    <a:lnTo>
                      <a:pt x="428" y="332"/>
                    </a:lnTo>
                    <a:lnTo>
                      <a:pt x="426" y="332"/>
                    </a:lnTo>
                    <a:lnTo>
                      <a:pt x="425" y="332"/>
                    </a:lnTo>
                    <a:lnTo>
                      <a:pt x="423" y="332"/>
                    </a:lnTo>
                    <a:lnTo>
                      <a:pt x="423" y="331"/>
                    </a:lnTo>
                    <a:lnTo>
                      <a:pt x="421" y="331"/>
                    </a:lnTo>
                    <a:lnTo>
                      <a:pt x="420" y="332"/>
                    </a:lnTo>
                    <a:lnTo>
                      <a:pt x="418" y="332"/>
                    </a:lnTo>
                    <a:lnTo>
                      <a:pt x="417" y="332"/>
                    </a:lnTo>
                    <a:lnTo>
                      <a:pt x="417" y="334"/>
                    </a:lnTo>
                    <a:lnTo>
                      <a:pt x="415" y="334"/>
                    </a:lnTo>
                    <a:lnTo>
                      <a:pt x="415" y="332"/>
                    </a:lnTo>
                    <a:lnTo>
                      <a:pt x="413" y="332"/>
                    </a:lnTo>
                    <a:lnTo>
                      <a:pt x="412" y="332"/>
                    </a:lnTo>
                    <a:lnTo>
                      <a:pt x="410" y="332"/>
                    </a:lnTo>
                    <a:lnTo>
                      <a:pt x="410" y="334"/>
                    </a:lnTo>
                    <a:lnTo>
                      <a:pt x="410" y="336"/>
                    </a:lnTo>
                    <a:lnTo>
                      <a:pt x="409" y="336"/>
                    </a:lnTo>
                    <a:lnTo>
                      <a:pt x="407" y="336"/>
                    </a:lnTo>
                    <a:lnTo>
                      <a:pt x="406" y="334"/>
                    </a:lnTo>
                    <a:lnTo>
                      <a:pt x="404" y="334"/>
                    </a:lnTo>
                    <a:lnTo>
                      <a:pt x="404" y="332"/>
                    </a:lnTo>
                    <a:lnTo>
                      <a:pt x="402" y="331"/>
                    </a:lnTo>
                    <a:lnTo>
                      <a:pt x="401" y="331"/>
                    </a:lnTo>
                    <a:lnTo>
                      <a:pt x="401" y="329"/>
                    </a:lnTo>
                    <a:lnTo>
                      <a:pt x="399" y="328"/>
                    </a:lnTo>
                    <a:lnTo>
                      <a:pt x="398" y="328"/>
                    </a:lnTo>
                    <a:lnTo>
                      <a:pt x="398" y="329"/>
                    </a:lnTo>
                    <a:lnTo>
                      <a:pt x="396" y="329"/>
                    </a:lnTo>
                    <a:lnTo>
                      <a:pt x="396" y="328"/>
                    </a:lnTo>
                    <a:lnTo>
                      <a:pt x="394" y="328"/>
                    </a:lnTo>
                    <a:lnTo>
                      <a:pt x="394" y="326"/>
                    </a:lnTo>
                    <a:lnTo>
                      <a:pt x="394" y="325"/>
                    </a:lnTo>
                    <a:lnTo>
                      <a:pt x="394" y="323"/>
                    </a:lnTo>
                    <a:lnTo>
                      <a:pt x="394" y="321"/>
                    </a:lnTo>
                    <a:lnTo>
                      <a:pt x="393" y="320"/>
                    </a:lnTo>
                    <a:lnTo>
                      <a:pt x="393" y="318"/>
                    </a:lnTo>
                    <a:lnTo>
                      <a:pt x="393" y="317"/>
                    </a:lnTo>
                    <a:lnTo>
                      <a:pt x="393" y="315"/>
                    </a:lnTo>
                    <a:lnTo>
                      <a:pt x="393" y="313"/>
                    </a:lnTo>
                    <a:lnTo>
                      <a:pt x="393" y="312"/>
                    </a:lnTo>
                    <a:lnTo>
                      <a:pt x="393" y="310"/>
                    </a:lnTo>
                    <a:lnTo>
                      <a:pt x="393" y="309"/>
                    </a:lnTo>
                    <a:lnTo>
                      <a:pt x="393" y="307"/>
                    </a:lnTo>
                    <a:lnTo>
                      <a:pt x="393" y="306"/>
                    </a:lnTo>
                    <a:lnTo>
                      <a:pt x="393" y="304"/>
                    </a:lnTo>
                    <a:lnTo>
                      <a:pt x="393" y="302"/>
                    </a:lnTo>
                    <a:lnTo>
                      <a:pt x="393" y="301"/>
                    </a:lnTo>
                    <a:lnTo>
                      <a:pt x="393" y="299"/>
                    </a:lnTo>
                    <a:lnTo>
                      <a:pt x="391" y="299"/>
                    </a:lnTo>
                    <a:lnTo>
                      <a:pt x="390" y="299"/>
                    </a:lnTo>
                    <a:lnTo>
                      <a:pt x="388" y="299"/>
                    </a:lnTo>
                    <a:lnTo>
                      <a:pt x="387" y="299"/>
                    </a:lnTo>
                    <a:lnTo>
                      <a:pt x="385" y="299"/>
                    </a:lnTo>
                    <a:lnTo>
                      <a:pt x="383" y="299"/>
                    </a:lnTo>
                    <a:lnTo>
                      <a:pt x="382" y="299"/>
                    </a:lnTo>
                    <a:lnTo>
                      <a:pt x="382" y="298"/>
                    </a:lnTo>
                    <a:lnTo>
                      <a:pt x="380" y="298"/>
                    </a:lnTo>
                    <a:lnTo>
                      <a:pt x="379" y="298"/>
                    </a:lnTo>
                    <a:lnTo>
                      <a:pt x="379" y="296"/>
                    </a:lnTo>
                    <a:lnTo>
                      <a:pt x="379" y="294"/>
                    </a:lnTo>
                    <a:lnTo>
                      <a:pt x="379" y="296"/>
                    </a:lnTo>
                    <a:lnTo>
                      <a:pt x="377" y="294"/>
                    </a:lnTo>
                    <a:lnTo>
                      <a:pt x="375" y="294"/>
                    </a:lnTo>
                    <a:lnTo>
                      <a:pt x="375" y="293"/>
                    </a:lnTo>
                    <a:lnTo>
                      <a:pt x="374" y="293"/>
                    </a:lnTo>
                    <a:lnTo>
                      <a:pt x="374" y="291"/>
                    </a:lnTo>
                    <a:lnTo>
                      <a:pt x="372" y="291"/>
                    </a:lnTo>
                    <a:lnTo>
                      <a:pt x="371" y="291"/>
                    </a:lnTo>
                    <a:lnTo>
                      <a:pt x="371" y="290"/>
                    </a:lnTo>
                    <a:lnTo>
                      <a:pt x="372" y="290"/>
                    </a:lnTo>
                    <a:lnTo>
                      <a:pt x="372" y="288"/>
                    </a:lnTo>
                    <a:lnTo>
                      <a:pt x="374" y="288"/>
                    </a:lnTo>
                    <a:lnTo>
                      <a:pt x="372" y="288"/>
                    </a:lnTo>
                    <a:lnTo>
                      <a:pt x="372" y="287"/>
                    </a:lnTo>
                    <a:lnTo>
                      <a:pt x="371" y="287"/>
                    </a:lnTo>
                    <a:lnTo>
                      <a:pt x="371" y="285"/>
                    </a:lnTo>
                    <a:lnTo>
                      <a:pt x="369" y="285"/>
                    </a:lnTo>
                    <a:lnTo>
                      <a:pt x="368" y="285"/>
                    </a:lnTo>
                    <a:lnTo>
                      <a:pt x="368" y="283"/>
                    </a:lnTo>
                    <a:lnTo>
                      <a:pt x="368" y="282"/>
                    </a:lnTo>
                    <a:lnTo>
                      <a:pt x="368" y="280"/>
                    </a:lnTo>
                    <a:lnTo>
                      <a:pt x="368" y="282"/>
                    </a:lnTo>
                    <a:lnTo>
                      <a:pt x="366" y="282"/>
                    </a:lnTo>
                    <a:lnTo>
                      <a:pt x="366" y="280"/>
                    </a:lnTo>
                    <a:lnTo>
                      <a:pt x="366" y="279"/>
                    </a:lnTo>
                    <a:lnTo>
                      <a:pt x="368" y="279"/>
                    </a:lnTo>
                    <a:lnTo>
                      <a:pt x="366" y="279"/>
                    </a:lnTo>
                    <a:lnTo>
                      <a:pt x="366" y="277"/>
                    </a:lnTo>
                    <a:lnTo>
                      <a:pt x="364" y="277"/>
                    </a:lnTo>
                    <a:lnTo>
                      <a:pt x="363" y="277"/>
                    </a:lnTo>
                    <a:lnTo>
                      <a:pt x="363" y="275"/>
                    </a:lnTo>
                    <a:lnTo>
                      <a:pt x="361" y="275"/>
                    </a:lnTo>
                    <a:lnTo>
                      <a:pt x="361" y="274"/>
                    </a:lnTo>
                    <a:lnTo>
                      <a:pt x="360" y="274"/>
                    </a:lnTo>
                    <a:lnTo>
                      <a:pt x="360" y="272"/>
                    </a:lnTo>
                    <a:lnTo>
                      <a:pt x="361" y="272"/>
                    </a:lnTo>
                    <a:lnTo>
                      <a:pt x="360" y="272"/>
                    </a:lnTo>
                    <a:lnTo>
                      <a:pt x="358" y="272"/>
                    </a:lnTo>
                    <a:lnTo>
                      <a:pt x="356" y="272"/>
                    </a:lnTo>
                    <a:lnTo>
                      <a:pt x="355" y="272"/>
                    </a:lnTo>
                    <a:lnTo>
                      <a:pt x="355" y="271"/>
                    </a:lnTo>
                    <a:lnTo>
                      <a:pt x="356" y="271"/>
                    </a:lnTo>
                    <a:lnTo>
                      <a:pt x="356" y="269"/>
                    </a:lnTo>
                    <a:lnTo>
                      <a:pt x="355" y="269"/>
                    </a:lnTo>
                    <a:lnTo>
                      <a:pt x="355" y="268"/>
                    </a:lnTo>
                    <a:lnTo>
                      <a:pt x="355" y="269"/>
                    </a:lnTo>
                    <a:lnTo>
                      <a:pt x="355" y="268"/>
                    </a:lnTo>
                    <a:lnTo>
                      <a:pt x="353" y="268"/>
                    </a:lnTo>
                    <a:lnTo>
                      <a:pt x="353" y="266"/>
                    </a:lnTo>
                    <a:lnTo>
                      <a:pt x="353" y="264"/>
                    </a:lnTo>
                    <a:lnTo>
                      <a:pt x="353" y="263"/>
                    </a:lnTo>
                    <a:lnTo>
                      <a:pt x="353" y="261"/>
                    </a:lnTo>
                    <a:lnTo>
                      <a:pt x="353" y="260"/>
                    </a:lnTo>
                    <a:lnTo>
                      <a:pt x="353" y="258"/>
                    </a:lnTo>
                    <a:lnTo>
                      <a:pt x="353" y="256"/>
                    </a:lnTo>
                    <a:lnTo>
                      <a:pt x="352" y="256"/>
                    </a:lnTo>
                    <a:lnTo>
                      <a:pt x="350" y="256"/>
                    </a:lnTo>
                    <a:lnTo>
                      <a:pt x="349" y="256"/>
                    </a:lnTo>
                    <a:lnTo>
                      <a:pt x="349" y="255"/>
                    </a:lnTo>
                    <a:lnTo>
                      <a:pt x="350" y="255"/>
                    </a:lnTo>
                    <a:lnTo>
                      <a:pt x="352" y="253"/>
                    </a:lnTo>
                    <a:lnTo>
                      <a:pt x="352" y="252"/>
                    </a:lnTo>
                    <a:lnTo>
                      <a:pt x="352" y="250"/>
                    </a:lnTo>
                    <a:lnTo>
                      <a:pt x="350" y="250"/>
                    </a:lnTo>
                    <a:lnTo>
                      <a:pt x="350" y="248"/>
                    </a:lnTo>
                    <a:lnTo>
                      <a:pt x="349" y="248"/>
                    </a:lnTo>
                    <a:lnTo>
                      <a:pt x="349" y="247"/>
                    </a:lnTo>
                    <a:lnTo>
                      <a:pt x="349" y="245"/>
                    </a:lnTo>
                    <a:lnTo>
                      <a:pt x="350" y="245"/>
                    </a:lnTo>
                    <a:lnTo>
                      <a:pt x="350" y="244"/>
                    </a:lnTo>
                    <a:lnTo>
                      <a:pt x="350" y="242"/>
                    </a:lnTo>
                    <a:lnTo>
                      <a:pt x="349" y="242"/>
                    </a:lnTo>
                    <a:lnTo>
                      <a:pt x="347" y="242"/>
                    </a:lnTo>
                    <a:lnTo>
                      <a:pt x="345" y="242"/>
                    </a:lnTo>
                    <a:lnTo>
                      <a:pt x="345" y="241"/>
                    </a:lnTo>
                    <a:lnTo>
                      <a:pt x="344" y="241"/>
                    </a:lnTo>
                    <a:lnTo>
                      <a:pt x="344" y="242"/>
                    </a:lnTo>
                    <a:lnTo>
                      <a:pt x="342" y="242"/>
                    </a:lnTo>
                    <a:lnTo>
                      <a:pt x="342" y="241"/>
                    </a:lnTo>
                    <a:lnTo>
                      <a:pt x="342" y="239"/>
                    </a:lnTo>
                    <a:lnTo>
                      <a:pt x="344" y="239"/>
                    </a:lnTo>
                    <a:lnTo>
                      <a:pt x="344" y="237"/>
                    </a:lnTo>
                    <a:lnTo>
                      <a:pt x="344" y="236"/>
                    </a:lnTo>
                    <a:lnTo>
                      <a:pt x="344" y="234"/>
                    </a:lnTo>
                    <a:lnTo>
                      <a:pt x="342" y="233"/>
                    </a:lnTo>
                    <a:lnTo>
                      <a:pt x="341" y="233"/>
                    </a:lnTo>
                    <a:lnTo>
                      <a:pt x="341" y="231"/>
                    </a:lnTo>
                    <a:lnTo>
                      <a:pt x="339" y="229"/>
                    </a:lnTo>
                    <a:lnTo>
                      <a:pt x="341" y="229"/>
                    </a:lnTo>
                    <a:lnTo>
                      <a:pt x="342" y="229"/>
                    </a:lnTo>
                    <a:lnTo>
                      <a:pt x="342" y="228"/>
                    </a:lnTo>
                    <a:lnTo>
                      <a:pt x="341" y="228"/>
                    </a:lnTo>
                    <a:lnTo>
                      <a:pt x="341" y="226"/>
                    </a:lnTo>
                    <a:lnTo>
                      <a:pt x="341" y="225"/>
                    </a:lnTo>
                    <a:lnTo>
                      <a:pt x="341" y="223"/>
                    </a:lnTo>
                    <a:lnTo>
                      <a:pt x="339" y="223"/>
                    </a:lnTo>
                    <a:lnTo>
                      <a:pt x="341" y="223"/>
                    </a:lnTo>
                    <a:lnTo>
                      <a:pt x="341" y="222"/>
                    </a:lnTo>
                    <a:lnTo>
                      <a:pt x="341" y="220"/>
                    </a:lnTo>
                    <a:lnTo>
                      <a:pt x="341" y="218"/>
                    </a:lnTo>
                    <a:lnTo>
                      <a:pt x="341" y="217"/>
                    </a:lnTo>
                    <a:lnTo>
                      <a:pt x="341" y="215"/>
                    </a:lnTo>
                    <a:lnTo>
                      <a:pt x="342" y="215"/>
                    </a:lnTo>
                    <a:lnTo>
                      <a:pt x="342" y="214"/>
                    </a:lnTo>
                    <a:lnTo>
                      <a:pt x="341" y="214"/>
                    </a:lnTo>
                    <a:lnTo>
                      <a:pt x="341" y="212"/>
                    </a:lnTo>
                    <a:lnTo>
                      <a:pt x="341" y="210"/>
                    </a:lnTo>
                    <a:lnTo>
                      <a:pt x="341" y="209"/>
                    </a:lnTo>
                    <a:lnTo>
                      <a:pt x="339" y="209"/>
                    </a:lnTo>
                    <a:lnTo>
                      <a:pt x="339" y="207"/>
                    </a:lnTo>
                    <a:lnTo>
                      <a:pt x="337" y="206"/>
                    </a:lnTo>
                    <a:lnTo>
                      <a:pt x="337" y="204"/>
                    </a:lnTo>
                    <a:lnTo>
                      <a:pt x="336" y="204"/>
                    </a:lnTo>
                    <a:lnTo>
                      <a:pt x="336" y="203"/>
                    </a:lnTo>
                    <a:lnTo>
                      <a:pt x="334" y="203"/>
                    </a:lnTo>
                    <a:lnTo>
                      <a:pt x="333" y="201"/>
                    </a:lnTo>
                    <a:lnTo>
                      <a:pt x="333" y="203"/>
                    </a:lnTo>
                    <a:lnTo>
                      <a:pt x="331" y="203"/>
                    </a:lnTo>
                    <a:lnTo>
                      <a:pt x="330" y="203"/>
                    </a:lnTo>
                    <a:lnTo>
                      <a:pt x="330" y="201"/>
                    </a:lnTo>
                    <a:lnTo>
                      <a:pt x="328" y="201"/>
                    </a:lnTo>
                    <a:lnTo>
                      <a:pt x="328" y="199"/>
                    </a:lnTo>
                    <a:lnTo>
                      <a:pt x="326" y="199"/>
                    </a:lnTo>
                    <a:lnTo>
                      <a:pt x="326" y="198"/>
                    </a:lnTo>
                    <a:lnTo>
                      <a:pt x="326" y="196"/>
                    </a:lnTo>
                    <a:lnTo>
                      <a:pt x="325" y="196"/>
                    </a:lnTo>
                    <a:lnTo>
                      <a:pt x="325" y="195"/>
                    </a:lnTo>
                    <a:lnTo>
                      <a:pt x="323" y="195"/>
                    </a:lnTo>
                    <a:lnTo>
                      <a:pt x="323" y="193"/>
                    </a:lnTo>
                    <a:lnTo>
                      <a:pt x="322" y="191"/>
                    </a:lnTo>
                    <a:lnTo>
                      <a:pt x="322" y="190"/>
                    </a:lnTo>
                    <a:lnTo>
                      <a:pt x="322" y="188"/>
                    </a:lnTo>
                    <a:lnTo>
                      <a:pt x="322" y="187"/>
                    </a:lnTo>
                    <a:lnTo>
                      <a:pt x="322" y="185"/>
                    </a:lnTo>
                    <a:lnTo>
                      <a:pt x="320" y="185"/>
                    </a:lnTo>
                    <a:lnTo>
                      <a:pt x="320" y="184"/>
                    </a:lnTo>
                    <a:lnTo>
                      <a:pt x="320" y="182"/>
                    </a:lnTo>
                    <a:lnTo>
                      <a:pt x="320" y="180"/>
                    </a:lnTo>
                    <a:lnTo>
                      <a:pt x="318" y="180"/>
                    </a:lnTo>
                    <a:lnTo>
                      <a:pt x="318" y="179"/>
                    </a:lnTo>
                    <a:lnTo>
                      <a:pt x="318" y="177"/>
                    </a:lnTo>
                    <a:lnTo>
                      <a:pt x="317" y="177"/>
                    </a:lnTo>
                    <a:lnTo>
                      <a:pt x="315" y="177"/>
                    </a:lnTo>
                    <a:lnTo>
                      <a:pt x="314" y="177"/>
                    </a:lnTo>
                    <a:lnTo>
                      <a:pt x="312" y="177"/>
                    </a:lnTo>
                    <a:lnTo>
                      <a:pt x="311" y="177"/>
                    </a:lnTo>
                    <a:lnTo>
                      <a:pt x="309" y="177"/>
                    </a:lnTo>
                    <a:lnTo>
                      <a:pt x="307" y="177"/>
                    </a:lnTo>
                    <a:lnTo>
                      <a:pt x="307" y="176"/>
                    </a:lnTo>
                    <a:lnTo>
                      <a:pt x="306" y="176"/>
                    </a:lnTo>
                    <a:lnTo>
                      <a:pt x="306" y="174"/>
                    </a:lnTo>
                    <a:lnTo>
                      <a:pt x="304" y="174"/>
                    </a:lnTo>
                    <a:lnTo>
                      <a:pt x="304" y="172"/>
                    </a:lnTo>
                    <a:lnTo>
                      <a:pt x="303" y="172"/>
                    </a:lnTo>
                    <a:lnTo>
                      <a:pt x="303" y="174"/>
                    </a:lnTo>
                    <a:lnTo>
                      <a:pt x="301" y="174"/>
                    </a:lnTo>
                    <a:lnTo>
                      <a:pt x="301" y="176"/>
                    </a:lnTo>
                    <a:lnTo>
                      <a:pt x="299" y="176"/>
                    </a:lnTo>
                    <a:lnTo>
                      <a:pt x="298" y="176"/>
                    </a:lnTo>
                    <a:lnTo>
                      <a:pt x="296" y="176"/>
                    </a:lnTo>
                    <a:lnTo>
                      <a:pt x="295" y="176"/>
                    </a:lnTo>
                    <a:lnTo>
                      <a:pt x="293" y="176"/>
                    </a:lnTo>
                    <a:lnTo>
                      <a:pt x="293" y="174"/>
                    </a:lnTo>
                    <a:lnTo>
                      <a:pt x="292" y="174"/>
                    </a:lnTo>
                    <a:lnTo>
                      <a:pt x="292" y="172"/>
                    </a:lnTo>
                    <a:lnTo>
                      <a:pt x="290" y="172"/>
                    </a:lnTo>
                    <a:lnTo>
                      <a:pt x="288" y="172"/>
                    </a:lnTo>
                    <a:lnTo>
                      <a:pt x="288" y="171"/>
                    </a:lnTo>
                    <a:lnTo>
                      <a:pt x="287" y="171"/>
                    </a:lnTo>
                    <a:lnTo>
                      <a:pt x="285" y="171"/>
                    </a:lnTo>
                    <a:lnTo>
                      <a:pt x="284" y="171"/>
                    </a:lnTo>
                    <a:lnTo>
                      <a:pt x="282" y="171"/>
                    </a:lnTo>
                    <a:lnTo>
                      <a:pt x="282" y="172"/>
                    </a:lnTo>
                    <a:lnTo>
                      <a:pt x="280" y="172"/>
                    </a:lnTo>
                    <a:lnTo>
                      <a:pt x="279" y="174"/>
                    </a:lnTo>
                    <a:lnTo>
                      <a:pt x="277" y="174"/>
                    </a:lnTo>
                    <a:lnTo>
                      <a:pt x="277" y="172"/>
                    </a:lnTo>
                    <a:lnTo>
                      <a:pt x="276" y="172"/>
                    </a:lnTo>
                    <a:lnTo>
                      <a:pt x="276" y="171"/>
                    </a:lnTo>
                    <a:lnTo>
                      <a:pt x="277" y="171"/>
                    </a:lnTo>
                    <a:lnTo>
                      <a:pt x="276" y="171"/>
                    </a:lnTo>
                    <a:lnTo>
                      <a:pt x="276" y="169"/>
                    </a:lnTo>
                    <a:lnTo>
                      <a:pt x="274" y="169"/>
                    </a:lnTo>
                    <a:lnTo>
                      <a:pt x="274" y="171"/>
                    </a:lnTo>
                    <a:lnTo>
                      <a:pt x="273" y="171"/>
                    </a:lnTo>
                    <a:lnTo>
                      <a:pt x="273" y="169"/>
                    </a:lnTo>
                    <a:lnTo>
                      <a:pt x="271" y="169"/>
                    </a:lnTo>
                    <a:lnTo>
                      <a:pt x="271" y="171"/>
                    </a:lnTo>
                    <a:lnTo>
                      <a:pt x="269" y="171"/>
                    </a:lnTo>
                    <a:lnTo>
                      <a:pt x="268" y="171"/>
                    </a:lnTo>
                    <a:lnTo>
                      <a:pt x="268" y="169"/>
                    </a:lnTo>
                    <a:lnTo>
                      <a:pt x="266" y="169"/>
                    </a:lnTo>
                    <a:lnTo>
                      <a:pt x="265" y="169"/>
                    </a:lnTo>
                    <a:lnTo>
                      <a:pt x="263" y="169"/>
                    </a:lnTo>
                    <a:lnTo>
                      <a:pt x="261" y="169"/>
                    </a:lnTo>
                    <a:lnTo>
                      <a:pt x="260" y="169"/>
                    </a:lnTo>
                    <a:lnTo>
                      <a:pt x="258" y="169"/>
                    </a:lnTo>
                    <a:lnTo>
                      <a:pt x="258" y="168"/>
                    </a:lnTo>
                    <a:lnTo>
                      <a:pt x="258" y="166"/>
                    </a:lnTo>
                    <a:lnTo>
                      <a:pt x="258" y="165"/>
                    </a:lnTo>
                    <a:lnTo>
                      <a:pt x="257" y="165"/>
                    </a:lnTo>
                    <a:lnTo>
                      <a:pt x="257" y="166"/>
                    </a:lnTo>
                    <a:lnTo>
                      <a:pt x="255" y="166"/>
                    </a:lnTo>
                    <a:lnTo>
                      <a:pt x="257" y="166"/>
                    </a:lnTo>
                    <a:lnTo>
                      <a:pt x="257" y="165"/>
                    </a:lnTo>
                    <a:lnTo>
                      <a:pt x="255" y="165"/>
                    </a:lnTo>
                    <a:lnTo>
                      <a:pt x="253" y="165"/>
                    </a:lnTo>
                    <a:lnTo>
                      <a:pt x="252" y="165"/>
                    </a:lnTo>
                    <a:lnTo>
                      <a:pt x="250" y="165"/>
                    </a:lnTo>
                    <a:lnTo>
                      <a:pt x="249" y="165"/>
                    </a:lnTo>
                    <a:lnTo>
                      <a:pt x="247" y="165"/>
                    </a:lnTo>
                    <a:lnTo>
                      <a:pt x="247" y="166"/>
                    </a:lnTo>
                    <a:lnTo>
                      <a:pt x="247" y="168"/>
                    </a:lnTo>
                    <a:lnTo>
                      <a:pt x="246" y="168"/>
                    </a:lnTo>
                    <a:lnTo>
                      <a:pt x="244" y="168"/>
                    </a:lnTo>
                    <a:lnTo>
                      <a:pt x="244" y="166"/>
                    </a:lnTo>
                    <a:lnTo>
                      <a:pt x="242" y="168"/>
                    </a:lnTo>
                    <a:lnTo>
                      <a:pt x="241" y="169"/>
                    </a:lnTo>
                    <a:lnTo>
                      <a:pt x="239" y="169"/>
                    </a:lnTo>
                    <a:lnTo>
                      <a:pt x="239" y="171"/>
                    </a:lnTo>
                    <a:lnTo>
                      <a:pt x="239" y="172"/>
                    </a:lnTo>
                    <a:lnTo>
                      <a:pt x="238" y="172"/>
                    </a:lnTo>
                    <a:lnTo>
                      <a:pt x="238" y="174"/>
                    </a:lnTo>
                    <a:lnTo>
                      <a:pt x="238" y="176"/>
                    </a:lnTo>
                    <a:lnTo>
                      <a:pt x="238" y="177"/>
                    </a:lnTo>
                    <a:lnTo>
                      <a:pt x="236" y="177"/>
                    </a:lnTo>
                    <a:lnTo>
                      <a:pt x="234" y="177"/>
                    </a:lnTo>
                    <a:lnTo>
                      <a:pt x="234" y="179"/>
                    </a:lnTo>
                    <a:lnTo>
                      <a:pt x="233" y="179"/>
                    </a:lnTo>
                    <a:lnTo>
                      <a:pt x="231" y="180"/>
                    </a:lnTo>
                    <a:lnTo>
                      <a:pt x="230" y="180"/>
                    </a:lnTo>
                    <a:lnTo>
                      <a:pt x="228" y="180"/>
                    </a:lnTo>
                    <a:lnTo>
                      <a:pt x="228" y="179"/>
                    </a:lnTo>
                    <a:lnTo>
                      <a:pt x="227" y="179"/>
                    </a:lnTo>
                    <a:lnTo>
                      <a:pt x="225" y="180"/>
                    </a:lnTo>
                    <a:lnTo>
                      <a:pt x="227" y="180"/>
                    </a:lnTo>
                    <a:lnTo>
                      <a:pt x="227" y="182"/>
                    </a:lnTo>
                    <a:lnTo>
                      <a:pt x="227" y="184"/>
                    </a:lnTo>
                    <a:lnTo>
                      <a:pt x="225" y="184"/>
                    </a:lnTo>
                    <a:lnTo>
                      <a:pt x="225" y="185"/>
                    </a:lnTo>
                    <a:lnTo>
                      <a:pt x="223" y="185"/>
                    </a:lnTo>
                    <a:lnTo>
                      <a:pt x="222" y="185"/>
                    </a:lnTo>
                    <a:lnTo>
                      <a:pt x="222" y="187"/>
                    </a:lnTo>
                    <a:lnTo>
                      <a:pt x="222" y="188"/>
                    </a:lnTo>
                    <a:lnTo>
                      <a:pt x="220" y="188"/>
                    </a:lnTo>
                    <a:lnTo>
                      <a:pt x="220" y="190"/>
                    </a:lnTo>
                    <a:lnTo>
                      <a:pt x="220" y="188"/>
                    </a:lnTo>
                    <a:lnTo>
                      <a:pt x="220" y="187"/>
                    </a:lnTo>
                    <a:lnTo>
                      <a:pt x="219" y="188"/>
                    </a:lnTo>
                    <a:lnTo>
                      <a:pt x="219" y="187"/>
                    </a:lnTo>
                    <a:lnTo>
                      <a:pt x="217" y="187"/>
                    </a:lnTo>
                    <a:lnTo>
                      <a:pt x="217" y="188"/>
                    </a:lnTo>
                    <a:lnTo>
                      <a:pt x="215" y="188"/>
                    </a:lnTo>
                    <a:lnTo>
                      <a:pt x="214" y="188"/>
                    </a:lnTo>
                    <a:lnTo>
                      <a:pt x="214" y="190"/>
                    </a:lnTo>
                    <a:lnTo>
                      <a:pt x="215" y="190"/>
                    </a:lnTo>
                    <a:lnTo>
                      <a:pt x="215" y="191"/>
                    </a:lnTo>
                    <a:lnTo>
                      <a:pt x="217" y="191"/>
                    </a:lnTo>
                    <a:lnTo>
                      <a:pt x="215" y="191"/>
                    </a:lnTo>
                    <a:lnTo>
                      <a:pt x="215" y="193"/>
                    </a:lnTo>
                    <a:lnTo>
                      <a:pt x="214" y="193"/>
                    </a:lnTo>
                    <a:lnTo>
                      <a:pt x="214" y="195"/>
                    </a:lnTo>
                    <a:lnTo>
                      <a:pt x="214" y="196"/>
                    </a:lnTo>
                    <a:lnTo>
                      <a:pt x="212" y="196"/>
                    </a:lnTo>
                    <a:lnTo>
                      <a:pt x="211" y="196"/>
                    </a:lnTo>
                    <a:lnTo>
                      <a:pt x="211" y="198"/>
                    </a:lnTo>
                    <a:lnTo>
                      <a:pt x="212" y="198"/>
                    </a:lnTo>
                    <a:lnTo>
                      <a:pt x="211" y="198"/>
                    </a:lnTo>
                    <a:lnTo>
                      <a:pt x="211" y="199"/>
                    </a:lnTo>
                    <a:lnTo>
                      <a:pt x="211" y="198"/>
                    </a:lnTo>
                    <a:lnTo>
                      <a:pt x="209" y="198"/>
                    </a:lnTo>
                    <a:lnTo>
                      <a:pt x="208" y="196"/>
                    </a:lnTo>
                    <a:lnTo>
                      <a:pt x="208" y="198"/>
                    </a:lnTo>
                    <a:lnTo>
                      <a:pt x="206" y="198"/>
                    </a:lnTo>
                    <a:lnTo>
                      <a:pt x="206" y="199"/>
                    </a:lnTo>
                    <a:lnTo>
                      <a:pt x="206" y="201"/>
                    </a:lnTo>
                    <a:lnTo>
                      <a:pt x="204" y="201"/>
                    </a:lnTo>
                    <a:lnTo>
                      <a:pt x="203" y="201"/>
                    </a:lnTo>
                    <a:lnTo>
                      <a:pt x="201" y="201"/>
                    </a:lnTo>
                    <a:lnTo>
                      <a:pt x="200" y="201"/>
                    </a:lnTo>
                    <a:lnTo>
                      <a:pt x="200" y="199"/>
                    </a:lnTo>
                    <a:lnTo>
                      <a:pt x="198" y="199"/>
                    </a:lnTo>
                    <a:lnTo>
                      <a:pt x="196" y="199"/>
                    </a:lnTo>
                    <a:lnTo>
                      <a:pt x="195" y="199"/>
                    </a:lnTo>
                    <a:lnTo>
                      <a:pt x="193" y="199"/>
                    </a:lnTo>
                    <a:lnTo>
                      <a:pt x="193" y="201"/>
                    </a:lnTo>
                    <a:lnTo>
                      <a:pt x="192" y="201"/>
                    </a:lnTo>
                    <a:lnTo>
                      <a:pt x="192" y="203"/>
                    </a:lnTo>
                    <a:lnTo>
                      <a:pt x="192" y="204"/>
                    </a:lnTo>
                    <a:lnTo>
                      <a:pt x="190" y="204"/>
                    </a:lnTo>
                    <a:lnTo>
                      <a:pt x="189" y="204"/>
                    </a:lnTo>
                    <a:lnTo>
                      <a:pt x="187" y="204"/>
                    </a:lnTo>
                    <a:lnTo>
                      <a:pt x="187" y="203"/>
                    </a:lnTo>
                    <a:lnTo>
                      <a:pt x="187" y="201"/>
                    </a:lnTo>
                    <a:lnTo>
                      <a:pt x="187" y="199"/>
                    </a:lnTo>
                    <a:lnTo>
                      <a:pt x="185" y="199"/>
                    </a:lnTo>
                    <a:lnTo>
                      <a:pt x="184" y="199"/>
                    </a:lnTo>
                    <a:lnTo>
                      <a:pt x="184" y="201"/>
                    </a:lnTo>
                    <a:lnTo>
                      <a:pt x="182" y="201"/>
                    </a:lnTo>
                    <a:lnTo>
                      <a:pt x="182" y="199"/>
                    </a:lnTo>
                    <a:lnTo>
                      <a:pt x="181" y="199"/>
                    </a:lnTo>
                    <a:lnTo>
                      <a:pt x="181" y="201"/>
                    </a:lnTo>
                    <a:lnTo>
                      <a:pt x="179" y="201"/>
                    </a:lnTo>
                    <a:lnTo>
                      <a:pt x="181" y="201"/>
                    </a:lnTo>
                    <a:lnTo>
                      <a:pt x="181" y="203"/>
                    </a:lnTo>
                    <a:lnTo>
                      <a:pt x="179" y="203"/>
                    </a:lnTo>
                    <a:lnTo>
                      <a:pt x="179" y="204"/>
                    </a:lnTo>
                    <a:lnTo>
                      <a:pt x="177" y="204"/>
                    </a:lnTo>
                    <a:lnTo>
                      <a:pt x="177" y="203"/>
                    </a:lnTo>
                    <a:lnTo>
                      <a:pt x="176" y="203"/>
                    </a:lnTo>
                    <a:lnTo>
                      <a:pt x="176" y="201"/>
                    </a:lnTo>
                    <a:lnTo>
                      <a:pt x="174" y="201"/>
                    </a:lnTo>
                    <a:lnTo>
                      <a:pt x="174" y="199"/>
                    </a:lnTo>
                    <a:lnTo>
                      <a:pt x="174" y="198"/>
                    </a:lnTo>
                    <a:lnTo>
                      <a:pt x="173" y="198"/>
                    </a:lnTo>
                    <a:lnTo>
                      <a:pt x="171" y="198"/>
                    </a:lnTo>
                    <a:lnTo>
                      <a:pt x="171" y="196"/>
                    </a:lnTo>
                    <a:lnTo>
                      <a:pt x="171" y="195"/>
                    </a:lnTo>
                    <a:lnTo>
                      <a:pt x="170" y="195"/>
                    </a:lnTo>
                    <a:lnTo>
                      <a:pt x="170" y="196"/>
                    </a:lnTo>
                    <a:lnTo>
                      <a:pt x="168" y="196"/>
                    </a:lnTo>
                    <a:lnTo>
                      <a:pt x="168" y="195"/>
                    </a:lnTo>
                    <a:lnTo>
                      <a:pt x="166" y="195"/>
                    </a:lnTo>
                    <a:lnTo>
                      <a:pt x="165" y="195"/>
                    </a:lnTo>
                    <a:lnTo>
                      <a:pt x="165" y="196"/>
                    </a:lnTo>
                    <a:lnTo>
                      <a:pt x="163" y="196"/>
                    </a:lnTo>
                    <a:lnTo>
                      <a:pt x="162" y="196"/>
                    </a:lnTo>
                    <a:lnTo>
                      <a:pt x="160" y="196"/>
                    </a:lnTo>
                    <a:lnTo>
                      <a:pt x="160" y="198"/>
                    </a:lnTo>
                    <a:lnTo>
                      <a:pt x="158" y="198"/>
                    </a:lnTo>
                    <a:lnTo>
                      <a:pt x="158" y="196"/>
                    </a:lnTo>
                    <a:lnTo>
                      <a:pt x="158" y="198"/>
                    </a:lnTo>
                    <a:lnTo>
                      <a:pt x="157" y="198"/>
                    </a:lnTo>
                    <a:lnTo>
                      <a:pt x="157" y="199"/>
                    </a:lnTo>
                    <a:lnTo>
                      <a:pt x="157" y="201"/>
                    </a:lnTo>
                    <a:lnTo>
                      <a:pt x="155" y="201"/>
                    </a:lnTo>
                    <a:lnTo>
                      <a:pt x="155" y="199"/>
                    </a:lnTo>
                    <a:lnTo>
                      <a:pt x="154" y="201"/>
                    </a:lnTo>
                    <a:lnTo>
                      <a:pt x="152" y="201"/>
                    </a:lnTo>
                    <a:lnTo>
                      <a:pt x="152" y="199"/>
                    </a:lnTo>
                    <a:lnTo>
                      <a:pt x="152" y="198"/>
                    </a:lnTo>
                    <a:lnTo>
                      <a:pt x="151" y="198"/>
                    </a:lnTo>
                    <a:lnTo>
                      <a:pt x="149" y="198"/>
                    </a:lnTo>
                    <a:lnTo>
                      <a:pt x="147" y="199"/>
                    </a:lnTo>
                    <a:lnTo>
                      <a:pt x="147" y="201"/>
                    </a:lnTo>
                    <a:lnTo>
                      <a:pt x="146" y="201"/>
                    </a:lnTo>
                    <a:lnTo>
                      <a:pt x="147" y="201"/>
                    </a:lnTo>
                    <a:lnTo>
                      <a:pt x="147" y="203"/>
                    </a:lnTo>
                    <a:lnTo>
                      <a:pt x="149" y="203"/>
                    </a:lnTo>
                    <a:lnTo>
                      <a:pt x="147" y="204"/>
                    </a:lnTo>
                    <a:lnTo>
                      <a:pt x="146" y="204"/>
                    </a:lnTo>
                    <a:lnTo>
                      <a:pt x="146" y="203"/>
                    </a:lnTo>
                    <a:lnTo>
                      <a:pt x="144" y="201"/>
                    </a:lnTo>
                    <a:lnTo>
                      <a:pt x="143" y="201"/>
                    </a:lnTo>
                    <a:lnTo>
                      <a:pt x="141" y="201"/>
                    </a:lnTo>
                    <a:lnTo>
                      <a:pt x="139" y="201"/>
                    </a:lnTo>
                    <a:lnTo>
                      <a:pt x="139" y="199"/>
                    </a:lnTo>
                    <a:lnTo>
                      <a:pt x="138" y="199"/>
                    </a:lnTo>
                    <a:lnTo>
                      <a:pt x="138" y="201"/>
                    </a:lnTo>
                    <a:lnTo>
                      <a:pt x="136" y="201"/>
                    </a:lnTo>
                    <a:lnTo>
                      <a:pt x="135" y="201"/>
                    </a:lnTo>
                    <a:lnTo>
                      <a:pt x="133" y="201"/>
                    </a:lnTo>
                    <a:lnTo>
                      <a:pt x="132" y="201"/>
                    </a:lnTo>
                    <a:lnTo>
                      <a:pt x="130" y="201"/>
                    </a:lnTo>
                    <a:lnTo>
                      <a:pt x="128" y="201"/>
                    </a:lnTo>
                    <a:lnTo>
                      <a:pt x="127" y="201"/>
                    </a:lnTo>
                    <a:lnTo>
                      <a:pt x="125" y="201"/>
                    </a:lnTo>
                    <a:lnTo>
                      <a:pt x="124" y="201"/>
                    </a:lnTo>
                    <a:lnTo>
                      <a:pt x="122" y="201"/>
                    </a:lnTo>
                    <a:lnTo>
                      <a:pt x="122" y="199"/>
                    </a:lnTo>
                    <a:lnTo>
                      <a:pt x="120" y="199"/>
                    </a:lnTo>
                    <a:lnTo>
                      <a:pt x="120" y="198"/>
                    </a:lnTo>
                    <a:lnTo>
                      <a:pt x="120" y="196"/>
                    </a:lnTo>
                    <a:lnTo>
                      <a:pt x="119" y="196"/>
                    </a:lnTo>
                    <a:lnTo>
                      <a:pt x="119" y="195"/>
                    </a:lnTo>
                    <a:lnTo>
                      <a:pt x="117" y="195"/>
                    </a:lnTo>
                    <a:lnTo>
                      <a:pt x="116" y="195"/>
                    </a:lnTo>
                    <a:lnTo>
                      <a:pt x="114" y="195"/>
                    </a:lnTo>
                    <a:lnTo>
                      <a:pt x="114" y="193"/>
                    </a:lnTo>
                    <a:lnTo>
                      <a:pt x="113" y="193"/>
                    </a:lnTo>
                    <a:lnTo>
                      <a:pt x="113" y="191"/>
                    </a:lnTo>
                    <a:lnTo>
                      <a:pt x="113" y="190"/>
                    </a:lnTo>
                    <a:lnTo>
                      <a:pt x="111" y="190"/>
                    </a:lnTo>
                    <a:lnTo>
                      <a:pt x="109" y="190"/>
                    </a:lnTo>
                    <a:lnTo>
                      <a:pt x="108" y="190"/>
                    </a:lnTo>
                    <a:lnTo>
                      <a:pt x="108" y="191"/>
                    </a:lnTo>
                    <a:lnTo>
                      <a:pt x="106" y="191"/>
                    </a:lnTo>
                    <a:lnTo>
                      <a:pt x="105" y="191"/>
                    </a:lnTo>
                    <a:lnTo>
                      <a:pt x="103" y="191"/>
                    </a:lnTo>
                    <a:lnTo>
                      <a:pt x="101" y="191"/>
                    </a:lnTo>
                    <a:lnTo>
                      <a:pt x="100" y="191"/>
                    </a:lnTo>
                    <a:lnTo>
                      <a:pt x="98" y="191"/>
                    </a:lnTo>
                    <a:lnTo>
                      <a:pt x="97" y="191"/>
                    </a:lnTo>
                    <a:lnTo>
                      <a:pt x="97" y="190"/>
                    </a:lnTo>
                    <a:lnTo>
                      <a:pt x="95" y="190"/>
                    </a:lnTo>
                    <a:lnTo>
                      <a:pt x="94" y="190"/>
                    </a:lnTo>
                    <a:lnTo>
                      <a:pt x="92" y="188"/>
                    </a:lnTo>
                    <a:lnTo>
                      <a:pt x="92" y="187"/>
                    </a:lnTo>
                    <a:lnTo>
                      <a:pt x="90" y="187"/>
                    </a:lnTo>
                    <a:lnTo>
                      <a:pt x="89" y="187"/>
                    </a:lnTo>
                    <a:lnTo>
                      <a:pt x="87" y="187"/>
                    </a:lnTo>
                    <a:lnTo>
                      <a:pt x="87" y="188"/>
                    </a:lnTo>
                    <a:lnTo>
                      <a:pt x="87" y="190"/>
                    </a:lnTo>
                    <a:lnTo>
                      <a:pt x="86" y="190"/>
                    </a:lnTo>
                    <a:lnTo>
                      <a:pt x="86" y="191"/>
                    </a:lnTo>
                    <a:lnTo>
                      <a:pt x="86" y="193"/>
                    </a:lnTo>
                    <a:lnTo>
                      <a:pt x="84" y="193"/>
                    </a:lnTo>
                    <a:lnTo>
                      <a:pt x="82" y="193"/>
                    </a:lnTo>
                    <a:lnTo>
                      <a:pt x="81" y="193"/>
                    </a:lnTo>
                    <a:lnTo>
                      <a:pt x="81" y="195"/>
                    </a:lnTo>
                    <a:lnTo>
                      <a:pt x="79" y="195"/>
                    </a:lnTo>
                    <a:lnTo>
                      <a:pt x="78" y="195"/>
                    </a:lnTo>
                    <a:lnTo>
                      <a:pt x="78" y="193"/>
                    </a:lnTo>
                    <a:lnTo>
                      <a:pt x="78" y="191"/>
                    </a:lnTo>
                    <a:lnTo>
                      <a:pt x="76" y="191"/>
                    </a:lnTo>
                    <a:lnTo>
                      <a:pt x="76" y="190"/>
                    </a:lnTo>
                    <a:lnTo>
                      <a:pt x="74" y="190"/>
                    </a:lnTo>
                    <a:lnTo>
                      <a:pt x="73" y="190"/>
                    </a:lnTo>
                    <a:lnTo>
                      <a:pt x="71" y="190"/>
                    </a:lnTo>
                    <a:lnTo>
                      <a:pt x="71" y="188"/>
                    </a:lnTo>
                    <a:lnTo>
                      <a:pt x="70" y="188"/>
                    </a:lnTo>
                    <a:lnTo>
                      <a:pt x="70" y="187"/>
                    </a:lnTo>
                    <a:lnTo>
                      <a:pt x="70" y="185"/>
                    </a:lnTo>
                    <a:lnTo>
                      <a:pt x="70" y="184"/>
                    </a:lnTo>
                    <a:lnTo>
                      <a:pt x="70" y="182"/>
                    </a:lnTo>
                    <a:lnTo>
                      <a:pt x="68" y="180"/>
                    </a:lnTo>
                    <a:lnTo>
                      <a:pt x="68" y="179"/>
                    </a:lnTo>
                    <a:lnTo>
                      <a:pt x="68" y="177"/>
                    </a:lnTo>
                    <a:lnTo>
                      <a:pt x="68" y="176"/>
                    </a:lnTo>
                    <a:lnTo>
                      <a:pt x="68" y="174"/>
                    </a:lnTo>
                    <a:lnTo>
                      <a:pt x="67" y="174"/>
                    </a:lnTo>
                    <a:lnTo>
                      <a:pt x="65" y="174"/>
                    </a:lnTo>
                    <a:lnTo>
                      <a:pt x="65" y="176"/>
                    </a:lnTo>
                    <a:lnTo>
                      <a:pt x="63" y="176"/>
                    </a:lnTo>
                    <a:lnTo>
                      <a:pt x="62" y="176"/>
                    </a:lnTo>
                    <a:lnTo>
                      <a:pt x="60" y="176"/>
                    </a:lnTo>
                    <a:lnTo>
                      <a:pt x="59" y="176"/>
                    </a:lnTo>
                    <a:lnTo>
                      <a:pt x="57" y="176"/>
                    </a:lnTo>
                    <a:lnTo>
                      <a:pt x="55" y="174"/>
                    </a:lnTo>
                    <a:lnTo>
                      <a:pt x="55" y="172"/>
                    </a:lnTo>
                    <a:lnTo>
                      <a:pt x="54" y="172"/>
                    </a:lnTo>
                    <a:lnTo>
                      <a:pt x="52" y="172"/>
                    </a:lnTo>
                    <a:lnTo>
                      <a:pt x="51" y="172"/>
                    </a:lnTo>
                    <a:lnTo>
                      <a:pt x="49" y="172"/>
                    </a:lnTo>
                    <a:lnTo>
                      <a:pt x="49" y="174"/>
                    </a:lnTo>
                    <a:lnTo>
                      <a:pt x="48" y="174"/>
                    </a:lnTo>
                    <a:lnTo>
                      <a:pt x="48" y="176"/>
                    </a:lnTo>
                    <a:lnTo>
                      <a:pt x="46" y="176"/>
                    </a:lnTo>
                    <a:lnTo>
                      <a:pt x="44" y="176"/>
                    </a:lnTo>
                    <a:lnTo>
                      <a:pt x="43" y="176"/>
                    </a:lnTo>
                    <a:lnTo>
                      <a:pt x="41" y="176"/>
                    </a:lnTo>
                    <a:lnTo>
                      <a:pt x="41" y="177"/>
                    </a:lnTo>
                    <a:lnTo>
                      <a:pt x="40" y="177"/>
                    </a:lnTo>
                    <a:lnTo>
                      <a:pt x="40" y="176"/>
                    </a:lnTo>
                    <a:lnTo>
                      <a:pt x="40" y="174"/>
                    </a:lnTo>
                    <a:lnTo>
                      <a:pt x="40" y="172"/>
                    </a:lnTo>
                    <a:lnTo>
                      <a:pt x="40" y="171"/>
                    </a:lnTo>
                    <a:lnTo>
                      <a:pt x="40" y="169"/>
                    </a:lnTo>
                    <a:lnTo>
                      <a:pt x="40" y="168"/>
                    </a:lnTo>
                    <a:lnTo>
                      <a:pt x="40" y="166"/>
                    </a:lnTo>
                    <a:lnTo>
                      <a:pt x="40" y="165"/>
                    </a:lnTo>
                    <a:lnTo>
                      <a:pt x="38" y="165"/>
                    </a:lnTo>
                    <a:lnTo>
                      <a:pt x="38" y="163"/>
                    </a:lnTo>
                    <a:lnTo>
                      <a:pt x="36" y="163"/>
                    </a:lnTo>
                    <a:lnTo>
                      <a:pt x="35" y="161"/>
                    </a:lnTo>
                    <a:lnTo>
                      <a:pt x="33" y="160"/>
                    </a:lnTo>
                    <a:lnTo>
                      <a:pt x="33" y="158"/>
                    </a:lnTo>
                    <a:lnTo>
                      <a:pt x="35" y="158"/>
                    </a:lnTo>
                    <a:lnTo>
                      <a:pt x="35" y="157"/>
                    </a:lnTo>
                    <a:lnTo>
                      <a:pt x="36" y="157"/>
                    </a:lnTo>
                    <a:lnTo>
                      <a:pt x="38" y="155"/>
                    </a:lnTo>
                    <a:lnTo>
                      <a:pt x="40" y="155"/>
                    </a:lnTo>
                    <a:lnTo>
                      <a:pt x="40" y="153"/>
                    </a:lnTo>
                    <a:lnTo>
                      <a:pt x="40" y="152"/>
                    </a:lnTo>
                    <a:lnTo>
                      <a:pt x="38" y="152"/>
                    </a:lnTo>
                    <a:lnTo>
                      <a:pt x="36" y="152"/>
                    </a:lnTo>
                    <a:lnTo>
                      <a:pt x="35" y="152"/>
                    </a:lnTo>
                    <a:lnTo>
                      <a:pt x="33" y="152"/>
                    </a:lnTo>
                    <a:lnTo>
                      <a:pt x="33" y="150"/>
                    </a:lnTo>
                    <a:lnTo>
                      <a:pt x="33" y="149"/>
                    </a:lnTo>
                    <a:lnTo>
                      <a:pt x="33" y="147"/>
                    </a:lnTo>
                    <a:lnTo>
                      <a:pt x="33" y="146"/>
                    </a:lnTo>
                    <a:lnTo>
                      <a:pt x="35" y="146"/>
                    </a:lnTo>
                    <a:lnTo>
                      <a:pt x="35" y="144"/>
                    </a:lnTo>
                    <a:lnTo>
                      <a:pt x="35" y="142"/>
                    </a:lnTo>
                    <a:lnTo>
                      <a:pt x="33" y="141"/>
                    </a:lnTo>
                    <a:lnTo>
                      <a:pt x="32" y="141"/>
                    </a:lnTo>
                    <a:lnTo>
                      <a:pt x="30" y="141"/>
                    </a:lnTo>
                    <a:lnTo>
                      <a:pt x="29" y="141"/>
                    </a:lnTo>
                    <a:lnTo>
                      <a:pt x="27" y="141"/>
                    </a:lnTo>
                    <a:lnTo>
                      <a:pt x="27" y="139"/>
                    </a:lnTo>
                    <a:lnTo>
                      <a:pt x="25" y="139"/>
                    </a:lnTo>
                    <a:lnTo>
                      <a:pt x="25" y="138"/>
                    </a:lnTo>
                    <a:lnTo>
                      <a:pt x="25" y="136"/>
                    </a:lnTo>
                    <a:lnTo>
                      <a:pt x="25" y="134"/>
                    </a:lnTo>
                    <a:lnTo>
                      <a:pt x="24" y="134"/>
                    </a:lnTo>
                    <a:lnTo>
                      <a:pt x="24" y="133"/>
                    </a:lnTo>
                    <a:lnTo>
                      <a:pt x="22" y="133"/>
                    </a:lnTo>
                    <a:lnTo>
                      <a:pt x="21" y="131"/>
                    </a:lnTo>
                    <a:lnTo>
                      <a:pt x="19" y="131"/>
                    </a:lnTo>
                    <a:lnTo>
                      <a:pt x="17" y="131"/>
                    </a:lnTo>
                    <a:lnTo>
                      <a:pt x="17" y="130"/>
                    </a:lnTo>
                    <a:lnTo>
                      <a:pt x="16" y="130"/>
                    </a:lnTo>
                    <a:lnTo>
                      <a:pt x="16" y="128"/>
                    </a:lnTo>
                    <a:lnTo>
                      <a:pt x="14" y="128"/>
                    </a:lnTo>
                    <a:lnTo>
                      <a:pt x="13" y="128"/>
                    </a:lnTo>
                    <a:lnTo>
                      <a:pt x="13" y="127"/>
                    </a:lnTo>
                    <a:lnTo>
                      <a:pt x="11" y="127"/>
                    </a:lnTo>
                    <a:lnTo>
                      <a:pt x="10" y="127"/>
                    </a:lnTo>
                    <a:lnTo>
                      <a:pt x="10" y="125"/>
                    </a:lnTo>
                    <a:lnTo>
                      <a:pt x="8" y="125"/>
                    </a:lnTo>
                    <a:lnTo>
                      <a:pt x="8" y="123"/>
                    </a:lnTo>
                    <a:lnTo>
                      <a:pt x="6" y="123"/>
                    </a:lnTo>
                    <a:lnTo>
                      <a:pt x="5" y="122"/>
                    </a:lnTo>
                    <a:lnTo>
                      <a:pt x="5" y="120"/>
                    </a:lnTo>
                    <a:lnTo>
                      <a:pt x="3" y="120"/>
                    </a:lnTo>
                    <a:lnTo>
                      <a:pt x="3" y="119"/>
                    </a:lnTo>
                    <a:lnTo>
                      <a:pt x="3" y="117"/>
                    </a:lnTo>
                    <a:lnTo>
                      <a:pt x="2" y="117"/>
                    </a:lnTo>
                    <a:lnTo>
                      <a:pt x="2" y="115"/>
                    </a:lnTo>
                    <a:lnTo>
                      <a:pt x="2" y="114"/>
                    </a:lnTo>
                    <a:lnTo>
                      <a:pt x="0" y="114"/>
                    </a:lnTo>
                    <a:lnTo>
                      <a:pt x="0" y="112"/>
                    </a:lnTo>
                    <a:lnTo>
                      <a:pt x="2" y="111"/>
                    </a:lnTo>
                    <a:lnTo>
                      <a:pt x="3" y="109"/>
                    </a:lnTo>
                    <a:lnTo>
                      <a:pt x="5" y="108"/>
                    </a:lnTo>
                    <a:lnTo>
                      <a:pt x="5" y="106"/>
                    </a:lnTo>
                    <a:lnTo>
                      <a:pt x="6" y="104"/>
                    </a:lnTo>
                    <a:lnTo>
                      <a:pt x="8" y="104"/>
                    </a:lnTo>
                    <a:lnTo>
                      <a:pt x="10" y="104"/>
                    </a:lnTo>
                    <a:lnTo>
                      <a:pt x="10" y="103"/>
                    </a:lnTo>
                    <a:lnTo>
                      <a:pt x="11" y="103"/>
                    </a:lnTo>
                    <a:lnTo>
                      <a:pt x="11" y="101"/>
                    </a:lnTo>
                    <a:lnTo>
                      <a:pt x="11" y="100"/>
                    </a:lnTo>
                    <a:lnTo>
                      <a:pt x="11" y="98"/>
                    </a:lnTo>
                    <a:lnTo>
                      <a:pt x="11" y="96"/>
                    </a:lnTo>
                    <a:lnTo>
                      <a:pt x="13" y="96"/>
                    </a:lnTo>
                    <a:lnTo>
                      <a:pt x="13" y="95"/>
                    </a:lnTo>
                    <a:lnTo>
                      <a:pt x="14" y="95"/>
                    </a:lnTo>
                    <a:lnTo>
                      <a:pt x="16" y="95"/>
                    </a:lnTo>
                    <a:lnTo>
                      <a:pt x="17" y="95"/>
                    </a:lnTo>
                    <a:lnTo>
                      <a:pt x="19" y="93"/>
                    </a:lnTo>
                    <a:lnTo>
                      <a:pt x="21" y="93"/>
                    </a:lnTo>
                    <a:lnTo>
                      <a:pt x="22" y="93"/>
                    </a:lnTo>
                    <a:lnTo>
                      <a:pt x="24" y="93"/>
                    </a:lnTo>
                    <a:lnTo>
                      <a:pt x="24" y="92"/>
                    </a:lnTo>
                    <a:lnTo>
                      <a:pt x="25" y="92"/>
                    </a:lnTo>
                    <a:lnTo>
                      <a:pt x="25" y="90"/>
                    </a:lnTo>
                    <a:lnTo>
                      <a:pt x="27" y="90"/>
                    </a:lnTo>
                    <a:lnTo>
                      <a:pt x="29" y="90"/>
                    </a:lnTo>
                    <a:lnTo>
                      <a:pt x="30" y="90"/>
                    </a:lnTo>
                    <a:lnTo>
                      <a:pt x="30" y="89"/>
                    </a:lnTo>
                    <a:lnTo>
                      <a:pt x="32" y="89"/>
                    </a:lnTo>
                    <a:lnTo>
                      <a:pt x="33" y="89"/>
                    </a:lnTo>
                    <a:lnTo>
                      <a:pt x="33" y="87"/>
                    </a:lnTo>
                    <a:lnTo>
                      <a:pt x="35" y="87"/>
                    </a:lnTo>
                    <a:lnTo>
                      <a:pt x="36" y="87"/>
                    </a:lnTo>
                    <a:lnTo>
                      <a:pt x="38" y="87"/>
                    </a:lnTo>
                    <a:lnTo>
                      <a:pt x="38" y="85"/>
                    </a:lnTo>
                    <a:lnTo>
                      <a:pt x="40" y="85"/>
                    </a:lnTo>
                    <a:lnTo>
                      <a:pt x="41" y="85"/>
                    </a:lnTo>
                    <a:lnTo>
                      <a:pt x="41" y="84"/>
                    </a:lnTo>
                    <a:lnTo>
                      <a:pt x="43" y="84"/>
                    </a:lnTo>
                    <a:lnTo>
                      <a:pt x="44" y="84"/>
                    </a:lnTo>
                    <a:lnTo>
                      <a:pt x="46" y="84"/>
                    </a:lnTo>
                    <a:lnTo>
                      <a:pt x="46" y="85"/>
                    </a:lnTo>
                    <a:lnTo>
                      <a:pt x="48" y="85"/>
                    </a:lnTo>
                    <a:lnTo>
                      <a:pt x="49" y="85"/>
                    </a:lnTo>
                    <a:lnTo>
                      <a:pt x="51" y="84"/>
                    </a:lnTo>
                    <a:lnTo>
                      <a:pt x="52" y="84"/>
                    </a:lnTo>
                    <a:lnTo>
                      <a:pt x="54" y="84"/>
                    </a:lnTo>
                    <a:lnTo>
                      <a:pt x="55" y="82"/>
                    </a:lnTo>
                    <a:lnTo>
                      <a:pt x="57" y="82"/>
                    </a:lnTo>
                    <a:lnTo>
                      <a:pt x="59" y="82"/>
                    </a:lnTo>
                    <a:lnTo>
                      <a:pt x="60" y="82"/>
                    </a:lnTo>
                    <a:lnTo>
                      <a:pt x="62" y="81"/>
                    </a:lnTo>
                    <a:lnTo>
                      <a:pt x="63" y="81"/>
                    </a:lnTo>
                    <a:lnTo>
                      <a:pt x="63" y="79"/>
                    </a:lnTo>
                    <a:lnTo>
                      <a:pt x="63" y="77"/>
                    </a:lnTo>
                    <a:lnTo>
                      <a:pt x="63" y="76"/>
                    </a:lnTo>
                    <a:lnTo>
                      <a:pt x="63" y="74"/>
                    </a:lnTo>
                    <a:lnTo>
                      <a:pt x="63" y="73"/>
                    </a:lnTo>
                    <a:lnTo>
                      <a:pt x="63" y="71"/>
                    </a:lnTo>
                    <a:lnTo>
                      <a:pt x="62" y="69"/>
                    </a:lnTo>
                    <a:lnTo>
                      <a:pt x="62" y="68"/>
                    </a:lnTo>
                    <a:lnTo>
                      <a:pt x="62" y="66"/>
                    </a:lnTo>
                    <a:lnTo>
                      <a:pt x="60" y="65"/>
                    </a:lnTo>
                    <a:lnTo>
                      <a:pt x="60" y="63"/>
                    </a:lnTo>
                    <a:lnTo>
                      <a:pt x="60" y="62"/>
                    </a:lnTo>
                    <a:lnTo>
                      <a:pt x="59" y="60"/>
                    </a:lnTo>
                    <a:lnTo>
                      <a:pt x="59" y="58"/>
                    </a:lnTo>
                    <a:lnTo>
                      <a:pt x="59" y="57"/>
                    </a:lnTo>
                    <a:lnTo>
                      <a:pt x="59" y="55"/>
                    </a:lnTo>
                    <a:lnTo>
                      <a:pt x="59" y="54"/>
                    </a:lnTo>
                    <a:lnTo>
                      <a:pt x="57" y="54"/>
                    </a:lnTo>
                    <a:lnTo>
                      <a:pt x="57" y="52"/>
                    </a:lnTo>
                    <a:lnTo>
                      <a:pt x="57" y="50"/>
                    </a:lnTo>
                    <a:lnTo>
                      <a:pt x="57" y="49"/>
                    </a:lnTo>
                    <a:lnTo>
                      <a:pt x="57" y="47"/>
                    </a:lnTo>
                    <a:lnTo>
                      <a:pt x="57" y="46"/>
                    </a:lnTo>
                    <a:lnTo>
                      <a:pt x="55" y="44"/>
                    </a:lnTo>
                    <a:lnTo>
                      <a:pt x="55" y="43"/>
                    </a:lnTo>
                    <a:lnTo>
                      <a:pt x="55" y="41"/>
                    </a:lnTo>
                    <a:lnTo>
                      <a:pt x="55" y="39"/>
                    </a:lnTo>
                    <a:lnTo>
                      <a:pt x="55" y="38"/>
                    </a:lnTo>
                    <a:lnTo>
                      <a:pt x="54" y="36"/>
                    </a:lnTo>
                    <a:lnTo>
                      <a:pt x="54" y="35"/>
                    </a:lnTo>
                    <a:lnTo>
                      <a:pt x="54" y="33"/>
                    </a:lnTo>
                    <a:lnTo>
                      <a:pt x="54" y="31"/>
                    </a:lnTo>
                    <a:lnTo>
                      <a:pt x="54" y="30"/>
                    </a:lnTo>
                    <a:lnTo>
                      <a:pt x="52" y="28"/>
                    </a:lnTo>
                    <a:lnTo>
                      <a:pt x="52" y="27"/>
                    </a:lnTo>
                    <a:lnTo>
                      <a:pt x="52" y="25"/>
                    </a:lnTo>
                    <a:lnTo>
                      <a:pt x="52" y="24"/>
                    </a:lnTo>
                    <a:lnTo>
                      <a:pt x="51" y="22"/>
                    </a:lnTo>
                    <a:lnTo>
                      <a:pt x="51" y="20"/>
                    </a:lnTo>
                    <a:lnTo>
                      <a:pt x="51" y="19"/>
                    </a:lnTo>
                    <a:lnTo>
                      <a:pt x="51" y="17"/>
                    </a:lnTo>
                    <a:lnTo>
                      <a:pt x="51" y="16"/>
                    </a:lnTo>
                    <a:lnTo>
                      <a:pt x="49" y="16"/>
                    </a:lnTo>
                    <a:lnTo>
                      <a:pt x="49" y="14"/>
                    </a:lnTo>
                    <a:lnTo>
                      <a:pt x="49" y="12"/>
                    </a:lnTo>
                    <a:lnTo>
                      <a:pt x="49" y="11"/>
                    </a:lnTo>
                    <a:lnTo>
                      <a:pt x="49" y="9"/>
                    </a:lnTo>
                    <a:lnTo>
                      <a:pt x="49" y="8"/>
                    </a:lnTo>
                    <a:lnTo>
                      <a:pt x="48" y="8"/>
                    </a:lnTo>
                    <a:lnTo>
                      <a:pt x="48" y="6"/>
                    </a:lnTo>
                    <a:lnTo>
                      <a:pt x="48" y="5"/>
                    </a:lnTo>
                    <a:lnTo>
                      <a:pt x="48" y="3"/>
                    </a:lnTo>
                    <a:lnTo>
                      <a:pt x="48" y="1"/>
                    </a:lnTo>
                    <a:lnTo>
                      <a:pt x="49" y="1"/>
                    </a:lnTo>
                    <a:lnTo>
                      <a:pt x="49"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53" name="Freeform 133"/>
              <p:cNvSpPr>
                <a:spLocks/>
              </p:cNvSpPr>
              <p:nvPr/>
            </p:nvSpPr>
            <p:spPr bwMode="auto">
              <a:xfrm>
                <a:off x="2474" y="1480"/>
                <a:ext cx="746" cy="429"/>
              </a:xfrm>
              <a:custGeom>
                <a:avLst/>
                <a:gdLst>
                  <a:gd name="T0" fmla="*/ 3 w 746"/>
                  <a:gd name="T1" fmla="*/ 408 h 429"/>
                  <a:gd name="T2" fmla="*/ 13 w 746"/>
                  <a:gd name="T3" fmla="*/ 388 h 429"/>
                  <a:gd name="T4" fmla="*/ 22 w 746"/>
                  <a:gd name="T5" fmla="*/ 365 h 429"/>
                  <a:gd name="T6" fmla="*/ 11 w 746"/>
                  <a:gd name="T7" fmla="*/ 346 h 429"/>
                  <a:gd name="T8" fmla="*/ 32 w 746"/>
                  <a:gd name="T9" fmla="*/ 339 h 429"/>
                  <a:gd name="T10" fmla="*/ 48 w 746"/>
                  <a:gd name="T11" fmla="*/ 321 h 429"/>
                  <a:gd name="T12" fmla="*/ 62 w 746"/>
                  <a:gd name="T13" fmla="*/ 302 h 429"/>
                  <a:gd name="T14" fmla="*/ 70 w 746"/>
                  <a:gd name="T15" fmla="*/ 285 h 429"/>
                  <a:gd name="T16" fmla="*/ 70 w 746"/>
                  <a:gd name="T17" fmla="*/ 267 h 429"/>
                  <a:gd name="T18" fmla="*/ 90 w 746"/>
                  <a:gd name="T19" fmla="*/ 258 h 429"/>
                  <a:gd name="T20" fmla="*/ 97 w 746"/>
                  <a:gd name="T21" fmla="*/ 236 h 429"/>
                  <a:gd name="T22" fmla="*/ 95 w 746"/>
                  <a:gd name="T23" fmla="*/ 215 h 429"/>
                  <a:gd name="T24" fmla="*/ 87 w 746"/>
                  <a:gd name="T25" fmla="*/ 194 h 429"/>
                  <a:gd name="T26" fmla="*/ 83 w 746"/>
                  <a:gd name="T27" fmla="*/ 180 h 429"/>
                  <a:gd name="T28" fmla="*/ 75 w 746"/>
                  <a:gd name="T29" fmla="*/ 166 h 429"/>
                  <a:gd name="T30" fmla="*/ 81 w 746"/>
                  <a:gd name="T31" fmla="*/ 142 h 429"/>
                  <a:gd name="T32" fmla="*/ 92 w 746"/>
                  <a:gd name="T33" fmla="*/ 117 h 429"/>
                  <a:gd name="T34" fmla="*/ 119 w 746"/>
                  <a:gd name="T35" fmla="*/ 112 h 429"/>
                  <a:gd name="T36" fmla="*/ 143 w 746"/>
                  <a:gd name="T37" fmla="*/ 115 h 429"/>
                  <a:gd name="T38" fmla="*/ 162 w 746"/>
                  <a:gd name="T39" fmla="*/ 106 h 429"/>
                  <a:gd name="T40" fmla="*/ 154 w 746"/>
                  <a:gd name="T41" fmla="*/ 87 h 429"/>
                  <a:gd name="T42" fmla="*/ 151 w 746"/>
                  <a:gd name="T43" fmla="*/ 68 h 429"/>
                  <a:gd name="T44" fmla="*/ 163 w 746"/>
                  <a:gd name="T45" fmla="*/ 47 h 429"/>
                  <a:gd name="T46" fmla="*/ 182 w 746"/>
                  <a:gd name="T47" fmla="*/ 58 h 429"/>
                  <a:gd name="T48" fmla="*/ 250 w 746"/>
                  <a:gd name="T49" fmla="*/ 104 h 429"/>
                  <a:gd name="T50" fmla="*/ 254 w 746"/>
                  <a:gd name="T51" fmla="*/ 129 h 429"/>
                  <a:gd name="T52" fmla="*/ 260 w 746"/>
                  <a:gd name="T53" fmla="*/ 153 h 429"/>
                  <a:gd name="T54" fmla="*/ 255 w 746"/>
                  <a:gd name="T55" fmla="*/ 175 h 429"/>
                  <a:gd name="T56" fmla="*/ 273 w 746"/>
                  <a:gd name="T57" fmla="*/ 169 h 429"/>
                  <a:gd name="T58" fmla="*/ 290 w 746"/>
                  <a:gd name="T59" fmla="*/ 155 h 429"/>
                  <a:gd name="T60" fmla="*/ 309 w 746"/>
                  <a:gd name="T61" fmla="*/ 144 h 429"/>
                  <a:gd name="T62" fmla="*/ 331 w 746"/>
                  <a:gd name="T63" fmla="*/ 137 h 429"/>
                  <a:gd name="T64" fmla="*/ 353 w 746"/>
                  <a:gd name="T65" fmla="*/ 144 h 429"/>
                  <a:gd name="T66" fmla="*/ 372 w 746"/>
                  <a:gd name="T67" fmla="*/ 156 h 429"/>
                  <a:gd name="T68" fmla="*/ 396 w 746"/>
                  <a:gd name="T69" fmla="*/ 161 h 429"/>
                  <a:gd name="T70" fmla="*/ 410 w 746"/>
                  <a:gd name="T71" fmla="*/ 145 h 429"/>
                  <a:gd name="T72" fmla="*/ 407 w 746"/>
                  <a:gd name="T73" fmla="*/ 125 h 429"/>
                  <a:gd name="T74" fmla="*/ 415 w 746"/>
                  <a:gd name="T75" fmla="*/ 102 h 429"/>
                  <a:gd name="T76" fmla="*/ 442 w 746"/>
                  <a:gd name="T77" fmla="*/ 96 h 429"/>
                  <a:gd name="T78" fmla="*/ 455 w 746"/>
                  <a:gd name="T79" fmla="*/ 110 h 429"/>
                  <a:gd name="T80" fmla="*/ 458 w 746"/>
                  <a:gd name="T81" fmla="*/ 129 h 429"/>
                  <a:gd name="T82" fmla="*/ 480 w 746"/>
                  <a:gd name="T83" fmla="*/ 123 h 429"/>
                  <a:gd name="T84" fmla="*/ 501 w 746"/>
                  <a:gd name="T85" fmla="*/ 115 h 429"/>
                  <a:gd name="T86" fmla="*/ 499 w 746"/>
                  <a:gd name="T87" fmla="*/ 99 h 429"/>
                  <a:gd name="T88" fmla="*/ 480 w 746"/>
                  <a:gd name="T89" fmla="*/ 91 h 429"/>
                  <a:gd name="T90" fmla="*/ 482 w 746"/>
                  <a:gd name="T91" fmla="*/ 76 h 429"/>
                  <a:gd name="T92" fmla="*/ 494 w 746"/>
                  <a:gd name="T93" fmla="*/ 63 h 429"/>
                  <a:gd name="T94" fmla="*/ 499 w 746"/>
                  <a:gd name="T95" fmla="*/ 39 h 429"/>
                  <a:gd name="T96" fmla="*/ 502 w 746"/>
                  <a:gd name="T97" fmla="*/ 26 h 429"/>
                  <a:gd name="T98" fmla="*/ 524 w 746"/>
                  <a:gd name="T99" fmla="*/ 20 h 429"/>
                  <a:gd name="T100" fmla="*/ 542 w 746"/>
                  <a:gd name="T101" fmla="*/ 7 h 429"/>
                  <a:gd name="T102" fmla="*/ 566 w 746"/>
                  <a:gd name="T103" fmla="*/ 12 h 429"/>
                  <a:gd name="T104" fmla="*/ 589 w 746"/>
                  <a:gd name="T105" fmla="*/ 4 h 429"/>
                  <a:gd name="T106" fmla="*/ 605 w 746"/>
                  <a:gd name="T107" fmla="*/ 20 h 429"/>
                  <a:gd name="T108" fmla="*/ 631 w 746"/>
                  <a:gd name="T109" fmla="*/ 23 h 429"/>
                  <a:gd name="T110" fmla="*/ 651 w 746"/>
                  <a:gd name="T111" fmla="*/ 22 h 429"/>
                  <a:gd name="T112" fmla="*/ 670 w 746"/>
                  <a:gd name="T113" fmla="*/ 14 h 429"/>
                  <a:gd name="T114" fmla="*/ 699 w 746"/>
                  <a:gd name="T115" fmla="*/ 4 h 429"/>
                  <a:gd name="T116" fmla="*/ 721 w 746"/>
                  <a:gd name="T117" fmla="*/ 1 h 429"/>
                  <a:gd name="T118" fmla="*/ 740 w 746"/>
                  <a:gd name="T119" fmla="*/ 4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6" h="429">
                    <a:moveTo>
                      <a:pt x="0" y="429"/>
                    </a:moveTo>
                    <a:lnTo>
                      <a:pt x="0" y="427"/>
                    </a:lnTo>
                    <a:lnTo>
                      <a:pt x="2" y="427"/>
                    </a:lnTo>
                    <a:lnTo>
                      <a:pt x="2" y="426"/>
                    </a:lnTo>
                    <a:lnTo>
                      <a:pt x="2" y="424"/>
                    </a:lnTo>
                    <a:lnTo>
                      <a:pt x="3" y="424"/>
                    </a:lnTo>
                    <a:lnTo>
                      <a:pt x="3" y="422"/>
                    </a:lnTo>
                    <a:lnTo>
                      <a:pt x="3" y="421"/>
                    </a:lnTo>
                    <a:lnTo>
                      <a:pt x="2" y="419"/>
                    </a:lnTo>
                    <a:lnTo>
                      <a:pt x="2" y="418"/>
                    </a:lnTo>
                    <a:lnTo>
                      <a:pt x="2" y="416"/>
                    </a:lnTo>
                    <a:lnTo>
                      <a:pt x="2" y="415"/>
                    </a:lnTo>
                    <a:lnTo>
                      <a:pt x="2" y="413"/>
                    </a:lnTo>
                    <a:lnTo>
                      <a:pt x="3" y="413"/>
                    </a:lnTo>
                    <a:lnTo>
                      <a:pt x="3" y="411"/>
                    </a:lnTo>
                    <a:lnTo>
                      <a:pt x="3" y="410"/>
                    </a:lnTo>
                    <a:lnTo>
                      <a:pt x="3" y="408"/>
                    </a:lnTo>
                    <a:lnTo>
                      <a:pt x="5" y="407"/>
                    </a:lnTo>
                    <a:lnTo>
                      <a:pt x="5" y="405"/>
                    </a:lnTo>
                    <a:lnTo>
                      <a:pt x="5" y="403"/>
                    </a:lnTo>
                    <a:lnTo>
                      <a:pt x="6" y="403"/>
                    </a:lnTo>
                    <a:lnTo>
                      <a:pt x="6" y="402"/>
                    </a:lnTo>
                    <a:lnTo>
                      <a:pt x="8" y="400"/>
                    </a:lnTo>
                    <a:lnTo>
                      <a:pt x="8" y="399"/>
                    </a:lnTo>
                    <a:lnTo>
                      <a:pt x="10" y="399"/>
                    </a:lnTo>
                    <a:lnTo>
                      <a:pt x="10" y="397"/>
                    </a:lnTo>
                    <a:lnTo>
                      <a:pt x="10" y="396"/>
                    </a:lnTo>
                    <a:lnTo>
                      <a:pt x="11" y="396"/>
                    </a:lnTo>
                    <a:lnTo>
                      <a:pt x="11" y="394"/>
                    </a:lnTo>
                    <a:lnTo>
                      <a:pt x="11" y="392"/>
                    </a:lnTo>
                    <a:lnTo>
                      <a:pt x="11" y="391"/>
                    </a:lnTo>
                    <a:lnTo>
                      <a:pt x="13" y="391"/>
                    </a:lnTo>
                    <a:lnTo>
                      <a:pt x="13" y="389"/>
                    </a:lnTo>
                    <a:lnTo>
                      <a:pt x="13" y="388"/>
                    </a:lnTo>
                    <a:lnTo>
                      <a:pt x="13" y="386"/>
                    </a:lnTo>
                    <a:lnTo>
                      <a:pt x="14" y="384"/>
                    </a:lnTo>
                    <a:lnTo>
                      <a:pt x="14" y="383"/>
                    </a:lnTo>
                    <a:lnTo>
                      <a:pt x="14" y="381"/>
                    </a:lnTo>
                    <a:lnTo>
                      <a:pt x="14" y="380"/>
                    </a:lnTo>
                    <a:lnTo>
                      <a:pt x="14" y="378"/>
                    </a:lnTo>
                    <a:lnTo>
                      <a:pt x="16" y="377"/>
                    </a:lnTo>
                    <a:lnTo>
                      <a:pt x="16" y="375"/>
                    </a:lnTo>
                    <a:lnTo>
                      <a:pt x="18" y="375"/>
                    </a:lnTo>
                    <a:lnTo>
                      <a:pt x="18" y="373"/>
                    </a:lnTo>
                    <a:lnTo>
                      <a:pt x="18" y="372"/>
                    </a:lnTo>
                    <a:lnTo>
                      <a:pt x="19" y="372"/>
                    </a:lnTo>
                    <a:lnTo>
                      <a:pt x="19" y="370"/>
                    </a:lnTo>
                    <a:lnTo>
                      <a:pt x="21" y="369"/>
                    </a:lnTo>
                    <a:lnTo>
                      <a:pt x="21" y="367"/>
                    </a:lnTo>
                    <a:lnTo>
                      <a:pt x="22" y="367"/>
                    </a:lnTo>
                    <a:lnTo>
                      <a:pt x="22" y="365"/>
                    </a:lnTo>
                    <a:lnTo>
                      <a:pt x="22" y="364"/>
                    </a:lnTo>
                    <a:lnTo>
                      <a:pt x="22" y="362"/>
                    </a:lnTo>
                    <a:lnTo>
                      <a:pt x="21" y="362"/>
                    </a:lnTo>
                    <a:lnTo>
                      <a:pt x="21" y="361"/>
                    </a:lnTo>
                    <a:lnTo>
                      <a:pt x="19" y="361"/>
                    </a:lnTo>
                    <a:lnTo>
                      <a:pt x="19" y="359"/>
                    </a:lnTo>
                    <a:lnTo>
                      <a:pt x="19" y="358"/>
                    </a:lnTo>
                    <a:lnTo>
                      <a:pt x="18" y="358"/>
                    </a:lnTo>
                    <a:lnTo>
                      <a:pt x="18" y="356"/>
                    </a:lnTo>
                    <a:lnTo>
                      <a:pt x="16" y="354"/>
                    </a:lnTo>
                    <a:lnTo>
                      <a:pt x="16" y="353"/>
                    </a:lnTo>
                    <a:lnTo>
                      <a:pt x="14" y="353"/>
                    </a:lnTo>
                    <a:lnTo>
                      <a:pt x="14" y="351"/>
                    </a:lnTo>
                    <a:lnTo>
                      <a:pt x="13" y="351"/>
                    </a:lnTo>
                    <a:lnTo>
                      <a:pt x="13" y="350"/>
                    </a:lnTo>
                    <a:lnTo>
                      <a:pt x="11" y="348"/>
                    </a:lnTo>
                    <a:lnTo>
                      <a:pt x="11" y="346"/>
                    </a:lnTo>
                    <a:lnTo>
                      <a:pt x="11" y="345"/>
                    </a:lnTo>
                    <a:lnTo>
                      <a:pt x="13" y="345"/>
                    </a:lnTo>
                    <a:lnTo>
                      <a:pt x="14" y="345"/>
                    </a:lnTo>
                    <a:lnTo>
                      <a:pt x="16" y="343"/>
                    </a:lnTo>
                    <a:lnTo>
                      <a:pt x="18" y="343"/>
                    </a:lnTo>
                    <a:lnTo>
                      <a:pt x="19" y="343"/>
                    </a:lnTo>
                    <a:lnTo>
                      <a:pt x="19" y="342"/>
                    </a:lnTo>
                    <a:lnTo>
                      <a:pt x="21" y="342"/>
                    </a:lnTo>
                    <a:lnTo>
                      <a:pt x="22" y="340"/>
                    </a:lnTo>
                    <a:lnTo>
                      <a:pt x="24" y="339"/>
                    </a:lnTo>
                    <a:lnTo>
                      <a:pt x="25" y="339"/>
                    </a:lnTo>
                    <a:lnTo>
                      <a:pt x="25" y="337"/>
                    </a:lnTo>
                    <a:lnTo>
                      <a:pt x="27" y="337"/>
                    </a:lnTo>
                    <a:lnTo>
                      <a:pt x="29" y="337"/>
                    </a:lnTo>
                    <a:lnTo>
                      <a:pt x="29" y="339"/>
                    </a:lnTo>
                    <a:lnTo>
                      <a:pt x="30" y="339"/>
                    </a:lnTo>
                    <a:lnTo>
                      <a:pt x="32" y="339"/>
                    </a:lnTo>
                    <a:lnTo>
                      <a:pt x="33" y="337"/>
                    </a:lnTo>
                    <a:lnTo>
                      <a:pt x="35" y="337"/>
                    </a:lnTo>
                    <a:lnTo>
                      <a:pt x="37" y="337"/>
                    </a:lnTo>
                    <a:lnTo>
                      <a:pt x="37" y="335"/>
                    </a:lnTo>
                    <a:lnTo>
                      <a:pt x="38" y="335"/>
                    </a:lnTo>
                    <a:lnTo>
                      <a:pt x="40" y="334"/>
                    </a:lnTo>
                    <a:lnTo>
                      <a:pt x="41" y="334"/>
                    </a:lnTo>
                    <a:lnTo>
                      <a:pt x="43" y="332"/>
                    </a:lnTo>
                    <a:lnTo>
                      <a:pt x="43" y="331"/>
                    </a:lnTo>
                    <a:lnTo>
                      <a:pt x="43" y="329"/>
                    </a:lnTo>
                    <a:lnTo>
                      <a:pt x="43" y="327"/>
                    </a:lnTo>
                    <a:lnTo>
                      <a:pt x="45" y="326"/>
                    </a:lnTo>
                    <a:lnTo>
                      <a:pt x="45" y="324"/>
                    </a:lnTo>
                    <a:lnTo>
                      <a:pt x="46" y="324"/>
                    </a:lnTo>
                    <a:lnTo>
                      <a:pt x="46" y="323"/>
                    </a:lnTo>
                    <a:lnTo>
                      <a:pt x="46" y="321"/>
                    </a:lnTo>
                    <a:lnTo>
                      <a:pt x="48" y="321"/>
                    </a:lnTo>
                    <a:lnTo>
                      <a:pt x="49" y="321"/>
                    </a:lnTo>
                    <a:lnTo>
                      <a:pt x="49" y="320"/>
                    </a:lnTo>
                    <a:lnTo>
                      <a:pt x="51" y="320"/>
                    </a:lnTo>
                    <a:lnTo>
                      <a:pt x="51" y="318"/>
                    </a:lnTo>
                    <a:lnTo>
                      <a:pt x="51" y="316"/>
                    </a:lnTo>
                    <a:lnTo>
                      <a:pt x="52" y="316"/>
                    </a:lnTo>
                    <a:lnTo>
                      <a:pt x="52" y="315"/>
                    </a:lnTo>
                    <a:lnTo>
                      <a:pt x="54" y="313"/>
                    </a:lnTo>
                    <a:lnTo>
                      <a:pt x="56" y="312"/>
                    </a:lnTo>
                    <a:lnTo>
                      <a:pt x="57" y="312"/>
                    </a:lnTo>
                    <a:lnTo>
                      <a:pt x="57" y="310"/>
                    </a:lnTo>
                    <a:lnTo>
                      <a:pt x="59" y="308"/>
                    </a:lnTo>
                    <a:lnTo>
                      <a:pt x="59" y="307"/>
                    </a:lnTo>
                    <a:lnTo>
                      <a:pt x="59" y="305"/>
                    </a:lnTo>
                    <a:lnTo>
                      <a:pt x="59" y="304"/>
                    </a:lnTo>
                    <a:lnTo>
                      <a:pt x="60" y="304"/>
                    </a:lnTo>
                    <a:lnTo>
                      <a:pt x="62" y="302"/>
                    </a:lnTo>
                    <a:lnTo>
                      <a:pt x="62" y="300"/>
                    </a:lnTo>
                    <a:lnTo>
                      <a:pt x="62" y="299"/>
                    </a:lnTo>
                    <a:lnTo>
                      <a:pt x="64" y="299"/>
                    </a:lnTo>
                    <a:lnTo>
                      <a:pt x="65" y="299"/>
                    </a:lnTo>
                    <a:lnTo>
                      <a:pt x="67" y="300"/>
                    </a:lnTo>
                    <a:lnTo>
                      <a:pt x="67" y="299"/>
                    </a:lnTo>
                    <a:lnTo>
                      <a:pt x="68" y="299"/>
                    </a:lnTo>
                    <a:lnTo>
                      <a:pt x="70" y="299"/>
                    </a:lnTo>
                    <a:lnTo>
                      <a:pt x="70" y="297"/>
                    </a:lnTo>
                    <a:lnTo>
                      <a:pt x="68" y="296"/>
                    </a:lnTo>
                    <a:lnTo>
                      <a:pt x="68" y="294"/>
                    </a:lnTo>
                    <a:lnTo>
                      <a:pt x="68" y="293"/>
                    </a:lnTo>
                    <a:lnTo>
                      <a:pt x="68" y="291"/>
                    </a:lnTo>
                    <a:lnTo>
                      <a:pt x="70" y="289"/>
                    </a:lnTo>
                    <a:lnTo>
                      <a:pt x="70" y="288"/>
                    </a:lnTo>
                    <a:lnTo>
                      <a:pt x="70" y="286"/>
                    </a:lnTo>
                    <a:lnTo>
                      <a:pt x="70" y="285"/>
                    </a:lnTo>
                    <a:lnTo>
                      <a:pt x="70" y="286"/>
                    </a:lnTo>
                    <a:lnTo>
                      <a:pt x="68" y="286"/>
                    </a:lnTo>
                    <a:lnTo>
                      <a:pt x="68" y="285"/>
                    </a:lnTo>
                    <a:lnTo>
                      <a:pt x="68" y="283"/>
                    </a:lnTo>
                    <a:lnTo>
                      <a:pt x="68" y="281"/>
                    </a:lnTo>
                    <a:lnTo>
                      <a:pt x="68" y="280"/>
                    </a:lnTo>
                    <a:lnTo>
                      <a:pt x="67" y="278"/>
                    </a:lnTo>
                    <a:lnTo>
                      <a:pt x="67" y="277"/>
                    </a:lnTo>
                    <a:lnTo>
                      <a:pt x="67" y="275"/>
                    </a:lnTo>
                    <a:lnTo>
                      <a:pt x="65" y="275"/>
                    </a:lnTo>
                    <a:lnTo>
                      <a:pt x="65" y="274"/>
                    </a:lnTo>
                    <a:lnTo>
                      <a:pt x="65" y="272"/>
                    </a:lnTo>
                    <a:lnTo>
                      <a:pt x="67" y="270"/>
                    </a:lnTo>
                    <a:lnTo>
                      <a:pt x="67" y="269"/>
                    </a:lnTo>
                    <a:lnTo>
                      <a:pt x="68" y="269"/>
                    </a:lnTo>
                    <a:lnTo>
                      <a:pt x="70" y="269"/>
                    </a:lnTo>
                    <a:lnTo>
                      <a:pt x="70" y="267"/>
                    </a:lnTo>
                    <a:lnTo>
                      <a:pt x="70" y="266"/>
                    </a:lnTo>
                    <a:lnTo>
                      <a:pt x="71" y="264"/>
                    </a:lnTo>
                    <a:lnTo>
                      <a:pt x="73" y="264"/>
                    </a:lnTo>
                    <a:lnTo>
                      <a:pt x="75" y="264"/>
                    </a:lnTo>
                    <a:lnTo>
                      <a:pt x="76" y="264"/>
                    </a:lnTo>
                    <a:lnTo>
                      <a:pt x="78" y="264"/>
                    </a:lnTo>
                    <a:lnTo>
                      <a:pt x="78" y="266"/>
                    </a:lnTo>
                    <a:lnTo>
                      <a:pt x="79" y="266"/>
                    </a:lnTo>
                    <a:lnTo>
                      <a:pt x="81" y="264"/>
                    </a:lnTo>
                    <a:lnTo>
                      <a:pt x="83" y="264"/>
                    </a:lnTo>
                    <a:lnTo>
                      <a:pt x="84" y="264"/>
                    </a:lnTo>
                    <a:lnTo>
                      <a:pt x="84" y="262"/>
                    </a:lnTo>
                    <a:lnTo>
                      <a:pt x="86" y="262"/>
                    </a:lnTo>
                    <a:lnTo>
                      <a:pt x="87" y="261"/>
                    </a:lnTo>
                    <a:lnTo>
                      <a:pt x="87" y="259"/>
                    </a:lnTo>
                    <a:lnTo>
                      <a:pt x="89" y="259"/>
                    </a:lnTo>
                    <a:lnTo>
                      <a:pt x="90" y="258"/>
                    </a:lnTo>
                    <a:lnTo>
                      <a:pt x="90" y="256"/>
                    </a:lnTo>
                    <a:lnTo>
                      <a:pt x="90" y="255"/>
                    </a:lnTo>
                    <a:lnTo>
                      <a:pt x="92" y="255"/>
                    </a:lnTo>
                    <a:lnTo>
                      <a:pt x="92" y="253"/>
                    </a:lnTo>
                    <a:lnTo>
                      <a:pt x="94" y="251"/>
                    </a:lnTo>
                    <a:lnTo>
                      <a:pt x="94" y="250"/>
                    </a:lnTo>
                    <a:lnTo>
                      <a:pt x="95" y="250"/>
                    </a:lnTo>
                    <a:lnTo>
                      <a:pt x="95" y="248"/>
                    </a:lnTo>
                    <a:lnTo>
                      <a:pt x="97" y="247"/>
                    </a:lnTo>
                    <a:lnTo>
                      <a:pt x="97" y="245"/>
                    </a:lnTo>
                    <a:lnTo>
                      <a:pt x="97" y="243"/>
                    </a:lnTo>
                    <a:lnTo>
                      <a:pt x="98" y="242"/>
                    </a:lnTo>
                    <a:lnTo>
                      <a:pt x="98" y="240"/>
                    </a:lnTo>
                    <a:lnTo>
                      <a:pt x="98" y="239"/>
                    </a:lnTo>
                    <a:lnTo>
                      <a:pt x="98" y="237"/>
                    </a:lnTo>
                    <a:lnTo>
                      <a:pt x="98" y="236"/>
                    </a:lnTo>
                    <a:lnTo>
                      <a:pt x="97" y="236"/>
                    </a:lnTo>
                    <a:lnTo>
                      <a:pt x="97" y="234"/>
                    </a:lnTo>
                    <a:lnTo>
                      <a:pt x="97" y="232"/>
                    </a:lnTo>
                    <a:lnTo>
                      <a:pt x="97" y="231"/>
                    </a:lnTo>
                    <a:lnTo>
                      <a:pt x="98" y="231"/>
                    </a:lnTo>
                    <a:lnTo>
                      <a:pt x="98" y="229"/>
                    </a:lnTo>
                    <a:lnTo>
                      <a:pt x="98" y="228"/>
                    </a:lnTo>
                    <a:lnTo>
                      <a:pt x="97" y="228"/>
                    </a:lnTo>
                    <a:lnTo>
                      <a:pt x="97" y="226"/>
                    </a:lnTo>
                    <a:lnTo>
                      <a:pt x="95" y="226"/>
                    </a:lnTo>
                    <a:lnTo>
                      <a:pt x="95" y="224"/>
                    </a:lnTo>
                    <a:lnTo>
                      <a:pt x="95" y="223"/>
                    </a:lnTo>
                    <a:lnTo>
                      <a:pt x="94" y="223"/>
                    </a:lnTo>
                    <a:lnTo>
                      <a:pt x="94" y="221"/>
                    </a:lnTo>
                    <a:lnTo>
                      <a:pt x="94" y="220"/>
                    </a:lnTo>
                    <a:lnTo>
                      <a:pt x="94" y="218"/>
                    </a:lnTo>
                    <a:lnTo>
                      <a:pt x="94" y="217"/>
                    </a:lnTo>
                    <a:lnTo>
                      <a:pt x="95" y="215"/>
                    </a:lnTo>
                    <a:lnTo>
                      <a:pt x="94" y="213"/>
                    </a:lnTo>
                    <a:lnTo>
                      <a:pt x="92" y="213"/>
                    </a:lnTo>
                    <a:lnTo>
                      <a:pt x="94" y="212"/>
                    </a:lnTo>
                    <a:lnTo>
                      <a:pt x="92" y="210"/>
                    </a:lnTo>
                    <a:lnTo>
                      <a:pt x="92" y="209"/>
                    </a:lnTo>
                    <a:lnTo>
                      <a:pt x="90" y="207"/>
                    </a:lnTo>
                    <a:lnTo>
                      <a:pt x="89" y="205"/>
                    </a:lnTo>
                    <a:lnTo>
                      <a:pt x="87" y="205"/>
                    </a:lnTo>
                    <a:lnTo>
                      <a:pt x="87" y="204"/>
                    </a:lnTo>
                    <a:lnTo>
                      <a:pt x="89" y="204"/>
                    </a:lnTo>
                    <a:lnTo>
                      <a:pt x="89" y="202"/>
                    </a:lnTo>
                    <a:lnTo>
                      <a:pt x="89" y="201"/>
                    </a:lnTo>
                    <a:lnTo>
                      <a:pt x="89" y="199"/>
                    </a:lnTo>
                    <a:lnTo>
                      <a:pt x="89" y="198"/>
                    </a:lnTo>
                    <a:lnTo>
                      <a:pt x="89" y="196"/>
                    </a:lnTo>
                    <a:lnTo>
                      <a:pt x="87" y="196"/>
                    </a:lnTo>
                    <a:lnTo>
                      <a:pt x="87" y="194"/>
                    </a:lnTo>
                    <a:lnTo>
                      <a:pt x="87" y="193"/>
                    </a:lnTo>
                    <a:lnTo>
                      <a:pt x="87" y="191"/>
                    </a:lnTo>
                    <a:lnTo>
                      <a:pt x="89" y="191"/>
                    </a:lnTo>
                    <a:lnTo>
                      <a:pt x="89" y="190"/>
                    </a:lnTo>
                    <a:lnTo>
                      <a:pt x="89" y="188"/>
                    </a:lnTo>
                    <a:lnTo>
                      <a:pt x="90" y="188"/>
                    </a:lnTo>
                    <a:lnTo>
                      <a:pt x="90" y="186"/>
                    </a:lnTo>
                    <a:lnTo>
                      <a:pt x="90" y="185"/>
                    </a:lnTo>
                    <a:lnTo>
                      <a:pt x="90" y="183"/>
                    </a:lnTo>
                    <a:lnTo>
                      <a:pt x="90" y="182"/>
                    </a:lnTo>
                    <a:lnTo>
                      <a:pt x="89" y="182"/>
                    </a:lnTo>
                    <a:lnTo>
                      <a:pt x="89" y="180"/>
                    </a:lnTo>
                    <a:lnTo>
                      <a:pt x="87" y="180"/>
                    </a:lnTo>
                    <a:lnTo>
                      <a:pt x="87" y="179"/>
                    </a:lnTo>
                    <a:lnTo>
                      <a:pt x="86" y="179"/>
                    </a:lnTo>
                    <a:lnTo>
                      <a:pt x="84" y="180"/>
                    </a:lnTo>
                    <a:lnTo>
                      <a:pt x="83" y="180"/>
                    </a:lnTo>
                    <a:lnTo>
                      <a:pt x="83" y="182"/>
                    </a:lnTo>
                    <a:lnTo>
                      <a:pt x="81" y="183"/>
                    </a:lnTo>
                    <a:lnTo>
                      <a:pt x="81" y="185"/>
                    </a:lnTo>
                    <a:lnTo>
                      <a:pt x="79" y="185"/>
                    </a:lnTo>
                    <a:lnTo>
                      <a:pt x="78" y="183"/>
                    </a:lnTo>
                    <a:lnTo>
                      <a:pt x="78" y="182"/>
                    </a:lnTo>
                    <a:lnTo>
                      <a:pt x="76" y="180"/>
                    </a:lnTo>
                    <a:lnTo>
                      <a:pt x="76" y="179"/>
                    </a:lnTo>
                    <a:lnTo>
                      <a:pt x="76" y="177"/>
                    </a:lnTo>
                    <a:lnTo>
                      <a:pt x="76" y="175"/>
                    </a:lnTo>
                    <a:lnTo>
                      <a:pt x="76" y="174"/>
                    </a:lnTo>
                    <a:lnTo>
                      <a:pt x="76" y="172"/>
                    </a:lnTo>
                    <a:lnTo>
                      <a:pt x="76" y="171"/>
                    </a:lnTo>
                    <a:lnTo>
                      <a:pt x="76" y="169"/>
                    </a:lnTo>
                    <a:lnTo>
                      <a:pt x="76" y="167"/>
                    </a:lnTo>
                    <a:lnTo>
                      <a:pt x="75" y="167"/>
                    </a:lnTo>
                    <a:lnTo>
                      <a:pt x="75" y="166"/>
                    </a:lnTo>
                    <a:lnTo>
                      <a:pt x="75" y="164"/>
                    </a:lnTo>
                    <a:lnTo>
                      <a:pt x="75" y="163"/>
                    </a:lnTo>
                    <a:lnTo>
                      <a:pt x="75" y="161"/>
                    </a:lnTo>
                    <a:lnTo>
                      <a:pt x="75" y="160"/>
                    </a:lnTo>
                    <a:lnTo>
                      <a:pt x="75" y="158"/>
                    </a:lnTo>
                    <a:lnTo>
                      <a:pt x="75" y="156"/>
                    </a:lnTo>
                    <a:lnTo>
                      <a:pt x="75" y="155"/>
                    </a:lnTo>
                    <a:lnTo>
                      <a:pt x="75" y="153"/>
                    </a:lnTo>
                    <a:lnTo>
                      <a:pt x="75" y="152"/>
                    </a:lnTo>
                    <a:lnTo>
                      <a:pt x="76" y="152"/>
                    </a:lnTo>
                    <a:lnTo>
                      <a:pt x="76" y="150"/>
                    </a:lnTo>
                    <a:lnTo>
                      <a:pt x="78" y="150"/>
                    </a:lnTo>
                    <a:lnTo>
                      <a:pt x="78" y="148"/>
                    </a:lnTo>
                    <a:lnTo>
                      <a:pt x="79" y="147"/>
                    </a:lnTo>
                    <a:lnTo>
                      <a:pt x="79" y="145"/>
                    </a:lnTo>
                    <a:lnTo>
                      <a:pt x="79" y="144"/>
                    </a:lnTo>
                    <a:lnTo>
                      <a:pt x="81" y="142"/>
                    </a:lnTo>
                    <a:lnTo>
                      <a:pt x="81" y="141"/>
                    </a:lnTo>
                    <a:lnTo>
                      <a:pt x="81" y="139"/>
                    </a:lnTo>
                    <a:lnTo>
                      <a:pt x="83" y="137"/>
                    </a:lnTo>
                    <a:lnTo>
                      <a:pt x="83" y="136"/>
                    </a:lnTo>
                    <a:lnTo>
                      <a:pt x="83" y="134"/>
                    </a:lnTo>
                    <a:lnTo>
                      <a:pt x="84" y="133"/>
                    </a:lnTo>
                    <a:lnTo>
                      <a:pt x="84" y="131"/>
                    </a:lnTo>
                    <a:lnTo>
                      <a:pt x="84" y="129"/>
                    </a:lnTo>
                    <a:lnTo>
                      <a:pt x="86" y="128"/>
                    </a:lnTo>
                    <a:lnTo>
                      <a:pt x="86" y="126"/>
                    </a:lnTo>
                    <a:lnTo>
                      <a:pt x="87" y="125"/>
                    </a:lnTo>
                    <a:lnTo>
                      <a:pt x="87" y="123"/>
                    </a:lnTo>
                    <a:lnTo>
                      <a:pt x="89" y="121"/>
                    </a:lnTo>
                    <a:lnTo>
                      <a:pt x="89" y="120"/>
                    </a:lnTo>
                    <a:lnTo>
                      <a:pt x="90" y="118"/>
                    </a:lnTo>
                    <a:lnTo>
                      <a:pt x="90" y="117"/>
                    </a:lnTo>
                    <a:lnTo>
                      <a:pt x="92" y="117"/>
                    </a:lnTo>
                    <a:lnTo>
                      <a:pt x="94" y="117"/>
                    </a:lnTo>
                    <a:lnTo>
                      <a:pt x="95" y="117"/>
                    </a:lnTo>
                    <a:lnTo>
                      <a:pt x="97" y="115"/>
                    </a:lnTo>
                    <a:lnTo>
                      <a:pt x="98" y="115"/>
                    </a:lnTo>
                    <a:lnTo>
                      <a:pt x="100" y="115"/>
                    </a:lnTo>
                    <a:lnTo>
                      <a:pt x="102" y="115"/>
                    </a:lnTo>
                    <a:lnTo>
                      <a:pt x="103" y="115"/>
                    </a:lnTo>
                    <a:lnTo>
                      <a:pt x="105" y="114"/>
                    </a:lnTo>
                    <a:lnTo>
                      <a:pt x="106" y="114"/>
                    </a:lnTo>
                    <a:lnTo>
                      <a:pt x="108" y="114"/>
                    </a:lnTo>
                    <a:lnTo>
                      <a:pt x="109" y="114"/>
                    </a:lnTo>
                    <a:lnTo>
                      <a:pt x="111" y="114"/>
                    </a:lnTo>
                    <a:lnTo>
                      <a:pt x="113" y="114"/>
                    </a:lnTo>
                    <a:lnTo>
                      <a:pt x="114" y="112"/>
                    </a:lnTo>
                    <a:lnTo>
                      <a:pt x="116" y="112"/>
                    </a:lnTo>
                    <a:lnTo>
                      <a:pt x="117" y="112"/>
                    </a:lnTo>
                    <a:lnTo>
                      <a:pt x="119" y="112"/>
                    </a:lnTo>
                    <a:lnTo>
                      <a:pt x="121" y="112"/>
                    </a:lnTo>
                    <a:lnTo>
                      <a:pt x="121" y="114"/>
                    </a:lnTo>
                    <a:lnTo>
                      <a:pt x="122" y="114"/>
                    </a:lnTo>
                    <a:lnTo>
                      <a:pt x="124" y="114"/>
                    </a:lnTo>
                    <a:lnTo>
                      <a:pt x="125" y="114"/>
                    </a:lnTo>
                    <a:lnTo>
                      <a:pt x="127" y="114"/>
                    </a:lnTo>
                    <a:lnTo>
                      <a:pt x="127" y="115"/>
                    </a:lnTo>
                    <a:lnTo>
                      <a:pt x="128" y="115"/>
                    </a:lnTo>
                    <a:lnTo>
                      <a:pt x="130" y="115"/>
                    </a:lnTo>
                    <a:lnTo>
                      <a:pt x="132" y="115"/>
                    </a:lnTo>
                    <a:lnTo>
                      <a:pt x="133" y="115"/>
                    </a:lnTo>
                    <a:lnTo>
                      <a:pt x="135" y="115"/>
                    </a:lnTo>
                    <a:lnTo>
                      <a:pt x="136" y="115"/>
                    </a:lnTo>
                    <a:lnTo>
                      <a:pt x="138" y="115"/>
                    </a:lnTo>
                    <a:lnTo>
                      <a:pt x="140" y="115"/>
                    </a:lnTo>
                    <a:lnTo>
                      <a:pt x="141" y="115"/>
                    </a:lnTo>
                    <a:lnTo>
                      <a:pt x="143" y="115"/>
                    </a:lnTo>
                    <a:lnTo>
                      <a:pt x="144" y="115"/>
                    </a:lnTo>
                    <a:lnTo>
                      <a:pt x="146" y="115"/>
                    </a:lnTo>
                    <a:lnTo>
                      <a:pt x="146" y="117"/>
                    </a:lnTo>
                    <a:lnTo>
                      <a:pt x="147" y="117"/>
                    </a:lnTo>
                    <a:lnTo>
                      <a:pt x="149" y="117"/>
                    </a:lnTo>
                    <a:lnTo>
                      <a:pt x="151" y="117"/>
                    </a:lnTo>
                    <a:lnTo>
                      <a:pt x="152" y="117"/>
                    </a:lnTo>
                    <a:lnTo>
                      <a:pt x="154" y="117"/>
                    </a:lnTo>
                    <a:lnTo>
                      <a:pt x="155" y="115"/>
                    </a:lnTo>
                    <a:lnTo>
                      <a:pt x="157" y="115"/>
                    </a:lnTo>
                    <a:lnTo>
                      <a:pt x="157" y="114"/>
                    </a:lnTo>
                    <a:lnTo>
                      <a:pt x="159" y="112"/>
                    </a:lnTo>
                    <a:lnTo>
                      <a:pt x="159" y="110"/>
                    </a:lnTo>
                    <a:lnTo>
                      <a:pt x="160" y="110"/>
                    </a:lnTo>
                    <a:lnTo>
                      <a:pt x="160" y="109"/>
                    </a:lnTo>
                    <a:lnTo>
                      <a:pt x="162" y="107"/>
                    </a:lnTo>
                    <a:lnTo>
                      <a:pt x="162" y="106"/>
                    </a:lnTo>
                    <a:lnTo>
                      <a:pt x="160" y="104"/>
                    </a:lnTo>
                    <a:lnTo>
                      <a:pt x="160" y="102"/>
                    </a:lnTo>
                    <a:lnTo>
                      <a:pt x="160" y="101"/>
                    </a:lnTo>
                    <a:lnTo>
                      <a:pt x="160" y="99"/>
                    </a:lnTo>
                    <a:lnTo>
                      <a:pt x="159" y="99"/>
                    </a:lnTo>
                    <a:lnTo>
                      <a:pt x="159" y="98"/>
                    </a:lnTo>
                    <a:lnTo>
                      <a:pt x="159" y="96"/>
                    </a:lnTo>
                    <a:lnTo>
                      <a:pt x="157" y="96"/>
                    </a:lnTo>
                    <a:lnTo>
                      <a:pt x="157" y="95"/>
                    </a:lnTo>
                    <a:lnTo>
                      <a:pt x="157" y="93"/>
                    </a:lnTo>
                    <a:lnTo>
                      <a:pt x="155" y="91"/>
                    </a:lnTo>
                    <a:lnTo>
                      <a:pt x="155" y="90"/>
                    </a:lnTo>
                    <a:lnTo>
                      <a:pt x="157" y="90"/>
                    </a:lnTo>
                    <a:lnTo>
                      <a:pt x="157" y="88"/>
                    </a:lnTo>
                    <a:lnTo>
                      <a:pt x="155" y="88"/>
                    </a:lnTo>
                    <a:lnTo>
                      <a:pt x="155" y="87"/>
                    </a:lnTo>
                    <a:lnTo>
                      <a:pt x="154" y="87"/>
                    </a:lnTo>
                    <a:lnTo>
                      <a:pt x="152" y="87"/>
                    </a:lnTo>
                    <a:lnTo>
                      <a:pt x="152" y="85"/>
                    </a:lnTo>
                    <a:lnTo>
                      <a:pt x="151" y="85"/>
                    </a:lnTo>
                    <a:lnTo>
                      <a:pt x="149" y="85"/>
                    </a:lnTo>
                    <a:lnTo>
                      <a:pt x="147" y="83"/>
                    </a:lnTo>
                    <a:lnTo>
                      <a:pt x="146" y="82"/>
                    </a:lnTo>
                    <a:lnTo>
                      <a:pt x="146" y="80"/>
                    </a:lnTo>
                    <a:lnTo>
                      <a:pt x="146" y="79"/>
                    </a:lnTo>
                    <a:lnTo>
                      <a:pt x="146" y="77"/>
                    </a:lnTo>
                    <a:lnTo>
                      <a:pt x="146" y="76"/>
                    </a:lnTo>
                    <a:lnTo>
                      <a:pt x="147" y="76"/>
                    </a:lnTo>
                    <a:lnTo>
                      <a:pt x="149" y="74"/>
                    </a:lnTo>
                    <a:lnTo>
                      <a:pt x="151" y="74"/>
                    </a:lnTo>
                    <a:lnTo>
                      <a:pt x="151" y="72"/>
                    </a:lnTo>
                    <a:lnTo>
                      <a:pt x="151" y="71"/>
                    </a:lnTo>
                    <a:lnTo>
                      <a:pt x="149" y="69"/>
                    </a:lnTo>
                    <a:lnTo>
                      <a:pt x="151" y="68"/>
                    </a:lnTo>
                    <a:lnTo>
                      <a:pt x="151" y="66"/>
                    </a:lnTo>
                    <a:lnTo>
                      <a:pt x="152" y="64"/>
                    </a:lnTo>
                    <a:lnTo>
                      <a:pt x="152" y="63"/>
                    </a:lnTo>
                    <a:lnTo>
                      <a:pt x="152" y="61"/>
                    </a:lnTo>
                    <a:lnTo>
                      <a:pt x="154" y="61"/>
                    </a:lnTo>
                    <a:lnTo>
                      <a:pt x="154" y="60"/>
                    </a:lnTo>
                    <a:lnTo>
                      <a:pt x="155" y="60"/>
                    </a:lnTo>
                    <a:lnTo>
                      <a:pt x="157" y="58"/>
                    </a:lnTo>
                    <a:lnTo>
                      <a:pt x="159" y="58"/>
                    </a:lnTo>
                    <a:lnTo>
                      <a:pt x="159" y="57"/>
                    </a:lnTo>
                    <a:lnTo>
                      <a:pt x="160" y="55"/>
                    </a:lnTo>
                    <a:lnTo>
                      <a:pt x="160" y="53"/>
                    </a:lnTo>
                    <a:lnTo>
                      <a:pt x="160" y="52"/>
                    </a:lnTo>
                    <a:lnTo>
                      <a:pt x="162" y="50"/>
                    </a:lnTo>
                    <a:lnTo>
                      <a:pt x="162" y="49"/>
                    </a:lnTo>
                    <a:lnTo>
                      <a:pt x="163" y="49"/>
                    </a:lnTo>
                    <a:lnTo>
                      <a:pt x="163" y="47"/>
                    </a:lnTo>
                    <a:lnTo>
                      <a:pt x="165" y="47"/>
                    </a:lnTo>
                    <a:lnTo>
                      <a:pt x="166" y="47"/>
                    </a:lnTo>
                    <a:lnTo>
                      <a:pt x="166" y="49"/>
                    </a:lnTo>
                    <a:lnTo>
                      <a:pt x="168" y="49"/>
                    </a:lnTo>
                    <a:lnTo>
                      <a:pt x="170" y="49"/>
                    </a:lnTo>
                    <a:lnTo>
                      <a:pt x="171" y="49"/>
                    </a:lnTo>
                    <a:lnTo>
                      <a:pt x="173" y="49"/>
                    </a:lnTo>
                    <a:lnTo>
                      <a:pt x="174" y="50"/>
                    </a:lnTo>
                    <a:lnTo>
                      <a:pt x="176" y="52"/>
                    </a:lnTo>
                    <a:lnTo>
                      <a:pt x="176" y="53"/>
                    </a:lnTo>
                    <a:lnTo>
                      <a:pt x="176" y="55"/>
                    </a:lnTo>
                    <a:lnTo>
                      <a:pt x="178" y="55"/>
                    </a:lnTo>
                    <a:lnTo>
                      <a:pt x="178" y="57"/>
                    </a:lnTo>
                    <a:lnTo>
                      <a:pt x="179" y="57"/>
                    </a:lnTo>
                    <a:lnTo>
                      <a:pt x="179" y="58"/>
                    </a:lnTo>
                    <a:lnTo>
                      <a:pt x="181" y="58"/>
                    </a:lnTo>
                    <a:lnTo>
                      <a:pt x="182" y="58"/>
                    </a:lnTo>
                    <a:lnTo>
                      <a:pt x="182" y="60"/>
                    </a:lnTo>
                    <a:lnTo>
                      <a:pt x="192" y="60"/>
                    </a:lnTo>
                    <a:lnTo>
                      <a:pt x="219" y="60"/>
                    </a:lnTo>
                    <a:lnTo>
                      <a:pt x="252" y="83"/>
                    </a:lnTo>
                    <a:lnTo>
                      <a:pt x="252" y="85"/>
                    </a:lnTo>
                    <a:lnTo>
                      <a:pt x="252" y="87"/>
                    </a:lnTo>
                    <a:lnTo>
                      <a:pt x="252" y="88"/>
                    </a:lnTo>
                    <a:lnTo>
                      <a:pt x="252" y="90"/>
                    </a:lnTo>
                    <a:lnTo>
                      <a:pt x="252" y="91"/>
                    </a:lnTo>
                    <a:lnTo>
                      <a:pt x="250" y="93"/>
                    </a:lnTo>
                    <a:lnTo>
                      <a:pt x="250" y="95"/>
                    </a:lnTo>
                    <a:lnTo>
                      <a:pt x="250" y="96"/>
                    </a:lnTo>
                    <a:lnTo>
                      <a:pt x="250" y="98"/>
                    </a:lnTo>
                    <a:lnTo>
                      <a:pt x="250" y="99"/>
                    </a:lnTo>
                    <a:lnTo>
                      <a:pt x="250" y="101"/>
                    </a:lnTo>
                    <a:lnTo>
                      <a:pt x="250" y="102"/>
                    </a:lnTo>
                    <a:lnTo>
                      <a:pt x="250" y="104"/>
                    </a:lnTo>
                    <a:lnTo>
                      <a:pt x="252" y="106"/>
                    </a:lnTo>
                    <a:lnTo>
                      <a:pt x="252" y="107"/>
                    </a:lnTo>
                    <a:lnTo>
                      <a:pt x="252" y="109"/>
                    </a:lnTo>
                    <a:lnTo>
                      <a:pt x="252" y="110"/>
                    </a:lnTo>
                    <a:lnTo>
                      <a:pt x="252" y="112"/>
                    </a:lnTo>
                    <a:lnTo>
                      <a:pt x="252" y="114"/>
                    </a:lnTo>
                    <a:lnTo>
                      <a:pt x="252" y="115"/>
                    </a:lnTo>
                    <a:lnTo>
                      <a:pt x="252" y="117"/>
                    </a:lnTo>
                    <a:lnTo>
                      <a:pt x="252" y="118"/>
                    </a:lnTo>
                    <a:lnTo>
                      <a:pt x="252" y="120"/>
                    </a:lnTo>
                    <a:lnTo>
                      <a:pt x="254" y="120"/>
                    </a:lnTo>
                    <a:lnTo>
                      <a:pt x="254" y="121"/>
                    </a:lnTo>
                    <a:lnTo>
                      <a:pt x="254" y="123"/>
                    </a:lnTo>
                    <a:lnTo>
                      <a:pt x="254" y="125"/>
                    </a:lnTo>
                    <a:lnTo>
                      <a:pt x="254" y="126"/>
                    </a:lnTo>
                    <a:lnTo>
                      <a:pt x="254" y="128"/>
                    </a:lnTo>
                    <a:lnTo>
                      <a:pt x="254" y="129"/>
                    </a:lnTo>
                    <a:lnTo>
                      <a:pt x="254" y="131"/>
                    </a:lnTo>
                    <a:lnTo>
                      <a:pt x="255" y="133"/>
                    </a:lnTo>
                    <a:lnTo>
                      <a:pt x="255" y="134"/>
                    </a:lnTo>
                    <a:lnTo>
                      <a:pt x="255" y="136"/>
                    </a:lnTo>
                    <a:lnTo>
                      <a:pt x="255" y="137"/>
                    </a:lnTo>
                    <a:lnTo>
                      <a:pt x="255" y="139"/>
                    </a:lnTo>
                    <a:lnTo>
                      <a:pt x="255" y="141"/>
                    </a:lnTo>
                    <a:lnTo>
                      <a:pt x="255" y="142"/>
                    </a:lnTo>
                    <a:lnTo>
                      <a:pt x="255" y="144"/>
                    </a:lnTo>
                    <a:lnTo>
                      <a:pt x="255" y="145"/>
                    </a:lnTo>
                    <a:lnTo>
                      <a:pt x="257" y="145"/>
                    </a:lnTo>
                    <a:lnTo>
                      <a:pt x="257" y="147"/>
                    </a:lnTo>
                    <a:lnTo>
                      <a:pt x="257" y="148"/>
                    </a:lnTo>
                    <a:lnTo>
                      <a:pt x="258" y="148"/>
                    </a:lnTo>
                    <a:lnTo>
                      <a:pt x="258" y="150"/>
                    </a:lnTo>
                    <a:lnTo>
                      <a:pt x="260" y="152"/>
                    </a:lnTo>
                    <a:lnTo>
                      <a:pt x="260" y="153"/>
                    </a:lnTo>
                    <a:lnTo>
                      <a:pt x="260" y="155"/>
                    </a:lnTo>
                    <a:lnTo>
                      <a:pt x="260" y="156"/>
                    </a:lnTo>
                    <a:lnTo>
                      <a:pt x="260" y="158"/>
                    </a:lnTo>
                    <a:lnTo>
                      <a:pt x="260" y="160"/>
                    </a:lnTo>
                    <a:lnTo>
                      <a:pt x="260" y="161"/>
                    </a:lnTo>
                    <a:lnTo>
                      <a:pt x="260" y="163"/>
                    </a:lnTo>
                    <a:lnTo>
                      <a:pt x="258" y="163"/>
                    </a:lnTo>
                    <a:lnTo>
                      <a:pt x="258" y="164"/>
                    </a:lnTo>
                    <a:lnTo>
                      <a:pt x="258" y="166"/>
                    </a:lnTo>
                    <a:lnTo>
                      <a:pt x="258" y="167"/>
                    </a:lnTo>
                    <a:lnTo>
                      <a:pt x="258" y="169"/>
                    </a:lnTo>
                    <a:lnTo>
                      <a:pt x="258" y="171"/>
                    </a:lnTo>
                    <a:lnTo>
                      <a:pt x="257" y="171"/>
                    </a:lnTo>
                    <a:lnTo>
                      <a:pt x="257" y="172"/>
                    </a:lnTo>
                    <a:lnTo>
                      <a:pt x="255" y="172"/>
                    </a:lnTo>
                    <a:lnTo>
                      <a:pt x="255" y="174"/>
                    </a:lnTo>
                    <a:lnTo>
                      <a:pt x="255" y="175"/>
                    </a:lnTo>
                    <a:lnTo>
                      <a:pt x="255" y="177"/>
                    </a:lnTo>
                    <a:lnTo>
                      <a:pt x="255" y="179"/>
                    </a:lnTo>
                    <a:lnTo>
                      <a:pt x="257" y="179"/>
                    </a:lnTo>
                    <a:lnTo>
                      <a:pt x="258" y="180"/>
                    </a:lnTo>
                    <a:lnTo>
                      <a:pt x="260" y="180"/>
                    </a:lnTo>
                    <a:lnTo>
                      <a:pt x="262" y="180"/>
                    </a:lnTo>
                    <a:lnTo>
                      <a:pt x="263" y="179"/>
                    </a:lnTo>
                    <a:lnTo>
                      <a:pt x="265" y="177"/>
                    </a:lnTo>
                    <a:lnTo>
                      <a:pt x="266" y="175"/>
                    </a:lnTo>
                    <a:lnTo>
                      <a:pt x="268" y="175"/>
                    </a:lnTo>
                    <a:lnTo>
                      <a:pt x="268" y="174"/>
                    </a:lnTo>
                    <a:lnTo>
                      <a:pt x="269" y="174"/>
                    </a:lnTo>
                    <a:lnTo>
                      <a:pt x="269" y="172"/>
                    </a:lnTo>
                    <a:lnTo>
                      <a:pt x="269" y="171"/>
                    </a:lnTo>
                    <a:lnTo>
                      <a:pt x="271" y="171"/>
                    </a:lnTo>
                    <a:lnTo>
                      <a:pt x="271" y="169"/>
                    </a:lnTo>
                    <a:lnTo>
                      <a:pt x="273" y="169"/>
                    </a:lnTo>
                    <a:lnTo>
                      <a:pt x="274" y="167"/>
                    </a:lnTo>
                    <a:lnTo>
                      <a:pt x="276" y="167"/>
                    </a:lnTo>
                    <a:lnTo>
                      <a:pt x="277" y="167"/>
                    </a:lnTo>
                    <a:lnTo>
                      <a:pt x="277" y="166"/>
                    </a:lnTo>
                    <a:lnTo>
                      <a:pt x="279" y="166"/>
                    </a:lnTo>
                    <a:lnTo>
                      <a:pt x="279" y="164"/>
                    </a:lnTo>
                    <a:lnTo>
                      <a:pt x="281" y="164"/>
                    </a:lnTo>
                    <a:lnTo>
                      <a:pt x="281" y="163"/>
                    </a:lnTo>
                    <a:lnTo>
                      <a:pt x="282" y="163"/>
                    </a:lnTo>
                    <a:lnTo>
                      <a:pt x="282" y="161"/>
                    </a:lnTo>
                    <a:lnTo>
                      <a:pt x="284" y="161"/>
                    </a:lnTo>
                    <a:lnTo>
                      <a:pt x="284" y="160"/>
                    </a:lnTo>
                    <a:lnTo>
                      <a:pt x="285" y="160"/>
                    </a:lnTo>
                    <a:lnTo>
                      <a:pt x="287" y="158"/>
                    </a:lnTo>
                    <a:lnTo>
                      <a:pt x="288" y="156"/>
                    </a:lnTo>
                    <a:lnTo>
                      <a:pt x="290" y="156"/>
                    </a:lnTo>
                    <a:lnTo>
                      <a:pt x="290" y="155"/>
                    </a:lnTo>
                    <a:lnTo>
                      <a:pt x="292" y="155"/>
                    </a:lnTo>
                    <a:lnTo>
                      <a:pt x="292" y="153"/>
                    </a:lnTo>
                    <a:lnTo>
                      <a:pt x="293" y="153"/>
                    </a:lnTo>
                    <a:lnTo>
                      <a:pt x="295" y="152"/>
                    </a:lnTo>
                    <a:lnTo>
                      <a:pt x="296" y="152"/>
                    </a:lnTo>
                    <a:lnTo>
                      <a:pt x="296" y="150"/>
                    </a:lnTo>
                    <a:lnTo>
                      <a:pt x="298" y="150"/>
                    </a:lnTo>
                    <a:lnTo>
                      <a:pt x="298" y="148"/>
                    </a:lnTo>
                    <a:lnTo>
                      <a:pt x="300" y="148"/>
                    </a:lnTo>
                    <a:lnTo>
                      <a:pt x="301" y="147"/>
                    </a:lnTo>
                    <a:lnTo>
                      <a:pt x="303" y="147"/>
                    </a:lnTo>
                    <a:lnTo>
                      <a:pt x="303" y="145"/>
                    </a:lnTo>
                    <a:lnTo>
                      <a:pt x="304" y="145"/>
                    </a:lnTo>
                    <a:lnTo>
                      <a:pt x="306" y="145"/>
                    </a:lnTo>
                    <a:lnTo>
                      <a:pt x="306" y="144"/>
                    </a:lnTo>
                    <a:lnTo>
                      <a:pt x="307" y="144"/>
                    </a:lnTo>
                    <a:lnTo>
                      <a:pt x="309" y="144"/>
                    </a:lnTo>
                    <a:lnTo>
                      <a:pt x="309" y="142"/>
                    </a:lnTo>
                    <a:lnTo>
                      <a:pt x="311" y="142"/>
                    </a:lnTo>
                    <a:lnTo>
                      <a:pt x="312" y="142"/>
                    </a:lnTo>
                    <a:lnTo>
                      <a:pt x="314" y="142"/>
                    </a:lnTo>
                    <a:lnTo>
                      <a:pt x="314" y="141"/>
                    </a:lnTo>
                    <a:lnTo>
                      <a:pt x="315" y="141"/>
                    </a:lnTo>
                    <a:lnTo>
                      <a:pt x="317" y="141"/>
                    </a:lnTo>
                    <a:lnTo>
                      <a:pt x="319" y="141"/>
                    </a:lnTo>
                    <a:lnTo>
                      <a:pt x="320" y="139"/>
                    </a:lnTo>
                    <a:lnTo>
                      <a:pt x="322" y="139"/>
                    </a:lnTo>
                    <a:lnTo>
                      <a:pt x="323" y="139"/>
                    </a:lnTo>
                    <a:lnTo>
                      <a:pt x="325" y="139"/>
                    </a:lnTo>
                    <a:lnTo>
                      <a:pt x="326" y="139"/>
                    </a:lnTo>
                    <a:lnTo>
                      <a:pt x="328" y="139"/>
                    </a:lnTo>
                    <a:lnTo>
                      <a:pt x="328" y="137"/>
                    </a:lnTo>
                    <a:lnTo>
                      <a:pt x="330" y="137"/>
                    </a:lnTo>
                    <a:lnTo>
                      <a:pt x="331" y="137"/>
                    </a:lnTo>
                    <a:lnTo>
                      <a:pt x="333" y="137"/>
                    </a:lnTo>
                    <a:lnTo>
                      <a:pt x="334" y="137"/>
                    </a:lnTo>
                    <a:lnTo>
                      <a:pt x="336" y="139"/>
                    </a:lnTo>
                    <a:lnTo>
                      <a:pt x="338" y="139"/>
                    </a:lnTo>
                    <a:lnTo>
                      <a:pt x="339" y="139"/>
                    </a:lnTo>
                    <a:lnTo>
                      <a:pt x="339" y="141"/>
                    </a:lnTo>
                    <a:lnTo>
                      <a:pt x="341" y="141"/>
                    </a:lnTo>
                    <a:lnTo>
                      <a:pt x="342" y="141"/>
                    </a:lnTo>
                    <a:lnTo>
                      <a:pt x="342" y="142"/>
                    </a:lnTo>
                    <a:lnTo>
                      <a:pt x="344" y="142"/>
                    </a:lnTo>
                    <a:lnTo>
                      <a:pt x="344" y="144"/>
                    </a:lnTo>
                    <a:lnTo>
                      <a:pt x="345" y="144"/>
                    </a:lnTo>
                    <a:lnTo>
                      <a:pt x="347" y="144"/>
                    </a:lnTo>
                    <a:lnTo>
                      <a:pt x="349" y="144"/>
                    </a:lnTo>
                    <a:lnTo>
                      <a:pt x="350" y="144"/>
                    </a:lnTo>
                    <a:lnTo>
                      <a:pt x="352" y="144"/>
                    </a:lnTo>
                    <a:lnTo>
                      <a:pt x="353" y="144"/>
                    </a:lnTo>
                    <a:lnTo>
                      <a:pt x="353" y="145"/>
                    </a:lnTo>
                    <a:lnTo>
                      <a:pt x="355" y="145"/>
                    </a:lnTo>
                    <a:lnTo>
                      <a:pt x="357" y="145"/>
                    </a:lnTo>
                    <a:lnTo>
                      <a:pt x="358" y="147"/>
                    </a:lnTo>
                    <a:lnTo>
                      <a:pt x="360" y="147"/>
                    </a:lnTo>
                    <a:lnTo>
                      <a:pt x="360" y="148"/>
                    </a:lnTo>
                    <a:lnTo>
                      <a:pt x="361" y="148"/>
                    </a:lnTo>
                    <a:lnTo>
                      <a:pt x="363" y="150"/>
                    </a:lnTo>
                    <a:lnTo>
                      <a:pt x="364" y="150"/>
                    </a:lnTo>
                    <a:lnTo>
                      <a:pt x="366" y="152"/>
                    </a:lnTo>
                    <a:lnTo>
                      <a:pt x="368" y="152"/>
                    </a:lnTo>
                    <a:lnTo>
                      <a:pt x="368" y="153"/>
                    </a:lnTo>
                    <a:lnTo>
                      <a:pt x="369" y="153"/>
                    </a:lnTo>
                    <a:lnTo>
                      <a:pt x="369" y="155"/>
                    </a:lnTo>
                    <a:lnTo>
                      <a:pt x="371" y="155"/>
                    </a:lnTo>
                    <a:lnTo>
                      <a:pt x="371" y="156"/>
                    </a:lnTo>
                    <a:lnTo>
                      <a:pt x="372" y="156"/>
                    </a:lnTo>
                    <a:lnTo>
                      <a:pt x="374" y="156"/>
                    </a:lnTo>
                    <a:lnTo>
                      <a:pt x="376" y="158"/>
                    </a:lnTo>
                    <a:lnTo>
                      <a:pt x="377" y="158"/>
                    </a:lnTo>
                    <a:lnTo>
                      <a:pt x="379" y="158"/>
                    </a:lnTo>
                    <a:lnTo>
                      <a:pt x="379" y="160"/>
                    </a:lnTo>
                    <a:lnTo>
                      <a:pt x="380" y="160"/>
                    </a:lnTo>
                    <a:lnTo>
                      <a:pt x="382" y="161"/>
                    </a:lnTo>
                    <a:lnTo>
                      <a:pt x="383" y="161"/>
                    </a:lnTo>
                    <a:lnTo>
                      <a:pt x="385" y="161"/>
                    </a:lnTo>
                    <a:lnTo>
                      <a:pt x="387" y="163"/>
                    </a:lnTo>
                    <a:lnTo>
                      <a:pt x="388" y="163"/>
                    </a:lnTo>
                    <a:lnTo>
                      <a:pt x="390" y="163"/>
                    </a:lnTo>
                    <a:lnTo>
                      <a:pt x="391" y="163"/>
                    </a:lnTo>
                    <a:lnTo>
                      <a:pt x="393" y="163"/>
                    </a:lnTo>
                    <a:lnTo>
                      <a:pt x="395" y="163"/>
                    </a:lnTo>
                    <a:lnTo>
                      <a:pt x="396" y="163"/>
                    </a:lnTo>
                    <a:lnTo>
                      <a:pt x="396" y="161"/>
                    </a:lnTo>
                    <a:lnTo>
                      <a:pt x="398" y="161"/>
                    </a:lnTo>
                    <a:lnTo>
                      <a:pt x="398" y="160"/>
                    </a:lnTo>
                    <a:lnTo>
                      <a:pt x="398" y="158"/>
                    </a:lnTo>
                    <a:lnTo>
                      <a:pt x="398" y="156"/>
                    </a:lnTo>
                    <a:lnTo>
                      <a:pt x="399" y="156"/>
                    </a:lnTo>
                    <a:lnTo>
                      <a:pt x="399" y="155"/>
                    </a:lnTo>
                    <a:lnTo>
                      <a:pt x="401" y="155"/>
                    </a:lnTo>
                    <a:lnTo>
                      <a:pt x="401" y="153"/>
                    </a:lnTo>
                    <a:lnTo>
                      <a:pt x="402" y="152"/>
                    </a:lnTo>
                    <a:lnTo>
                      <a:pt x="402" y="150"/>
                    </a:lnTo>
                    <a:lnTo>
                      <a:pt x="404" y="150"/>
                    </a:lnTo>
                    <a:lnTo>
                      <a:pt x="404" y="148"/>
                    </a:lnTo>
                    <a:lnTo>
                      <a:pt x="406" y="148"/>
                    </a:lnTo>
                    <a:lnTo>
                      <a:pt x="407" y="147"/>
                    </a:lnTo>
                    <a:lnTo>
                      <a:pt x="409" y="147"/>
                    </a:lnTo>
                    <a:lnTo>
                      <a:pt x="410" y="147"/>
                    </a:lnTo>
                    <a:lnTo>
                      <a:pt x="410" y="145"/>
                    </a:lnTo>
                    <a:lnTo>
                      <a:pt x="410" y="144"/>
                    </a:lnTo>
                    <a:lnTo>
                      <a:pt x="410" y="142"/>
                    </a:lnTo>
                    <a:lnTo>
                      <a:pt x="409" y="142"/>
                    </a:lnTo>
                    <a:lnTo>
                      <a:pt x="410" y="141"/>
                    </a:lnTo>
                    <a:lnTo>
                      <a:pt x="410" y="139"/>
                    </a:lnTo>
                    <a:lnTo>
                      <a:pt x="410" y="137"/>
                    </a:lnTo>
                    <a:lnTo>
                      <a:pt x="412" y="137"/>
                    </a:lnTo>
                    <a:lnTo>
                      <a:pt x="412" y="136"/>
                    </a:lnTo>
                    <a:lnTo>
                      <a:pt x="410" y="134"/>
                    </a:lnTo>
                    <a:lnTo>
                      <a:pt x="410" y="133"/>
                    </a:lnTo>
                    <a:lnTo>
                      <a:pt x="409" y="133"/>
                    </a:lnTo>
                    <a:lnTo>
                      <a:pt x="407" y="131"/>
                    </a:lnTo>
                    <a:lnTo>
                      <a:pt x="406" y="129"/>
                    </a:lnTo>
                    <a:lnTo>
                      <a:pt x="406" y="128"/>
                    </a:lnTo>
                    <a:lnTo>
                      <a:pt x="407" y="128"/>
                    </a:lnTo>
                    <a:lnTo>
                      <a:pt x="407" y="126"/>
                    </a:lnTo>
                    <a:lnTo>
                      <a:pt x="407" y="125"/>
                    </a:lnTo>
                    <a:lnTo>
                      <a:pt x="407" y="123"/>
                    </a:lnTo>
                    <a:lnTo>
                      <a:pt x="409" y="121"/>
                    </a:lnTo>
                    <a:lnTo>
                      <a:pt x="409" y="120"/>
                    </a:lnTo>
                    <a:lnTo>
                      <a:pt x="409" y="118"/>
                    </a:lnTo>
                    <a:lnTo>
                      <a:pt x="409" y="117"/>
                    </a:lnTo>
                    <a:lnTo>
                      <a:pt x="410" y="117"/>
                    </a:lnTo>
                    <a:lnTo>
                      <a:pt x="410" y="115"/>
                    </a:lnTo>
                    <a:lnTo>
                      <a:pt x="410" y="114"/>
                    </a:lnTo>
                    <a:lnTo>
                      <a:pt x="412" y="112"/>
                    </a:lnTo>
                    <a:lnTo>
                      <a:pt x="412" y="110"/>
                    </a:lnTo>
                    <a:lnTo>
                      <a:pt x="412" y="109"/>
                    </a:lnTo>
                    <a:lnTo>
                      <a:pt x="412" y="107"/>
                    </a:lnTo>
                    <a:lnTo>
                      <a:pt x="414" y="107"/>
                    </a:lnTo>
                    <a:lnTo>
                      <a:pt x="414" y="106"/>
                    </a:lnTo>
                    <a:lnTo>
                      <a:pt x="414" y="104"/>
                    </a:lnTo>
                    <a:lnTo>
                      <a:pt x="415" y="104"/>
                    </a:lnTo>
                    <a:lnTo>
                      <a:pt x="415" y="102"/>
                    </a:lnTo>
                    <a:lnTo>
                      <a:pt x="417" y="102"/>
                    </a:lnTo>
                    <a:lnTo>
                      <a:pt x="418" y="102"/>
                    </a:lnTo>
                    <a:lnTo>
                      <a:pt x="422" y="104"/>
                    </a:lnTo>
                    <a:lnTo>
                      <a:pt x="426" y="102"/>
                    </a:lnTo>
                    <a:lnTo>
                      <a:pt x="428" y="101"/>
                    </a:lnTo>
                    <a:lnTo>
                      <a:pt x="431" y="99"/>
                    </a:lnTo>
                    <a:lnTo>
                      <a:pt x="433" y="98"/>
                    </a:lnTo>
                    <a:lnTo>
                      <a:pt x="434" y="96"/>
                    </a:lnTo>
                    <a:lnTo>
                      <a:pt x="434" y="93"/>
                    </a:lnTo>
                    <a:lnTo>
                      <a:pt x="436" y="93"/>
                    </a:lnTo>
                    <a:lnTo>
                      <a:pt x="437" y="93"/>
                    </a:lnTo>
                    <a:lnTo>
                      <a:pt x="437" y="95"/>
                    </a:lnTo>
                    <a:lnTo>
                      <a:pt x="439" y="93"/>
                    </a:lnTo>
                    <a:lnTo>
                      <a:pt x="441" y="93"/>
                    </a:lnTo>
                    <a:lnTo>
                      <a:pt x="442" y="93"/>
                    </a:lnTo>
                    <a:lnTo>
                      <a:pt x="442" y="95"/>
                    </a:lnTo>
                    <a:lnTo>
                      <a:pt x="442" y="96"/>
                    </a:lnTo>
                    <a:lnTo>
                      <a:pt x="444" y="96"/>
                    </a:lnTo>
                    <a:lnTo>
                      <a:pt x="444" y="98"/>
                    </a:lnTo>
                    <a:lnTo>
                      <a:pt x="444" y="99"/>
                    </a:lnTo>
                    <a:lnTo>
                      <a:pt x="445" y="99"/>
                    </a:lnTo>
                    <a:lnTo>
                      <a:pt x="445" y="101"/>
                    </a:lnTo>
                    <a:lnTo>
                      <a:pt x="447" y="101"/>
                    </a:lnTo>
                    <a:lnTo>
                      <a:pt x="448" y="101"/>
                    </a:lnTo>
                    <a:lnTo>
                      <a:pt x="450" y="101"/>
                    </a:lnTo>
                    <a:lnTo>
                      <a:pt x="452" y="101"/>
                    </a:lnTo>
                    <a:lnTo>
                      <a:pt x="452" y="102"/>
                    </a:lnTo>
                    <a:lnTo>
                      <a:pt x="453" y="102"/>
                    </a:lnTo>
                    <a:lnTo>
                      <a:pt x="453" y="104"/>
                    </a:lnTo>
                    <a:lnTo>
                      <a:pt x="453" y="106"/>
                    </a:lnTo>
                    <a:lnTo>
                      <a:pt x="453" y="107"/>
                    </a:lnTo>
                    <a:lnTo>
                      <a:pt x="453" y="109"/>
                    </a:lnTo>
                    <a:lnTo>
                      <a:pt x="455" y="109"/>
                    </a:lnTo>
                    <a:lnTo>
                      <a:pt x="455" y="110"/>
                    </a:lnTo>
                    <a:lnTo>
                      <a:pt x="455" y="112"/>
                    </a:lnTo>
                    <a:lnTo>
                      <a:pt x="455" y="114"/>
                    </a:lnTo>
                    <a:lnTo>
                      <a:pt x="455" y="115"/>
                    </a:lnTo>
                    <a:lnTo>
                      <a:pt x="456" y="117"/>
                    </a:lnTo>
                    <a:lnTo>
                      <a:pt x="456" y="118"/>
                    </a:lnTo>
                    <a:lnTo>
                      <a:pt x="458" y="118"/>
                    </a:lnTo>
                    <a:lnTo>
                      <a:pt x="458" y="120"/>
                    </a:lnTo>
                    <a:lnTo>
                      <a:pt x="458" y="121"/>
                    </a:lnTo>
                    <a:lnTo>
                      <a:pt x="456" y="121"/>
                    </a:lnTo>
                    <a:lnTo>
                      <a:pt x="456" y="123"/>
                    </a:lnTo>
                    <a:lnTo>
                      <a:pt x="456" y="125"/>
                    </a:lnTo>
                    <a:lnTo>
                      <a:pt x="456" y="126"/>
                    </a:lnTo>
                    <a:lnTo>
                      <a:pt x="455" y="126"/>
                    </a:lnTo>
                    <a:lnTo>
                      <a:pt x="455" y="128"/>
                    </a:lnTo>
                    <a:lnTo>
                      <a:pt x="455" y="129"/>
                    </a:lnTo>
                    <a:lnTo>
                      <a:pt x="456" y="129"/>
                    </a:lnTo>
                    <a:lnTo>
                      <a:pt x="458" y="129"/>
                    </a:lnTo>
                    <a:lnTo>
                      <a:pt x="458" y="128"/>
                    </a:lnTo>
                    <a:lnTo>
                      <a:pt x="460" y="128"/>
                    </a:lnTo>
                    <a:lnTo>
                      <a:pt x="461" y="128"/>
                    </a:lnTo>
                    <a:lnTo>
                      <a:pt x="463" y="128"/>
                    </a:lnTo>
                    <a:lnTo>
                      <a:pt x="464" y="128"/>
                    </a:lnTo>
                    <a:lnTo>
                      <a:pt x="464" y="126"/>
                    </a:lnTo>
                    <a:lnTo>
                      <a:pt x="466" y="126"/>
                    </a:lnTo>
                    <a:lnTo>
                      <a:pt x="467" y="126"/>
                    </a:lnTo>
                    <a:lnTo>
                      <a:pt x="469" y="126"/>
                    </a:lnTo>
                    <a:lnTo>
                      <a:pt x="471" y="126"/>
                    </a:lnTo>
                    <a:lnTo>
                      <a:pt x="472" y="126"/>
                    </a:lnTo>
                    <a:lnTo>
                      <a:pt x="472" y="125"/>
                    </a:lnTo>
                    <a:lnTo>
                      <a:pt x="474" y="125"/>
                    </a:lnTo>
                    <a:lnTo>
                      <a:pt x="475" y="125"/>
                    </a:lnTo>
                    <a:lnTo>
                      <a:pt x="477" y="125"/>
                    </a:lnTo>
                    <a:lnTo>
                      <a:pt x="479" y="123"/>
                    </a:lnTo>
                    <a:lnTo>
                      <a:pt x="480" y="123"/>
                    </a:lnTo>
                    <a:lnTo>
                      <a:pt x="480" y="121"/>
                    </a:lnTo>
                    <a:lnTo>
                      <a:pt x="482" y="121"/>
                    </a:lnTo>
                    <a:lnTo>
                      <a:pt x="483" y="121"/>
                    </a:lnTo>
                    <a:lnTo>
                      <a:pt x="485" y="120"/>
                    </a:lnTo>
                    <a:lnTo>
                      <a:pt x="486" y="120"/>
                    </a:lnTo>
                    <a:lnTo>
                      <a:pt x="488" y="120"/>
                    </a:lnTo>
                    <a:lnTo>
                      <a:pt x="490" y="120"/>
                    </a:lnTo>
                    <a:lnTo>
                      <a:pt x="491" y="120"/>
                    </a:lnTo>
                    <a:lnTo>
                      <a:pt x="491" y="118"/>
                    </a:lnTo>
                    <a:lnTo>
                      <a:pt x="493" y="118"/>
                    </a:lnTo>
                    <a:lnTo>
                      <a:pt x="494" y="118"/>
                    </a:lnTo>
                    <a:lnTo>
                      <a:pt x="496" y="118"/>
                    </a:lnTo>
                    <a:lnTo>
                      <a:pt x="496" y="117"/>
                    </a:lnTo>
                    <a:lnTo>
                      <a:pt x="498" y="117"/>
                    </a:lnTo>
                    <a:lnTo>
                      <a:pt x="499" y="117"/>
                    </a:lnTo>
                    <a:lnTo>
                      <a:pt x="499" y="115"/>
                    </a:lnTo>
                    <a:lnTo>
                      <a:pt x="501" y="115"/>
                    </a:lnTo>
                    <a:lnTo>
                      <a:pt x="502" y="115"/>
                    </a:lnTo>
                    <a:lnTo>
                      <a:pt x="502" y="114"/>
                    </a:lnTo>
                    <a:lnTo>
                      <a:pt x="504" y="114"/>
                    </a:lnTo>
                    <a:lnTo>
                      <a:pt x="505" y="114"/>
                    </a:lnTo>
                    <a:lnTo>
                      <a:pt x="507" y="112"/>
                    </a:lnTo>
                    <a:lnTo>
                      <a:pt x="505" y="112"/>
                    </a:lnTo>
                    <a:lnTo>
                      <a:pt x="505" y="110"/>
                    </a:lnTo>
                    <a:lnTo>
                      <a:pt x="505" y="109"/>
                    </a:lnTo>
                    <a:lnTo>
                      <a:pt x="504" y="109"/>
                    </a:lnTo>
                    <a:lnTo>
                      <a:pt x="504" y="107"/>
                    </a:lnTo>
                    <a:lnTo>
                      <a:pt x="504" y="106"/>
                    </a:lnTo>
                    <a:lnTo>
                      <a:pt x="504" y="104"/>
                    </a:lnTo>
                    <a:lnTo>
                      <a:pt x="504" y="102"/>
                    </a:lnTo>
                    <a:lnTo>
                      <a:pt x="502" y="102"/>
                    </a:lnTo>
                    <a:lnTo>
                      <a:pt x="502" y="101"/>
                    </a:lnTo>
                    <a:lnTo>
                      <a:pt x="501" y="101"/>
                    </a:lnTo>
                    <a:lnTo>
                      <a:pt x="499" y="99"/>
                    </a:lnTo>
                    <a:lnTo>
                      <a:pt x="498" y="99"/>
                    </a:lnTo>
                    <a:lnTo>
                      <a:pt x="496" y="99"/>
                    </a:lnTo>
                    <a:lnTo>
                      <a:pt x="494" y="99"/>
                    </a:lnTo>
                    <a:lnTo>
                      <a:pt x="493" y="99"/>
                    </a:lnTo>
                    <a:lnTo>
                      <a:pt x="491" y="101"/>
                    </a:lnTo>
                    <a:lnTo>
                      <a:pt x="490" y="101"/>
                    </a:lnTo>
                    <a:lnTo>
                      <a:pt x="488" y="101"/>
                    </a:lnTo>
                    <a:lnTo>
                      <a:pt x="488" y="99"/>
                    </a:lnTo>
                    <a:lnTo>
                      <a:pt x="488" y="98"/>
                    </a:lnTo>
                    <a:lnTo>
                      <a:pt x="486" y="96"/>
                    </a:lnTo>
                    <a:lnTo>
                      <a:pt x="486" y="95"/>
                    </a:lnTo>
                    <a:lnTo>
                      <a:pt x="485" y="93"/>
                    </a:lnTo>
                    <a:lnTo>
                      <a:pt x="483" y="91"/>
                    </a:lnTo>
                    <a:lnTo>
                      <a:pt x="482" y="91"/>
                    </a:lnTo>
                    <a:lnTo>
                      <a:pt x="482" y="90"/>
                    </a:lnTo>
                    <a:lnTo>
                      <a:pt x="480" y="90"/>
                    </a:lnTo>
                    <a:lnTo>
                      <a:pt x="480" y="91"/>
                    </a:lnTo>
                    <a:lnTo>
                      <a:pt x="479" y="91"/>
                    </a:lnTo>
                    <a:lnTo>
                      <a:pt x="479" y="90"/>
                    </a:lnTo>
                    <a:lnTo>
                      <a:pt x="479" y="88"/>
                    </a:lnTo>
                    <a:lnTo>
                      <a:pt x="479" y="87"/>
                    </a:lnTo>
                    <a:lnTo>
                      <a:pt x="477" y="87"/>
                    </a:lnTo>
                    <a:lnTo>
                      <a:pt x="477" y="85"/>
                    </a:lnTo>
                    <a:lnTo>
                      <a:pt x="475" y="83"/>
                    </a:lnTo>
                    <a:lnTo>
                      <a:pt x="475" y="82"/>
                    </a:lnTo>
                    <a:lnTo>
                      <a:pt x="474" y="82"/>
                    </a:lnTo>
                    <a:lnTo>
                      <a:pt x="474" y="80"/>
                    </a:lnTo>
                    <a:lnTo>
                      <a:pt x="474" y="79"/>
                    </a:lnTo>
                    <a:lnTo>
                      <a:pt x="475" y="79"/>
                    </a:lnTo>
                    <a:lnTo>
                      <a:pt x="477" y="79"/>
                    </a:lnTo>
                    <a:lnTo>
                      <a:pt x="477" y="77"/>
                    </a:lnTo>
                    <a:lnTo>
                      <a:pt x="479" y="77"/>
                    </a:lnTo>
                    <a:lnTo>
                      <a:pt x="480" y="77"/>
                    </a:lnTo>
                    <a:lnTo>
                      <a:pt x="482" y="76"/>
                    </a:lnTo>
                    <a:lnTo>
                      <a:pt x="483" y="76"/>
                    </a:lnTo>
                    <a:lnTo>
                      <a:pt x="483" y="74"/>
                    </a:lnTo>
                    <a:lnTo>
                      <a:pt x="483" y="72"/>
                    </a:lnTo>
                    <a:lnTo>
                      <a:pt x="483" y="71"/>
                    </a:lnTo>
                    <a:lnTo>
                      <a:pt x="482" y="71"/>
                    </a:lnTo>
                    <a:lnTo>
                      <a:pt x="482" y="69"/>
                    </a:lnTo>
                    <a:lnTo>
                      <a:pt x="482" y="68"/>
                    </a:lnTo>
                    <a:lnTo>
                      <a:pt x="483" y="68"/>
                    </a:lnTo>
                    <a:lnTo>
                      <a:pt x="485" y="68"/>
                    </a:lnTo>
                    <a:lnTo>
                      <a:pt x="486" y="68"/>
                    </a:lnTo>
                    <a:lnTo>
                      <a:pt x="488" y="68"/>
                    </a:lnTo>
                    <a:lnTo>
                      <a:pt x="490" y="68"/>
                    </a:lnTo>
                    <a:lnTo>
                      <a:pt x="491" y="68"/>
                    </a:lnTo>
                    <a:lnTo>
                      <a:pt x="493" y="68"/>
                    </a:lnTo>
                    <a:lnTo>
                      <a:pt x="494" y="66"/>
                    </a:lnTo>
                    <a:lnTo>
                      <a:pt x="494" y="64"/>
                    </a:lnTo>
                    <a:lnTo>
                      <a:pt x="494" y="63"/>
                    </a:lnTo>
                    <a:lnTo>
                      <a:pt x="494" y="61"/>
                    </a:lnTo>
                    <a:lnTo>
                      <a:pt x="494" y="60"/>
                    </a:lnTo>
                    <a:lnTo>
                      <a:pt x="496" y="60"/>
                    </a:lnTo>
                    <a:lnTo>
                      <a:pt x="496" y="58"/>
                    </a:lnTo>
                    <a:lnTo>
                      <a:pt x="496" y="57"/>
                    </a:lnTo>
                    <a:lnTo>
                      <a:pt x="498" y="55"/>
                    </a:lnTo>
                    <a:lnTo>
                      <a:pt x="498" y="53"/>
                    </a:lnTo>
                    <a:lnTo>
                      <a:pt x="499" y="53"/>
                    </a:lnTo>
                    <a:lnTo>
                      <a:pt x="499" y="52"/>
                    </a:lnTo>
                    <a:lnTo>
                      <a:pt x="499" y="50"/>
                    </a:lnTo>
                    <a:lnTo>
                      <a:pt x="499" y="49"/>
                    </a:lnTo>
                    <a:lnTo>
                      <a:pt x="499" y="47"/>
                    </a:lnTo>
                    <a:lnTo>
                      <a:pt x="499" y="45"/>
                    </a:lnTo>
                    <a:lnTo>
                      <a:pt x="499" y="44"/>
                    </a:lnTo>
                    <a:lnTo>
                      <a:pt x="499" y="42"/>
                    </a:lnTo>
                    <a:lnTo>
                      <a:pt x="499" y="41"/>
                    </a:lnTo>
                    <a:lnTo>
                      <a:pt x="499" y="39"/>
                    </a:lnTo>
                    <a:lnTo>
                      <a:pt x="499" y="38"/>
                    </a:lnTo>
                    <a:lnTo>
                      <a:pt x="498" y="38"/>
                    </a:lnTo>
                    <a:lnTo>
                      <a:pt x="498" y="36"/>
                    </a:lnTo>
                    <a:lnTo>
                      <a:pt x="498" y="34"/>
                    </a:lnTo>
                    <a:lnTo>
                      <a:pt x="498" y="33"/>
                    </a:lnTo>
                    <a:lnTo>
                      <a:pt x="496" y="33"/>
                    </a:lnTo>
                    <a:lnTo>
                      <a:pt x="496" y="31"/>
                    </a:lnTo>
                    <a:lnTo>
                      <a:pt x="496" y="30"/>
                    </a:lnTo>
                    <a:lnTo>
                      <a:pt x="496" y="28"/>
                    </a:lnTo>
                    <a:lnTo>
                      <a:pt x="494" y="28"/>
                    </a:lnTo>
                    <a:lnTo>
                      <a:pt x="494" y="26"/>
                    </a:lnTo>
                    <a:lnTo>
                      <a:pt x="496" y="26"/>
                    </a:lnTo>
                    <a:lnTo>
                      <a:pt x="496" y="25"/>
                    </a:lnTo>
                    <a:lnTo>
                      <a:pt x="498" y="26"/>
                    </a:lnTo>
                    <a:lnTo>
                      <a:pt x="499" y="26"/>
                    </a:lnTo>
                    <a:lnTo>
                      <a:pt x="501" y="26"/>
                    </a:lnTo>
                    <a:lnTo>
                      <a:pt x="502" y="26"/>
                    </a:lnTo>
                    <a:lnTo>
                      <a:pt x="504" y="26"/>
                    </a:lnTo>
                    <a:lnTo>
                      <a:pt x="505" y="26"/>
                    </a:lnTo>
                    <a:lnTo>
                      <a:pt x="507" y="26"/>
                    </a:lnTo>
                    <a:lnTo>
                      <a:pt x="507" y="25"/>
                    </a:lnTo>
                    <a:lnTo>
                      <a:pt x="509" y="25"/>
                    </a:lnTo>
                    <a:lnTo>
                      <a:pt x="510" y="25"/>
                    </a:lnTo>
                    <a:lnTo>
                      <a:pt x="512" y="25"/>
                    </a:lnTo>
                    <a:lnTo>
                      <a:pt x="513" y="25"/>
                    </a:lnTo>
                    <a:lnTo>
                      <a:pt x="515" y="25"/>
                    </a:lnTo>
                    <a:lnTo>
                      <a:pt x="515" y="23"/>
                    </a:lnTo>
                    <a:lnTo>
                      <a:pt x="517" y="23"/>
                    </a:lnTo>
                    <a:lnTo>
                      <a:pt x="518" y="23"/>
                    </a:lnTo>
                    <a:lnTo>
                      <a:pt x="520" y="22"/>
                    </a:lnTo>
                    <a:lnTo>
                      <a:pt x="521" y="22"/>
                    </a:lnTo>
                    <a:lnTo>
                      <a:pt x="523" y="22"/>
                    </a:lnTo>
                    <a:lnTo>
                      <a:pt x="524" y="22"/>
                    </a:lnTo>
                    <a:lnTo>
                      <a:pt x="524" y="20"/>
                    </a:lnTo>
                    <a:lnTo>
                      <a:pt x="526" y="20"/>
                    </a:lnTo>
                    <a:lnTo>
                      <a:pt x="528" y="20"/>
                    </a:lnTo>
                    <a:lnTo>
                      <a:pt x="529" y="19"/>
                    </a:lnTo>
                    <a:lnTo>
                      <a:pt x="531" y="19"/>
                    </a:lnTo>
                    <a:lnTo>
                      <a:pt x="531" y="17"/>
                    </a:lnTo>
                    <a:lnTo>
                      <a:pt x="532" y="17"/>
                    </a:lnTo>
                    <a:lnTo>
                      <a:pt x="534" y="17"/>
                    </a:lnTo>
                    <a:lnTo>
                      <a:pt x="534" y="15"/>
                    </a:lnTo>
                    <a:lnTo>
                      <a:pt x="536" y="15"/>
                    </a:lnTo>
                    <a:lnTo>
                      <a:pt x="536" y="14"/>
                    </a:lnTo>
                    <a:lnTo>
                      <a:pt x="537" y="14"/>
                    </a:lnTo>
                    <a:lnTo>
                      <a:pt x="537" y="12"/>
                    </a:lnTo>
                    <a:lnTo>
                      <a:pt x="539" y="11"/>
                    </a:lnTo>
                    <a:lnTo>
                      <a:pt x="539" y="9"/>
                    </a:lnTo>
                    <a:lnTo>
                      <a:pt x="540" y="9"/>
                    </a:lnTo>
                    <a:lnTo>
                      <a:pt x="540" y="7"/>
                    </a:lnTo>
                    <a:lnTo>
                      <a:pt x="542" y="7"/>
                    </a:lnTo>
                    <a:lnTo>
                      <a:pt x="543" y="7"/>
                    </a:lnTo>
                    <a:lnTo>
                      <a:pt x="545" y="7"/>
                    </a:lnTo>
                    <a:lnTo>
                      <a:pt x="547" y="7"/>
                    </a:lnTo>
                    <a:lnTo>
                      <a:pt x="548" y="7"/>
                    </a:lnTo>
                    <a:lnTo>
                      <a:pt x="550" y="7"/>
                    </a:lnTo>
                    <a:lnTo>
                      <a:pt x="551" y="7"/>
                    </a:lnTo>
                    <a:lnTo>
                      <a:pt x="553" y="7"/>
                    </a:lnTo>
                    <a:lnTo>
                      <a:pt x="553" y="9"/>
                    </a:lnTo>
                    <a:lnTo>
                      <a:pt x="555" y="9"/>
                    </a:lnTo>
                    <a:lnTo>
                      <a:pt x="556" y="9"/>
                    </a:lnTo>
                    <a:lnTo>
                      <a:pt x="558" y="11"/>
                    </a:lnTo>
                    <a:lnTo>
                      <a:pt x="559" y="11"/>
                    </a:lnTo>
                    <a:lnTo>
                      <a:pt x="559" y="12"/>
                    </a:lnTo>
                    <a:lnTo>
                      <a:pt x="561" y="12"/>
                    </a:lnTo>
                    <a:lnTo>
                      <a:pt x="562" y="12"/>
                    </a:lnTo>
                    <a:lnTo>
                      <a:pt x="564" y="12"/>
                    </a:lnTo>
                    <a:lnTo>
                      <a:pt x="566" y="12"/>
                    </a:lnTo>
                    <a:lnTo>
                      <a:pt x="567" y="12"/>
                    </a:lnTo>
                    <a:lnTo>
                      <a:pt x="569" y="12"/>
                    </a:lnTo>
                    <a:lnTo>
                      <a:pt x="570" y="12"/>
                    </a:lnTo>
                    <a:lnTo>
                      <a:pt x="572" y="11"/>
                    </a:lnTo>
                    <a:lnTo>
                      <a:pt x="574" y="11"/>
                    </a:lnTo>
                    <a:lnTo>
                      <a:pt x="575" y="9"/>
                    </a:lnTo>
                    <a:lnTo>
                      <a:pt x="577" y="9"/>
                    </a:lnTo>
                    <a:lnTo>
                      <a:pt x="578" y="9"/>
                    </a:lnTo>
                    <a:lnTo>
                      <a:pt x="580" y="9"/>
                    </a:lnTo>
                    <a:lnTo>
                      <a:pt x="580" y="7"/>
                    </a:lnTo>
                    <a:lnTo>
                      <a:pt x="581" y="7"/>
                    </a:lnTo>
                    <a:lnTo>
                      <a:pt x="583" y="7"/>
                    </a:lnTo>
                    <a:lnTo>
                      <a:pt x="583" y="6"/>
                    </a:lnTo>
                    <a:lnTo>
                      <a:pt x="585" y="6"/>
                    </a:lnTo>
                    <a:lnTo>
                      <a:pt x="586" y="4"/>
                    </a:lnTo>
                    <a:lnTo>
                      <a:pt x="588" y="3"/>
                    </a:lnTo>
                    <a:lnTo>
                      <a:pt x="589" y="4"/>
                    </a:lnTo>
                    <a:lnTo>
                      <a:pt x="591" y="4"/>
                    </a:lnTo>
                    <a:lnTo>
                      <a:pt x="593" y="6"/>
                    </a:lnTo>
                    <a:lnTo>
                      <a:pt x="593" y="7"/>
                    </a:lnTo>
                    <a:lnTo>
                      <a:pt x="594" y="7"/>
                    </a:lnTo>
                    <a:lnTo>
                      <a:pt x="596" y="7"/>
                    </a:lnTo>
                    <a:lnTo>
                      <a:pt x="596" y="9"/>
                    </a:lnTo>
                    <a:lnTo>
                      <a:pt x="596" y="11"/>
                    </a:lnTo>
                    <a:lnTo>
                      <a:pt x="597" y="11"/>
                    </a:lnTo>
                    <a:lnTo>
                      <a:pt x="597" y="12"/>
                    </a:lnTo>
                    <a:lnTo>
                      <a:pt x="597" y="14"/>
                    </a:lnTo>
                    <a:lnTo>
                      <a:pt x="597" y="15"/>
                    </a:lnTo>
                    <a:lnTo>
                      <a:pt x="599" y="17"/>
                    </a:lnTo>
                    <a:lnTo>
                      <a:pt x="601" y="17"/>
                    </a:lnTo>
                    <a:lnTo>
                      <a:pt x="602" y="19"/>
                    </a:lnTo>
                    <a:lnTo>
                      <a:pt x="604" y="19"/>
                    </a:lnTo>
                    <a:lnTo>
                      <a:pt x="604" y="20"/>
                    </a:lnTo>
                    <a:lnTo>
                      <a:pt x="605" y="20"/>
                    </a:lnTo>
                    <a:lnTo>
                      <a:pt x="607" y="22"/>
                    </a:lnTo>
                    <a:lnTo>
                      <a:pt x="608" y="22"/>
                    </a:lnTo>
                    <a:lnTo>
                      <a:pt x="610" y="22"/>
                    </a:lnTo>
                    <a:lnTo>
                      <a:pt x="610" y="23"/>
                    </a:lnTo>
                    <a:lnTo>
                      <a:pt x="612" y="25"/>
                    </a:lnTo>
                    <a:lnTo>
                      <a:pt x="613" y="25"/>
                    </a:lnTo>
                    <a:lnTo>
                      <a:pt x="615" y="25"/>
                    </a:lnTo>
                    <a:lnTo>
                      <a:pt x="616" y="25"/>
                    </a:lnTo>
                    <a:lnTo>
                      <a:pt x="618" y="25"/>
                    </a:lnTo>
                    <a:lnTo>
                      <a:pt x="620" y="25"/>
                    </a:lnTo>
                    <a:lnTo>
                      <a:pt x="621" y="25"/>
                    </a:lnTo>
                    <a:lnTo>
                      <a:pt x="623" y="25"/>
                    </a:lnTo>
                    <a:lnTo>
                      <a:pt x="624" y="25"/>
                    </a:lnTo>
                    <a:lnTo>
                      <a:pt x="626" y="25"/>
                    </a:lnTo>
                    <a:lnTo>
                      <a:pt x="627" y="25"/>
                    </a:lnTo>
                    <a:lnTo>
                      <a:pt x="629" y="23"/>
                    </a:lnTo>
                    <a:lnTo>
                      <a:pt x="631" y="23"/>
                    </a:lnTo>
                    <a:lnTo>
                      <a:pt x="632" y="23"/>
                    </a:lnTo>
                    <a:lnTo>
                      <a:pt x="634" y="23"/>
                    </a:lnTo>
                    <a:lnTo>
                      <a:pt x="635" y="25"/>
                    </a:lnTo>
                    <a:lnTo>
                      <a:pt x="637" y="23"/>
                    </a:lnTo>
                    <a:lnTo>
                      <a:pt x="639" y="23"/>
                    </a:lnTo>
                    <a:lnTo>
                      <a:pt x="640" y="23"/>
                    </a:lnTo>
                    <a:lnTo>
                      <a:pt x="640" y="25"/>
                    </a:lnTo>
                    <a:lnTo>
                      <a:pt x="642" y="25"/>
                    </a:lnTo>
                    <a:lnTo>
                      <a:pt x="643" y="23"/>
                    </a:lnTo>
                    <a:lnTo>
                      <a:pt x="643" y="25"/>
                    </a:lnTo>
                    <a:lnTo>
                      <a:pt x="645" y="25"/>
                    </a:lnTo>
                    <a:lnTo>
                      <a:pt x="645" y="23"/>
                    </a:lnTo>
                    <a:lnTo>
                      <a:pt x="646" y="23"/>
                    </a:lnTo>
                    <a:lnTo>
                      <a:pt x="648" y="23"/>
                    </a:lnTo>
                    <a:lnTo>
                      <a:pt x="650" y="23"/>
                    </a:lnTo>
                    <a:lnTo>
                      <a:pt x="650" y="22"/>
                    </a:lnTo>
                    <a:lnTo>
                      <a:pt x="651" y="22"/>
                    </a:lnTo>
                    <a:lnTo>
                      <a:pt x="651" y="20"/>
                    </a:lnTo>
                    <a:lnTo>
                      <a:pt x="653" y="20"/>
                    </a:lnTo>
                    <a:lnTo>
                      <a:pt x="654" y="22"/>
                    </a:lnTo>
                    <a:lnTo>
                      <a:pt x="656" y="22"/>
                    </a:lnTo>
                    <a:lnTo>
                      <a:pt x="658" y="22"/>
                    </a:lnTo>
                    <a:lnTo>
                      <a:pt x="659" y="22"/>
                    </a:lnTo>
                    <a:lnTo>
                      <a:pt x="659" y="20"/>
                    </a:lnTo>
                    <a:lnTo>
                      <a:pt x="661" y="19"/>
                    </a:lnTo>
                    <a:lnTo>
                      <a:pt x="661" y="17"/>
                    </a:lnTo>
                    <a:lnTo>
                      <a:pt x="661" y="15"/>
                    </a:lnTo>
                    <a:lnTo>
                      <a:pt x="662" y="15"/>
                    </a:lnTo>
                    <a:lnTo>
                      <a:pt x="664" y="14"/>
                    </a:lnTo>
                    <a:lnTo>
                      <a:pt x="665" y="14"/>
                    </a:lnTo>
                    <a:lnTo>
                      <a:pt x="665" y="15"/>
                    </a:lnTo>
                    <a:lnTo>
                      <a:pt x="667" y="15"/>
                    </a:lnTo>
                    <a:lnTo>
                      <a:pt x="669" y="15"/>
                    </a:lnTo>
                    <a:lnTo>
                      <a:pt x="670" y="14"/>
                    </a:lnTo>
                    <a:lnTo>
                      <a:pt x="678" y="9"/>
                    </a:lnTo>
                    <a:lnTo>
                      <a:pt x="680" y="9"/>
                    </a:lnTo>
                    <a:lnTo>
                      <a:pt x="681" y="9"/>
                    </a:lnTo>
                    <a:lnTo>
                      <a:pt x="683" y="7"/>
                    </a:lnTo>
                    <a:lnTo>
                      <a:pt x="684" y="7"/>
                    </a:lnTo>
                    <a:lnTo>
                      <a:pt x="686" y="7"/>
                    </a:lnTo>
                    <a:lnTo>
                      <a:pt x="686" y="6"/>
                    </a:lnTo>
                    <a:lnTo>
                      <a:pt x="688" y="6"/>
                    </a:lnTo>
                    <a:lnTo>
                      <a:pt x="688" y="7"/>
                    </a:lnTo>
                    <a:lnTo>
                      <a:pt x="689" y="7"/>
                    </a:lnTo>
                    <a:lnTo>
                      <a:pt x="691" y="7"/>
                    </a:lnTo>
                    <a:lnTo>
                      <a:pt x="692" y="7"/>
                    </a:lnTo>
                    <a:lnTo>
                      <a:pt x="692" y="6"/>
                    </a:lnTo>
                    <a:lnTo>
                      <a:pt x="694" y="6"/>
                    </a:lnTo>
                    <a:lnTo>
                      <a:pt x="696" y="4"/>
                    </a:lnTo>
                    <a:lnTo>
                      <a:pt x="697" y="4"/>
                    </a:lnTo>
                    <a:lnTo>
                      <a:pt x="699" y="4"/>
                    </a:lnTo>
                    <a:lnTo>
                      <a:pt x="700" y="4"/>
                    </a:lnTo>
                    <a:lnTo>
                      <a:pt x="702" y="3"/>
                    </a:lnTo>
                    <a:lnTo>
                      <a:pt x="703" y="3"/>
                    </a:lnTo>
                    <a:lnTo>
                      <a:pt x="703" y="1"/>
                    </a:lnTo>
                    <a:lnTo>
                      <a:pt x="705" y="3"/>
                    </a:lnTo>
                    <a:lnTo>
                      <a:pt x="707" y="3"/>
                    </a:lnTo>
                    <a:lnTo>
                      <a:pt x="708" y="3"/>
                    </a:lnTo>
                    <a:lnTo>
                      <a:pt x="708" y="1"/>
                    </a:lnTo>
                    <a:lnTo>
                      <a:pt x="710" y="1"/>
                    </a:lnTo>
                    <a:lnTo>
                      <a:pt x="711" y="1"/>
                    </a:lnTo>
                    <a:lnTo>
                      <a:pt x="713" y="1"/>
                    </a:lnTo>
                    <a:lnTo>
                      <a:pt x="715" y="1"/>
                    </a:lnTo>
                    <a:lnTo>
                      <a:pt x="716" y="1"/>
                    </a:lnTo>
                    <a:lnTo>
                      <a:pt x="718" y="1"/>
                    </a:lnTo>
                    <a:lnTo>
                      <a:pt x="719" y="1"/>
                    </a:lnTo>
                    <a:lnTo>
                      <a:pt x="719" y="0"/>
                    </a:lnTo>
                    <a:lnTo>
                      <a:pt x="721" y="1"/>
                    </a:lnTo>
                    <a:lnTo>
                      <a:pt x="722" y="0"/>
                    </a:lnTo>
                    <a:lnTo>
                      <a:pt x="724" y="0"/>
                    </a:lnTo>
                    <a:lnTo>
                      <a:pt x="726" y="0"/>
                    </a:lnTo>
                    <a:lnTo>
                      <a:pt x="726" y="1"/>
                    </a:lnTo>
                    <a:lnTo>
                      <a:pt x="727" y="1"/>
                    </a:lnTo>
                    <a:lnTo>
                      <a:pt x="727" y="3"/>
                    </a:lnTo>
                    <a:lnTo>
                      <a:pt x="729" y="3"/>
                    </a:lnTo>
                    <a:lnTo>
                      <a:pt x="729" y="4"/>
                    </a:lnTo>
                    <a:lnTo>
                      <a:pt x="730" y="4"/>
                    </a:lnTo>
                    <a:lnTo>
                      <a:pt x="732" y="4"/>
                    </a:lnTo>
                    <a:lnTo>
                      <a:pt x="734" y="6"/>
                    </a:lnTo>
                    <a:lnTo>
                      <a:pt x="734" y="7"/>
                    </a:lnTo>
                    <a:lnTo>
                      <a:pt x="735" y="7"/>
                    </a:lnTo>
                    <a:lnTo>
                      <a:pt x="737" y="6"/>
                    </a:lnTo>
                    <a:lnTo>
                      <a:pt x="738" y="6"/>
                    </a:lnTo>
                    <a:lnTo>
                      <a:pt x="738" y="4"/>
                    </a:lnTo>
                    <a:lnTo>
                      <a:pt x="740" y="4"/>
                    </a:lnTo>
                    <a:lnTo>
                      <a:pt x="741" y="4"/>
                    </a:lnTo>
                    <a:lnTo>
                      <a:pt x="743" y="4"/>
                    </a:lnTo>
                    <a:lnTo>
                      <a:pt x="745" y="6"/>
                    </a:lnTo>
                    <a:lnTo>
                      <a:pt x="746" y="6"/>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54" name="Freeform 134"/>
              <p:cNvSpPr>
                <a:spLocks/>
              </p:cNvSpPr>
              <p:nvPr/>
            </p:nvSpPr>
            <p:spPr bwMode="auto">
              <a:xfrm>
                <a:off x="3220" y="1476"/>
                <a:ext cx="35" cy="11"/>
              </a:xfrm>
              <a:custGeom>
                <a:avLst/>
                <a:gdLst>
                  <a:gd name="T0" fmla="*/ 0 w 35"/>
                  <a:gd name="T1" fmla="*/ 10 h 11"/>
                  <a:gd name="T2" fmla="*/ 2 w 35"/>
                  <a:gd name="T3" fmla="*/ 10 h 11"/>
                  <a:gd name="T4" fmla="*/ 3 w 35"/>
                  <a:gd name="T5" fmla="*/ 10 h 11"/>
                  <a:gd name="T6" fmla="*/ 5 w 35"/>
                  <a:gd name="T7" fmla="*/ 11 h 11"/>
                  <a:gd name="T8" fmla="*/ 5 w 35"/>
                  <a:gd name="T9" fmla="*/ 10 h 11"/>
                  <a:gd name="T10" fmla="*/ 7 w 35"/>
                  <a:gd name="T11" fmla="*/ 10 h 11"/>
                  <a:gd name="T12" fmla="*/ 8 w 35"/>
                  <a:gd name="T13" fmla="*/ 10 h 11"/>
                  <a:gd name="T14" fmla="*/ 10 w 35"/>
                  <a:gd name="T15" fmla="*/ 10 h 11"/>
                  <a:gd name="T16" fmla="*/ 11 w 35"/>
                  <a:gd name="T17" fmla="*/ 10 h 11"/>
                  <a:gd name="T18" fmla="*/ 13 w 35"/>
                  <a:gd name="T19" fmla="*/ 8 h 11"/>
                  <a:gd name="T20" fmla="*/ 14 w 35"/>
                  <a:gd name="T21" fmla="*/ 7 h 11"/>
                  <a:gd name="T22" fmla="*/ 16 w 35"/>
                  <a:gd name="T23" fmla="*/ 7 h 11"/>
                  <a:gd name="T24" fmla="*/ 18 w 35"/>
                  <a:gd name="T25" fmla="*/ 7 h 11"/>
                  <a:gd name="T26" fmla="*/ 19 w 35"/>
                  <a:gd name="T27" fmla="*/ 7 h 11"/>
                  <a:gd name="T28" fmla="*/ 21 w 35"/>
                  <a:gd name="T29" fmla="*/ 7 h 11"/>
                  <a:gd name="T30" fmla="*/ 21 w 35"/>
                  <a:gd name="T31" fmla="*/ 5 h 11"/>
                  <a:gd name="T32" fmla="*/ 22 w 35"/>
                  <a:gd name="T33" fmla="*/ 5 h 11"/>
                  <a:gd name="T34" fmla="*/ 24 w 35"/>
                  <a:gd name="T35" fmla="*/ 5 h 11"/>
                  <a:gd name="T36" fmla="*/ 24 w 35"/>
                  <a:gd name="T37" fmla="*/ 4 h 11"/>
                  <a:gd name="T38" fmla="*/ 26 w 35"/>
                  <a:gd name="T39" fmla="*/ 2 h 11"/>
                  <a:gd name="T40" fmla="*/ 26 w 35"/>
                  <a:gd name="T41" fmla="*/ 4 h 11"/>
                  <a:gd name="T42" fmla="*/ 27 w 35"/>
                  <a:gd name="T43" fmla="*/ 4 h 11"/>
                  <a:gd name="T44" fmla="*/ 29 w 35"/>
                  <a:gd name="T45" fmla="*/ 4 h 11"/>
                  <a:gd name="T46" fmla="*/ 30 w 35"/>
                  <a:gd name="T47" fmla="*/ 4 h 11"/>
                  <a:gd name="T48" fmla="*/ 30 w 35"/>
                  <a:gd name="T49" fmla="*/ 2 h 11"/>
                  <a:gd name="T50" fmla="*/ 32 w 35"/>
                  <a:gd name="T51" fmla="*/ 2 h 11"/>
                  <a:gd name="T52" fmla="*/ 33 w 35"/>
                  <a:gd name="T53" fmla="*/ 2 h 11"/>
                  <a:gd name="T54" fmla="*/ 35 w 35"/>
                  <a:gd name="T55" fmla="*/ 0 h 11"/>
                  <a:gd name="T56" fmla="*/ 35 w 35"/>
                  <a:gd name="T57"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11">
                    <a:moveTo>
                      <a:pt x="0" y="10"/>
                    </a:moveTo>
                    <a:lnTo>
                      <a:pt x="2" y="10"/>
                    </a:lnTo>
                    <a:lnTo>
                      <a:pt x="3" y="10"/>
                    </a:lnTo>
                    <a:lnTo>
                      <a:pt x="5" y="11"/>
                    </a:lnTo>
                    <a:lnTo>
                      <a:pt x="5" y="10"/>
                    </a:lnTo>
                    <a:lnTo>
                      <a:pt x="7" y="10"/>
                    </a:lnTo>
                    <a:lnTo>
                      <a:pt x="8" y="10"/>
                    </a:lnTo>
                    <a:lnTo>
                      <a:pt x="10" y="10"/>
                    </a:lnTo>
                    <a:lnTo>
                      <a:pt x="11" y="10"/>
                    </a:lnTo>
                    <a:lnTo>
                      <a:pt x="13" y="8"/>
                    </a:lnTo>
                    <a:lnTo>
                      <a:pt x="14" y="7"/>
                    </a:lnTo>
                    <a:lnTo>
                      <a:pt x="16" y="7"/>
                    </a:lnTo>
                    <a:lnTo>
                      <a:pt x="18" y="7"/>
                    </a:lnTo>
                    <a:lnTo>
                      <a:pt x="19" y="7"/>
                    </a:lnTo>
                    <a:lnTo>
                      <a:pt x="21" y="7"/>
                    </a:lnTo>
                    <a:lnTo>
                      <a:pt x="21" y="5"/>
                    </a:lnTo>
                    <a:lnTo>
                      <a:pt x="22" y="5"/>
                    </a:lnTo>
                    <a:lnTo>
                      <a:pt x="24" y="5"/>
                    </a:lnTo>
                    <a:lnTo>
                      <a:pt x="24" y="4"/>
                    </a:lnTo>
                    <a:lnTo>
                      <a:pt x="26" y="2"/>
                    </a:lnTo>
                    <a:lnTo>
                      <a:pt x="26" y="4"/>
                    </a:lnTo>
                    <a:lnTo>
                      <a:pt x="27" y="4"/>
                    </a:lnTo>
                    <a:lnTo>
                      <a:pt x="29" y="4"/>
                    </a:lnTo>
                    <a:lnTo>
                      <a:pt x="30" y="4"/>
                    </a:lnTo>
                    <a:lnTo>
                      <a:pt x="30" y="2"/>
                    </a:lnTo>
                    <a:lnTo>
                      <a:pt x="32" y="2"/>
                    </a:lnTo>
                    <a:lnTo>
                      <a:pt x="33" y="2"/>
                    </a:lnTo>
                    <a:lnTo>
                      <a:pt x="35" y="0"/>
                    </a:lnTo>
                    <a:lnTo>
                      <a:pt x="35" y="2"/>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55" name="Freeform 135"/>
              <p:cNvSpPr>
                <a:spLocks noEditPoints="1"/>
              </p:cNvSpPr>
              <p:nvPr/>
            </p:nvSpPr>
            <p:spPr bwMode="auto">
              <a:xfrm>
                <a:off x="4383" y="1554"/>
                <a:ext cx="703" cy="651"/>
              </a:xfrm>
              <a:custGeom>
                <a:avLst/>
                <a:gdLst>
                  <a:gd name="T0" fmla="*/ 660 w 703"/>
                  <a:gd name="T1" fmla="*/ 360 h 651"/>
                  <a:gd name="T2" fmla="*/ 673 w 703"/>
                  <a:gd name="T3" fmla="*/ 355 h 651"/>
                  <a:gd name="T4" fmla="*/ 683 w 703"/>
                  <a:gd name="T5" fmla="*/ 322 h 651"/>
                  <a:gd name="T6" fmla="*/ 683 w 703"/>
                  <a:gd name="T7" fmla="*/ 317 h 651"/>
                  <a:gd name="T8" fmla="*/ 679 w 703"/>
                  <a:gd name="T9" fmla="*/ 288 h 651"/>
                  <a:gd name="T10" fmla="*/ 678 w 703"/>
                  <a:gd name="T11" fmla="*/ 277 h 651"/>
                  <a:gd name="T12" fmla="*/ 634 w 703"/>
                  <a:gd name="T13" fmla="*/ 133 h 651"/>
                  <a:gd name="T14" fmla="*/ 694 w 703"/>
                  <a:gd name="T15" fmla="*/ 185 h 651"/>
                  <a:gd name="T16" fmla="*/ 700 w 703"/>
                  <a:gd name="T17" fmla="*/ 206 h 651"/>
                  <a:gd name="T18" fmla="*/ 689 w 703"/>
                  <a:gd name="T19" fmla="*/ 203 h 651"/>
                  <a:gd name="T20" fmla="*/ 689 w 703"/>
                  <a:gd name="T21" fmla="*/ 222 h 651"/>
                  <a:gd name="T22" fmla="*/ 697 w 703"/>
                  <a:gd name="T23" fmla="*/ 234 h 651"/>
                  <a:gd name="T24" fmla="*/ 691 w 703"/>
                  <a:gd name="T25" fmla="*/ 261 h 651"/>
                  <a:gd name="T26" fmla="*/ 683 w 703"/>
                  <a:gd name="T27" fmla="*/ 252 h 651"/>
                  <a:gd name="T28" fmla="*/ 683 w 703"/>
                  <a:gd name="T29" fmla="*/ 244 h 651"/>
                  <a:gd name="T30" fmla="*/ 672 w 703"/>
                  <a:gd name="T31" fmla="*/ 263 h 651"/>
                  <a:gd name="T32" fmla="*/ 675 w 703"/>
                  <a:gd name="T33" fmla="*/ 274 h 651"/>
                  <a:gd name="T34" fmla="*/ 672 w 703"/>
                  <a:gd name="T35" fmla="*/ 285 h 651"/>
                  <a:gd name="T36" fmla="*/ 664 w 703"/>
                  <a:gd name="T37" fmla="*/ 298 h 651"/>
                  <a:gd name="T38" fmla="*/ 664 w 703"/>
                  <a:gd name="T39" fmla="*/ 309 h 651"/>
                  <a:gd name="T40" fmla="*/ 672 w 703"/>
                  <a:gd name="T41" fmla="*/ 328 h 651"/>
                  <a:gd name="T42" fmla="*/ 664 w 703"/>
                  <a:gd name="T43" fmla="*/ 347 h 651"/>
                  <a:gd name="T44" fmla="*/ 648 w 703"/>
                  <a:gd name="T45" fmla="*/ 364 h 651"/>
                  <a:gd name="T46" fmla="*/ 654 w 703"/>
                  <a:gd name="T47" fmla="*/ 375 h 651"/>
                  <a:gd name="T48" fmla="*/ 641 w 703"/>
                  <a:gd name="T49" fmla="*/ 409 h 651"/>
                  <a:gd name="T50" fmla="*/ 624 w 703"/>
                  <a:gd name="T51" fmla="*/ 428 h 651"/>
                  <a:gd name="T52" fmla="*/ 626 w 703"/>
                  <a:gd name="T53" fmla="*/ 450 h 651"/>
                  <a:gd name="T54" fmla="*/ 610 w 703"/>
                  <a:gd name="T55" fmla="*/ 480 h 651"/>
                  <a:gd name="T56" fmla="*/ 597 w 703"/>
                  <a:gd name="T57" fmla="*/ 501 h 651"/>
                  <a:gd name="T58" fmla="*/ 591 w 703"/>
                  <a:gd name="T59" fmla="*/ 527 h 651"/>
                  <a:gd name="T60" fmla="*/ 575 w 703"/>
                  <a:gd name="T61" fmla="*/ 558 h 651"/>
                  <a:gd name="T62" fmla="*/ 569 w 703"/>
                  <a:gd name="T63" fmla="*/ 594 h 651"/>
                  <a:gd name="T64" fmla="*/ 534 w 703"/>
                  <a:gd name="T65" fmla="*/ 597 h 651"/>
                  <a:gd name="T66" fmla="*/ 497 w 703"/>
                  <a:gd name="T67" fmla="*/ 611 h 651"/>
                  <a:gd name="T68" fmla="*/ 466 w 703"/>
                  <a:gd name="T69" fmla="*/ 616 h 651"/>
                  <a:gd name="T70" fmla="*/ 437 w 703"/>
                  <a:gd name="T71" fmla="*/ 608 h 651"/>
                  <a:gd name="T72" fmla="*/ 405 w 703"/>
                  <a:gd name="T73" fmla="*/ 594 h 651"/>
                  <a:gd name="T74" fmla="*/ 375 w 703"/>
                  <a:gd name="T75" fmla="*/ 581 h 651"/>
                  <a:gd name="T76" fmla="*/ 352 w 703"/>
                  <a:gd name="T77" fmla="*/ 565 h 651"/>
                  <a:gd name="T78" fmla="*/ 314 w 703"/>
                  <a:gd name="T79" fmla="*/ 567 h 651"/>
                  <a:gd name="T80" fmla="*/ 280 w 703"/>
                  <a:gd name="T81" fmla="*/ 567 h 651"/>
                  <a:gd name="T82" fmla="*/ 241 w 703"/>
                  <a:gd name="T83" fmla="*/ 578 h 651"/>
                  <a:gd name="T84" fmla="*/ 173 w 703"/>
                  <a:gd name="T85" fmla="*/ 591 h 651"/>
                  <a:gd name="T86" fmla="*/ 103 w 703"/>
                  <a:gd name="T87" fmla="*/ 548 h 651"/>
                  <a:gd name="T88" fmla="*/ 95 w 703"/>
                  <a:gd name="T89" fmla="*/ 588 h 651"/>
                  <a:gd name="T90" fmla="*/ 68 w 703"/>
                  <a:gd name="T91" fmla="*/ 610 h 651"/>
                  <a:gd name="T92" fmla="*/ 22 w 703"/>
                  <a:gd name="T93" fmla="*/ 640 h 651"/>
                  <a:gd name="T94" fmla="*/ 14 w 703"/>
                  <a:gd name="T95" fmla="*/ 608 h 651"/>
                  <a:gd name="T96" fmla="*/ 0 w 703"/>
                  <a:gd name="T97" fmla="*/ 581 h 651"/>
                  <a:gd name="T98" fmla="*/ 74 w 703"/>
                  <a:gd name="T99" fmla="*/ 455 h 651"/>
                  <a:gd name="T100" fmla="*/ 111 w 703"/>
                  <a:gd name="T101" fmla="*/ 348 h 651"/>
                  <a:gd name="T102" fmla="*/ 136 w 703"/>
                  <a:gd name="T103" fmla="*/ 320 h 651"/>
                  <a:gd name="T104" fmla="*/ 165 w 703"/>
                  <a:gd name="T105" fmla="*/ 287 h 651"/>
                  <a:gd name="T106" fmla="*/ 200 w 703"/>
                  <a:gd name="T107" fmla="*/ 284 h 651"/>
                  <a:gd name="T108" fmla="*/ 285 w 703"/>
                  <a:gd name="T109" fmla="*/ 276 h 651"/>
                  <a:gd name="T110" fmla="*/ 307 w 703"/>
                  <a:gd name="T111" fmla="*/ 257 h 651"/>
                  <a:gd name="T112" fmla="*/ 304 w 703"/>
                  <a:gd name="T113" fmla="*/ 176 h 651"/>
                  <a:gd name="T114" fmla="*/ 336 w 703"/>
                  <a:gd name="T115" fmla="*/ 147 h 651"/>
                  <a:gd name="T116" fmla="*/ 361 w 703"/>
                  <a:gd name="T117" fmla="*/ 114 h 651"/>
                  <a:gd name="T118" fmla="*/ 385 w 703"/>
                  <a:gd name="T119" fmla="*/ 79 h 651"/>
                  <a:gd name="T120" fmla="*/ 409 w 703"/>
                  <a:gd name="T121" fmla="*/ 46 h 651"/>
                  <a:gd name="T122" fmla="*/ 432 w 703"/>
                  <a:gd name="T123" fmla="*/ 11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3" h="651">
                    <a:moveTo>
                      <a:pt x="659" y="366"/>
                    </a:moveTo>
                    <a:lnTo>
                      <a:pt x="657" y="366"/>
                    </a:lnTo>
                    <a:lnTo>
                      <a:pt x="659" y="366"/>
                    </a:lnTo>
                    <a:close/>
                    <a:moveTo>
                      <a:pt x="660" y="363"/>
                    </a:moveTo>
                    <a:lnTo>
                      <a:pt x="662" y="363"/>
                    </a:lnTo>
                    <a:lnTo>
                      <a:pt x="660" y="363"/>
                    </a:lnTo>
                    <a:lnTo>
                      <a:pt x="660" y="364"/>
                    </a:lnTo>
                    <a:lnTo>
                      <a:pt x="659" y="364"/>
                    </a:lnTo>
                    <a:lnTo>
                      <a:pt x="660" y="364"/>
                    </a:lnTo>
                    <a:lnTo>
                      <a:pt x="660" y="363"/>
                    </a:lnTo>
                    <a:close/>
                    <a:moveTo>
                      <a:pt x="659" y="358"/>
                    </a:moveTo>
                    <a:lnTo>
                      <a:pt x="660" y="358"/>
                    </a:lnTo>
                    <a:lnTo>
                      <a:pt x="660" y="360"/>
                    </a:lnTo>
                    <a:lnTo>
                      <a:pt x="660" y="361"/>
                    </a:lnTo>
                    <a:lnTo>
                      <a:pt x="660" y="360"/>
                    </a:lnTo>
                    <a:lnTo>
                      <a:pt x="659" y="360"/>
                    </a:lnTo>
                    <a:lnTo>
                      <a:pt x="659" y="358"/>
                    </a:lnTo>
                    <a:close/>
                    <a:moveTo>
                      <a:pt x="664" y="358"/>
                    </a:moveTo>
                    <a:lnTo>
                      <a:pt x="664" y="360"/>
                    </a:lnTo>
                    <a:lnTo>
                      <a:pt x="662" y="360"/>
                    </a:lnTo>
                    <a:lnTo>
                      <a:pt x="664" y="360"/>
                    </a:lnTo>
                    <a:lnTo>
                      <a:pt x="664" y="361"/>
                    </a:lnTo>
                    <a:lnTo>
                      <a:pt x="662" y="361"/>
                    </a:lnTo>
                    <a:lnTo>
                      <a:pt x="664" y="361"/>
                    </a:lnTo>
                    <a:lnTo>
                      <a:pt x="662" y="361"/>
                    </a:lnTo>
                    <a:lnTo>
                      <a:pt x="662" y="363"/>
                    </a:lnTo>
                    <a:lnTo>
                      <a:pt x="662" y="361"/>
                    </a:lnTo>
                    <a:lnTo>
                      <a:pt x="662" y="360"/>
                    </a:lnTo>
                    <a:lnTo>
                      <a:pt x="660" y="360"/>
                    </a:lnTo>
                    <a:lnTo>
                      <a:pt x="662" y="360"/>
                    </a:lnTo>
                    <a:lnTo>
                      <a:pt x="662" y="358"/>
                    </a:lnTo>
                    <a:lnTo>
                      <a:pt x="664" y="358"/>
                    </a:lnTo>
                    <a:lnTo>
                      <a:pt x="664" y="360"/>
                    </a:lnTo>
                    <a:lnTo>
                      <a:pt x="664" y="358"/>
                    </a:lnTo>
                    <a:close/>
                    <a:moveTo>
                      <a:pt x="672" y="358"/>
                    </a:moveTo>
                    <a:lnTo>
                      <a:pt x="673" y="358"/>
                    </a:lnTo>
                    <a:lnTo>
                      <a:pt x="673" y="360"/>
                    </a:lnTo>
                    <a:lnTo>
                      <a:pt x="672" y="360"/>
                    </a:lnTo>
                    <a:lnTo>
                      <a:pt x="672" y="358"/>
                    </a:lnTo>
                    <a:close/>
                    <a:moveTo>
                      <a:pt x="672" y="356"/>
                    </a:moveTo>
                    <a:lnTo>
                      <a:pt x="673" y="356"/>
                    </a:lnTo>
                    <a:lnTo>
                      <a:pt x="673" y="358"/>
                    </a:lnTo>
                    <a:lnTo>
                      <a:pt x="672" y="358"/>
                    </a:lnTo>
                    <a:lnTo>
                      <a:pt x="672" y="356"/>
                    </a:lnTo>
                    <a:close/>
                    <a:moveTo>
                      <a:pt x="678" y="342"/>
                    </a:moveTo>
                    <a:lnTo>
                      <a:pt x="678" y="344"/>
                    </a:lnTo>
                    <a:lnTo>
                      <a:pt x="679" y="344"/>
                    </a:lnTo>
                    <a:lnTo>
                      <a:pt x="678" y="344"/>
                    </a:lnTo>
                    <a:lnTo>
                      <a:pt x="678" y="345"/>
                    </a:lnTo>
                    <a:lnTo>
                      <a:pt x="678" y="347"/>
                    </a:lnTo>
                    <a:lnTo>
                      <a:pt x="676" y="347"/>
                    </a:lnTo>
                    <a:lnTo>
                      <a:pt x="676" y="348"/>
                    </a:lnTo>
                    <a:lnTo>
                      <a:pt x="676" y="350"/>
                    </a:lnTo>
                    <a:lnTo>
                      <a:pt x="675" y="350"/>
                    </a:lnTo>
                    <a:lnTo>
                      <a:pt x="675" y="352"/>
                    </a:lnTo>
                    <a:lnTo>
                      <a:pt x="675" y="353"/>
                    </a:lnTo>
                    <a:lnTo>
                      <a:pt x="673" y="353"/>
                    </a:lnTo>
                    <a:lnTo>
                      <a:pt x="673" y="355"/>
                    </a:lnTo>
                    <a:lnTo>
                      <a:pt x="673" y="353"/>
                    </a:lnTo>
                    <a:lnTo>
                      <a:pt x="673" y="355"/>
                    </a:lnTo>
                    <a:lnTo>
                      <a:pt x="672" y="355"/>
                    </a:lnTo>
                    <a:lnTo>
                      <a:pt x="672" y="356"/>
                    </a:lnTo>
                    <a:lnTo>
                      <a:pt x="672" y="355"/>
                    </a:lnTo>
                    <a:lnTo>
                      <a:pt x="670" y="355"/>
                    </a:lnTo>
                    <a:lnTo>
                      <a:pt x="672" y="355"/>
                    </a:lnTo>
                    <a:lnTo>
                      <a:pt x="672" y="353"/>
                    </a:lnTo>
                    <a:lnTo>
                      <a:pt x="673" y="353"/>
                    </a:lnTo>
                    <a:lnTo>
                      <a:pt x="673" y="352"/>
                    </a:lnTo>
                    <a:lnTo>
                      <a:pt x="673" y="350"/>
                    </a:lnTo>
                    <a:lnTo>
                      <a:pt x="675" y="350"/>
                    </a:lnTo>
                    <a:lnTo>
                      <a:pt x="673" y="350"/>
                    </a:lnTo>
                    <a:lnTo>
                      <a:pt x="675" y="350"/>
                    </a:lnTo>
                    <a:lnTo>
                      <a:pt x="675" y="348"/>
                    </a:lnTo>
                    <a:lnTo>
                      <a:pt x="675" y="347"/>
                    </a:lnTo>
                    <a:lnTo>
                      <a:pt x="675" y="345"/>
                    </a:lnTo>
                    <a:lnTo>
                      <a:pt x="676" y="345"/>
                    </a:lnTo>
                    <a:lnTo>
                      <a:pt x="678" y="345"/>
                    </a:lnTo>
                    <a:lnTo>
                      <a:pt x="678" y="344"/>
                    </a:lnTo>
                    <a:lnTo>
                      <a:pt x="678" y="342"/>
                    </a:lnTo>
                    <a:close/>
                    <a:moveTo>
                      <a:pt x="683" y="317"/>
                    </a:moveTo>
                    <a:lnTo>
                      <a:pt x="684" y="317"/>
                    </a:lnTo>
                    <a:lnTo>
                      <a:pt x="684" y="318"/>
                    </a:lnTo>
                    <a:lnTo>
                      <a:pt x="683" y="318"/>
                    </a:lnTo>
                    <a:lnTo>
                      <a:pt x="683" y="317"/>
                    </a:lnTo>
                    <a:lnTo>
                      <a:pt x="683" y="318"/>
                    </a:lnTo>
                    <a:lnTo>
                      <a:pt x="683" y="320"/>
                    </a:lnTo>
                    <a:lnTo>
                      <a:pt x="683" y="322"/>
                    </a:lnTo>
                    <a:lnTo>
                      <a:pt x="683" y="323"/>
                    </a:lnTo>
                    <a:lnTo>
                      <a:pt x="683" y="325"/>
                    </a:lnTo>
                    <a:lnTo>
                      <a:pt x="683" y="326"/>
                    </a:lnTo>
                    <a:lnTo>
                      <a:pt x="683" y="328"/>
                    </a:lnTo>
                    <a:lnTo>
                      <a:pt x="684" y="328"/>
                    </a:lnTo>
                    <a:lnTo>
                      <a:pt x="683" y="328"/>
                    </a:lnTo>
                    <a:lnTo>
                      <a:pt x="684" y="328"/>
                    </a:lnTo>
                    <a:lnTo>
                      <a:pt x="684" y="329"/>
                    </a:lnTo>
                    <a:lnTo>
                      <a:pt x="683" y="329"/>
                    </a:lnTo>
                    <a:lnTo>
                      <a:pt x="681" y="329"/>
                    </a:lnTo>
                    <a:lnTo>
                      <a:pt x="679" y="329"/>
                    </a:lnTo>
                    <a:lnTo>
                      <a:pt x="679" y="328"/>
                    </a:lnTo>
                    <a:lnTo>
                      <a:pt x="679" y="326"/>
                    </a:lnTo>
                    <a:lnTo>
                      <a:pt x="679" y="325"/>
                    </a:lnTo>
                    <a:lnTo>
                      <a:pt x="678" y="325"/>
                    </a:lnTo>
                    <a:lnTo>
                      <a:pt x="679" y="325"/>
                    </a:lnTo>
                    <a:lnTo>
                      <a:pt x="679" y="323"/>
                    </a:lnTo>
                    <a:lnTo>
                      <a:pt x="678" y="323"/>
                    </a:lnTo>
                    <a:lnTo>
                      <a:pt x="678" y="322"/>
                    </a:lnTo>
                    <a:lnTo>
                      <a:pt x="678" y="320"/>
                    </a:lnTo>
                    <a:lnTo>
                      <a:pt x="679" y="320"/>
                    </a:lnTo>
                    <a:lnTo>
                      <a:pt x="679" y="318"/>
                    </a:lnTo>
                    <a:lnTo>
                      <a:pt x="681" y="318"/>
                    </a:lnTo>
                    <a:lnTo>
                      <a:pt x="683" y="318"/>
                    </a:lnTo>
                    <a:lnTo>
                      <a:pt x="683" y="317"/>
                    </a:lnTo>
                    <a:close/>
                    <a:moveTo>
                      <a:pt x="683" y="315"/>
                    </a:moveTo>
                    <a:lnTo>
                      <a:pt x="684" y="315"/>
                    </a:lnTo>
                    <a:lnTo>
                      <a:pt x="684" y="317"/>
                    </a:lnTo>
                    <a:lnTo>
                      <a:pt x="683" y="317"/>
                    </a:lnTo>
                    <a:lnTo>
                      <a:pt x="683" y="315"/>
                    </a:lnTo>
                    <a:lnTo>
                      <a:pt x="683" y="317"/>
                    </a:lnTo>
                    <a:lnTo>
                      <a:pt x="683" y="315"/>
                    </a:lnTo>
                    <a:close/>
                    <a:moveTo>
                      <a:pt x="665" y="304"/>
                    </a:moveTo>
                    <a:lnTo>
                      <a:pt x="665" y="306"/>
                    </a:lnTo>
                    <a:lnTo>
                      <a:pt x="664" y="306"/>
                    </a:lnTo>
                    <a:lnTo>
                      <a:pt x="662" y="306"/>
                    </a:lnTo>
                    <a:lnTo>
                      <a:pt x="664" y="306"/>
                    </a:lnTo>
                    <a:lnTo>
                      <a:pt x="664" y="304"/>
                    </a:lnTo>
                    <a:lnTo>
                      <a:pt x="665" y="304"/>
                    </a:lnTo>
                    <a:lnTo>
                      <a:pt x="664" y="304"/>
                    </a:lnTo>
                    <a:lnTo>
                      <a:pt x="665" y="304"/>
                    </a:lnTo>
                    <a:close/>
                    <a:moveTo>
                      <a:pt x="683" y="288"/>
                    </a:moveTo>
                    <a:lnTo>
                      <a:pt x="684" y="288"/>
                    </a:lnTo>
                    <a:lnTo>
                      <a:pt x="684" y="290"/>
                    </a:lnTo>
                    <a:lnTo>
                      <a:pt x="684" y="291"/>
                    </a:lnTo>
                    <a:lnTo>
                      <a:pt x="683" y="291"/>
                    </a:lnTo>
                    <a:lnTo>
                      <a:pt x="683" y="293"/>
                    </a:lnTo>
                    <a:lnTo>
                      <a:pt x="683" y="295"/>
                    </a:lnTo>
                    <a:lnTo>
                      <a:pt x="683" y="296"/>
                    </a:lnTo>
                    <a:lnTo>
                      <a:pt x="683" y="295"/>
                    </a:lnTo>
                    <a:lnTo>
                      <a:pt x="683" y="296"/>
                    </a:lnTo>
                    <a:lnTo>
                      <a:pt x="683" y="295"/>
                    </a:lnTo>
                    <a:lnTo>
                      <a:pt x="681" y="295"/>
                    </a:lnTo>
                    <a:lnTo>
                      <a:pt x="681" y="293"/>
                    </a:lnTo>
                    <a:lnTo>
                      <a:pt x="681" y="291"/>
                    </a:lnTo>
                    <a:lnTo>
                      <a:pt x="681" y="290"/>
                    </a:lnTo>
                    <a:lnTo>
                      <a:pt x="679" y="290"/>
                    </a:lnTo>
                    <a:lnTo>
                      <a:pt x="679" y="288"/>
                    </a:lnTo>
                    <a:lnTo>
                      <a:pt x="681" y="288"/>
                    </a:lnTo>
                    <a:lnTo>
                      <a:pt x="683" y="288"/>
                    </a:lnTo>
                    <a:close/>
                    <a:moveTo>
                      <a:pt x="686" y="272"/>
                    </a:moveTo>
                    <a:lnTo>
                      <a:pt x="686" y="274"/>
                    </a:lnTo>
                    <a:lnTo>
                      <a:pt x="687" y="274"/>
                    </a:lnTo>
                    <a:lnTo>
                      <a:pt x="687" y="276"/>
                    </a:lnTo>
                    <a:lnTo>
                      <a:pt x="687" y="277"/>
                    </a:lnTo>
                    <a:lnTo>
                      <a:pt x="686" y="277"/>
                    </a:lnTo>
                    <a:lnTo>
                      <a:pt x="686" y="279"/>
                    </a:lnTo>
                    <a:lnTo>
                      <a:pt x="686" y="280"/>
                    </a:lnTo>
                    <a:lnTo>
                      <a:pt x="686" y="282"/>
                    </a:lnTo>
                    <a:lnTo>
                      <a:pt x="686" y="284"/>
                    </a:lnTo>
                    <a:lnTo>
                      <a:pt x="686" y="285"/>
                    </a:lnTo>
                    <a:lnTo>
                      <a:pt x="684" y="285"/>
                    </a:lnTo>
                    <a:lnTo>
                      <a:pt x="683" y="285"/>
                    </a:lnTo>
                    <a:lnTo>
                      <a:pt x="681" y="285"/>
                    </a:lnTo>
                    <a:lnTo>
                      <a:pt x="681" y="284"/>
                    </a:lnTo>
                    <a:lnTo>
                      <a:pt x="683" y="284"/>
                    </a:lnTo>
                    <a:lnTo>
                      <a:pt x="683" y="282"/>
                    </a:lnTo>
                    <a:lnTo>
                      <a:pt x="683" y="280"/>
                    </a:lnTo>
                    <a:lnTo>
                      <a:pt x="684" y="280"/>
                    </a:lnTo>
                    <a:lnTo>
                      <a:pt x="683" y="280"/>
                    </a:lnTo>
                    <a:lnTo>
                      <a:pt x="683" y="279"/>
                    </a:lnTo>
                    <a:lnTo>
                      <a:pt x="683" y="280"/>
                    </a:lnTo>
                    <a:lnTo>
                      <a:pt x="681" y="280"/>
                    </a:lnTo>
                    <a:lnTo>
                      <a:pt x="679" y="280"/>
                    </a:lnTo>
                    <a:lnTo>
                      <a:pt x="678" y="280"/>
                    </a:lnTo>
                    <a:lnTo>
                      <a:pt x="678" y="279"/>
                    </a:lnTo>
                    <a:lnTo>
                      <a:pt x="678" y="277"/>
                    </a:lnTo>
                    <a:lnTo>
                      <a:pt x="678" y="279"/>
                    </a:lnTo>
                    <a:lnTo>
                      <a:pt x="678" y="277"/>
                    </a:lnTo>
                    <a:lnTo>
                      <a:pt x="676" y="277"/>
                    </a:lnTo>
                    <a:lnTo>
                      <a:pt x="678" y="277"/>
                    </a:lnTo>
                    <a:lnTo>
                      <a:pt x="676" y="277"/>
                    </a:lnTo>
                    <a:lnTo>
                      <a:pt x="676" y="276"/>
                    </a:lnTo>
                    <a:lnTo>
                      <a:pt x="678" y="276"/>
                    </a:lnTo>
                    <a:lnTo>
                      <a:pt x="678" y="274"/>
                    </a:lnTo>
                    <a:lnTo>
                      <a:pt x="679" y="274"/>
                    </a:lnTo>
                    <a:lnTo>
                      <a:pt x="681" y="274"/>
                    </a:lnTo>
                    <a:lnTo>
                      <a:pt x="681" y="276"/>
                    </a:lnTo>
                    <a:lnTo>
                      <a:pt x="683" y="276"/>
                    </a:lnTo>
                    <a:lnTo>
                      <a:pt x="684" y="276"/>
                    </a:lnTo>
                    <a:lnTo>
                      <a:pt x="684" y="274"/>
                    </a:lnTo>
                    <a:lnTo>
                      <a:pt x="686" y="274"/>
                    </a:lnTo>
                    <a:lnTo>
                      <a:pt x="686" y="272"/>
                    </a:lnTo>
                    <a:close/>
                    <a:moveTo>
                      <a:pt x="689" y="217"/>
                    </a:moveTo>
                    <a:lnTo>
                      <a:pt x="687" y="217"/>
                    </a:lnTo>
                    <a:lnTo>
                      <a:pt x="686" y="217"/>
                    </a:lnTo>
                    <a:lnTo>
                      <a:pt x="687" y="217"/>
                    </a:lnTo>
                    <a:lnTo>
                      <a:pt x="689" y="217"/>
                    </a:lnTo>
                    <a:close/>
                    <a:moveTo>
                      <a:pt x="451" y="8"/>
                    </a:moveTo>
                    <a:lnTo>
                      <a:pt x="451" y="9"/>
                    </a:lnTo>
                    <a:lnTo>
                      <a:pt x="477" y="27"/>
                    </a:lnTo>
                    <a:lnTo>
                      <a:pt x="480" y="28"/>
                    </a:lnTo>
                    <a:lnTo>
                      <a:pt x="556" y="79"/>
                    </a:lnTo>
                    <a:lnTo>
                      <a:pt x="565" y="86"/>
                    </a:lnTo>
                    <a:lnTo>
                      <a:pt x="567" y="87"/>
                    </a:lnTo>
                    <a:lnTo>
                      <a:pt x="634" y="133"/>
                    </a:lnTo>
                    <a:lnTo>
                      <a:pt x="635" y="135"/>
                    </a:lnTo>
                    <a:lnTo>
                      <a:pt x="659" y="150"/>
                    </a:lnTo>
                    <a:lnTo>
                      <a:pt x="660" y="152"/>
                    </a:lnTo>
                    <a:lnTo>
                      <a:pt x="667" y="155"/>
                    </a:lnTo>
                    <a:lnTo>
                      <a:pt x="670" y="158"/>
                    </a:lnTo>
                    <a:lnTo>
                      <a:pt x="681" y="165"/>
                    </a:lnTo>
                    <a:lnTo>
                      <a:pt x="692" y="174"/>
                    </a:lnTo>
                    <a:lnTo>
                      <a:pt x="694" y="174"/>
                    </a:lnTo>
                    <a:lnTo>
                      <a:pt x="695" y="176"/>
                    </a:lnTo>
                    <a:lnTo>
                      <a:pt x="695" y="177"/>
                    </a:lnTo>
                    <a:lnTo>
                      <a:pt x="697" y="177"/>
                    </a:lnTo>
                    <a:lnTo>
                      <a:pt x="698" y="177"/>
                    </a:lnTo>
                    <a:lnTo>
                      <a:pt x="698" y="179"/>
                    </a:lnTo>
                    <a:lnTo>
                      <a:pt x="700" y="181"/>
                    </a:lnTo>
                    <a:lnTo>
                      <a:pt x="702" y="181"/>
                    </a:lnTo>
                    <a:lnTo>
                      <a:pt x="703" y="181"/>
                    </a:lnTo>
                    <a:lnTo>
                      <a:pt x="702" y="181"/>
                    </a:lnTo>
                    <a:lnTo>
                      <a:pt x="702" y="182"/>
                    </a:lnTo>
                    <a:lnTo>
                      <a:pt x="702" y="184"/>
                    </a:lnTo>
                    <a:lnTo>
                      <a:pt x="700" y="184"/>
                    </a:lnTo>
                    <a:lnTo>
                      <a:pt x="698" y="184"/>
                    </a:lnTo>
                    <a:lnTo>
                      <a:pt x="697" y="184"/>
                    </a:lnTo>
                    <a:lnTo>
                      <a:pt x="695" y="184"/>
                    </a:lnTo>
                    <a:lnTo>
                      <a:pt x="694" y="184"/>
                    </a:lnTo>
                    <a:lnTo>
                      <a:pt x="694" y="185"/>
                    </a:lnTo>
                    <a:lnTo>
                      <a:pt x="692" y="185"/>
                    </a:lnTo>
                    <a:lnTo>
                      <a:pt x="691" y="185"/>
                    </a:lnTo>
                    <a:lnTo>
                      <a:pt x="692" y="185"/>
                    </a:lnTo>
                    <a:lnTo>
                      <a:pt x="694" y="185"/>
                    </a:lnTo>
                    <a:lnTo>
                      <a:pt x="695" y="185"/>
                    </a:lnTo>
                    <a:lnTo>
                      <a:pt x="695" y="184"/>
                    </a:lnTo>
                    <a:lnTo>
                      <a:pt x="697" y="184"/>
                    </a:lnTo>
                    <a:lnTo>
                      <a:pt x="698" y="184"/>
                    </a:lnTo>
                    <a:lnTo>
                      <a:pt x="698" y="185"/>
                    </a:lnTo>
                    <a:lnTo>
                      <a:pt x="698" y="187"/>
                    </a:lnTo>
                    <a:lnTo>
                      <a:pt x="697" y="187"/>
                    </a:lnTo>
                    <a:lnTo>
                      <a:pt x="697" y="188"/>
                    </a:lnTo>
                    <a:lnTo>
                      <a:pt x="697" y="190"/>
                    </a:lnTo>
                    <a:lnTo>
                      <a:pt x="697" y="192"/>
                    </a:lnTo>
                    <a:lnTo>
                      <a:pt x="697" y="193"/>
                    </a:lnTo>
                    <a:lnTo>
                      <a:pt x="697" y="195"/>
                    </a:lnTo>
                    <a:lnTo>
                      <a:pt x="698" y="195"/>
                    </a:lnTo>
                    <a:lnTo>
                      <a:pt x="698" y="193"/>
                    </a:lnTo>
                    <a:lnTo>
                      <a:pt x="698" y="195"/>
                    </a:lnTo>
                    <a:lnTo>
                      <a:pt x="698" y="196"/>
                    </a:lnTo>
                    <a:lnTo>
                      <a:pt x="698" y="198"/>
                    </a:lnTo>
                    <a:lnTo>
                      <a:pt x="698" y="200"/>
                    </a:lnTo>
                    <a:lnTo>
                      <a:pt x="698" y="201"/>
                    </a:lnTo>
                    <a:lnTo>
                      <a:pt x="700" y="201"/>
                    </a:lnTo>
                    <a:lnTo>
                      <a:pt x="698" y="201"/>
                    </a:lnTo>
                    <a:lnTo>
                      <a:pt x="700" y="201"/>
                    </a:lnTo>
                    <a:lnTo>
                      <a:pt x="700" y="203"/>
                    </a:lnTo>
                    <a:lnTo>
                      <a:pt x="698" y="203"/>
                    </a:lnTo>
                    <a:lnTo>
                      <a:pt x="700" y="203"/>
                    </a:lnTo>
                    <a:lnTo>
                      <a:pt x="700" y="204"/>
                    </a:lnTo>
                    <a:lnTo>
                      <a:pt x="698" y="204"/>
                    </a:lnTo>
                    <a:lnTo>
                      <a:pt x="700" y="204"/>
                    </a:lnTo>
                    <a:lnTo>
                      <a:pt x="700" y="206"/>
                    </a:lnTo>
                    <a:lnTo>
                      <a:pt x="698" y="206"/>
                    </a:lnTo>
                    <a:lnTo>
                      <a:pt x="698" y="207"/>
                    </a:lnTo>
                    <a:lnTo>
                      <a:pt x="698" y="209"/>
                    </a:lnTo>
                    <a:lnTo>
                      <a:pt x="700" y="209"/>
                    </a:lnTo>
                    <a:lnTo>
                      <a:pt x="698" y="209"/>
                    </a:lnTo>
                    <a:lnTo>
                      <a:pt x="698" y="211"/>
                    </a:lnTo>
                    <a:lnTo>
                      <a:pt x="698" y="212"/>
                    </a:lnTo>
                    <a:lnTo>
                      <a:pt x="698" y="214"/>
                    </a:lnTo>
                    <a:lnTo>
                      <a:pt x="697" y="214"/>
                    </a:lnTo>
                    <a:lnTo>
                      <a:pt x="695" y="214"/>
                    </a:lnTo>
                    <a:lnTo>
                      <a:pt x="694" y="214"/>
                    </a:lnTo>
                    <a:lnTo>
                      <a:pt x="694" y="212"/>
                    </a:lnTo>
                    <a:lnTo>
                      <a:pt x="692" y="212"/>
                    </a:lnTo>
                    <a:lnTo>
                      <a:pt x="692" y="211"/>
                    </a:lnTo>
                    <a:lnTo>
                      <a:pt x="692" y="209"/>
                    </a:lnTo>
                    <a:lnTo>
                      <a:pt x="692" y="211"/>
                    </a:lnTo>
                    <a:lnTo>
                      <a:pt x="692" y="209"/>
                    </a:lnTo>
                    <a:lnTo>
                      <a:pt x="691" y="209"/>
                    </a:lnTo>
                    <a:lnTo>
                      <a:pt x="691" y="207"/>
                    </a:lnTo>
                    <a:lnTo>
                      <a:pt x="691" y="206"/>
                    </a:lnTo>
                    <a:lnTo>
                      <a:pt x="689" y="206"/>
                    </a:lnTo>
                    <a:lnTo>
                      <a:pt x="689" y="204"/>
                    </a:lnTo>
                    <a:lnTo>
                      <a:pt x="689" y="203"/>
                    </a:lnTo>
                    <a:lnTo>
                      <a:pt x="689" y="201"/>
                    </a:lnTo>
                    <a:lnTo>
                      <a:pt x="691" y="201"/>
                    </a:lnTo>
                    <a:lnTo>
                      <a:pt x="691" y="200"/>
                    </a:lnTo>
                    <a:lnTo>
                      <a:pt x="691" y="201"/>
                    </a:lnTo>
                    <a:lnTo>
                      <a:pt x="689" y="201"/>
                    </a:lnTo>
                    <a:lnTo>
                      <a:pt x="689" y="203"/>
                    </a:lnTo>
                    <a:lnTo>
                      <a:pt x="689" y="206"/>
                    </a:lnTo>
                    <a:lnTo>
                      <a:pt x="689" y="207"/>
                    </a:lnTo>
                    <a:lnTo>
                      <a:pt x="691" y="207"/>
                    </a:lnTo>
                    <a:lnTo>
                      <a:pt x="689" y="207"/>
                    </a:lnTo>
                    <a:lnTo>
                      <a:pt x="689" y="209"/>
                    </a:lnTo>
                    <a:lnTo>
                      <a:pt x="691" y="209"/>
                    </a:lnTo>
                    <a:lnTo>
                      <a:pt x="689" y="209"/>
                    </a:lnTo>
                    <a:lnTo>
                      <a:pt x="689" y="211"/>
                    </a:lnTo>
                    <a:lnTo>
                      <a:pt x="687" y="211"/>
                    </a:lnTo>
                    <a:lnTo>
                      <a:pt x="687" y="212"/>
                    </a:lnTo>
                    <a:lnTo>
                      <a:pt x="686" y="212"/>
                    </a:lnTo>
                    <a:lnTo>
                      <a:pt x="686" y="214"/>
                    </a:lnTo>
                    <a:lnTo>
                      <a:pt x="686" y="215"/>
                    </a:lnTo>
                    <a:lnTo>
                      <a:pt x="684" y="215"/>
                    </a:lnTo>
                    <a:lnTo>
                      <a:pt x="683" y="215"/>
                    </a:lnTo>
                    <a:lnTo>
                      <a:pt x="683" y="217"/>
                    </a:lnTo>
                    <a:lnTo>
                      <a:pt x="683" y="219"/>
                    </a:lnTo>
                    <a:lnTo>
                      <a:pt x="681" y="219"/>
                    </a:lnTo>
                    <a:lnTo>
                      <a:pt x="683" y="219"/>
                    </a:lnTo>
                    <a:lnTo>
                      <a:pt x="683" y="217"/>
                    </a:lnTo>
                    <a:lnTo>
                      <a:pt x="684" y="217"/>
                    </a:lnTo>
                    <a:lnTo>
                      <a:pt x="684" y="215"/>
                    </a:lnTo>
                    <a:lnTo>
                      <a:pt x="686" y="215"/>
                    </a:lnTo>
                    <a:lnTo>
                      <a:pt x="686" y="217"/>
                    </a:lnTo>
                    <a:lnTo>
                      <a:pt x="687" y="217"/>
                    </a:lnTo>
                    <a:lnTo>
                      <a:pt x="687" y="219"/>
                    </a:lnTo>
                    <a:lnTo>
                      <a:pt x="689" y="219"/>
                    </a:lnTo>
                    <a:lnTo>
                      <a:pt x="689" y="220"/>
                    </a:lnTo>
                    <a:lnTo>
                      <a:pt x="689" y="222"/>
                    </a:lnTo>
                    <a:lnTo>
                      <a:pt x="689" y="220"/>
                    </a:lnTo>
                    <a:lnTo>
                      <a:pt x="689" y="222"/>
                    </a:lnTo>
                    <a:lnTo>
                      <a:pt x="691" y="222"/>
                    </a:lnTo>
                    <a:lnTo>
                      <a:pt x="691" y="220"/>
                    </a:lnTo>
                    <a:lnTo>
                      <a:pt x="692" y="220"/>
                    </a:lnTo>
                    <a:lnTo>
                      <a:pt x="692" y="219"/>
                    </a:lnTo>
                    <a:lnTo>
                      <a:pt x="692" y="220"/>
                    </a:lnTo>
                    <a:lnTo>
                      <a:pt x="692" y="222"/>
                    </a:lnTo>
                    <a:lnTo>
                      <a:pt x="694" y="222"/>
                    </a:lnTo>
                    <a:lnTo>
                      <a:pt x="694" y="220"/>
                    </a:lnTo>
                    <a:lnTo>
                      <a:pt x="695" y="220"/>
                    </a:lnTo>
                    <a:lnTo>
                      <a:pt x="697" y="220"/>
                    </a:lnTo>
                    <a:lnTo>
                      <a:pt x="698" y="220"/>
                    </a:lnTo>
                    <a:lnTo>
                      <a:pt x="697" y="220"/>
                    </a:lnTo>
                    <a:lnTo>
                      <a:pt x="698" y="220"/>
                    </a:lnTo>
                    <a:lnTo>
                      <a:pt x="700" y="220"/>
                    </a:lnTo>
                    <a:lnTo>
                      <a:pt x="700" y="222"/>
                    </a:lnTo>
                    <a:lnTo>
                      <a:pt x="700" y="223"/>
                    </a:lnTo>
                    <a:lnTo>
                      <a:pt x="700" y="225"/>
                    </a:lnTo>
                    <a:lnTo>
                      <a:pt x="702" y="225"/>
                    </a:lnTo>
                    <a:lnTo>
                      <a:pt x="702" y="226"/>
                    </a:lnTo>
                    <a:lnTo>
                      <a:pt x="700" y="226"/>
                    </a:lnTo>
                    <a:lnTo>
                      <a:pt x="700" y="228"/>
                    </a:lnTo>
                    <a:lnTo>
                      <a:pt x="700" y="230"/>
                    </a:lnTo>
                    <a:lnTo>
                      <a:pt x="700" y="231"/>
                    </a:lnTo>
                    <a:lnTo>
                      <a:pt x="698" y="231"/>
                    </a:lnTo>
                    <a:lnTo>
                      <a:pt x="697" y="231"/>
                    </a:lnTo>
                    <a:lnTo>
                      <a:pt x="697" y="233"/>
                    </a:lnTo>
                    <a:lnTo>
                      <a:pt x="697" y="234"/>
                    </a:lnTo>
                    <a:lnTo>
                      <a:pt x="698" y="234"/>
                    </a:lnTo>
                    <a:lnTo>
                      <a:pt x="700" y="234"/>
                    </a:lnTo>
                    <a:lnTo>
                      <a:pt x="700" y="236"/>
                    </a:lnTo>
                    <a:lnTo>
                      <a:pt x="700" y="238"/>
                    </a:lnTo>
                    <a:lnTo>
                      <a:pt x="700" y="239"/>
                    </a:lnTo>
                    <a:lnTo>
                      <a:pt x="700" y="241"/>
                    </a:lnTo>
                    <a:lnTo>
                      <a:pt x="698" y="241"/>
                    </a:lnTo>
                    <a:lnTo>
                      <a:pt x="698" y="242"/>
                    </a:lnTo>
                    <a:lnTo>
                      <a:pt x="698" y="244"/>
                    </a:lnTo>
                    <a:lnTo>
                      <a:pt x="698" y="246"/>
                    </a:lnTo>
                    <a:lnTo>
                      <a:pt x="697" y="246"/>
                    </a:lnTo>
                    <a:lnTo>
                      <a:pt x="697" y="247"/>
                    </a:lnTo>
                    <a:lnTo>
                      <a:pt x="695" y="247"/>
                    </a:lnTo>
                    <a:lnTo>
                      <a:pt x="695" y="249"/>
                    </a:lnTo>
                    <a:lnTo>
                      <a:pt x="695" y="250"/>
                    </a:lnTo>
                    <a:lnTo>
                      <a:pt x="694" y="250"/>
                    </a:lnTo>
                    <a:lnTo>
                      <a:pt x="694" y="252"/>
                    </a:lnTo>
                    <a:lnTo>
                      <a:pt x="692" y="252"/>
                    </a:lnTo>
                    <a:lnTo>
                      <a:pt x="692" y="253"/>
                    </a:lnTo>
                    <a:lnTo>
                      <a:pt x="692" y="252"/>
                    </a:lnTo>
                    <a:lnTo>
                      <a:pt x="694" y="252"/>
                    </a:lnTo>
                    <a:lnTo>
                      <a:pt x="694" y="253"/>
                    </a:lnTo>
                    <a:lnTo>
                      <a:pt x="692" y="253"/>
                    </a:lnTo>
                    <a:lnTo>
                      <a:pt x="692" y="255"/>
                    </a:lnTo>
                    <a:lnTo>
                      <a:pt x="692" y="257"/>
                    </a:lnTo>
                    <a:lnTo>
                      <a:pt x="691" y="257"/>
                    </a:lnTo>
                    <a:lnTo>
                      <a:pt x="691" y="258"/>
                    </a:lnTo>
                    <a:lnTo>
                      <a:pt x="691" y="260"/>
                    </a:lnTo>
                    <a:lnTo>
                      <a:pt x="691" y="261"/>
                    </a:lnTo>
                    <a:lnTo>
                      <a:pt x="689" y="261"/>
                    </a:lnTo>
                    <a:lnTo>
                      <a:pt x="689" y="263"/>
                    </a:lnTo>
                    <a:lnTo>
                      <a:pt x="687" y="263"/>
                    </a:lnTo>
                    <a:lnTo>
                      <a:pt x="687" y="265"/>
                    </a:lnTo>
                    <a:lnTo>
                      <a:pt x="687" y="266"/>
                    </a:lnTo>
                    <a:lnTo>
                      <a:pt x="687" y="268"/>
                    </a:lnTo>
                    <a:lnTo>
                      <a:pt x="687" y="269"/>
                    </a:lnTo>
                    <a:lnTo>
                      <a:pt x="686" y="269"/>
                    </a:lnTo>
                    <a:lnTo>
                      <a:pt x="686" y="268"/>
                    </a:lnTo>
                    <a:lnTo>
                      <a:pt x="686" y="266"/>
                    </a:lnTo>
                    <a:lnTo>
                      <a:pt x="684" y="266"/>
                    </a:lnTo>
                    <a:lnTo>
                      <a:pt x="684" y="265"/>
                    </a:lnTo>
                    <a:lnTo>
                      <a:pt x="683" y="265"/>
                    </a:lnTo>
                    <a:lnTo>
                      <a:pt x="683" y="263"/>
                    </a:lnTo>
                    <a:lnTo>
                      <a:pt x="681" y="263"/>
                    </a:lnTo>
                    <a:lnTo>
                      <a:pt x="681" y="261"/>
                    </a:lnTo>
                    <a:lnTo>
                      <a:pt x="679" y="261"/>
                    </a:lnTo>
                    <a:lnTo>
                      <a:pt x="679" y="260"/>
                    </a:lnTo>
                    <a:lnTo>
                      <a:pt x="681" y="260"/>
                    </a:lnTo>
                    <a:lnTo>
                      <a:pt x="681" y="258"/>
                    </a:lnTo>
                    <a:lnTo>
                      <a:pt x="679" y="258"/>
                    </a:lnTo>
                    <a:lnTo>
                      <a:pt x="681" y="258"/>
                    </a:lnTo>
                    <a:lnTo>
                      <a:pt x="681" y="257"/>
                    </a:lnTo>
                    <a:lnTo>
                      <a:pt x="683" y="257"/>
                    </a:lnTo>
                    <a:lnTo>
                      <a:pt x="683" y="255"/>
                    </a:lnTo>
                    <a:lnTo>
                      <a:pt x="681" y="255"/>
                    </a:lnTo>
                    <a:lnTo>
                      <a:pt x="683" y="255"/>
                    </a:lnTo>
                    <a:lnTo>
                      <a:pt x="683" y="253"/>
                    </a:lnTo>
                    <a:lnTo>
                      <a:pt x="683" y="252"/>
                    </a:lnTo>
                    <a:lnTo>
                      <a:pt x="684" y="252"/>
                    </a:lnTo>
                    <a:lnTo>
                      <a:pt x="684" y="250"/>
                    </a:lnTo>
                    <a:lnTo>
                      <a:pt x="684" y="249"/>
                    </a:lnTo>
                    <a:lnTo>
                      <a:pt x="686" y="249"/>
                    </a:lnTo>
                    <a:lnTo>
                      <a:pt x="686" y="247"/>
                    </a:lnTo>
                    <a:lnTo>
                      <a:pt x="684" y="247"/>
                    </a:lnTo>
                    <a:lnTo>
                      <a:pt x="683" y="247"/>
                    </a:lnTo>
                    <a:lnTo>
                      <a:pt x="683" y="246"/>
                    </a:lnTo>
                    <a:lnTo>
                      <a:pt x="684" y="246"/>
                    </a:lnTo>
                    <a:lnTo>
                      <a:pt x="684" y="244"/>
                    </a:lnTo>
                    <a:lnTo>
                      <a:pt x="684" y="246"/>
                    </a:lnTo>
                    <a:lnTo>
                      <a:pt x="686" y="246"/>
                    </a:lnTo>
                    <a:lnTo>
                      <a:pt x="686" y="244"/>
                    </a:lnTo>
                    <a:lnTo>
                      <a:pt x="686" y="242"/>
                    </a:lnTo>
                    <a:lnTo>
                      <a:pt x="686" y="241"/>
                    </a:lnTo>
                    <a:lnTo>
                      <a:pt x="686" y="239"/>
                    </a:lnTo>
                    <a:lnTo>
                      <a:pt x="686" y="241"/>
                    </a:lnTo>
                    <a:lnTo>
                      <a:pt x="684" y="241"/>
                    </a:lnTo>
                    <a:lnTo>
                      <a:pt x="684" y="242"/>
                    </a:lnTo>
                    <a:lnTo>
                      <a:pt x="684" y="241"/>
                    </a:lnTo>
                    <a:lnTo>
                      <a:pt x="684" y="239"/>
                    </a:lnTo>
                    <a:lnTo>
                      <a:pt x="684" y="238"/>
                    </a:lnTo>
                    <a:lnTo>
                      <a:pt x="684" y="236"/>
                    </a:lnTo>
                    <a:lnTo>
                      <a:pt x="683" y="236"/>
                    </a:lnTo>
                    <a:lnTo>
                      <a:pt x="683" y="238"/>
                    </a:lnTo>
                    <a:lnTo>
                      <a:pt x="683" y="239"/>
                    </a:lnTo>
                    <a:lnTo>
                      <a:pt x="683" y="241"/>
                    </a:lnTo>
                    <a:lnTo>
                      <a:pt x="683" y="242"/>
                    </a:lnTo>
                    <a:lnTo>
                      <a:pt x="683" y="244"/>
                    </a:lnTo>
                    <a:lnTo>
                      <a:pt x="681" y="244"/>
                    </a:lnTo>
                    <a:lnTo>
                      <a:pt x="681" y="246"/>
                    </a:lnTo>
                    <a:lnTo>
                      <a:pt x="679" y="246"/>
                    </a:lnTo>
                    <a:lnTo>
                      <a:pt x="679" y="247"/>
                    </a:lnTo>
                    <a:lnTo>
                      <a:pt x="679" y="249"/>
                    </a:lnTo>
                    <a:lnTo>
                      <a:pt x="679" y="250"/>
                    </a:lnTo>
                    <a:lnTo>
                      <a:pt x="679" y="249"/>
                    </a:lnTo>
                    <a:lnTo>
                      <a:pt x="679" y="247"/>
                    </a:lnTo>
                    <a:lnTo>
                      <a:pt x="678" y="247"/>
                    </a:lnTo>
                    <a:lnTo>
                      <a:pt x="678" y="249"/>
                    </a:lnTo>
                    <a:lnTo>
                      <a:pt x="678" y="250"/>
                    </a:lnTo>
                    <a:lnTo>
                      <a:pt x="676" y="250"/>
                    </a:lnTo>
                    <a:lnTo>
                      <a:pt x="676" y="252"/>
                    </a:lnTo>
                    <a:lnTo>
                      <a:pt x="678" y="252"/>
                    </a:lnTo>
                    <a:lnTo>
                      <a:pt x="676" y="252"/>
                    </a:lnTo>
                    <a:lnTo>
                      <a:pt x="678" y="252"/>
                    </a:lnTo>
                    <a:lnTo>
                      <a:pt x="678" y="253"/>
                    </a:lnTo>
                    <a:lnTo>
                      <a:pt x="676" y="253"/>
                    </a:lnTo>
                    <a:lnTo>
                      <a:pt x="676" y="255"/>
                    </a:lnTo>
                    <a:lnTo>
                      <a:pt x="678" y="255"/>
                    </a:lnTo>
                    <a:lnTo>
                      <a:pt x="678" y="257"/>
                    </a:lnTo>
                    <a:lnTo>
                      <a:pt x="676" y="257"/>
                    </a:lnTo>
                    <a:lnTo>
                      <a:pt x="676" y="258"/>
                    </a:lnTo>
                    <a:lnTo>
                      <a:pt x="675" y="258"/>
                    </a:lnTo>
                    <a:lnTo>
                      <a:pt x="675" y="260"/>
                    </a:lnTo>
                    <a:lnTo>
                      <a:pt x="675" y="261"/>
                    </a:lnTo>
                    <a:lnTo>
                      <a:pt x="673" y="261"/>
                    </a:lnTo>
                    <a:lnTo>
                      <a:pt x="673" y="263"/>
                    </a:lnTo>
                    <a:lnTo>
                      <a:pt x="672" y="263"/>
                    </a:lnTo>
                    <a:lnTo>
                      <a:pt x="672" y="261"/>
                    </a:lnTo>
                    <a:lnTo>
                      <a:pt x="672" y="263"/>
                    </a:lnTo>
                    <a:lnTo>
                      <a:pt x="672" y="261"/>
                    </a:lnTo>
                    <a:lnTo>
                      <a:pt x="670" y="261"/>
                    </a:lnTo>
                    <a:lnTo>
                      <a:pt x="668" y="261"/>
                    </a:lnTo>
                    <a:lnTo>
                      <a:pt x="667" y="261"/>
                    </a:lnTo>
                    <a:lnTo>
                      <a:pt x="665" y="261"/>
                    </a:lnTo>
                    <a:lnTo>
                      <a:pt x="665" y="260"/>
                    </a:lnTo>
                    <a:lnTo>
                      <a:pt x="665" y="261"/>
                    </a:lnTo>
                    <a:lnTo>
                      <a:pt x="664" y="261"/>
                    </a:lnTo>
                    <a:lnTo>
                      <a:pt x="665" y="261"/>
                    </a:lnTo>
                    <a:lnTo>
                      <a:pt x="667" y="261"/>
                    </a:lnTo>
                    <a:lnTo>
                      <a:pt x="668" y="261"/>
                    </a:lnTo>
                    <a:lnTo>
                      <a:pt x="668" y="263"/>
                    </a:lnTo>
                    <a:lnTo>
                      <a:pt x="670" y="263"/>
                    </a:lnTo>
                    <a:lnTo>
                      <a:pt x="668" y="263"/>
                    </a:lnTo>
                    <a:lnTo>
                      <a:pt x="668" y="265"/>
                    </a:lnTo>
                    <a:lnTo>
                      <a:pt x="668" y="263"/>
                    </a:lnTo>
                    <a:lnTo>
                      <a:pt x="668" y="265"/>
                    </a:lnTo>
                    <a:lnTo>
                      <a:pt x="670" y="265"/>
                    </a:lnTo>
                    <a:lnTo>
                      <a:pt x="670" y="266"/>
                    </a:lnTo>
                    <a:lnTo>
                      <a:pt x="672" y="266"/>
                    </a:lnTo>
                    <a:lnTo>
                      <a:pt x="672" y="268"/>
                    </a:lnTo>
                    <a:lnTo>
                      <a:pt x="673" y="268"/>
                    </a:lnTo>
                    <a:lnTo>
                      <a:pt x="675" y="268"/>
                    </a:lnTo>
                    <a:lnTo>
                      <a:pt x="675" y="269"/>
                    </a:lnTo>
                    <a:lnTo>
                      <a:pt x="675" y="271"/>
                    </a:lnTo>
                    <a:lnTo>
                      <a:pt x="675" y="272"/>
                    </a:lnTo>
                    <a:lnTo>
                      <a:pt x="675" y="274"/>
                    </a:lnTo>
                    <a:lnTo>
                      <a:pt x="675" y="276"/>
                    </a:lnTo>
                    <a:lnTo>
                      <a:pt x="676" y="276"/>
                    </a:lnTo>
                    <a:lnTo>
                      <a:pt x="676" y="277"/>
                    </a:lnTo>
                    <a:lnTo>
                      <a:pt x="675" y="277"/>
                    </a:lnTo>
                    <a:lnTo>
                      <a:pt x="676" y="277"/>
                    </a:lnTo>
                    <a:lnTo>
                      <a:pt x="676" y="279"/>
                    </a:lnTo>
                    <a:lnTo>
                      <a:pt x="675" y="279"/>
                    </a:lnTo>
                    <a:lnTo>
                      <a:pt x="675" y="280"/>
                    </a:lnTo>
                    <a:lnTo>
                      <a:pt x="673" y="280"/>
                    </a:lnTo>
                    <a:lnTo>
                      <a:pt x="672" y="280"/>
                    </a:lnTo>
                    <a:lnTo>
                      <a:pt x="673" y="280"/>
                    </a:lnTo>
                    <a:lnTo>
                      <a:pt x="673" y="282"/>
                    </a:lnTo>
                    <a:lnTo>
                      <a:pt x="672" y="282"/>
                    </a:lnTo>
                    <a:lnTo>
                      <a:pt x="672" y="284"/>
                    </a:lnTo>
                    <a:lnTo>
                      <a:pt x="670" y="284"/>
                    </a:lnTo>
                    <a:lnTo>
                      <a:pt x="670" y="282"/>
                    </a:lnTo>
                    <a:lnTo>
                      <a:pt x="672" y="282"/>
                    </a:lnTo>
                    <a:lnTo>
                      <a:pt x="672" y="280"/>
                    </a:lnTo>
                    <a:lnTo>
                      <a:pt x="670" y="280"/>
                    </a:lnTo>
                    <a:lnTo>
                      <a:pt x="668" y="280"/>
                    </a:lnTo>
                    <a:lnTo>
                      <a:pt x="667" y="280"/>
                    </a:lnTo>
                    <a:lnTo>
                      <a:pt x="665" y="280"/>
                    </a:lnTo>
                    <a:lnTo>
                      <a:pt x="667" y="280"/>
                    </a:lnTo>
                    <a:lnTo>
                      <a:pt x="668" y="280"/>
                    </a:lnTo>
                    <a:lnTo>
                      <a:pt x="670" y="280"/>
                    </a:lnTo>
                    <a:lnTo>
                      <a:pt x="670" y="282"/>
                    </a:lnTo>
                    <a:lnTo>
                      <a:pt x="670" y="284"/>
                    </a:lnTo>
                    <a:lnTo>
                      <a:pt x="670" y="285"/>
                    </a:lnTo>
                    <a:lnTo>
                      <a:pt x="672" y="285"/>
                    </a:lnTo>
                    <a:lnTo>
                      <a:pt x="673" y="285"/>
                    </a:lnTo>
                    <a:lnTo>
                      <a:pt x="673" y="287"/>
                    </a:lnTo>
                    <a:lnTo>
                      <a:pt x="675" y="287"/>
                    </a:lnTo>
                    <a:lnTo>
                      <a:pt x="676" y="287"/>
                    </a:lnTo>
                    <a:lnTo>
                      <a:pt x="678" y="287"/>
                    </a:lnTo>
                    <a:lnTo>
                      <a:pt x="678" y="288"/>
                    </a:lnTo>
                    <a:lnTo>
                      <a:pt x="679" y="288"/>
                    </a:lnTo>
                    <a:lnTo>
                      <a:pt x="679" y="290"/>
                    </a:lnTo>
                    <a:lnTo>
                      <a:pt x="678" y="290"/>
                    </a:lnTo>
                    <a:lnTo>
                      <a:pt x="676" y="290"/>
                    </a:lnTo>
                    <a:lnTo>
                      <a:pt x="675" y="290"/>
                    </a:lnTo>
                    <a:lnTo>
                      <a:pt x="675" y="291"/>
                    </a:lnTo>
                    <a:lnTo>
                      <a:pt x="675" y="293"/>
                    </a:lnTo>
                    <a:lnTo>
                      <a:pt x="673" y="293"/>
                    </a:lnTo>
                    <a:lnTo>
                      <a:pt x="673" y="295"/>
                    </a:lnTo>
                    <a:lnTo>
                      <a:pt x="672" y="295"/>
                    </a:lnTo>
                    <a:lnTo>
                      <a:pt x="672" y="296"/>
                    </a:lnTo>
                    <a:lnTo>
                      <a:pt x="670" y="296"/>
                    </a:lnTo>
                    <a:lnTo>
                      <a:pt x="668" y="296"/>
                    </a:lnTo>
                    <a:lnTo>
                      <a:pt x="668" y="295"/>
                    </a:lnTo>
                    <a:lnTo>
                      <a:pt x="667" y="295"/>
                    </a:lnTo>
                    <a:lnTo>
                      <a:pt x="667" y="296"/>
                    </a:lnTo>
                    <a:lnTo>
                      <a:pt x="665" y="296"/>
                    </a:lnTo>
                    <a:lnTo>
                      <a:pt x="664" y="296"/>
                    </a:lnTo>
                    <a:lnTo>
                      <a:pt x="665" y="296"/>
                    </a:lnTo>
                    <a:lnTo>
                      <a:pt x="664" y="296"/>
                    </a:lnTo>
                    <a:lnTo>
                      <a:pt x="664" y="298"/>
                    </a:lnTo>
                    <a:lnTo>
                      <a:pt x="664" y="296"/>
                    </a:lnTo>
                    <a:lnTo>
                      <a:pt x="664" y="298"/>
                    </a:lnTo>
                    <a:lnTo>
                      <a:pt x="662" y="298"/>
                    </a:lnTo>
                    <a:lnTo>
                      <a:pt x="664" y="298"/>
                    </a:lnTo>
                    <a:lnTo>
                      <a:pt x="662" y="298"/>
                    </a:lnTo>
                    <a:lnTo>
                      <a:pt x="660" y="298"/>
                    </a:lnTo>
                    <a:lnTo>
                      <a:pt x="660" y="296"/>
                    </a:lnTo>
                    <a:lnTo>
                      <a:pt x="659" y="296"/>
                    </a:lnTo>
                    <a:lnTo>
                      <a:pt x="657" y="296"/>
                    </a:lnTo>
                    <a:lnTo>
                      <a:pt x="657" y="298"/>
                    </a:lnTo>
                    <a:lnTo>
                      <a:pt x="657" y="296"/>
                    </a:lnTo>
                    <a:lnTo>
                      <a:pt x="659" y="296"/>
                    </a:lnTo>
                    <a:lnTo>
                      <a:pt x="659" y="298"/>
                    </a:lnTo>
                    <a:lnTo>
                      <a:pt x="660" y="298"/>
                    </a:lnTo>
                    <a:lnTo>
                      <a:pt x="660" y="299"/>
                    </a:lnTo>
                    <a:lnTo>
                      <a:pt x="662" y="299"/>
                    </a:lnTo>
                    <a:lnTo>
                      <a:pt x="664" y="299"/>
                    </a:lnTo>
                    <a:lnTo>
                      <a:pt x="662" y="299"/>
                    </a:lnTo>
                    <a:lnTo>
                      <a:pt x="662" y="301"/>
                    </a:lnTo>
                    <a:lnTo>
                      <a:pt x="662" y="303"/>
                    </a:lnTo>
                    <a:lnTo>
                      <a:pt x="662" y="301"/>
                    </a:lnTo>
                    <a:lnTo>
                      <a:pt x="660" y="301"/>
                    </a:lnTo>
                    <a:lnTo>
                      <a:pt x="660" y="303"/>
                    </a:lnTo>
                    <a:lnTo>
                      <a:pt x="660" y="304"/>
                    </a:lnTo>
                    <a:lnTo>
                      <a:pt x="659" y="304"/>
                    </a:lnTo>
                    <a:lnTo>
                      <a:pt x="659" y="306"/>
                    </a:lnTo>
                    <a:lnTo>
                      <a:pt x="659" y="307"/>
                    </a:lnTo>
                    <a:lnTo>
                      <a:pt x="659" y="309"/>
                    </a:lnTo>
                    <a:lnTo>
                      <a:pt x="660" y="309"/>
                    </a:lnTo>
                    <a:lnTo>
                      <a:pt x="662" y="309"/>
                    </a:lnTo>
                    <a:lnTo>
                      <a:pt x="664" y="309"/>
                    </a:lnTo>
                    <a:lnTo>
                      <a:pt x="665" y="309"/>
                    </a:lnTo>
                    <a:lnTo>
                      <a:pt x="665" y="307"/>
                    </a:lnTo>
                    <a:lnTo>
                      <a:pt x="667" y="307"/>
                    </a:lnTo>
                    <a:lnTo>
                      <a:pt x="668" y="307"/>
                    </a:lnTo>
                    <a:lnTo>
                      <a:pt x="668" y="306"/>
                    </a:lnTo>
                    <a:lnTo>
                      <a:pt x="668" y="304"/>
                    </a:lnTo>
                    <a:lnTo>
                      <a:pt x="670" y="304"/>
                    </a:lnTo>
                    <a:lnTo>
                      <a:pt x="670" y="306"/>
                    </a:lnTo>
                    <a:lnTo>
                      <a:pt x="672" y="306"/>
                    </a:lnTo>
                    <a:lnTo>
                      <a:pt x="672" y="307"/>
                    </a:lnTo>
                    <a:lnTo>
                      <a:pt x="672" y="309"/>
                    </a:lnTo>
                    <a:lnTo>
                      <a:pt x="672" y="310"/>
                    </a:lnTo>
                    <a:lnTo>
                      <a:pt x="672" y="312"/>
                    </a:lnTo>
                    <a:lnTo>
                      <a:pt x="672" y="314"/>
                    </a:lnTo>
                    <a:lnTo>
                      <a:pt x="672" y="315"/>
                    </a:lnTo>
                    <a:lnTo>
                      <a:pt x="672" y="317"/>
                    </a:lnTo>
                    <a:lnTo>
                      <a:pt x="673" y="317"/>
                    </a:lnTo>
                    <a:lnTo>
                      <a:pt x="673" y="318"/>
                    </a:lnTo>
                    <a:lnTo>
                      <a:pt x="672" y="318"/>
                    </a:lnTo>
                    <a:lnTo>
                      <a:pt x="673" y="318"/>
                    </a:lnTo>
                    <a:lnTo>
                      <a:pt x="673" y="320"/>
                    </a:lnTo>
                    <a:lnTo>
                      <a:pt x="673" y="322"/>
                    </a:lnTo>
                    <a:lnTo>
                      <a:pt x="673" y="323"/>
                    </a:lnTo>
                    <a:lnTo>
                      <a:pt x="675" y="323"/>
                    </a:lnTo>
                    <a:lnTo>
                      <a:pt x="675" y="325"/>
                    </a:lnTo>
                    <a:lnTo>
                      <a:pt x="675" y="326"/>
                    </a:lnTo>
                    <a:lnTo>
                      <a:pt x="675" y="328"/>
                    </a:lnTo>
                    <a:lnTo>
                      <a:pt x="673" y="328"/>
                    </a:lnTo>
                    <a:lnTo>
                      <a:pt x="672" y="328"/>
                    </a:lnTo>
                    <a:lnTo>
                      <a:pt x="670" y="328"/>
                    </a:lnTo>
                    <a:lnTo>
                      <a:pt x="668" y="328"/>
                    </a:lnTo>
                    <a:lnTo>
                      <a:pt x="667" y="328"/>
                    </a:lnTo>
                    <a:lnTo>
                      <a:pt x="665" y="328"/>
                    </a:lnTo>
                    <a:lnTo>
                      <a:pt x="665" y="329"/>
                    </a:lnTo>
                    <a:lnTo>
                      <a:pt x="664" y="329"/>
                    </a:lnTo>
                    <a:lnTo>
                      <a:pt x="664" y="331"/>
                    </a:lnTo>
                    <a:lnTo>
                      <a:pt x="664" y="333"/>
                    </a:lnTo>
                    <a:lnTo>
                      <a:pt x="662" y="333"/>
                    </a:lnTo>
                    <a:lnTo>
                      <a:pt x="662" y="334"/>
                    </a:lnTo>
                    <a:lnTo>
                      <a:pt x="664" y="334"/>
                    </a:lnTo>
                    <a:lnTo>
                      <a:pt x="664" y="336"/>
                    </a:lnTo>
                    <a:lnTo>
                      <a:pt x="664" y="337"/>
                    </a:lnTo>
                    <a:lnTo>
                      <a:pt x="664" y="339"/>
                    </a:lnTo>
                    <a:lnTo>
                      <a:pt x="664" y="341"/>
                    </a:lnTo>
                    <a:lnTo>
                      <a:pt x="662" y="341"/>
                    </a:lnTo>
                    <a:lnTo>
                      <a:pt x="662" y="342"/>
                    </a:lnTo>
                    <a:lnTo>
                      <a:pt x="664" y="342"/>
                    </a:lnTo>
                    <a:lnTo>
                      <a:pt x="664" y="344"/>
                    </a:lnTo>
                    <a:lnTo>
                      <a:pt x="664" y="342"/>
                    </a:lnTo>
                    <a:lnTo>
                      <a:pt x="665" y="342"/>
                    </a:lnTo>
                    <a:lnTo>
                      <a:pt x="665" y="344"/>
                    </a:lnTo>
                    <a:lnTo>
                      <a:pt x="665" y="345"/>
                    </a:lnTo>
                    <a:lnTo>
                      <a:pt x="665" y="344"/>
                    </a:lnTo>
                    <a:lnTo>
                      <a:pt x="664" y="344"/>
                    </a:lnTo>
                    <a:lnTo>
                      <a:pt x="664" y="345"/>
                    </a:lnTo>
                    <a:lnTo>
                      <a:pt x="665" y="345"/>
                    </a:lnTo>
                    <a:lnTo>
                      <a:pt x="664" y="345"/>
                    </a:lnTo>
                    <a:lnTo>
                      <a:pt x="664" y="347"/>
                    </a:lnTo>
                    <a:lnTo>
                      <a:pt x="664" y="345"/>
                    </a:lnTo>
                    <a:lnTo>
                      <a:pt x="664" y="347"/>
                    </a:lnTo>
                    <a:lnTo>
                      <a:pt x="662" y="347"/>
                    </a:lnTo>
                    <a:lnTo>
                      <a:pt x="662" y="348"/>
                    </a:lnTo>
                    <a:lnTo>
                      <a:pt x="660" y="348"/>
                    </a:lnTo>
                    <a:lnTo>
                      <a:pt x="660" y="350"/>
                    </a:lnTo>
                    <a:lnTo>
                      <a:pt x="659" y="350"/>
                    </a:lnTo>
                    <a:lnTo>
                      <a:pt x="659" y="352"/>
                    </a:lnTo>
                    <a:lnTo>
                      <a:pt x="657" y="352"/>
                    </a:lnTo>
                    <a:lnTo>
                      <a:pt x="657" y="353"/>
                    </a:lnTo>
                    <a:lnTo>
                      <a:pt x="657" y="355"/>
                    </a:lnTo>
                    <a:lnTo>
                      <a:pt x="656" y="355"/>
                    </a:lnTo>
                    <a:lnTo>
                      <a:pt x="656" y="356"/>
                    </a:lnTo>
                    <a:lnTo>
                      <a:pt x="654" y="356"/>
                    </a:lnTo>
                    <a:lnTo>
                      <a:pt x="654" y="355"/>
                    </a:lnTo>
                    <a:lnTo>
                      <a:pt x="653" y="355"/>
                    </a:lnTo>
                    <a:lnTo>
                      <a:pt x="653" y="356"/>
                    </a:lnTo>
                    <a:lnTo>
                      <a:pt x="651" y="356"/>
                    </a:lnTo>
                    <a:lnTo>
                      <a:pt x="651" y="358"/>
                    </a:lnTo>
                    <a:lnTo>
                      <a:pt x="651" y="356"/>
                    </a:lnTo>
                    <a:lnTo>
                      <a:pt x="653" y="356"/>
                    </a:lnTo>
                    <a:lnTo>
                      <a:pt x="653" y="358"/>
                    </a:lnTo>
                    <a:lnTo>
                      <a:pt x="651" y="358"/>
                    </a:lnTo>
                    <a:lnTo>
                      <a:pt x="651" y="360"/>
                    </a:lnTo>
                    <a:lnTo>
                      <a:pt x="651" y="361"/>
                    </a:lnTo>
                    <a:lnTo>
                      <a:pt x="649" y="361"/>
                    </a:lnTo>
                    <a:lnTo>
                      <a:pt x="649" y="363"/>
                    </a:lnTo>
                    <a:lnTo>
                      <a:pt x="648" y="363"/>
                    </a:lnTo>
                    <a:lnTo>
                      <a:pt x="648" y="364"/>
                    </a:lnTo>
                    <a:lnTo>
                      <a:pt x="646" y="364"/>
                    </a:lnTo>
                    <a:lnTo>
                      <a:pt x="646" y="363"/>
                    </a:lnTo>
                    <a:lnTo>
                      <a:pt x="646" y="364"/>
                    </a:lnTo>
                    <a:lnTo>
                      <a:pt x="648" y="364"/>
                    </a:lnTo>
                    <a:lnTo>
                      <a:pt x="649" y="364"/>
                    </a:lnTo>
                    <a:lnTo>
                      <a:pt x="649" y="363"/>
                    </a:lnTo>
                    <a:lnTo>
                      <a:pt x="651" y="363"/>
                    </a:lnTo>
                    <a:lnTo>
                      <a:pt x="651" y="361"/>
                    </a:lnTo>
                    <a:lnTo>
                      <a:pt x="651" y="360"/>
                    </a:lnTo>
                    <a:lnTo>
                      <a:pt x="653" y="360"/>
                    </a:lnTo>
                    <a:lnTo>
                      <a:pt x="653" y="358"/>
                    </a:lnTo>
                    <a:lnTo>
                      <a:pt x="654" y="358"/>
                    </a:lnTo>
                    <a:lnTo>
                      <a:pt x="654" y="360"/>
                    </a:lnTo>
                    <a:lnTo>
                      <a:pt x="656" y="360"/>
                    </a:lnTo>
                    <a:lnTo>
                      <a:pt x="656" y="361"/>
                    </a:lnTo>
                    <a:lnTo>
                      <a:pt x="657" y="361"/>
                    </a:lnTo>
                    <a:lnTo>
                      <a:pt x="659" y="361"/>
                    </a:lnTo>
                    <a:lnTo>
                      <a:pt x="659" y="363"/>
                    </a:lnTo>
                    <a:lnTo>
                      <a:pt x="657" y="363"/>
                    </a:lnTo>
                    <a:lnTo>
                      <a:pt x="657" y="364"/>
                    </a:lnTo>
                    <a:lnTo>
                      <a:pt x="657" y="366"/>
                    </a:lnTo>
                    <a:lnTo>
                      <a:pt x="656" y="366"/>
                    </a:lnTo>
                    <a:lnTo>
                      <a:pt x="656" y="367"/>
                    </a:lnTo>
                    <a:lnTo>
                      <a:pt x="656" y="369"/>
                    </a:lnTo>
                    <a:lnTo>
                      <a:pt x="654" y="369"/>
                    </a:lnTo>
                    <a:lnTo>
                      <a:pt x="654" y="371"/>
                    </a:lnTo>
                    <a:lnTo>
                      <a:pt x="654" y="372"/>
                    </a:lnTo>
                    <a:lnTo>
                      <a:pt x="654" y="374"/>
                    </a:lnTo>
                    <a:lnTo>
                      <a:pt x="654" y="375"/>
                    </a:lnTo>
                    <a:lnTo>
                      <a:pt x="654" y="377"/>
                    </a:lnTo>
                    <a:lnTo>
                      <a:pt x="653" y="377"/>
                    </a:lnTo>
                    <a:lnTo>
                      <a:pt x="653" y="379"/>
                    </a:lnTo>
                    <a:lnTo>
                      <a:pt x="653" y="380"/>
                    </a:lnTo>
                    <a:lnTo>
                      <a:pt x="653" y="382"/>
                    </a:lnTo>
                    <a:lnTo>
                      <a:pt x="651" y="382"/>
                    </a:lnTo>
                    <a:lnTo>
                      <a:pt x="651" y="383"/>
                    </a:lnTo>
                    <a:lnTo>
                      <a:pt x="651" y="385"/>
                    </a:lnTo>
                    <a:lnTo>
                      <a:pt x="651" y="386"/>
                    </a:lnTo>
                    <a:lnTo>
                      <a:pt x="649" y="386"/>
                    </a:lnTo>
                    <a:lnTo>
                      <a:pt x="649" y="388"/>
                    </a:lnTo>
                    <a:lnTo>
                      <a:pt x="649" y="390"/>
                    </a:lnTo>
                    <a:lnTo>
                      <a:pt x="648" y="390"/>
                    </a:lnTo>
                    <a:lnTo>
                      <a:pt x="648" y="391"/>
                    </a:lnTo>
                    <a:lnTo>
                      <a:pt x="648" y="393"/>
                    </a:lnTo>
                    <a:lnTo>
                      <a:pt x="646" y="393"/>
                    </a:lnTo>
                    <a:lnTo>
                      <a:pt x="646" y="394"/>
                    </a:lnTo>
                    <a:lnTo>
                      <a:pt x="646" y="396"/>
                    </a:lnTo>
                    <a:lnTo>
                      <a:pt x="645" y="396"/>
                    </a:lnTo>
                    <a:lnTo>
                      <a:pt x="645" y="398"/>
                    </a:lnTo>
                    <a:lnTo>
                      <a:pt x="645" y="399"/>
                    </a:lnTo>
                    <a:lnTo>
                      <a:pt x="645" y="401"/>
                    </a:lnTo>
                    <a:lnTo>
                      <a:pt x="645" y="402"/>
                    </a:lnTo>
                    <a:lnTo>
                      <a:pt x="643" y="402"/>
                    </a:lnTo>
                    <a:lnTo>
                      <a:pt x="643" y="404"/>
                    </a:lnTo>
                    <a:lnTo>
                      <a:pt x="643" y="405"/>
                    </a:lnTo>
                    <a:lnTo>
                      <a:pt x="643" y="407"/>
                    </a:lnTo>
                    <a:lnTo>
                      <a:pt x="641" y="407"/>
                    </a:lnTo>
                    <a:lnTo>
                      <a:pt x="641" y="409"/>
                    </a:lnTo>
                    <a:lnTo>
                      <a:pt x="641" y="410"/>
                    </a:lnTo>
                    <a:lnTo>
                      <a:pt x="640" y="410"/>
                    </a:lnTo>
                    <a:lnTo>
                      <a:pt x="640" y="412"/>
                    </a:lnTo>
                    <a:lnTo>
                      <a:pt x="640" y="413"/>
                    </a:lnTo>
                    <a:lnTo>
                      <a:pt x="640" y="415"/>
                    </a:lnTo>
                    <a:lnTo>
                      <a:pt x="638" y="415"/>
                    </a:lnTo>
                    <a:lnTo>
                      <a:pt x="638" y="417"/>
                    </a:lnTo>
                    <a:lnTo>
                      <a:pt x="638" y="418"/>
                    </a:lnTo>
                    <a:lnTo>
                      <a:pt x="637" y="418"/>
                    </a:lnTo>
                    <a:lnTo>
                      <a:pt x="637" y="420"/>
                    </a:lnTo>
                    <a:lnTo>
                      <a:pt x="637" y="421"/>
                    </a:lnTo>
                    <a:lnTo>
                      <a:pt x="635" y="421"/>
                    </a:lnTo>
                    <a:lnTo>
                      <a:pt x="634" y="421"/>
                    </a:lnTo>
                    <a:lnTo>
                      <a:pt x="635" y="421"/>
                    </a:lnTo>
                    <a:lnTo>
                      <a:pt x="634" y="421"/>
                    </a:lnTo>
                    <a:lnTo>
                      <a:pt x="634" y="420"/>
                    </a:lnTo>
                    <a:lnTo>
                      <a:pt x="632" y="420"/>
                    </a:lnTo>
                    <a:lnTo>
                      <a:pt x="630" y="420"/>
                    </a:lnTo>
                    <a:lnTo>
                      <a:pt x="630" y="421"/>
                    </a:lnTo>
                    <a:lnTo>
                      <a:pt x="629" y="421"/>
                    </a:lnTo>
                    <a:lnTo>
                      <a:pt x="629" y="423"/>
                    </a:lnTo>
                    <a:lnTo>
                      <a:pt x="629" y="421"/>
                    </a:lnTo>
                    <a:lnTo>
                      <a:pt x="627" y="421"/>
                    </a:lnTo>
                    <a:lnTo>
                      <a:pt x="627" y="423"/>
                    </a:lnTo>
                    <a:lnTo>
                      <a:pt x="626" y="423"/>
                    </a:lnTo>
                    <a:lnTo>
                      <a:pt x="626" y="424"/>
                    </a:lnTo>
                    <a:lnTo>
                      <a:pt x="626" y="426"/>
                    </a:lnTo>
                    <a:lnTo>
                      <a:pt x="624" y="426"/>
                    </a:lnTo>
                    <a:lnTo>
                      <a:pt x="624" y="428"/>
                    </a:lnTo>
                    <a:lnTo>
                      <a:pt x="622" y="428"/>
                    </a:lnTo>
                    <a:lnTo>
                      <a:pt x="621" y="428"/>
                    </a:lnTo>
                    <a:lnTo>
                      <a:pt x="622" y="428"/>
                    </a:lnTo>
                    <a:lnTo>
                      <a:pt x="621" y="428"/>
                    </a:lnTo>
                    <a:lnTo>
                      <a:pt x="622" y="428"/>
                    </a:lnTo>
                    <a:lnTo>
                      <a:pt x="622" y="429"/>
                    </a:lnTo>
                    <a:lnTo>
                      <a:pt x="624" y="429"/>
                    </a:lnTo>
                    <a:lnTo>
                      <a:pt x="626" y="429"/>
                    </a:lnTo>
                    <a:lnTo>
                      <a:pt x="626" y="431"/>
                    </a:lnTo>
                    <a:lnTo>
                      <a:pt x="626" y="432"/>
                    </a:lnTo>
                    <a:lnTo>
                      <a:pt x="627" y="432"/>
                    </a:lnTo>
                    <a:lnTo>
                      <a:pt x="629" y="432"/>
                    </a:lnTo>
                    <a:lnTo>
                      <a:pt x="629" y="434"/>
                    </a:lnTo>
                    <a:lnTo>
                      <a:pt x="630" y="434"/>
                    </a:lnTo>
                    <a:lnTo>
                      <a:pt x="630" y="436"/>
                    </a:lnTo>
                    <a:lnTo>
                      <a:pt x="630" y="437"/>
                    </a:lnTo>
                    <a:lnTo>
                      <a:pt x="629" y="437"/>
                    </a:lnTo>
                    <a:lnTo>
                      <a:pt x="629" y="439"/>
                    </a:lnTo>
                    <a:lnTo>
                      <a:pt x="629" y="440"/>
                    </a:lnTo>
                    <a:lnTo>
                      <a:pt x="629" y="442"/>
                    </a:lnTo>
                    <a:lnTo>
                      <a:pt x="629" y="444"/>
                    </a:lnTo>
                    <a:lnTo>
                      <a:pt x="629" y="445"/>
                    </a:lnTo>
                    <a:lnTo>
                      <a:pt x="627" y="445"/>
                    </a:lnTo>
                    <a:lnTo>
                      <a:pt x="629" y="445"/>
                    </a:lnTo>
                    <a:lnTo>
                      <a:pt x="629" y="447"/>
                    </a:lnTo>
                    <a:lnTo>
                      <a:pt x="627" y="447"/>
                    </a:lnTo>
                    <a:lnTo>
                      <a:pt x="627" y="448"/>
                    </a:lnTo>
                    <a:lnTo>
                      <a:pt x="626" y="448"/>
                    </a:lnTo>
                    <a:lnTo>
                      <a:pt x="626" y="450"/>
                    </a:lnTo>
                    <a:lnTo>
                      <a:pt x="624" y="450"/>
                    </a:lnTo>
                    <a:lnTo>
                      <a:pt x="624" y="451"/>
                    </a:lnTo>
                    <a:lnTo>
                      <a:pt x="624" y="453"/>
                    </a:lnTo>
                    <a:lnTo>
                      <a:pt x="622" y="453"/>
                    </a:lnTo>
                    <a:lnTo>
                      <a:pt x="622" y="455"/>
                    </a:lnTo>
                    <a:lnTo>
                      <a:pt x="622" y="456"/>
                    </a:lnTo>
                    <a:lnTo>
                      <a:pt x="622" y="458"/>
                    </a:lnTo>
                    <a:lnTo>
                      <a:pt x="621" y="458"/>
                    </a:lnTo>
                    <a:lnTo>
                      <a:pt x="621" y="459"/>
                    </a:lnTo>
                    <a:lnTo>
                      <a:pt x="619" y="459"/>
                    </a:lnTo>
                    <a:lnTo>
                      <a:pt x="619" y="461"/>
                    </a:lnTo>
                    <a:lnTo>
                      <a:pt x="619" y="463"/>
                    </a:lnTo>
                    <a:lnTo>
                      <a:pt x="619" y="464"/>
                    </a:lnTo>
                    <a:lnTo>
                      <a:pt x="619" y="466"/>
                    </a:lnTo>
                    <a:lnTo>
                      <a:pt x="619" y="467"/>
                    </a:lnTo>
                    <a:lnTo>
                      <a:pt x="619" y="469"/>
                    </a:lnTo>
                    <a:lnTo>
                      <a:pt x="618" y="469"/>
                    </a:lnTo>
                    <a:lnTo>
                      <a:pt x="618" y="470"/>
                    </a:lnTo>
                    <a:lnTo>
                      <a:pt x="616" y="470"/>
                    </a:lnTo>
                    <a:lnTo>
                      <a:pt x="615" y="470"/>
                    </a:lnTo>
                    <a:lnTo>
                      <a:pt x="615" y="472"/>
                    </a:lnTo>
                    <a:lnTo>
                      <a:pt x="613" y="472"/>
                    </a:lnTo>
                    <a:lnTo>
                      <a:pt x="613" y="474"/>
                    </a:lnTo>
                    <a:lnTo>
                      <a:pt x="613" y="475"/>
                    </a:lnTo>
                    <a:lnTo>
                      <a:pt x="611" y="475"/>
                    </a:lnTo>
                    <a:lnTo>
                      <a:pt x="611" y="477"/>
                    </a:lnTo>
                    <a:lnTo>
                      <a:pt x="611" y="478"/>
                    </a:lnTo>
                    <a:lnTo>
                      <a:pt x="610" y="478"/>
                    </a:lnTo>
                    <a:lnTo>
                      <a:pt x="610" y="480"/>
                    </a:lnTo>
                    <a:lnTo>
                      <a:pt x="610" y="482"/>
                    </a:lnTo>
                    <a:lnTo>
                      <a:pt x="608" y="482"/>
                    </a:lnTo>
                    <a:lnTo>
                      <a:pt x="608" y="483"/>
                    </a:lnTo>
                    <a:lnTo>
                      <a:pt x="608" y="485"/>
                    </a:lnTo>
                    <a:lnTo>
                      <a:pt x="608" y="486"/>
                    </a:lnTo>
                    <a:lnTo>
                      <a:pt x="608" y="488"/>
                    </a:lnTo>
                    <a:lnTo>
                      <a:pt x="608" y="489"/>
                    </a:lnTo>
                    <a:lnTo>
                      <a:pt x="607" y="489"/>
                    </a:lnTo>
                    <a:lnTo>
                      <a:pt x="605" y="489"/>
                    </a:lnTo>
                    <a:lnTo>
                      <a:pt x="605" y="491"/>
                    </a:lnTo>
                    <a:lnTo>
                      <a:pt x="603" y="491"/>
                    </a:lnTo>
                    <a:lnTo>
                      <a:pt x="603" y="493"/>
                    </a:lnTo>
                    <a:lnTo>
                      <a:pt x="602" y="493"/>
                    </a:lnTo>
                    <a:lnTo>
                      <a:pt x="602" y="494"/>
                    </a:lnTo>
                    <a:lnTo>
                      <a:pt x="603" y="494"/>
                    </a:lnTo>
                    <a:lnTo>
                      <a:pt x="603" y="496"/>
                    </a:lnTo>
                    <a:lnTo>
                      <a:pt x="602" y="496"/>
                    </a:lnTo>
                    <a:lnTo>
                      <a:pt x="600" y="496"/>
                    </a:lnTo>
                    <a:lnTo>
                      <a:pt x="599" y="496"/>
                    </a:lnTo>
                    <a:lnTo>
                      <a:pt x="597" y="496"/>
                    </a:lnTo>
                    <a:lnTo>
                      <a:pt x="597" y="494"/>
                    </a:lnTo>
                    <a:lnTo>
                      <a:pt x="596" y="494"/>
                    </a:lnTo>
                    <a:lnTo>
                      <a:pt x="596" y="496"/>
                    </a:lnTo>
                    <a:lnTo>
                      <a:pt x="597" y="496"/>
                    </a:lnTo>
                    <a:lnTo>
                      <a:pt x="599" y="496"/>
                    </a:lnTo>
                    <a:lnTo>
                      <a:pt x="599" y="497"/>
                    </a:lnTo>
                    <a:lnTo>
                      <a:pt x="599" y="499"/>
                    </a:lnTo>
                    <a:lnTo>
                      <a:pt x="599" y="501"/>
                    </a:lnTo>
                    <a:lnTo>
                      <a:pt x="597" y="501"/>
                    </a:lnTo>
                    <a:lnTo>
                      <a:pt x="597" y="502"/>
                    </a:lnTo>
                    <a:lnTo>
                      <a:pt x="597" y="504"/>
                    </a:lnTo>
                    <a:lnTo>
                      <a:pt x="596" y="504"/>
                    </a:lnTo>
                    <a:lnTo>
                      <a:pt x="596" y="505"/>
                    </a:lnTo>
                    <a:lnTo>
                      <a:pt x="596" y="507"/>
                    </a:lnTo>
                    <a:lnTo>
                      <a:pt x="594" y="507"/>
                    </a:lnTo>
                    <a:lnTo>
                      <a:pt x="596" y="507"/>
                    </a:lnTo>
                    <a:lnTo>
                      <a:pt x="594" y="507"/>
                    </a:lnTo>
                    <a:lnTo>
                      <a:pt x="596" y="507"/>
                    </a:lnTo>
                    <a:lnTo>
                      <a:pt x="594" y="507"/>
                    </a:lnTo>
                    <a:lnTo>
                      <a:pt x="596" y="507"/>
                    </a:lnTo>
                    <a:lnTo>
                      <a:pt x="596" y="508"/>
                    </a:lnTo>
                    <a:lnTo>
                      <a:pt x="594" y="508"/>
                    </a:lnTo>
                    <a:lnTo>
                      <a:pt x="594" y="510"/>
                    </a:lnTo>
                    <a:lnTo>
                      <a:pt x="596" y="510"/>
                    </a:lnTo>
                    <a:lnTo>
                      <a:pt x="596" y="512"/>
                    </a:lnTo>
                    <a:lnTo>
                      <a:pt x="596" y="513"/>
                    </a:lnTo>
                    <a:lnTo>
                      <a:pt x="596" y="515"/>
                    </a:lnTo>
                    <a:lnTo>
                      <a:pt x="596" y="516"/>
                    </a:lnTo>
                    <a:lnTo>
                      <a:pt x="596" y="518"/>
                    </a:lnTo>
                    <a:lnTo>
                      <a:pt x="596" y="520"/>
                    </a:lnTo>
                    <a:lnTo>
                      <a:pt x="596" y="521"/>
                    </a:lnTo>
                    <a:lnTo>
                      <a:pt x="594" y="521"/>
                    </a:lnTo>
                    <a:lnTo>
                      <a:pt x="594" y="523"/>
                    </a:lnTo>
                    <a:lnTo>
                      <a:pt x="592" y="523"/>
                    </a:lnTo>
                    <a:lnTo>
                      <a:pt x="592" y="524"/>
                    </a:lnTo>
                    <a:lnTo>
                      <a:pt x="592" y="526"/>
                    </a:lnTo>
                    <a:lnTo>
                      <a:pt x="591" y="526"/>
                    </a:lnTo>
                    <a:lnTo>
                      <a:pt x="591" y="527"/>
                    </a:lnTo>
                    <a:lnTo>
                      <a:pt x="591" y="529"/>
                    </a:lnTo>
                    <a:lnTo>
                      <a:pt x="589" y="529"/>
                    </a:lnTo>
                    <a:lnTo>
                      <a:pt x="589" y="531"/>
                    </a:lnTo>
                    <a:lnTo>
                      <a:pt x="588" y="531"/>
                    </a:lnTo>
                    <a:lnTo>
                      <a:pt x="588" y="532"/>
                    </a:lnTo>
                    <a:lnTo>
                      <a:pt x="588" y="534"/>
                    </a:lnTo>
                    <a:lnTo>
                      <a:pt x="586" y="534"/>
                    </a:lnTo>
                    <a:lnTo>
                      <a:pt x="586" y="535"/>
                    </a:lnTo>
                    <a:lnTo>
                      <a:pt x="586" y="537"/>
                    </a:lnTo>
                    <a:lnTo>
                      <a:pt x="584" y="537"/>
                    </a:lnTo>
                    <a:lnTo>
                      <a:pt x="584" y="539"/>
                    </a:lnTo>
                    <a:lnTo>
                      <a:pt x="583" y="539"/>
                    </a:lnTo>
                    <a:lnTo>
                      <a:pt x="583" y="540"/>
                    </a:lnTo>
                    <a:lnTo>
                      <a:pt x="583" y="542"/>
                    </a:lnTo>
                    <a:lnTo>
                      <a:pt x="581" y="542"/>
                    </a:lnTo>
                    <a:lnTo>
                      <a:pt x="581" y="543"/>
                    </a:lnTo>
                    <a:lnTo>
                      <a:pt x="581" y="545"/>
                    </a:lnTo>
                    <a:lnTo>
                      <a:pt x="580" y="545"/>
                    </a:lnTo>
                    <a:lnTo>
                      <a:pt x="580" y="546"/>
                    </a:lnTo>
                    <a:lnTo>
                      <a:pt x="578" y="546"/>
                    </a:lnTo>
                    <a:lnTo>
                      <a:pt x="578" y="548"/>
                    </a:lnTo>
                    <a:lnTo>
                      <a:pt x="578" y="550"/>
                    </a:lnTo>
                    <a:lnTo>
                      <a:pt x="577" y="550"/>
                    </a:lnTo>
                    <a:lnTo>
                      <a:pt x="577" y="551"/>
                    </a:lnTo>
                    <a:lnTo>
                      <a:pt x="577" y="553"/>
                    </a:lnTo>
                    <a:lnTo>
                      <a:pt x="577" y="554"/>
                    </a:lnTo>
                    <a:lnTo>
                      <a:pt x="575" y="554"/>
                    </a:lnTo>
                    <a:lnTo>
                      <a:pt x="575" y="556"/>
                    </a:lnTo>
                    <a:lnTo>
                      <a:pt x="575" y="558"/>
                    </a:lnTo>
                    <a:lnTo>
                      <a:pt x="573" y="558"/>
                    </a:lnTo>
                    <a:lnTo>
                      <a:pt x="573" y="559"/>
                    </a:lnTo>
                    <a:lnTo>
                      <a:pt x="573" y="561"/>
                    </a:lnTo>
                    <a:lnTo>
                      <a:pt x="572" y="561"/>
                    </a:lnTo>
                    <a:lnTo>
                      <a:pt x="572" y="562"/>
                    </a:lnTo>
                    <a:lnTo>
                      <a:pt x="572" y="564"/>
                    </a:lnTo>
                    <a:lnTo>
                      <a:pt x="572" y="565"/>
                    </a:lnTo>
                    <a:lnTo>
                      <a:pt x="570" y="565"/>
                    </a:lnTo>
                    <a:lnTo>
                      <a:pt x="570" y="567"/>
                    </a:lnTo>
                    <a:lnTo>
                      <a:pt x="570" y="569"/>
                    </a:lnTo>
                    <a:lnTo>
                      <a:pt x="570" y="570"/>
                    </a:lnTo>
                    <a:lnTo>
                      <a:pt x="570" y="572"/>
                    </a:lnTo>
                    <a:lnTo>
                      <a:pt x="570" y="573"/>
                    </a:lnTo>
                    <a:lnTo>
                      <a:pt x="570" y="575"/>
                    </a:lnTo>
                    <a:lnTo>
                      <a:pt x="572" y="575"/>
                    </a:lnTo>
                    <a:lnTo>
                      <a:pt x="572" y="577"/>
                    </a:lnTo>
                    <a:lnTo>
                      <a:pt x="572" y="578"/>
                    </a:lnTo>
                    <a:lnTo>
                      <a:pt x="572" y="580"/>
                    </a:lnTo>
                    <a:lnTo>
                      <a:pt x="572" y="581"/>
                    </a:lnTo>
                    <a:lnTo>
                      <a:pt x="572" y="583"/>
                    </a:lnTo>
                    <a:lnTo>
                      <a:pt x="572" y="584"/>
                    </a:lnTo>
                    <a:lnTo>
                      <a:pt x="572" y="586"/>
                    </a:lnTo>
                    <a:lnTo>
                      <a:pt x="572" y="588"/>
                    </a:lnTo>
                    <a:lnTo>
                      <a:pt x="572" y="589"/>
                    </a:lnTo>
                    <a:lnTo>
                      <a:pt x="570" y="589"/>
                    </a:lnTo>
                    <a:lnTo>
                      <a:pt x="570" y="591"/>
                    </a:lnTo>
                    <a:lnTo>
                      <a:pt x="570" y="592"/>
                    </a:lnTo>
                    <a:lnTo>
                      <a:pt x="570" y="594"/>
                    </a:lnTo>
                    <a:lnTo>
                      <a:pt x="569" y="594"/>
                    </a:lnTo>
                    <a:lnTo>
                      <a:pt x="569" y="596"/>
                    </a:lnTo>
                    <a:lnTo>
                      <a:pt x="567" y="596"/>
                    </a:lnTo>
                    <a:lnTo>
                      <a:pt x="565" y="596"/>
                    </a:lnTo>
                    <a:lnTo>
                      <a:pt x="565" y="597"/>
                    </a:lnTo>
                    <a:lnTo>
                      <a:pt x="565" y="599"/>
                    </a:lnTo>
                    <a:lnTo>
                      <a:pt x="565" y="600"/>
                    </a:lnTo>
                    <a:lnTo>
                      <a:pt x="564" y="600"/>
                    </a:lnTo>
                    <a:lnTo>
                      <a:pt x="562" y="600"/>
                    </a:lnTo>
                    <a:lnTo>
                      <a:pt x="561" y="600"/>
                    </a:lnTo>
                    <a:lnTo>
                      <a:pt x="559" y="600"/>
                    </a:lnTo>
                    <a:lnTo>
                      <a:pt x="557" y="600"/>
                    </a:lnTo>
                    <a:lnTo>
                      <a:pt x="556" y="600"/>
                    </a:lnTo>
                    <a:lnTo>
                      <a:pt x="554" y="599"/>
                    </a:lnTo>
                    <a:lnTo>
                      <a:pt x="553" y="599"/>
                    </a:lnTo>
                    <a:lnTo>
                      <a:pt x="553" y="597"/>
                    </a:lnTo>
                    <a:lnTo>
                      <a:pt x="551" y="597"/>
                    </a:lnTo>
                    <a:lnTo>
                      <a:pt x="550" y="597"/>
                    </a:lnTo>
                    <a:lnTo>
                      <a:pt x="548" y="597"/>
                    </a:lnTo>
                    <a:lnTo>
                      <a:pt x="546" y="597"/>
                    </a:lnTo>
                    <a:lnTo>
                      <a:pt x="545" y="597"/>
                    </a:lnTo>
                    <a:lnTo>
                      <a:pt x="543" y="597"/>
                    </a:lnTo>
                    <a:lnTo>
                      <a:pt x="542" y="597"/>
                    </a:lnTo>
                    <a:lnTo>
                      <a:pt x="540" y="597"/>
                    </a:lnTo>
                    <a:lnTo>
                      <a:pt x="540" y="596"/>
                    </a:lnTo>
                    <a:lnTo>
                      <a:pt x="538" y="596"/>
                    </a:lnTo>
                    <a:lnTo>
                      <a:pt x="537" y="596"/>
                    </a:lnTo>
                    <a:lnTo>
                      <a:pt x="535" y="596"/>
                    </a:lnTo>
                    <a:lnTo>
                      <a:pt x="535" y="597"/>
                    </a:lnTo>
                    <a:lnTo>
                      <a:pt x="534" y="597"/>
                    </a:lnTo>
                    <a:lnTo>
                      <a:pt x="534" y="599"/>
                    </a:lnTo>
                    <a:lnTo>
                      <a:pt x="532" y="600"/>
                    </a:lnTo>
                    <a:lnTo>
                      <a:pt x="531" y="602"/>
                    </a:lnTo>
                    <a:lnTo>
                      <a:pt x="529" y="602"/>
                    </a:lnTo>
                    <a:lnTo>
                      <a:pt x="527" y="603"/>
                    </a:lnTo>
                    <a:lnTo>
                      <a:pt x="526" y="602"/>
                    </a:lnTo>
                    <a:lnTo>
                      <a:pt x="524" y="602"/>
                    </a:lnTo>
                    <a:lnTo>
                      <a:pt x="523" y="600"/>
                    </a:lnTo>
                    <a:lnTo>
                      <a:pt x="521" y="600"/>
                    </a:lnTo>
                    <a:lnTo>
                      <a:pt x="519" y="600"/>
                    </a:lnTo>
                    <a:lnTo>
                      <a:pt x="518" y="600"/>
                    </a:lnTo>
                    <a:lnTo>
                      <a:pt x="518" y="602"/>
                    </a:lnTo>
                    <a:lnTo>
                      <a:pt x="516" y="602"/>
                    </a:lnTo>
                    <a:lnTo>
                      <a:pt x="515" y="602"/>
                    </a:lnTo>
                    <a:lnTo>
                      <a:pt x="513" y="603"/>
                    </a:lnTo>
                    <a:lnTo>
                      <a:pt x="513" y="605"/>
                    </a:lnTo>
                    <a:lnTo>
                      <a:pt x="512" y="607"/>
                    </a:lnTo>
                    <a:lnTo>
                      <a:pt x="512" y="608"/>
                    </a:lnTo>
                    <a:lnTo>
                      <a:pt x="510" y="610"/>
                    </a:lnTo>
                    <a:lnTo>
                      <a:pt x="508" y="610"/>
                    </a:lnTo>
                    <a:lnTo>
                      <a:pt x="507" y="611"/>
                    </a:lnTo>
                    <a:lnTo>
                      <a:pt x="505" y="611"/>
                    </a:lnTo>
                    <a:lnTo>
                      <a:pt x="504" y="611"/>
                    </a:lnTo>
                    <a:lnTo>
                      <a:pt x="504" y="610"/>
                    </a:lnTo>
                    <a:lnTo>
                      <a:pt x="502" y="610"/>
                    </a:lnTo>
                    <a:lnTo>
                      <a:pt x="500" y="610"/>
                    </a:lnTo>
                    <a:lnTo>
                      <a:pt x="499" y="610"/>
                    </a:lnTo>
                    <a:lnTo>
                      <a:pt x="497" y="610"/>
                    </a:lnTo>
                    <a:lnTo>
                      <a:pt x="497" y="611"/>
                    </a:lnTo>
                    <a:lnTo>
                      <a:pt x="496" y="613"/>
                    </a:lnTo>
                    <a:lnTo>
                      <a:pt x="494" y="615"/>
                    </a:lnTo>
                    <a:lnTo>
                      <a:pt x="493" y="615"/>
                    </a:lnTo>
                    <a:lnTo>
                      <a:pt x="493" y="616"/>
                    </a:lnTo>
                    <a:lnTo>
                      <a:pt x="491" y="616"/>
                    </a:lnTo>
                    <a:lnTo>
                      <a:pt x="491" y="618"/>
                    </a:lnTo>
                    <a:lnTo>
                      <a:pt x="489" y="619"/>
                    </a:lnTo>
                    <a:lnTo>
                      <a:pt x="488" y="619"/>
                    </a:lnTo>
                    <a:lnTo>
                      <a:pt x="486" y="621"/>
                    </a:lnTo>
                    <a:lnTo>
                      <a:pt x="486" y="619"/>
                    </a:lnTo>
                    <a:lnTo>
                      <a:pt x="486" y="618"/>
                    </a:lnTo>
                    <a:lnTo>
                      <a:pt x="485" y="616"/>
                    </a:lnTo>
                    <a:lnTo>
                      <a:pt x="483" y="616"/>
                    </a:lnTo>
                    <a:lnTo>
                      <a:pt x="483" y="615"/>
                    </a:lnTo>
                    <a:lnTo>
                      <a:pt x="481" y="615"/>
                    </a:lnTo>
                    <a:lnTo>
                      <a:pt x="480" y="615"/>
                    </a:lnTo>
                    <a:lnTo>
                      <a:pt x="480" y="616"/>
                    </a:lnTo>
                    <a:lnTo>
                      <a:pt x="478" y="616"/>
                    </a:lnTo>
                    <a:lnTo>
                      <a:pt x="478" y="618"/>
                    </a:lnTo>
                    <a:lnTo>
                      <a:pt x="477" y="618"/>
                    </a:lnTo>
                    <a:lnTo>
                      <a:pt x="475" y="618"/>
                    </a:lnTo>
                    <a:lnTo>
                      <a:pt x="474" y="618"/>
                    </a:lnTo>
                    <a:lnTo>
                      <a:pt x="474" y="619"/>
                    </a:lnTo>
                    <a:lnTo>
                      <a:pt x="472" y="618"/>
                    </a:lnTo>
                    <a:lnTo>
                      <a:pt x="470" y="618"/>
                    </a:lnTo>
                    <a:lnTo>
                      <a:pt x="469" y="618"/>
                    </a:lnTo>
                    <a:lnTo>
                      <a:pt x="467" y="618"/>
                    </a:lnTo>
                    <a:lnTo>
                      <a:pt x="467" y="616"/>
                    </a:lnTo>
                    <a:lnTo>
                      <a:pt x="466" y="616"/>
                    </a:lnTo>
                    <a:lnTo>
                      <a:pt x="464" y="616"/>
                    </a:lnTo>
                    <a:lnTo>
                      <a:pt x="464" y="615"/>
                    </a:lnTo>
                    <a:lnTo>
                      <a:pt x="462" y="615"/>
                    </a:lnTo>
                    <a:lnTo>
                      <a:pt x="461" y="615"/>
                    </a:lnTo>
                    <a:lnTo>
                      <a:pt x="461" y="616"/>
                    </a:lnTo>
                    <a:lnTo>
                      <a:pt x="459" y="616"/>
                    </a:lnTo>
                    <a:lnTo>
                      <a:pt x="459" y="618"/>
                    </a:lnTo>
                    <a:lnTo>
                      <a:pt x="458" y="618"/>
                    </a:lnTo>
                    <a:lnTo>
                      <a:pt x="458" y="619"/>
                    </a:lnTo>
                    <a:lnTo>
                      <a:pt x="456" y="619"/>
                    </a:lnTo>
                    <a:lnTo>
                      <a:pt x="456" y="621"/>
                    </a:lnTo>
                    <a:lnTo>
                      <a:pt x="455" y="621"/>
                    </a:lnTo>
                    <a:lnTo>
                      <a:pt x="453" y="621"/>
                    </a:lnTo>
                    <a:lnTo>
                      <a:pt x="451" y="619"/>
                    </a:lnTo>
                    <a:lnTo>
                      <a:pt x="450" y="618"/>
                    </a:lnTo>
                    <a:lnTo>
                      <a:pt x="448" y="618"/>
                    </a:lnTo>
                    <a:lnTo>
                      <a:pt x="448" y="619"/>
                    </a:lnTo>
                    <a:lnTo>
                      <a:pt x="447" y="619"/>
                    </a:lnTo>
                    <a:lnTo>
                      <a:pt x="445" y="619"/>
                    </a:lnTo>
                    <a:lnTo>
                      <a:pt x="443" y="619"/>
                    </a:lnTo>
                    <a:lnTo>
                      <a:pt x="443" y="618"/>
                    </a:lnTo>
                    <a:lnTo>
                      <a:pt x="442" y="618"/>
                    </a:lnTo>
                    <a:lnTo>
                      <a:pt x="442" y="616"/>
                    </a:lnTo>
                    <a:lnTo>
                      <a:pt x="442" y="615"/>
                    </a:lnTo>
                    <a:lnTo>
                      <a:pt x="440" y="615"/>
                    </a:lnTo>
                    <a:lnTo>
                      <a:pt x="440" y="613"/>
                    </a:lnTo>
                    <a:lnTo>
                      <a:pt x="439" y="611"/>
                    </a:lnTo>
                    <a:lnTo>
                      <a:pt x="439" y="610"/>
                    </a:lnTo>
                    <a:lnTo>
                      <a:pt x="437" y="608"/>
                    </a:lnTo>
                    <a:lnTo>
                      <a:pt x="436" y="608"/>
                    </a:lnTo>
                    <a:lnTo>
                      <a:pt x="434" y="608"/>
                    </a:lnTo>
                    <a:lnTo>
                      <a:pt x="432" y="608"/>
                    </a:lnTo>
                    <a:lnTo>
                      <a:pt x="431" y="610"/>
                    </a:lnTo>
                    <a:lnTo>
                      <a:pt x="429" y="610"/>
                    </a:lnTo>
                    <a:lnTo>
                      <a:pt x="428" y="610"/>
                    </a:lnTo>
                    <a:lnTo>
                      <a:pt x="426" y="610"/>
                    </a:lnTo>
                    <a:lnTo>
                      <a:pt x="424" y="610"/>
                    </a:lnTo>
                    <a:lnTo>
                      <a:pt x="423" y="610"/>
                    </a:lnTo>
                    <a:lnTo>
                      <a:pt x="421" y="611"/>
                    </a:lnTo>
                    <a:lnTo>
                      <a:pt x="420" y="611"/>
                    </a:lnTo>
                    <a:lnTo>
                      <a:pt x="418" y="611"/>
                    </a:lnTo>
                    <a:lnTo>
                      <a:pt x="417" y="610"/>
                    </a:lnTo>
                    <a:lnTo>
                      <a:pt x="417" y="608"/>
                    </a:lnTo>
                    <a:lnTo>
                      <a:pt x="417" y="607"/>
                    </a:lnTo>
                    <a:lnTo>
                      <a:pt x="417" y="605"/>
                    </a:lnTo>
                    <a:lnTo>
                      <a:pt x="417" y="603"/>
                    </a:lnTo>
                    <a:lnTo>
                      <a:pt x="415" y="603"/>
                    </a:lnTo>
                    <a:lnTo>
                      <a:pt x="415" y="602"/>
                    </a:lnTo>
                    <a:lnTo>
                      <a:pt x="413" y="602"/>
                    </a:lnTo>
                    <a:lnTo>
                      <a:pt x="413" y="600"/>
                    </a:lnTo>
                    <a:lnTo>
                      <a:pt x="412" y="600"/>
                    </a:lnTo>
                    <a:lnTo>
                      <a:pt x="412" y="599"/>
                    </a:lnTo>
                    <a:lnTo>
                      <a:pt x="412" y="597"/>
                    </a:lnTo>
                    <a:lnTo>
                      <a:pt x="410" y="597"/>
                    </a:lnTo>
                    <a:lnTo>
                      <a:pt x="410" y="596"/>
                    </a:lnTo>
                    <a:lnTo>
                      <a:pt x="409" y="594"/>
                    </a:lnTo>
                    <a:lnTo>
                      <a:pt x="407" y="592"/>
                    </a:lnTo>
                    <a:lnTo>
                      <a:pt x="405" y="594"/>
                    </a:lnTo>
                    <a:lnTo>
                      <a:pt x="404" y="592"/>
                    </a:lnTo>
                    <a:lnTo>
                      <a:pt x="402" y="592"/>
                    </a:lnTo>
                    <a:lnTo>
                      <a:pt x="402" y="591"/>
                    </a:lnTo>
                    <a:lnTo>
                      <a:pt x="401" y="591"/>
                    </a:lnTo>
                    <a:lnTo>
                      <a:pt x="399" y="591"/>
                    </a:lnTo>
                    <a:lnTo>
                      <a:pt x="398" y="591"/>
                    </a:lnTo>
                    <a:lnTo>
                      <a:pt x="398" y="589"/>
                    </a:lnTo>
                    <a:lnTo>
                      <a:pt x="396" y="591"/>
                    </a:lnTo>
                    <a:lnTo>
                      <a:pt x="394" y="591"/>
                    </a:lnTo>
                    <a:lnTo>
                      <a:pt x="393" y="591"/>
                    </a:lnTo>
                    <a:lnTo>
                      <a:pt x="391" y="592"/>
                    </a:lnTo>
                    <a:lnTo>
                      <a:pt x="390" y="592"/>
                    </a:lnTo>
                    <a:lnTo>
                      <a:pt x="388" y="592"/>
                    </a:lnTo>
                    <a:lnTo>
                      <a:pt x="388" y="591"/>
                    </a:lnTo>
                    <a:lnTo>
                      <a:pt x="386" y="591"/>
                    </a:lnTo>
                    <a:lnTo>
                      <a:pt x="385" y="591"/>
                    </a:lnTo>
                    <a:lnTo>
                      <a:pt x="385" y="589"/>
                    </a:lnTo>
                    <a:lnTo>
                      <a:pt x="383" y="589"/>
                    </a:lnTo>
                    <a:lnTo>
                      <a:pt x="383" y="588"/>
                    </a:lnTo>
                    <a:lnTo>
                      <a:pt x="382" y="588"/>
                    </a:lnTo>
                    <a:lnTo>
                      <a:pt x="382" y="586"/>
                    </a:lnTo>
                    <a:lnTo>
                      <a:pt x="380" y="588"/>
                    </a:lnTo>
                    <a:lnTo>
                      <a:pt x="378" y="588"/>
                    </a:lnTo>
                    <a:lnTo>
                      <a:pt x="378" y="586"/>
                    </a:lnTo>
                    <a:lnTo>
                      <a:pt x="378" y="584"/>
                    </a:lnTo>
                    <a:lnTo>
                      <a:pt x="378" y="583"/>
                    </a:lnTo>
                    <a:lnTo>
                      <a:pt x="377" y="583"/>
                    </a:lnTo>
                    <a:lnTo>
                      <a:pt x="377" y="581"/>
                    </a:lnTo>
                    <a:lnTo>
                      <a:pt x="375" y="581"/>
                    </a:lnTo>
                    <a:lnTo>
                      <a:pt x="375" y="580"/>
                    </a:lnTo>
                    <a:lnTo>
                      <a:pt x="375" y="578"/>
                    </a:lnTo>
                    <a:lnTo>
                      <a:pt x="374" y="578"/>
                    </a:lnTo>
                    <a:lnTo>
                      <a:pt x="372" y="580"/>
                    </a:lnTo>
                    <a:lnTo>
                      <a:pt x="372" y="578"/>
                    </a:lnTo>
                    <a:lnTo>
                      <a:pt x="371" y="578"/>
                    </a:lnTo>
                    <a:lnTo>
                      <a:pt x="369" y="580"/>
                    </a:lnTo>
                    <a:lnTo>
                      <a:pt x="369" y="578"/>
                    </a:lnTo>
                    <a:lnTo>
                      <a:pt x="369" y="577"/>
                    </a:lnTo>
                    <a:lnTo>
                      <a:pt x="371" y="575"/>
                    </a:lnTo>
                    <a:lnTo>
                      <a:pt x="371" y="573"/>
                    </a:lnTo>
                    <a:lnTo>
                      <a:pt x="369" y="573"/>
                    </a:lnTo>
                    <a:lnTo>
                      <a:pt x="369" y="572"/>
                    </a:lnTo>
                    <a:lnTo>
                      <a:pt x="367" y="572"/>
                    </a:lnTo>
                    <a:lnTo>
                      <a:pt x="366" y="572"/>
                    </a:lnTo>
                    <a:lnTo>
                      <a:pt x="364" y="572"/>
                    </a:lnTo>
                    <a:lnTo>
                      <a:pt x="364" y="570"/>
                    </a:lnTo>
                    <a:lnTo>
                      <a:pt x="363" y="572"/>
                    </a:lnTo>
                    <a:lnTo>
                      <a:pt x="361" y="570"/>
                    </a:lnTo>
                    <a:lnTo>
                      <a:pt x="359" y="570"/>
                    </a:lnTo>
                    <a:lnTo>
                      <a:pt x="359" y="569"/>
                    </a:lnTo>
                    <a:lnTo>
                      <a:pt x="361" y="569"/>
                    </a:lnTo>
                    <a:lnTo>
                      <a:pt x="359" y="567"/>
                    </a:lnTo>
                    <a:lnTo>
                      <a:pt x="358" y="567"/>
                    </a:lnTo>
                    <a:lnTo>
                      <a:pt x="356" y="567"/>
                    </a:lnTo>
                    <a:lnTo>
                      <a:pt x="355" y="567"/>
                    </a:lnTo>
                    <a:lnTo>
                      <a:pt x="355" y="565"/>
                    </a:lnTo>
                    <a:lnTo>
                      <a:pt x="353" y="565"/>
                    </a:lnTo>
                    <a:lnTo>
                      <a:pt x="352" y="565"/>
                    </a:lnTo>
                    <a:lnTo>
                      <a:pt x="350" y="565"/>
                    </a:lnTo>
                    <a:lnTo>
                      <a:pt x="348" y="567"/>
                    </a:lnTo>
                    <a:lnTo>
                      <a:pt x="348" y="569"/>
                    </a:lnTo>
                    <a:lnTo>
                      <a:pt x="347" y="569"/>
                    </a:lnTo>
                    <a:lnTo>
                      <a:pt x="345" y="569"/>
                    </a:lnTo>
                    <a:lnTo>
                      <a:pt x="345" y="567"/>
                    </a:lnTo>
                    <a:lnTo>
                      <a:pt x="344" y="567"/>
                    </a:lnTo>
                    <a:lnTo>
                      <a:pt x="342" y="567"/>
                    </a:lnTo>
                    <a:lnTo>
                      <a:pt x="340" y="567"/>
                    </a:lnTo>
                    <a:lnTo>
                      <a:pt x="339" y="567"/>
                    </a:lnTo>
                    <a:lnTo>
                      <a:pt x="337" y="567"/>
                    </a:lnTo>
                    <a:lnTo>
                      <a:pt x="336" y="567"/>
                    </a:lnTo>
                    <a:lnTo>
                      <a:pt x="334" y="567"/>
                    </a:lnTo>
                    <a:lnTo>
                      <a:pt x="334" y="565"/>
                    </a:lnTo>
                    <a:lnTo>
                      <a:pt x="333" y="565"/>
                    </a:lnTo>
                    <a:lnTo>
                      <a:pt x="331" y="565"/>
                    </a:lnTo>
                    <a:lnTo>
                      <a:pt x="329" y="565"/>
                    </a:lnTo>
                    <a:lnTo>
                      <a:pt x="329" y="564"/>
                    </a:lnTo>
                    <a:lnTo>
                      <a:pt x="328" y="564"/>
                    </a:lnTo>
                    <a:lnTo>
                      <a:pt x="326" y="565"/>
                    </a:lnTo>
                    <a:lnTo>
                      <a:pt x="325" y="567"/>
                    </a:lnTo>
                    <a:lnTo>
                      <a:pt x="325" y="569"/>
                    </a:lnTo>
                    <a:lnTo>
                      <a:pt x="323" y="569"/>
                    </a:lnTo>
                    <a:lnTo>
                      <a:pt x="321" y="569"/>
                    </a:lnTo>
                    <a:lnTo>
                      <a:pt x="320" y="569"/>
                    </a:lnTo>
                    <a:lnTo>
                      <a:pt x="318" y="567"/>
                    </a:lnTo>
                    <a:lnTo>
                      <a:pt x="317" y="567"/>
                    </a:lnTo>
                    <a:lnTo>
                      <a:pt x="315" y="567"/>
                    </a:lnTo>
                    <a:lnTo>
                      <a:pt x="314" y="567"/>
                    </a:lnTo>
                    <a:lnTo>
                      <a:pt x="314" y="569"/>
                    </a:lnTo>
                    <a:lnTo>
                      <a:pt x="312" y="569"/>
                    </a:lnTo>
                    <a:lnTo>
                      <a:pt x="310" y="569"/>
                    </a:lnTo>
                    <a:lnTo>
                      <a:pt x="310" y="570"/>
                    </a:lnTo>
                    <a:lnTo>
                      <a:pt x="309" y="570"/>
                    </a:lnTo>
                    <a:lnTo>
                      <a:pt x="307" y="570"/>
                    </a:lnTo>
                    <a:lnTo>
                      <a:pt x="307" y="572"/>
                    </a:lnTo>
                    <a:lnTo>
                      <a:pt x="306" y="572"/>
                    </a:lnTo>
                    <a:lnTo>
                      <a:pt x="304" y="572"/>
                    </a:lnTo>
                    <a:lnTo>
                      <a:pt x="302" y="572"/>
                    </a:lnTo>
                    <a:lnTo>
                      <a:pt x="302" y="570"/>
                    </a:lnTo>
                    <a:lnTo>
                      <a:pt x="302" y="569"/>
                    </a:lnTo>
                    <a:lnTo>
                      <a:pt x="301" y="569"/>
                    </a:lnTo>
                    <a:lnTo>
                      <a:pt x="301" y="567"/>
                    </a:lnTo>
                    <a:lnTo>
                      <a:pt x="299" y="567"/>
                    </a:lnTo>
                    <a:lnTo>
                      <a:pt x="299" y="565"/>
                    </a:lnTo>
                    <a:lnTo>
                      <a:pt x="298" y="565"/>
                    </a:lnTo>
                    <a:lnTo>
                      <a:pt x="296" y="565"/>
                    </a:lnTo>
                    <a:lnTo>
                      <a:pt x="296" y="564"/>
                    </a:lnTo>
                    <a:lnTo>
                      <a:pt x="295" y="564"/>
                    </a:lnTo>
                    <a:lnTo>
                      <a:pt x="293" y="564"/>
                    </a:lnTo>
                    <a:lnTo>
                      <a:pt x="291" y="564"/>
                    </a:lnTo>
                    <a:lnTo>
                      <a:pt x="290" y="565"/>
                    </a:lnTo>
                    <a:lnTo>
                      <a:pt x="288" y="565"/>
                    </a:lnTo>
                    <a:lnTo>
                      <a:pt x="287" y="565"/>
                    </a:lnTo>
                    <a:lnTo>
                      <a:pt x="285" y="567"/>
                    </a:lnTo>
                    <a:lnTo>
                      <a:pt x="283" y="567"/>
                    </a:lnTo>
                    <a:lnTo>
                      <a:pt x="282" y="567"/>
                    </a:lnTo>
                    <a:lnTo>
                      <a:pt x="280" y="567"/>
                    </a:lnTo>
                    <a:lnTo>
                      <a:pt x="279" y="569"/>
                    </a:lnTo>
                    <a:lnTo>
                      <a:pt x="277" y="569"/>
                    </a:lnTo>
                    <a:lnTo>
                      <a:pt x="276" y="569"/>
                    </a:lnTo>
                    <a:lnTo>
                      <a:pt x="274" y="569"/>
                    </a:lnTo>
                    <a:lnTo>
                      <a:pt x="272" y="570"/>
                    </a:lnTo>
                    <a:lnTo>
                      <a:pt x="271" y="570"/>
                    </a:lnTo>
                    <a:lnTo>
                      <a:pt x="269" y="570"/>
                    </a:lnTo>
                    <a:lnTo>
                      <a:pt x="268" y="570"/>
                    </a:lnTo>
                    <a:lnTo>
                      <a:pt x="268" y="572"/>
                    </a:lnTo>
                    <a:lnTo>
                      <a:pt x="266" y="572"/>
                    </a:lnTo>
                    <a:lnTo>
                      <a:pt x="264" y="572"/>
                    </a:lnTo>
                    <a:lnTo>
                      <a:pt x="263" y="572"/>
                    </a:lnTo>
                    <a:lnTo>
                      <a:pt x="261" y="572"/>
                    </a:lnTo>
                    <a:lnTo>
                      <a:pt x="261" y="573"/>
                    </a:lnTo>
                    <a:lnTo>
                      <a:pt x="260" y="573"/>
                    </a:lnTo>
                    <a:lnTo>
                      <a:pt x="258" y="573"/>
                    </a:lnTo>
                    <a:lnTo>
                      <a:pt x="257" y="573"/>
                    </a:lnTo>
                    <a:lnTo>
                      <a:pt x="255" y="573"/>
                    </a:lnTo>
                    <a:lnTo>
                      <a:pt x="255" y="575"/>
                    </a:lnTo>
                    <a:lnTo>
                      <a:pt x="253" y="575"/>
                    </a:lnTo>
                    <a:lnTo>
                      <a:pt x="252" y="575"/>
                    </a:lnTo>
                    <a:lnTo>
                      <a:pt x="250" y="575"/>
                    </a:lnTo>
                    <a:lnTo>
                      <a:pt x="249" y="577"/>
                    </a:lnTo>
                    <a:lnTo>
                      <a:pt x="247" y="577"/>
                    </a:lnTo>
                    <a:lnTo>
                      <a:pt x="245" y="577"/>
                    </a:lnTo>
                    <a:lnTo>
                      <a:pt x="244" y="577"/>
                    </a:lnTo>
                    <a:lnTo>
                      <a:pt x="242" y="577"/>
                    </a:lnTo>
                    <a:lnTo>
                      <a:pt x="241" y="577"/>
                    </a:lnTo>
                    <a:lnTo>
                      <a:pt x="241" y="578"/>
                    </a:lnTo>
                    <a:lnTo>
                      <a:pt x="239" y="583"/>
                    </a:lnTo>
                    <a:lnTo>
                      <a:pt x="233" y="583"/>
                    </a:lnTo>
                    <a:lnTo>
                      <a:pt x="230" y="583"/>
                    </a:lnTo>
                    <a:lnTo>
                      <a:pt x="226" y="580"/>
                    </a:lnTo>
                    <a:lnTo>
                      <a:pt x="222" y="578"/>
                    </a:lnTo>
                    <a:lnTo>
                      <a:pt x="222" y="580"/>
                    </a:lnTo>
                    <a:lnTo>
                      <a:pt x="222" y="584"/>
                    </a:lnTo>
                    <a:lnTo>
                      <a:pt x="222" y="588"/>
                    </a:lnTo>
                    <a:lnTo>
                      <a:pt x="223" y="592"/>
                    </a:lnTo>
                    <a:lnTo>
                      <a:pt x="222" y="597"/>
                    </a:lnTo>
                    <a:lnTo>
                      <a:pt x="219" y="599"/>
                    </a:lnTo>
                    <a:lnTo>
                      <a:pt x="217" y="599"/>
                    </a:lnTo>
                    <a:lnTo>
                      <a:pt x="214" y="599"/>
                    </a:lnTo>
                    <a:lnTo>
                      <a:pt x="212" y="597"/>
                    </a:lnTo>
                    <a:lnTo>
                      <a:pt x="207" y="596"/>
                    </a:lnTo>
                    <a:lnTo>
                      <a:pt x="201" y="596"/>
                    </a:lnTo>
                    <a:lnTo>
                      <a:pt x="198" y="597"/>
                    </a:lnTo>
                    <a:lnTo>
                      <a:pt x="193" y="597"/>
                    </a:lnTo>
                    <a:lnTo>
                      <a:pt x="190" y="597"/>
                    </a:lnTo>
                    <a:lnTo>
                      <a:pt x="187" y="600"/>
                    </a:lnTo>
                    <a:lnTo>
                      <a:pt x="187" y="602"/>
                    </a:lnTo>
                    <a:lnTo>
                      <a:pt x="187" y="605"/>
                    </a:lnTo>
                    <a:lnTo>
                      <a:pt x="185" y="607"/>
                    </a:lnTo>
                    <a:lnTo>
                      <a:pt x="184" y="608"/>
                    </a:lnTo>
                    <a:lnTo>
                      <a:pt x="182" y="608"/>
                    </a:lnTo>
                    <a:lnTo>
                      <a:pt x="180" y="608"/>
                    </a:lnTo>
                    <a:lnTo>
                      <a:pt x="179" y="607"/>
                    </a:lnTo>
                    <a:lnTo>
                      <a:pt x="176" y="599"/>
                    </a:lnTo>
                    <a:lnTo>
                      <a:pt x="173" y="591"/>
                    </a:lnTo>
                    <a:lnTo>
                      <a:pt x="168" y="588"/>
                    </a:lnTo>
                    <a:lnTo>
                      <a:pt x="161" y="583"/>
                    </a:lnTo>
                    <a:lnTo>
                      <a:pt x="157" y="580"/>
                    </a:lnTo>
                    <a:lnTo>
                      <a:pt x="154" y="575"/>
                    </a:lnTo>
                    <a:lnTo>
                      <a:pt x="152" y="569"/>
                    </a:lnTo>
                    <a:lnTo>
                      <a:pt x="152" y="561"/>
                    </a:lnTo>
                    <a:lnTo>
                      <a:pt x="152" y="558"/>
                    </a:lnTo>
                    <a:lnTo>
                      <a:pt x="149" y="556"/>
                    </a:lnTo>
                    <a:lnTo>
                      <a:pt x="142" y="554"/>
                    </a:lnTo>
                    <a:lnTo>
                      <a:pt x="141" y="554"/>
                    </a:lnTo>
                    <a:lnTo>
                      <a:pt x="139" y="558"/>
                    </a:lnTo>
                    <a:lnTo>
                      <a:pt x="136" y="556"/>
                    </a:lnTo>
                    <a:lnTo>
                      <a:pt x="133" y="554"/>
                    </a:lnTo>
                    <a:lnTo>
                      <a:pt x="131" y="554"/>
                    </a:lnTo>
                    <a:lnTo>
                      <a:pt x="128" y="551"/>
                    </a:lnTo>
                    <a:lnTo>
                      <a:pt x="127" y="551"/>
                    </a:lnTo>
                    <a:lnTo>
                      <a:pt x="125" y="553"/>
                    </a:lnTo>
                    <a:lnTo>
                      <a:pt x="120" y="553"/>
                    </a:lnTo>
                    <a:lnTo>
                      <a:pt x="119" y="546"/>
                    </a:lnTo>
                    <a:lnTo>
                      <a:pt x="117" y="546"/>
                    </a:lnTo>
                    <a:lnTo>
                      <a:pt x="116" y="546"/>
                    </a:lnTo>
                    <a:lnTo>
                      <a:pt x="114" y="546"/>
                    </a:lnTo>
                    <a:lnTo>
                      <a:pt x="112" y="545"/>
                    </a:lnTo>
                    <a:lnTo>
                      <a:pt x="111" y="545"/>
                    </a:lnTo>
                    <a:lnTo>
                      <a:pt x="109" y="543"/>
                    </a:lnTo>
                    <a:lnTo>
                      <a:pt x="104" y="543"/>
                    </a:lnTo>
                    <a:lnTo>
                      <a:pt x="103" y="545"/>
                    </a:lnTo>
                    <a:lnTo>
                      <a:pt x="103" y="546"/>
                    </a:lnTo>
                    <a:lnTo>
                      <a:pt x="103" y="548"/>
                    </a:lnTo>
                    <a:lnTo>
                      <a:pt x="103" y="550"/>
                    </a:lnTo>
                    <a:lnTo>
                      <a:pt x="103" y="551"/>
                    </a:lnTo>
                    <a:lnTo>
                      <a:pt x="103" y="553"/>
                    </a:lnTo>
                    <a:lnTo>
                      <a:pt x="101" y="553"/>
                    </a:lnTo>
                    <a:lnTo>
                      <a:pt x="101" y="554"/>
                    </a:lnTo>
                    <a:lnTo>
                      <a:pt x="101" y="556"/>
                    </a:lnTo>
                    <a:lnTo>
                      <a:pt x="101" y="558"/>
                    </a:lnTo>
                    <a:lnTo>
                      <a:pt x="101" y="559"/>
                    </a:lnTo>
                    <a:lnTo>
                      <a:pt x="101" y="561"/>
                    </a:lnTo>
                    <a:lnTo>
                      <a:pt x="100" y="561"/>
                    </a:lnTo>
                    <a:lnTo>
                      <a:pt x="100" y="562"/>
                    </a:lnTo>
                    <a:lnTo>
                      <a:pt x="100" y="564"/>
                    </a:lnTo>
                    <a:lnTo>
                      <a:pt x="100" y="565"/>
                    </a:lnTo>
                    <a:lnTo>
                      <a:pt x="100" y="567"/>
                    </a:lnTo>
                    <a:lnTo>
                      <a:pt x="100" y="569"/>
                    </a:lnTo>
                    <a:lnTo>
                      <a:pt x="100" y="570"/>
                    </a:lnTo>
                    <a:lnTo>
                      <a:pt x="98" y="572"/>
                    </a:lnTo>
                    <a:lnTo>
                      <a:pt x="98" y="573"/>
                    </a:lnTo>
                    <a:lnTo>
                      <a:pt x="98" y="575"/>
                    </a:lnTo>
                    <a:lnTo>
                      <a:pt x="98" y="577"/>
                    </a:lnTo>
                    <a:lnTo>
                      <a:pt x="97" y="577"/>
                    </a:lnTo>
                    <a:lnTo>
                      <a:pt x="97" y="578"/>
                    </a:lnTo>
                    <a:lnTo>
                      <a:pt x="97" y="580"/>
                    </a:lnTo>
                    <a:lnTo>
                      <a:pt x="97" y="581"/>
                    </a:lnTo>
                    <a:lnTo>
                      <a:pt x="97" y="583"/>
                    </a:lnTo>
                    <a:lnTo>
                      <a:pt x="97" y="584"/>
                    </a:lnTo>
                    <a:lnTo>
                      <a:pt x="97" y="586"/>
                    </a:lnTo>
                    <a:lnTo>
                      <a:pt x="95" y="586"/>
                    </a:lnTo>
                    <a:lnTo>
                      <a:pt x="95" y="588"/>
                    </a:lnTo>
                    <a:lnTo>
                      <a:pt x="95" y="589"/>
                    </a:lnTo>
                    <a:lnTo>
                      <a:pt x="95" y="591"/>
                    </a:lnTo>
                    <a:lnTo>
                      <a:pt x="95" y="592"/>
                    </a:lnTo>
                    <a:lnTo>
                      <a:pt x="95" y="594"/>
                    </a:lnTo>
                    <a:lnTo>
                      <a:pt x="95" y="596"/>
                    </a:lnTo>
                    <a:lnTo>
                      <a:pt x="95" y="597"/>
                    </a:lnTo>
                    <a:lnTo>
                      <a:pt x="93" y="597"/>
                    </a:lnTo>
                    <a:lnTo>
                      <a:pt x="93" y="599"/>
                    </a:lnTo>
                    <a:lnTo>
                      <a:pt x="92" y="599"/>
                    </a:lnTo>
                    <a:lnTo>
                      <a:pt x="92" y="600"/>
                    </a:lnTo>
                    <a:lnTo>
                      <a:pt x="90" y="600"/>
                    </a:lnTo>
                    <a:lnTo>
                      <a:pt x="89" y="600"/>
                    </a:lnTo>
                    <a:lnTo>
                      <a:pt x="87" y="600"/>
                    </a:lnTo>
                    <a:lnTo>
                      <a:pt x="85" y="600"/>
                    </a:lnTo>
                    <a:lnTo>
                      <a:pt x="84" y="600"/>
                    </a:lnTo>
                    <a:lnTo>
                      <a:pt x="82" y="600"/>
                    </a:lnTo>
                    <a:lnTo>
                      <a:pt x="81" y="600"/>
                    </a:lnTo>
                    <a:lnTo>
                      <a:pt x="79" y="600"/>
                    </a:lnTo>
                    <a:lnTo>
                      <a:pt x="78" y="600"/>
                    </a:lnTo>
                    <a:lnTo>
                      <a:pt x="76" y="600"/>
                    </a:lnTo>
                    <a:lnTo>
                      <a:pt x="74" y="600"/>
                    </a:lnTo>
                    <a:lnTo>
                      <a:pt x="74" y="602"/>
                    </a:lnTo>
                    <a:lnTo>
                      <a:pt x="74" y="603"/>
                    </a:lnTo>
                    <a:lnTo>
                      <a:pt x="74" y="605"/>
                    </a:lnTo>
                    <a:lnTo>
                      <a:pt x="74" y="607"/>
                    </a:lnTo>
                    <a:lnTo>
                      <a:pt x="73" y="608"/>
                    </a:lnTo>
                    <a:lnTo>
                      <a:pt x="71" y="608"/>
                    </a:lnTo>
                    <a:lnTo>
                      <a:pt x="70" y="610"/>
                    </a:lnTo>
                    <a:lnTo>
                      <a:pt x="68" y="610"/>
                    </a:lnTo>
                    <a:lnTo>
                      <a:pt x="66" y="611"/>
                    </a:lnTo>
                    <a:lnTo>
                      <a:pt x="65" y="613"/>
                    </a:lnTo>
                    <a:lnTo>
                      <a:pt x="63" y="615"/>
                    </a:lnTo>
                    <a:lnTo>
                      <a:pt x="63" y="616"/>
                    </a:lnTo>
                    <a:lnTo>
                      <a:pt x="62" y="616"/>
                    </a:lnTo>
                    <a:lnTo>
                      <a:pt x="60" y="618"/>
                    </a:lnTo>
                    <a:lnTo>
                      <a:pt x="59" y="619"/>
                    </a:lnTo>
                    <a:lnTo>
                      <a:pt x="57" y="621"/>
                    </a:lnTo>
                    <a:lnTo>
                      <a:pt x="55" y="621"/>
                    </a:lnTo>
                    <a:lnTo>
                      <a:pt x="55" y="623"/>
                    </a:lnTo>
                    <a:lnTo>
                      <a:pt x="54" y="623"/>
                    </a:lnTo>
                    <a:lnTo>
                      <a:pt x="54" y="624"/>
                    </a:lnTo>
                    <a:lnTo>
                      <a:pt x="52" y="624"/>
                    </a:lnTo>
                    <a:lnTo>
                      <a:pt x="51" y="626"/>
                    </a:lnTo>
                    <a:lnTo>
                      <a:pt x="49" y="627"/>
                    </a:lnTo>
                    <a:lnTo>
                      <a:pt x="47" y="627"/>
                    </a:lnTo>
                    <a:lnTo>
                      <a:pt x="47" y="629"/>
                    </a:lnTo>
                    <a:lnTo>
                      <a:pt x="46" y="630"/>
                    </a:lnTo>
                    <a:lnTo>
                      <a:pt x="44" y="632"/>
                    </a:lnTo>
                    <a:lnTo>
                      <a:pt x="41" y="646"/>
                    </a:lnTo>
                    <a:lnTo>
                      <a:pt x="40" y="648"/>
                    </a:lnTo>
                    <a:lnTo>
                      <a:pt x="38" y="649"/>
                    </a:lnTo>
                    <a:lnTo>
                      <a:pt x="36" y="651"/>
                    </a:lnTo>
                    <a:lnTo>
                      <a:pt x="35" y="649"/>
                    </a:lnTo>
                    <a:lnTo>
                      <a:pt x="32" y="646"/>
                    </a:lnTo>
                    <a:lnTo>
                      <a:pt x="28" y="645"/>
                    </a:lnTo>
                    <a:lnTo>
                      <a:pt x="27" y="643"/>
                    </a:lnTo>
                    <a:lnTo>
                      <a:pt x="25" y="642"/>
                    </a:lnTo>
                    <a:lnTo>
                      <a:pt x="22" y="640"/>
                    </a:lnTo>
                    <a:lnTo>
                      <a:pt x="21" y="637"/>
                    </a:lnTo>
                    <a:lnTo>
                      <a:pt x="17" y="635"/>
                    </a:lnTo>
                    <a:lnTo>
                      <a:pt x="16" y="634"/>
                    </a:lnTo>
                    <a:lnTo>
                      <a:pt x="17" y="634"/>
                    </a:lnTo>
                    <a:lnTo>
                      <a:pt x="19" y="634"/>
                    </a:lnTo>
                    <a:lnTo>
                      <a:pt x="19" y="632"/>
                    </a:lnTo>
                    <a:lnTo>
                      <a:pt x="19" y="630"/>
                    </a:lnTo>
                    <a:lnTo>
                      <a:pt x="17" y="630"/>
                    </a:lnTo>
                    <a:lnTo>
                      <a:pt x="17" y="629"/>
                    </a:lnTo>
                    <a:lnTo>
                      <a:pt x="17" y="630"/>
                    </a:lnTo>
                    <a:lnTo>
                      <a:pt x="16" y="629"/>
                    </a:lnTo>
                    <a:lnTo>
                      <a:pt x="14" y="627"/>
                    </a:lnTo>
                    <a:lnTo>
                      <a:pt x="13" y="626"/>
                    </a:lnTo>
                    <a:lnTo>
                      <a:pt x="13" y="624"/>
                    </a:lnTo>
                    <a:lnTo>
                      <a:pt x="14" y="623"/>
                    </a:lnTo>
                    <a:lnTo>
                      <a:pt x="14" y="621"/>
                    </a:lnTo>
                    <a:lnTo>
                      <a:pt x="16" y="621"/>
                    </a:lnTo>
                    <a:lnTo>
                      <a:pt x="16" y="619"/>
                    </a:lnTo>
                    <a:lnTo>
                      <a:pt x="17" y="618"/>
                    </a:lnTo>
                    <a:lnTo>
                      <a:pt x="19" y="616"/>
                    </a:lnTo>
                    <a:lnTo>
                      <a:pt x="19" y="615"/>
                    </a:lnTo>
                    <a:lnTo>
                      <a:pt x="25" y="611"/>
                    </a:lnTo>
                    <a:lnTo>
                      <a:pt x="24" y="610"/>
                    </a:lnTo>
                    <a:lnTo>
                      <a:pt x="22" y="610"/>
                    </a:lnTo>
                    <a:lnTo>
                      <a:pt x="21" y="610"/>
                    </a:lnTo>
                    <a:lnTo>
                      <a:pt x="19" y="610"/>
                    </a:lnTo>
                    <a:lnTo>
                      <a:pt x="17" y="608"/>
                    </a:lnTo>
                    <a:lnTo>
                      <a:pt x="16" y="608"/>
                    </a:lnTo>
                    <a:lnTo>
                      <a:pt x="14" y="608"/>
                    </a:lnTo>
                    <a:lnTo>
                      <a:pt x="13" y="608"/>
                    </a:lnTo>
                    <a:lnTo>
                      <a:pt x="11" y="608"/>
                    </a:lnTo>
                    <a:lnTo>
                      <a:pt x="9" y="608"/>
                    </a:lnTo>
                    <a:lnTo>
                      <a:pt x="8" y="608"/>
                    </a:lnTo>
                    <a:lnTo>
                      <a:pt x="6" y="608"/>
                    </a:lnTo>
                    <a:lnTo>
                      <a:pt x="5" y="608"/>
                    </a:lnTo>
                    <a:lnTo>
                      <a:pt x="5" y="607"/>
                    </a:lnTo>
                    <a:lnTo>
                      <a:pt x="3" y="607"/>
                    </a:lnTo>
                    <a:lnTo>
                      <a:pt x="3" y="605"/>
                    </a:lnTo>
                    <a:lnTo>
                      <a:pt x="3" y="603"/>
                    </a:lnTo>
                    <a:lnTo>
                      <a:pt x="5" y="603"/>
                    </a:lnTo>
                    <a:lnTo>
                      <a:pt x="5" y="602"/>
                    </a:lnTo>
                    <a:lnTo>
                      <a:pt x="5" y="600"/>
                    </a:lnTo>
                    <a:lnTo>
                      <a:pt x="5" y="599"/>
                    </a:lnTo>
                    <a:lnTo>
                      <a:pt x="3" y="599"/>
                    </a:lnTo>
                    <a:lnTo>
                      <a:pt x="3" y="597"/>
                    </a:lnTo>
                    <a:lnTo>
                      <a:pt x="3" y="596"/>
                    </a:lnTo>
                    <a:lnTo>
                      <a:pt x="3" y="594"/>
                    </a:lnTo>
                    <a:lnTo>
                      <a:pt x="3" y="592"/>
                    </a:lnTo>
                    <a:lnTo>
                      <a:pt x="5" y="591"/>
                    </a:lnTo>
                    <a:lnTo>
                      <a:pt x="3" y="591"/>
                    </a:lnTo>
                    <a:lnTo>
                      <a:pt x="3" y="589"/>
                    </a:lnTo>
                    <a:lnTo>
                      <a:pt x="3" y="588"/>
                    </a:lnTo>
                    <a:lnTo>
                      <a:pt x="1" y="588"/>
                    </a:lnTo>
                    <a:lnTo>
                      <a:pt x="1" y="586"/>
                    </a:lnTo>
                    <a:lnTo>
                      <a:pt x="1" y="584"/>
                    </a:lnTo>
                    <a:lnTo>
                      <a:pt x="1" y="583"/>
                    </a:lnTo>
                    <a:lnTo>
                      <a:pt x="0" y="583"/>
                    </a:lnTo>
                    <a:lnTo>
                      <a:pt x="0" y="581"/>
                    </a:lnTo>
                    <a:lnTo>
                      <a:pt x="0" y="580"/>
                    </a:lnTo>
                    <a:lnTo>
                      <a:pt x="0" y="578"/>
                    </a:lnTo>
                    <a:lnTo>
                      <a:pt x="0" y="577"/>
                    </a:lnTo>
                    <a:lnTo>
                      <a:pt x="0" y="575"/>
                    </a:lnTo>
                    <a:lnTo>
                      <a:pt x="0" y="573"/>
                    </a:lnTo>
                    <a:lnTo>
                      <a:pt x="0" y="570"/>
                    </a:lnTo>
                    <a:lnTo>
                      <a:pt x="27" y="551"/>
                    </a:lnTo>
                    <a:lnTo>
                      <a:pt x="33" y="545"/>
                    </a:lnTo>
                    <a:lnTo>
                      <a:pt x="35" y="545"/>
                    </a:lnTo>
                    <a:lnTo>
                      <a:pt x="41" y="540"/>
                    </a:lnTo>
                    <a:lnTo>
                      <a:pt x="44" y="539"/>
                    </a:lnTo>
                    <a:lnTo>
                      <a:pt x="46" y="537"/>
                    </a:lnTo>
                    <a:lnTo>
                      <a:pt x="46" y="535"/>
                    </a:lnTo>
                    <a:lnTo>
                      <a:pt x="47" y="526"/>
                    </a:lnTo>
                    <a:lnTo>
                      <a:pt x="47" y="524"/>
                    </a:lnTo>
                    <a:lnTo>
                      <a:pt x="49" y="520"/>
                    </a:lnTo>
                    <a:lnTo>
                      <a:pt x="51" y="512"/>
                    </a:lnTo>
                    <a:lnTo>
                      <a:pt x="52" y="502"/>
                    </a:lnTo>
                    <a:lnTo>
                      <a:pt x="54" y="497"/>
                    </a:lnTo>
                    <a:lnTo>
                      <a:pt x="55" y="493"/>
                    </a:lnTo>
                    <a:lnTo>
                      <a:pt x="55" y="488"/>
                    </a:lnTo>
                    <a:lnTo>
                      <a:pt x="57" y="486"/>
                    </a:lnTo>
                    <a:lnTo>
                      <a:pt x="59" y="478"/>
                    </a:lnTo>
                    <a:lnTo>
                      <a:pt x="62" y="470"/>
                    </a:lnTo>
                    <a:lnTo>
                      <a:pt x="63" y="467"/>
                    </a:lnTo>
                    <a:lnTo>
                      <a:pt x="65" y="464"/>
                    </a:lnTo>
                    <a:lnTo>
                      <a:pt x="70" y="459"/>
                    </a:lnTo>
                    <a:lnTo>
                      <a:pt x="71" y="458"/>
                    </a:lnTo>
                    <a:lnTo>
                      <a:pt x="74" y="455"/>
                    </a:lnTo>
                    <a:lnTo>
                      <a:pt x="78" y="450"/>
                    </a:lnTo>
                    <a:lnTo>
                      <a:pt x="79" y="448"/>
                    </a:lnTo>
                    <a:lnTo>
                      <a:pt x="82" y="444"/>
                    </a:lnTo>
                    <a:lnTo>
                      <a:pt x="84" y="444"/>
                    </a:lnTo>
                    <a:lnTo>
                      <a:pt x="85" y="440"/>
                    </a:lnTo>
                    <a:lnTo>
                      <a:pt x="89" y="437"/>
                    </a:lnTo>
                    <a:lnTo>
                      <a:pt x="90" y="434"/>
                    </a:lnTo>
                    <a:lnTo>
                      <a:pt x="92" y="432"/>
                    </a:lnTo>
                    <a:lnTo>
                      <a:pt x="95" y="421"/>
                    </a:lnTo>
                    <a:lnTo>
                      <a:pt x="97" y="417"/>
                    </a:lnTo>
                    <a:lnTo>
                      <a:pt x="97" y="413"/>
                    </a:lnTo>
                    <a:lnTo>
                      <a:pt x="104" y="383"/>
                    </a:lnTo>
                    <a:lnTo>
                      <a:pt x="106" y="380"/>
                    </a:lnTo>
                    <a:lnTo>
                      <a:pt x="106" y="379"/>
                    </a:lnTo>
                    <a:lnTo>
                      <a:pt x="108" y="372"/>
                    </a:lnTo>
                    <a:lnTo>
                      <a:pt x="108" y="371"/>
                    </a:lnTo>
                    <a:lnTo>
                      <a:pt x="108" y="369"/>
                    </a:lnTo>
                    <a:lnTo>
                      <a:pt x="104" y="366"/>
                    </a:lnTo>
                    <a:lnTo>
                      <a:pt x="100" y="360"/>
                    </a:lnTo>
                    <a:lnTo>
                      <a:pt x="103" y="358"/>
                    </a:lnTo>
                    <a:lnTo>
                      <a:pt x="104" y="356"/>
                    </a:lnTo>
                    <a:lnTo>
                      <a:pt x="104" y="355"/>
                    </a:lnTo>
                    <a:lnTo>
                      <a:pt x="106" y="355"/>
                    </a:lnTo>
                    <a:lnTo>
                      <a:pt x="106" y="353"/>
                    </a:lnTo>
                    <a:lnTo>
                      <a:pt x="108" y="353"/>
                    </a:lnTo>
                    <a:lnTo>
                      <a:pt x="108" y="352"/>
                    </a:lnTo>
                    <a:lnTo>
                      <a:pt x="109" y="352"/>
                    </a:lnTo>
                    <a:lnTo>
                      <a:pt x="109" y="350"/>
                    </a:lnTo>
                    <a:lnTo>
                      <a:pt x="111" y="348"/>
                    </a:lnTo>
                    <a:lnTo>
                      <a:pt x="112" y="347"/>
                    </a:lnTo>
                    <a:lnTo>
                      <a:pt x="112" y="345"/>
                    </a:lnTo>
                    <a:lnTo>
                      <a:pt x="114" y="345"/>
                    </a:lnTo>
                    <a:lnTo>
                      <a:pt x="114" y="344"/>
                    </a:lnTo>
                    <a:lnTo>
                      <a:pt x="116" y="344"/>
                    </a:lnTo>
                    <a:lnTo>
                      <a:pt x="116" y="342"/>
                    </a:lnTo>
                    <a:lnTo>
                      <a:pt x="117" y="341"/>
                    </a:lnTo>
                    <a:lnTo>
                      <a:pt x="117" y="339"/>
                    </a:lnTo>
                    <a:lnTo>
                      <a:pt x="119" y="339"/>
                    </a:lnTo>
                    <a:lnTo>
                      <a:pt x="119" y="337"/>
                    </a:lnTo>
                    <a:lnTo>
                      <a:pt x="120" y="337"/>
                    </a:lnTo>
                    <a:lnTo>
                      <a:pt x="120" y="336"/>
                    </a:lnTo>
                    <a:lnTo>
                      <a:pt x="122" y="336"/>
                    </a:lnTo>
                    <a:lnTo>
                      <a:pt x="122" y="334"/>
                    </a:lnTo>
                    <a:lnTo>
                      <a:pt x="123" y="334"/>
                    </a:lnTo>
                    <a:lnTo>
                      <a:pt x="123" y="333"/>
                    </a:lnTo>
                    <a:lnTo>
                      <a:pt x="125" y="331"/>
                    </a:lnTo>
                    <a:lnTo>
                      <a:pt x="127" y="331"/>
                    </a:lnTo>
                    <a:lnTo>
                      <a:pt x="127" y="329"/>
                    </a:lnTo>
                    <a:lnTo>
                      <a:pt x="128" y="328"/>
                    </a:lnTo>
                    <a:lnTo>
                      <a:pt x="128" y="326"/>
                    </a:lnTo>
                    <a:lnTo>
                      <a:pt x="130" y="326"/>
                    </a:lnTo>
                    <a:lnTo>
                      <a:pt x="130" y="325"/>
                    </a:lnTo>
                    <a:lnTo>
                      <a:pt x="131" y="323"/>
                    </a:lnTo>
                    <a:lnTo>
                      <a:pt x="133" y="323"/>
                    </a:lnTo>
                    <a:lnTo>
                      <a:pt x="133" y="322"/>
                    </a:lnTo>
                    <a:lnTo>
                      <a:pt x="135" y="322"/>
                    </a:lnTo>
                    <a:lnTo>
                      <a:pt x="135" y="320"/>
                    </a:lnTo>
                    <a:lnTo>
                      <a:pt x="136" y="320"/>
                    </a:lnTo>
                    <a:lnTo>
                      <a:pt x="136" y="318"/>
                    </a:lnTo>
                    <a:lnTo>
                      <a:pt x="138" y="317"/>
                    </a:lnTo>
                    <a:lnTo>
                      <a:pt x="139" y="315"/>
                    </a:lnTo>
                    <a:lnTo>
                      <a:pt x="139" y="314"/>
                    </a:lnTo>
                    <a:lnTo>
                      <a:pt x="141" y="314"/>
                    </a:lnTo>
                    <a:lnTo>
                      <a:pt x="142" y="312"/>
                    </a:lnTo>
                    <a:lnTo>
                      <a:pt x="142" y="310"/>
                    </a:lnTo>
                    <a:lnTo>
                      <a:pt x="144" y="310"/>
                    </a:lnTo>
                    <a:lnTo>
                      <a:pt x="144" y="309"/>
                    </a:lnTo>
                    <a:lnTo>
                      <a:pt x="146" y="307"/>
                    </a:lnTo>
                    <a:lnTo>
                      <a:pt x="147" y="307"/>
                    </a:lnTo>
                    <a:lnTo>
                      <a:pt x="147" y="306"/>
                    </a:lnTo>
                    <a:lnTo>
                      <a:pt x="149" y="306"/>
                    </a:lnTo>
                    <a:lnTo>
                      <a:pt x="149" y="304"/>
                    </a:lnTo>
                    <a:lnTo>
                      <a:pt x="150" y="303"/>
                    </a:lnTo>
                    <a:lnTo>
                      <a:pt x="152" y="301"/>
                    </a:lnTo>
                    <a:lnTo>
                      <a:pt x="154" y="299"/>
                    </a:lnTo>
                    <a:lnTo>
                      <a:pt x="155" y="298"/>
                    </a:lnTo>
                    <a:lnTo>
                      <a:pt x="155" y="296"/>
                    </a:lnTo>
                    <a:lnTo>
                      <a:pt x="157" y="296"/>
                    </a:lnTo>
                    <a:lnTo>
                      <a:pt x="157" y="295"/>
                    </a:lnTo>
                    <a:lnTo>
                      <a:pt x="158" y="295"/>
                    </a:lnTo>
                    <a:lnTo>
                      <a:pt x="158" y="293"/>
                    </a:lnTo>
                    <a:lnTo>
                      <a:pt x="160" y="291"/>
                    </a:lnTo>
                    <a:lnTo>
                      <a:pt x="161" y="291"/>
                    </a:lnTo>
                    <a:lnTo>
                      <a:pt x="161" y="290"/>
                    </a:lnTo>
                    <a:lnTo>
                      <a:pt x="163" y="288"/>
                    </a:lnTo>
                    <a:lnTo>
                      <a:pt x="163" y="287"/>
                    </a:lnTo>
                    <a:lnTo>
                      <a:pt x="165" y="287"/>
                    </a:lnTo>
                    <a:lnTo>
                      <a:pt x="165" y="285"/>
                    </a:lnTo>
                    <a:lnTo>
                      <a:pt x="166" y="285"/>
                    </a:lnTo>
                    <a:lnTo>
                      <a:pt x="166" y="284"/>
                    </a:lnTo>
                    <a:lnTo>
                      <a:pt x="168" y="284"/>
                    </a:lnTo>
                    <a:lnTo>
                      <a:pt x="168" y="282"/>
                    </a:lnTo>
                    <a:lnTo>
                      <a:pt x="169" y="282"/>
                    </a:lnTo>
                    <a:lnTo>
                      <a:pt x="169" y="280"/>
                    </a:lnTo>
                    <a:lnTo>
                      <a:pt x="171" y="280"/>
                    </a:lnTo>
                    <a:lnTo>
                      <a:pt x="171" y="279"/>
                    </a:lnTo>
                    <a:lnTo>
                      <a:pt x="173" y="279"/>
                    </a:lnTo>
                    <a:lnTo>
                      <a:pt x="174" y="279"/>
                    </a:lnTo>
                    <a:lnTo>
                      <a:pt x="176" y="279"/>
                    </a:lnTo>
                    <a:lnTo>
                      <a:pt x="177" y="279"/>
                    </a:lnTo>
                    <a:lnTo>
                      <a:pt x="179" y="279"/>
                    </a:lnTo>
                    <a:lnTo>
                      <a:pt x="179" y="280"/>
                    </a:lnTo>
                    <a:lnTo>
                      <a:pt x="180" y="280"/>
                    </a:lnTo>
                    <a:lnTo>
                      <a:pt x="182" y="280"/>
                    </a:lnTo>
                    <a:lnTo>
                      <a:pt x="184" y="280"/>
                    </a:lnTo>
                    <a:lnTo>
                      <a:pt x="185" y="280"/>
                    </a:lnTo>
                    <a:lnTo>
                      <a:pt x="185" y="282"/>
                    </a:lnTo>
                    <a:lnTo>
                      <a:pt x="187" y="282"/>
                    </a:lnTo>
                    <a:lnTo>
                      <a:pt x="188" y="282"/>
                    </a:lnTo>
                    <a:lnTo>
                      <a:pt x="190" y="282"/>
                    </a:lnTo>
                    <a:lnTo>
                      <a:pt x="192" y="282"/>
                    </a:lnTo>
                    <a:lnTo>
                      <a:pt x="193" y="284"/>
                    </a:lnTo>
                    <a:lnTo>
                      <a:pt x="195" y="284"/>
                    </a:lnTo>
                    <a:lnTo>
                      <a:pt x="196" y="284"/>
                    </a:lnTo>
                    <a:lnTo>
                      <a:pt x="198" y="284"/>
                    </a:lnTo>
                    <a:lnTo>
                      <a:pt x="200" y="284"/>
                    </a:lnTo>
                    <a:lnTo>
                      <a:pt x="201" y="285"/>
                    </a:lnTo>
                    <a:lnTo>
                      <a:pt x="203" y="285"/>
                    </a:lnTo>
                    <a:lnTo>
                      <a:pt x="204" y="285"/>
                    </a:lnTo>
                    <a:lnTo>
                      <a:pt x="206" y="285"/>
                    </a:lnTo>
                    <a:lnTo>
                      <a:pt x="207" y="285"/>
                    </a:lnTo>
                    <a:lnTo>
                      <a:pt x="207" y="288"/>
                    </a:lnTo>
                    <a:lnTo>
                      <a:pt x="212" y="290"/>
                    </a:lnTo>
                    <a:lnTo>
                      <a:pt x="219" y="290"/>
                    </a:lnTo>
                    <a:lnTo>
                      <a:pt x="230" y="288"/>
                    </a:lnTo>
                    <a:lnTo>
                      <a:pt x="241" y="287"/>
                    </a:lnTo>
                    <a:lnTo>
                      <a:pt x="247" y="285"/>
                    </a:lnTo>
                    <a:lnTo>
                      <a:pt x="252" y="284"/>
                    </a:lnTo>
                    <a:lnTo>
                      <a:pt x="264" y="279"/>
                    </a:lnTo>
                    <a:lnTo>
                      <a:pt x="266" y="279"/>
                    </a:lnTo>
                    <a:lnTo>
                      <a:pt x="268" y="279"/>
                    </a:lnTo>
                    <a:lnTo>
                      <a:pt x="268" y="280"/>
                    </a:lnTo>
                    <a:lnTo>
                      <a:pt x="269" y="280"/>
                    </a:lnTo>
                    <a:lnTo>
                      <a:pt x="271" y="279"/>
                    </a:lnTo>
                    <a:lnTo>
                      <a:pt x="272" y="279"/>
                    </a:lnTo>
                    <a:lnTo>
                      <a:pt x="272" y="277"/>
                    </a:lnTo>
                    <a:lnTo>
                      <a:pt x="274" y="277"/>
                    </a:lnTo>
                    <a:lnTo>
                      <a:pt x="276" y="276"/>
                    </a:lnTo>
                    <a:lnTo>
                      <a:pt x="277" y="276"/>
                    </a:lnTo>
                    <a:lnTo>
                      <a:pt x="279" y="277"/>
                    </a:lnTo>
                    <a:lnTo>
                      <a:pt x="280" y="277"/>
                    </a:lnTo>
                    <a:lnTo>
                      <a:pt x="280" y="276"/>
                    </a:lnTo>
                    <a:lnTo>
                      <a:pt x="282" y="274"/>
                    </a:lnTo>
                    <a:lnTo>
                      <a:pt x="283" y="276"/>
                    </a:lnTo>
                    <a:lnTo>
                      <a:pt x="285" y="276"/>
                    </a:lnTo>
                    <a:lnTo>
                      <a:pt x="287" y="276"/>
                    </a:lnTo>
                    <a:lnTo>
                      <a:pt x="288" y="276"/>
                    </a:lnTo>
                    <a:lnTo>
                      <a:pt x="290" y="276"/>
                    </a:lnTo>
                    <a:lnTo>
                      <a:pt x="290" y="277"/>
                    </a:lnTo>
                    <a:lnTo>
                      <a:pt x="291" y="279"/>
                    </a:lnTo>
                    <a:lnTo>
                      <a:pt x="298" y="285"/>
                    </a:lnTo>
                    <a:lnTo>
                      <a:pt x="304" y="287"/>
                    </a:lnTo>
                    <a:lnTo>
                      <a:pt x="314" y="287"/>
                    </a:lnTo>
                    <a:lnTo>
                      <a:pt x="318" y="288"/>
                    </a:lnTo>
                    <a:lnTo>
                      <a:pt x="321" y="288"/>
                    </a:lnTo>
                    <a:lnTo>
                      <a:pt x="325" y="287"/>
                    </a:lnTo>
                    <a:lnTo>
                      <a:pt x="323" y="284"/>
                    </a:lnTo>
                    <a:lnTo>
                      <a:pt x="323" y="282"/>
                    </a:lnTo>
                    <a:lnTo>
                      <a:pt x="321" y="282"/>
                    </a:lnTo>
                    <a:lnTo>
                      <a:pt x="321" y="280"/>
                    </a:lnTo>
                    <a:lnTo>
                      <a:pt x="320" y="280"/>
                    </a:lnTo>
                    <a:lnTo>
                      <a:pt x="320" y="279"/>
                    </a:lnTo>
                    <a:lnTo>
                      <a:pt x="320" y="277"/>
                    </a:lnTo>
                    <a:lnTo>
                      <a:pt x="318" y="276"/>
                    </a:lnTo>
                    <a:lnTo>
                      <a:pt x="318" y="274"/>
                    </a:lnTo>
                    <a:lnTo>
                      <a:pt x="317" y="274"/>
                    </a:lnTo>
                    <a:lnTo>
                      <a:pt x="317" y="272"/>
                    </a:lnTo>
                    <a:lnTo>
                      <a:pt x="315" y="271"/>
                    </a:lnTo>
                    <a:lnTo>
                      <a:pt x="315" y="269"/>
                    </a:lnTo>
                    <a:lnTo>
                      <a:pt x="312" y="266"/>
                    </a:lnTo>
                    <a:lnTo>
                      <a:pt x="310" y="261"/>
                    </a:lnTo>
                    <a:lnTo>
                      <a:pt x="309" y="261"/>
                    </a:lnTo>
                    <a:lnTo>
                      <a:pt x="309" y="260"/>
                    </a:lnTo>
                    <a:lnTo>
                      <a:pt x="307" y="257"/>
                    </a:lnTo>
                    <a:lnTo>
                      <a:pt x="307" y="255"/>
                    </a:lnTo>
                    <a:lnTo>
                      <a:pt x="307" y="252"/>
                    </a:lnTo>
                    <a:lnTo>
                      <a:pt x="307" y="250"/>
                    </a:lnTo>
                    <a:lnTo>
                      <a:pt x="307" y="249"/>
                    </a:lnTo>
                    <a:lnTo>
                      <a:pt x="307" y="247"/>
                    </a:lnTo>
                    <a:lnTo>
                      <a:pt x="306" y="246"/>
                    </a:lnTo>
                    <a:lnTo>
                      <a:pt x="306" y="244"/>
                    </a:lnTo>
                    <a:lnTo>
                      <a:pt x="298" y="238"/>
                    </a:lnTo>
                    <a:lnTo>
                      <a:pt x="296" y="234"/>
                    </a:lnTo>
                    <a:lnTo>
                      <a:pt x="296" y="231"/>
                    </a:lnTo>
                    <a:lnTo>
                      <a:pt x="295" y="226"/>
                    </a:lnTo>
                    <a:lnTo>
                      <a:pt x="296" y="222"/>
                    </a:lnTo>
                    <a:lnTo>
                      <a:pt x="296" y="220"/>
                    </a:lnTo>
                    <a:lnTo>
                      <a:pt x="296" y="219"/>
                    </a:lnTo>
                    <a:lnTo>
                      <a:pt x="296" y="217"/>
                    </a:lnTo>
                    <a:lnTo>
                      <a:pt x="296" y="215"/>
                    </a:lnTo>
                    <a:lnTo>
                      <a:pt x="296" y="214"/>
                    </a:lnTo>
                    <a:lnTo>
                      <a:pt x="295" y="212"/>
                    </a:lnTo>
                    <a:lnTo>
                      <a:pt x="295" y="211"/>
                    </a:lnTo>
                    <a:lnTo>
                      <a:pt x="295" y="207"/>
                    </a:lnTo>
                    <a:lnTo>
                      <a:pt x="295" y="206"/>
                    </a:lnTo>
                    <a:lnTo>
                      <a:pt x="295" y="203"/>
                    </a:lnTo>
                    <a:lnTo>
                      <a:pt x="296" y="198"/>
                    </a:lnTo>
                    <a:lnTo>
                      <a:pt x="296" y="196"/>
                    </a:lnTo>
                    <a:lnTo>
                      <a:pt x="296" y="192"/>
                    </a:lnTo>
                    <a:lnTo>
                      <a:pt x="298" y="190"/>
                    </a:lnTo>
                    <a:lnTo>
                      <a:pt x="298" y="187"/>
                    </a:lnTo>
                    <a:lnTo>
                      <a:pt x="299" y="184"/>
                    </a:lnTo>
                    <a:lnTo>
                      <a:pt x="304" y="176"/>
                    </a:lnTo>
                    <a:lnTo>
                      <a:pt x="307" y="173"/>
                    </a:lnTo>
                    <a:lnTo>
                      <a:pt x="312" y="171"/>
                    </a:lnTo>
                    <a:lnTo>
                      <a:pt x="314" y="171"/>
                    </a:lnTo>
                    <a:lnTo>
                      <a:pt x="315" y="171"/>
                    </a:lnTo>
                    <a:lnTo>
                      <a:pt x="315" y="169"/>
                    </a:lnTo>
                    <a:lnTo>
                      <a:pt x="317" y="169"/>
                    </a:lnTo>
                    <a:lnTo>
                      <a:pt x="318" y="169"/>
                    </a:lnTo>
                    <a:lnTo>
                      <a:pt x="318" y="168"/>
                    </a:lnTo>
                    <a:lnTo>
                      <a:pt x="320" y="168"/>
                    </a:lnTo>
                    <a:lnTo>
                      <a:pt x="320" y="166"/>
                    </a:lnTo>
                    <a:lnTo>
                      <a:pt x="321" y="166"/>
                    </a:lnTo>
                    <a:lnTo>
                      <a:pt x="323" y="165"/>
                    </a:lnTo>
                    <a:lnTo>
                      <a:pt x="325" y="165"/>
                    </a:lnTo>
                    <a:lnTo>
                      <a:pt x="325" y="163"/>
                    </a:lnTo>
                    <a:lnTo>
                      <a:pt x="326" y="163"/>
                    </a:lnTo>
                    <a:lnTo>
                      <a:pt x="326" y="162"/>
                    </a:lnTo>
                    <a:lnTo>
                      <a:pt x="328" y="162"/>
                    </a:lnTo>
                    <a:lnTo>
                      <a:pt x="328" y="160"/>
                    </a:lnTo>
                    <a:lnTo>
                      <a:pt x="328" y="158"/>
                    </a:lnTo>
                    <a:lnTo>
                      <a:pt x="329" y="158"/>
                    </a:lnTo>
                    <a:lnTo>
                      <a:pt x="329" y="157"/>
                    </a:lnTo>
                    <a:lnTo>
                      <a:pt x="331" y="157"/>
                    </a:lnTo>
                    <a:lnTo>
                      <a:pt x="331" y="155"/>
                    </a:lnTo>
                    <a:lnTo>
                      <a:pt x="331" y="154"/>
                    </a:lnTo>
                    <a:lnTo>
                      <a:pt x="333" y="154"/>
                    </a:lnTo>
                    <a:lnTo>
                      <a:pt x="333" y="152"/>
                    </a:lnTo>
                    <a:lnTo>
                      <a:pt x="334" y="150"/>
                    </a:lnTo>
                    <a:lnTo>
                      <a:pt x="334" y="149"/>
                    </a:lnTo>
                    <a:lnTo>
                      <a:pt x="336" y="147"/>
                    </a:lnTo>
                    <a:lnTo>
                      <a:pt x="336" y="146"/>
                    </a:lnTo>
                    <a:lnTo>
                      <a:pt x="337" y="146"/>
                    </a:lnTo>
                    <a:lnTo>
                      <a:pt x="337" y="144"/>
                    </a:lnTo>
                    <a:lnTo>
                      <a:pt x="339" y="143"/>
                    </a:lnTo>
                    <a:lnTo>
                      <a:pt x="339" y="141"/>
                    </a:lnTo>
                    <a:lnTo>
                      <a:pt x="340" y="141"/>
                    </a:lnTo>
                    <a:lnTo>
                      <a:pt x="340" y="139"/>
                    </a:lnTo>
                    <a:lnTo>
                      <a:pt x="342" y="139"/>
                    </a:lnTo>
                    <a:lnTo>
                      <a:pt x="342" y="138"/>
                    </a:lnTo>
                    <a:lnTo>
                      <a:pt x="344" y="136"/>
                    </a:lnTo>
                    <a:lnTo>
                      <a:pt x="344" y="135"/>
                    </a:lnTo>
                    <a:lnTo>
                      <a:pt x="345" y="135"/>
                    </a:lnTo>
                    <a:lnTo>
                      <a:pt x="345" y="133"/>
                    </a:lnTo>
                    <a:lnTo>
                      <a:pt x="347" y="131"/>
                    </a:lnTo>
                    <a:lnTo>
                      <a:pt x="347" y="130"/>
                    </a:lnTo>
                    <a:lnTo>
                      <a:pt x="348" y="130"/>
                    </a:lnTo>
                    <a:lnTo>
                      <a:pt x="348" y="128"/>
                    </a:lnTo>
                    <a:lnTo>
                      <a:pt x="350" y="127"/>
                    </a:lnTo>
                    <a:lnTo>
                      <a:pt x="352" y="125"/>
                    </a:lnTo>
                    <a:lnTo>
                      <a:pt x="353" y="125"/>
                    </a:lnTo>
                    <a:lnTo>
                      <a:pt x="353" y="124"/>
                    </a:lnTo>
                    <a:lnTo>
                      <a:pt x="355" y="124"/>
                    </a:lnTo>
                    <a:lnTo>
                      <a:pt x="355" y="122"/>
                    </a:lnTo>
                    <a:lnTo>
                      <a:pt x="356" y="120"/>
                    </a:lnTo>
                    <a:lnTo>
                      <a:pt x="358" y="119"/>
                    </a:lnTo>
                    <a:lnTo>
                      <a:pt x="358" y="117"/>
                    </a:lnTo>
                    <a:lnTo>
                      <a:pt x="359" y="117"/>
                    </a:lnTo>
                    <a:lnTo>
                      <a:pt x="359" y="116"/>
                    </a:lnTo>
                    <a:lnTo>
                      <a:pt x="361" y="114"/>
                    </a:lnTo>
                    <a:lnTo>
                      <a:pt x="363" y="112"/>
                    </a:lnTo>
                    <a:lnTo>
                      <a:pt x="363" y="111"/>
                    </a:lnTo>
                    <a:lnTo>
                      <a:pt x="364" y="109"/>
                    </a:lnTo>
                    <a:lnTo>
                      <a:pt x="364" y="108"/>
                    </a:lnTo>
                    <a:lnTo>
                      <a:pt x="366" y="108"/>
                    </a:lnTo>
                    <a:lnTo>
                      <a:pt x="366" y="106"/>
                    </a:lnTo>
                    <a:lnTo>
                      <a:pt x="367" y="106"/>
                    </a:lnTo>
                    <a:lnTo>
                      <a:pt x="367" y="105"/>
                    </a:lnTo>
                    <a:lnTo>
                      <a:pt x="369" y="103"/>
                    </a:lnTo>
                    <a:lnTo>
                      <a:pt x="369" y="101"/>
                    </a:lnTo>
                    <a:lnTo>
                      <a:pt x="371" y="101"/>
                    </a:lnTo>
                    <a:lnTo>
                      <a:pt x="371" y="100"/>
                    </a:lnTo>
                    <a:lnTo>
                      <a:pt x="372" y="98"/>
                    </a:lnTo>
                    <a:lnTo>
                      <a:pt x="372" y="97"/>
                    </a:lnTo>
                    <a:lnTo>
                      <a:pt x="374" y="97"/>
                    </a:lnTo>
                    <a:lnTo>
                      <a:pt x="374" y="95"/>
                    </a:lnTo>
                    <a:lnTo>
                      <a:pt x="375" y="93"/>
                    </a:lnTo>
                    <a:lnTo>
                      <a:pt x="375" y="92"/>
                    </a:lnTo>
                    <a:lnTo>
                      <a:pt x="377" y="92"/>
                    </a:lnTo>
                    <a:lnTo>
                      <a:pt x="377" y="90"/>
                    </a:lnTo>
                    <a:lnTo>
                      <a:pt x="378" y="90"/>
                    </a:lnTo>
                    <a:lnTo>
                      <a:pt x="378" y="89"/>
                    </a:lnTo>
                    <a:lnTo>
                      <a:pt x="378" y="87"/>
                    </a:lnTo>
                    <a:lnTo>
                      <a:pt x="380" y="87"/>
                    </a:lnTo>
                    <a:lnTo>
                      <a:pt x="380" y="86"/>
                    </a:lnTo>
                    <a:lnTo>
                      <a:pt x="382" y="84"/>
                    </a:lnTo>
                    <a:lnTo>
                      <a:pt x="383" y="82"/>
                    </a:lnTo>
                    <a:lnTo>
                      <a:pt x="383" y="81"/>
                    </a:lnTo>
                    <a:lnTo>
                      <a:pt x="385" y="79"/>
                    </a:lnTo>
                    <a:lnTo>
                      <a:pt x="385" y="78"/>
                    </a:lnTo>
                    <a:lnTo>
                      <a:pt x="386" y="78"/>
                    </a:lnTo>
                    <a:lnTo>
                      <a:pt x="386" y="76"/>
                    </a:lnTo>
                    <a:lnTo>
                      <a:pt x="388" y="74"/>
                    </a:lnTo>
                    <a:lnTo>
                      <a:pt x="390" y="73"/>
                    </a:lnTo>
                    <a:lnTo>
                      <a:pt x="390" y="71"/>
                    </a:lnTo>
                    <a:lnTo>
                      <a:pt x="391" y="71"/>
                    </a:lnTo>
                    <a:lnTo>
                      <a:pt x="391" y="70"/>
                    </a:lnTo>
                    <a:lnTo>
                      <a:pt x="393" y="68"/>
                    </a:lnTo>
                    <a:lnTo>
                      <a:pt x="393" y="67"/>
                    </a:lnTo>
                    <a:lnTo>
                      <a:pt x="394" y="67"/>
                    </a:lnTo>
                    <a:lnTo>
                      <a:pt x="394" y="65"/>
                    </a:lnTo>
                    <a:lnTo>
                      <a:pt x="396" y="65"/>
                    </a:lnTo>
                    <a:lnTo>
                      <a:pt x="396" y="63"/>
                    </a:lnTo>
                    <a:lnTo>
                      <a:pt x="396" y="62"/>
                    </a:lnTo>
                    <a:lnTo>
                      <a:pt x="398" y="62"/>
                    </a:lnTo>
                    <a:lnTo>
                      <a:pt x="398" y="60"/>
                    </a:lnTo>
                    <a:lnTo>
                      <a:pt x="399" y="59"/>
                    </a:lnTo>
                    <a:lnTo>
                      <a:pt x="399" y="57"/>
                    </a:lnTo>
                    <a:lnTo>
                      <a:pt x="401" y="57"/>
                    </a:lnTo>
                    <a:lnTo>
                      <a:pt x="401" y="55"/>
                    </a:lnTo>
                    <a:lnTo>
                      <a:pt x="402" y="54"/>
                    </a:lnTo>
                    <a:lnTo>
                      <a:pt x="404" y="52"/>
                    </a:lnTo>
                    <a:lnTo>
                      <a:pt x="404" y="51"/>
                    </a:lnTo>
                    <a:lnTo>
                      <a:pt x="405" y="51"/>
                    </a:lnTo>
                    <a:lnTo>
                      <a:pt x="405" y="49"/>
                    </a:lnTo>
                    <a:lnTo>
                      <a:pt x="407" y="47"/>
                    </a:lnTo>
                    <a:lnTo>
                      <a:pt x="407" y="46"/>
                    </a:lnTo>
                    <a:lnTo>
                      <a:pt x="409" y="46"/>
                    </a:lnTo>
                    <a:lnTo>
                      <a:pt x="409" y="44"/>
                    </a:lnTo>
                    <a:lnTo>
                      <a:pt x="410" y="43"/>
                    </a:lnTo>
                    <a:lnTo>
                      <a:pt x="410" y="41"/>
                    </a:lnTo>
                    <a:lnTo>
                      <a:pt x="412" y="41"/>
                    </a:lnTo>
                    <a:lnTo>
                      <a:pt x="412" y="40"/>
                    </a:lnTo>
                    <a:lnTo>
                      <a:pt x="413" y="40"/>
                    </a:lnTo>
                    <a:lnTo>
                      <a:pt x="413" y="38"/>
                    </a:lnTo>
                    <a:lnTo>
                      <a:pt x="413" y="36"/>
                    </a:lnTo>
                    <a:lnTo>
                      <a:pt x="415" y="36"/>
                    </a:lnTo>
                    <a:lnTo>
                      <a:pt x="415" y="35"/>
                    </a:lnTo>
                    <a:lnTo>
                      <a:pt x="417" y="33"/>
                    </a:lnTo>
                    <a:lnTo>
                      <a:pt x="418" y="32"/>
                    </a:lnTo>
                    <a:lnTo>
                      <a:pt x="418" y="30"/>
                    </a:lnTo>
                    <a:lnTo>
                      <a:pt x="420" y="28"/>
                    </a:lnTo>
                    <a:lnTo>
                      <a:pt x="421" y="27"/>
                    </a:lnTo>
                    <a:lnTo>
                      <a:pt x="421" y="25"/>
                    </a:lnTo>
                    <a:lnTo>
                      <a:pt x="423" y="24"/>
                    </a:lnTo>
                    <a:lnTo>
                      <a:pt x="424" y="22"/>
                    </a:lnTo>
                    <a:lnTo>
                      <a:pt x="424" y="21"/>
                    </a:lnTo>
                    <a:lnTo>
                      <a:pt x="426" y="21"/>
                    </a:lnTo>
                    <a:lnTo>
                      <a:pt x="426" y="19"/>
                    </a:lnTo>
                    <a:lnTo>
                      <a:pt x="428" y="19"/>
                    </a:lnTo>
                    <a:lnTo>
                      <a:pt x="428" y="17"/>
                    </a:lnTo>
                    <a:lnTo>
                      <a:pt x="428" y="16"/>
                    </a:lnTo>
                    <a:lnTo>
                      <a:pt x="429" y="16"/>
                    </a:lnTo>
                    <a:lnTo>
                      <a:pt x="429" y="14"/>
                    </a:lnTo>
                    <a:lnTo>
                      <a:pt x="431" y="13"/>
                    </a:lnTo>
                    <a:lnTo>
                      <a:pt x="431" y="11"/>
                    </a:lnTo>
                    <a:lnTo>
                      <a:pt x="432" y="11"/>
                    </a:lnTo>
                    <a:lnTo>
                      <a:pt x="432" y="9"/>
                    </a:lnTo>
                    <a:lnTo>
                      <a:pt x="434" y="9"/>
                    </a:lnTo>
                    <a:lnTo>
                      <a:pt x="434" y="8"/>
                    </a:lnTo>
                    <a:lnTo>
                      <a:pt x="434" y="6"/>
                    </a:lnTo>
                    <a:lnTo>
                      <a:pt x="436" y="6"/>
                    </a:lnTo>
                    <a:lnTo>
                      <a:pt x="436" y="5"/>
                    </a:lnTo>
                    <a:lnTo>
                      <a:pt x="437" y="5"/>
                    </a:lnTo>
                    <a:lnTo>
                      <a:pt x="437" y="3"/>
                    </a:lnTo>
                    <a:lnTo>
                      <a:pt x="439" y="3"/>
                    </a:lnTo>
                    <a:lnTo>
                      <a:pt x="440" y="2"/>
                    </a:lnTo>
                    <a:lnTo>
                      <a:pt x="440" y="0"/>
                    </a:lnTo>
                    <a:lnTo>
                      <a:pt x="445" y="3"/>
                    </a:lnTo>
                    <a:lnTo>
                      <a:pt x="448" y="6"/>
                    </a:lnTo>
                    <a:lnTo>
                      <a:pt x="450" y="8"/>
                    </a:lnTo>
                    <a:lnTo>
                      <a:pt x="451" y="8"/>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56" name="Freeform 136"/>
              <p:cNvSpPr>
                <a:spLocks/>
              </p:cNvSpPr>
              <p:nvPr/>
            </p:nvSpPr>
            <p:spPr bwMode="auto">
              <a:xfrm>
                <a:off x="5040" y="1920"/>
                <a:ext cx="2"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57" name="Freeform 137"/>
              <p:cNvSpPr>
                <a:spLocks/>
              </p:cNvSpPr>
              <p:nvPr/>
            </p:nvSpPr>
            <p:spPr bwMode="auto">
              <a:xfrm>
                <a:off x="5042" y="1917"/>
                <a:ext cx="3" cy="1"/>
              </a:xfrm>
              <a:custGeom>
                <a:avLst/>
                <a:gdLst>
                  <a:gd name="T0" fmla="*/ 1 w 3"/>
                  <a:gd name="T1" fmla="*/ 0 h 1"/>
                  <a:gd name="T2" fmla="*/ 3 w 3"/>
                  <a:gd name="T3" fmla="*/ 0 h 1"/>
                  <a:gd name="T4" fmla="*/ 1 w 3"/>
                  <a:gd name="T5" fmla="*/ 0 h 1"/>
                  <a:gd name="T6" fmla="*/ 1 w 3"/>
                  <a:gd name="T7" fmla="*/ 1 h 1"/>
                  <a:gd name="T8" fmla="*/ 0 w 3"/>
                  <a:gd name="T9" fmla="*/ 1 h 1"/>
                  <a:gd name="T10" fmla="*/ 1 w 3"/>
                  <a:gd name="T11" fmla="*/ 1 h 1"/>
                  <a:gd name="T12" fmla="*/ 1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1" y="0"/>
                    </a:moveTo>
                    <a:lnTo>
                      <a:pt x="3" y="0"/>
                    </a:lnTo>
                    <a:lnTo>
                      <a:pt x="1" y="0"/>
                    </a:lnTo>
                    <a:lnTo>
                      <a:pt x="1" y="1"/>
                    </a:lnTo>
                    <a:lnTo>
                      <a:pt x="0" y="1"/>
                    </a:lnTo>
                    <a:lnTo>
                      <a:pt x="1" y="1"/>
                    </a:lnTo>
                    <a:lnTo>
                      <a:pt x="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58" name="Freeform 138"/>
              <p:cNvSpPr>
                <a:spLocks/>
              </p:cNvSpPr>
              <p:nvPr/>
            </p:nvSpPr>
            <p:spPr bwMode="auto">
              <a:xfrm>
                <a:off x="5042" y="1912"/>
                <a:ext cx="1" cy="3"/>
              </a:xfrm>
              <a:custGeom>
                <a:avLst/>
                <a:gdLst>
                  <a:gd name="T0" fmla="*/ 0 w 1"/>
                  <a:gd name="T1" fmla="*/ 0 h 3"/>
                  <a:gd name="T2" fmla="*/ 1 w 1"/>
                  <a:gd name="T3" fmla="*/ 0 h 3"/>
                  <a:gd name="T4" fmla="*/ 1 w 1"/>
                  <a:gd name="T5" fmla="*/ 2 h 3"/>
                  <a:gd name="T6" fmla="*/ 1 w 1"/>
                  <a:gd name="T7" fmla="*/ 3 h 3"/>
                  <a:gd name="T8" fmla="*/ 1 w 1"/>
                  <a:gd name="T9" fmla="*/ 2 h 3"/>
                  <a:gd name="T10" fmla="*/ 0 w 1"/>
                  <a:gd name="T11" fmla="*/ 2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lnTo>
                      <a:pt x="1" y="0"/>
                    </a:lnTo>
                    <a:lnTo>
                      <a:pt x="1" y="2"/>
                    </a:lnTo>
                    <a:lnTo>
                      <a:pt x="1" y="3"/>
                    </a:lnTo>
                    <a:lnTo>
                      <a:pt x="1" y="2"/>
                    </a:lnTo>
                    <a:lnTo>
                      <a:pt x="0" y="2"/>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59" name="Freeform 139"/>
              <p:cNvSpPr>
                <a:spLocks/>
              </p:cNvSpPr>
              <p:nvPr/>
            </p:nvSpPr>
            <p:spPr bwMode="auto">
              <a:xfrm>
                <a:off x="5043" y="1912"/>
                <a:ext cx="4" cy="5"/>
              </a:xfrm>
              <a:custGeom>
                <a:avLst/>
                <a:gdLst>
                  <a:gd name="T0" fmla="*/ 4 w 4"/>
                  <a:gd name="T1" fmla="*/ 0 h 5"/>
                  <a:gd name="T2" fmla="*/ 4 w 4"/>
                  <a:gd name="T3" fmla="*/ 2 h 5"/>
                  <a:gd name="T4" fmla="*/ 2 w 4"/>
                  <a:gd name="T5" fmla="*/ 2 h 5"/>
                  <a:gd name="T6" fmla="*/ 4 w 4"/>
                  <a:gd name="T7" fmla="*/ 2 h 5"/>
                  <a:gd name="T8" fmla="*/ 4 w 4"/>
                  <a:gd name="T9" fmla="*/ 3 h 5"/>
                  <a:gd name="T10" fmla="*/ 2 w 4"/>
                  <a:gd name="T11" fmla="*/ 3 h 5"/>
                  <a:gd name="T12" fmla="*/ 4 w 4"/>
                  <a:gd name="T13" fmla="*/ 3 h 5"/>
                  <a:gd name="T14" fmla="*/ 2 w 4"/>
                  <a:gd name="T15" fmla="*/ 3 h 5"/>
                  <a:gd name="T16" fmla="*/ 2 w 4"/>
                  <a:gd name="T17" fmla="*/ 5 h 5"/>
                  <a:gd name="T18" fmla="*/ 2 w 4"/>
                  <a:gd name="T19" fmla="*/ 3 h 5"/>
                  <a:gd name="T20" fmla="*/ 2 w 4"/>
                  <a:gd name="T21" fmla="*/ 2 h 5"/>
                  <a:gd name="T22" fmla="*/ 0 w 4"/>
                  <a:gd name="T23" fmla="*/ 2 h 5"/>
                  <a:gd name="T24" fmla="*/ 2 w 4"/>
                  <a:gd name="T25" fmla="*/ 2 h 5"/>
                  <a:gd name="T26" fmla="*/ 2 w 4"/>
                  <a:gd name="T27" fmla="*/ 0 h 5"/>
                  <a:gd name="T28" fmla="*/ 4 w 4"/>
                  <a:gd name="T29" fmla="*/ 0 h 5"/>
                  <a:gd name="T30" fmla="*/ 4 w 4"/>
                  <a:gd name="T31" fmla="*/ 2 h 5"/>
                  <a:gd name="T32" fmla="*/ 4 w 4"/>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5">
                    <a:moveTo>
                      <a:pt x="4" y="0"/>
                    </a:moveTo>
                    <a:lnTo>
                      <a:pt x="4" y="2"/>
                    </a:lnTo>
                    <a:lnTo>
                      <a:pt x="2" y="2"/>
                    </a:lnTo>
                    <a:lnTo>
                      <a:pt x="4" y="2"/>
                    </a:lnTo>
                    <a:lnTo>
                      <a:pt x="4" y="3"/>
                    </a:lnTo>
                    <a:lnTo>
                      <a:pt x="2" y="3"/>
                    </a:lnTo>
                    <a:lnTo>
                      <a:pt x="4" y="3"/>
                    </a:lnTo>
                    <a:lnTo>
                      <a:pt x="2" y="3"/>
                    </a:lnTo>
                    <a:lnTo>
                      <a:pt x="2" y="5"/>
                    </a:lnTo>
                    <a:lnTo>
                      <a:pt x="2" y="3"/>
                    </a:lnTo>
                    <a:lnTo>
                      <a:pt x="2" y="2"/>
                    </a:lnTo>
                    <a:lnTo>
                      <a:pt x="0" y="2"/>
                    </a:lnTo>
                    <a:lnTo>
                      <a:pt x="2" y="2"/>
                    </a:lnTo>
                    <a:lnTo>
                      <a:pt x="2" y="0"/>
                    </a:lnTo>
                    <a:lnTo>
                      <a:pt x="4" y="0"/>
                    </a:lnTo>
                    <a:lnTo>
                      <a:pt x="4" y="2"/>
                    </a:lnTo>
                    <a:lnTo>
                      <a:pt x="4"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60" name="Rectangle 140"/>
              <p:cNvSpPr>
                <a:spLocks noChangeArrowheads="1"/>
              </p:cNvSpPr>
              <p:nvPr/>
            </p:nvSpPr>
            <p:spPr bwMode="auto">
              <a:xfrm>
                <a:off x="5055" y="1912"/>
                <a:ext cx="1" cy="2"/>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61" name="Rectangle 141"/>
              <p:cNvSpPr>
                <a:spLocks noChangeArrowheads="1"/>
              </p:cNvSpPr>
              <p:nvPr/>
            </p:nvSpPr>
            <p:spPr bwMode="auto">
              <a:xfrm>
                <a:off x="5055" y="1910"/>
                <a:ext cx="1" cy="2"/>
              </a:xfrm>
              <a:prstGeom prst="rect">
                <a:avLst/>
              </a:prstGeom>
              <a:noFill/>
              <a:ln w="4763">
                <a:solidFill>
                  <a:srgbClr val="6E6E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62" name="Freeform 142"/>
              <p:cNvSpPr>
                <a:spLocks/>
              </p:cNvSpPr>
              <p:nvPr/>
            </p:nvSpPr>
            <p:spPr bwMode="auto">
              <a:xfrm>
                <a:off x="5053" y="1896"/>
                <a:ext cx="9" cy="14"/>
              </a:xfrm>
              <a:custGeom>
                <a:avLst/>
                <a:gdLst>
                  <a:gd name="T0" fmla="*/ 8 w 9"/>
                  <a:gd name="T1" fmla="*/ 0 h 14"/>
                  <a:gd name="T2" fmla="*/ 8 w 9"/>
                  <a:gd name="T3" fmla="*/ 2 h 14"/>
                  <a:gd name="T4" fmla="*/ 9 w 9"/>
                  <a:gd name="T5" fmla="*/ 2 h 14"/>
                  <a:gd name="T6" fmla="*/ 8 w 9"/>
                  <a:gd name="T7" fmla="*/ 2 h 14"/>
                  <a:gd name="T8" fmla="*/ 8 w 9"/>
                  <a:gd name="T9" fmla="*/ 3 h 14"/>
                  <a:gd name="T10" fmla="*/ 8 w 9"/>
                  <a:gd name="T11" fmla="*/ 5 h 14"/>
                  <a:gd name="T12" fmla="*/ 6 w 9"/>
                  <a:gd name="T13" fmla="*/ 5 h 14"/>
                  <a:gd name="T14" fmla="*/ 6 w 9"/>
                  <a:gd name="T15" fmla="*/ 6 h 14"/>
                  <a:gd name="T16" fmla="*/ 6 w 9"/>
                  <a:gd name="T17" fmla="*/ 8 h 14"/>
                  <a:gd name="T18" fmla="*/ 5 w 9"/>
                  <a:gd name="T19" fmla="*/ 8 h 14"/>
                  <a:gd name="T20" fmla="*/ 5 w 9"/>
                  <a:gd name="T21" fmla="*/ 10 h 14"/>
                  <a:gd name="T22" fmla="*/ 5 w 9"/>
                  <a:gd name="T23" fmla="*/ 11 h 14"/>
                  <a:gd name="T24" fmla="*/ 3 w 9"/>
                  <a:gd name="T25" fmla="*/ 11 h 14"/>
                  <a:gd name="T26" fmla="*/ 3 w 9"/>
                  <a:gd name="T27" fmla="*/ 13 h 14"/>
                  <a:gd name="T28" fmla="*/ 3 w 9"/>
                  <a:gd name="T29" fmla="*/ 11 h 14"/>
                  <a:gd name="T30" fmla="*/ 3 w 9"/>
                  <a:gd name="T31" fmla="*/ 13 h 14"/>
                  <a:gd name="T32" fmla="*/ 2 w 9"/>
                  <a:gd name="T33" fmla="*/ 13 h 14"/>
                  <a:gd name="T34" fmla="*/ 2 w 9"/>
                  <a:gd name="T35" fmla="*/ 14 h 14"/>
                  <a:gd name="T36" fmla="*/ 2 w 9"/>
                  <a:gd name="T37" fmla="*/ 13 h 14"/>
                  <a:gd name="T38" fmla="*/ 0 w 9"/>
                  <a:gd name="T39" fmla="*/ 13 h 14"/>
                  <a:gd name="T40" fmla="*/ 2 w 9"/>
                  <a:gd name="T41" fmla="*/ 13 h 14"/>
                  <a:gd name="T42" fmla="*/ 2 w 9"/>
                  <a:gd name="T43" fmla="*/ 11 h 14"/>
                  <a:gd name="T44" fmla="*/ 3 w 9"/>
                  <a:gd name="T45" fmla="*/ 11 h 14"/>
                  <a:gd name="T46" fmla="*/ 3 w 9"/>
                  <a:gd name="T47" fmla="*/ 10 h 14"/>
                  <a:gd name="T48" fmla="*/ 3 w 9"/>
                  <a:gd name="T49" fmla="*/ 8 h 14"/>
                  <a:gd name="T50" fmla="*/ 5 w 9"/>
                  <a:gd name="T51" fmla="*/ 8 h 14"/>
                  <a:gd name="T52" fmla="*/ 3 w 9"/>
                  <a:gd name="T53" fmla="*/ 8 h 14"/>
                  <a:gd name="T54" fmla="*/ 5 w 9"/>
                  <a:gd name="T55" fmla="*/ 8 h 14"/>
                  <a:gd name="T56" fmla="*/ 5 w 9"/>
                  <a:gd name="T57" fmla="*/ 6 h 14"/>
                  <a:gd name="T58" fmla="*/ 5 w 9"/>
                  <a:gd name="T59" fmla="*/ 5 h 14"/>
                  <a:gd name="T60" fmla="*/ 5 w 9"/>
                  <a:gd name="T61" fmla="*/ 3 h 14"/>
                  <a:gd name="T62" fmla="*/ 6 w 9"/>
                  <a:gd name="T63" fmla="*/ 3 h 14"/>
                  <a:gd name="T64" fmla="*/ 8 w 9"/>
                  <a:gd name="T65" fmla="*/ 3 h 14"/>
                  <a:gd name="T66" fmla="*/ 8 w 9"/>
                  <a:gd name="T67" fmla="*/ 2 h 14"/>
                  <a:gd name="T68" fmla="*/ 8 w 9"/>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 h="14">
                    <a:moveTo>
                      <a:pt x="8" y="0"/>
                    </a:moveTo>
                    <a:lnTo>
                      <a:pt x="8" y="2"/>
                    </a:lnTo>
                    <a:lnTo>
                      <a:pt x="9" y="2"/>
                    </a:lnTo>
                    <a:lnTo>
                      <a:pt x="8" y="2"/>
                    </a:lnTo>
                    <a:lnTo>
                      <a:pt x="8" y="3"/>
                    </a:lnTo>
                    <a:lnTo>
                      <a:pt x="8" y="5"/>
                    </a:lnTo>
                    <a:lnTo>
                      <a:pt x="6" y="5"/>
                    </a:lnTo>
                    <a:lnTo>
                      <a:pt x="6" y="6"/>
                    </a:lnTo>
                    <a:lnTo>
                      <a:pt x="6" y="8"/>
                    </a:lnTo>
                    <a:lnTo>
                      <a:pt x="5" y="8"/>
                    </a:lnTo>
                    <a:lnTo>
                      <a:pt x="5" y="10"/>
                    </a:lnTo>
                    <a:lnTo>
                      <a:pt x="5" y="11"/>
                    </a:lnTo>
                    <a:lnTo>
                      <a:pt x="3" y="11"/>
                    </a:lnTo>
                    <a:lnTo>
                      <a:pt x="3" y="13"/>
                    </a:lnTo>
                    <a:lnTo>
                      <a:pt x="3" y="11"/>
                    </a:lnTo>
                    <a:lnTo>
                      <a:pt x="3" y="13"/>
                    </a:lnTo>
                    <a:lnTo>
                      <a:pt x="2" y="13"/>
                    </a:lnTo>
                    <a:lnTo>
                      <a:pt x="2" y="14"/>
                    </a:lnTo>
                    <a:lnTo>
                      <a:pt x="2" y="13"/>
                    </a:lnTo>
                    <a:lnTo>
                      <a:pt x="0" y="13"/>
                    </a:lnTo>
                    <a:lnTo>
                      <a:pt x="2" y="13"/>
                    </a:lnTo>
                    <a:lnTo>
                      <a:pt x="2" y="11"/>
                    </a:lnTo>
                    <a:lnTo>
                      <a:pt x="3" y="11"/>
                    </a:lnTo>
                    <a:lnTo>
                      <a:pt x="3" y="10"/>
                    </a:lnTo>
                    <a:lnTo>
                      <a:pt x="3" y="8"/>
                    </a:lnTo>
                    <a:lnTo>
                      <a:pt x="5" y="8"/>
                    </a:lnTo>
                    <a:lnTo>
                      <a:pt x="3" y="8"/>
                    </a:lnTo>
                    <a:lnTo>
                      <a:pt x="5" y="8"/>
                    </a:lnTo>
                    <a:lnTo>
                      <a:pt x="5" y="6"/>
                    </a:lnTo>
                    <a:lnTo>
                      <a:pt x="5" y="5"/>
                    </a:lnTo>
                    <a:lnTo>
                      <a:pt x="5" y="3"/>
                    </a:lnTo>
                    <a:lnTo>
                      <a:pt x="6" y="3"/>
                    </a:lnTo>
                    <a:lnTo>
                      <a:pt x="8" y="3"/>
                    </a:lnTo>
                    <a:lnTo>
                      <a:pt x="8" y="2"/>
                    </a:lnTo>
                    <a:lnTo>
                      <a:pt x="8"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63" name="Freeform 143"/>
              <p:cNvSpPr>
                <a:spLocks/>
              </p:cNvSpPr>
              <p:nvPr/>
            </p:nvSpPr>
            <p:spPr bwMode="auto">
              <a:xfrm>
                <a:off x="5061" y="1871"/>
                <a:ext cx="6" cy="12"/>
              </a:xfrm>
              <a:custGeom>
                <a:avLst/>
                <a:gdLst>
                  <a:gd name="T0" fmla="*/ 5 w 6"/>
                  <a:gd name="T1" fmla="*/ 0 h 12"/>
                  <a:gd name="T2" fmla="*/ 6 w 6"/>
                  <a:gd name="T3" fmla="*/ 0 h 12"/>
                  <a:gd name="T4" fmla="*/ 6 w 6"/>
                  <a:gd name="T5" fmla="*/ 1 h 12"/>
                  <a:gd name="T6" fmla="*/ 5 w 6"/>
                  <a:gd name="T7" fmla="*/ 1 h 12"/>
                  <a:gd name="T8" fmla="*/ 5 w 6"/>
                  <a:gd name="T9" fmla="*/ 0 h 12"/>
                  <a:gd name="T10" fmla="*/ 5 w 6"/>
                  <a:gd name="T11" fmla="*/ 1 h 12"/>
                  <a:gd name="T12" fmla="*/ 5 w 6"/>
                  <a:gd name="T13" fmla="*/ 3 h 12"/>
                  <a:gd name="T14" fmla="*/ 5 w 6"/>
                  <a:gd name="T15" fmla="*/ 5 h 12"/>
                  <a:gd name="T16" fmla="*/ 5 w 6"/>
                  <a:gd name="T17" fmla="*/ 6 h 12"/>
                  <a:gd name="T18" fmla="*/ 5 w 6"/>
                  <a:gd name="T19" fmla="*/ 8 h 12"/>
                  <a:gd name="T20" fmla="*/ 5 w 6"/>
                  <a:gd name="T21" fmla="*/ 9 h 12"/>
                  <a:gd name="T22" fmla="*/ 5 w 6"/>
                  <a:gd name="T23" fmla="*/ 11 h 12"/>
                  <a:gd name="T24" fmla="*/ 6 w 6"/>
                  <a:gd name="T25" fmla="*/ 11 h 12"/>
                  <a:gd name="T26" fmla="*/ 5 w 6"/>
                  <a:gd name="T27" fmla="*/ 11 h 12"/>
                  <a:gd name="T28" fmla="*/ 6 w 6"/>
                  <a:gd name="T29" fmla="*/ 11 h 12"/>
                  <a:gd name="T30" fmla="*/ 6 w 6"/>
                  <a:gd name="T31" fmla="*/ 12 h 12"/>
                  <a:gd name="T32" fmla="*/ 5 w 6"/>
                  <a:gd name="T33" fmla="*/ 12 h 12"/>
                  <a:gd name="T34" fmla="*/ 3 w 6"/>
                  <a:gd name="T35" fmla="*/ 12 h 12"/>
                  <a:gd name="T36" fmla="*/ 1 w 6"/>
                  <a:gd name="T37" fmla="*/ 12 h 12"/>
                  <a:gd name="T38" fmla="*/ 1 w 6"/>
                  <a:gd name="T39" fmla="*/ 11 h 12"/>
                  <a:gd name="T40" fmla="*/ 1 w 6"/>
                  <a:gd name="T41" fmla="*/ 9 h 12"/>
                  <a:gd name="T42" fmla="*/ 1 w 6"/>
                  <a:gd name="T43" fmla="*/ 8 h 12"/>
                  <a:gd name="T44" fmla="*/ 0 w 6"/>
                  <a:gd name="T45" fmla="*/ 8 h 12"/>
                  <a:gd name="T46" fmla="*/ 1 w 6"/>
                  <a:gd name="T47" fmla="*/ 8 h 12"/>
                  <a:gd name="T48" fmla="*/ 1 w 6"/>
                  <a:gd name="T49" fmla="*/ 6 h 12"/>
                  <a:gd name="T50" fmla="*/ 0 w 6"/>
                  <a:gd name="T51" fmla="*/ 6 h 12"/>
                  <a:gd name="T52" fmla="*/ 0 w 6"/>
                  <a:gd name="T53" fmla="*/ 5 h 12"/>
                  <a:gd name="T54" fmla="*/ 0 w 6"/>
                  <a:gd name="T55" fmla="*/ 3 h 12"/>
                  <a:gd name="T56" fmla="*/ 1 w 6"/>
                  <a:gd name="T57" fmla="*/ 3 h 12"/>
                  <a:gd name="T58" fmla="*/ 1 w 6"/>
                  <a:gd name="T59" fmla="*/ 1 h 12"/>
                  <a:gd name="T60" fmla="*/ 3 w 6"/>
                  <a:gd name="T61" fmla="*/ 1 h 12"/>
                  <a:gd name="T62" fmla="*/ 5 w 6"/>
                  <a:gd name="T63" fmla="*/ 1 h 12"/>
                  <a:gd name="T64" fmla="*/ 5 w 6"/>
                  <a:gd name="T6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2">
                    <a:moveTo>
                      <a:pt x="5" y="0"/>
                    </a:moveTo>
                    <a:lnTo>
                      <a:pt x="6" y="0"/>
                    </a:lnTo>
                    <a:lnTo>
                      <a:pt x="6" y="1"/>
                    </a:lnTo>
                    <a:lnTo>
                      <a:pt x="5" y="1"/>
                    </a:lnTo>
                    <a:lnTo>
                      <a:pt x="5" y="0"/>
                    </a:lnTo>
                    <a:lnTo>
                      <a:pt x="5" y="1"/>
                    </a:lnTo>
                    <a:lnTo>
                      <a:pt x="5" y="3"/>
                    </a:lnTo>
                    <a:lnTo>
                      <a:pt x="5" y="5"/>
                    </a:lnTo>
                    <a:lnTo>
                      <a:pt x="5" y="6"/>
                    </a:lnTo>
                    <a:lnTo>
                      <a:pt x="5" y="8"/>
                    </a:lnTo>
                    <a:lnTo>
                      <a:pt x="5" y="9"/>
                    </a:lnTo>
                    <a:lnTo>
                      <a:pt x="5" y="11"/>
                    </a:lnTo>
                    <a:lnTo>
                      <a:pt x="6" y="11"/>
                    </a:lnTo>
                    <a:lnTo>
                      <a:pt x="5" y="11"/>
                    </a:lnTo>
                    <a:lnTo>
                      <a:pt x="6" y="11"/>
                    </a:lnTo>
                    <a:lnTo>
                      <a:pt x="6" y="12"/>
                    </a:lnTo>
                    <a:lnTo>
                      <a:pt x="5" y="12"/>
                    </a:lnTo>
                    <a:lnTo>
                      <a:pt x="3" y="12"/>
                    </a:lnTo>
                    <a:lnTo>
                      <a:pt x="1" y="12"/>
                    </a:lnTo>
                    <a:lnTo>
                      <a:pt x="1" y="11"/>
                    </a:lnTo>
                    <a:lnTo>
                      <a:pt x="1" y="9"/>
                    </a:lnTo>
                    <a:lnTo>
                      <a:pt x="1" y="8"/>
                    </a:lnTo>
                    <a:lnTo>
                      <a:pt x="0" y="8"/>
                    </a:lnTo>
                    <a:lnTo>
                      <a:pt x="1" y="8"/>
                    </a:lnTo>
                    <a:lnTo>
                      <a:pt x="1" y="6"/>
                    </a:lnTo>
                    <a:lnTo>
                      <a:pt x="0" y="6"/>
                    </a:lnTo>
                    <a:lnTo>
                      <a:pt x="0" y="5"/>
                    </a:lnTo>
                    <a:lnTo>
                      <a:pt x="0" y="3"/>
                    </a:lnTo>
                    <a:lnTo>
                      <a:pt x="1" y="3"/>
                    </a:lnTo>
                    <a:lnTo>
                      <a:pt x="1" y="1"/>
                    </a:lnTo>
                    <a:lnTo>
                      <a:pt x="3" y="1"/>
                    </a:lnTo>
                    <a:lnTo>
                      <a:pt x="5" y="1"/>
                    </a:lnTo>
                    <a:lnTo>
                      <a:pt x="5"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64" name="Freeform 144"/>
              <p:cNvSpPr>
                <a:spLocks/>
              </p:cNvSpPr>
              <p:nvPr/>
            </p:nvSpPr>
            <p:spPr bwMode="auto">
              <a:xfrm>
                <a:off x="5066" y="1869"/>
                <a:ext cx="1" cy="2"/>
              </a:xfrm>
              <a:custGeom>
                <a:avLst/>
                <a:gdLst>
                  <a:gd name="T0" fmla="*/ 0 w 1"/>
                  <a:gd name="T1" fmla="*/ 0 h 2"/>
                  <a:gd name="T2" fmla="*/ 1 w 1"/>
                  <a:gd name="T3" fmla="*/ 0 h 2"/>
                  <a:gd name="T4" fmla="*/ 1 w 1"/>
                  <a:gd name="T5" fmla="*/ 2 h 2"/>
                  <a:gd name="T6" fmla="*/ 0 w 1"/>
                  <a:gd name="T7" fmla="*/ 2 h 2"/>
                  <a:gd name="T8" fmla="*/ 0 w 1"/>
                  <a:gd name="T9" fmla="*/ 0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2"/>
                    </a:lnTo>
                    <a:lnTo>
                      <a:pt x="0" y="2"/>
                    </a:lnTo>
                    <a:lnTo>
                      <a:pt x="0" y="0"/>
                    </a:lnTo>
                    <a:lnTo>
                      <a:pt x="0" y="2"/>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65" name="Freeform 145"/>
              <p:cNvSpPr>
                <a:spLocks/>
              </p:cNvSpPr>
              <p:nvPr/>
            </p:nvSpPr>
            <p:spPr bwMode="auto">
              <a:xfrm>
                <a:off x="5045" y="1858"/>
                <a:ext cx="3" cy="2"/>
              </a:xfrm>
              <a:custGeom>
                <a:avLst/>
                <a:gdLst>
                  <a:gd name="T0" fmla="*/ 3 w 3"/>
                  <a:gd name="T1" fmla="*/ 0 h 2"/>
                  <a:gd name="T2" fmla="*/ 3 w 3"/>
                  <a:gd name="T3" fmla="*/ 2 h 2"/>
                  <a:gd name="T4" fmla="*/ 2 w 3"/>
                  <a:gd name="T5" fmla="*/ 2 h 2"/>
                  <a:gd name="T6" fmla="*/ 0 w 3"/>
                  <a:gd name="T7" fmla="*/ 2 h 2"/>
                  <a:gd name="T8" fmla="*/ 2 w 3"/>
                  <a:gd name="T9" fmla="*/ 2 h 2"/>
                  <a:gd name="T10" fmla="*/ 2 w 3"/>
                  <a:gd name="T11" fmla="*/ 0 h 2"/>
                  <a:gd name="T12" fmla="*/ 3 w 3"/>
                  <a:gd name="T13" fmla="*/ 0 h 2"/>
                  <a:gd name="T14" fmla="*/ 2 w 3"/>
                  <a:gd name="T15" fmla="*/ 0 h 2"/>
                  <a:gd name="T16" fmla="*/ 3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3" y="0"/>
                    </a:moveTo>
                    <a:lnTo>
                      <a:pt x="3" y="2"/>
                    </a:lnTo>
                    <a:lnTo>
                      <a:pt x="2" y="2"/>
                    </a:lnTo>
                    <a:lnTo>
                      <a:pt x="0" y="2"/>
                    </a:lnTo>
                    <a:lnTo>
                      <a:pt x="2" y="2"/>
                    </a:lnTo>
                    <a:lnTo>
                      <a:pt x="2" y="0"/>
                    </a:lnTo>
                    <a:lnTo>
                      <a:pt x="3" y="0"/>
                    </a:lnTo>
                    <a:lnTo>
                      <a:pt x="2" y="0"/>
                    </a:lnTo>
                    <a:lnTo>
                      <a:pt x="3"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66" name="Freeform 146"/>
              <p:cNvSpPr>
                <a:spLocks/>
              </p:cNvSpPr>
              <p:nvPr/>
            </p:nvSpPr>
            <p:spPr bwMode="auto">
              <a:xfrm>
                <a:off x="5062" y="1842"/>
                <a:ext cx="5" cy="8"/>
              </a:xfrm>
              <a:custGeom>
                <a:avLst/>
                <a:gdLst>
                  <a:gd name="T0" fmla="*/ 4 w 5"/>
                  <a:gd name="T1" fmla="*/ 0 h 8"/>
                  <a:gd name="T2" fmla="*/ 5 w 5"/>
                  <a:gd name="T3" fmla="*/ 0 h 8"/>
                  <a:gd name="T4" fmla="*/ 5 w 5"/>
                  <a:gd name="T5" fmla="*/ 2 h 8"/>
                  <a:gd name="T6" fmla="*/ 5 w 5"/>
                  <a:gd name="T7" fmla="*/ 3 h 8"/>
                  <a:gd name="T8" fmla="*/ 4 w 5"/>
                  <a:gd name="T9" fmla="*/ 3 h 8"/>
                  <a:gd name="T10" fmla="*/ 4 w 5"/>
                  <a:gd name="T11" fmla="*/ 5 h 8"/>
                  <a:gd name="T12" fmla="*/ 4 w 5"/>
                  <a:gd name="T13" fmla="*/ 7 h 8"/>
                  <a:gd name="T14" fmla="*/ 4 w 5"/>
                  <a:gd name="T15" fmla="*/ 8 h 8"/>
                  <a:gd name="T16" fmla="*/ 4 w 5"/>
                  <a:gd name="T17" fmla="*/ 7 h 8"/>
                  <a:gd name="T18" fmla="*/ 4 w 5"/>
                  <a:gd name="T19" fmla="*/ 8 h 8"/>
                  <a:gd name="T20" fmla="*/ 4 w 5"/>
                  <a:gd name="T21" fmla="*/ 7 h 8"/>
                  <a:gd name="T22" fmla="*/ 2 w 5"/>
                  <a:gd name="T23" fmla="*/ 7 h 8"/>
                  <a:gd name="T24" fmla="*/ 2 w 5"/>
                  <a:gd name="T25" fmla="*/ 5 h 8"/>
                  <a:gd name="T26" fmla="*/ 2 w 5"/>
                  <a:gd name="T27" fmla="*/ 3 h 8"/>
                  <a:gd name="T28" fmla="*/ 2 w 5"/>
                  <a:gd name="T29" fmla="*/ 2 h 8"/>
                  <a:gd name="T30" fmla="*/ 0 w 5"/>
                  <a:gd name="T31" fmla="*/ 2 h 8"/>
                  <a:gd name="T32" fmla="*/ 0 w 5"/>
                  <a:gd name="T33" fmla="*/ 0 h 8"/>
                  <a:gd name="T34" fmla="*/ 2 w 5"/>
                  <a:gd name="T35" fmla="*/ 0 h 8"/>
                  <a:gd name="T36" fmla="*/ 4 w 5"/>
                  <a:gd name="T3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8">
                    <a:moveTo>
                      <a:pt x="4" y="0"/>
                    </a:moveTo>
                    <a:lnTo>
                      <a:pt x="5" y="0"/>
                    </a:lnTo>
                    <a:lnTo>
                      <a:pt x="5" y="2"/>
                    </a:lnTo>
                    <a:lnTo>
                      <a:pt x="5" y="3"/>
                    </a:lnTo>
                    <a:lnTo>
                      <a:pt x="4" y="3"/>
                    </a:lnTo>
                    <a:lnTo>
                      <a:pt x="4" y="5"/>
                    </a:lnTo>
                    <a:lnTo>
                      <a:pt x="4" y="7"/>
                    </a:lnTo>
                    <a:lnTo>
                      <a:pt x="4" y="8"/>
                    </a:lnTo>
                    <a:lnTo>
                      <a:pt x="4" y="7"/>
                    </a:lnTo>
                    <a:lnTo>
                      <a:pt x="4" y="8"/>
                    </a:lnTo>
                    <a:lnTo>
                      <a:pt x="4" y="7"/>
                    </a:lnTo>
                    <a:lnTo>
                      <a:pt x="2" y="7"/>
                    </a:lnTo>
                    <a:lnTo>
                      <a:pt x="2" y="5"/>
                    </a:lnTo>
                    <a:lnTo>
                      <a:pt x="2" y="3"/>
                    </a:lnTo>
                    <a:lnTo>
                      <a:pt x="2" y="2"/>
                    </a:lnTo>
                    <a:lnTo>
                      <a:pt x="0" y="2"/>
                    </a:lnTo>
                    <a:lnTo>
                      <a:pt x="0" y="0"/>
                    </a:lnTo>
                    <a:lnTo>
                      <a:pt x="2" y="0"/>
                    </a:lnTo>
                    <a:lnTo>
                      <a:pt x="4"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67" name="Freeform 147"/>
              <p:cNvSpPr>
                <a:spLocks/>
              </p:cNvSpPr>
              <p:nvPr/>
            </p:nvSpPr>
            <p:spPr bwMode="auto">
              <a:xfrm>
                <a:off x="5059" y="1826"/>
                <a:ext cx="11" cy="13"/>
              </a:xfrm>
              <a:custGeom>
                <a:avLst/>
                <a:gdLst>
                  <a:gd name="T0" fmla="*/ 10 w 11"/>
                  <a:gd name="T1" fmla="*/ 0 h 13"/>
                  <a:gd name="T2" fmla="*/ 10 w 11"/>
                  <a:gd name="T3" fmla="*/ 2 h 13"/>
                  <a:gd name="T4" fmla="*/ 11 w 11"/>
                  <a:gd name="T5" fmla="*/ 2 h 13"/>
                  <a:gd name="T6" fmla="*/ 11 w 11"/>
                  <a:gd name="T7" fmla="*/ 4 h 13"/>
                  <a:gd name="T8" fmla="*/ 11 w 11"/>
                  <a:gd name="T9" fmla="*/ 5 h 13"/>
                  <a:gd name="T10" fmla="*/ 10 w 11"/>
                  <a:gd name="T11" fmla="*/ 5 h 13"/>
                  <a:gd name="T12" fmla="*/ 10 w 11"/>
                  <a:gd name="T13" fmla="*/ 7 h 13"/>
                  <a:gd name="T14" fmla="*/ 10 w 11"/>
                  <a:gd name="T15" fmla="*/ 8 h 13"/>
                  <a:gd name="T16" fmla="*/ 10 w 11"/>
                  <a:gd name="T17" fmla="*/ 10 h 13"/>
                  <a:gd name="T18" fmla="*/ 10 w 11"/>
                  <a:gd name="T19" fmla="*/ 12 h 13"/>
                  <a:gd name="T20" fmla="*/ 10 w 11"/>
                  <a:gd name="T21" fmla="*/ 13 h 13"/>
                  <a:gd name="T22" fmla="*/ 8 w 11"/>
                  <a:gd name="T23" fmla="*/ 13 h 13"/>
                  <a:gd name="T24" fmla="*/ 7 w 11"/>
                  <a:gd name="T25" fmla="*/ 13 h 13"/>
                  <a:gd name="T26" fmla="*/ 5 w 11"/>
                  <a:gd name="T27" fmla="*/ 13 h 13"/>
                  <a:gd name="T28" fmla="*/ 5 w 11"/>
                  <a:gd name="T29" fmla="*/ 12 h 13"/>
                  <a:gd name="T30" fmla="*/ 7 w 11"/>
                  <a:gd name="T31" fmla="*/ 12 h 13"/>
                  <a:gd name="T32" fmla="*/ 7 w 11"/>
                  <a:gd name="T33" fmla="*/ 10 h 13"/>
                  <a:gd name="T34" fmla="*/ 7 w 11"/>
                  <a:gd name="T35" fmla="*/ 8 h 13"/>
                  <a:gd name="T36" fmla="*/ 8 w 11"/>
                  <a:gd name="T37" fmla="*/ 8 h 13"/>
                  <a:gd name="T38" fmla="*/ 7 w 11"/>
                  <a:gd name="T39" fmla="*/ 8 h 13"/>
                  <a:gd name="T40" fmla="*/ 7 w 11"/>
                  <a:gd name="T41" fmla="*/ 7 h 13"/>
                  <a:gd name="T42" fmla="*/ 7 w 11"/>
                  <a:gd name="T43" fmla="*/ 8 h 13"/>
                  <a:gd name="T44" fmla="*/ 5 w 11"/>
                  <a:gd name="T45" fmla="*/ 8 h 13"/>
                  <a:gd name="T46" fmla="*/ 3 w 11"/>
                  <a:gd name="T47" fmla="*/ 8 h 13"/>
                  <a:gd name="T48" fmla="*/ 2 w 11"/>
                  <a:gd name="T49" fmla="*/ 8 h 13"/>
                  <a:gd name="T50" fmla="*/ 2 w 11"/>
                  <a:gd name="T51" fmla="*/ 7 h 13"/>
                  <a:gd name="T52" fmla="*/ 2 w 11"/>
                  <a:gd name="T53" fmla="*/ 5 h 13"/>
                  <a:gd name="T54" fmla="*/ 2 w 11"/>
                  <a:gd name="T55" fmla="*/ 7 h 13"/>
                  <a:gd name="T56" fmla="*/ 2 w 11"/>
                  <a:gd name="T57" fmla="*/ 5 h 13"/>
                  <a:gd name="T58" fmla="*/ 0 w 11"/>
                  <a:gd name="T59" fmla="*/ 5 h 13"/>
                  <a:gd name="T60" fmla="*/ 2 w 11"/>
                  <a:gd name="T61" fmla="*/ 5 h 13"/>
                  <a:gd name="T62" fmla="*/ 0 w 11"/>
                  <a:gd name="T63" fmla="*/ 5 h 13"/>
                  <a:gd name="T64" fmla="*/ 0 w 11"/>
                  <a:gd name="T65" fmla="*/ 4 h 13"/>
                  <a:gd name="T66" fmla="*/ 2 w 11"/>
                  <a:gd name="T67" fmla="*/ 4 h 13"/>
                  <a:gd name="T68" fmla="*/ 2 w 11"/>
                  <a:gd name="T69" fmla="*/ 2 h 13"/>
                  <a:gd name="T70" fmla="*/ 3 w 11"/>
                  <a:gd name="T71" fmla="*/ 2 h 13"/>
                  <a:gd name="T72" fmla="*/ 5 w 11"/>
                  <a:gd name="T73" fmla="*/ 2 h 13"/>
                  <a:gd name="T74" fmla="*/ 5 w 11"/>
                  <a:gd name="T75" fmla="*/ 4 h 13"/>
                  <a:gd name="T76" fmla="*/ 7 w 11"/>
                  <a:gd name="T77" fmla="*/ 4 h 13"/>
                  <a:gd name="T78" fmla="*/ 8 w 11"/>
                  <a:gd name="T79" fmla="*/ 4 h 13"/>
                  <a:gd name="T80" fmla="*/ 8 w 11"/>
                  <a:gd name="T81" fmla="*/ 2 h 13"/>
                  <a:gd name="T82" fmla="*/ 10 w 11"/>
                  <a:gd name="T83" fmla="*/ 2 h 13"/>
                  <a:gd name="T84" fmla="*/ 10 w 11"/>
                  <a:gd name="T8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 h="13">
                    <a:moveTo>
                      <a:pt x="10" y="0"/>
                    </a:moveTo>
                    <a:lnTo>
                      <a:pt x="10" y="2"/>
                    </a:lnTo>
                    <a:lnTo>
                      <a:pt x="11" y="2"/>
                    </a:lnTo>
                    <a:lnTo>
                      <a:pt x="11" y="4"/>
                    </a:lnTo>
                    <a:lnTo>
                      <a:pt x="11" y="5"/>
                    </a:lnTo>
                    <a:lnTo>
                      <a:pt x="10" y="5"/>
                    </a:lnTo>
                    <a:lnTo>
                      <a:pt x="10" y="7"/>
                    </a:lnTo>
                    <a:lnTo>
                      <a:pt x="10" y="8"/>
                    </a:lnTo>
                    <a:lnTo>
                      <a:pt x="10" y="10"/>
                    </a:lnTo>
                    <a:lnTo>
                      <a:pt x="10" y="12"/>
                    </a:lnTo>
                    <a:lnTo>
                      <a:pt x="10" y="13"/>
                    </a:lnTo>
                    <a:lnTo>
                      <a:pt x="8" y="13"/>
                    </a:lnTo>
                    <a:lnTo>
                      <a:pt x="7" y="13"/>
                    </a:lnTo>
                    <a:lnTo>
                      <a:pt x="5" y="13"/>
                    </a:lnTo>
                    <a:lnTo>
                      <a:pt x="5" y="12"/>
                    </a:lnTo>
                    <a:lnTo>
                      <a:pt x="7" y="12"/>
                    </a:lnTo>
                    <a:lnTo>
                      <a:pt x="7" y="10"/>
                    </a:lnTo>
                    <a:lnTo>
                      <a:pt x="7" y="8"/>
                    </a:lnTo>
                    <a:lnTo>
                      <a:pt x="8" y="8"/>
                    </a:lnTo>
                    <a:lnTo>
                      <a:pt x="7" y="8"/>
                    </a:lnTo>
                    <a:lnTo>
                      <a:pt x="7" y="7"/>
                    </a:lnTo>
                    <a:lnTo>
                      <a:pt x="7" y="8"/>
                    </a:lnTo>
                    <a:lnTo>
                      <a:pt x="5" y="8"/>
                    </a:lnTo>
                    <a:lnTo>
                      <a:pt x="3" y="8"/>
                    </a:lnTo>
                    <a:lnTo>
                      <a:pt x="2" y="8"/>
                    </a:lnTo>
                    <a:lnTo>
                      <a:pt x="2" y="7"/>
                    </a:lnTo>
                    <a:lnTo>
                      <a:pt x="2" y="5"/>
                    </a:lnTo>
                    <a:lnTo>
                      <a:pt x="2" y="7"/>
                    </a:lnTo>
                    <a:lnTo>
                      <a:pt x="2" y="5"/>
                    </a:lnTo>
                    <a:lnTo>
                      <a:pt x="0" y="5"/>
                    </a:lnTo>
                    <a:lnTo>
                      <a:pt x="2" y="5"/>
                    </a:lnTo>
                    <a:lnTo>
                      <a:pt x="0" y="5"/>
                    </a:lnTo>
                    <a:lnTo>
                      <a:pt x="0" y="4"/>
                    </a:lnTo>
                    <a:lnTo>
                      <a:pt x="2" y="4"/>
                    </a:lnTo>
                    <a:lnTo>
                      <a:pt x="2" y="2"/>
                    </a:lnTo>
                    <a:lnTo>
                      <a:pt x="3" y="2"/>
                    </a:lnTo>
                    <a:lnTo>
                      <a:pt x="5" y="2"/>
                    </a:lnTo>
                    <a:lnTo>
                      <a:pt x="5" y="4"/>
                    </a:lnTo>
                    <a:lnTo>
                      <a:pt x="7" y="4"/>
                    </a:lnTo>
                    <a:lnTo>
                      <a:pt x="8" y="4"/>
                    </a:lnTo>
                    <a:lnTo>
                      <a:pt x="8" y="2"/>
                    </a:lnTo>
                    <a:lnTo>
                      <a:pt x="10" y="2"/>
                    </a:lnTo>
                    <a:lnTo>
                      <a:pt x="1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68" name="Freeform 148"/>
              <p:cNvSpPr>
                <a:spLocks/>
              </p:cNvSpPr>
              <p:nvPr/>
            </p:nvSpPr>
            <p:spPr bwMode="auto">
              <a:xfrm>
                <a:off x="5069" y="1771"/>
                <a:ext cx="3" cy="0"/>
              </a:xfrm>
              <a:custGeom>
                <a:avLst/>
                <a:gdLst>
                  <a:gd name="T0" fmla="*/ 3 w 3"/>
                  <a:gd name="T1" fmla="*/ 1 w 3"/>
                  <a:gd name="T2" fmla="*/ 0 w 3"/>
                  <a:gd name="T3" fmla="*/ 1 w 3"/>
                  <a:gd name="T4" fmla="*/ 3 w 3"/>
                </a:gdLst>
                <a:ahLst/>
                <a:cxnLst>
                  <a:cxn ang="0">
                    <a:pos x="T0" y="0"/>
                  </a:cxn>
                  <a:cxn ang="0">
                    <a:pos x="T1" y="0"/>
                  </a:cxn>
                  <a:cxn ang="0">
                    <a:pos x="T2" y="0"/>
                  </a:cxn>
                  <a:cxn ang="0">
                    <a:pos x="T3" y="0"/>
                  </a:cxn>
                  <a:cxn ang="0">
                    <a:pos x="T4" y="0"/>
                  </a:cxn>
                </a:cxnLst>
                <a:rect l="0" t="0" r="r" b="b"/>
                <a:pathLst>
                  <a:path w="3">
                    <a:moveTo>
                      <a:pt x="3" y="0"/>
                    </a:moveTo>
                    <a:lnTo>
                      <a:pt x="1" y="0"/>
                    </a:lnTo>
                    <a:lnTo>
                      <a:pt x="0" y="0"/>
                    </a:lnTo>
                    <a:lnTo>
                      <a:pt x="1" y="0"/>
                    </a:lnTo>
                    <a:lnTo>
                      <a:pt x="3"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69" name="Freeform 149"/>
              <p:cNvSpPr>
                <a:spLocks/>
              </p:cNvSpPr>
              <p:nvPr/>
            </p:nvSpPr>
            <p:spPr bwMode="auto">
              <a:xfrm>
                <a:off x="4622" y="1562"/>
                <a:ext cx="464" cy="613"/>
              </a:xfrm>
              <a:custGeom>
                <a:avLst/>
                <a:gdLst>
                  <a:gd name="T0" fmla="*/ 456 w 464"/>
                  <a:gd name="T1" fmla="*/ 168 h 613"/>
                  <a:gd name="T2" fmla="*/ 453 w 464"/>
                  <a:gd name="T3" fmla="*/ 177 h 613"/>
                  <a:gd name="T4" fmla="*/ 459 w 464"/>
                  <a:gd name="T5" fmla="*/ 185 h 613"/>
                  <a:gd name="T6" fmla="*/ 459 w 464"/>
                  <a:gd name="T7" fmla="*/ 199 h 613"/>
                  <a:gd name="T8" fmla="*/ 452 w 464"/>
                  <a:gd name="T9" fmla="*/ 199 h 613"/>
                  <a:gd name="T10" fmla="*/ 450 w 464"/>
                  <a:gd name="T11" fmla="*/ 201 h 613"/>
                  <a:gd name="T12" fmla="*/ 447 w 464"/>
                  <a:gd name="T13" fmla="*/ 209 h 613"/>
                  <a:gd name="T14" fmla="*/ 458 w 464"/>
                  <a:gd name="T15" fmla="*/ 212 h 613"/>
                  <a:gd name="T16" fmla="*/ 458 w 464"/>
                  <a:gd name="T17" fmla="*/ 226 h 613"/>
                  <a:gd name="T18" fmla="*/ 455 w 464"/>
                  <a:gd name="T19" fmla="*/ 244 h 613"/>
                  <a:gd name="T20" fmla="*/ 448 w 464"/>
                  <a:gd name="T21" fmla="*/ 258 h 613"/>
                  <a:gd name="T22" fmla="*/ 442 w 464"/>
                  <a:gd name="T23" fmla="*/ 250 h 613"/>
                  <a:gd name="T24" fmla="*/ 445 w 464"/>
                  <a:gd name="T25" fmla="*/ 236 h 613"/>
                  <a:gd name="T26" fmla="*/ 444 w 464"/>
                  <a:gd name="T27" fmla="*/ 233 h 613"/>
                  <a:gd name="T28" fmla="*/ 437 w 464"/>
                  <a:gd name="T29" fmla="*/ 244 h 613"/>
                  <a:gd name="T30" fmla="*/ 433 w 464"/>
                  <a:gd name="T31" fmla="*/ 253 h 613"/>
                  <a:gd name="T32" fmla="*/ 431 w 464"/>
                  <a:gd name="T33" fmla="*/ 257 h 613"/>
                  <a:gd name="T34" fmla="*/ 436 w 464"/>
                  <a:gd name="T35" fmla="*/ 272 h 613"/>
                  <a:gd name="T36" fmla="*/ 431 w 464"/>
                  <a:gd name="T37" fmla="*/ 272 h 613"/>
                  <a:gd name="T38" fmla="*/ 436 w 464"/>
                  <a:gd name="T39" fmla="*/ 285 h 613"/>
                  <a:gd name="T40" fmla="*/ 423 w 464"/>
                  <a:gd name="T41" fmla="*/ 290 h 613"/>
                  <a:gd name="T42" fmla="*/ 423 w 464"/>
                  <a:gd name="T43" fmla="*/ 295 h 613"/>
                  <a:gd name="T44" fmla="*/ 429 w 464"/>
                  <a:gd name="T45" fmla="*/ 296 h 613"/>
                  <a:gd name="T46" fmla="*/ 434 w 464"/>
                  <a:gd name="T47" fmla="*/ 315 h 613"/>
                  <a:gd name="T48" fmla="*/ 425 w 464"/>
                  <a:gd name="T49" fmla="*/ 326 h 613"/>
                  <a:gd name="T50" fmla="*/ 425 w 464"/>
                  <a:gd name="T51" fmla="*/ 337 h 613"/>
                  <a:gd name="T52" fmla="*/ 414 w 464"/>
                  <a:gd name="T53" fmla="*/ 347 h 613"/>
                  <a:gd name="T54" fmla="*/ 409 w 464"/>
                  <a:gd name="T55" fmla="*/ 356 h 613"/>
                  <a:gd name="T56" fmla="*/ 418 w 464"/>
                  <a:gd name="T57" fmla="*/ 358 h 613"/>
                  <a:gd name="T58" fmla="*/ 412 w 464"/>
                  <a:gd name="T59" fmla="*/ 378 h 613"/>
                  <a:gd name="T60" fmla="*/ 404 w 464"/>
                  <a:gd name="T61" fmla="*/ 397 h 613"/>
                  <a:gd name="T62" fmla="*/ 396 w 464"/>
                  <a:gd name="T63" fmla="*/ 413 h 613"/>
                  <a:gd name="T64" fmla="*/ 382 w 464"/>
                  <a:gd name="T65" fmla="*/ 420 h 613"/>
                  <a:gd name="T66" fmla="*/ 390 w 464"/>
                  <a:gd name="T67" fmla="*/ 432 h 613"/>
                  <a:gd name="T68" fmla="*/ 383 w 464"/>
                  <a:gd name="T69" fmla="*/ 450 h 613"/>
                  <a:gd name="T70" fmla="*/ 374 w 464"/>
                  <a:gd name="T71" fmla="*/ 467 h 613"/>
                  <a:gd name="T72" fmla="*/ 364 w 464"/>
                  <a:gd name="T73" fmla="*/ 485 h 613"/>
                  <a:gd name="T74" fmla="*/ 358 w 464"/>
                  <a:gd name="T75" fmla="*/ 493 h 613"/>
                  <a:gd name="T76" fmla="*/ 357 w 464"/>
                  <a:gd name="T77" fmla="*/ 505 h 613"/>
                  <a:gd name="T78" fmla="*/ 349 w 464"/>
                  <a:gd name="T79" fmla="*/ 524 h 613"/>
                  <a:gd name="T80" fmla="*/ 339 w 464"/>
                  <a:gd name="T81" fmla="*/ 542 h 613"/>
                  <a:gd name="T82" fmla="*/ 331 w 464"/>
                  <a:gd name="T83" fmla="*/ 561 h 613"/>
                  <a:gd name="T84" fmla="*/ 331 w 464"/>
                  <a:gd name="T85" fmla="*/ 584 h 613"/>
                  <a:gd name="T86" fmla="*/ 314 w 464"/>
                  <a:gd name="T87" fmla="*/ 589 h 613"/>
                  <a:gd name="T88" fmla="*/ 292 w 464"/>
                  <a:gd name="T89" fmla="*/ 594 h 613"/>
                  <a:gd name="T90" fmla="*/ 269 w 464"/>
                  <a:gd name="T91" fmla="*/ 602 h 613"/>
                  <a:gd name="T92" fmla="*/ 249 w 464"/>
                  <a:gd name="T93" fmla="*/ 611 h 613"/>
                  <a:gd name="T94" fmla="*/ 231 w 464"/>
                  <a:gd name="T95" fmla="*/ 610 h 613"/>
                  <a:gd name="T96" fmla="*/ 214 w 464"/>
                  <a:gd name="T97" fmla="*/ 613 h 613"/>
                  <a:gd name="T98" fmla="*/ 197 w 464"/>
                  <a:gd name="T99" fmla="*/ 600 h 613"/>
                  <a:gd name="T100" fmla="*/ 176 w 464"/>
                  <a:gd name="T101" fmla="*/ 595 h 613"/>
                  <a:gd name="T102" fmla="*/ 159 w 464"/>
                  <a:gd name="T103" fmla="*/ 583 h 613"/>
                  <a:gd name="T104" fmla="*/ 139 w 464"/>
                  <a:gd name="T105" fmla="*/ 580 h 613"/>
                  <a:gd name="T106" fmla="*/ 132 w 464"/>
                  <a:gd name="T107" fmla="*/ 565 h 613"/>
                  <a:gd name="T108" fmla="*/ 114 w 464"/>
                  <a:gd name="T109" fmla="*/ 557 h 613"/>
                  <a:gd name="T110" fmla="*/ 92 w 464"/>
                  <a:gd name="T111" fmla="*/ 557 h 613"/>
                  <a:gd name="T112" fmla="*/ 71 w 464"/>
                  <a:gd name="T113" fmla="*/ 562 h 613"/>
                  <a:gd name="T114" fmla="*/ 54 w 464"/>
                  <a:gd name="T115" fmla="*/ 556 h 613"/>
                  <a:gd name="T116" fmla="*/ 29 w 464"/>
                  <a:gd name="T117" fmla="*/ 564 h 613"/>
                  <a:gd name="T118" fmla="*/ 5 w 464"/>
                  <a:gd name="T119" fmla="*/ 56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4" h="613">
                    <a:moveTo>
                      <a:pt x="212" y="0"/>
                    </a:moveTo>
                    <a:lnTo>
                      <a:pt x="212" y="1"/>
                    </a:lnTo>
                    <a:lnTo>
                      <a:pt x="238" y="19"/>
                    </a:lnTo>
                    <a:lnTo>
                      <a:pt x="241" y="20"/>
                    </a:lnTo>
                    <a:lnTo>
                      <a:pt x="317" y="71"/>
                    </a:lnTo>
                    <a:lnTo>
                      <a:pt x="326" y="78"/>
                    </a:lnTo>
                    <a:lnTo>
                      <a:pt x="328" y="79"/>
                    </a:lnTo>
                    <a:lnTo>
                      <a:pt x="395" y="125"/>
                    </a:lnTo>
                    <a:lnTo>
                      <a:pt x="396" y="127"/>
                    </a:lnTo>
                    <a:lnTo>
                      <a:pt x="420" y="142"/>
                    </a:lnTo>
                    <a:lnTo>
                      <a:pt x="421" y="144"/>
                    </a:lnTo>
                    <a:lnTo>
                      <a:pt x="428" y="147"/>
                    </a:lnTo>
                    <a:lnTo>
                      <a:pt x="431" y="150"/>
                    </a:lnTo>
                    <a:lnTo>
                      <a:pt x="442" y="157"/>
                    </a:lnTo>
                    <a:lnTo>
                      <a:pt x="453" y="166"/>
                    </a:lnTo>
                    <a:lnTo>
                      <a:pt x="455" y="166"/>
                    </a:lnTo>
                    <a:lnTo>
                      <a:pt x="456" y="168"/>
                    </a:lnTo>
                    <a:lnTo>
                      <a:pt x="456" y="169"/>
                    </a:lnTo>
                    <a:lnTo>
                      <a:pt x="458" y="169"/>
                    </a:lnTo>
                    <a:lnTo>
                      <a:pt x="459" y="169"/>
                    </a:lnTo>
                    <a:lnTo>
                      <a:pt x="459" y="171"/>
                    </a:lnTo>
                    <a:lnTo>
                      <a:pt x="461" y="173"/>
                    </a:lnTo>
                    <a:lnTo>
                      <a:pt x="463" y="173"/>
                    </a:lnTo>
                    <a:lnTo>
                      <a:pt x="464" y="173"/>
                    </a:lnTo>
                    <a:lnTo>
                      <a:pt x="463" y="173"/>
                    </a:lnTo>
                    <a:lnTo>
                      <a:pt x="463" y="174"/>
                    </a:lnTo>
                    <a:lnTo>
                      <a:pt x="463" y="176"/>
                    </a:lnTo>
                    <a:lnTo>
                      <a:pt x="461" y="176"/>
                    </a:lnTo>
                    <a:lnTo>
                      <a:pt x="459" y="176"/>
                    </a:lnTo>
                    <a:lnTo>
                      <a:pt x="458" y="176"/>
                    </a:lnTo>
                    <a:lnTo>
                      <a:pt x="456" y="176"/>
                    </a:lnTo>
                    <a:lnTo>
                      <a:pt x="455" y="176"/>
                    </a:lnTo>
                    <a:lnTo>
                      <a:pt x="455" y="177"/>
                    </a:lnTo>
                    <a:lnTo>
                      <a:pt x="453" y="177"/>
                    </a:lnTo>
                    <a:lnTo>
                      <a:pt x="452" y="177"/>
                    </a:lnTo>
                    <a:lnTo>
                      <a:pt x="453" y="177"/>
                    </a:lnTo>
                    <a:lnTo>
                      <a:pt x="455" y="177"/>
                    </a:lnTo>
                    <a:lnTo>
                      <a:pt x="456" y="177"/>
                    </a:lnTo>
                    <a:lnTo>
                      <a:pt x="456" y="176"/>
                    </a:lnTo>
                    <a:lnTo>
                      <a:pt x="458" y="176"/>
                    </a:lnTo>
                    <a:lnTo>
                      <a:pt x="459" y="176"/>
                    </a:lnTo>
                    <a:lnTo>
                      <a:pt x="459" y="177"/>
                    </a:lnTo>
                    <a:lnTo>
                      <a:pt x="459" y="179"/>
                    </a:lnTo>
                    <a:lnTo>
                      <a:pt x="458" y="179"/>
                    </a:lnTo>
                    <a:lnTo>
                      <a:pt x="458" y="180"/>
                    </a:lnTo>
                    <a:lnTo>
                      <a:pt x="458" y="182"/>
                    </a:lnTo>
                    <a:lnTo>
                      <a:pt x="458" y="184"/>
                    </a:lnTo>
                    <a:lnTo>
                      <a:pt x="458" y="185"/>
                    </a:lnTo>
                    <a:lnTo>
                      <a:pt x="458" y="187"/>
                    </a:lnTo>
                    <a:lnTo>
                      <a:pt x="459" y="187"/>
                    </a:lnTo>
                    <a:lnTo>
                      <a:pt x="459" y="185"/>
                    </a:lnTo>
                    <a:lnTo>
                      <a:pt x="459" y="187"/>
                    </a:lnTo>
                    <a:lnTo>
                      <a:pt x="459" y="188"/>
                    </a:lnTo>
                    <a:lnTo>
                      <a:pt x="459" y="190"/>
                    </a:lnTo>
                    <a:lnTo>
                      <a:pt x="459" y="192"/>
                    </a:lnTo>
                    <a:lnTo>
                      <a:pt x="459" y="193"/>
                    </a:lnTo>
                    <a:lnTo>
                      <a:pt x="461" y="193"/>
                    </a:lnTo>
                    <a:lnTo>
                      <a:pt x="459" y="193"/>
                    </a:lnTo>
                    <a:lnTo>
                      <a:pt x="461" y="193"/>
                    </a:lnTo>
                    <a:lnTo>
                      <a:pt x="461" y="195"/>
                    </a:lnTo>
                    <a:lnTo>
                      <a:pt x="459" y="195"/>
                    </a:lnTo>
                    <a:lnTo>
                      <a:pt x="461" y="195"/>
                    </a:lnTo>
                    <a:lnTo>
                      <a:pt x="461" y="196"/>
                    </a:lnTo>
                    <a:lnTo>
                      <a:pt x="459" y="196"/>
                    </a:lnTo>
                    <a:lnTo>
                      <a:pt x="461" y="196"/>
                    </a:lnTo>
                    <a:lnTo>
                      <a:pt x="461" y="198"/>
                    </a:lnTo>
                    <a:lnTo>
                      <a:pt x="459" y="198"/>
                    </a:lnTo>
                    <a:lnTo>
                      <a:pt x="459" y="199"/>
                    </a:lnTo>
                    <a:lnTo>
                      <a:pt x="459" y="201"/>
                    </a:lnTo>
                    <a:lnTo>
                      <a:pt x="461" y="201"/>
                    </a:lnTo>
                    <a:lnTo>
                      <a:pt x="459" y="201"/>
                    </a:lnTo>
                    <a:lnTo>
                      <a:pt x="459" y="203"/>
                    </a:lnTo>
                    <a:lnTo>
                      <a:pt x="459" y="204"/>
                    </a:lnTo>
                    <a:lnTo>
                      <a:pt x="459" y="206"/>
                    </a:lnTo>
                    <a:lnTo>
                      <a:pt x="458" y="206"/>
                    </a:lnTo>
                    <a:lnTo>
                      <a:pt x="456" y="206"/>
                    </a:lnTo>
                    <a:lnTo>
                      <a:pt x="455" y="206"/>
                    </a:lnTo>
                    <a:lnTo>
                      <a:pt x="455" y="204"/>
                    </a:lnTo>
                    <a:lnTo>
                      <a:pt x="453" y="204"/>
                    </a:lnTo>
                    <a:lnTo>
                      <a:pt x="453" y="203"/>
                    </a:lnTo>
                    <a:lnTo>
                      <a:pt x="453" y="201"/>
                    </a:lnTo>
                    <a:lnTo>
                      <a:pt x="453" y="203"/>
                    </a:lnTo>
                    <a:lnTo>
                      <a:pt x="453" y="201"/>
                    </a:lnTo>
                    <a:lnTo>
                      <a:pt x="452" y="201"/>
                    </a:lnTo>
                    <a:lnTo>
                      <a:pt x="452" y="199"/>
                    </a:lnTo>
                    <a:lnTo>
                      <a:pt x="452" y="198"/>
                    </a:lnTo>
                    <a:lnTo>
                      <a:pt x="450" y="198"/>
                    </a:lnTo>
                    <a:lnTo>
                      <a:pt x="450" y="196"/>
                    </a:lnTo>
                    <a:lnTo>
                      <a:pt x="450" y="195"/>
                    </a:lnTo>
                    <a:lnTo>
                      <a:pt x="450" y="193"/>
                    </a:lnTo>
                    <a:lnTo>
                      <a:pt x="452" y="193"/>
                    </a:lnTo>
                    <a:lnTo>
                      <a:pt x="452" y="192"/>
                    </a:lnTo>
                    <a:lnTo>
                      <a:pt x="452" y="193"/>
                    </a:lnTo>
                    <a:lnTo>
                      <a:pt x="450" y="193"/>
                    </a:lnTo>
                    <a:lnTo>
                      <a:pt x="450" y="195"/>
                    </a:lnTo>
                    <a:lnTo>
                      <a:pt x="450" y="198"/>
                    </a:lnTo>
                    <a:lnTo>
                      <a:pt x="450" y="199"/>
                    </a:lnTo>
                    <a:lnTo>
                      <a:pt x="452" y="199"/>
                    </a:lnTo>
                    <a:lnTo>
                      <a:pt x="450" y="199"/>
                    </a:lnTo>
                    <a:lnTo>
                      <a:pt x="450" y="201"/>
                    </a:lnTo>
                    <a:lnTo>
                      <a:pt x="452" y="201"/>
                    </a:lnTo>
                    <a:lnTo>
                      <a:pt x="450" y="201"/>
                    </a:lnTo>
                    <a:lnTo>
                      <a:pt x="450" y="203"/>
                    </a:lnTo>
                    <a:lnTo>
                      <a:pt x="448" y="203"/>
                    </a:lnTo>
                    <a:lnTo>
                      <a:pt x="448" y="204"/>
                    </a:lnTo>
                    <a:lnTo>
                      <a:pt x="447" y="204"/>
                    </a:lnTo>
                    <a:lnTo>
                      <a:pt x="447" y="206"/>
                    </a:lnTo>
                    <a:lnTo>
                      <a:pt x="447" y="207"/>
                    </a:lnTo>
                    <a:lnTo>
                      <a:pt x="445" y="207"/>
                    </a:lnTo>
                    <a:lnTo>
                      <a:pt x="444" y="207"/>
                    </a:lnTo>
                    <a:lnTo>
                      <a:pt x="444" y="209"/>
                    </a:lnTo>
                    <a:lnTo>
                      <a:pt x="444" y="211"/>
                    </a:lnTo>
                    <a:lnTo>
                      <a:pt x="442" y="211"/>
                    </a:lnTo>
                    <a:lnTo>
                      <a:pt x="444" y="211"/>
                    </a:lnTo>
                    <a:lnTo>
                      <a:pt x="444" y="209"/>
                    </a:lnTo>
                    <a:lnTo>
                      <a:pt x="445" y="209"/>
                    </a:lnTo>
                    <a:lnTo>
                      <a:pt x="445" y="207"/>
                    </a:lnTo>
                    <a:lnTo>
                      <a:pt x="447" y="207"/>
                    </a:lnTo>
                    <a:lnTo>
                      <a:pt x="447" y="209"/>
                    </a:lnTo>
                    <a:lnTo>
                      <a:pt x="448" y="209"/>
                    </a:lnTo>
                    <a:lnTo>
                      <a:pt x="448" y="211"/>
                    </a:lnTo>
                    <a:lnTo>
                      <a:pt x="450" y="211"/>
                    </a:lnTo>
                    <a:lnTo>
                      <a:pt x="450" y="212"/>
                    </a:lnTo>
                    <a:lnTo>
                      <a:pt x="450" y="214"/>
                    </a:lnTo>
                    <a:lnTo>
                      <a:pt x="450" y="212"/>
                    </a:lnTo>
                    <a:lnTo>
                      <a:pt x="450" y="214"/>
                    </a:lnTo>
                    <a:lnTo>
                      <a:pt x="452" y="214"/>
                    </a:lnTo>
                    <a:lnTo>
                      <a:pt x="452" y="212"/>
                    </a:lnTo>
                    <a:lnTo>
                      <a:pt x="453" y="212"/>
                    </a:lnTo>
                    <a:lnTo>
                      <a:pt x="453" y="211"/>
                    </a:lnTo>
                    <a:lnTo>
                      <a:pt x="453" y="212"/>
                    </a:lnTo>
                    <a:lnTo>
                      <a:pt x="453" y="214"/>
                    </a:lnTo>
                    <a:lnTo>
                      <a:pt x="455" y="214"/>
                    </a:lnTo>
                    <a:lnTo>
                      <a:pt x="455" y="212"/>
                    </a:lnTo>
                    <a:lnTo>
                      <a:pt x="456" y="212"/>
                    </a:lnTo>
                    <a:lnTo>
                      <a:pt x="458" y="212"/>
                    </a:lnTo>
                    <a:lnTo>
                      <a:pt x="459" y="212"/>
                    </a:lnTo>
                    <a:lnTo>
                      <a:pt x="458" y="212"/>
                    </a:lnTo>
                    <a:lnTo>
                      <a:pt x="459" y="212"/>
                    </a:lnTo>
                    <a:lnTo>
                      <a:pt x="461" y="212"/>
                    </a:lnTo>
                    <a:lnTo>
                      <a:pt x="461" y="214"/>
                    </a:lnTo>
                    <a:lnTo>
                      <a:pt x="461" y="215"/>
                    </a:lnTo>
                    <a:lnTo>
                      <a:pt x="461" y="217"/>
                    </a:lnTo>
                    <a:lnTo>
                      <a:pt x="463" y="217"/>
                    </a:lnTo>
                    <a:lnTo>
                      <a:pt x="463" y="218"/>
                    </a:lnTo>
                    <a:lnTo>
                      <a:pt x="461" y="218"/>
                    </a:lnTo>
                    <a:lnTo>
                      <a:pt x="461" y="220"/>
                    </a:lnTo>
                    <a:lnTo>
                      <a:pt x="461" y="222"/>
                    </a:lnTo>
                    <a:lnTo>
                      <a:pt x="461" y="223"/>
                    </a:lnTo>
                    <a:lnTo>
                      <a:pt x="459" y="223"/>
                    </a:lnTo>
                    <a:lnTo>
                      <a:pt x="458" y="223"/>
                    </a:lnTo>
                    <a:lnTo>
                      <a:pt x="458" y="225"/>
                    </a:lnTo>
                    <a:lnTo>
                      <a:pt x="458" y="226"/>
                    </a:lnTo>
                    <a:lnTo>
                      <a:pt x="459" y="226"/>
                    </a:lnTo>
                    <a:lnTo>
                      <a:pt x="461" y="226"/>
                    </a:lnTo>
                    <a:lnTo>
                      <a:pt x="461" y="228"/>
                    </a:lnTo>
                    <a:lnTo>
                      <a:pt x="461" y="230"/>
                    </a:lnTo>
                    <a:lnTo>
                      <a:pt x="461" y="231"/>
                    </a:lnTo>
                    <a:lnTo>
                      <a:pt x="461" y="233"/>
                    </a:lnTo>
                    <a:lnTo>
                      <a:pt x="459" y="233"/>
                    </a:lnTo>
                    <a:lnTo>
                      <a:pt x="459" y="234"/>
                    </a:lnTo>
                    <a:lnTo>
                      <a:pt x="459" y="236"/>
                    </a:lnTo>
                    <a:lnTo>
                      <a:pt x="459" y="238"/>
                    </a:lnTo>
                    <a:lnTo>
                      <a:pt x="458" y="238"/>
                    </a:lnTo>
                    <a:lnTo>
                      <a:pt x="458" y="239"/>
                    </a:lnTo>
                    <a:lnTo>
                      <a:pt x="456" y="239"/>
                    </a:lnTo>
                    <a:lnTo>
                      <a:pt x="456" y="241"/>
                    </a:lnTo>
                    <a:lnTo>
                      <a:pt x="456" y="242"/>
                    </a:lnTo>
                    <a:lnTo>
                      <a:pt x="455" y="242"/>
                    </a:lnTo>
                    <a:lnTo>
                      <a:pt x="455" y="244"/>
                    </a:lnTo>
                    <a:lnTo>
                      <a:pt x="453" y="244"/>
                    </a:lnTo>
                    <a:lnTo>
                      <a:pt x="453" y="245"/>
                    </a:lnTo>
                    <a:lnTo>
                      <a:pt x="453" y="244"/>
                    </a:lnTo>
                    <a:lnTo>
                      <a:pt x="455" y="244"/>
                    </a:lnTo>
                    <a:lnTo>
                      <a:pt x="455" y="245"/>
                    </a:lnTo>
                    <a:lnTo>
                      <a:pt x="453" y="245"/>
                    </a:lnTo>
                    <a:lnTo>
                      <a:pt x="453" y="247"/>
                    </a:lnTo>
                    <a:lnTo>
                      <a:pt x="453" y="249"/>
                    </a:lnTo>
                    <a:lnTo>
                      <a:pt x="452" y="249"/>
                    </a:lnTo>
                    <a:lnTo>
                      <a:pt x="452" y="250"/>
                    </a:lnTo>
                    <a:lnTo>
                      <a:pt x="452" y="252"/>
                    </a:lnTo>
                    <a:lnTo>
                      <a:pt x="452" y="253"/>
                    </a:lnTo>
                    <a:lnTo>
                      <a:pt x="450" y="253"/>
                    </a:lnTo>
                    <a:lnTo>
                      <a:pt x="450" y="255"/>
                    </a:lnTo>
                    <a:lnTo>
                      <a:pt x="448" y="255"/>
                    </a:lnTo>
                    <a:lnTo>
                      <a:pt x="448" y="257"/>
                    </a:lnTo>
                    <a:lnTo>
                      <a:pt x="448" y="258"/>
                    </a:lnTo>
                    <a:lnTo>
                      <a:pt x="448" y="260"/>
                    </a:lnTo>
                    <a:lnTo>
                      <a:pt x="448" y="261"/>
                    </a:lnTo>
                    <a:lnTo>
                      <a:pt x="447" y="261"/>
                    </a:lnTo>
                    <a:lnTo>
                      <a:pt x="447" y="260"/>
                    </a:lnTo>
                    <a:lnTo>
                      <a:pt x="447" y="258"/>
                    </a:lnTo>
                    <a:lnTo>
                      <a:pt x="445" y="258"/>
                    </a:lnTo>
                    <a:lnTo>
                      <a:pt x="445" y="257"/>
                    </a:lnTo>
                    <a:lnTo>
                      <a:pt x="444" y="257"/>
                    </a:lnTo>
                    <a:lnTo>
                      <a:pt x="444" y="255"/>
                    </a:lnTo>
                    <a:lnTo>
                      <a:pt x="442" y="255"/>
                    </a:lnTo>
                    <a:lnTo>
                      <a:pt x="442" y="253"/>
                    </a:lnTo>
                    <a:lnTo>
                      <a:pt x="440" y="253"/>
                    </a:lnTo>
                    <a:lnTo>
                      <a:pt x="440" y="252"/>
                    </a:lnTo>
                    <a:lnTo>
                      <a:pt x="442" y="252"/>
                    </a:lnTo>
                    <a:lnTo>
                      <a:pt x="442" y="250"/>
                    </a:lnTo>
                    <a:lnTo>
                      <a:pt x="440" y="250"/>
                    </a:lnTo>
                    <a:lnTo>
                      <a:pt x="442" y="250"/>
                    </a:lnTo>
                    <a:lnTo>
                      <a:pt x="442" y="249"/>
                    </a:lnTo>
                    <a:lnTo>
                      <a:pt x="444" y="249"/>
                    </a:lnTo>
                    <a:lnTo>
                      <a:pt x="444" y="247"/>
                    </a:lnTo>
                    <a:lnTo>
                      <a:pt x="442" y="247"/>
                    </a:lnTo>
                    <a:lnTo>
                      <a:pt x="444" y="247"/>
                    </a:lnTo>
                    <a:lnTo>
                      <a:pt x="444" y="245"/>
                    </a:lnTo>
                    <a:lnTo>
                      <a:pt x="444" y="244"/>
                    </a:lnTo>
                    <a:lnTo>
                      <a:pt x="445" y="244"/>
                    </a:lnTo>
                    <a:lnTo>
                      <a:pt x="445" y="242"/>
                    </a:lnTo>
                    <a:lnTo>
                      <a:pt x="445" y="241"/>
                    </a:lnTo>
                    <a:lnTo>
                      <a:pt x="447" y="241"/>
                    </a:lnTo>
                    <a:lnTo>
                      <a:pt x="447" y="239"/>
                    </a:lnTo>
                    <a:lnTo>
                      <a:pt x="445" y="239"/>
                    </a:lnTo>
                    <a:lnTo>
                      <a:pt x="444" y="239"/>
                    </a:lnTo>
                    <a:lnTo>
                      <a:pt x="444" y="238"/>
                    </a:lnTo>
                    <a:lnTo>
                      <a:pt x="445" y="238"/>
                    </a:lnTo>
                    <a:lnTo>
                      <a:pt x="445" y="236"/>
                    </a:lnTo>
                    <a:lnTo>
                      <a:pt x="445" y="238"/>
                    </a:lnTo>
                    <a:lnTo>
                      <a:pt x="447" y="238"/>
                    </a:lnTo>
                    <a:lnTo>
                      <a:pt x="447" y="236"/>
                    </a:lnTo>
                    <a:lnTo>
                      <a:pt x="447" y="234"/>
                    </a:lnTo>
                    <a:lnTo>
                      <a:pt x="447" y="233"/>
                    </a:lnTo>
                    <a:lnTo>
                      <a:pt x="447" y="231"/>
                    </a:lnTo>
                    <a:lnTo>
                      <a:pt x="447" y="233"/>
                    </a:lnTo>
                    <a:lnTo>
                      <a:pt x="445" y="233"/>
                    </a:lnTo>
                    <a:lnTo>
                      <a:pt x="445" y="234"/>
                    </a:lnTo>
                    <a:lnTo>
                      <a:pt x="445" y="233"/>
                    </a:lnTo>
                    <a:lnTo>
                      <a:pt x="445" y="231"/>
                    </a:lnTo>
                    <a:lnTo>
                      <a:pt x="445" y="230"/>
                    </a:lnTo>
                    <a:lnTo>
                      <a:pt x="445" y="228"/>
                    </a:lnTo>
                    <a:lnTo>
                      <a:pt x="444" y="228"/>
                    </a:lnTo>
                    <a:lnTo>
                      <a:pt x="444" y="230"/>
                    </a:lnTo>
                    <a:lnTo>
                      <a:pt x="444" y="231"/>
                    </a:lnTo>
                    <a:lnTo>
                      <a:pt x="444" y="233"/>
                    </a:lnTo>
                    <a:lnTo>
                      <a:pt x="444" y="234"/>
                    </a:lnTo>
                    <a:lnTo>
                      <a:pt x="444" y="236"/>
                    </a:lnTo>
                    <a:lnTo>
                      <a:pt x="442" y="236"/>
                    </a:lnTo>
                    <a:lnTo>
                      <a:pt x="442" y="238"/>
                    </a:lnTo>
                    <a:lnTo>
                      <a:pt x="440" y="238"/>
                    </a:lnTo>
                    <a:lnTo>
                      <a:pt x="440" y="239"/>
                    </a:lnTo>
                    <a:lnTo>
                      <a:pt x="440" y="241"/>
                    </a:lnTo>
                    <a:lnTo>
                      <a:pt x="440" y="242"/>
                    </a:lnTo>
                    <a:lnTo>
                      <a:pt x="440" y="241"/>
                    </a:lnTo>
                    <a:lnTo>
                      <a:pt x="440" y="239"/>
                    </a:lnTo>
                    <a:lnTo>
                      <a:pt x="439" y="239"/>
                    </a:lnTo>
                    <a:lnTo>
                      <a:pt x="439" y="241"/>
                    </a:lnTo>
                    <a:lnTo>
                      <a:pt x="439" y="242"/>
                    </a:lnTo>
                    <a:lnTo>
                      <a:pt x="437" y="242"/>
                    </a:lnTo>
                    <a:lnTo>
                      <a:pt x="437" y="244"/>
                    </a:lnTo>
                    <a:lnTo>
                      <a:pt x="439" y="244"/>
                    </a:lnTo>
                    <a:lnTo>
                      <a:pt x="437" y="244"/>
                    </a:lnTo>
                    <a:lnTo>
                      <a:pt x="439" y="244"/>
                    </a:lnTo>
                    <a:lnTo>
                      <a:pt x="439" y="245"/>
                    </a:lnTo>
                    <a:lnTo>
                      <a:pt x="437" y="245"/>
                    </a:lnTo>
                    <a:lnTo>
                      <a:pt x="437" y="247"/>
                    </a:lnTo>
                    <a:lnTo>
                      <a:pt x="439" y="247"/>
                    </a:lnTo>
                    <a:lnTo>
                      <a:pt x="439" y="249"/>
                    </a:lnTo>
                    <a:lnTo>
                      <a:pt x="437" y="249"/>
                    </a:lnTo>
                    <a:lnTo>
                      <a:pt x="437" y="250"/>
                    </a:lnTo>
                    <a:lnTo>
                      <a:pt x="436" y="250"/>
                    </a:lnTo>
                    <a:lnTo>
                      <a:pt x="436" y="252"/>
                    </a:lnTo>
                    <a:lnTo>
                      <a:pt x="436" y="253"/>
                    </a:lnTo>
                    <a:lnTo>
                      <a:pt x="434" y="253"/>
                    </a:lnTo>
                    <a:lnTo>
                      <a:pt x="434" y="255"/>
                    </a:lnTo>
                    <a:lnTo>
                      <a:pt x="433" y="255"/>
                    </a:lnTo>
                    <a:lnTo>
                      <a:pt x="433" y="253"/>
                    </a:lnTo>
                    <a:lnTo>
                      <a:pt x="433" y="255"/>
                    </a:lnTo>
                    <a:lnTo>
                      <a:pt x="433" y="253"/>
                    </a:lnTo>
                    <a:lnTo>
                      <a:pt x="431" y="253"/>
                    </a:lnTo>
                    <a:lnTo>
                      <a:pt x="429" y="253"/>
                    </a:lnTo>
                    <a:lnTo>
                      <a:pt x="428" y="253"/>
                    </a:lnTo>
                    <a:lnTo>
                      <a:pt x="426" y="253"/>
                    </a:lnTo>
                    <a:lnTo>
                      <a:pt x="426" y="252"/>
                    </a:lnTo>
                    <a:lnTo>
                      <a:pt x="426" y="253"/>
                    </a:lnTo>
                    <a:lnTo>
                      <a:pt x="425" y="253"/>
                    </a:lnTo>
                    <a:lnTo>
                      <a:pt x="426" y="253"/>
                    </a:lnTo>
                    <a:lnTo>
                      <a:pt x="428" y="253"/>
                    </a:lnTo>
                    <a:lnTo>
                      <a:pt x="429" y="253"/>
                    </a:lnTo>
                    <a:lnTo>
                      <a:pt x="429" y="255"/>
                    </a:lnTo>
                    <a:lnTo>
                      <a:pt x="431" y="255"/>
                    </a:lnTo>
                    <a:lnTo>
                      <a:pt x="429" y="255"/>
                    </a:lnTo>
                    <a:lnTo>
                      <a:pt x="429" y="257"/>
                    </a:lnTo>
                    <a:lnTo>
                      <a:pt x="429" y="255"/>
                    </a:lnTo>
                    <a:lnTo>
                      <a:pt x="429" y="257"/>
                    </a:lnTo>
                    <a:lnTo>
                      <a:pt x="431" y="257"/>
                    </a:lnTo>
                    <a:lnTo>
                      <a:pt x="431" y="258"/>
                    </a:lnTo>
                    <a:lnTo>
                      <a:pt x="433" y="258"/>
                    </a:lnTo>
                    <a:lnTo>
                      <a:pt x="433" y="260"/>
                    </a:lnTo>
                    <a:lnTo>
                      <a:pt x="434" y="260"/>
                    </a:lnTo>
                    <a:lnTo>
                      <a:pt x="436" y="260"/>
                    </a:lnTo>
                    <a:lnTo>
                      <a:pt x="436" y="261"/>
                    </a:lnTo>
                    <a:lnTo>
                      <a:pt x="436" y="263"/>
                    </a:lnTo>
                    <a:lnTo>
                      <a:pt x="436" y="264"/>
                    </a:lnTo>
                    <a:lnTo>
                      <a:pt x="436" y="266"/>
                    </a:lnTo>
                    <a:lnTo>
                      <a:pt x="436" y="268"/>
                    </a:lnTo>
                    <a:lnTo>
                      <a:pt x="437" y="268"/>
                    </a:lnTo>
                    <a:lnTo>
                      <a:pt x="437" y="269"/>
                    </a:lnTo>
                    <a:lnTo>
                      <a:pt x="436" y="269"/>
                    </a:lnTo>
                    <a:lnTo>
                      <a:pt x="437" y="269"/>
                    </a:lnTo>
                    <a:lnTo>
                      <a:pt x="437" y="271"/>
                    </a:lnTo>
                    <a:lnTo>
                      <a:pt x="436" y="271"/>
                    </a:lnTo>
                    <a:lnTo>
                      <a:pt x="436" y="272"/>
                    </a:lnTo>
                    <a:lnTo>
                      <a:pt x="434" y="272"/>
                    </a:lnTo>
                    <a:lnTo>
                      <a:pt x="433" y="272"/>
                    </a:lnTo>
                    <a:lnTo>
                      <a:pt x="434" y="272"/>
                    </a:lnTo>
                    <a:lnTo>
                      <a:pt x="434" y="274"/>
                    </a:lnTo>
                    <a:lnTo>
                      <a:pt x="433" y="274"/>
                    </a:lnTo>
                    <a:lnTo>
                      <a:pt x="433" y="276"/>
                    </a:lnTo>
                    <a:lnTo>
                      <a:pt x="431" y="276"/>
                    </a:lnTo>
                    <a:lnTo>
                      <a:pt x="431" y="274"/>
                    </a:lnTo>
                    <a:lnTo>
                      <a:pt x="433" y="274"/>
                    </a:lnTo>
                    <a:lnTo>
                      <a:pt x="433" y="272"/>
                    </a:lnTo>
                    <a:lnTo>
                      <a:pt x="431" y="272"/>
                    </a:lnTo>
                    <a:lnTo>
                      <a:pt x="429" y="272"/>
                    </a:lnTo>
                    <a:lnTo>
                      <a:pt x="428" y="272"/>
                    </a:lnTo>
                    <a:lnTo>
                      <a:pt x="426" y="272"/>
                    </a:lnTo>
                    <a:lnTo>
                      <a:pt x="428" y="272"/>
                    </a:lnTo>
                    <a:lnTo>
                      <a:pt x="429" y="272"/>
                    </a:lnTo>
                    <a:lnTo>
                      <a:pt x="431" y="272"/>
                    </a:lnTo>
                    <a:lnTo>
                      <a:pt x="431" y="274"/>
                    </a:lnTo>
                    <a:lnTo>
                      <a:pt x="431" y="276"/>
                    </a:lnTo>
                    <a:lnTo>
                      <a:pt x="431" y="277"/>
                    </a:lnTo>
                    <a:lnTo>
                      <a:pt x="433" y="277"/>
                    </a:lnTo>
                    <a:lnTo>
                      <a:pt x="434" y="277"/>
                    </a:lnTo>
                    <a:lnTo>
                      <a:pt x="434" y="279"/>
                    </a:lnTo>
                    <a:lnTo>
                      <a:pt x="436" y="279"/>
                    </a:lnTo>
                    <a:lnTo>
                      <a:pt x="437" y="279"/>
                    </a:lnTo>
                    <a:lnTo>
                      <a:pt x="439" y="279"/>
                    </a:lnTo>
                    <a:lnTo>
                      <a:pt x="439" y="280"/>
                    </a:lnTo>
                    <a:lnTo>
                      <a:pt x="440" y="280"/>
                    </a:lnTo>
                    <a:lnTo>
                      <a:pt x="440" y="282"/>
                    </a:lnTo>
                    <a:lnTo>
                      <a:pt x="439" y="282"/>
                    </a:lnTo>
                    <a:lnTo>
                      <a:pt x="437" y="282"/>
                    </a:lnTo>
                    <a:lnTo>
                      <a:pt x="436" y="282"/>
                    </a:lnTo>
                    <a:lnTo>
                      <a:pt x="436" y="283"/>
                    </a:lnTo>
                    <a:lnTo>
                      <a:pt x="436" y="285"/>
                    </a:lnTo>
                    <a:lnTo>
                      <a:pt x="434" y="285"/>
                    </a:lnTo>
                    <a:lnTo>
                      <a:pt x="434" y="287"/>
                    </a:lnTo>
                    <a:lnTo>
                      <a:pt x="433" y="287"/>
                    </a:lnTo>
                    <a:lnTo>
                      <a:pt x="433" y="288"/>
                    </a:lnTo>
                    <a:lnTo>
                      <a:pt x="431" y="288"/>
                    </a:lnTo>
                    <a:lnTo>
                      <a:pt x="429" y="288"/>
                    </a:lnTo>
                    <a:lnTo>
                      <a:pt x="429" y="287"/>
                    </a:lnTo>
                    <a:lnTo>
                      <a:pt x="428" y="287"/>
                    </a:lnTo>
                    <a:lnTo>
                      <a:pt x="428" y="288"/>
                    </a:lnTo>
                    <a:lnTo>
                      <a:pt x="426" y="288"/>
                    </a:lnTo>
                    <a:lnTo>
                      <a:pt x="425" y="288"/>
                    </a:lnTo>
                    <a:lnTo>
                      <a:pt x="426" y="288"/>
                    </a:lnTo>
                    <a:lnTo>
                      <a:pt x="425" y="288"/>
                    </a:lnTo>
                    <a:lnTo>
                      <a:pt x="425" y="290"/>
                    </a:lnTo>
                    <a:lnTo>
                      <a:pt x="425" y="288"/>
                    </a:lnTo>
                    <a:lnTo>
                      <a:pt x="425" y="290"/>
                    </a:lnTo>
                    <a:lnTo>
                      <a:pt x="423" y="290"/>
                    </a:lnTo>
                    <a:lnTo>
                      <a:pt x="425" y="290"/>
                    </a:lnTo>
                    <a:lnTo>
                      <a:pt x="423" y="290"/>
                    </a:lnTo>
                    <a:lnTo>
                      <a:pt x="421" y="290"/>
                    </a:lnTo>
                    <a:lnTo>
                      <a:pt x="421" y="288"/>
                    </a:lnTo>
                    <a:lnTo>
                      <a:pt x="420" y="288"/>
                    </a:lnTo>
                    <a:lnTo>
                      <a:pt x="418" y="288"/>
                    </a:lnTo>
                    <a:lnTo>
                      <a:pt x="418" y="290"/>
                    </a:lnTo>
                    <a:lnTo>
                      <a:pt x="418" y="288"/>
                    </a:lnTo>
                    <a:lnTo>
                      <a:pt x="420" y="288"/>
                    </a:lnTo>
                    <a:lnTo>
                      <a:pt x="420" y="290"/>
                    </a:lnTo>
                    <a:lnTo>
                      <a:pt x="421" y="290"/>
                    </a:lnTo>
                    <a:lnTo>
                      <a:pt x="421" y="291"/>
                    </a:lnTo>
                    <a:lnTo>
                      <a:pt x="423" y="291"/>
                    </a:lnTo>
                    <a:lnTo>
                      <a:pt x="425" y="291"/>
                    </a:lnTo>
                    <a:lnTo>
                      <a:pt x="423" y="291"/>
                    </a:lnTo>
                    <a:lnTo>
                      <a:pt x="423" y="293"/>
                    </a:lnTo>
                    <a:lnTo>
                      <a:pt x="423" y="295"/>
                    </a:lnTo>
                    <a:lnTo>
                      <a:pt x="423" y="293"/>
                    </a:lnTo>
                    <a:lnTo>
                      <a:pt x="421" y="293"/>
                    </a:lnTo>
                    <a:lnTo>
                      <a:pt x="421" y="295"/>
                    </a:lnTo>
                    <a:lnTo>
                      <a:pt x="421" y="296"/>
                    </a:lnTo>
                    <a:lnTo>
                      <a:pt x="420" y="296"/>
                    </a:lnTo>
                    <a:lnTo>
                      <a:pt x="420" y="298"/>
                    </a:lnTo>
                    <a:lnTo>
                      <a:pt x="420" y="299"/>
                    </a:lnTo>
                    <a:lnTo>
                      <a:pt x="420" y="301"/>
                    </a:lnTo>
                    <a:lnTo>
                      <a:pt x="421" y="301"/>
                    </a:lnTo>
                    <a:lnTo>
                      <a:pt x="423" y="301"/>
                    </a:lnTo>
                    <a:lnTo>
                      <a:pt x="425" y="301"/>
                    </a:lnTo>
                    <a:lnTo>
                      <a:pt x="426" y="301"/>
                    </a:lnTo>
                    <a:lnTo>
                      <a:pt x="426" y="299"/>
                    </a:lnTo>
                    <a:lnTo>
                      <a:pt x="428" y="299"/>
                    </a:lnTo>
                    <a:lnTo>
                      <a:pt x="429" y="299"/>
                    </a:lnTo>
                    <a:lnTo>
                      <a:pt x="429" y="298"/>
                    </a:lnTo>
                    <a:lnTo>
                      <a:pt x="429" y="296"/>
                    </a:lnTo>
                    <a:lnTo>
                      <a:pt x="431" y="296"/>
                    </a:lnTo>
                    <a:lnTo>
                      <a:pt x="431" y="298"/>
                    </a:lnTo>
                    <a:lnTo>
                      <a:pt x="433" y="298"/>
                    </a:lnTo>
                    <a:lnTo>
                      <a:pt x="433" y="299"/>
                    </a:lnTo>
                    <a:lnTo>
                      <a:pt x="433" y="301"/>
                    </a:lnTo>
                    <a:lnTo>
                      <a:pt x="433" y="302"/>
                    </a:lnTo>
                    <a:lnTo>
                      <a:pt x="433" y="304"/>
                    </a:lnTo>
                    <a:lnTo>
                      <a:pt x="433" y="306"/>
                    </a:lnTo>
                    <a:lnTo>
                      <a:pt x="433" y="307"/>
                    </a:lnTo>
                    <a:lnTo>
                      <a:pt x="433" y="309"/>
                    </a:lnTo>
                    <a:lnTo>
                      <a:pt x="434" y="309"/>
                    </a:lnTo>
                    <a:lnTo>
                      <a:pt x="434" y="310"/>
                    </a:lnTo>
                    <a:lnTo>
                      <a:pt x="433" y="310"/>
                    </a:lnTo>
                    <a:lnTo>
                      <a:pt x="434" y="310"/>
                    </a:lnTo>
                    <a:lnTo>
                      <a:pt x="434" y="312"/>
                    </a:lnTo>
                    <a:lnTo>
                      <a:pt x="434" y="314"/>
                    </a:lnTo>
                    <a:lnTo>
                      <a:pt x="434" y="315"/>
                    </a:lnTo>
                    <a:lnTo>
                      <a:pt x="436" y="315"/>
                    </a:lnTo>
                    <a:lnTo>
                      <a:pt x="436" y="317"/>
                    </a:lnTo>
                    <a:lnTo>
                      <a:pt x="436" y="318"/>
                    </a:lnTo>
                    <a:lnTo>
                      <a:pt x="436" y="320"/>
                    </a:lnTo>
                    <a:lnTo>
                      <a:pt x="434" y="320"/>
                    </a:lnTo>
                    <a:lnTo>
                      <a:pt x="433" y="320"/>
                    </a:lnTo>
                    <a:lnTo>
                      <a:pt x="431" y="320"/>
                    </a:lnTo>
                    <a:lnTo>
                      <a:pt x="429" y="320"/>
                    </a:lnTo>
                    <a:lnTo>
                      <a:pt x="428" y="320"/>
                    </a:lnTo>
                    <a:lnTo>
                      <a:pt x="426" y="320"/>
                    </a:lnTo>
                    <a:lnTo>
                      <a:pt x="426" y="321"/>
                    </a:lnTo>
                    <a:lnTo>
                      <a:pt x="425" y="321"/>
                    </a:lnTo>
                    <a:lnTo>
                      <a:pt x="425" y="323"/>
                    </a:lnTo>
                    <a:lnTo>
                      <a:pt x="425" y="325"/>
                    </a:lnTo>
                    <a:lnTo>
                      <a:pt x="423" y="325"/>
                    </a:lnTo>
                    <a:lnTo>
                      <a:pt x="423" y="326"/>
                    </a:lnTo>
                    <a:lnTo>
                      <a:pt x="425" y="326"/>
                    </a:lnTo>
                    <a:lnTo>
                      <a:pt x="425" y="328"/>
                    </a:lnTo>
                    <a:lnTo>
                      <a:pt x="425" y="329"/>
                    </a:lnTo>
                    <a:lnTo>
                      <a:pt x="425" y="331"/>
                    </a:lnTo>
                    <a:lnTo>
                      <a:pt x="425" y="333"/>
                    </a:lnTo>
                    <a:lnTo>
                      <a:pt x="423" y="333"/>
                    </a:lnTo>
                    <a:lnTo>
                      <a:pt x="423" y="334"/>
                    </a:lnTo>
                    <a:lnTo>
                      <a:pt x="425" y="334"/>
                    </a:lnTo>
                    <a:lnTo>
                      <a:pt x="425" y="336"/>
                    </a:lnTo>
                    <a:lnTo>
                      <a:pt x="425" y="334"/>
                    </a:lnTo>
                    <a:lnTo>
                      <a:pt x="426" y="334"/>
                    </a:lnTo>
                    <a:lnTo>
                      <a:pt x="426" y="336"/>
                    </a:lnTo>
                    <a:lnTo>
                      <a:pt x="426" y="337"/>
                    </a:lnTo>
                    <a:lnTo>
                      <a:pt x="426" y="336"/>
                    </a:lnTo>
                    <a:lnTo>
                      <a:pt x="425" y="336"/>
                    </a:lnTo>
                    <a:lnTo>
                      <a:pt x="425" y="337"/>
                    </a:lnTo>
                    <a:lnTo>
                      <a:pt x="426" y="337"/>
                    </a:lnTo>
                    <a:lnTo>
                      <a:pt x="425" y="337"/>
                    </a:lnTo>
                    <a:lnTo>
                      <a:pt x="425" y="339"/>
                    </a:lnTo>
                    <a:lnTo>
                      <a:pt x="425" y="337"/>
                    </a:lnTo>
                    <a:lnTo>
                      <a:pt x="425" y="339"/>
                    </a:lnTo>
                    <a:lnTo>
                      <a:pt x="423" y="339"/>
                    </a:lnTo>
                    <a:lnTo>
                      <a:pt x="423" y="340"/>
                    </a:lnTo>
                    <a:lnTo>
                      <a:pt x="421" y="340"/>
                    </a:lnTo>
                    <a:lnTo>
                      <a:pt x="421" y="342"/>
                    </a:lnTo>
                    <a:lnTo>
                      <a:pt x="420" y="342"/>
                    </a:lnTo>
                    <a:lnTo>
                      <a:pt x="420" y="344"/>
                    </a:lnTo>
                    <a:lnTo>
                      <a:pt x="418" y="344"/>
                    </a:lnTo>
                    <a:lnTo>
                      <a:pt x="418" y="345"/>
                    </a:lnTo>
                    <a:lnTo>
                      <a:pt x="418" y="347"/>
                    </a:lnTo>
                    <a:lnTo>
                      <a:pt x="417" y="347"/>
                    </a:lnTo>
                    <a:lnTo>
                      <a:pt x="417" y="348"/>
                    </a:lnTo>
                    <a:lnTo>
                      <a:pt x="415" y="348"/>
                    </a:lnTo>
                    <a:lnTo>
                      <a:pt x="415" y="347"/>
                    </a:lnTo>
                    <a:lnTo>
                      <a:pt x="414" y="347"/>
                    </a:lnTo>
                    <a:lnTo>
                      <a:pt x="414" y="348"/>
                    </a:lnTo>
                    <a:lnTo>
                      <a:pt x="412" y="348"/>
                    </a:lnTo>
                    <a:lnTo>
                      <a:pt x="412" y="350"/>
                    </a:lnTo>
                    <a:lnTo>
                      <a:pt x="412" y="348"/>
                    </a:lnTo>
                    <a:lnTo>
                      <a:pt x="414" y="348"/>
                    </a:lnTo>
                    <a:lnTo>
                      <a:pt x="414" y="350"/>
                    </a:lnTo>
                    <a:lnTo>
                      <a:pt x="412" y="350"/>
                    </a:lnTo>
                    <a:lnTo>
                      <a:pt x="412" y="352"/>
                    </a:lnTo>
                    <a:lnTo>
                      <a:pt x="412" y="353"/>
                    </a:lnTo>
                    <a:lnTo>
                      <a:pt x="410" y="353"/>
                    </a:lnTo>
                    <a:lnTo>
                      <a:pt x="410" y="355"/>
                    </a:lnTo>
                    <a:lnTo>
                      <a:pt x="409" y="355"/>
                    </a:lnTo>
                    <a:lnTo>
                      <a:pt x="409" y="356"/>
                    </a:lnTo>
                    <a:lnTo>
                      <a:pt x="407" y="356"/>
                    </a:lnTo>
                    <a:lnTo>
                      <a:pt x="407" y="355"/>
                    </a:lnTo>
                    <a:lnTo>
                      <a:pt x="407" y="356"/>
                    </a:lnTo>
                    <a:lnTo>
                      <a:pt x="409" y="356"/>
                    </a:lnTo>
                    <a:lnTo>
                      <a:pt x="410" y="356"/>
                    </a:lnTo>
                    <a:lnTo>
                      <a:pt x="410" y="355"/>
                    </a:lnTo>
                    <a:lnTo>
                      <a:pt x="412" y="355"/>
                    </a:lnTo>
                    <a:lnTo>
                      <a:pt x="412" y="353"/>
                    </a:lnTo>
                    <a:lnTo>
                      <a:pt x="412" y="352"/>
                    </a:lnTo>
                    <a:lnTo>
                      <a:pt x="414" y="352"/>
                    </a:lnTo>
                    <a:lnTo>
                      <a:pt x="414" y="350"/>
                    </a:lnTo>
                    <a:lnTo>
                      <a:pt x="415" y="350"/>
                    </a:lnTo>
                    <a:lnTo>
                      <a:pt x="415" y="352"/>
                    </a:lnTo>
                    <a:lnTo>
                      <a:pt x="417" y="352"/>
                    </a:lnTo>
                    <a:lnTo>
                      <a:pt x="417" y="353"/>
                    </a:lnTo>
                    <a:lnTo>
                      <a:pt x="418" y="353"/>
                    </a:lnTo>
                    <a:lnTo>
                      <a:pt x="420" y="353"/>
                    </a:lnTo>
                    <a:lnTo>
                      <a:pt x="420" y="355"/>
                    </a:lnTo>
                    <a:lnTo>
                      <a:pt x="418" y="355"/>
                    </a:lnTo>
                    <a:lnTo>
                      <a:pt x="418" y="356"/>
                    </a:lnTo>
                    <a:lnTo>
                      <a:pt x="418" y="358"/>
                    </a:lnTo>
                    <a:lnTo>
                      <a:pt x="417" y="358"/>
                    </a:lnTo>
                    <a:lnTo>
                      <a:pt x="417" y="359"/>
                    </a:lnTo>
                    <a:lnTo>
                      <a:pt x="417" y="361"/>
                    </a:lnTo>
                    <a:lnTo>
                      <a:pt x="415" y="361"/>
                    </a:lnTo>
                    <a:lnTo>
                      <a:pt x="415" y="363"/>
                    </a:lnTo>
                    <a:lnTo>
                      <a:pt x="415" y="364"/>
                    </a:lnTo>
                    <a:lnTo>
                      <a:pt x="415" y="366"/>
                    </a:lnTo>
                    <a:lnTo>
                      <a:pt x="415" y="367"/>
                    </a:lnTo>
                    <a:lnTo>
                      <a:pt x="415" y="369"/>
                    </a:lnTo>
                    <a:lnTo>
                      <a:pt x="414" y="369"/>
                    </a:lnTo>
                    <a:lnTo>
                      <a:pt x="414" y="371"/>
                    </a:lnTo>
                    <a:lnTo>
                      <a:pt x="414" y="372"/>
                    </a:lnTo>
                    <a:lnTo>
                      <a:pt x="414" y="374"/>
                    </a:lnTo>
                    <a:lnTo>
                      <a:pt x="412" y="374"/>
                    </a:lnTo>
                    <a:lnTo>
                      <a:pt x="412" y="375"/>
                    </a:lnTo>
                    <a:lnTo>
                      <a:pt x="412" y="377"/>
                    </a:lnTo>
                    <a:lnTo>
                      <a:pt x="412" y="378"/>
                    </a:lnTo>
                    <a:lnTo>
                      <a:pt x="410" y="378"/>
                    </a:lnTo>
                    <a:lnTo>
                      <a:pt x="410" y="380"/>
                    </a:lnTo>
                    <a:lnTo>
                      <a:pt x="410" y="382"/>
                    </a:lnTo>
                    <a:lnTo>
                      <a:pt x="409" y="382"/>
                    </a:lnTo>
                    <a:lnTo>
                      <a:pt x="409" y="383"/>
                    </a:lnTo>
                    <a:lnTo>
                      <a:pt x="409" y="385"/>
                    </a:lnTo>
                    <a:lnTo>
                      <a:pt x="407" y="385"/>
                    </a:lnTo>
                    <a:lnTo>
                      <a:pt x="407" y="386"/>
                    </a:lnTo>
                    <a:lnTo>
                      <a:pt x="407" y="388"/>
                    </a:lnTo>
                    <a:lnTo>
                      <a:pt x="406" y="388"/>
                    </a:lnTo>
                    <a:lnTo>
                      <a:pt x="406" y="390"/>
                    </a:lnTo>
                    <a:lnTo>
                      <a:pt x="406" y="391"/>
                    </a:lnTo>
                    <a:lnTo>
                      <a:pt x="406" y="393"/>
                    </a:lnTo>
                    <a:lnTo>
                      <a:pt x="406" y="394"/>
                    </a:lnTo>
                    <a:lnTo>
                      <a:pt x="404" y="394"/>
                    </a:lnTo>
                    <a:lnTo>
                      <a:pt x="404" y="396"/>
                    </a:lnTo>
                    <a:lnTo>
                      <a:pt x="404" y="397"/>
                    </a:lnTo>
                    <a:lnTo>
                      <a:pt x="404" y="399"/>
                    </a:lnTo>
                    <a:lnTo>
                      <a:pt x="402" y="399"/>
                    </a:lnTo>
                    <a:lnTo>
                      <a:pt x="402" y="401"/>
                    </a:lnTo>
                    <a:lnTo>
                      <a:pt x="402" y="402"/>
                    </a:lnTo>
                    <a:lnTo>
                      <a:pt x="401" y="402"/>
                    </a:lnTo>
                    <a:lnTo>
                      <a:pt x="401" y="404"/>
                    </a:lnTo>
                    <a:lnTo>
                      <a:pt x="401" y="405"/>
                    </a:lnTo>
                    <a:lnTo>
                      <a:pt x="401" y="407"/>
                    </a:lnTo>
                    <a:lnTo>
                      <a:pt x="399" y="407"/>
                    </a:lnTo>
                    <a:lnTo>
                      <a:pt x="399" y="409"/>
                    </a:lnTo>
                    <a:lnTo>
                      <a:pt x="399" y="410"/>
                    </a:lnTo>
                    <a:lnTo>
                      <a:pt x="398" y="410"/>
                    </a:lnTo>
                    <a:lnTo>
                      <a:pt x="398" y="412"/>
                    </a:lnTo>
                    <a:lnTo>
                      <a:pt x="398" y="413"/>
                    </a:lnTo>
                    <a:lnTo>
                      <a:pt x="396" y="413"/>
                    </a:lnTo>
                    <a:lnTo>
                      <a:pt x="395" y="413"/>
                    </a:lnTo>
                    <a:lnTo>
                      <a:pt x="396" y="413"/>
                    </a:lnTo>
                    <a:lnTo>
                      <a:pt x="395" y="413"/>
                    </a:lnTo>
                    <a:lnTo>
                      <a:pt x="395" y="412"/>
                    </a:lnTo>
                    <a:lnTo>
                      <a:pt x="393" y="412"/>
                    </a:lnTo>
                    <a:lnTo>
                      <a:pt x="391" y="412"/>
                    </a:lnTo>
                    <a:lnTo>
                      <a:pt x="391" y="413"/>
                    </a:lnTo>
                    <a:lnTo>
                      <a:pt x="390" y="413"/>
                    </a:lnTo>
                    <a:lnTo>
                      <a:pt x="390" y="415"/>
                    </a:lnTo>
                    <a:lnTo>
                      <a:pt x="390" y="413"/>
                    </a:lnTo>
                    <a:lnTo>
                      <a:pt x="388" y="413"/>
                    </a:lnTo>
                    <a:lnTo>
                      <a:pt x="388" y="415"/>
                    </a:lnTo>
                    <a:lnTo>
                      <a:pt x="387" y="415"/>
                    </a:lnTo>
                    <a:lnTo>
                      <a:pt x="387" y="416"/>
                    </a:lnTo>
                    <a:lnTo>
                      <a:pt x="387" y="418"/>
                    </a:lnTo>
                    <a:lnTo>
                      <a:pt x="385" y="418"/>
                    </a:lnTo>
                    <a:lnTo>
                      <a:pt x="385" y="420"/>
                    </a:lnTo>
                    <a:lnTo>
                      <a:pt x="383" y="420"/>
                    </a:lnTo>
                    <a:lnTo>
                      <a:pt x="382" y="420"/>
                    </a:lnTo>
                    <a:lnTo>
                      <a:pt x="383" y="420"/>
                    </a:lnTo>
                    <a:lnTo>
                      <a:pt x="382" y="420"/>
                    </a:lnTo>
                    <a:lnTo>
                      <a:pt x="383" y="420"/>
                    </a:lnTo>
                    <a:lnTo>
                      <a:pt x="383" y="421"/>
                    </a:lnTo>
                    <a:lnTo>
                      <a:pt x="385" y="421"/>
                    </a:lnTo>
                    <a:lnTo>
                      <a:pt x="387" y="421"/>
                    </a:lnTo>
                    <a:lnTo>
                      <a:pt x="387" y="423"/>
                    </a:lnTo>
                    <a:lnTo>
                      <a:pt x="387" y="424"/>
                    </a:lnTo>
                    <a:lnTo>
                      <a:pt x="388" y="424"/>
                    </a:lnTo>
                    <a:lnTo>
                      <a:pt x="390" y="424"/>
                    </a:lnTo>
                    <a:lnTo>
                      <a:pt x="390" y="426"/>
                    </a:lnTo>
                    <a:lnTo>
                      <a:pt x="391" y="426"/>
                    </a:lnTo>
                    <a:lnTo>
                      <a:pt x="391" y="428"/>
                    </a:lnTo>
                    <a:lnTo>
                      <a:pt x="391" y="429"/>
                    </a:lnTo>
                    <a:lnTo>
                      <a:pt x="390" y="429"/>
                    </a:lnTo>
                    <a:lnTo>
                      <a:pt x="390" y="431"/>
                    </a:lnTo>
                    <a:lnTo>
                      <a:pt x="390" y="432"/>
                    </a:lnTo>
                    <a:lnTo>
                      <a:pt x="390" y="434"/>
                    </a:lnTo>
                    <a:lnTo>
                      <a:pt x="390" y="436"/>
                    </a:lnTo>
                    <a:lnTo>
                      <a:pt x="390" y="437"/>
                    </a:lnTo>
                    <a:lnTo>
                      <a:pt x="388" y="437"/>
                    </a:lnTo>
                    <a:lnTo>
                      <a:pt x="390" y="437"/>
                    </a:lnTo>
                    <a:lnTo>
                      <a:pt x="390" y="439"/>
                    </a:lnTo>
                    <a:lnTo>
                      <a:pt x="388" y="439"/>
                    </a:lnTo>
                    <a:lnTo>
                      <a:pt x="388" y="440"/>
                    </a:lnTo>
                    <a:lnTo>
                      <a:pt x="387" y="440"/>
                    </a:lnTo>
                    <a:lnTo>
                      <a:pt x="387" y="442"/>
                    </a:lnTo>
                    <a:lnTo>
                      <a:pt x="385" y="442"/>
                    </a:lnTo>
                    <a:lnTo>
                      <a:pt x="385" y="443"/>
                    </a:lnTo>
                    <a:lnTo>
                      <a:pt x="385" y="445"/>
                    </a:lnTo>
                    <a:lnTo>
                      <a:pt x="383" y="445"/>
                    </a:lnTo>
                    <a:lnTo>
                      <a:pt x="383" y="447"/>
                    </a:lnTo>
                    <a:lnTo>
                      <a:pt x="383" y="448"/>
                    </a:lnTo>
                    <a:lnTo>
                      <a:pt x="383" y="450"/>
                    </a:lnTo>
                    <a:lnTo>
                      <a:pt x="382" y="450"/>
                    </a:lnTo>
                    <a:lnTo>
                      <a:pt x="382" y="451"/>
                    </a:lnTo>
                    <a:lnTo>
                      <a:pt x="380" y="451"/>
                    </a:lnTo>
                    <a:lnTo>
                      <a:pt x="380" y="453"/>
                    </a:lnTo>
                    <a:lnTo>
                      <a:pt x="380" y="455"/>
                    </a:lnTo>
                    <a:lnTo>
                      <a:pt x="380" y="456"/>
                    </a:lnTo>
                    <a:lnTo>
                      <a:pt x="380" y="458"/>
                    </a:lnTo>
                    <a:lnTo>
                      <a:pt x="380" y="459"/>
                    </a:lnTo>
                    <a:lnTo>
                      <a:pt x="380" y="461"/>
                    </a:lnTo>
                    <a:lnTo>
                      <a:pt x="379" y="461"/>
                    </a:lnTo>
                    <a:lnTo>
                      <a:pt x="379" y="462"/>
                    </a:lnTo>
                    <a:lnTo>
                      <a:pt x="377" y="462"/>
                    </a:lnTo>
                    <a:lnTo>
                      <a:pt x="376" y="462"/>
                    </a:lnTo>
                    <a:lnTo>
                      <a:pt x="376" y="464"/>
                    </a:lnTo>
                    <a:lnTo>
                      <a:pt x="374" y="464"/>
                    </a:lnTo>
                    <a:lnTo>
                      <a:pt x="374" y="466"/>
                    </a:lnTo>
                    <a:lnTo>
                      <a:pt x="374" y="467"/>
                    </a:lnTo>
                    <a:lnTo>
                      <a:pt x="372" y="467"/>
                    </a:lnTo>
                    <a:lnTo>
                      <a:pt x="372" y="469"/>
                    </a:lnTo>
                    <a:lnTo>
                      <a:pt x="372" y="470"/>
                    </a:lnTo>
                    <a:lnTo>
                      <a:pt x="371" y="470"/>
                    </a:lnTo>
                    <a:lnTo>
                      <a:pt x="371" y="472"/>
                    </a:lnTo>
                    <a:lnTo>
                      <a:pt x="371" y="474"/>
                    </a:lnTo>
                    <a:lnTo>
                      <a:pt x="369" y="474"/>
                    </a:lnTo>
                    <a:lnTo>
                      <a:pt x="369" y="475"/>
                    </a:lnTo>
                    <a:lnTo>
                      <a:pt x="369" y="477"/>
                    </a:lnTo>
                    <a:lnTo>
                      <a:pt x="369" y="478"/>
                    </a:lnTo>
                    <a:lnTo>
                      <a:pt x="369" y="480"/>
                    </a:lnTo>
                    <a:lnTo>
                      <a:pt x="369" y="481"/>
                    </a:lnTo>
                    <a:lnTo>
                      <a:pt x="368" y="481"/>
                    </a:lnTo>
                    <a:lnTo>
                      <a:pt x="366" y="481"/>
                    </a:lnTo>
                    <a:lnTo>
                      <a:pt x="366" y="483"/>
                    </a:lnTo>
                    <a:lnTo>
                      <a:pt x="364" y="483"/>
                    </a:lnTo>
                    <a:lnTo>
                      <a:pt x="364" y="485"/>
                    </a:lnTo>
                    <a:lnTo>
                      <a:pt x="363" y="485"/>
                    </a:lnTo>
                    <a:lnTo>
                      <a:pt x="363" y="486"/>
                    </a:lnTo>
                    <a:lnTo>
                      <a:pt x="364" y="486"/>
                    </a:lnTo>
                    <a:lnTo>
                      <a:pt x="364" y="488"/>
                    </a:lnTo>
                    <a:lnTo>
                      <a:pt x="363" y="488"/>
                    </a:lnTo>
                    <a:lnTo>
                      <a:pt x="361" y="488"/>
                    </a:lnTo>
                    <a:lnTo>
                      <a:pt x="360" y="488"/>
                    </a:lnTo>
                    <a:lnTo>
                      <a:pt x="358" y="488"/>
                    </a:lnTo>
                    <a:lnTo>
                      <a:pt x="358" y="486"/>
                    </a:lnTo>
                    <a:lnTo>
                      <a:pt x="357" y="486"/>
                    </a:lnTo>
                    <a:lnTo>
                      <a:pt x="357" y="488"/>
                    </a:lnTo>
                    <a:lnTo>
                      <a:pt x="358" y="488"/>
                    </a:lnTo>
                    <a:lnTo>
                      <a:pt x="360" y="488"/>
                    </a:lnTo>
                    <a:lnTo>
                      <a:pt x="360" y="489"/>
                    </a:lnTo>
                    <a:lnTo>
                      <a:pt x="360" y="491"/>
                    </a:lnTo>
                    <a:lnTo>
                      <a:pt x="360" y="493"/>
                    </a:lnTo>
                    <a:lnTo>
                      <a:pt x="358" y="493"/>
                    </a:lnTo>
                    <a:lnTo>
                      <a:pt x="358" y="494"/>
                    </a:lnTo>
                    <a:lnTo>
                      <a:pt x="358" y="496"/>
                    </a:lnTo>
                    <a:lnTo>
                      <a:pt x="357" y="496"/>
                    </a:lnTo>
                    <a:lnTo>
                      <a:pt x="357" y="497"/>
                    </a:lnTo>
                    <a:lnTo>
                      <a:pt x="357" y="499"/>
                    </a:lnTo>
                    <a:lnTo>
                      <a:pt x="355" y="499"/>
                    </a:lnTo>
                    <a:lnTo>
                      <a:pt x="357" y="499"/>
                    </a:lnTo>
                    <a:lnTo>
                      <a:pt x="355" y="499"/>
                    </a:lnTo>
                    <a:lnTo>
                      <a:pt x="357" y="499"/>
                    </a:lnTo>
                    <a:lnTo>
                      <a:pt x="355" y="499"/>
                    </a:lnTo>
                    <a:lnTo>
                      <a:pt x="357" y="499"/>
                    </a:lnTo>
                    <a:lnTo>
                      <a:pt x="357" y="500"/>
                    </a:lnTo>
                    <a:lnTo>
                      <a:pt x="355" y="500"/>
                    </a:lnTo>
                    <a:lnTo>
                      <a:pt x="355" y="502"/>
                    </a:lnTo>
                    <a:lnTo>
                      <a:pt x="357" y="502"/>
                    </a:lnTo>
                    <a:lnTo>
                      <a:pt x="357" y="504"/>
                    </a:lnTo>
                    <a:lnTo>
                      <a:pt x="357" y="505"/>
                    </a:lnTo>
                    <a:lnTo>
                      <a:pt x="357" y="507"/>
                    </a:lnTo>
                    <a:lnTo>
                      <a:pt x="357" y="508"/>
                    </a:lnTo>
                    <a:lnTo>
                      <a:pt x="357" y="510"/>
                    </a:lnTo>
                    <a:lnTo>
                      <a:pt x="357" y="512"/>
                    </a:lnTo>
                    <a:lnTo>
                      <a:pt x="357" y="513"/>
                    </a:lnTo>
                    <a:lnTo>
                      <a:pt x="355" y="513"/>
                    </a:lnTo>
                    <a:lnTo>
                      <a:pt x="355" y="515"/>
                    </a:lnTo>
                    <a:lnTo>
                      <a:pt x="353" y="515"/>
                    </a:lnTo>
                    <a:lnTo>
                      <a:pt x="353" y="516"/>
                    </a:lnTo>
                    <a:lnTo>
                      <a:pt x="353" y="518"/>
                    </a:lnTo>
                    <a:lnTo>
                      <a:pt x="352" y="518"/>
                    </a:lnTo>
                    <a:lnTo>
                      <a:pt x="352" y="519"/>
                    </a:lnTo>
                    <a:lnTo>
                      <a:pt x="352" y="521"/>
                    </a:lnTo>
                    <a:lnTo>
                      <a:pt x="350" y="521"/>
                    </a:lnTo>
                    <a:lnTo>
                      <a:pt x="350" y="523"/>
                    </a:lnTo>
                    <a:lnTo>
                      <a:pt x="349" y="523"/>
                    </a:lnTo>
                    <a:lnTo>
                      <a:pt x="349" y="524"/>
                    </a:lnTo>
                    <a:lnTo>
                      <a:pt x="349" y="526"/>
                    </a:lnTo>
                    <a:lnTo>
                      <a:pt x="347" y="526"/>
                    </a:lnTo>
                    <a:lnTo>
                      <a:pt x="347" y="527"/>
                    </a:lnTo>
                    <a:lnTo>
                      <a:pt x="347" y="529"/>
                    </a:lnTo>
                    <a:lnTo>
                      <a:pt x="345" y="529"/>
                    </a:lnTo>
                    <a:lnTo>
                      <a:pt x="345" y="531"/>
                    </a:lnTo>
                    <a:lnTo>
                      <a:pt x="344" y="531"/>
                    </a:lnTo>
                    <a:lnTo>
                      <a:pt x="344" y="532"/>
                    </a:lnTo>
                    <a:lnTo>
                      <a:pt x="344" y="534"/>
                    </a:lnTo>
                    <a:lnTo>
                      <a:pt x="342" y="534"/>
                    </a:lnTo>
                    <a:lnTo>
                      <a:pt x="342" y="535"/>
                    </a:lnTo>
                    <a:lnTo>
                      <a:pt x="342" y="537"/>
                    </a:lnTo>
                    <a:lnTo>
                      <a:pt x="341" y="537"/>
                    </a:lnTo>
                    <a:lnTo>
                      <a:pt x="341" y="538"/>
                    </a:lnTo>
                    <a:lnTo>
                      <a:pt x="339" y="538"/>
                    </a:lnTo>
                    <a:lnTo>
                      <a:pt x="339" y="540"/>
                    </a:lnTo>
                    <a:lnTo>
                      <a:pt x="339" y="542"/>
                    </a:lnTo>
                    <a:lnTo>
                      <a:pt x="338" y="542"/>
                    </a:lnTo>
                    <a:lnTo>
                      <a:pt x="338" y="543"/>
                    </a:lnTo>
                    <a:lnTo>
                      <a:pt x="338" y="545"/>
                    </a:lnTo>
                    <a:lnTo>
                      <a:pt x="338" y="546"/>
                    </a:lnTo>
                    <a:lnTo>
                      <a:pt x="336" y="546"/>
                    </a:lnTo>
                    <a:lnTo>
                      <a:pt x="336" y="548"/>
                    </a:lnTo>
                    <a:lnTo>
                      <a:pt x="336" y="550"/>
                    </a:lnTo>
                    <a:lnTo>
                      <a:pt x="334" y="550"/>
                    </a:lnTo>
                    <a:lnTo>
                      <a:pt x="334" y="551"/>
                    </a:lnTo>
                    <a:lnTo>
                      <a:pt x="334" y="553"/>
                    </a:lnTo>
                    <a:lnTo>
                      <a:pt x="333" y="553"/>
                    </a:lnTo>
                    <a:lnTo>
                      <a:pt x="333" y="554"/>
                    </a:lnTo>
                    <a:lnTo>
                      <a:pt x="333" y="556"/>
                    </a:lnTo>
                    <a:lnTo>
                      <a:pt x="333" y="557"/>
                    </a:lnTo>
                    <a:lnTo>
                      <a:pt x="331" y="557"/>
                    </a:lnTo>
                    <a:lnTo>
                      <a:pt x="331" y="559"/>
                    </a:lnTo>
                    <a:lnTo>
                      <a:pt x="331" y="561"/>
                    </a:lnTo>
                    <a:lnTo>
                      <a:pt x="331" y="562"/>
                    </a:lnTo>
                    <a:lnTo>
                      <a:pt x="331" y="564"/>
                    </a:lnTo>
                    <a:lnTo>
                      <a:pt x="331" y="565"/>
                    </a:lnTo>
                    <a:lnTo>
                      <a:pt x="331" y="567"/>
                    </a:lnTo>
                    <a:lnTo>
                      <a:pt x="333" y="567"/>
                    </a:lnTo>
                    <a:lnTo>
                      <a:pt x="333" y="569"/>
                    </a:lnTo>
                    <a:lnTo>
                      <a:pt x="333" y="570"/>
                    </a:lnTo>
                    <a:lnTo>
                      <a:pt x="333" y="572"/>
                    </a:lnTo>
                    <a:lnTo>
                      <a:pt x="333" y="573"/>
                    </a:lnTo>
                    <a:lnTo>
                      <a:pt x="333" y="575"/>
                    </a:lnTo>
                    <a:lnTo>
                      <a:pt x="333" y="576"/>
                    </a:lnTo>
                    <a:lnTo>
                      <a:pt x="333" y="578"/>
                    </a:lnTo>
                    <a:lnTo>
                      <a:pt x="333" y="580"/>
                    </a:lnTo>
                    <a:lnTo>
                      <a:pt x="333" y="581"/>
                    </a:lnTo>
                    <a:lnTo>
                      <a:pt x="331" y="581"/>
                    </a:lnTo>
                    <a:lnTo>
                      <a:pt x="331" y="583"/>
                    </a:lnTo>
                    <a:lnTo>
                      <a:pt x="331" y="584"/>
                    </a:lnTo>
                    <a:lnTo>
                      <a:pt x="331" y="586"/>
                    </a:lnTo>
                    <a:lnTo>
                      <a:pt x="330" y="586"/>
                    </a:lnTo>
                    <a:lnTo>
                      <a:pt x="330" y="588"/>
                    </a:lnTo>
                    <a:lnTo>
                      <a:pt x="328" y="588"/>
                    </a:lnTo>
                    <a:lnTo>
                      <a:pt x="326" y="588"/>
                    </a:lnTo>
                    <a:lnTo>
                      <a:pt x="326" y="589"/>
                    </a:lnTo>
                    <a:lnTo>
                      <a:pt x="326" y="591"/>
                    </a:lnTo>
                    <a:lnTo>
                      <a:pt x="326" y="592"/>
                    </a:lnTo>
                    <a:lnTo>
                      <a:pt x="325" y="592"/>
                    </a:lnTo>
                    <a:lnTo>
                      <a:pt x="323" y="592"/>
                    </a:lnTo>
                    <a:lnTo>
                      <a:pt x="322" y="592"/>
                    </a:lnTo>
                    <a:lnTo>
                      <a:pt x="320" y="592"/>
                    </a:lnTo>
                    <a:lnTo>
                      <a:pt x="318" y="592"/>
                    </a:lnTo>
                    <a:lnTo>
                      <a:pt x="317" y="592"/>
                    </a:lnTo>
                    <a:lnTo>
                      <a:pt x="315" y="591"/>
                    </a:lnTo>
                    <a:lnTo>
                      <a:pt x="314" y="591"/>
                    </a:lnTo>
                    <a:lnTo>
                      <a:pt x="314" y="589"/>
                    </a:lnTo>
                    <a:lnTo>
                      <a:pt x="312" y="589"/>
                    </a:lnTo>
                    <a:lnTo>
                      <a:pt x="311" y="589"/>
                    </a:lnTo>
                    <a:lnTo>
                      <a:pt x="309" y="589"/>
                    </a:lnTo>
                    <a:lnTo>
                      <a:pt x="307" y="589"/>
                    </a:lnTo>
                    <a:lnTo>
                      <a:pt x="306" y="589"/>
                    </a:lnTo>
                    <a:lnTo>
                      <a:pt x="304" y="589"/>
                    </a:lnTo>
                    <a:lnTo>
                      <a:pt x="303" y="589"/>
                    </a:lnTo>
                    <a:lnTo>
                      <a:pt x="301" y="589"/>
                    </a:lnTo>
                    <a:lnTo>
                      <a:pt x="301" y="588"/>
                    </a:lnTo>
                    <a:lnTo>
                      <a:pt x="299" y="588"/>
                    </a:lnTo>
                    <a:lnTo>
                      <a:pt x="298" y="588"/>
                    </a:lnTo>
                    <a:lnTo>
                      <a:pt x="296" y="588"/>
                    </a:lnTo>
                    <a:lnTo>
                      <a:pt x="296" y="589"/>
                    </a:lnTo>
                    <a:lnTo>
                      <a:pt x="295" y="589"/>
                    </a:lnTo>
                    <a:lnTo>
                      <a:pt x="295" y="591"/>
                    </a:lnTo>
                    <a:lnTo>
                      <a:pt x="293" y="592"/>
                    </a:lnTo>
                    <a:lnTo>
                      <a:pt x="292" y="594"/>
                    </a:lnTo>
                    <a:lnTo>
                      <a:pt x="290" y="594"/>
                    </a:lnTo>
                    <a:lnTo>
                      <a:pt x="288" y="595"/>
                    </a:lnTo>
                    <a:lnTo>
                      <a:pt x="287" y="594"/>
                    </a:lnTo>
                    <a:lnTo>
                      <a:pt x="285" y="594"/>
                    </a:lnTo>
                    <a:lnTo>
                      <a:pt x="284" y="592"/>
                    </a:lnTo>
                    <a:lnTo>
                      <a:pt x="282" y="592"/>
                    </a:lnTo>
                    <a:lnTo>
                      <a:pt x="280" y="592"/>
                    </a:lnTo>
                    <a:lnTo>
                      <a:pt x="279" y="592"/>
                    </a:lnTo>
                    <a:lnTo>
                      <a:pt x="279" y="594"/>
                    </a:lnTo>
                    <a:lnTo>
                      <a:pt x="277" y="594"/>
                    </a:lnTo>
                    <a:lnTo>
                      <a:pt x="276" y="594"/>
                    </a:lnTo>
                    <a:lnTo>
                      <a:pt x="274" y="595"/>
                    </a:lnTo>
                    <a:lnTo>
                      <a:pt x="274" y="597"/>
                    </a:lnTo>
                    <a:lnTo>
                      <a:pt x="273" y="599"/>
                    </a:lnTo>
                    <a:lnTo>
                      <a:pt x="273" y="600"/>
                    </a:lnTo>
                    <a:lnTo>
                      <a:pt x="271" y="602"/>
                    </a:lnTo>
                    <a:lnTo>
                      <a:pt x="269" y="602"/>
                    </a:lnTo>
                    <a:lnTo>
                      <a:pt x="268" y="603"/>
                    </a:lnTo>
                    <a:lnTo>
                      <a:pt x="266" y="603"/>
                    </a:lnTo>
                    <a:lnTo>
                      <a:pt x="265" y="603"/>
                    </a:lnTo>
                    <a:lnTo>
                      <a:pt x="265" y="602"/>
                    </a:lnTo>
                    <a:lnTo>
                      <a:pt x="263" y="602"/>
                    </a:lnTo>
                    <a:lnTo>
                      <a:pt x="261" y="602"/>
                    </a:lnTo>
                    <a:lnTo>
                      <a:pt x="260" y="602"/>
                    </a:lnTo>
                    <a:lnTo>
                      <a:pt x="258" y="602"/>
                    </a:lnTo>
                    <a:lnTo>
                      <a:pt x="258" y="603"/>
                    </a:lnTo>
                    <a:lnTo>
                      <a:pt x="257" y="605"/>
                    </a:lnTo>
                    <a:lnTo>
                      <a:pt x="255" y="607"/>
                    </a:lnTo>
                    <a:lnTo>
                      <a:pt x="254" y="607"/>
                    </a:lnTo>
                    <a:lnTo>
                      <a:pt x="254" y="608"/>
                    </a:lnTo>
                    <a:lnTo>
                      <a:pt x="252" y="608"/>
                    </a:lnTo>
                    <a:lnTo>
                      <a:pt x="252" y="610"/>
                    </a:lnTo>
                    <a:lnTo>
                      <a:pt x="250" y="611"/>
                    </a:lnTo>
                    <a:lnTo>
                      <a:pt x="249" y="611"/>
                    </a:lnTo>
                    <a:lnTo>
                      <a:pt x="247" y="613"/>
                    </a:lnTo>
                    <a:lnTo>
                      <a:pt x="247" y="611"/>
                    </a:lnTo>
                    <a:lnTo>
                      <a:pt x="247" y="610"/>
                    </a:lnTo>
                    <a:lnTo>
                      <a:pt x="246" y="608"/>
                    </a:lnTo>
                    <a:lnTo>
                      <a:pt x="244" y="608"/>
                    </a:lnTo>
                    <a:lnTo>
                      <a:pt x="244" y="607"/>
                    </a:lnTo>
                    <a:lnTo>
                      <a:pt x="242" y="607"/>
                    </a:lnTo>
                    <a:lnTo>
                      <a:pt x="241" y="607"/>
                    </a:lnTo>
                    <a:lnTo>
                      <a:pt x="241" y="608"/>
                    </a:lnTo>
                    <a:lnTo>
                      <a:pt x="239" y="608"/>
                    </a:lnTo>
                    <a:lnTo>
                      <a:pt x="239" y="610"/>
                    </a:lnTo>
                    <a:lnTo>
                      <a:pt x="238" y="610"/>
                    </a:lnTo>
                    <a:lnTo>
                      <a:pt x="236" y="610"/>
                    </a:lnTo>
                    <a:lnTo>
                      <a:pt x="235" y="610"/>
                    </a:lnTo>
                    <a:lnTo>
                      <a:pt x="235" y="611"/>
                    </a:lnTo>
                    <a:lnTo>
                      <a:pt x="233" y="610"/>
                    </a:lnTo>
                    <a:lnTo>
                      <a:pt x="231" y="610"/>
                    </a:lnTo>
                    <a:lnTo>
                      <a:pt x="230" y="610"/>
                    </a:lnTo>
                    <a:lnTo>
                      <a:pt x="228" y="610"/>
                    </a:lnTo>
                    <a:lnTo>
                      <a:pt x="228" y="608"/>
                    </a:lnTo>
                    <a:lnTo>
                      <a:pt x="227" y="608"/>
                    </a:lnTo>
                    <a:lnTo>
                      <a:pt x="225" y="608"/>
                    </a:lnTo>
                    <a:lnTo>
                      <a:pt x="225" y="607"/>
                    </a:lnTo>
                    <a:lnTo>
                      <a:pt x="223" y="607"/>
                    </a:lnTo>
                    <a:lnTo>
                      <a:pt x="222" y="607"/>
                    </a:lnTo>
                    <a:lnTo>
                      <a:pt x="222" y="608"/>
                    </a:lnTo>
                    <a:lnTo>
                      <a:pt x="220" y="608"/>
                    </a:lnTo>
                    <a:lnTo>
                      <a:pt x="220" y="610"/>
                    </a:lnTo>
                    <a:lnTo>
                      <a:pt x="219" y="610"/>
                    </a:lnTo>
                    <a:lnTo>
                      <a:pt x="219" y="611"/>
                    </a:lnTo>
                    <a:lnTo>
                      <a:pt x="217" y="611"/>
                    </a:lnTo>
                    <a:lnTo>
                      <a:pt x="217" y="613"/>
                    </a:lnTo>
                    <a:lnTo>
                      <a:pt x="216" y="613"/>
                    </a:lnTo>
                    <a:lnTo>
                      <a:pt x="214" y="613"/>
                    </a:lnTo>
                    <a:lnTo>
                      <a:pt x="212" y="611"/>
                    </a:lnTo>
                    <a:lnTo>
                      <a:pt x="211" y="610"/>
                    </a:lnTo>
                    <a:lnTo>
                      <a:pt x="209" y="610"/>
                    </a:lnTo>
                    <a:lnTo>
                      <a:pt x="209" y="611"/>
                    </a:lnTo>
                    <a:lnTo>
                      <a:pt x="208" y="611"/>
                    </a:lnTo>
                    <a:lnTo>
                      <a:pt x="206" y="611"/>
                    </a:lnTo>
                    <a:lnTo>
                      <a:pt x="204" y="611"/>
                    </a:lnTo>
                    <a:lnTo>
                      <a:pt x="204" y="610"/>
                    </a:lnTo>
                    <a:lnTo>
                      <a:pt x="203" y="610"/>
                    </a:lnTo>
                    <a:lnTo>
                      <a:pt x="203" y="608"/>
                    </a:lnTo>
                    <a:lnTo>
                      <a:pt x="203" y="607"/>
                    </a:lnTo>
                    <a:lnTo>
                      <a:pt x="201" y="607"/>
                    </a:lnTo>
                    <a:lnTo>
                      <a:pt x="201" y="605"/>
                    </a:lnTo>
                    <a:lnTo>
                      <a:pt x="200" y="603"/>
                    </a:lnTo>
                    <a:lnTo>
                      <a:pt x="200" y="602"/>
                    </a:lnTo>
                    <a:lnTo>
                      <a:pt x="198" y="600"/>
                    </a:lnTo>
                    <a:lnTo>
                      <a:pt x="197" y="600"/>
                    </a:lnTo>
                    <a:lnTo>
                      <a:pt x="195" y="600"/>
                    </a:lnTo>
                    <a:lnTo>
                      <a:pt x="193" y="600"/>
                    </a:lnTo>
                    <a:lnTo>
                      <a:pt x="192" y="602"/>
                    </a:lnTo>
                    <a:lnTo>
                      <a:pt x="190" y="602"/>
                    </a:lnTo>
                    <a:lnTo>
                      <a:pt x="189" y="602"/>
                    </a:lnTo>
                    <a:lnTo>
                      <a:pt x="187" y="602"/>
                    </a:lnTo>
                    <a:lnTo>
                      <a:pt x="185" y="602"/>
                    </a:lnTo>
                    <a:lnTo>
                      <a:pt x="184" y="602"/>
                    </a:lnTo>
                    <a:lnTo>
                      <a:pt x="182" y="603"/>
                    </a:lnTo>
                    <a:lnTo>
                      <a:pt x="181" y="603"/>
                    </a:lnTo>
                    <a:lnTo>
                      <a:pt x="179" y="603"/>
                    </a:lnTo>
                    <a:lnTo>
                      <a:pt x="178" y="602"/>
                    </a:lnTo>
                    <a:lnTo>
                      <a:pt x="178" y="600"/>
                    </a:lnTo>
                    <a:lnTo>
                      <a:pt x="178" y="599"/>
                    </a:lnTo>
                    <a:lnTo>
                      <a:pt x="178" y="597"/>
                    </a:lnTo>
                    <a:lnTo>
                      <a:pt x="178" y="595"/>
                    </a:lnTo>
                    <a:lnTo>
                      <a:pt x="176" y="595"/>
                    </a:lnTo>
                    <a:lnTo>
                      <a:pt x="176" y="594"/>
                    </a:lnTo>
                    <a:lnTo>
                      <a:pt x="174" y="594"/>
                    </a:lnTo>
                    <a:lnTo>
                      <a:pt x="174" y="592"/>
                    </a:lnTo>
                    <a:lnTo>
                      <a:pt x="173" y="592"/>
                    </a:lnTo>
                    <a:lnTo>
                      <a:pt x="173" y="591"/>
                    </a:lnTo>
                    <a:lnTo>
                      <a:pt x="173" y="589"/>
                    </a:lnTo>
                    <a:lnTo>
                      <a:pt x="171" y="589"/>
                    </a:lnTo>
                    <a:lnTo>
                      <a:pt x="171" y="588"/>
                    </a:lnTo>
                    <a:lnTo>
                      <a:pt x="170" y="586"/>
                    </a:lnTo>
                    <a:lnTo>
                      <a:pt x="168" y="584"/>
                    </a:lnTo>
                    <a:lnTo>
                      <a:pt x="166" y="586"/>
                    </a:lnTo>
                    <a:lnTo>
                      <a:pt x="165" y="584"/>
                    </a:lnTo>
                    <a:lnTo>
                      <a:pt x="163" y="584"/>
                    </a:lnTo>
                    <a:lnTo>
                      <a:pt x="163" y="583"/>
                    </a:lnTo>
                    <a:lnTo>
                      <a:pt x="162" y="583"/>
                    </a:lnTo>
                    <a:lnTo>
                      <a:pt x="160" y="583"/>
                    </a:lnTo>
                    <a:lnTo>
                      <a:pt x="159" y="583"/>
                    </a:lnTo>
                    <a:lnTo>
                      <a:pt x="159" y="581"/>
                    </a:lnTo>
                    <a:lnTo>
                      <a:pt x="157" y="583"/>
                    </a:lnTo>
                    <a:lnTo>
                      <a:pt x="155" y="583"/>
                    </a:lnTo>
                    <a:lnTo>
                      <a:pt x="154" y="583"/>
                    </a:lnTo>
                    <a:lnTo>
                      <a:pt x="152" y="584"/>
                    </a:lnTo>
                    <a:lnTo>
                      <a:pt x="151" y="584"/>
                    </a:lnTo>
                    <a:lnTo>
                      <a:pt x="149" y="584"/>
                    </a:lnTo>
                    <a:lnTo>
                      <a:pt x="149" y="583"/>
                    </a:lnTo>
                    <a:lnTo>
                      <a:pt x="147" y="583"/>
                    </a:lnTo>
                    <a:lnTo>
                      <a:pt x="146" y="583"/>
                    </a:lnTo>
                    <a:lnTo>
                      <a:pt x="146" y="581"/>
                    </a:lnTo>
                    <a:lnTo>
                      <a:pt x="144" y="581"/>
                    </a:lnTo>
                    <a:lnTo>
                      <a:pt x="144" y="580"/>
                    </a:lnTo>
                    <a:lnTo>
                      <a:pt x="143" y="580"/>
                    </a:lnTo>
                    <a:lnTo>
                      <a:pt x="143" y="578"/>
                    </a:lnTo>
                    <a:lnTo>
                      <a:pt x="141" y="580"/>
                    </a:lnTo>
                    <a:lnTo>
                      <a:pt x="139" y="580"/>
                    </a:lnTo>
                    <a:lnTo>
                      <a:pt x="139" y="578"/>
                    </a:lnTo>
                    <a:lnTo>
                      <a:pt x="139" y="576"/>
                    </a:lnTo>
                    <a:lnTo>
                      <a:pt x="139" y="575"/>
                    </a:lnTo>
                    <a:lnTo>
                      <a:pt x="138" y="575"/>
                    </a:lnTo>
                    <a:lnTo>
                      <a:pt x="138" y="573"/>
                    </a:lnTo>
                    <a:lnTo>
                      <a:pt x="136" y="573"/>
                    </a:lnTo>
                    <a:lnTo>
                      <a:pt x="136" y="572"/>
                    </a:lnTo>
                    <a:lnTo>
                      <a:pt x="136" y="570"/>
                    </a:lnTo>
                    <a:lnTo>
                      <a:pt x="135" y="570"/>
                    </a:lnTo>
                    <a:lnTo>
                      <a:pt x="133" y="572"/>
                    </a:lnTo>
                    <a:lnTo>
                      <a:pt x="133" y="570"/>
                    </a:lnTo>
                    <a:lnTo>
                      <a:pt x="132" y="570"/>
                    </a:lnTo>
                    <a:lnTo>
                      <a:pt x="130" y="572"/>
                    </a:lnTo>
                    <a:lnTo>
                      <a:pt x="130" y="570"/>
                    </a:lnTo>
                    <a:lnTo>
                      <a:pt x="130" y="569"/>
                    </a:lnTo>
                    <a:lnTo>
                      <a:pt x="132" y="567"/>
                    </a:lnTo>
                    <a:lnTo>
                      <a:pt x="132" y="565"/>
                    </a:lnTo>
                    <a:lnTo>
                      <a:pt x="130" y="565"/>
                    </a:lnTo>
                    <a:lnTo>
                      <a:pt x="130" y="564"/>
                    </a:lnTo>
                    <a:lnTo>
                      <a:pt x="128" y="564"/>
                    </a:lnTo>
                    <a:lnTo>
                      <a:pt x="127" y="564"/>
                    </a:lnTo>
                    <a:lnTo>
                      <a:pt x="125" y="564"/>
                    </a:lnTo>
                    <a:lnTo>
                      <a:pt x="125" y="562"/>
                    </a:lnTo>
                    <a:lnTo>
                      <a:pt x="124" y="564"/>
                    </a:lnTo>
                    <a:lnTo>
                      <a:pt x="122" y="562"/>
                    </a:lnTo>
                    <a:lnTo>
                      <a:pt x="120" y="562"/>
                    </a:lnTo>
                    <a:lnTo>
                      <a:pt x="120" y="561"/>
                    </a:lnTo>
                    <a:lnTo>
                      <a:pt x="122" y="561"/>
                    </a:lnTo>
                    <a:lnTo>
                      <a:pt x="120" y="559"/>
                    </a:lnTo>
                    <a:lnTo>
                      <a:pt x="119" y="559"/>
                    </a:lnTo>
                    <a:lnTo>
                      <a:pt x="117" y="559"/>
                    </a:lnTo>
                    <a:lnTo>
                      <a:pt x="116" y="559"/>
                    </a:lnTo>
                    <a:lnTo>
                      <a:pt x="116" y="557"/>
                    </a:lnTo>
                    <a:lnTo>
                      <a:pt x="114" y="557"/>
                    </a:lnTo>
                    <a:lnTo>
                      <a:pt x="113" y="557"/>
                    </a:lnTo>
                    <a:lnTo>
                      <a:pt x="111" y="557"/>
                    </a:lnTo>
                    <a:lnTo>
                      <a:pt x="109" y="559"/>
                    </a:lnTo>
                    <a:lnTo>
                      <a:pt x="109" y="561"/>
                    </a:lnTo>
                    <a:lnTo>
                      <a:pt x="108" y="561"/>
                    </a:lnTo>
                    <a:lnTo>
                      <a:pt x="106" y="561"/>
                    </a:lnTo>
                    <a:lnTo>
                      <a:pt x="106" y="559"/>
                    </a:lnTo>
                    <a:lnTo>
                      <a:pt x="105" y="559"/>
                    </a:lnTo>
                    <a:lnTo>
                      <a:pt x="103" y="559"/>
                    </a:lnTo>
                    <a:lnTo>
                      <a:pt x="101" y="559"/>
                    </a:lnTo>
                    <a:lnTo>
                      <a:pt x="100" y="559"/>
                    </a:lnTo>
                    <a:lnTo>
                      <a:pt x="98" y="559"/>
                    </a:lnTo>
                    <a:lnTo>
                      <a:pt x="97" y="559"/>
                    </a:lnTo>
                    <a:lnTo>
                      <a:pt x="95" y="559"/>
                    </a:lnTo>
                    <a:lnTo>
                      <a:pt x="95" y="557"/>
                    </a:lnTo>
                    <a:lnTo>
                      <a:pt x="94" y="557"/>
                    </a:lnTo>
                    <a:lnTo>
                      <a:pt x="92" y="557"/>
                    </a:lnTo>
                    <a:lnTo>
                      <a:pt x="90" y="557"/>
                    </a:lnTo>
                    <a:lnTo>
                      <a:pt x="90" y="556"/>
                    </a:lnTo>
                    <a:lnTo>
                      <a:pt x="89" y="556"/>
                    </a:lnTo>
                    <a:lnTo>
                      <a:pt x="87" y="557"/>
                    </a:lnTo>
                    <a:lnTo>
                      <a:pt x="86" y="559"/>
                    </a:lnTo>
                    <a:lnTo>
                      <a:pt x="86" y="561"/>
                    </a:lnTo>
                    <a:lnTo>
                      <a:pt x="84" y="561"/>
                    </a:lnTo>
                    <a:lnTo>
                      <a:pt x="82" y="561"/>
                    </a:lnTo>
                    <a:lnTo>
                      <a:pt x="81" y="561"/>
                    </a:lnTo>
                    <a:lnTo>
                      <a:pt x="79" y="559"/>
                    </a:lnTo>
                    <a:lnTo>
                      <a:pt x="78" y="559"/>
                    </a:lnTo>
                    <a:lnTo>
                      <a:pt x="76" y="559"/>
                    </a:lnTo>
                    <a:lnTo>
                      <a:pt x="75" y="559"/>
                    </a:lnTo>
                    <a:lnTo>
                      <a:pt x="75" y="561"/>
                    </a:lnTo>
                    <a:lnTo>
                      <a:pt x="73" y="561"/>
                    </a:lnTo>
                    <a:lnTo>
                      <a:pt x="71" y="561"/>
                    </a:lnTo>
                    <a:lnTo>
                      <a:pt x="71" y="562"/>
                    </a:lnTo>
                    <a:lnTo>
                      <a:pt x="70" y="562"/>
                    </a:lnTo>
                    <a:lnTo>
                      <a:pt x="68" y="562"/>
                    </a:lnTo>
                    <a:lnTo>
                      <a:pt x="68" y="564"/>
                    </a:lnTo>
                    <a:lnTo>
                      <a:pt x="67" y="564"/>
                    </a:lnTo>
                    <a:lnTo>
                      <a:pt x="65" y="564"/>
                    </a:lnTo>
                    <a:lnTo>
                      <a:pt x="63" y="564"/>
                    </a:lnTo>
                    <a:lnTo>
                      <a:pt x="63" y="562"/>
                    </a:lnTo>
                    <a:lnTo>
                      <a:pt x="63" y="561"/>
                    </a:lnTo>
                    <a:lnTo>
                      <a:pt x="62" y="561"/>
                    </a:lnTo>
                    <a:lnTo>
                      <a:pt x="62" y="559"/>
                    </a:lnTo>
                    <a:lnTo>
                      <a:pt x="60" y="559"/>
                    </a:lnTo>
                    <a:lnTo>
                      <a:pt x="60" y="557"/>
                    </a:lnTo>
                    <a:lnTo>
                      <a:pt x="59" y="557"/>
                    </a:lnTo>
                    <a:lnTo>
                      <a:pt x="57" y="557"/>
                    </a:lnTo>
                    <a:lnTo>
                      <a:pt x="57" y="556"/>
                    </a:lnTo>
                    <a:lnTo>
                      <a:pt x="56" y="556"/>
                    </a:lnTo>
                    <a:lnTo>
                      <a:pt x="54" y="556"/>
                    </a:lnTo>
                    <a:lnTo>
                      <a:pt x="52" y="556"/>
                    </a:lnTo>
                    <a:lnTo>
                      <a:pt x="51" y="557"/>
                    </a:lnTo>
                    <a:lnTo>
                      <a:pt x="49" y="557"/>
                    </a:lnTo>
                    <a:lnTo>
                      <a:pt x="48" y="557"/>
                    </a:lnTo>
                    <a:lnTo>
                      <a:pt x="46" y="559"/>
                    </a:lnTo>
                    <a:lnTo>
                      <a:pt x="44" y="559"/>
                    </a:lnTo>
                    <a:lnTo>
                      <a:pt x="43" y="559"/>
                    </a:lnTo>
                    <a:lnTo>
                      <a:pt x="41" y="559"/>
                    </a:lnTo>
                    <a:lnTo>
                      <a:pt x="40" y="561"/>
                    </a:lnTo>
                    <a:lnTo>
                      <a:pt x="38" y="561"/>
                    </a:lnTo>
                    <a:lnTo>
                      <a:pt x="37" y="561"/>
                    </a:lnTo>
                    <a:lnTo>
                      <a:pt x="35" y="561"/>
                    </a:lnTo>
                    <a:lnTo>
                      <a:pt x="33" y="562"/>
                    </a:lnTo>
                    <a:lnTo>
                      <a:pt x="32" y="562"/>
                    </a:lnTo>
                    <a:lnTo>
                      <a:pt x="30" y="562"/>
                    </a:lnTo>
                    <a:lnTo>
                      <a:pt x="29" y="562"/>
                    </a:lnTo>
                    <a:lnTo>
                      <a:pt x="29" y="564"/>
                    </a:lnTo>
                    <a:lnTo>
                      <a:pt x="27" y="564"/>
                    </a:lnTo>
                    <a:lnTo>
                      <a:pt x="25" y="564"/>
                    </a:lnTo>
                    <a:lnTo>
                      <a:pt x="24" y="564"/>
                    </a:lnTo>
                    <a:lnTo>
                      <a:pt x="22" y="564"/>
                    </a:lnTo>
                    <a:lnTo>
                      <a:pt x="22" y="565"/>
                    </a:lnTo>
                    <a:lnTo>
                      <a:pt x="21" y="565"/>
                    </a:lnTo>
                    <a:lnTo>
                      <a:pt x="19" y="565"/>
                    </a:lnTo>
                    <a:lnTo>
                      <a:pt x="18" y="565"/>
                    </a:lnTo>
                    <a:lnTo>
                      <a:pt x="16" y="565"/>
                    </a:lnTo>
                    <a:lnTo>
                      <a:pt x="16" y="567"/>
                    </a:lnTo>
                    <a:lnTo>
                      <a:pt x="14" y="567"/>
                    </a:lnTo>
                    <a:lnTo>
                      <a:pt x="13" y="567"/>
                    </a:lnTo>
                    <a:lnTo>
                      <a:pt x="11" y="567"/>
                    </a:lnTo>
                    <a:lnTo>
                      <a:pt x="10" y="569"/>
                    </a:lnTo>
                    <a:lnTo>
                      <a:pt x="8" y="569"/>
                    </a:lnTo>
                    <a:lnTo>
                      <a:pt x="6" y="569"/>
                    </a:lnTo>
                    <a:lnTo>
                      <a:pt x="5" y="569"/>
                    </a:lnTo>
                    <a:lnTo>
                      <a:pt x="3" y="569"/>
                    </a:lnTo>
                    <a:lnTo>
                      <a:pt x="2" y="569"/>
                    </a:lnTo>
                    <a:lnTo>
                      <a:pt x="2" y="570"/>
                    </a:lnTo>
                    <a:lnTo>
                      <a:pt x="0" y="575"/>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70" name="Freeform 150"/>
              <p:cNvSpPr>
                <a:spLocks/>
              </p:cNvSpPr>
              <p:nvPr/>
            </p:nvSpPr>
            <p:spPr bwMode="auto">
              <a:xfrm>
                <a:off x="4383" y="1554"/>
                <a:ext cx="451" cy="651"/>
              </a:xfrm>
              <a:custGeom>
                <a:avLst/>
                <a:gdLst>
                  <a:gd name="T0" fmla="*/ 222 w 451"/>
                  <a:gd name="T1" fmla="*/ 597 h 651"/>
                  <a:gd name="T2" fmla="*/ 187 w 451"/>
                  <a:gd name="T3" fmla="*/ 600 h 651"/>
                  <a:gd name="T4" fmla="*/ 168 w 451"/>
                  <a:gd name="T5" fmla="*/ 588 h 651"/>
                  <a:gd name="T6" fmla="*/ 139 w 451"/>
                  <a:gd name="T7" fmla="*/ 558 h 651"/>
                  <a:gd name="T8" fmla="*/ 116 w 451"/>
                  <a:gd name="T9" fmla="*/ 546 h 651"/>
                  <a:gd name="T10" fmla="*/ 103 w 451"/>
                  <a:gd name="T11" fmla="*/ 551 h 651"/>
                  <a:gd name="T12" fmla="*/ 100 w 451"/>
                  <a:gd name="T13" fmla="*/ 564 h 651"/>
                  <a:gd name="T14" fmla="*/ 97 w 451"/>
                  <a:gd name="T15" fmla="*/ 578 h 651"/>
                  <a:gd name="T16" fmla="*/ 95 w 451"/>
                  <a:gd name="T17" fmla="*/ 592 h 651"/>
                  <a:gd name="T18" fmla="*/ 87 w 451"/>
                  <a:gd name="T19" fmla="*/ 600 h 651"/>
                  <a:gd name="T20" fmla="*/ 74 w 451"/>
                  <a:gd name="T21" fmla="*/ 603 h 651"/>
                  <a:gd name="T22" fmla="*/ 63 w 451"/>
                  <a:gd name="T23" fmla="*/ 616 h 651"/>
                  <a:gd name="T24" fmla="*/ 51 w 451"/>
                  <a:gd name="T25" fmla="*/ 626 h 651"/>
                  <a:gd name="T26" fmla="*/ 35 w 451"/>
                  <a:gd name="T27" fmla="*/ 649 h 651"/>
                  <a:gd name="T28" fmla="*/ 19 w 451"/>
                  <a:gd name="T29" fmla="*/ 634 h 651"/>
                  <a:gd name="T30" fmla="*/ 14 w 451"/>
                  <a:gd name="T31" fmla="*/ 623 h 651"/>
                  <a:gd name="T32" fmla="*/ 21 w 451"/>
                  <a:gd name="T33" fmla="*/ 610 h 651"/>
                  <a:gd name="T34" fmla="*/ 5 w 451"/>
                  <a:gd name="T35" fmla="*/ 608 h 651"/>
                  <a:gd name="T36" fmla="*/ 3 w 451"/>
                  <a:gd name="T37" fmla="*/ 597 h 651"/>
                  <a:gd name="T38" fmla="*/ 1 w 451"/>
                  <a:gd name="T39" fmla="*/ 584 h 651"/>
                  <a:gd name="T40" fmla="*/ 27 w 451"/>
                  <a:gd name="T41" fmla="*/ 551 h 651"/>
                  <a:gd name="T42" fmla="*/ 51 w 451"/>
                  <a:gd name="T43" fmla="*/ 512 h 651"/>
                  <a:gd name="T44" fmla="*/ 70 w 451"/>
                  <a:gd name="T45" fmla="*/ 459 h 651"/>
                  <a:gd name="T46" fmla="*/ 92 w 451"/>
                  <a:gd name="T47" fmla="*/ 432 h 651"/>
                  <a:gd name="T48" fmla="*/ 104 w 451"/>
                  <a:gd name="T49" fmla="*/ 366 h 651"/>
                  <a:gd name="T50" fmla="*/ 109 w 451"/>
                  <a:gd name="T51" fmla="*/ 350 h 651"/>
                  <a:gd name="T52" fmla="*/ 119 w 451"/>
                  <a:gd name="T53" fmla="*/ 339 h 651"/>
                  <a:gd name="T54" fmla="*/ 127 w 451"/>
                  <a:gd name="T55" fmla="*/ 329 h 651"/>
                  <a:gd name="T56" fmla="*/ 136 w 451"/>
                  <a:gd name="T57" fmla="*/ 320 h 651"/>
                  <a:gd name="T58" fmla="*/ 146 w 451"/>
                  <a:gd name="T59" fmla="*/ 307 h 651"/>
                  <a:gd name="T60" fmla="*/ 157 w 451"/>
                  <a:gd name="T61" fmla="*/ 296 h 651"/>
                  <a:gd name="T62" fmla="*/ 165 w 451"/>
                  <a:gd name="T63" fmla="*/ 285 h 651"/>
                  <a:gd name="T64" fmla="*/ 174 w 451"/>
                  <a:gd name="T65" fmla="*/ 279 h 651"/>
                  <a:gd name="T66" fmla="*/ 187 w 451"/>
                  <a:gd name="T67" fmla="*/ 282 h 651"/>
                  <a:gd name="T68" fmla="*/ 203 w 451"/>
                  <a:gd name="T69" fmla="*/ 285 h 651"/>
                  <a:gd name="T70" fmla="*/ 252 w 451"/>
                  <a:gd name="T71" fmla="*/ 284 h 651"/>
                  <a:gd name="T72" fmla="*/ 276 w 451"/>
                  <a:gd name="T73" fmla="*/ 276 h 651"/>
                  <a:gd name="T74" fmla="*/ 290 w 451"/>
                  <a:gd name="T75" fmla="*/ 276 h 651"/>
                  <a:gd name="T76" fmla="*/ 323 w 451"/>
                  <a:gd name="T77" fmla="*/ 282 h 651"/>
                  <a:gd name="T78" fmla="*/ 315 w 451"/>
                  <a:gd name="T79" fmla="*/ 271 h 651"/>
                  <a:gd name="T80" fmla="*/ 307 w 451"/>
                  <a:gd name="T81" fmla="*/ 249 h 651"/>
                  <a:gd name="T82" fmla="*/ 296 w 451"/>
                  <a:gd name="T83" fmla="*/ 219 h 651"/>
                  <a:gd name="T84" fmla="*/ 296 w 451"/>
                  <a:gd name="T85" fmla="*/ 196 h 651"/>
                  <a:gd name="T86" fmla="*/ 315 w 451"/>
                  <a:gd name="T87" fmla="*/ 169 h 651"/>
                  <a:gd name="T88" fmla="*/ 326 w 451"/>
                  <a:gd name="T89" fmla="*/ 163 h 651"/>
                  <a:gd name="T90" fmla="*/ 333 w 451"/>
                  <a:gd name="T91" fmla="*/ 154 h 651"/>
                  <a:gd name="T92" fmla="*/ 340 w 451"/>
                  <a:gd name="T93" fmla="*/ 141 h 651"/>
                  <a:gd name="T94" fmla="*/ 348 w 451"/>
                  <a:gd name="T95" fmla="*/ 130 h 651"/>
                  <a:gd name="T96" fmla="*/ 358 w 451"/>
                  <a:gd name="T97" fmla="*/ 117 h 651"/>
                  <a:gd name="T98" fmla="*/ 367 w 451"/>
                  <a:gd name="T99" fmla="*/ 106 h 651"/>
                  <a:gd name="T100" fmla="*/ 375 w 451"/>
                  <a:gd name="T101" fmla="*/ 93 h 651"/>
                  <a:gd name="T102" fmla="*/ 383 w 451"/>
                  <a:gd name="T103" fmla="*/ 82 h 651"/>
                  <a:gd name="T104" fmla="*/ 391 w 451"/>
                  <a:gd name="T105" fmla="*/ 70 h 651"/>
                  <a:gd name="T106" fmla="*/ 399 w 451"/>
                  <a:gd name="T107" fmla="*/ 59 h 651"/>
                  <a:gd name="T108" fmla="*/ 407 w 451"/>
                  <a:gd name="T109" fmla="*/ 46 h 651"/>
                  <a:gd name="T110" fmla="*/ 415 w 451"/>
                  <a:gd name="T111" fmla="*/ 36 h 651"/>
                  <a:gd name="T112" fmla="*/ 424 w 451"/>
                  <a:gd name="T113" fmla="*/ 21 h 651"/>
                  <a:gd name="T114" fmla="*/ 432 w 451"/>
                  <a:gd name="T115" fmla="*/ 11 h 651"/>
                  <a:gd name="T116" fmla="*/ 440 w 451"/>
                  <a:gd name="T117" fmla="*/ 2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1" h="651">
                    <a:moveTo>
                      <a:pt x="239" y="583"/>
                    </a:moveTo>
                    <a:lnTo>
                      <a:pt x="233" y="583"/>
                    </a:lnTo>
                    <a:lnTo>
                      <a:pt x="230" y="583"/>
                    </a:lnTo>
                    <a:lnTo>
                      <a:pt x="226" y="580"/>
                    </a:lnTo>
                    <a:lnTo>
                      <a:pt x="222" y="578"/>
                    </a:lnTo>
                    <a:lnTo>
                      <a:pt x="222" y="580"/>
                    </a:lnTo>
                    <a:lnTo>
                      <a:pt x="222" y="584"/>
                    </a:lnTo>
                    <a:lnTo>
                      <a:pt x="222" y="588"/>
                    </a:lnTo>
                    <a:lnTo>
                      <a:pt x="223" y="592"/>
                    </a:lnTo>
                    <a:lnTo>
                      <a:pt x="222" y="597"/>
                    </a:lnTo>
                    <a:lnTo>
                      <a:pt x="219" y="599"/>
                    </a:lnTo>
                    <a:lnTo>
                      <a:pt x="217" y="599"/>
                    </a:lnTo>
                    <a:lnTo>
                      <a:pt x="214" y="599"/>
                    </a:lnTo>
                    <a:lnTo>
                      <a:pt x="212" y="597"/>
                    </a:lnTo>
                    <a:lnTo>
                      <a:pt x="207" y="596"/>
                    </a:lnTo>
                    <a:lnTo>
                      <a:pt x="201" y="596"/>
                    </a:lnTo>
                    <a:lnTo>
                      <a:pt x="198" y="597"/>
                    </a:lnTo>
                    <a:lnTo>
                      <a:pt x="193" y="597"/>
                    </a:lnTo>
                    <a:lnTo>
                      <a:pt x="190" y="597"/>
                    </a:lnTo>
                    <a:lnTo>
                      <a:pt x="187" y="600"/>
                    </a:lnTo>
                    <a:lnTo>
                      <a:pt x="187" y="602"/>
                    </a:lnTo>
                    <a:lnTo>
                      <a:pt x="187" y="605"/>
                    </a:lnTo>
                    <a:lnTo>
                      <a:pt x="185" y="607"/>
                    </a:lnTo>
                    <a:lnTo>
                      <a:pt x="184" y="608"/>
                    </a:lnTo>
                    <a:lnTo>
                      <a:pt x="182" y="608"/>
                    </a:lnTo>
                    <a:lnTo>
                      <a:pt x="180" y="608"/>
                    </a:lnTo>
                    <a:lnTo>
                      <a:pt x="179" y="607"/>
                    </a:lnTo>
                    <a:lnTo>
                      <a:pt x="176" y="599"/>
                    </a:lnTo>
                    <a:lnTo>
                      <a:pt x="173" y="591"/>
                    </a:lnTo>
                    <a:lnTo>
                      <a:pt x="168" y="588"/>
                    </a:lnTo>
                    <a:lnTo>
                      <a:pt x="161" y="583"/>
                    </a:lnTo>
                    <a:lnTo>
                      <a:pt x="157" y="580"/>
                    </a:lnTo>
                    <a:lnTo>
                      <a:pt x="154" y="575"/>
                    </a:lnTo>
                    <a:lnTo>
                      <a:pt x="152" y="569"/>
                    </a:lnTo>
                    <a:lnTo>
                      <a:pt x="152" y="561"/>
                    </a:lnTo>
                    <a:lnTo>
                      <a:pt x="152" y="558"/>
                    </a:lnTo>
                    <a:lnTo>
                      <a:pt x="149" y="556"/>
                    </a:lnTo>
                    <a:lnTo>
                      <a:pt x="142" y="554"/>
                    </a:lnTo>
                    <a:lnTo>
                      <a:pt x="141" y="554"/>
                    </a:lnTo>
                    <a:lnTo>
                      <a:pt x="139" y="558"/>
                    </a:lnTo>
                    <a:lnTo>
                      <a:pt x="136" y="556"/>
                    </a:lnTo>
                    <a:lnTo>
                      <a:pt x="133" y="554"/>
                    </a:lnTo>
                    <a:lnTo>
                      <a:pt x="131" y="554"/>
                    </a:lnTo>
                    <a:lnTo>
                      <a:pt x="128" y="551"/>
                    </a:lnTo>
                    <a:lnTo>
                      <a:pt x="127" y="551"/>
                    </a:lnTo>
                    <a:lnTo>
                      <a:pt x="125" y="553"/>
                    </a:lnTo>
                    <a:lnTo>
                      <a:pt x="120" y="553"/>
                    </a:lnTo>
                    <a:lnTo>
                      <a:pt x="119" y="546"/>
                    </a:lnTo>
                    <a:lnTo>
                      <a:pt x="117" y="546"/>
                    </a:lnTo>
                    <a:lnTo>
                      <a:pt x="116" y="546"/>
                    </a:lnTo>
                    <a:lnTo>
                      <a:pt x="114" y="546"/>
                    </a:lnTo>
                    <a:lnTo>
                      <a:pt x="112" y="545"/>
                    </a:lnTo>
                    <a:lnTo>
                      <a:pt x="111" y="545"/>
                    </a:lnTo>
                    <a:lnTo>
                      <a:pt x="109" y="543"/>
                    </a:lnTo>
                    <a:lnTo>
                      <a:pt x="104" y="543"/>
                    </a:lnTo>
                    <a:lnTo>
                      <a:pt x="103" y="545"/>
                    </a:lnTo>
                    <a:lnTo>
                      <a:pt x="103" y="546"/>
                    </a:lnTo>
                    <a:lnTo>
                      <a:pt x="103" y="548"/>
                    </a:lnTo>
                    <a:lnTo>
                      <a:pt x="103" y="550"/>
                    </a:lnTo>
                    <a:lnTo>
                      <a:pt x="103" y="551"/>
                    </a:lnTo>
                    <a:lnTo>
                      <a:pt x="103" y="553"/>
                    </a:lnTo>
                    <a:lnTo>
                      <a:pt x="101" y="553"/>
                    </a:lnTo>
                    <a:lnTo>
                      <a:pt x="101" y="554"/>
                    </a:lnTo>
                    <a:lnTo>
                      <a:pt x="101" y="556"/>
                    </a:lnTo>
                    <a:lnTo>
                      <a:pt x="101" y="558"/>
                    </a:lnTo>
                    <a:lnTo>
                      <a:pt x="101" y="559"/>
                    </a:lnTo>
                    <a:lnTo>
                      <a:pt x="101" y="561"/>
                    </a:lnTo>
                    <a:lnTo>
                      <a:pt x="100" y="561"/>
                    </a:lnTo>
                    <a:lnTo>
                      <a:pt x="100" y="562"/>
                    </a:lnTo>
                    <a:lnTo>
                      <a:pt x="100" y="564"/>
                    </a:lnTo>
                    <a:lnTo>
                      <a:pt x="100" y="565"/>
                    </a:lnTo>
                    <a:lnTo>
                      <a:pt x="100" y="567"/>
                    </a:lnTo>
                    <a:lnTo>
                      <a:pt x="100" y="569"/>
                    </a:lnTo>
                    <a:lnTo>
                      <a:pt x="100" y="570"/>
                    </a:lnTo>
                    <a:lnTo>
                      <a:pt x="98" y="572"/>
                    </a:lnTo>
                    <a:lnTo>
                      <a:pt x="98" y="573"/>
                    </a:lnTo>
                    <a:lnTo>
                      <a:pt x="98" y="575"/>
                    </a:lnTo>
                    <a:lnTo>
                      <a:pt x="98" y="577"/>
                    </a:lnTo>
                    <a:lnTo>
                      <a:pt x="97" y="577"/>
                    </a:lnTo>
                    <a:lnTo>
                      <a:pt x="97" y="578"/>
                    </a:lnTo>
                    <a:lnTo>
                      <a:pt x="97" y="580"/>
                    </a:lnTo>
                    <a:lnTo>
                      <a:pt x="97" y="581"/>
                    </a:lnTo>
                    <a:lnTo>
                      <a:pt x="97" y="583"/>
                    </a:lnTo>
                    <a:lnTo>
                      <a:pt x="97" y="584"/>
                    </a:lnTo>
                    <a:lnTo>
                      <a:pt x="97" y="586"/>
                    </a:lnTo>
                    <a:lnTo>
                      <a:pt x="95" y="586"/>
                    </a:lnTo>
                    <a:lnTo>
                      <a:pt x="95" y="588"/>
                    </a:lnTo>
                    <a:lnTo>
                      <a:pt x="95" y="589"/>
                    </a:lnTo>
                    <a:lnTo>
                      <a:pt x="95" y="591"/>
                    </a:lnTo>
                    <a:lnTo>
                      <a:pt x="95" y="592"/>
                    </a:lnTo>
                    <a:lnTo>
                      <a:pt x="95" y="594"/>
                    </a:lnTo>
                    <a:lnTo>
                      <a:pt x="95" y="596"/>
                    </a:lnTo>
                    <a:lnTo>
                      <a:pt x="95" y="597"/>
                    </a:lnTo>
                    <a:lnTo>
                      <a:pt x="93" y="597"/>
                    </a:lnTo>
                    <a:lnTo>
                      <a:pt x="93" y="599"/>
                    </a:lnTo>
                    <a:lnTo>
                      <a:pt x="92" y="599"/>
                    </a:lnTo>
                    <a:lnTo>
                      <a:pt x="92" y="600"/>
                    </a:lnTo>
                    <a:lnTo>
                      <a:pt x="90" y="600"/>
                    </a:lnTo>
                    <a:lnTo>
                      <a:pt x="89" y="600"/>
                    </a:lnTo>
                    <a:lnTo>
                      <a:pt x="87" y="600"/>
                    </a:lnTo>
                    <a:lnTo>
                      <a:pt x="85" y="600"/>
                    </a:lnTo>
                    <a:lnTo>
                      <a:pt x="84" y="600"/>
                    </a:lnTo>
                    <a:lnTo>
                      <a:pt x="82" y="600"/>
                    </a:lnTo>
                    <a:lnTo>
                      <a:pt x="81" y="600"/>
                    </a:lnTo>
                    <a:lnTo>
                      <a:pt x="79" y="600"/>
                    </a:lnTo>
                    <a:lnTo>
                      <a:pt x="78" y="600"/>
                    </a:lnTo>
                    <a:lnTo>
                      <a:pt x="76" y="600"/>
                    </a:lnTo>
                    <a:lnTo>
                      <a:pt x="74" y="600"/>
                    </a:lnTo>
                    <a:lnTo>
                      <a:pt x="74" y="602"/>
                    </a:lnTo>
                    <a:lnTo>
                      <a:pt x="74" y="603"/>
                    </a:lnTo>
                    <a:lnTo>
                      <a:pt x="74" y="605"/>
                    </a:lnTo>
                    <a:lnTo>
                      <a:pt x="74" y="607"/>
                    </a:lnTo>
                    <a:lnTo>
                      <a:pt x="73" y="608"/>
                    </a:lnTo>
                    <a:lnTo>
                      <a:pt x="71" y="608"/>
                    </a:lnTo>
                    <a:lnTo>
                      <a:pt x="70" y="610"/>
                    </a:lnTo>
                    <a:lnTo>
                      <a:pt x="68" y="610"/>
                    </a:lnTo>
                    <a:lnTo>
                      <a:pt x="66" y="611"/>
                    </a:lnTo>
                    <a:lnTo>
                      <a:pt x="65" y="613"/>
                    </a:lnTo>
                    <a:lnTo>
                      <a:pt x="63" y="615"/>
                    </a:lnTo>
                    <a:lnTo>
                      <a:pt x="63" y="616"/>
                    </a:lnTo>
                    <a:lnTo>
                      <a:pt x="62" y="616"/>
                    </a:lnTo>
                    <a:lnTo>
                      <a:pt x="60" y="618"/>
                    </a:lnTo>
                    <a:lnTo>
                      <a:pt x="59" y="619"/>
                    </a:lnTo>
                    <a:lnTo>
                      <a:pt x="57" y="621"/>
                    </a:lnTo>
                    <a:lnTo>
                      <a:pt x="55" y="621"/>
                    </a:lnTo>
                    <a:lnTo>
                      <a:pt x="55" y="623"/>
                    </a:lnTo>
                    <a:lnTo>
                      <a:pt x="54" y="623"/>
                    </a:lnTo>
                    <a:lnTo>
                      <a:pt x="54" y="624"/>
                    </a:lnTo>
                    <a:lnTo>
                      <a:pt x="52" y="624"/>
                    </a:lnTo>
                    <a:lnTo>
                      <a:pt x="51" y="626"/>
                    </a:lnTo>
                    <a:lnTo>
                      <a:pt x="49" y="627"/>
                    </a:lnTo>
                    <a:lnTo>
                      <a:pt x="47" y="627"/>
                    </a:lnTo>
                    <a:lnTo>
                      <a:pt x="47" y="629"/>
                    </a:lnTo>
                    <a:lnTo>
                      <a:pt x="46" y="630"/>
                    </a:lnTo>
                    <a:lnTo>
                      <a:pt x="44" y="632"/>
                    </a:lnTo>
                    <a:lnTo>
                      <a:pt x="41" y="646"/>
                    </a:lnTo>
                    <a:lnTo>
                      <a:pt x="40" y="648"/>
                    </a:lnTo>
                    <a:lnTo>
                      <a:pt x="38" y="649"/>
                    </a:lnTo>
                    <a:lnTo>
                      <a:pt x="36" y="651"/>
                    </a:lnTo>
                    <a:lnTo>
                      <a:pt x="35" y="649"/>
                    </a:lnTo>
                    <a:lnTo>
                      <a:pt x="32" y="646"/>
                    </a:lnTo>
                    <a:lnTo>
                      <a:pt x="28" y="645"/>
                    </a:lnTo>
                    <a:lnTo>
                      <a:pt x="27" y="643"/>
                    </a:lnTo>
                    <a:lnTo>
                      <a:pt x="25" y="642"/>
                    </a:lnTo>
                    <a:lnTo>
                      <a:pt x="22" y="640"/>
                    </a:lnTo>
                    <a:lnTo>
                      <a:pt x="21" y="637"/>
                    </a:lnTo>
                    <a:lnTo>
                      <a:pt x="17" y="635"/>
                    </a:lnTo>
                    <a:lnTo>
                      <a:pt x="16" y="634"/>
                    </a:lnTo>
                    <a:lnTo>
                      <a:pt x="17" y="634"/>
                    </a:lnTo>
                    <a:lnTo>
                      <a:pt x="19" y="634"/>
                    </a:lnTo>
                    <a:lnTo>
                      <a:pt x="19" y="632"/>
                    </a:lnTo>
                    <a:lnTo>
                      <a:pt x="19" y="630"/>
                    </a:lnTo>
                    <a:lnTo>
                      <a:pt x="17" y="630"/>
                    </a:lnTo>
                    <a:lnTo>
                      <a:pt x="17" y="629"/>
                    </a:lnTo>
                    <a:lnTo>
                      <a:pt x="17" y="630"/>
                    </a:lnTo>
                    <a:lnTo>
                      <a:pt x="16" y="629"/>
                    </a:lnTo>
                    <a:lnTo>
                      <a:pt x="14" y="627"/>
                    </a:lnTo>
                    <a:lnTo>
                      <a:pt x="13" y="626"/>
                    </a:lnTo>
                    <a:lnTo>
                      <a:pt x="13" y="624"/>
                    </a:lnTo>
                    <a:lnTo>
                      <a:pt x="14" y="623"/>
                    </a:lnTo>
                    <a:lnTo>
                      <a:pt x="14" y="621"/>
                    </a:lnTo>
                    <a:lnTo>
                      <a:pt x="16" y="621"/>
                    </a:lnTo>
                    <a:lnTo>
                      <a:pt x="16" y="619"/>
                    </a:lnTo>
                    <a:lnTo>
                      <a:pt x="17" y="618"/>
                    </a:lnTo>
                    <a:lnTo>
                      <a:pt x="19" y="616"/>
                    </a:lnTo>
                    <a:lnTo>
                      <a:pt x="19" y="615"/>
                    </a:lnTo>
                    <a:lnTo>
                      <a:pt x="25" y="611"/>
                    </a:lnTo>
                    <a:lnTo>
                      <a:pt x="24" y="610"/>
                    </a:lnTo>
                    <a:lnTo>
                      <a:pt x="22" y="610"/>
                    </a:lnTo>
                    <a:lnTo>
                      <a:pt x="21" y="610"/>
                    </a:lnTo>
                    <a:lnTo>
                      <a:pt x="19" y="610"/>
                    </a:lnTo>
                    <a:lnTo>
                      <a:pt x="17" y="608"/>
                    </a:lnTo>
                    <a:lnTo>
                      <a:pt x="16" y="608"/>
                    </a:lnTo>
                    <a:lnTo>
                      <a:pt x="14" y="608"/>
                    </a:lnTo>
                    <a:lnTo>
                      <a:pt x="13" y="608"/>
                    </a:lnTo>
                    <a:lnTo>
                      <a:pt x="11" y="608"/>
                    </a:lnTo>
                    <a:lnTo>
                      <a:pt x="9" y="608"/>
                    </a:lnTo>
                    <a:lnTo>
                      <a:pt x="8" y="608"/>
                    </a:lnTo>
                    <a:lnTo>
                      <a:pt x="6" y="608"/>
                    </a:lnTo>
                    <a:lnTo>
                      <a:pt x="5" y="608"/>
                    </a:lnTo>
                    <a:lnTo>
                      <a:pt x="5" y="607"/>
                    </a:lnTo>
                    <a:lnTo>
                      <a:pt x="3" y="607"/>
                    </a:lnTo>
                    <a:lnTo>
                      <a:pt x="3" y="605"/>
                    </a:lnTo>
                    <a:lnTo>
                      <a:pt x="3" y="603"/>
                    </a:lnTo>
                    <a:lnTo>
                      <a:pt x="5" y="603"/>
                    </a:lnTo>
                    <a:lnTo>
                      <a:pt x="5" y="602"/>
                    </a:lnTo>
                    <a:lnTo>
                      <a:pt x="5" y="600"/>
                    </a:lnTo>
                    <a:lnTo>
                      <a:pt x="5" y="599"/>
                    </a:lnTo>
                    <a:lnTo>
                      <a:pt x="3" y="599"/>
                    </a:lnTo>
                    <a:lnTo>
                      <a:pt x="3" y="597"/>
                    </a:lnTo>
                    <a:lnTo>
                      <a:pt x="3" y="596"/>
                    </a:lnTo>
                    <a:lnTo>
                      <a:pt x="3" y="594"/>
                    </a:lnTo>
                    <a:lnTo>
                      <a:pt x="3" y="592"/>
                    </a:lnTo>
                    <a:lnTo>
                      <a:pt x="5" y="591"/>
                    </a:lnTo>
                    <a:lnTo>
                      <a:pt x="3" y="591"/>
                    </a:lnTo>
                    <a:lnTo>
                      <a:pt x="3" y="589"/>
                    </a:lnTo>
                    <a:lnTo>
                      <a:pt x="3" y="588"/>
                    </a:lnTo>
                    <a:lnTo>
                      <a:pt x="1" y="588"/>
                    </a:lnTo>
                    <a:lnTo>
                      <a:pt x="1" y="586"/>
                    </a:lnTo>
                    <a:lnTo>
                      <a:pt x="1" y="584"/>
                    </a:lnTo>
                    <a:lnTo>
                      <a:pt x="1" y="583"/>
                    </a:lnTo>
                    <a:lnTo>
                      <a:pt x="0" y="583"/>
                    </a:lnTo>
                    <a:lnTo>
                      <a:pt x="0" y="581"/>
                    </a:lnTo>
                    <a:lnTo>
                      <a:pt x="0" y="580"/>
                    </a:lnTo>
                    <a:lnTo>
                      <a:pt x="0" y="578"/>
                    </a:lnTo>
                    <a:lnTo>
                      <a:pt x="0" y="577"/>
                    </a:lnTo>
                    <a:lnTo>
                      <a:pt x="0" y="575"/>
                    </a:lnTo>
                    <a:lnTo>
                      <a:pt x="0" y="573"/>
                    </a:lnTo>
                    <a:lnTo>
                      <a:pt x="0" y="570"/>
                    </a:lnTo>
                    <a:lnTo>
                      <a:pt x="27" y="551"/>
                    </a:lnTo>
                    <a:lnTo>
                      <a:pt x="33" y="545"/>
                    </a:lnTo>
                    <a:lnTo>
                      <a:pt x="35" y="545"/>
                    </a:lnTo>
                    <a:lnTo>
                      <a:pt x="41" y="540"/>
                    </a:lnTo>
                    <a:lnTo>
                      <a:pt x="44" y="539"/>
                    </a:lnTo>
                    <a:lnTo>
                      <a:pt x="46" y="537"/>
                    </a:lnTo>
                    <a:lnTo>
                      <a:pt x="46" y="535"/>
                    </a:lnTo>
                    <a:lnTo>
                      <a:pt x="47" y="526"/>
                    </a:lnTo>
                    <a:lnTo>
                      <a:pt x="47" y="524"/>
                    </a:lnTo>
                    <a:lnTo>
                      <a:pt x="49" y="520"/>
                    </a:lnTo>
                    <a:lnTo>
                      <a:pt x="51" y="512"/>
                    </a:lnTo>
                    <a:lnTo>
                      <a:pt x="52" y="502"/>
                    </a:lnTo>
                    <a:lnTo>
                      <a:pt x="54" y="497"/>
                    </a:lnTo>
                    <a:lnTo>
                      <a:pt x="55" y="493"/>
                    </a:lnTo>
                    <a:lnTo>
                      <a:pt x="55" y="488"/>
                    </a:lnTo>
                    <a:lnTo>
                      <a:pt x="57" y="486"/>
                    </a:lnTo>
                    <a:lnTo>
                      <a:pt x="59" y="478"/>
                    </a:lnTo>
                    <a:lnTo>
                      <a:pt x="62" y="470"/>
                    </a:lnTo>
                    <a:lnTo>
                      <a:pt x="63" y="467"/>
                    </a:lnTo>
                    <a:lnTo>
                      <a:pt x="65" y="464"/>
                    </a:lnTo>
                    <a:lnTo>
                      <a:pt x="70" y="459"/>
                    </a:lnTo>
                    <a:lnTo>
                      <a:pt x="71" y="458"/>
                    </a:lnTo>
                    <a:lnTo>
                      <a:pt x="74" y="455"/>
                    </a:lnTo>
                    <a:lnTo>
                      <a:pt x="78" y="450"/>
                    </a:lnTo>
                    <a:lnTo>
                      <a:pt x="79" y="448"/>
                    </a:lnTo>
                    <a:lnTo>
                      <a:pt x="82" y="444"/>
                    </a:lnTo>
                    <a:lnTo>
                      <a:pt x="84" y="444"/>
                    </a:lnTo>
                    <a:lnTo>
                      <a:pt x="85" y="440"/>
                    </a:lnTo>
                    <a:lnTo>
                      <a:pt x="89" y="437"/>
                    </a:lnTo>
                    <a:lnTo>
                      <a:pt x="90" y="434"/>
                    </a:lnTo>
                    <a:lnTo>
                      <a:pt x="92" y="432"/>
                    </a:lnTo>
                    <a:lnTo>
                      <a:pt x="95" y="421"/>
                    </a:lnTo>
                    <a:lnTo>
                      <a:pt x="97" y="417"/>
                    </a:lnTo>
                    <a:lnTo>
                      <a:pt x="97" y="413"/>
                    </a:lnTo>
                    <a:lnTo>
                      <a:pt x="104" y="383"/>
                    </a:lnTo>
                    <a:lnTo>
                      <a:pt x="106" y="380"/>
                    </a:lnTo>
                    <a:lnTo>
                      <a:pt x="106" y="379"/>
                    </a:lnTo>
                    <a:lnTo>
                      <a:pt x="108" y="372"/>
                    </a:lnTo>
                    <a:lnTo>
                      <a:pt x="108" y="371"/>
                    </a:lnTo>
                    <a:lnTo>
                      <a:pt x="108" y="369"/>
                    </a:lnTo>
                    <a:lnTo>
                      <a:pt x="104" y="366"/>
                    </a:lnTo>
                    <a:lnTo>
                      <a:pt x="100" y="360"/>
                    </a:lnTo>
                    <a:lnTo>
                      <a:pt x="103" y="358"/>
                    </a:lnTo>
                    <a:lnTo>
                      <a:pt x="104" y="356"/>
                    </a:lnTo>
                    <a:lnTo>
                      <a:pt x="104" y="355"/>
                    </a:lnTo>
                    <a:lnTo>
                      <a:pt x="106" y="355"/>
                    </a:lnTo>
                    <a:lnTo>
                      <a:pt x="106" y="353"/>
                    </a:lnTo>
                    <a:lnTo>
                      <a:pt x="108" y="353"/>
                    </a:lnTo>
                    <a:lnTo>
                      <a:pt x="108" y="352"/>
                    </a:lnTo>
                    <a:lnTo>
                      <a:pt x="109" y="352"/>
                    </a:lnTo>
                    <a:lnTo>
                      <a:pt x="109" y="350"/>
                    </a:lnTo>
                    <a:lnTo>
                      <a:pt x="111" y="348"/>
                    </a:lnTo>
                    <a:lnTo>
                      <a:pt x="112" y="347"/>
                    </a:lnTo>
                    <a:lnTo>
                      <a:pt x="112" y="345"/>
                    </a:lnTo>
                    <a:lnTo>
                      <a:pt x="114" y="345"/>
                    </a:lnTo>
                    <a:lnTo>
                      <a:pt x="114" y="344"/>
                    </a:lnTo>
                    <a:lnTo>
                      <a:pt x="116" y="344"/>
                    </a:lnTo>
                    <a:lnTo>
                      <a:pt x="116" y="342"/>
                    </a:lnTo>
                    <a:lnTo>
                      <a:pt x="117" y="341"/>
                    </a:lnTo>
                    <a:lnTo>
                      <a:pt x="117" y="339"/>
                    </a:lnTo>
                    <a:lnTo>
                      <a:pt x="119" y="339"/>
                    </a:lnTo>
                    <a:lnTo>
                      <a:pt x="119" y="337"/>
                    </a:lnTo>
                    <a:lnTo>
                      <a:pt x="120" y="337"/>
                    </a:lnTo>
                    <a:lnTo>
                      <a:pt x="120" y="336"/>
                    </a:lnTo>
                    <a:lnTo>
                      <a:pt x="122" y="336"/>
                    </a:lnTo>
                    <a:lnTo>
                      <a:pt x="122" y="334"/>
                    </a:lnTo>
                    <a:lnTo>
                      <a:pt x="123" y="334"/>
                    </a:lnTo>
                    <a:lnTo>
                      <a:pt x="123" y="333"/>
                    </a:lnTo>
                    <a:lnTo>
                      <a:pt x="125" y="331"/>
                    </a:lnTo>
                    <a:lnTo>
                      <a:pt x="127" y="331"/>
                    </a:lnTo>
                    <a:lnTo>
                      <a:pt x="127" y="329"/>
                    </a:lnTo>
                    <a:lnTo>
                      <a:pt x="128" y="328"/>
                    </a:lnTo>
                    <a:lnTo>
                      <a:pt x="128" y="326"/>
                    </a:lnTo>
                    <a:lnTo>
                      <a:pt x="130" y="326"/>
                    </a:lnTo>
                    <a:lnTo>
                      <a:pt x="130" y="325"/>
                    </a:lnTo>
                    <a:lnTo>
                      <a:pt x="131" y="323"/>
                    </a:lnTo>
                    <a:lnTo>
                      <a:pt x="133" y="323"/>
                    </a:lnTo>
                    <a:lnTo>
                      <a:pt x="133" y="322"/>
                    </a:lnTo>
                    <a:lnTo>
                      <a:pt x="135" y="322"/>
                    </a:lnTo>
                    <a:lnTo>
                      <a:pt x="135" y="320"/>
                    </a:lnTo>
                    <a:lnTo>
                      <a:pt x="136" y="320"/>
                    </a:lnTo>
                    <a:lnTo>
                      <a:pt x="136" y="318"/>
                    </a:lnTo>
                    <a:lnTo>
                      <a:pt x="138" y="317"/>
                    </a:lnTo>
                    <a:lnTo>
                      <a:pt x="139" y="315"/>
                    </a:lnTo>
                    <a:lnTo>
                      <a:pt x="139" y="314"/>
                    </a:lnTo>
                    <a:lnTo>
                      <a:pt x="141" y="314"/>
                    </a:lnTo>
                    <a:lnTo>
                      <a:pt x="142" y="312"/>
                    </a:lnTo>
                    <a:lnTo>
                      <a:pt x="142" y="310"/>
                    </a:lnTo>
                    <a:lnTo>
                      <a:pt x="144" y="310"/>
                    </a:lnTo>
                    <a:lnTo>
                      <a:pt x="144" y="309"/>
                    </a:lnTo>
                    <a:lnTo>
                      <a:pt x="146" y="307"/>
                    </a:lnTo>
                    <a:lnTo>
                      <a:pt x="147" y="307"/>
                    </a:lnTo>
                    <a:lnTo>
                      <a:pt x="147" y="306"/>
                    </a:lnTo>
                    <a:lnTo>
                      <a:pt x="149" y="306"/>
                    </a:lnTo>
                    <a:lnTo>
                      <a:pt x="149" y="304"/>
                    </a:lnTo>
                    <a:lnTo>
                      <a:pt x="150" y="303"/>
                    </a:lnTo>
                    <a:lnTo>
                      <a:pt x="152" y="301"/>
                    </a:lnTo>
                    <a:lnTo>
                      <a:pt x="154" y="299"/>
                    </a:lnTo>
                    <a:lnTo>
                      <a:pt x="155" y="298"/>
                    </a:lnTo>
                    <a:lnTo>
                      <a:pt x="155" y="296"/>
                    </a:lnTo>
                    <a:lnTo>
                      <a:pt x="157" y="296"/>
                    </a:lnTo>
                    <a:lnTo>
                      <a:pt x="157" y="295"/>
                    </a:lnTo>
                    <a:lnTo>
                      <a:pt x="158" y="295"/>
                    </a:lnTo>
                    <a:lnTo>
                      <a:pt x="158" y="293"/>
                    </a:lnTo>
                    <a:lnTo>
                      <a:pt x="160" y="291"/>
                    </a:lnTo>
                    <a:lnTo>
                      <a:pt x="161" y="291"/>
                    </a:lnTo>
                    <a:lnTo>
                      <a:pt x="161" y="290"/>
                    </a:lnTo>
                    <a:lnTo>
                      <a:pt x="163" y="288"/>
                    </a:lnTo>
                    <a:lnTo>
                      <a:pt x="163" y="287"/>
                    </a:lnTo>
                    <a:lnTo>
                      <a:pt x="165" y="287"/>
                    </a:lnTo>
                    <a:lnTo>
                      <a:pt x="165" y="285"/>
                    </a:lnTo>
                    <a:lnTo>
                      <a:pt x="166" y="285"/>
                    </a:lnTo>
                    <a:lnTo>
                      <a:pt x="166" y="284"/>
                    </a:lnTo>
                    <a:lnTo>
                      <a:pt x="168" y="284"/>
                    </a:lnTo>
                    <a:lnTo>
                      <a:pt x="168" y="282"/>
                    </a:lnTo>
                    <a:lnTo>
                      <a:pt x="169" y="282"/>
                    </a:lnTo>
                    <a:lnTo>
                      <a:pt x="169" y="280"/>
                    </a:lnTo>
                    <a:lnTo>
                      <a:pt x="171" y="280"/>
                    </a:lnTo>
                    <a:lnTo>
                      <a:pt x="171" y="279"/>
                    </a:lnTo>
                    <a:lnTo>
                      <a:pt x="173" y="279"/>
                    </a:lnTo>
                    <a:lnTo>
                      <a:pt x="174" y="279"/>
                    </a:lnTo>
                    <a:lnTo>
                      <a:pt x="176" y="279"/>
                    </a:lnTo>
                    <a:lnTo>
                      <a:pt x="177" y="279"/>
                    </a:lnTo>
                    <a:lnTo>
                      <a:pt x="179" y="279"/>
                    </a:lnTo>
                    <a:lnTo>
                      <a:pt x="179" y="280"/>
                    </a:lnTo>
                    <a:lnTo>
                      <a:pt x="180" y="280"/>
                    </a:lnTo>
                    <a:lnTo>
                      <a:pt x="182" y="280"/>
                    </a:lnTo>
                    <a:lnTo>
                      <a:pt x="184" y="280"/>
                    </a:lnTo>
                    <a:lnTo>
                      <a:pt x="185" y="280"/>
                    </a:lnTo>
                    <a:lnTo>
                      <a:pt x="185" y="282"/>
                    </a:lnTo>
                    <a:lnTo>
                      <a:pt x="187" y="282"/>
                    </a:lnTo>
                    <a:lnTo>
                      <a:pt x="188" y="282"/>
                    </a:lnTo>
                    <a:lnTo>
                      <a:pt x="190" y="282"/>
                    </a:lnTo>
                    <a:lnTo>
                      <a:pt x="192" y="282"/>
                    </a:lnTo>
                    <a:lnTo>
                      <a:pt x="193" y="284"/>
                    </a:lnTo>
                    <a:lnTo>
                      <a:pt x="195" y="284"/>
                    </a:lnTo>
                    <a:lnTo>
                      <a:pt x="196" y="284"/>
                    </a:lnTo>
                    <a:lnTo>
                      <a:pt x="198" y="284"/>
                    </a:lnTo>
                    <a:lnTo>
                      <a:pt x="200" y="284"/>
                    </a:lnTo>
                    <a:lnTo>
                      <a:pt x="201" y="285"/>
                    </a:lnTo>
                    <a:lnTo>
                      <a:pt x="203" y="285"/>
                    </a:lnTo>
                    <a:lnTo>
                      <a:pt x="204" y="285"/>
                    </a:lnTo>
                    <a:lnTo>
                      <a:pt x="206" y="285"/>
                    </a:lnTo>
                    <a:lnTo>
                      <a:pt x="207" y="285"/>
                    </a:lnTo>
                    <a:lnTo>
                      <a:pt x="207" y="288"/>
                    </a:lnTo>
                    <a:lnTo>
                      <a:pt x="212" y="290"/>
                    </a:lnTo>
                    <a:lnTo>
                      <a:pt x="219" y="290"/>
                    </a:lnTo>
                    <a:lnTo>
                      <a:pt x="230" y="288"/>
                    </a:lnTo>
                    <a:lnTo>
                      <a:pt x="241" y="287"/>
                    </a:lnTo>
                    <a:lnTo>
                      <a:pt x="247" y="285"/>
                    </a:lnTo>
                    <a:lnTo>
                      <a:pt x="252" y="284"/>
                    </a:lnTo>
                    <a:lnTo>
                      <a:pt x="264" y="279"/>
                    </a:lnTo>
                    <a:lnTo>
                      <a:pt x="266" y="279"/>
                    </a:lnTo>
                    <a:lnTo>
                      <a:pt x="268" y="279"/>
                    </a:lnTo>
                    <a:lnTo>
                      <a:pt x="268" y="280"/>
                    </a:lnTo>
                    <a:lnTo>
                      <a:pt x="269" y="280"/>
                    </a:lnTo>
                    <a:lnTo>
                      <a:pt x="271" y="279"/>
                    </a:lnTo>
                    <a:lnTo>
                      <a:pt x="272" y="279"/>
                    </a:lnTo>
                    <a:lnTo>
                      <a:pt x="272" y="277"/>
                    </a:lnTo>
                    <a:lnTo>
                      <a:pt x="274" y="277"/>
                    </a:lnTo>
                    <a:lnTo>
                      <a:pt x="276" y="276"/>
                    </a:lnTo>
                    <a:lnTo>
                      <a:pt x="277" y="276"/>
                    </a:lnTo>
                    <a:lnTo>
                      <a:pt x="279" y="277"/>
                    </a:lnTo>
                    <a:lnTo>
                      <a:pt x="280" y="277"/>
                    </a:lnTo>
                    <a:lnTo>
                      <a:pt x="280" y="276"/>
                    </a:lnTo>
                    <a:lnTo>
                      <a:pt x="282" y="274"/>
                    </a:lnTo>
                    <a:lnTo>
                      <a:pt x="283" y="276"/>
                    </a:lnTo>
                    <a:lnTo>
                      <a:pt x="285" y="276"/>
                    </a:lnTo>
                    <a:lnTo>
                      <a:pt x="287" y="276"/>
                    </a:lnTo>
                    <a:lnTo>
                      <a:pt x="288" y="276"/>
                    </a:lnTo>
                    <a:lnTo>
                      <a:pt x="290" y="276"/>
                    </a:lnTo>
                    <a:lnTo>
                      <a:pt x="290" y="277"/>
                    </a:lnTo>
                    <a:lnTo>
                      <a:pt x="291" y="279"/>
                    </a:lnTo>
                    <a:lnTo>
                      <a:pt x="298" y="285"/>
                    </a:lnTo>
                    <a:lnTo>
                      <a:pt x="304" y="287"/>
                    </a:lnTo>
                    <a:lnTo>
                      <a:pt x="314" y="287"/>
                    </a:lnTo>
                    <a:lnTo>
                      <a:pt x="318" y="288"/>
                    </a:lnTo>
                    <a:lnTo>
                      <a:pt x="321" y="288"/>
                    </a:lnTo>
                    <a:lnTo>
                      <a:pt x="325" y="287"/>
                    </a:lnTo>
                    <a:lnTo>
                      <a:pt x="323" y="284"/>
                    </a:lnTo>
                    <a:lnTo>
                      <a:pt x="323" y="282"/>
                    </a:lnTo>
                    <a:lnTo>
                      <a:pt x="321" y="282"/>
                    </a:lnTo>
                    <a:lnTo>
                      <a:pt x="321" y="280"/>
                    </a:lnTo>
                    <a:lnTo>
                      <a:pt x="320" y="280"/>
                    </a:lnTo>
                    <a:lnTo>
                      <a:pt x="320" y="279"/>
                    </a:lnTo>
                    <a:lnTo>
                      <a:pt x="320" y="277"/>
                    </a:lnTo>
                    <a:lnTo>
                      <a:pt x="318" y="276"/>
                    </a:lnTo>
                    <a:lnTo>
                      <a:pt x="318" y="274"/>
                    </a:lnTo>
                    <a:lnTo>
                      <a:pt x="317" y="274"/>
                    </a:lnTo>
                    <a:lnTo>
                      <a:pt x="317" y="272"/>
                    </a:lnTo>
                    <a:lnTo>
                      <a:pt x="315" y="271"/>
                    </a:lnTo>
                    <a:lnTo>
                      <a:pt x="315" y="269"/>
                    </a:lnTo>
                    <a:lnTo>
                      <a:pt x="312" y="266"/>
                    </a:lnTo>
                    <a:lnTo>
                      <a:pt x="310" y="261"/>
                    </a:lnTo>
                    <a:lnTo>
                      <a:pt x="309" y="261"/>
                    </a:lnTo>
                    <a:lnTo>
                      <a:pt x="309" y="260"/>
                    </a:lnTo>
                    <a:lnTo>
                      <a:pt x="307" y="257"/>
                    </a:lnTo>
                    <a:lnTo>
                      <a:pt x="307" y="255"/>
                    </a:lnTo>
                    <a:lnTo>
                      <a:pt x="307" y="252"/>
                    </a:lnTo>
                    <a:lnTo>
                      <a:pt x="307" y="250"/>
                    </a:lnTo>
                    <a:lnTo>
                      <a:pt x="307" y="249"/>
                    </a:lnTo>
                    <a:lnTo>
                      <a:pt x="307" y="247"/>
                    </a:lnTo>
                    <a:lnTo>
                      <a:pt x="306" y="246"/>
                    </a:lnTo>
                    <a:lnTo>
                      <a:pt x="306" y="244"/>
                    </a:lnTo>
                    <a:lnTo>
                      <a:pt x="298" y="238"/>
                    </a:lnTo>
                    <a:lnTo>
                      <a:pt x="296" y="234"/>
                    </a:lnTo>
                    <a:lnTo>
                      <a:pt x="296" y="231"/>
                    </a:lnTo>
                    <a:lnTo>
                      <a:pt x="295" y="226"/>
                    </a:lnTo>
                    <a:lnTo>
                      <a:pt x="296" y="222"/>
                    </a:lnTo>
                    <a:lnTo>
                      <a:pt x="296" y="220"/>
                    </a:lnTo>
                    <a:lnTo>
                      <a:pt x="296" y="219"/>
                    </a:lnTo>
                    <a:lnTo>
                      <a:pt x="296" y="217"/>
                    </a:lnTo>
                    <a:lnTo>
                      <a:pt x="296" y="215"/>
                    </a:lnTo>
                    <a:lnTo>
                      <a:pt x="296" y="214"/>
                    </a:lnTo>
                    <a:lnTo>
                      <a:pt x="295" y="212"/>
                    </a:lnTo>
                    <a:lnTo>
                      <a:pt x="295" y="211"/>
                    </a:lnTo>
                    <a:lnTo>
                      <a:pt x="295" y="207"/>
                    </a:lnTo>
                    <a:lnTo>
                      <a:pt x="295" y="206"/>
                    </a:lnTo>
                    <a:lnTo>
                      <a:pt x="295" y="203"/>
                    </a:lnTo>
                    <a:lnTo>
                      <a:pt x="296" y="198"/>
                    </a:lnTo>
                    <a:lnTo>
                      <a:pt x="296" y="196"/>
                    </a:lnTo>
                    <a:lnTo>
                      <a:pt x="296" y="192"/>
                    </a:lnTo>
                    <a:lnTo>
                      <a:pt x="298" y="190"/>
                    </a:lnTo>
                    <a:lnTo>
                      <a:pt x="298" y="187"/>
                    </a:lnTo>
                    <a:lnTo>
                      <a:pt x="299" y="184"/>
                    </a:lnTo>
                    <a:lnTo>
                      <a:pt x="304" y="176"/>
                    </a:lnTo>
                    <a:lnTo>
                      <a:pt x="307" y="173"/>
                    </a:lnTo>
                    <a:lnTo>
                      <a:pt x="312" y="171"/>
                    </a:lnTo>
                    <a:lnTo>
                      <a:pt x="314" y="171"/>
                    </a:lnTo>
                    <a:lnTo>
                      <a:pt x="315" y="171"/>
                    </a:lnTo>
                    <a:lnTo>
                      <a:pt x="315" y="169"/>
                    </a:lnTo>
                    <a:lnTo>
                      <a:pt x="317" y="169"/>
                    </a:lnTo>
                    <a:lnTo>
                      <a:pt x="318" y="169"/>
                    </a:lnTo>
                    <a:lnTo>
                      <a:pt x="318" y="168"/>
                    </a:lnTo>
                    <a:lnTo>
                      <a:pt x="320" y="168"/>
                    </a:lnTo>
                    <a:lnTo>
                      <a:pt x="320" y="166"/>
                    </a:lnTo>
                    <a:lnTo>
                      <a:pt x="321" y="166"/>
                    </a:lnTo>
                    <a:lnTo>
                      <a:pt x="323" y="165"/>
                    </a:lnTo>
                    <a:lnTo>
                      <a:pt x="325" y="165"/>
                    </a:lnTo>
                    <a:lnTo>
                      <a:pt x="325" y="163"/>
                    </a:lnTo>
                    <a:lnTo>
                      <a:pt x="326" y="163"/>
                    </a:lnTo>
                    <a:lnTo>
                      <a:pt x="326" y="162"/>
                    </a:lnTo>
                    <a:lnTo>
                      <a:pt x="328" y="162"/>
                    </a:lnTo>
                    <a:lnTo>
                      <a:pt x="328" y="160"/>
                    </a:lnTo>
                    <a:lnTo>
                      <a:pt x="328" y="158"/>
                    </a:lnTo>
                    <a:lnTo>
                      <a:pt x="329" y="158"/>
                    </a:lnTo>
                    <a:lnTo>
                      <a:pt x="329" y="157"/>
                    </a:lnTo>
                    <a:lnTo>
                      <a:pt x="331" y="157"/>
                    </a:lnTo>
                    <a:lnTo>
                      <a:pt x="331" y="155"/>
                    </a:lnTo>
                    <a:lnTo>
                      <a:pt x="331" y="154"/>
                    </a:lnTo>
                    <a:lnTo>
                      <a:pt x="333" y="154"/>
                    </a:lnTo>
                    <a:lnTo>
                      <a:pt x="333" y="152"/>
                    </a:lnTo>
                    <a:lnTo>
                      <a:pt x="334" y="150"/>
                    </a:lnTo>
                    <a:lnTo>
                      <a:pt x="334" y="149"/>
                    </a:lnTo>
                    <a:lnTo>
                      <a:pt x="336" y="147"/>
                    </a:lnTo>
                    <a:lnTo>
                      <a:pt x="336" y="146"/>
                    </a:lnTo>
                    <a:lnTo>
                      <a:pt x="337" y="146"/>
                    </a:lnTo>
                    <a:lnTo>
                      <a:pt x="337" y="144"/>
                    </a:lnTo>
                    <a:lnTo>
                      <a:pt x="339" y="143"/>
                    </a:lnTo>
                    <a:lnTo>
                      <a:pt x="339" y="141"/>
                    </a:lnTo>
                    <a:lnTo>
                      <a:pt x="340" y="141"/>
                    </a:lnTo>
                    <a:lnTo>
                      <a:pt x="340" y="139"/>
                    </a:lnTo>
                    <a:lnTo>
                      <a:pt x="342" y="139"/>
                    </a:lnTo>
                    <a:lnTo>
                      <a:pt x="342" y="138"/>
                    </a:lnTo>
                    <a:lnTo>
                      <a:pt x="344" y="136"/>
                    </a:lnTo>
                    <a:lnTo>
                      <a:pt x="344" y="135"/>
                    </a:lnTo>
                    <a:lnTo>
                      <a:pt x="345" y="135"/>
                    </a:lnTo>
                    <a:lnTo>
                      <a:pt x="345" y="133"/>
                    </a:lnTo>
                    <a:lnTo>
                      <a:pt x="347" y="131"/>
                    </a:lnTo>
                    <a:lnTo>
                      <a:pt x="347" y="130"/>
                    </a:lnTo>
                    <a:lnTo>
                      <a:pt x="348" y="130"/>
                    </a:lnTo>
                    <a:lnTo>
                      <a:pt x="348" y="128"/>
                    </a:lnTo>
                    <a:lnTo>
                      <a:pt x="350" y="127"/>
                    </a:lnTo>
                    <a:lnTo>
                      <a:pt x="352" y="125"/>
                    </a:lnTo>
                    <a:lnTo>
                      <a:pt x="353" y="125"/>
                    </a:lnTo>
                    <a:lnTo>
                      <a:pt x="353" y="124"/>
                    </a:lnTo>
                    <a:lnTo>
                      <a:pt x="355" y="124"/>
                    </a:lnTo>
                    <a:lnTo>
                      <a:pt x="355" y="122"/>
                    </a:lnTo>
                    <a:lnTo>
                      <a:pt x="356" y="120"/>
                    </a:lnTo>
                    <a:lnTo>
                      <a:pt x="358" y="119"/>
                    </a:lnTo>
                    <a:lnTo>
                      <a:pt x="358" y="117"/>
                    </a:lnTo>
                    <a:lnTo>
                      <a:pt x="359" y="117"/>
                    </a:lnTo>
                    <a:lnTo>
                      <a:pt x="359" y="116"/>
                    </a:lnTo>
                    <a:lnTo>
                      <a:pt x="361" y="114"/>
                    </a:lnTo>
                    <a:lnTo>
                      <a:pt x="363" y="112"/>
                    </a:lnTo>
                    <a:lnTo>
                      <a:pt x="363" y="111"/>
                    </a:lnTo>
                    <a:lnTo>
                      <a:pt x="364" y="109"/>
                    </a:lnTo>
                    <a:lnTo>
                      <a:pt x="364" y="108"/>
                    </a:lnTo>
                    <a:lnTo>
                      <a:pt x="366" y="108"/>
                    </a:lnTo>
                    <a:lnTo>
                      <a:pt x="366" y="106"/>
                    </a:lnTo>
                    <a:lnTo>
                      <a:pt x="367" y="106"/>
                    </a:lnTo>
                    <a:lnTo>
                      <a:pt x="367" y="105"/>
                    </a:lnTo>
                    <a:lnTo>
                      <a:pt x="369" y="103"/>
                    </a:lnTo>
                    <a:lnTo>
                      <a:pt x="369" y="101"/>
                    </a:lnTo>
                    <a:lnTo>
                      <a:pt x="371" y="101"/>
                    </a:lnTo>
                    <a:lnTo>
                      <a:pt x="371" y="100"/>
                    </a:lnTo>
                    <a:lnTo>
                      <a:pt x="372" y="98"/>
                    </a:lnTo>
                    <a:lnTo>
                      <a:pt x="372" y="97"/>
                    </a:lnTo>
                    <a:lnTo>
                      <a:pt x="374" y="97"/>
                    </a:lnTo>
                    <a:lnTo>
                      <a:pt x="374" y="95"/>
                    </a:lnTo>
                    <a:lnTo>
                      <a:pt x="375" y="93"/>
                    </a:lnTo>
                    <a:lnTo>
                      <a:pt x="375" y="92"/>
                    </a:lnTo>
                    <a:lnTo>
                      <a:pt x="377" y="92"/>
                    </a:lnTo>
                    <a:lnTo>
                      <a:pt x="377" y="90"/>
                    </a:lnTo>
                    <a:lnTo>
                      <a:pt x="378" y="90"/>
                    </a:lnTo>
                    <a:lnTo>
                      <a:pt x="378" y="89"/>
                    </a:lnTo>
                    <a:lnTo>
                      <a:pt x="378" y="87"/>
                    </a:lnTo>
                    <a:lnTo>
                      <a:pt x="380" y="87"/>
                    </a:lnTo>
                    <a:lnTo>
                      <a:pt x="380" y="86"/>
                    </a:lnTo>
                    <a:lnTo>
                      <a:pt x="382" y="84"/>
                    </a:lnTo>
                    <a:lnTo>
                      <a:pt x="383" y="82"/>
                    </a:lnTo>
                    <a:lnTo>
                      <a:pt x="383" y="81"/>
                    </a:lnTo>
                    <a:lnTo>
                      <a:pt x="385" y="79"/>
                    </a:lnTo>
                    <a:lnTo>
                      <a:pt x="385" y="78"/>
                    </a:lnTo>
                    <a:lnTo>
                      <a:pt x="386" y="78"/>
                    </a:lnTo>
                    <a:lnTo>
                      <a:pt x="386" y="76"/>
                    </a:lnTo>
                    <a:lnTo>
                      <a:pt x="388" y="74"/>
                    </a:lnTo>
                    <a:lnTo>
                      <a:pt x="390" y="73"/>
                    </a:lnTo>
                    <a:lnTo>
                      <a:pt x="390" y="71"/>
                    </a:lnTo>
                    <a:lnTo>
                      <a:pt x="391" y="71"/>
                    </a:lnTo>
                    <a:lnTo>
                      <a:pt x="391" y="70"/>
                    </a:lnTo>
                    <a:lnTo>
                      <a:pt x="393" y="68"/>
                    </a:lnTo>
                    <a:lnTo>
                      <a:pt x="393" y="67"/>
                    </a:lnTo>
                    <a:lnTo>
                      <a:pt x="394" y="67"/>
                    </a:lnTo>
                    <a:lnTo>
                      <a:pt x="394" y="65"/>
                    </a:lnTo>
                    <a:lnTo>
                      <a:pt x="396" y="65"/>
                    </a:lnTo>
                    <a:lnTo>
                      <a:pt x="396" y="63"/>
                    </a:lnTo>
                    <a:lnTo>
                      <a:pt x="396" y="62"/>
                    </a:lnTo>
                    <a:lnTo>
                      <a:pt x="398" y="62"/>
                    </a:lnTo>
                    <a:lnTo>
                      <a:pt x="398" y="60"/>
                    </a:lnTo>
                    <a:lnTo>
                      <a:pt x="399" y="59"/>
                    </a:lnTo>
                    <a:lnTo>
                      <a:pt x="399" y="57"/>
                    </a:lnTo>
                    <a:lnTo>
                      <a:pt x="401" y="57"/>
                    </a:lnTo>
                    <a:lnTo>
                      <a:pt x="401" y="55"/>
                    </a:lnTo>
                    <a:lnTo>
                      <a:pt x="402" y="54"/>
                    </a:lnTo>
                    <a:lnTo>
                      <a:pt x="404" y="52"/>
                    </a:lnTo>
                    <a:lnTo>
                      <a:pt x="404" y="51"/>
                    </a:lnTo>
                    <a:lnTo>
                      <a:pt x="405" y="51"/>
                    </a:lnTo>
                    <a:lnTo>
                      <a:pt x="405" y="49"/>
                    </a:lnTo>
                    <a:lnTo>
                      <a:pt x="407" y="47"/>
                    </a:lnTo>
                    <a:lnTo>
                      <a:pt x="407" y="46"/>
                    </a:lnTo>
                    <a:lnTo>
                      <a:pt x="409" y="46"/>
                    </a:lnTo>
                    <a:lnTo>
                      <a:pt x="409" y="44"/>
                    </a:lnTo>
                    <a:lnTo>
                      <a:pt x="410" y="43"/>
                    </a:lnTo>
                    <a:lnTo>
                      <a:pt x="410" y="41"/>
                    </a:lnTo>
                    <a:lnTo>
                      <a:pt x="412" y="41"/>
                    </a:lnTo>
                    <a:lnTo>
                      <a:pt x="412" y="40"/>
                    </a:lnTo>
                    <a:lnTo>
                      <a:pt x="413" y="40"/>
                    </a:lnTo>
                    <a:lnTo>
                      <a:pt x="413" y="38"/>
                    </a:lnTo>
                    <a:lnTo>
                      <a:pt x="413" y="36"/>
                    </a:lnTo>
                    <a:lnTo>
                      <a:pt x="415" y="36"/>
                    </a:lnTo>
                    <a:lnTo>
                      <a:pt x="415" y="35"/>
                    </a:lnTo>
                    <a:lnTo>
                      <a:pt x="417" y="33"/>
                    </a:lnTo>
                    <a:lnTo>
                      <a:pt x="418" y="32"/>
                    </a:lnTo>
                    <a:lnTo>
                      <a:pt x="418" y="30"/>
                    </a:lnTo>
                    <a:lnTo>
                      <a:pt x="420" y="28"/>
                    </a:lnTo>
                    <a:lnTo>
                      <a:pt x="421" y="27"/>
                    </a:lnTo>
                    <a:lnTo>
                      <a:pt x="421" y="25"/>
                    </a:lnTo>
                    <a:lnTo>
                      <a:pt x="423" y="24"/>
                    </a:lnTo>
                    <a:lnTo>
                      <a:pt x="424" y="22"/>
                    </a:lnTo>
                    <a:lnTo>
                      <a:pt x="424" y="21"/>
                    </a:lnTo>
                    <a:lnTo>
                      <a:pt x="426" y="21"/>
                    </a:lnTo>
                    <a:lnTo>
                      <a:pt x="426" y="19"/>
                    </a:lnTo>
                    <a:lnTo>
                      <a:pt x="428" y="19"/>
                    </a:lnTo>
                    <a:lnTo>
                      <a:pt x="428" y="17"/>
                    </a:lnTo>
                    <a:lnTo>
                      <a:pt x="428" y="16"/>
                    </a:lnTo>
                    <a:lnTo>
                      <a:pt x="429" y="16"/>
                    </a:lnTo>
                    <a:lnTo>
                      <a:pt x="429" y="14"/>
                    </a:lnTo>
                    <a:lnTo>
                      <a:pt x="431" y="13"/>
                    </a:lnTo>
                    <a:lnTo>
                      <a:pt x="431" y="11"/>
                    </a:lnTo>
                    <a:lnTo>
                      <a:pt x="432" y="11"/>
                    </a:lnTo>
                    <a:lnTo>
                      <a:pt x="432" y="9"/>
                    </a:lnTo>
                    <a:lnTo>
                      <a:pt x="434" y="9"/>
                    </a:lnTo>
                    <a:lnTo>
                      <a:pt x="434" y="8"/>
                    </a:lnTo>
                    <a:lnTo>
                      <a:pt x="434" y="6"/>
                    </a:lnTo>
                    <a:lnTo>
                      <a:pt x="436" y="6"/>
                    </a:lnTo>
                    <a:lnTo>
                      <a:pt x="436" y="5"/>
                    </a:lnTo>
                    <a:lnTo>
                      <a:pt x="437" y="5"/>
                    </a:lnTo>
                    <a:lnTo>
                      <a:pt x="437" y="3"/>
                    </a:lnTo>
                    <a:lnTo>
                      <a:pt x="439" y="3"/>
                    </a:lnTo>
                    <a:lnTo>
                      <a:pt x="440" y="2"/>
                    </a:lnTo>
                    <a:lnTo>
                      <a:pt x="440" y="0"/>
                    </a:lnTo>
                    <a:lnTo>
                      <a:pt x="445" y="3"/>
                    </a:lnTo>
                    <a:lnTo>
                      <a:pt x="448" y="6"/>
                    </a:lnTo>
                    <a:lnTo>
                      <a:pt x="450" y="8"/>
                    </a:lnTo>
                    <a:lnTo>
                      <a:pt x="451" y="8"/>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71" name="Freeform 151"/>
              <p:cNvSpPr>
                <a:spLocks noEditPoints="1"/>
              </p:cNvSpPr>
              <p:nvPr/>
            </p:nvSpPr>
            <p:spPr bwMode="auto">
              <a:xfrm>
                <a:off x="5099" y="2167"/>
                <a:ext cx="103" cy="155"/>
              </a:xfrm>
              <a:custGeom>
                <a:avLst/>
                <a:gdLst>
                  <a:gd name="T0" fmla="*/ 27 w 103"/>
                  <a:gd name="T1" fmla="*/ 116 h 155"/>
                  <a:gd name="T2" fmla="*/ 20 w 103"/>
                  <a:gd name="T3" fmla="*/ 111 h 155"/>
                  <a:gd name="T4" fmla="*/ 43 w 103"/>
                  <a:gd name="T5" fmla="*/ 5 h 155"/>
                  <a:gd name="T6" fmla="*/ 46 w 103"/>
                  <a:gd name="T7" fmla="*/ 14 h 155"/>
                  <a:gd name="T8" fmla="*/ 54 w 103"/>
                  <a:gd name="T9" fmla="*/ 19 h 155"/>
                  <a:gd name="T10" fmla="*/ 52 w 103"/>
                  <a:gd name="T11" fmla="*/ 30 h 155"/>
                  <a:gd name="T12" fmla="*/ 52 w 103"/>
                  <a:gd name="T13" fmla="*/ 44 h 155"/>
                  <a:gd name="T14" fmla="*/ 55 w 103"/>
                  <a:gd name="T15" fmla="*/ 54 h 155"/>
                  <a:gd name="T16" fmla="*/ 49 w 103"/>
                  <a:gd name="T17" fmla="*/ 60 h 155"/>
                  <a:gd name="T18" fmla="*/ 49 w 103"/>
                  <a:gd name="T19" fmla="*/ 60 h 155"/>
                  <a:gd name="T20" fmla="*/ 54 w 103"/>
                  <a:gd name="T21" fmla="*/ 59 h 155"/>
                  <a:gd name="T22" fmla="*/ 59 w 103"/>
                  <a:gd name="T23" fmla="*/ 57 h 155"/>
                  <a:gd name="T24" fmla="*/ 62 w 103"/>
                  <a:gd name="T25" fmla="*/ 63 h 155"/>
                  <a:gd name="T26" fmla="*/ 66 w 103"/>
                  <a:gd name="T27" fmla="*/ 55 h 155"/>
                  <a:gd name="T28" fmla="*/ 71 w 103"/>
                  <a:gd name="T29" fmla="*/ 60 h 155"/>
                  <a:gd name="T30" fmla="*/ 74 w 103"/>
                  <a:gd name="T31" fmla="*/ 60 h 155"/>
                  <a:gd name="T32" fmla="*/ 79 w 103"/>
                  <a:gd name="T33" fmla="*/ 59 h 155"/>
                  <a:gd name="T34" fmla="*/ 76 w 103"/>
                  <a:gd name="T35" fmla="*/ 52 h 155"/>
                  <a:gd name="T36" fmla="*/ 73 w 103"/>
                  <a:gd name="T37" fmla="*/ 43 h 155"/>
                  <a:gd name="T38" fmla="*/ 79 w 103"/>
                  <a:gd name="T39" fmla="*/ 43 h 155"/>
                  <a:gd name="T40" fmla="*/ 84 w 103"/>
                  <a:gd name="T41" fmla="*/ 51 h 155"/>
                  <a:gd name="T42" fmla="*/ 87 w 103"/>
                  <a:gd name="T43" fmla="*/ 60 h 155"/>
                  <a:gd name="T44" fmla="*/ 87 w 103"/>
                  <a:gd name="T45" fmla="*/ 73 h 155"/>
                  <a:gd name="T46" fmla="*/ 87 w 103"/>
                  <a:gd name="T47" fmla="*/ 86 h 155"/>
                  <a:gd name="T48" fmla="*/ 89 w 103"/>
                  <a:gd name="T49" fmla="*/ 97 h 155"/>
                  <a:gd name="T50" fmla="*/ 92 w 103"/>
                  <a:gd name="T51" fmla="*/ 106 h 155"/>
                  <a:gd name="T52" fmla="*/ 97 w 103"/>
                  <a:gd name="T53" fmla="*/ 114 h 155"/>
                  <a:gd name="T54" fmla="*/ 101 w 103"/>
                  <a:gd name="T55" fmla="*/ 122 h 155"/>
                  <a:gd name="T56" fmla="*/ 101 w 103"/>
                  <a:gd name="T57" fmla="*/ 131 h 155"/>
                  <a:gd name="T58" fmla="*/ 98 w 103"/>
                  <a:gd name="T59" fmla="*/ 141 h 155"/>
                  <a:gd name="T60" fmla="*/ 92 w 103"/>
                  <a:gd name="T61" fmla="*/ 147 h 155"/>
                  <a:gd name="T62" fmla="*/ 84 w 103"/>
                  <a:gd name="T63" fmla="*/ 152 h 155"/>
                  <a:gd name="T64" fmla="*/ 76 w 103"/>
                  <a:gd name="T65" fmla="*/ 154 h 155"/>
                  <a:gd name="T66" fmla="*/ 70 w 103"/>
                  <a:gd name="T67" fmla="*/ 150 h 155"/>
                  <a:gd name="T68" fmla="*/ 63 w 103"/>
                  <a:gd name="T69" fmla="*/ 144 h 155"/>
                  <a:gd name="T70" fmla="*/ 60 w 103"/>
                  <a:gd name="T71" fmla="*/ 135 h 155"/>
                  <a:gd name="T72" fmla="*/ 55 w 103"/>
                  <a:gd name="T73" fmla="*/ 127 h 155"/>
                  <a:gd name="T74" fmla="*/ 52 w 103"/>
                  <a:gd name="T75" fmla="*/ 117 h 155"/>
                  <a:gd name="T76" fmla="*/ 51 w 103"/>
                  <a:gd name="T77" fmla="*/ 109 h 155"/>
                  <a:gd name="T78" fmla="*/ 46 w 103"/>
                  <a:gd name="T79" fmla="*/ 101 h 155"/>
                  <a:gd name="T80" fmla="*/ 41 w 103"/>
                  <a:gd name="T81" fmla="*/ 103 h 155"/>
                  <a:gd name="T82" fmla="*/ 41 w 103"/>
                  <a:gd name="T83" fmla="*/ 103 h 155"/>
                  <a:gd name="T84" fmla="*/ 46 w 103"/>
                  <a:gd name="T85" fmla="*/ 108 h 155"/>
                  <a:gd name="T86" fmla="*/ 49 w 103"/>
                  <a:gd name="T87" fmla="*/ 117 h 155"/>
                  <a:gd name="T88" fmla="*/ 49 w 103"/>
                  <a:gd name="T89" fmla="*/ 127 h 155"/>
                  <a:gd name="T90" fmla="*/ 47 w 103"/>
                  <a:gd name="T91" fmla="*/ 128 h 155"/>
                  <a:gd name="T92" fmla="*/ 43 w 103"/>
                  <a:gd name="T93" fmla="*/ 120 h 155"/>
                  <a:gd name="T94" fmla="*/ 39 w 103"/>
                  <a:gd name="T95" fmla="*/ 114 h 155"/>
                  <a:gd name="T96" fmla="*/ 36 w 103"/>
                  <a:gd name="T97" fmla="*/ 108 h 155"/>
                  <a:gd name="T98" fmla="*/ 32 w 103"/>
                  <a:gd name="T99" fmla="*/ 100 h 155"/>
                  <a:gd name="T100" fmla="*/ 25 w 103"/>
                  <a:gd name="T101" fmla="*/ 93 h 155"/>
                  <a:gd name="T102" fmla="*/ 22 w 103"/>
                  <a:gd name="T103" fmla="*/ 84 h 155"/>
                  <a:gd name="T104" fmla="*/ 14 w 103"/>
                  <a:gd name="T105" fmla="*/ 79 h 155"/>
                  <a:gd name="T106" fmla="*/ 11 w 103"/>
                  <a:gd name="T107" fmla="*/ 70 h 155"/>
                  <a:gd name="T108" fmla="*/ 6 w 103"/>
                  <a:gd name="T109" fmla="*/ 62 h 155"/>
                  <a:gd name="T110" fmla="*/ 1 w 103"/>
                  <a:gd name="T111" fmla="*/ 55 h 155"/>
                  <a:gd name="T112" fmla="*/ 0 w 103"/>
                  <a:gd name="T113" fmla="*/ 48 h 155"/>
                  <a:gd name="T114" fmla="*/ 3 w 103"/>
                  <a:gd name="T115" fmla="*/ 36 h 155"/>
                  <a:gd name="T116" fmla="*/ 5 w 103"/>
                  <a:gd name="T117" fmla="*/ 22 h 155"/>
                  <a:gd name="T118" fmla="*/ 14 w 103"/>
                  <a:gd name="T119" fmla="*/ 10 h 155"/>
                  <a:gd name="T120" fmla="*/ 28 w 103"/>
                  <a:gd name="T121" fmla="*/ 10 h 155"/>
                  <a:gd name="T122" fmla="*/ 41 w 103"/>
                  <a:gd name="T123" fmla="*/ 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55">
                    <a:moveTo>
                      <a:pt x="27" y="114"/>
                    </a:moveTo>
                    <a:lnTo>
                      <a:pt x="28" y="114"/>
                    </a:lnTo>
                    <a:lnTo>
                      <a:pt x="28" y="116"/>
                    </a:lnTo>
                    <a:lnTo>
                      <a:pt x="30" y="116"/>
                    </a:lnTo>
                    <a:lnTo>
                      <a:pt x="30" y="117"/>
                    </a:lnTo>
                    <a:lnTo>
                      <a:pt x="28" y="117"/>
                    </a:lnTo>
                    <a:lnTo>
                      <a:pt x="27" y="117"/>
                    </a:lnTo>
                    <a:lnTo>
                      <a:pt x="27" y="116"/>
                    </a:lnTo>
                    <a:lnTo>
                      <a:pt x="27" y="114"/>
                    </a:lnTo>
                    <a:close/>
                    <a:moveTo>
                      <a:pt x="22" y="109"/>
                    </a:moveTo>
                    <a:lnTo>
                      <a:pt x="22" y="111"/>
                    </a:lnTo>
                    <a:lnTo>
                      <a:pt x="24" y="111"/>
                    </a:lnTo>
                    <a:lnTo>
                      <a:pt x="24" y="112"/>
                    </a:lnTo>
                    <a:lnTo>
                      <a:pt x="22" y="112"/>
                    </a:lnTo>
                    <a:lnTo>
                      <a:pt x="22" y="111"/>
                    </a:lnTo>
                    <a:lnTo>
                      <a:pt x="20" y="111"/>
                    </a:lnTo>
                    <a:lnTo>
                      <a:pt x="20" y="109"/>
                    </a:lnTo>
                    <a:lnTo>
                      <a:pt x="22" y="109"/>
                    </a:lnTo>
                    <a:close/>
                    <a:moveTo>
                      <a:pt x="39" y="0"/>
                    </a:moveTo>
                    <a:lnTo>
                      <a:pt x="39" y="2"/>
                    </a:lnTo>
                    <a:lnTo>
                      <a:pt x="41" y="2"/>
                    </a:lnTo>
                    <a:lnTo>
                      <a:pt x="41" y="3"/>
                    </a:lnTo>
                    <a:lnTo>
                      <a:pt x="41" y="5"/>
                    </a:lnTo>
                    <a:lnTo>
                      <a:pt x="43" y="5"/>
                    </a:lnTo>
                    <a:lnTo>
                      <a:pt x="44" y="5"/>
                    </a:lnTo>
                    <a:lnTo>
                      <a:pt x="44" y="6"/>
                    </a:lnTo>
                    <a:lnTo>
                      <a:pt x="44" y="8"/>
                    </a:lnTo>
                    <a:lnTo>
                      <a:pt x="46" y="8"/>
                    </a:lnTo>
                    <a:lnTo>
                      <a:pt x="46" y="10"/>
                    </a:lnTo>
                    <a:lnTo>
                      <a:pt x="46" y="11"/>
                    </a:lnTo>
                    <a:lnTo>
                      <a:pt x="46" y="13"/>
                    </a:lnTo>
                    <a:lnTo>
                      <a:pt x="46" y="14"/>
                    </a:lnTo>
                    <a:lnTo>
                      <a:pt x="46" y="16"/>
                    </a:lnTo>
                    <a:lnTo>
                      <a:pt x="47" y="16"/>
                    </a:lnTo>
                    <a:lnTo>
                      <a:pt x="47" y="17"/>
                    </a:lnTo>
                    <a:lnTo>
                      <a:pt x="49" y="17"/>
                    </a:lnTo>
                    <a:lnTo>
                      <a:pt x="51" y="17"/>
                    </a:lnTo>
                    <a:lnTo>
                      <a:pt x="51" y="19"/>
                    </a:lnTo>
                    <a:lnTo>
                      <a:pt x="52" y="19"/>
                    </a:lnTo>
                    <a:lnTo>
                      <a:pt x="54" y="19"/>
                    </a:lnTo>
                    <a:lnTo>
                      <a:pt x="54" y="21"/>
                    </a:lnTo>
                    <a:lnTo>
                      <a:pt x="54" y="22"/>
                    </a:lnTo>
                    <a:lnTo>
                      <a:pt x="54" y="24"/>
                    </a:lnTo>
                    <a:lnTo>
                      <a:pt x="52" y="24"/>
                    </a:lnTo>
                    <a:lnTo>
                      <a:pt x="52" y="25"/>
                    </a:lnTo>
                    <a:lnTo>
                      <a:pt x="52" y="27"/>
                    </a:lnTo>
                    <a:lnTo>
                      <a:pt x="52" y="29"/>
                    </a:lnTo>
                    <a:lnTo>
                      <a:pt x="52" y="30"/>
                    </a:lnTo>
                    <a:lnTo>
                      <a:pt x="52" y="32"/>
                    </a:lnTo>
                    <a:lnTo>
                      <a:pt x="52" y="33"/>
                    </a:lnTo>
                    <a:lnTo>
                      <a:pt x="52" y="35"/>
                    </a:lnTo>
                    <a:lnTo>
                      <a:pt x="52" y="36"/>
                    </a:lnTo>
                    <a:lnTo>
                      <a:pt x="52" y="38"/>
                    </a:lnTo>
                    <a:lnTo>
                      <a:pt x="52" y="41"/>
                    </a:lnTo>
                    <a:lnTo>
                      <a:pt x="52" y="43"/>
                    </a:lnTo>
                    <a:lnTo>
                      <a:pt x="52" y="44"/>
                    </a:lnTo>
                    <a:lnTo>
                      <a:pt x="52" y="46"/>
                    </a:lnTo>
                    <a:lnTo>
                      <a:pt x="54" y="46"/>
                    </a:lnTo>
                    <a:lnTo>
                      <a:pt x="54" y="48"/>
                    </a:lnTo>
                    <a:lnTo>
                      <a:pt x="55" y="48"/>
                    </a:lnTo>
                    <a:lnTo>
                      <a:pt x="55" y="49"/>
                    </a:lnTo>
                    <a:lnTo>
                      <a:pt x="55" y="51"/>
                    </a:lnTo>
                    <a:lnTo>
                      <a:pt x="55" y="52"/>
                    </a:lnTo>
                    <a:lnTo>
                      <a:pt x="55" y="54"/>
                    </a:lnTo>
                    <a:lnTo>
                      <a:pt x="55" y="55"/>
                    </a:lnTo>
                    <a:lnTo>
                      <a:pt x="54" y="55"/>
                    </a:lnTo>
                    <a:lnTo>
                      <a:pt x="52" y="55"/>
                    </a:lnTo>
                    <a:lnTo>
                      <a:pt x="52" y="57"/>
                    </a:lnTo>
                    <a:lnTo>
                      <a:pt x="51" y="57"/>
                    </a:lnTo>
                    <a:lnTo>
                      <a:pt x="51" y="59"/>
                    </a:lnTo>
                    <a:lnTo>
                      <a:pt x="49" y="59"/>
                    </a:lnTo>
                    <a:lnTo>
                      <a:pt x="49" y="60"/>
                    </a:lnTo>
                    <a:lnTo>
                      <a:pt x="47" y="60"/>
                    </a:lnTo>
                    <a:lnTo>
                      <a:pt x="47" y="62"/>
                    </a:lnTo>
                    <a:lnTo>
                      <a:pt x="47" y="60"/>
                    </a:lnTo>
                    <a:lnTo>
                      <a:pt x="49" y="60"/>
                    </a:lnTo>
                    <a:lnTo>
                      <a:pt x="49" y="62"/>
                    </a:lnTo>
                    <a:lnTo>
                      <a:pt x="49" y="60"/>
                    </a:lnTo>
                    <a:lnTo>
                      <a:pt x="51" y="60"/>
                    </a:lnTo>
                    <a:lnTo>
                      <a:pt x="49" y="60"/>
                    </a:lnTo>
                    <a:lnTo>
                      <a:pt x="49" y="62"/>
                    </a:lnTo>
                    <a:lnTo>
                      <a:pt x="51" y="62"/>
                    </a:lnTo>
                    <a:lnTo>
                      <a:pt x="49" y="62"/>
                    </a:lnTo>
                    <a:lnTo>
                      <a:pt x="51" y="62"/>
                    </a:lnTo>
                    <a:lnTo>
                      <a:pt x="51" y="60"/>
                    </a:lnTo>
                    <a:lnTo>
                      <a:pt x="52" y="60"/>
                    </a:lnTo>
                    <a:lnTo>
                      <a:pt x="54" y="60"/>
                    </a:lnTo>
                    <a:lnTo>
                      <a:pt x="54" y="59"/>
                    </a:lnTo>
                    <a:lnTo>
                      <a:pt x="54" y="60"/>
                    </a:lnTo>
                    <a:lnTo>
                      <a:pt x="54" y="62"/>
                    </a:lnTo>
                    <a:lnTo>
                      <a:pt x="54" y="60"/>
                    </a:lnTo>
                    <a:lnTo>
                      <a:pt x="55" y="60"/>
                    </a:lnTo>
                    <a:lnTo>
                      <a:pt x="55" y="59"/>
                    </a:lnTo>
                    <a:lnTo>
                      <a:pt x="57" y="59"/>
                    </a:lnTo>
                    <a:lnTo>
                      <a:pt x="57" y="57"/>
                    </a:lnTo>
                    <a:lnTo>
                      <a:pt x="59" y="57"/>
                    </a:lnTo>
                    <a:lnTo>
                      <a:pt x="59" y="59"/>
                    </a:lnTo>
                    <a:lnTo>
                      <a:pt x="59" y="60"/>
                    </a:lnTo>
                    <a:lnTo>
                      <a:pt x="60" y="60"/>
                    </a:lnTo>
                    <a:lnTo>
                      <a:pt x="60" y="62"/>
                    </a:lnTo>
                    <a:lnTo>
                      <a:pt x="60" y="63"/>
                    </a:lnTo>
                    <a:lnTo>
                      <a:pt x="62" y="63"/>
                    </a:lnTo>
                    <a:lnTo>
                      <a:pt x="62" y="65"/>
                    </a:lnTo>
                    <a:lnTo>
                      <a:pt x="62" y="63"/>
                    </a:lnTo>
                    <a:lnTo>
                      <a:pt x="62" y="62"/>
                    </a:lnTo>
                    <a:lnTo>
                      <a:pt x="63" y="62"/>
                    </a:lnTo>
                    <a:lnTo>
                      <a:pt x="63" y="60"/>
                    </a:lnTo>
                    <a:lnTo>
                      <a:pt x="63" y="59"/>
                    </a:lnTo>
                    <a:lnTo>
                      <a:pt x="65" y="59"/>
                    </a:lnTo>
                    <a:lnTo>
                      <a:pt x="66" y="59"/>
                    </a:lnTo>
                    <a:lnTo>
                      <a:pt x="66" y="57"/>
                    </a:lnTo>
                    <a:lnTo>
                      <a:pt x="66" y="55"/>
                    </a:lnTo>
                    <a:lnTo>
                      <a:pt x="68" y="55"/>
                    </a:lnTo>
                    <a:lnTo>
                      <a:pt x="68" y="57"/>
                    </a:lnTo>
                    <a:lnTo>
                      <a:pt x="70" y="57"/>
                    </a:lnTo>
                    <a:lnTo>
                      <a:pt x="70" y="59"/>
                    </a:lnTo>
                    <a:lnTo>
                      <a:pt x="68" y="59"/>
                    </a:lnTo>
                    <a:lnTo>
                      <a:pt x="68" y="60"/>
                    </a:lnTo>
                    <a:lnTo>
                      <a:pt x="70" y="60"/>
                    </a:lnTo>
                    <a:lnTo>
                      <a:pt x="71" y="60"/>
                    </a:lnTo>
                    <a:lnTo>
                      <a:pt x="71" y="62"/>
                    </a:lnTo>
                    <a:lnTo>
                      <a:pt x="73" y="62"/>
                    </a:lnTo>
                    <a:lnTo>
                      <a:pt x="73" y="63"/>
                    </a:lnTo>
                    <a:lnTo>
                      <a:pt x="73" y="62"/>
                    </a:lnTo>
                    <a:lnTo>
                      <a:pt x="73" y="60"/>
                    </a:lnTo>
                    <a:lnTo>
                      <a:pt x="73" y="59"/>
                    </a:lnTo>
                    <a:lnTo>
                      <a:pt x="74" y="59"/>
                    </a:lnTo>
                    <a:lnTo>
                      <a:pt x="74" y="60"/>
                    </a:lnTo>
                    <a:lnTo>
                      <a:pt x="76" y="60"/>
                    </a:lnTo>
                    <a:lnTo>
                      <a:pt x="76" y="62"/>
                    </a:lnTo>
                    <a:lnTo>
                      <a:pt x="78" y="62"/>
                    </a:lnTo>
                    <a:lnTo>
                      <a:pt x="78" y="63"/>
                    </a:lnTo>
                    <a:lnTo>
                      <a:pt x="78" y="62"/>
                    </a:lnTo>
                    <a:lnTo>
                      <a:pt x="78" y="60"/>
                    </a:lnTo>
                    <a:lnTo>
                      <a:pt x="78" y="59"/>
                    </a:lnTo>
                    <a:lnTo>
                      <a:pt x="79" y="59"/>
                    </a:lnTo>
                    <a:lnTo>
                      <a:pt x="79" y="57"/>
                    </a:lnTo>
                    <a:lnTo>
                      <a:pt x="78" y="57"/>
                    </a:lnTo>
                    <a:lnTo>
                      <a:pt x="78" y="55"/>
                    </a:lnTo>
                    <a:lnTo>
                      <a:pt x="76" y="55"/>
                    </a:lnTo>
                    <a:lnTo>
                      <a:pt x="76" y="54"/>
                    </a:lnTo>
                    <a:lnTo>
                      <a:pt x="78" y="54"/>
                    </a:lnTo>
                    <a:lnTo>
                      <a:pt x="78" y="52"/>
                    </a:lnTo>
                    <a:lnTo>
                      <a:pt x="76" y="52"/>
                    </a:lnTo>
                    <a:lnTo>
                      <a:pt x="76" y="51"/>
                    </a:lnTo>
                    <a:lnTo>
                      <a:pt x="76" y="49"/>
                    </a:lnTo>
                    <a:lnTo>
                      <a:pt x="76" y="48"/>
                    </a:lnTo>
                    <a:lnTo>
                      <a:pt x="74" y="48"/>
                    </a:lnTo>
                    <a:lnTo>
                      <a:pt x="73" y="48"/>
                    </a:lnTo>
                    <a:lnTo>
                      <a:pt x="73" y="46"/>
                    </a:lnTo>
                    <a:lnTo>
                      <a:pt x="73" y="44"/>
                    </a:lnTo>
                    <a:lnTo>
                      <a:pt x="73" y="43"/>
                    </a:lnTo>
                    <a:lnTo>
                      <a:pt x="73" y="41"/>
                    </a:lnTo>
                    <a:lnTo>
                      <a:pt x="73" y="40"/>
                    </a:lnTo>
                    <a:lnTo>
                      <a:pt x="74" y="40"/>
                    </a:lnTo>
                    <a:lnTo>
                      <a:pt x="76" y="40"/>
                    </a:lnTo>
                    <a:lnTo>
                      <a:pt x="78" y="40"/>
                    </a:lnTo>
                    <a:lnTo>
                      <a:pt x="79" y="40"/>
                    </a:lnTo>
                    <a:lnTo>
                      <a:pt x="79" y="41"/>
                    </a:lnTo>
                    <a:lnTo>
                      <a:pt x="79" y="43"/>
                    </a:lnTo>
                    <a:lnTo>
                      <a:pt x="81" y="43"/>
                    </a:lnTo>
                    <a:lnTo>
                      <a:pt x="81" y="44"/>
                    </a:lnTo>
                    <a:lnTo>
                      <a:pt x="81" y="46"/>
                    </a:lnTo>
                    <a:lnTo>
                      <a:pt x="81" y="48"/>
                    </a:lnTo>
                    <a:lnTo>
                      <a:pt x="82" y="48"/>
                    </a:lnTo>
                    <a:lnTo>
                      <a:pt x="82" y="49"/>
                    </a:lnTo>
                    <a:lnTo>
                      <a:pt x="82" y="51"/>
                    </a:lnTo>
                    <a:lnTo>
                      <a:pt x="84" y="51"/>
                    </a:lnTo>
                    <a:lnTo>
                      <a:pt x="84" y="52"/>
                    </a:lnTo>
                    <a:lnTo>
                      <a:pt x="84" y="54"/>
                    </a:lnTo>
                    <a:lnTo>
                      <a:pt x="85" y="54"/>
                    </a:lnTo>
                    <a:lnTo>
                      <a:pt x="85" y="55"/>
                    </a:lnTo>
                    <a:lnTo>
                      <a:pt x="85" y="57"/>
                    </a:lnTo>
                    <a:lnTo>
                      <a:pt x="85" y="59"/>
                    </a:lnTo>
                    <a:lnTo>
                      <a:pt x="87" y="59"/>
                    </a:lnTo>
                    <a:lnTo>
                      <a:pt x="87" y="60"/>
                    </a:lnTo>
                    <a:lnTo>
                      <a:pt x="87" y="62"/>
                    </a:lnTo>
                    <a:lnTo>
                      <a:pt x="87" y="63"/>
                    </a:lnTo>
                    <a:lnTo>
                      <a:pt x="87" y="65"/>
                    </a:lnTo>
                    <a:lnTo>
                      <a:pt x="87" y="67"/>
                    </a:lnTo>
                    <a:lnTo>
                      <a:pt x="87" y="68"/>
                    </a:lnTo>
                    <a:lnTo>
                      <a:pt x="87" y="70"/>
                    </a:lnTo>
                    <a:lnTo>
                      <a:pt x="87" y="71"/>
                    </a:lnTo>
                    <a:lnTo>
                      <a:pt x="87" y="73"/>
                    </a:lnTo>
                    <a:lnTo>
                      <a:pt x="87" y="74"/>
                    </a:lnTo>
                    <a:lnTo>
                      <a:pt x="87" y="76"/>
                    </a:lnTo>
                    <a:lnTo>
                      <a:pt x="87" y="78"/>
                    </a:lnTo>
                    <a:lnTo>
                      <a:pt x="87" y="79"/>
                    </a:lnTo>
                    <a:lnTo>
                      <a:pt x="87" y="81"/>
                    </a:lnTo>
                    <a:lnTo>
                      <a:pt x="87" y="82"/>
                    </a:lnTo>
                    <a:lnTo>
                      <a:pt x="87" y="84"/>
                    </a:lnTo>
                    <a:lnTo>
                      <a:pt x="87" y="86"/>
                    </a:lnTo>
                    <a:lnTo>
                      <a:pt x="87" y="87"/>
                    </a:lnTo>
                    <a:lnTo>
                      <a:pt x="87" y="89"/>
                    </a:lnTo>
                    <a:lnTo>
                      <a:pt x="87" y="90"/>
                    </a:lnTo>
                    <a:lnTo>
                      <a:pt x="89" y="90"/>
                    </a:lnTo>
                    <a:lnTo>
                      <a:pt x="89" y="92"/>
                    </a:lnTo>
                    <a:lnTo>
                      <a:pt x="89" y="93"/>
                    </a:lnTo>
                    <a:lnTo>
                      <a:pt x="89" y="95"/>
                    </a:lnTo>
                    <a:lnTo>
                      <a:pt x="89" y="97"/>
                    </a:lnTo>
                    <a:lnTo>
                      <a:pt x="90" y="97"/>
                    </a:lnTo>
                    <a:lnTo>
                      <a:pt x="90" y="98"/>
                    </a:lnTo>
                    <a:lnTo>
                      <a:pt x="90" y="100"/>
                    </a:lnTo>
                    <a:lnTo>
                      <a:pt x="90" y="101"/>
                    </a:lnTo>
                    <a:lnTo>
                      <a:pt x="92" y="101"/>
                    </a:lnTo>
                    <a:lnTo>
                      <a:pt x="92" y="103"/>
                    </a:lnTo>
                    <a:lnTo>
                      <a:pt x="92" y="105"/>
                    </a:lnTo>
                    <a:lnTo>
                      <a:pt x="92" y="106"/>
                    </a:lnTo>
                    <a:lnTo>
                      <a:pt x="93" y="106"/>
                    </a:lnTo>
                    <a:lnTo>
                      <a:pt x="93" y="108"/>
                    </a:lnTo>
                    <a:lnTo>
                      <a:pt x="93" y="109"/>
                    </a:lnTo>
                    <a:lnTo>
                      <a:pt x="95" y="109"/>
                    </a:lnTo>
                    <a:lnTo>
                      <a:pt x="95" y="111"/>
                    </a:lnTo>
                    <a:lnTo>
                      <a:pt x="95" y="112"/>
                    </a:lnTo>
                    <a:lnTo>
                      <a:pt x="97" y="112"/>
                    </a:lnTo>
                    <a:lnTo>
                      <a:pt x="97" y="114"/>
                    </a:lnTo>
                    <a:lnTo>
                      <a:pt x="97" y="116"/>
                    </a:lnTo>
                    <a:lnTo>
                      <a:pt x="98" y="116"/>
                    </a:lnTo>
                    <a:lnTo>
                      <a:pt x="98" y="117"/>
                    </a:lnTo>
                    <a:lnTo>
                      <a:pt x="98" y="119"/>
                    </a:lnTo>
                    <a:lnTo>
                      <a:pt x="100" y="119"/>
                    </a:lnTo>
                    <a:lnTo>
                      <a:pt x="100" y="120"/>
                    </a:lnTo>
                    <a:lnTo>
                      <a:pt x="100" y="122"/>
                    </a:lnTo>
                    <a:lnTo>
                      <a:pt x="101" y="122"/>
                    </a:lnTo>
                    <a:lnTo>
                      <a:pt x="101" y="124"/>
                    </a:lnTo>
                    <a:lnTo>
                      <a:pt x="103" y="124"/>
                    </a:lnTo>
                    <a:lnTo>
                      <a:pt x="103" y="125"/>
                    </a:lnTo>
                    <a:lnTo>
                      <a:pt x="101" y="125"/>
                    </a:lnTo>
                    <a:lnTo>
                      <a:pt x="101" y="127"/>
                    </a:lnTo>
                    <a:lnTo>
                      <a:pt x="101" y="128"/>
                    </a:lnTo>
                    <a:lnTo>
                      <a:pt x="101" y="130"/>
                    </a:lnTo>
                    <a:lnTo>
                      <a:pt x="101" y="131"/>
                    </a:lnTo>
                    <a:lnTo>
                      <a:pt x="100" y="131"/>
                    </a:lnTo>
                    <a:lnTo>
                      <a:pt x="100" y="133"/>
                    </a:lnTo>
                    <a:lnTo>
                      <a:pt x="100" y="135"/>
                    </a:lnTo>
                    <a:lnTo>
                      <a:pt x="98" y="135"/>
                    </a:lnTo>
                    <a:lnTo>
                      <a:pt x="98" y="136"/>
                    </a:lnTo>
                    <a:lnTo>
                      <a:pt x="98" y="138"/>
                    </a:lnTo>
                    <a:lnTo>
                      <a:pt x="98" y="139"/>
                    </a:lnTo>
                    <a:lnTo>
                      <a:pt x="98" y="141"/>
                    </a:lnTo>
                    <a:lnTo>
                      <a:pt x="97" y="141"/>
                    </a:lnTo>
                    <a:lnTo>
                      <a:pt x="97" y="143"/>
                    </a:lnTo>
                    <a:lnTo>
                      <a:pt x="95" y="143"/>
                    </a:lnTo>
                    <a:lnTo>
                      <a:pt x="95" y="144"/>
                    </a:lnTo>
                    <a:lnTo>
                      <a:pt x="93" y="144"/>
                    </a:lnTo>
                    <a:lnTo>
                      <a:pt x="93" y="146"/>
                    </a:lnTo>
                    <a:lnTo>
                      <a:pt x="92" y="146"/>
                    </a:lnTo>
                    <a:lnTo>
                      <a:pt x="92" y="147"/>
                    </a:lnTo>
                    <a:lnTo>
                      <a:pt x="90" y="147"/>
                    </a:lnTo>
                    <a:lnTo>
                      <a:pt x="90" y="149"/>
                    </a:lnTo>
                    <a:lnTo>
                      <a:pt x="89" y="149"/>
                    </a:lnTo>
                    <a:lnTo>
                      <a:pt x="89" y="150"/>
                    </a:lnTo>
                    <a:lnTo>
                      <a:pt x="87" y="150"/>
                    </a:lnTo>
                    <a:lnTo>
                      <a:pt x="87" y="152"/>
                    </a:lnTo>
                    <a:lnTo>
                      <a:pt x="85" y="152"/>
                    </a:lnTo>
                    <a:lnTo>
                      <a:pt x="84" y="152"/>
                    </a:lnTo>
                    <a:lnTo>
                      <a:pt x="84" y="154"/>
                    </a:lnTo>
                    <a:lnTo>
                      <a:pt x="82" y="154"/>
                    </a:lnTo>
                    <a:lnTo>
                      <a:pt x="81" y="154"/>
                    </a:lnTo>
                    <a:lnTo>
                      <a:pt x="81" y="155"/>
                    </a:lnTo>
                    <a:lnTo>
                      <a:pt x="79" y="155"/>
                    </a:lnTo>
                    <a:lnTo>
                      <a:pt x="78" y="155"/>
                    </a:lnTo>
                    <a:lnTo>
                      <a:pt x="76" y="155"/>
                    </a:lnTo>
                    <a:lnTo>
                      <a:pt x="76" y="154"/>
                    </a:lnTo>
                    <a:lnTo>
                      <a:pt x="74" y="154"/>
                    </a:lnTo>
                    <a:lnTo>
                      <a:pt x="74" y="155"/>
                    </a:lnTo>
                    <a:lnTo>
                      <a:pt x="74" y="154"/>
                    </a:lnTo>
                    <a:lnTo>
                      <a:pt x="73" y="154"/>
                    </a:lnTo>
                    <a:lnTo>
                      <a:pt x="71" y="154"/>
                    </a:lnTo>
                    <a:lnTo>
                      <a:pt x="71" y="152"/>
                    </a:lnTo>
                    <a:lnTo>
                      <a:pt x="70" y="152"/>
                    </a:lnTo>
                    <a:lnTo>
                      <a:pt x="70" y="150"/>
                    </a:lnTo>
                    <a:lnTo>
                      <a:pt x="70" y="149"/>
                    </a:lnTo>
                    <a:lnTo>
                      <a:pt x="68" y="149"/>
                    </a:lnTo>
                    <a:lnTo>
                      <a:pt x="68" y="147"/>
                    </a:lnTo>
                    <a:lnTo>
                      <a:pt x="66" y="147"/>
                    </a:lnTo>
                    <a:lnTo>
                      <a:pt x="65" y="147"/>
                    </a:lnTo>
                    <a:lnTo>
                      <a:pt x="65" y="146"/>
                    </a:lnTo>
                    <a:lnTo>
                      <a:pt x="65" y="144"/>
                    </a:lnTo>
                    <a:lnTo>
                      <a:pt x="63" y="144"/>
                    </a:lnTo>
                    <a:lnTo>
                      <a:pt x="63" y="143"/>
                    </a:lnTo>
                    <a:lnTo>
                      <a:pt x="63" y="141"/>
                    </a:lnTo>
                    <a:lnTo>
                      <a:pt x="62" y="141"/>
                    </a:lnTo>
                    <a:lnTo>
                      <a:pt x="62" y="139"/>
                    </a:lnTo>
                    <a:lnTo>
                      <a:pt x="62" y="138"/>
                    </a:lnTo>
                    <a:lnTo>
                      <a:pt x="62" y="136"/>
                    </a:lnTo>
                    <a:lnTo>
                      <a:pt x="62" y="135"/>
                    </a:lnTo>
                    <a:lnTo>
                      <a:pt x="60" y="135"/>
                    </a:lnTo>
                    <a:lnTo>
                      <a:pt x="60" y="133"/>
                    </a:lnTo>
                    <a:lnTo>
                      <a:pt x="59" y="133"/>
                    </a:lnTo>
                    <a:lnTo>
                      <a:pt x="57" y="133"/>
                    </a:lnTo>
                    <a:lnTo>
                      <a:pt x="57" y="131"/>
                    </a:lnTo>
                    <a:lnTo>
                      <a:pt x="57" y="130"/>
                    </a:lnTo>
                    <a:lnTo>
                      <a:pt x="57" y="128"/>
                    </a:lnTo>
                    <a:lnTo>
                      <a:pt x="55" y="128"/>
                    </a:lnTo>
                    <a:lnTo>
                      <a:pt x="55" y="127"/>
                    </a:lnTo>
                    <a:lnTo>
                      <a:pt x="55" y="125"/>
                    </a:lnTo>
                    <a:lnTo>
                      <a:pt x="55" y="124"/>
                    </a:lnTo>
                    <a:lnTo>
                      <a:pt x="54" y="124"/>
                    </a:lnTo>
                    <a:lnTo>
                      <a:pt x="54" y="122"/>
                    </a:lnTo>
                    <a:lnTo>
                      <a:pt x="54" y="120"/>
                    </a:lnTo>
                    <a:lnTo>
                      <a:pt x="54" y="119"/>
                    </a:lnTo>
                    <a:lnTo>
                      <a:pt x="52" y="119"/>
                    </a:lnTo>
                    <a:lnTo>
                      <a:pt x="52" y="117"/>
                    </a:lnTo>
                    <a:lnTo>
                      <a:pt x="54" y="117"/>
                    </a:lnTo>
                    <a:lnTo>
                      <a:pt x="54" y="116"/>
                    </a:lnTo>
                    <a:lnTo>
                      <a:pt x="54" y="114"/>
                    </a:lnTo>
                    <a:lnTo>
                      <a:pt x="54" y="112"/>
                    </a:lnTo>
                    <a:lnTo>
                      <a:pt x="52" y="112"/>
                    </a:lnTo>
                    <a:lnTo>
                      <a:pt x="52" y="111"/>
                    </a:lnTo>
                    <a:lnTo>
                      <a:pt x="52" y="109"/>
                    </a:lnTo>
                    <a:lnTo>
                      <a:pt x="51" y="109"/>
                    </a:lnTo>
                    <a:lnTo>
                      <a:pt x="51" y="108"/>
                    </a:lnTo>
                    <a:lnTo>
                      <a:pt x="49" y="108"/>
                    </a:lnTo>
                    <a:lnTo>
                      <a:pt x="49" y="106"/>
                    </a:lnTo>
                    <a:lnTo>
                      <a:pt x="47" y="106"/>
                    </a:lnTo>
                    <a:lnTo>
                      <a:pt x="47" y="105"/>
                    </a:lnTo>
                    <a:lnTo>
                      <a:pt x="47" y="103"/>
                    </a:lnTo>
                    <a:lnTo>
                      <a:pt x="47" y="101"/>
                    </a:lnTo>
                    <a:lnTo>
                      <a:pt x="46" y="101"/>
                    </a:lnTo>
                    <a:lnTo>
                      <a:pt x="46" y="100"/>
                    </a:lnTo>
                    <a:lnTo>
                      <a:pt x="46" y="101"/>
                    </a:lnTo>
                    <a:lnTo>
                      <a:pt x="46" y="103"/>
                    </a:lnTo>
                    <a:lnTo>
                      <a:pt x="44" y="103"/>
                    </a:lnTo>
                    <a:lnTo>
                      <a:pt x="44" y="105"/>
                    </a:lnTo>
                    <a:lnTo>
                      <a:pt x="44" y="103"/>
                    </a:lnTo>
                    <a:lnTo>
                      <a:pt x="43" y="103"/>
                    </a:lnTo>
                    <a:lnTo>
                      <a:pt x="41" y="103"/>
                    </a:lnTo>
                    <a:lnTo>
                      <a:pt x="41" y="101"/>
                    </a:lnTo>
                    <a:lnTo>
                      <a:pt x="41" y="100"/>
                    </a:lnTo>
                    <a:lnTo>
                      <a:pt x="39" y="100"/>
                    </a:lnTo>
                    <a:lnTo>
                      <a:pt x="39" y="101"/>
                    </a:lnTo>
                    <a:lnTo>
                      <a:pt x="39" y="100"/>
                    </a:lnTo>
                    <a:lnTo>
                      <a:pt x="39" y="101"/>
                    </a:lnTo>
                    <a:lnTo>
                      <a:pt x="41" y="101"/>
                    </a:lnTo>
                    <a:lnTo>
                      <a:pt x="41" y="103"/>
                    </a:lnTo>
                    <a:lnTo>
                      <a:pt x="43" y="103"/>
                    </a:lnTo>
                    <a:lnTo>
                      <a:pt x="43" y="105"/>
                    </a:lnTo>
                    <a:lnTo>
                      <a:pt x="44" y="105"/>
                    </a:lnTo>
                    <a:lnTo>
                      <a:pt x="44" y="106"/>
                    </a:lnTo>
                    <a:lnTo>
                      <a:pt x="46" y="106"/>
                    </a:lnTo>
                    <a:lnTo>
                      <a:pt x="44" y="106"/>
                    </a:lnTo>
                    <a:lnTo>
                      <a:pt x="46" y="106"/>
                    </a:lnTo>
                    <a:lnTo>
                      <a:pt x="46" y="108"/>
                    </a:lnTo>
                    <a:lnTo>
                      <a:pt x="46" y="109"/>
                    </a:lnTo>
                    <a:lnTo>
                      <a:pt x="47" y="109"/>
                    </a:lnTo>
                    <a:lnTo>
                      <a:pt x="47" y="111"/>
                    </a:lnTo>
                    <a:lnTo>
                      <a:pt x="49" y="111"/>
                    </a:lnTo>
                    <a:lnTo>
                      <a:pt x="49" y="112"/>
                    </a:lnTo>
                    <a:lnTo>
                      <a:pt x="49" y="114"/>
                    </a:lnTo>
                    <a:lnTo>
                      <a:pt x="49" y="116"/>
                    </a:lnTo>
                    <a:lnTo>
                      <a:pt x="49" y="117"/>
                    </a:lnTo>
                    <a:lnTo>
                      <a:pt x="49" y="119"/>
                    </a:lnTo>
                    <a:lnTo>
                      <a:pt x="49" y="120"/>
                    </a:lnTo>
                    <a:lnTo>
                      <a:pt x="47" y="120"/>
                    </a:lnTo>
                    <a:lnTo>
                      <a:pt x="47" y="122"/>
                    </a:lnTo>
                    <a:lnTo>
                      <a:pt x="47" y="124"/>
                    </a:lnTo>
                    <a:lnTo>
                      <a:pt x="47" y="125"/>
                    </a:lnTo>
                    <a:lnTo>
                      <a:pt x="47" y="127"/>
                    </a:lnTo>
                    <a:lnTo>
                      <a:pt x="49" y="127"/>
                    </a:lnTo>
                    <a:lnTo>
                      <a:pt x="49" y="128"/>
                    </a:lnTo>
                    <a:lnTo>
                      <a:pt x="49" y="130"/>
                    </a:lnTo>
                    <a:lnTo>
                      <a:pt x="49" y="131"/>
                    </a:lnTo>
                    <a:lnTo>
                      <a:pt x="49" y="133"/>
                    </a:lnTo>
                    <a:lnTo>
                      <a:pt x="47" y="133"/>
                    </a:lnTo>
                    <a:lnTo>
                      <a:pt x="47" y="131"/>
                    </a:lnTo>
                    <a:lnTo>
                      <a:pt x="47" y="130"/>
                    </a:lnTo>
                    <a:lnTo>
                      <a:pt x="47" y="128"/>
                    </a:lnTo>
                    <a:lnTo>
                      <a:pt x="46" y="128"/>
                    </a:lnTo>
                    <a:lnTo>
                      <a:pt x="46" y="127"/>
                    </a:lnTo>
                    <a:lnTo>
                      <a:pt x="46" y="125"/>
                    </a:lnTo>
                    <a:lnTo>
                      <a:pt x="44" y="125"/>
                    </a:lnTo>
                    <a:lnTo>
                      <a:pt x="44" y="124"/>
                    </a:lnTo>
                    <a:lnTo>
                      <a:pt x="44" y="122"/>
                    </a:lnTo>
                    <a:lnTo>
                      <a:pt x="44" y="120"/>
                    </a:lnTo>
                    <a:lnTo>
                      <a:pt x="43" y="120"/>
                    </a:lnTo>
                    <a:lnTo>
                      <a:pt x="43" y="119"/>
                    </a:lnTo>
                    <a:lnTo>
                      <a:pt x="41" y="119"/>
                    </a:lnTo>
                    <a:lnTo>
                      <a:pt x="39" y="119"/>
                    </a:lnTo>
                    <a:lnTo>
                      <a:pt x="39" y="117"/>
                    </a:lnTo>
                    <a:lnTo>
                      <a:pt x="38" y="117"/>
                    </a:lnTo>
                    <a:lnTo>
                      <a:pt x="38" y="116"/>
                    </a:lnTo>
                    <a:lnTo>
                      <a:pt x="38" y="114"/>
                    </a:lnTo>
                    <a:lnTo>
                      <a:pt x="39" y="114"/>
                    </a:lnTo>
                    <a:lnTo>
                      <a:pt x="39" y="112"/>
                    </a:lnTo>
                    <a:lnTo>
                      <a:pt x="39" y="111"/>
                    </a:lnTo>
                    <a:lnTo>
                      <a:pt x="38" y="111"/>
                    </a:lnTo>
                    <a:lnTo>
                      <a:pt x="38" y="109"/>
                    </a:lnTo>
                    <a:lnTo>
                      <a:pt x="36" y="109"/>
                    </a:lnTo>
                    <a:lnTo>
                      <a:pt x="36" y="108"/>
                    </a:lnTo>
                    <a:lnTo>
                      <a:pt x="36" y="106"/>
                    </a:lnTo>
                    <a:lnTo>
                      <a:pt x="36" y="108"/>
                    </a:lnTo>
                    <a:lnTo>
                      <a:pt x="35" y="108"/>
                    </a:lnTo>
                    <a:lnTo>
                      <a:pt x="35" y="106"/>
                    </a:lnTo>
                    <a:lnTo>
                      <a:pt x="33" y="106"/>
                    </a:lnTo>
                    <a:lnTo>
                      <a:pt x="33" y="105"/>
                    </a:lnTo>
                    <a:lnTo>
                      <a:pt x="33" y="103"/>
                    </a:lnTo>
                    <a:lnTo>
                      <a:pt x="33" y="101"/>
                    </a:lnTo>
                    <a:lnTo>
                      <a:pt x="32" y="101"/>
                    </a:lnTo>
                    <a:lnTo>
                      <a:pt x="32" y="100"/>
                    </a:lnTo>
                    <a:lnTo>
                      <a:pt x="30" y="100"/>
                    </a:lnTo>
                    <a:lnTo>
                      <a:pt x="28" y="100"/>
                    </a:lnTo>
                    <a:lnTo>
                      <a:pt x="27" y="100"/>
                    </a:lnTo>
                    <a:lnTo>
                      <a:pt x="27" y="98"/>
                    </a:lnTo>
                    <a:lnTo>
                      <a:pt x="25" y="98"/>
                    </a:lnTo>
                    <a:lnTo>
                      <a:pt x="25" y="97"/>
                    </a:lnTo>
                    <a:lnTo>
                      <a:pt x="25" y="95"/>
                    </a:lnTo>
                    <a:lnTo>
                      <a:pt x="25" y="93"/>
                    </a:lnTo>
                    <a:lnTo>
                      <a:pt x="24" y="93"/>
                    </a:lnTo>
                    <a:lnTo>
                      <a:pt x="24" y="92"/>
                    </a:lnTo>
                    <a:lnTo>
                      <a:pt x="24" y="90"/>
                    </a:lnTo>
                    <a:lnTo>
                      <a:pt x="24" y="89"/>
                    </a:lnTo>
                    <a:lnTo>
                      <a:pt x="22" y="89"/>
                    </a:lnTo>
                    <a:lnTo>
                      <a:pt x="22" y="87"/>
                    </a:lnTo>
                    <a:lnTo>
                      <a:pt x="22" y="86"/>
                    </a:lnTo>
                    <a:lnTo>
                      <a:pt x="22" y="84"/>
                    </a:lnTo>
                    <a:lnTo>
                      <a:pt x="20" y="84"/>
                    </a:lnTo>
                    <a:lnTo>
                      <a:pt x="20" y="82"/>
                    </a:lnTo>
                    <a:lnTo>
                      <a:pt x="19" y="82"/>
                    </a:lnTo>
                    <a:lnTo>
                      <a:pt x="17" y="82"/>
                    </a:lnTo>
                    <a:lnTo>
                      <a:pt x="17" y="81"/>
                    </a:lnTo>
                    <a:lnTo>
                      <a:pt x="16" y="81"/>
                    </a:lnTo>
                    <a:lnTo>
                      <a:pt x="16" y="79"/>
                    </a:lnTo>
                    <a:lnTo>
                      <a:pt x="14" y="79"/>
                    </a:lnTo>
                    <a:lnTo>
                      <a:pt x="14" y="78"/>
                    </a:lnTo>
                    <a:lnTo>
                      <a:pt x="13" y="78"/>
                    </a:lnTo>
                    <a:lnTo>
                      <a:pt x="14" y="78"/>
                    </a:lnTo>
                    <a:lnTo>
                      <a:pt x="14" y="76"/>
                    </a:lnTo>
                    <a:lnTo>
                      <a:pt x="14" y="74"/>
                    </a:lnTo>
                    <a:lnTo>
                      <a:pt x="14" y="73"/>
                    </a:lnTo>
                    <a:lnTo>
                      <a:pt x="13" y="71"/>
                    </a:lnTo>
                    <a:lnTo>
                      <a:pt x="11" y="70"/>
                    </a:lnTo>
                    <a:lnTo>
                      <a:pt x="9" y="70"/>
                    </a:lnTo>
                    <a:lnTo>
                      <a:pt x="9" y="68"/>
                    </a:lnTo>
                    <a:lnTo>
                      <a:pt x="8" y="68"/>
                    </a:lnTo>
                    <a:lnTo>
                      <a:pt x="8" y="67"/>
                    </a:lnTo>
                    <a:lnTo>
                      <a:pt x="6" y="67"/>
                    </a:lnTo>
                    <a:lnTo>
                      <a:pt x="6" y="65"/>
                    </a:lnTo>
                    <a:lnTo>
                      <a:pt x="6" y="63"/>
                    </a:lnTo>
                    <a:lnTo>
                      <a:pt x="6" y="62"/>
                    </a:lnTo>
                    <a:lnTo>
                      <a:pt x="5" y="62"/>
                    </a:lnTo>
                    <a:lnTo>
                      <a:pt x="5" y="60"/>
                    </a:lnTo>
                    <a:lnTo>
                      <a:pt x="3" y="60"/>
                    </a:lnTo>
                    <a:lnTo>
                      <a:pt x="3" y="59"/>
                    </a:lnTo>
                    <a:lnTo>
                      <a:pt x="1" y="57"/>
                    </a:lnTo>
                    <a:lnTo>
                      <a:pt x="1" y="55"/>
                    </a:lnTo>
                    <a:lnTo>
                      <a:pt x="3" y="55"/>
                    </a:lnTo>
                    <a:lnTo>
                      <a:pt x="1" y="55"/>
                    </a:lnTo>
                    <a:lnTo>
                      <a:pt x="3" y="55"/>
                    </a:lnTo>
                    <a:lnTo>
                      <a:pt x="3" y="54"/>
                    </a:lnTo>
                    <a:lnTo>
                      <a:pt x="3" y="52"/>
                    </a:lnTo>
                    <a:lnTo>
                      <a:pt x="3" y="51"/>
                    </a:lnTo>
                    <a:lnTo>
                      <a:pt x="1" y="51"/>
                    </a:lnTo>
                    <a:lnTo>
                      <a:pt x="1" y="49"/>
                    </a:lnTo>
                    <a:lnTo>
                      <a:pt x="1" y="48"/>
                    </a:lnTo>
                    <a:lnTo>
                      <a:pt x="0" y="48"/>
                    </a:lnTo>
                    <a:lnTo>
                      <a:pt x="0" y="46"/>
                    </a:lnTo>
                    <a:lnTo>
                      <a:pt x="1" y="46"/>
                    </a:lnTo>
                    <a:lnTo>
                      <a:pt x="1" y="44"/>
                    </a:lnTo>
                    <a:lnTo>
                      <a:pt x="1" y="43"/>
                    </a:lnTo>
                    <a:lnTo>
                      <a:pt x="1" y="41"/>
                    </a:lnTo>
                    <a:lnTo>
                      <a:pt x="1" y="40"/>
                    </a:lnTo>
                    <a:lnTo>
                      <a:pt x="1" y="38"/>
                    </a:lnTo>
                    <a:lnTo>
                      <a:pt x="3" y="36"/>
                    </a:lnTo>
                    <a:lnTo>
                      <a:pt x="3" y="35"/>
                    </a:lnTo>
                    <a:lnTo>
                      <a:pt x="3" y="33"/>
                    </a:lnTo>
                    <a:lnTo>
                      <a:pt x="3" y="32"/>
                    </a:lnTo>
                    <a:lnTo>
                      <a:pt x="3" y="30"/>
                    </a:lnTo>
                    <a:lnTo>
                      <a:pt x="3" y="29"/>
                    </a:lnTo>
                    <a:lnTo>
                      <a:pt x="5" y="27"/>
                    </a:lnTo>
                    <a:lnTo>
                      <a:pt x="5" y="25"/>
                    </a:lnTo>
                    <a:lnTo>
                      <a:pt x="5" y="22"/>
                    </a:lnTo>
                    <a:lnTo>
                      <a:pt x="5" y="17"/>
                    </a:lnTo>
                    <a:lnTo>
                      <a:pt x="1" y="17"/>
                    </a:lnTo>
                    <a:lnTo>
                      <a:pt x="3" y="14"/>
                    </a:lnTo>
                    <a:lnTo>
                      <a:pt x="3" y="13"/>
                    </a:lnTo>
                    <a:lnTo>
                      <a:pt x="3" y="11"/>
                    </a:lnTo>
                    <a:lnTo>
                      <a:pt x="6" y="10"/>
                    </a:lnTo>
                    <a:lnTo>
                      <a:pt x="9" y="10"/>
                    </a:lnTo>
                    <a:lnTo>
                      <a:pt x="14" y="10"/>
                    </a:lnTo>
                    <a:lnTo>
                      <a:pt x="17" y="8"/>
                    </a:lnTo>
                    <a:lnTo>
                      <a:pt x="19" y="10"/>
                    </a:lnTo>
                    <a:lnTo>
                      <a:pt x="20" y="10"/>
                    </a:lnTo>
                    <a:lnTo>
                      <a:pt x="22" y="10"/>
                    </a:lnTo>
                    <a:lnTo>
                      <a:pt x="24" y="10"/>
                    </a:lnTo>
                    <a:lnTo>
                      <a:pt x="25" y="10"/>
                    </a:lnTo>
                    <a:lnTo>
                      <a:pt x="27" y="10"/>
                    </a:lnTo>
                    <a:lnTo>
                      <a:pt x="28" y="10"/>
                    </a:lnTo>
                    <a:lnTo>
                      <a:pt x="30" y="10"/>
                    </a:lnTo>
                    <a:lnTo>
                      <a:pt x="32" y="10"/>
                    </a:lnTo>
                    <a:lnTo>
                      <a:pt x="33" y="10"/>
                    </a:lnTo>
                    <a:lnTo>
                      <a:pt x="35" y="10"/>
                    </a:lnTo>
                    <a:lnTo>
                      <a:pt x="36" y="8"/>
                    </a:lnTo>
                    <a:lnTo>
                      <a:pt x="38" y="6"/>
                    </a:lnTo>
                    <a:lnTo>
                      <a:pt x="39" y="6"/>
                    </a:lnTo>
                    <a:lnTo>
                      <a:pt x="41" y="5"/>
                    </a:lnTo>
                    <a:lnTo>
                      <a:pt x="41" y="3"/>
                    </a:lnTo>
                    <a:lnTo>
                      <a:pt x="39" y="3"/>
                    </a:lnTo>
                    <a:lnTo>
                      <a:pt x="39" y="2"/>
                    </a:lnTo>
                    <a:lnTo>
                      <a:pt x="38" y="0"/>
                    </a:lnTo>
                    <a:lnTo>
                      <a:pt x="39" y="0"/>
                    </a:lnTo>
                    <a:close/>
                  </a:path>
                </a:pathLst>
              </a:custGeom>
              <a:solidFill>
                <a:srgbClr val="E1E1E1"/>
              </a:solidFill>
              <a:ln w="4763">
                <a:solidFill>
                  <a:srgbClr val="6E6E6E"/>
                </a:solidFill>
                <a:prstDash val="solid"/>
                <a:round/>
                <a:headEnd/>
                <a:tailEnd/>
              </a:ln>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72" name="Freeform 152"/>
              <p:cNvSpPr>
                <a:spLocks noEditPoints="1"/>
              </p:cNvSpPr>
              <p:nvPr/>
            </p:nvSpPr>
            <p:spPr bwMode="auto">
              <a:xfrm>
                <a:off x="5053" y="2177"/>
                <a:ext cx="71" cy="133"/>
              </a:xfrm>
              <a:custGeom>
                <a:avLst/>
                <a:gdLst>
                  <a:gd name="T0" fmla="*/ 71 w 71"/>
                  <a:gd name="T1" fmla="*/ 129 h 133"/>
                  <a:gd name="T2" fmla="*/ 70 w 71"/>
                  <a:gd name="T3" fmla="*/ 129 h 133"/>
                  <a:gd name="T4" fmla="*/ 66 w 71"/>
                  <a:gd name="T5" fmla="*/ 128 h 133"/>
                  <a:gd name="T6" fmla="*/ 54 w 71"/>
                  <a:gd name="T7" fmla="*/ 110 h 133"/>
                  <a:gd name="T8" fmla="*/ 54 w 71"/>
                  <a:gd name="T9" fmla="*/ 115 h 133"/>
                  <a:gd name="T10" fmla="*/ 51 w 71"/>
                  <a:gd name="T11" fmla="*/ 110 h 133"/>
                  <a:gd name="T12" fmla="*/ 52 w 71"/>
                  <a:gd name="T13" fmla="*/ 107 h 133"/>
                  <a:gd name="T14" fmla="*/ 60 w 71"/>
                  <a:gd name="T15" fmla="*/ 104 h 133"/>
                  <a:gd name="T16" fmla="*/ 59 w 71"/>
                  <a:gd name="T17" fmla="*/ 104 h 133"/>
                  <a:gd name="T18" fmla="*/ 62 w 71"/>
                  <a:gd name="T19" fmla="*/ 91 h 133"/>
                  <a:gd name="T20" fmla="*/ 32 w 71"/>
                  <a:gd name="T21" fmla="*/ 85 h 133"/>
                  <a:gd name="T22" fmla="*/ 17 w 71"/>
                  <a:gd name="T23" fmla="*/ 79 h 133"/>
                  <a:gd name="T24" fmla="*/ 16 w 71"/>
                  <a:gd name="T25" fmla="*/ 79 h 133"/>
                  <a:gd name="T26" fmla="*/ 3 w 71"/>
                  <a:gd name="T27" fmla="*/ 38 h 133"/>
                  <a:gd name="T28" fmla="*/ 0 w 71"/>
                  <a:gd name="T29" fmla="*/ 39 h 133"/>
                  <a:gd name="T30" fmla="*/ 22 w 71"/>
                  <a:gd name="T31" fmla="*/ 30 h 133"/>
                  <a:gd name="T32" fmla="*/ 21 w 71"/>
                  <a:gd name="T33" fmla="*/ 30 h 133"/>
                  <a:gd name="T34" fmla="*/ 13 w 71"/>
                  <a:gd name="T35" fmla="*/ 28 h 133"/>
                  <a:gd name="T36" fmla="*/ 41 w 71"/>
                  <a:gd name="T37" fmla="*/ 0 h 133"/>
                  <a:gd name="T38" fmla="*/ 51 w 71"/>
                  <a:gd name="T39" fmla="*/ 7 h 133"/>
                  <a:gd name="T40" fmla="*/ 49 w 71"/>
                  <a:gd name="T41" fmla="*/ 20 h 133"/>
                  <a:gd name="T42" fmla="*/ 47 w 71"/>
                  <a:gd name="T43" fmla="*/ 28 h 133"/>
                  <a:gd name="T44" fmla="*/ 47 w 71"/>
                  <a:gd name="T45" fmla="*/ 36 h 133"/>
                  <a:gd name="T46" fmla="*/ 47 w 71"/>
                  <a:gd name="T47" fmla="*/ 41 h 133"/>
                  <a:gd name="T48" fmla="*/ 47 w 71"/>
                  <a:gd name="T49" fmla="*/ 45 h 133"/>
                  <a:gd name="T50" fmla="*/ 49 w 71"/>
                  <a:gd name="T51" fmla="*/ 50 h 133"/>
                  <a:gd name="T52" fmla="*/ 52 w 71"/>
                  <a:gd name="T53" fmla="*/ 55 h 133"/>
                  <a:gd name="T54" fmla="*/ 55 w 71"/>
                  <a:gd name="T55" fmla="*/ 60 h 133"/>
                  <a:gd name="T56" fmla="*/ 60 w 71"/>
                  <a:gd name="T57" fmla="*/ 66 h 133"/>
                  <a:gd name="T58" fmla="*/ 57 w 71"/>
                  <a:gd name="T59" fmla="*/ 71 h 133"/>
                  <a:gd name="T60" fmla="*/ 59 w 71"/>
                  <a:gd name="T61" fmla="*/ 77 h 133"/>
                  <a:gd name="T62" fmla="*/ 59 w 71"/>
                  <a:gd name="T63" fmla="*/ 79 h 133"/>
                  <a:gd name="T64" fmla="*/ 55 w 71"/>
                  <a:gd name="T65" fmla="*/ 74 h 133"/>
                  <a:gd name="T66" fmla="*/ 51 w 71"/>
                  <a:gd name="T67" fmla="*/ 74 h 133"/>
                  <a:gd name="T68" fmla="*/ 52 w 71"/>
                  <a:gd name="T69" fmla="*/ 80 h 133"/>
                  <a:gd name="T70" fmla="*/ 55 w 71"/>
                  <a:gd name="T71" fmla="*/ 85 h 133"/>
                  <a:gd name="T72" fmla="*/ 55 w 71"/>
                  <a:gd name="T73" fmla="*/ 90 h 133"/>
                  <a:gd name="T74" fmla="*/ 55 w 71"/>
                  <a:gd name="T75" fmla="*/ 91 h 133"/>
                  <a:gd name="T76" fmla="*/ 55 w 71"/>
                  <a:gd name="T77" fmla="*/ 93 h 133"/>
                  <a:gd name="T78" fmla="*/ 47 w 71"/>
                  <a:gd name="T79" fmla="*/ 93 h 133"/>
                  <a:gd name="T80" fmla="*/ 44 w 71"/>
                  <a:gd name="T81" fmla="*/ 88 h 133"/>
                  <a:gd name="T82" fmla="*/ 43 w 71"/>
                  <a:gd name="T83" fmla="*/ 85 h 133"/>
                  <a:gd name="T84" fmla="*/ 40 w 71"/>
                  <a:gd name="T85" fmla="*/ 80 h 133"/>
                  <a:gd name="T86" fmla="*/ 38 w 71"/>
                  <a:gd name="T87" fmla="*/ 77 h 133"/>
                  <a:gd name="T88" fmla="*/ 33 w 71"/>
                  <a:gd name="T89" fmla="*/ 74 h 133"/>
                  <a:gd name="T90" fmla="*/ 28 w 71"/>
                  <a:gd name="T91" fmla="*/ 71 h 133"/>
                  <a:gd name="T92" fmla="*/ 27 w 71"/>
                  <a:gd name="T93" fmla="*/ 64 h 133"/>
                  <a:gd name="T94" fmla="*/ 24 w 71"/>
                  <a:gd name="T95" fmla="*/ 60 h 133"/>
                  <a:gd name="T96" fmla="*/ 25 w 71"/>
                  <a:gd name="T97" fmla="*/ 57 h 133"/>
                  <a:gd name="T98" fmla="*/ 27 w 71"/>
                  <a:gd name="T99" fmla="*/ 50 h 133"/>
                  <a:gd name="T100" fmla="*/ 22 w 71"/>
                  <a:gd name="T101" fmla="*/ 47 h 133"/>
                  <a:gd name="T102" fmla="*/ 19 w 71"/>
                  <a:gd name="T103" fmla="*/ 42 h 133"/>
                  <a:gd name="T104" fmla="*/ 24 w 71"/>
                  <a:gd name="T105" fmla="*/ 39 h 133"/>
                  <a:gd name="T106" fmla="*/ 24 w 71"/>
                  <a:gd name="T107" fmla="*/ 38 h 133"/>
                  <a:gd name="T108" fmla="*/ 28 w 71"/>
                  <a:gd name="T109" fmla="*/ 34 h 133"/>
                  <a:gd name="T110" fmla="*/ 28 w 71"/>
                  <a:gd name="T111" fmla="*/ 30 h 133"/>
                  <a:gd name="T112" fmla="*/ 28 w 71"/>
                  <a:gd name="T113" fmla="*/ 25 h 133"/>
                  <a:gd name="T114" fmla="*/ 28 w 71"/>
                  <a:gd name="T115" fmla="*/ 17 h 133"/>
                  <a:gd name="T116" fmla="*/ 27 w 71"/>
                  <a:gd name="T117" fmla="*/ 11 h 133"/>
                  <a:gd name="T118" fmla="*/ 25 w 71"/>
                  <a:gd name="T119" fmla="*/ 4 h 133"/>
                  <a:gd name="T120" fmla="*/ 27 w 71"/>
                  <a:gd name="T121" fmla="*/ 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 h="133">
                    <a:moveTo>
                      <a:pt x="68" y="125"/>
                    </a:moveTo>
                    <a:lnTo>
                      <a:pt x="70" y="125"/>
                    </a:lnTo>
                    <a:lnTo>
                      <a:pt x="70" y="126"/>
                    </a:lnTo>
                    <a:lnTo>
                      <a:pt x="70" y="129"/>
                    </a:lnTo>
                    <a:lnTo>
                      <a:pt x="71" y="129"/>
                    </a:lnTo>
                    <a:lnTo>
                      <a:pt x="71" y="131"/>
                    </a:lnTo>
                    <a:lnTo>
                      <a:pt x="71" y="133"/>
                    </a:lnTo>
                    <a:lnTo>
                      <a:pt x="70" y="133"/>
                    </a:lnTo>
                    <a:lnTo>
                      <a:pt x="70" y="131"/>
                    </a:lnTo>
                    <a:lnTo>
                      <a:pt x="70" y="129"/>
                    </a:lnTo>
                    <a:lnTo>
                      <a:pt x="70" y="131"/>
                    </a:lnTo>
                    <a:lnTo>
                      <a:pt x="68" y="131"/>
                    </a:lnTo>
                    <a:lnTo>
                      <a:pt x="68" y="129"/>
                    </a:lnTo>
                    <a:lnTo>
                      <a:pt x="68" y="128"/>
                    </a:lnTo>
                    <a:lnTo>
                      <a:pt x="66" y="128"/>
                    </a:lnTo>
                    <a:lnTo>
                      <a:pt x="66" y="126"/>
                    </a:lnTo>
                    <a:lnTo>
                      <a:pt x="66" y="125"/>
                    </a:lnTo>
                    <a:lnTo>
                      <a:pt x="68" y="125"/>
                    </a:lnTo>
                    <a:close/>
                    <a:moveTo>
                      <a:pt x="52" y="110"/>
                    </a:moveTo>
                    <a:lnTo>
                      <a:pt x="54" y="110"/>
                    </a:lnTo>
                    <a:lnTo>
                      <a:pt x="54" y="112"/>
                    </a:lnTo>
                    <a:lnTo>
                      <a:pt x="54" y="114"/>
                    </a:lnTo>
                    <a:lnTo>
                      <a:pt x="55" y="114"/>
                    </a:lnTo>
                    <a:lnTo>
                      <a:pt x="55" y="115"/>
                    </a:lnTo>
                    <a:lnTo>
                      <a:pt x="54" y="115"/>
                    </a:lnTo>
                    <a:lnTo>
                      <a:pt x="54" y="114"/>
                    </a:lnTo>
                    <a:lnTo>
                      <a:pt x="52" y="114"/>
                    </a:lnTo>
                    <a:lnTo>
                      <a:pt x="52" y="112"/>
                    </a:lnTo>
                    <a:lnTo>
                      <a:pt x="51" y="112"/>
                    </a:lnTo>
                    <a:lnTo>
                      <a:pt x="51" y="110"/>
                    </a:lnTo>
                    <a:lnTo>
                      <a:pt x="52" y="110"/>
                    </a:lnTo>
                    <a:close/>
                    <a:moveTo>
                      <a:pt x="54" y="107"/>
                    </a:moveTo>
                    <a:lnTo>
                      <a:pt x="54" y="109"/>
                    </a:lnTo>
                    <a:lnTo>
                      <a:pt x="52" y="109"/>
                    </a:lnTo>
                    <a:lnTo>
                      <a:pt x="52" y="107"/>
                    </a:lnTo>
                    <a:lnTo>
                      <a:pt x="54" y="107"/>
                    </a:lnTo>
                    <a:lnTo>
                      <a:pt x="52" y="107"/>
                    </a:lnTo>
                    <a:lnTo>
                      <a:pt x="54" y="107"/>
                    </a:lnTo>
                    <a:close/>
                    <a:moveTo>
                      <a:pt x="59" y="104"/>
                    </a:moveTo>
                    <a:lnTo>
                      <a:pt x="60" y="104"/>
                    </a:lnTo>
                    <a:lnTo>
                      <a:pt x="60" y="106"/>
                    </a:lnTo>
                    <a:lnTo>
                      <a:pt x="60" y="104"/>
                    </a:lnTo>
                    <a:lnTo>
                      <a:pt x="59" y="104"/>
                    </a:lnTo>
                    <a:close/>
                    <a:moveTo>
                      <a:pt x="59" y="102"/>
                    </a:moveTo>
                    <a:lnTo>
                      <a:pt x="59" y="104"/>
                    </a:lnTo>
                    <a:lnTo>
                      <a:pt x="59" y="102"/>
                    </a:lnTo>
                    <a:close/>
                    <a:moveTo>
                      <a:pt x="62" y="90"/>
                    </a:moveTo>
                    <a:lnTo>
                      <a:pt x="62" y="91"/>
                    </a:lnTo>
                    <a:lnTo>
                      <a:pt x="63" y="91"/>
                    </a:lnTo>
                    <a:lnTo>
                      <a:pt x="62" y="91"/>
                    </a:lnTo>
                    <a:lnTo>
                      <a:pt x="62" y="90"/>
                    </a:lnTo>
                    <a:close/>
                    <a:moveTo>
                      <a:pt x="33" y="85"/>
                    </a:moveTo>
                    <a:lnTo>
                      <a:pt x="33" y="87"/>
                    </a:lnTo>
                    <a:lnTo>
                      <a:pt x="33" y="85"/>
                    </a:lnTo>
                    <a:lnTo>
                      <a:pt x="32" y="85"/>
                    </a:lnTo>
                    <a:lnTo>
                      <a:pt x="33" y="85"/>
                    </a:lnTo>
                    <a:close/>
                    <a:moveTo>
                      <a:pt x="30" y="82"/>
                    </a:moveTo>
                    <a:lnTo>
                      <a:pt x="32" y="82"/>
                    </a:lnTo>
                    <a:lnTo>
                      <a:pt x="30" y="82"/>
                    </a:lnTo>
                    <a:close/>
                    <a:moveTo>
                      <a:pt x="17" y="79"/>
                    </a:moveTo>
                    <a:lnTo>
                      <a:pt x="17" y="80"/>
                    </a:lnTo>
                    <a:lnTo>
                      <a:pt x="17" y="82"/>
                    </a:lnTo>
                    <a:lnTo>
                      <a:pt x="17" y="80"/>
                    </a:lnTo>
                    <a:lnTo>
                      <a:pt x="16" y="80"/>
                    </a:lnTo>
                    <a:lnTo>
                      <a:pt x="16" y="79"/>
                    </a:lnTo>
                    <a:lnTo>
                      <a:pt x="17" y="79"/>
                    </a:lnTo>
                    <a:close/>
                    <a:moveTo>
                      <a:pt x="0" y="50"/>
                    </a:moveTo>
                    <a:lnTo>
                      <a:pt x="0" y="52"/>
                    </a:lnTo>
                    <a:lnTo>
                      <a:pt x="0" y="50"/>
                    </a:lnTo>
                    <a:close/>
                    <a:moveTo>
                      <a:pt x="3" y="38"/>
                    </a:moveTo>
                    <a:lnTo>
                      <a:pt x="3" y="39"/>
                    </a:lnTo>
                    <a:lnTo>
                      <a:pt x="2" y="39"/>
                    </a:lnTo>
                    <a:lnTo>
                      <a:pt x="2" y="41"/>
                    </a:lnTo>
                    <a:lnTo>
                      <a:pt x="0" y="41"/>
                    </a:lnTo>
                    <a:lnTo>
                      <a:pt x="0" y="39"/>
                    </a:lnTo>
                    <a:lnTo>
                      <a:pt x="2" y="39"/>
                    </a:lnTo>
                    <a:lnTo>
                      <a:pt x="2" y="38"/>
                    </a:lnTo>
                    <a:lnTo>
                      <a:pt x="3" y="38"/>
                    </a:lnTo>
                    <a:close/>
                    <a:moveTo>
                      <a:pt x="21" y="30"/>
                    </a:moveTo>
                    <a:lnTo>
                      <a:pt x="22" y="30"/>
                    </a:lnTo>
                    <a:lnTo>
                      <a:pt x="22" y="31"/>
                    </a:lnTo>
                    <a:lnTo>
                      <a:pt x="24" y="31"/>
                    </a:lnTo>
                    <a:lnTo>
                      <a:pt x="22" y="31"/>
                    </a:lnTo>
                    <a:lnTo>
                      <a:pt x="21" y="31"/>
                    </a:lnTo>
                    <a:lnTo>
                      <a:pt x="21" y="30"/>
                    </a:lnTo>
                    <a:close/>
                    <a:moveTo>
                      <a:pt x="13" y="28"/>
                    </a:moveTo>
                    <a:lnTo>
                      <a:pt x="14" y="28"/>
                    </a:lnTo>
                    <a:lnTo>
                      <a:pt x="14" y="30"/>
                    </a:lnTo>
                    <a:lnTo>
                      <a:pt x="14" y="28"/>
                    </a:lnTo>
                    <a:lnTo>
                      <a:pt x="13" y="28"/>
                    </a:lnTo>
                    <a:close/>
                    <a:moveTo>
                      <a:pt x="30" y="0"/>
                    </a:moveTo>
                    <a:lnTo>
                      <a:pt x="32" y="1"/>
                    </a:lnTo>
                    <a:lnTo>
                      <a:pt x="35" y="1"/>
                    </a:lnTo>
                    <a:lnTo>
                      <a:pt x="40" y="1"/>
                    </a:lnTo>
                    <a:lnTo>
                      <a:pt x="41" y="0"/>
                    </a:lnTo>
                    <a:lnTo>
                      <a:pt x="49" y="1"/>
                    </a:lnTo>
                    <a:lnTo>
                      <a:pt x="49" y="3"/>
                    </a:lnTo>
                    <a:lnTo>
                      <a:pt x="49" y="4"/>
                    </a:lnTo>
                    <a:lnTo>
                      <a:pt x="47" y="7"/>
                    </a:lnTo>
                    <a:lnTo>
                      <a:pt x="51" y="7"/>
                    </a:lnTo>
                    <a:lnTo>
                      <a:pt x="51" y="12"/>
                    </a:lnTo>
                    <a:lnTo>
                      <a:pt x="51" y="15"/>
                    </a:lnTo>
                    <a:lnTo>
                      <a:pt x="51" y="17"/>
                    </a:lnTo>
                    <a:lnTo>
                      <a:pt x="49" y="19"/>
                    </a:lnTo>
                    <a:lnTo>
                      <a:pt x="49" y="20"/>
                    </a:lnTo>
                    <a:lnTo>
                      <a:pt x="49" y="22"/>
                    </a:lnTo>
                    <a:lnTo>
                      <a:pt x="49" y="23"/>
                    </a:lnTo>
                    <a:lnTo>
                      <a:pt x="49" y="25"/>
                    </a:lnTo>
                    <a:lnTo>
                      <a:pt x="49" y="26"/>
                    </a:lnTo>
                    <a:lnTo>
                      <a:pt x="47" y="28"/>
                    </a:lnTo>
                    <a:lnTo>
                      <a:pt x="47" y="30"/>
                    </a:lnTo>
                    <a:lnTo>
                      <a:pt x="47" y="31"/>
                    </a:lnTo>
                    <a:lnTo>
                      <a:pt x="47" y="33"/>
                    </a:lnTo>
                    <a:lnTo>
                      <a:pt x="47" y="34"/>
                    </a:lnTo>
                    <a:lnTo>
                      <a:pt x="47" y="36"/>
                    </a:lnTo>
                    <a:lnTo>
                      <a:pt x="46" y="36"/>
                    </a:lnTo>
                    <a:lnTo>
                      <a:pt x="46" y="38"/>
                    </a:lnTo>
                    <a:lnTo>
                      <a:pt x="47" y="38"/>
                    </a:lnTo>
                    <a:lnTo>
                      <a:pt x="47" y="39"/>
                    </a:lnTo>
                    <a:lnTo>
                      <a:pt x="47" y="41"/>
                    </a:lnTo>
                    <a:lnTo>
                      <a:pt x="49" y="41"/>
                    </a:lnTo>
                    <a:lnTo>
                      <a:pt x="49" y="42"/>
                    </a:lnTo>
                    <a:lnTo>
                      <a:pt x="49" y="44"/>
                    </a:lnTo>
                    <a:lnTo>
                      <a:pt x="49" y="45"/>
                    </a:lnTo>
                    <a:lnTo>
                      <a:pt x="47" y="45"/>
                    </a:lnTo>
                    <a:lnTo>
                      <a:pt x="49" y="45"/>
                    </a:lnTo>
                    <a:lnTo>
                      <a:pt x="47" y="45"/>
                    </a:lnTo>
                    <a:lnTo>
                      <a:pt x="47" y="47"/>
                    </a:lnTo>
                    <a:lnTo>
                      <a:pt x="49" y="49"/>
                    </a:lnTo>
                    <a:lnTo>
                      <a:pt x="49" y="50"/>
                    </a:lnTo>
                    <a:lnTo>
                      <a:pt x="51" y="50"/>
                    </a:lnTo>
                    <a:lnTo>
                      <a:pt x="51" y="52"/>
                    </a:lnTo>
                    <a:lnTo>
                      <a:pt x="52" y="52"/>
                    </a:lnTo>
                    <a:lnTo>
                      <a:pt x="52" y="53"/>
                    </a:lnTo>
                    <a:lnTo>
                      <a:pt x="52" y="55"/>
                    </a:lnTo>
                    <a:lnTo>
                      <a:pt x="52" y="57"/>
                    </a:lnTo>
                    <a:lnTo>
                      <a:pt x="54" y="57"/>
                    </a:lnTo>
                    <a:lnTo>
                      <a:pt x="54" y="58"/>
                    </a:lnTo>
                    <a:lnTo>
                      <a:pt x="55" y="58"/>
                    </a:lnTo>
                    <a:lnTo>
                      <a:pt x="55" y="60"/>
                    </a:lnTo>
                    <a:lnTo>
                      <a:pt x="57" y="60"/>
                    </a:lnTo>
                    <a:lnTo>
                      <a:pt x="59" y="61"/>
                    </a:lnTo>
                    <a:lnTo>
                      <a:pt x="60" y="63"/>
                    </a:lnTo>
                    <a:lnTo>
                      <a:pt x="60" y="64"/>
                    </a:lnTo>
                    <a:lnTo>
                      <a:pt x="60" y="66"/>
                    </a:lnTo>
                    <a:lnTo>
                      <a:pt x="60" y="68"/>
                    </a:lnTo>
                    <a:lnTo>
                      <a:pt x="59" y="68"/>
                    </a:lnTo>
                    <a:lnTo>
                      <a:pt x="59" y="69"/>
                    </a:lnTo>
                    <a:lnTo>
                      <a:pt x="57" y="69"/>
                    </a:lnTo>
                    <a:lnTo>
                      <a:pt x="57" y="71"/>
                    </a:lnTo>
                    <a:lnTo>
                      <a:pt x="57" y="72"/>
                    </a:lnTo>
                    <a:lnTo>
                      <a:pt x="59" y="72"/>
                    </a:lnTo>
                    <a:lnTo>
                      <a:pt x="59" y="74"/>
                    </a:lnTo>
                    <a:lnTo>
                      <a:pt x="59" y="76"/>
                    </a:lnTo>
                    <a:lnTo>
                      <a:pt x="59" y="77"/>
                    </a:lnTo>
                    <a:lnTo>
                      <a:pt x="59" y="79"/>
                    </a:lnTo>
                    <a:lnTo>
                      <a:pt x="60" y="79"/>
                    </a:lnTo>
                    <a:lnTo>
                      <a:pt x="59" y="79"/>
                    </a:lnTo>
                    <a:lnTo>
                      <a:pt x="57" y="79"/>
                    </a:lnTo>
                    <a:lnTo>
                      <a:pt x="59" y="79"/>
                    </a:lnTo>
                    <a:lnTo>
                      <a:pt x="57" y="79"/>
                    </a:lnTo>
                    <a:lnTo>
                      <a:pt x="57" y="77"/>
                    </a:lnTo>
                    <a:lnTo>
                      <a:pt x="57" y="76"/>
                    </a:lnTo>
                    <a:lnTo>
                      <a:pt x="55" y="76"/>
                    </a:lnTo>
                    <a:lnTo>
                      <a:pt x="55" y="74"/>
                    </a:lnTo>
                    <a:lnTo>
                      <a:pt x="54" y="74"/>
                    </a:lnTo>
                    <a:lnTo>
                      <a:pt x="52" y="74"/>
                    </a:lnTo>
                    <a:lnTo>
                      <a:pt x="52" y="72"/>
                    </a:lnTo>
                    <a:lnTo>
                      <a:pt x="51" y="72"/>
                    </a:lnTo>
                    <a:lnTo>
                      <a:pt x="51" y="74"/>
                    </a:lnTo>
                    <a:lnTo>
                      <a:pt x="51" y="76"/>
                    </a:lnTo>
                    <a:lnTo>
                      <a:pt x="51" y="77"/>
                    </a:lnTo>
                    <a:lnTo>
                      <a:pt x="52" y="77"/>
                    </a:lnTo>
                    <a:lnTo>
                      <a:pt x="52" y="79"/>
                    </a:lnTo>
                    <a:lnTo>
                      <a:pt x="52" y="80"/>
                    </a:lnTo>
                    <a:lnTo>
                      <a:pt x="52" y="82"/>
                    </a:lnTo>
                    <a:lnTo>
                      <a:pt x="54" y="82"/>
                    </a:lnTo>
                    <a:lnTo>
                      <a:pt x="54" y="83"/>
                    </a:lnTo>
                    <a:lnTo>
                      <a:pt x="55" y="83"/>
                    </a:lnTo>
                    <a:lnTo>
                      <a:pt x="55" y="85"/>
                    </a:lnTo>
                    <a:lnTo>
                      <a:pt x="55" y="87"/>
                    </a:lnTo>
                    <a:lnTo>
                      <a:pt x="55" y="88"/>
                    </a:lnTo>
                    <a:lnTo>
                      <a:pt x="57" y="88"/>
                    </a:lnTo>
                    <a:lnTo>
                      <a:pt x="55" y="88"/>
                    </a:lnTo>
                    <a:lnTo>
                      <a:pt x="55" y="90"/>
                    </a:lnTo>
                    <a:lnTo>
                      <a:pt x="57" y="90"/>
                    </a:lnTo>
                    <a:lnTo>
                      <a:pt x="55" y="90"/>
                    </a:lnTo>
                    <a:lnTo>
                      <a:pt x="57" y="90"/>
                    </a:lnTo>
                    <a:lnTo>
                      <a:pt x="57" y="91"/>
                    </a:lnTo>
                    <a:lnTo>
                      <a:pt x="55" y="91"/>
                    </a:lnTo>
                    <a:lnTo>
                      <a:pt x="57" y="91"/>
                    </a:lnTo>
                    <a:lnTo>
                      <a:pt x="57" y="93"/>
                    </a:lnTo>
                    <a:lnTo>
                      <a:pt x="57" y="95"/>
                    </a:lnTo>
                    <a:lnTo>
                      <a:pt x="55" y="95"/>
                    </a:lnTo>
                    <a:lnTo>
                      <a:pt x="55" y="93"/>
                    </a:lnTo>
                    <a:lnTo>
                      <a:pt x="54" y="93"/>
                    </a:lnTo>
                    <a:lnTo>
                      <a:pt x="52" y="93"/>
                    </a:lnTo>
                    <a:lnTo>
                      <a:pt x="51" y="93"/>
                    </a:lnTo>
                    <a:lnTo>
                      <a:pt x="49" y="93"/>
                    </a:lnTo>
                    <a:lnTo>
                      <a:pt x="47" y="93"/>
                    </a:lnTo>
                    <a:lnTo>
                      <a:pt x="47" y="91"/>
                    </a:lnTo>
                    <a:lnTo>
                      <a:pt x="46" y="91"/>
                    </a:lnTo>
                    <a:lnTo>
                      <a:pt x="46" y="90"/>
                    </a:lnTo>
                    <a:lnTo>
                      <a:pt x="44" y="90"/>
                    </a:lnTo>
                    <a:lnTo>
                      <a:pt x="44" y="88"/>
                    </a:lnTo>
                    <a:lnTo>
                      <a:pt x="44" y="87"/>
                    </a:lnTo>
                    <a:lnTo>
                      <a:pt x="43" y="87"/>
                    </a:lnTo>
                    <a:lnTo>
                      <a:pt x="44" y="87"/>
                    </a:lnTo>
                    <a:lnTo>
                      <a:pt x="43" y="87"/>
                    </a:lnTo>
                    <a:lnTo>
                      <a:pt x="43" y="85"/>
                    </a:lnTo>
                    <a:lnTo>
                      <a:pt x="43" y="83"/>
                    </a:lnTo>
                    <a:lnTo>
                      <a:pt x="41" y="83"/>
                    </a:lnTo>
                    <a:lnTo>
                      <a:pt x="41" y="82"/>
                    </a:lnTo>
                    <a:lnTo>
                      <a:pt x="41" y="80"/>
                    </a:lnTo>
                    <a:lnTo>
                      <a:pt x="40" y="80"/>
                    </a:lnTo>
                    <a:lnTo>
                      <a:pt x="40" y="79"/>
                    </a:lnTo>
                    <a:lnTo>
                      <a:pt x="40" y="80"/>
                    </a:lnTo>
                    <a:lnTo>
                      <a:pt x="40" y="79"/>
                    </a:lnTo>
                    <a:lnTo>
                      <a:pt x="38" y="79"/>
                    </a:lnTo>
                    <a:lnTo>
                      <a:pt x="38" y="77"/>
                    </a:lnTo>
                    <a:lnTo>
                      <a:pt x="36" y="77"/>
                    </a:lnTo>
                    <a:lnTo>
                      <a:pt x="36" y="76"/>
                    </a:lnTo>
                    <a:lnTo>
                      <a:pt x="35" y="76"/>
                    </a:lnTo>
                    <a:lnTo>
                      <a:pt x="35" y="74"/>
                    </a:lnTo>
                    <a:lnTo>
                      <a:pt x="33" y="74"/>
                    </a:lnTo>
                    <a:lnTo>
                      <a:pt x="33" y="72"/>
                    </a:lnTo>
                    <a:lnTo>
                      <a:pt x="32" y="72"/>
                    </a:lnTo>
                    <a:lnTo>
                      <a:pt x="30" y="72"/>
                    </a:lnTo>
                    <a:lnTo>
                      <a:pt x="28" y="72"/>
                    </a:lnTo>
                    <a:lnTo>
                      <a:pt x="28" y="71"/>
                    </a:lnTo>
                    <a:lnTo>
                      <a:pt x="28" y="69"/>
                    </a:lnTo>
                    <a:lnTo>
                      <a:pt x="28" y="68"/>
                    </a:lnTo>
                    <a:lnTo>
                      <a:pt x="28" y="66"/>
                    </a:lnTo>
                    <a:lnTo>
                      <a:pt x="27" y="66"/>
                    </a:lnTo>
                    <a:lnTo>
                      <a:pt x="27" y="64"/>
                    </a:lnTo>
                    <a:lnTo>
                      <a:pt x="25" y="64"/>
                    </a:lnTo>
                    <a:lnTo>
                      <a:pt x="25" y="63"/>
                    </a:lnTo>
                    <a:lnTo>
                      <a:pt x="24" y="63"/>
                    </a:lnTo>
                    <a:lnTo>
                      <a:pt x="24" y="61"/>
                    </a:lnTo>
                    <a:lnTo>
                      <a:pt x="24" y="60"/>
                    </a:lnTo>
                    <a:lnTo>
                      <a:pt x="25" y="60"/>
                    </a:lnTo>
                    <a:lnTo>
                      <a:pt x="25" y="58"/>
                    </a:lnTo>
                    <a:lnTo>
                      <a:pt x="25" y="57"/>
                    </a:lnTo>
                    <a:lnTo>
                      <a:pt x="24" y="57"/>
                    </a:lnTo>
                    <a:lnTo>
                      <a:pt x="25" y="57"/>
                    </a:lnTo>
                    <a:lnTo>
                      <a:pt x="25" y="55"/>
                    </a:lnTo>
                    <a:lnTo>
                      <a:pt x="27" y="55"/>
                    </a:lnTo>
                    <a:lnTo>
                      <a:pt x="27" y="53"/>
                    </a:lnTo>
                    <a:lnTo>
                      <a:pt x="27" y="52"/>
                    </a:lnTo>
                    <a:lnTo>
                      <a:pt x="27" y="50"/>
                    </a:lnTo>
                    <a:lnTo>
                      <a:pt x="25" y="50"/>
                    </a:lnTo>
                    <a:lnTo>
                      <a:pt x="25" y="49"/>
                    </a:lnTo>
                    <a:lnTo>
                      <a:pt x="24" y="49"/>
                    </a:lnTo>
                    <a:lnTo>
                      <a:pt x="24" y="47"/>
                    </a:lnTo>
                    <a:lnTo>
                      <a:pt x="22" y="47"/>
                    </a:lnTo>
                    <a:lnTo>
                      <a:pt x="22" y="45"/>
                    </a:lnTo>
                    <a:lnTo>
                      <a:pt x="21" y="45"/>
                    </a:lnTo>
                    <a:lnTo>
                      <a:pt x="21" y="44"/>
                    </a:lnTo>
                    <a:lnTo>
                      <a:pt x="21" y="42"/>
                    </a:lnTo>
                    <a:lnTo>
                      <a:pt x="19" y="42"/>
                    </a:lnTo>
                    <a:lnTo>
                      <a:pt x="21" y="42"/>
                    </a:lnTo>
                    <a:lnTo>
                      <a:pt x="21" y="41"/>
                    </a:lnTo>
                    <a:lnTo>
                      <a:pt x="22" y="41"/>
                    </a:lnTo>
                    <a:lnTo>
                      <a:pt x="22" y="39"/>
                    </a:lnTo>
                    <a:lnTo>
                      <a:pt x="24" y="39"/>
                    </a:lnTo>
                    <a:lnTo>
                      <a:pt x="24" y="41"/>
                    </a:lnTo>
                    <a:lnTo>
                      <a:pt x="25" y="41"/>
                    </a:lnTo>
                    <a:lnTo>
                      <a:pt x="25" y="39"/>
                    </a:lnTo>
                    <a:lnTo>
                      <a:pt x="24" y="39"/>
                    </a:lnTo>
                    <a:lnTo>
                      <a:pt x="24" y="38"/>
                    </a:lnTo>
                    <a:lnTo>
                      <a:pt x="25" y="38"/>
                    </a:lnTo>
                    <a:lnTo>
                      <a:pt x="25" y="36"/>
                    </a:lnTo>
                    <a:lnTo>
                      <a:pt x="27" y="36"/>
                    </a:lnTo>
                    <a:lnTo>
                      <a:pt x="27" y="34"/>
                    </a:lnTo>
                    <a:lnTo>
                      <a:pt x="28" y="34"/>
                    </a:lnTo>
                    <a:lnTo>
                      <a:pt x="28" y="33"/>
                    </a:lnTo>
                    <a:lnTo>
                      <a:pt x="28" y="34"/>
                    </a:lnTo>
                    <a:lnTo>
                      <a:pt x="28" y="33"/>
                    </a:lnTo>
                    <a:lnTo>
                      <a:pt x="28" y="31"/>
                    </a:lnTo>
                    <a:lnTo>
                      <a:pt x="28" y="30"/>
                    </a:lnTo>
                    <a:lnTo>
                      <a:pt x="28" y="28"/>
                    </a:lnTo>
                    <a:lnTo>
                      <a:pt x="27" y="28"/>
                    </a:lnTo>
                    <a:lnTo>
                      <a:pt x="28" y="28"/>
                    </a:lnTo>
                    <a:lnTo>
                      <a:pt x="28" y="26"/>
                    </a:lnTo>
                    <a:lnTo>
                      <a:pt x="28" y="25"/>
                    </a:lnTo>
                    <a:lnTo>
                      <a:pt x="28" y="23"/>
                    </a:lnTo>
                    <a:lnTo>
                      <a:pt x="28" y="22"/>
                    </a:lnTo>
                    <a:lnTo>
                      <a:pt x="28" y="20"/>
                    </a:lnTo>
                    <a:lnTo>
                      <a:pt x="28" y="19"/>
                    </a:lnTo>
                    <a:lnTo>
                      <a:pt x="28" y="17"/>
                    </a:lnTo>
                    <a:lnTo>
                      <a:pt x="28" y="15"/>
                    </a:lnTo>
                    <a:lnTo>
                      <a:pt x="28" y="14"/>
                    </a:lnTo>
                    <a:lnTo>
                      <a:pt x="27" y="14"/>
                    </a:lnTo>
                    <a:lnTo>
                      <a:pt x="27" y="12"/>
                    </a:lnTo>
                    <a:lnTo>
                      <a:pt x="27" y="11"/>
                    </a:lnTo>
                    <a:lnTo>
                      <a:pt x="25" y="11"/>
                    </a:lnTo>
                    <a:lnTo>
                      <a:pt x="25" y="9"/>
                    </a:lnTo>
                    <a:lnTo>
                      <a:pt x="25" y="7"/>
                    </a:lnTo>
                    <a:lnTo>
                      <a:pt x="25" y="6"/>
                    </a:lnTo>
                    <a:lnTo>
                      <a:pt x="25" y="4"/>
                    </a:lnTo>
                    <a:lnTo>
                      <a:pt x="25" y="3"/>
                    </a:lnTo>
                    <a:lnTo>
                      <a:pt x="25" y="1"/>
                    </a:lnTo>
                    <a:lnTo>
                      <a:pt x="25" y="0"/>
                    </a:lnTo>
                    <a:lnTo>
                      <a:pt x="25" y="1"/>
                    </a:lnTo>
                    <a:lnTo>
                      <a:pt x="27" y="1"/>
                    </a:lnTo>
                    <a:lnTo>
                      <a:pt x="28" y="1"/>
                    </a:lnTo>
                    <a:lnTo>
                      <a:pt x="30" y="0"/>
                    </a:lnTo>
                    <a:close/>
                  </a:path>
                </a:pathLst>
              </a:custGeom>
              <a:solidFill>
                <a:srgbClr val="E1E1E1"/>
              </a:solidFill>
              <a:ln w="4763">
                <a:solidFill>
                  <a:srgbClr val="6E6E6E"/>
                </a:solidFill>
                <a:prstDash val="solid"/>
                <a:round/>
                <a:headEnd/>
                <a:tailEnd/>
              </a:ln>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73" name="Freeform 153"/>
              <p:cNvSpPr>
                <a:spLocks/>
              </p:cNvSpPr>
              <p:nvPr/>
            </p:nvSpPr>
            <p:spPr bwMode="auto">
              <a:xfrm>
                <a:off x="3558" y="3494"/>
                <a:ext cx="1861" cy="539"/>
              </a:xfrm>
              <a:custGeom>
                <a:avLst/>
                <a:gdLst>
                  <a:gd name="T0" fmla="*/ 1828 w 1861"/>
                  <a:gd name="T1" fmla="*/ 194 h 539"/>
                  <a:gd name="T2" fmla="*/ 1802 w 1861"/>
                  <a:gd name="T3" fmla="*/ 216 h 539"/>
                  <a:gd name="T4" fmla="*/ 1775 w 1861"/>
                  <a:gd name="T5" fmla="*/ 238 h 539"/>
                  <a:gd name="T6" fmla="*/ 1737 w 1861"/>
                  <a:gd name="T7" fmla="*/ 251 h 539"/>
                  <a:gd name="T8" fmla="*/ 1704 w 1861"/>
                  <a:gd name="T9" fmla="*/ 270 h 539"/>
                  <a:gd name="T10" fmla="*/ 1657 w 1861"/>
                  <a:gd name="T11" fmla="*/ 281 h 539"/>
                  <a:gd name="T12" fmla="*/ 1623 w 1861"/>
                  <a:gd name="T13" fmla="*/ 295 h 539"/>
                  <a:gd name="T14" fmla="*/ 1580 w 1861"/>
                  <a:gd name="T15" fmla="*/ 320 h 539"/>
                  <a:gd name="T16" fmla="*/ 1538 w 1861"/>
                  <a:gd name="T17" fmla="*/ 354 h 539"/>
                  <a:gd name="T18" fmla="*/ 1498 w 1861"/>
                  <a:gd name="T19" fmla="*/ 346 h 539"/>
                  <a:gd name="T20" fmla="*/ 1444 w 1861"/>
                  <a:gd name="T21" fmla="*/ 354 h 539"/>
                  <a:gd name="T22" fmla="*/ 1405 w 1861"/>
                  <a:gd name="T23" fmla="*/ 363 h 539"/>
                  <a:gd name="T24" fmla="*/ 1362 w 1861"/>
                  <a:gd name="T25" fmla="*/ 385 h 539"/>
                  <a:gd name="T26" fmla="*/ 1310 w 1861"/>
                  <a:gd name="T27" fmla="*/ 412 h 539"/>
                  <a:gd name="T28" fmla="*/ 1281 w 1861"/>
                  <a:gd name="T29" fmla="*/ 431 h 539"/>
                  <a:gd name="T30" fmla="*/ 1243 w 1861"/>
                  <a:gd name="T31" fmla="*/ 412 h 539"/>
                  <a:gd name="T32" fmla="*/ 1211 w 1861"/>
                  <a:gd name="T33" fmla="*/ 390 h 539"/>
                  <a:gd name="T34" fmla="*/ 1165 w 1861"/>
                  <a:gd name="T35" fmla="*/ 382 h 539"/>
                  <a:gd name="T36" fmla="*/ 1121 w 1861"/>
                  <a:gd name="T37" fmla="*/ 389 h 539"/>
                  <a:gd name="T38" fmla="*/ 1083 w 1861"/>
                  <a:gd name="T39" fmla="*/ 406 h 539"/>
                  <a:gd name="T40" fmla="*/ 1077 w 1861"/>
                  <a:gd name="T41" fmla="*/ 439 h 539"/>
                  <a:gd name="T42" fmla="*/ 1070 w 1861"/>
                  <a:gd name="T43" fmla="*/ 472 h 539"/>
                  <a:gd name="T44" fmla="*/ 1036 w 1861"/>
                  <a:gd name="T45" fmla="*/ 493 h 539"/>
                  <a:gd name="T46" fmla="*/ 998 w 1861"/>
                  <a:gd name="T47" fmla="*/ 507 h 539"/>
                  <a:gd name="T48" fmla="*/ 955 w 1861"/>
                  <a:gd name="T49" fmla="*/ 534 h 539"/>
                  <a:gd name="T50" fmla="*/ 910 w 1861"/>
                  <a:gd name="T51" fmla="*/ 522 h 539"/>
                  <a:gd name="T52" fmla="*/ 855 w 1861"/>
                  <a:gd name="T53" fmla="*/ 522 h 539"/>
                  <a:gd name="T54" fmla="*/ 825 w 1861"/>
                  <a:gd name="T55" fmla="*/ 498 h 539"/>
                  <a:gd name="T56" fmla="*/ 804 w 1861"/>
                  <a:gd name="T57" fmla="*/ 493 h 539"/>
                  <a:gd name="T58" fmla="*/ 758 w 1861"/>
                  <a:gd name="T59" fmla="*/ 490 h 539"/>
                  <a:gd name="T60" fmla="*/ 730 w 1861"/>
                  <a:gd name="T61" fmla="*/ 503 h 539"/>
                  <a:gd name="T62" fmla="*/ 703 w 1861"/>
                  <a:gd name="T63" fmla="*/ 525 h 539"/>
                  <a:gd name="T64" fmla="*/ 662 w 1861"/>
                  <a:gd name="T65" fmla="*/ 539 h 539"/>
                  <a:gd name="T66" fmla="*/ 632 w 1861"/>
                  <a:gd name="T67" fmla="*/ 520 h 539"/>
                  <a:gd name="T68" fmla="*/ 598 w 1861"/>
                  <a:gd name="T69" fmla="*/ 526 h 539"/>
                  <a:gd name="T70" fmla="*/ 560 w 1861"/>
                  <a:gd name="T71" fmla="*/ 529 h 539"/>
                  <a:gd name="T72" fmla="*/ 538 w 1861"/>
                  <a:gd name="T73" fmla="*/ 507 h 539"/>
                  <a:gd name="T74" fmla="*/ 527 w 1861"/>
                  <a:gd name="T75" fmla="*/ 482 h 539"/>
                  <a:gd name="T76" fmla="*/ 486 w 1861"/>
                  <a:gd name="T77" fmla="*/ 460 h 539"/>
                  <a:gd name="T78" fmla="*/ 449 w 1861"/>
                  <a:gd name="T79" fmla="*/ 436 h 539"/>
                  <a:gd name="T80" fmla="*/ 418 w 1861"/>
                  <a:gd name="T81" fmla="*/ 436 h 539"/>
                  <a:gd name="T82" fmla="*/ 383 w 1861"/>
                  <a:gd name="T83" fmla="*/ 460 h 539"/>
                  <a:gd name="T84" fmla="*/ 367 w 1861"/>
                  <a:gd name="T85" fmla="*/ 484 h 539"/>
                  <a:gd name="T86" fmla="*/ 343 w 1861"/>
                  <a:gd name="T87" fmla="*/ 490 h 539"/>
                  <a:gd name="T88" fmla="*/ 328 w 1861"/>
                  <a:gd name="T89" fmla="*/ 495 h 539"/>
                  <a:gd name="T90" fmla="*/ 304 w 1861"/>
                  <a:gd name="T91" fmla="*/ 487 h 539"/>
                  <a:gd name="T92" fmla="*/ 283 w 1861"/>
                  <a:gd name="T93" fmla="*/ 487 h 539"/>
                  <a:gd name="T94" fmla="*/ 231 w 1861"/>
                  <a:gd name="T95" fmla="*/ 479 h 539"/>
                  <a:gd name="T96" fmla="*/ 204 w 1861"/>
                  <a:gd name="T97" fmla="*/ 479 h 539"/>
                  <a:gd name="T98" fmla="*/ 158 w 1861"/>
                  <a:gd name="T99" fmla="*/ 482 h 539"/>
                  <a:gd name="T100" fmla="*/ 131 w 1861"/>
                  <a:gd name="T101" fmla="*/ 436 h 539"/>
                  <a:gd name="T102" fmla="*/ 82 w 1861"/>
                  <a:gd name="T103" fmla="*/ 395 h 539"/>
                  <a:gd name="T104" fmla="*/ 61 w 1861"/>
                  <a:gd name="T105" fmla="*/ 354 h 539"/>
                  <a:gd name="T106" fmla="*/ 34 w 1861"/>
                  <a:gd name="T107" fmla="*/ 317 h 539"/>
                  <a:gd name="T108" fmla="*/ 36 w 1861"/>
                  <a:gd name="T109" fmla="*/ 279 h 539"/>
                  <a:gd name="T110" fmla="*/ 41 w 1861"/>
                  <a:gd name="T111" fmla="*/ 219 h 539"/>
                  <a:gd name="T112" fmla="*/ 22 w 1861"/>
                  <a:gd name="T113" fmla="*/ 164 h 539"/>
                  <a:gd name="T114" fmla="*/ 17 w 1861"/>
                  <a:gd name="T115" fmla="*/ 126 h 539"/>
                  <a:gd name="T116" fmla="*/ 11 w 1861"/>
                  <a:gd name="T117" fmla="*/ 78 h 539"/>
                  <a:gd name="T118" fmla="*/ 1 w 1861"/>
                  <a:gd name="T119" fmla="*/ 1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61" h="539">
                    <a:moveTo>
                      <a:pt x="1861" y="167"/>
                    </a:moveTo>
                    <a:lnTo>
                      <a:pt x="1858" y="168"/>
                    </a:lnTo>
                    <a:lnTo>
                      <a:pt x="1856" y="168"/>
                    </a:lnTo>
                    <a:lnTo>
                      <a:pt x="1855" y="170"/>
                    </a:lnTo>
                    <a:lnTo>
                      <a:pt x="1851" y="173"/>
                    </a:lnTo>
                    <a:lnTo>
                      <a:pt x="1847" y="179"/>
                    </a:lnTo>
                    <a:lnTo>
                      <a:pt x="1845" y="181"/>
                    </a:lnTo>
                    <a:lnTo>
                      <a:pt x="1843" y="181"/>
                    </a:lnTo>
                    <a:lnTo>
                      <a:pt x="1843" y="183"/>
                    </a:lnTo>
                    <a:lnTo>
                      <a:pt x="1840" y="186"/>
                    </a:lnTo>
                    <a:lnTo>
                      <a:pt x="1839" y="186"/>
                    </a:lnTo>
                    <a:lnTo>
                      <a:pt x="1837" y="186"/>
                    </a:lnTo>
                    <a:lnTo>
                      <a:pt x="1836" y="186"/>
                    </a:lnTo>
                    <a:lnTo>
                      <a:pt x="1836" y="187"/>
                    </a:lnTo>
                    <a:lnTo>
                      <a:pt x="1832" y="189"/>
                    </a:lnTo>
                    <a:lnTo>
                      <a:pt x="1829" y="192"/>
                    </a:lnTo>
                    <a:lnTo>
                      <a:pt x="1828" y="194"/>
                    </a:lnTo>
                    <a:lnTo>
                      <a:pt x="1826" y="195"/>
                    </a:lnTo>
                    <a:lnTo>
                      <a:pt x="1826" y="197"/>
                    </a:lnTo>
                    <a:lnTo>
                      <a:pt x="1824" y="197"/>
                    </a:lnTo>
                    <a:lnTo>
                      <a:pt x="1824" y="198"/>
                    </a:lnTo>
                    <a:lnTo>
                      <a:pt x="1823" y="198"/>
                    </a:lnTo>
                    <a:lnTo>
                      <a:pt x="1821" y="200"/>
                    </a:lnTo>
                    <a:lnTo>
                      <a:pt x="1818" y="202"/>
                    </a:lnTo>
                    <a:lnTo>
                      <a:pt x="1817" y="203"/>
                    </a:lnTo>
                    <a:lnTo>
                      <a:pt x="1815" y="205"/>
                    </a:lnTo>
                    <a:lnTo>
                      <a:pt x="1815" y="206"/>
                    </a:lnTo>
                    <a:lnTo>
                      <a:pt x="1812" y="210"/>
                    </a:lnTo>
                    <a:lnTo>
                      <a:pt x="1807" y="211"/>
                    </a:lnTo>
                    <a:lnTo>
                      <a:pt x="1805" y="213"/>
                    </a:lnTo>
                    <a:lnTo>
                      <a:pt x="1804" y="213"/>
                    </a:lnTo>
                    <a:lnTo>
                      <a:pt x="1804" y="214"/>
                    </a:lnTo>
                    <a:lnTo>
                      <a:pt x="1802" y="214"/>
                    </a:lnTo>
                    <a:lnTo>
                      <a:pt x="1802" y="216"/>
                    </a:lnTo>
                    <a:lnTo>
                      <a:pt x="1801" y="216"/>
                    </a:lnTo>
                    <a:lnTo>
                      <a:pt x="1799" y="217"/>
                    </a:lnTo>
                    <a:lnTo>
                      <a:pt x="1799" y="219"/>
                    </a:lnTo>
                    <a:lnTo>
                      <a:pt x="1798" y="219"/>
                    </a:lnTo>
                    <a:lnTo>
                      <a:pt x="1798" y="221"/>
                    </a:lnTo>
                    <a:lnTo>
                      <a:pt x="1796" y="221"/>
                    </a:lnTo>
                    <a:lnTo>
                      <a:pt x="1794" y="224"/>
                    </a:lnTo>
                    <a:lnTo>
                      <a:pt x="1791" y="225"/>
                    </a:lnTo>
                    <a:lnTo>
                      <a:pt x="1790" y="229"/>
                    </a:lnTo>
                    <a:lnTo>
                      <a:pt x="1785" y="232"/>
                    </a:lnTo>
                    <a:lnTo>
                      <a:pt x="1782" y="233"/>
                    </a:lnTo>
                    <a:lnTo>
                      <a:pt x="1779" y="235"/>
                    </a:lnTo>
                    <a:lnTo>
                      <a:pt x="1777" y="236"/>
                    </a:lnTo>
                    <a:lnTo>
                      <a:pt x="1777" y="238"/>
                    </a:lnTo>
                    <a:lnTo>
                      <a:pt x="1775" y="238"/>
                    </a:lnTo>
                    <a:lnTo>
                      <a:pt x="1775" y="236"/>
                    </a:lnTo>
                    <a:lnTo>
                      <a:pt x="1775" y="238"/>
                    </a:lnTo>
                    <a:lnTo>
                      <a:pt x="1774" y="238"/>
                    </a:lnTo>
                    <a:lnTo>
                      <a:pt x="1771" y="240"/>
                    </a:lnTo>
                    <a:lnTo>
                      <a:pt x="1769" y="240"/>
                    </a:lnTo>
                    <a:lnTo>
                      <a:pt x="1767" y="240"/>
                    </a:lnTo>
                    <a:lnTo>
                      <a:pt x="1766" y="240"/>
                    </a:lnTo>
                    <a:lnTo>
                      <a:pt x="1766" y="241"/>
                    </a:lnTo>
                    <a:lnTo>
                      <a:pt x="1764" y="241"/>
                    </a:lnTo>
                    <a:lnTo>
                      <a:pt x="1763" y="241"/>
                    </a:lnTo>
                    <a:lnTo>
                      <a:pt x="1761" y="241"/>
                    </a:lnTo>
                    <a:lnTo>
                      <a:pt x="1759" y="241"/>
                    </a:lnTo>
                    <a:lnTo>
                      <a:pt x="1758" y="241"/>
                    </a:lnTo>
                    <a:lnTo>
                      <a:pt x="1756" y="243"/>
                    </a:lnTo>
                    <a:lnTo>
                      <a:pt x="1753" y="243"/>
                    </a:lnTo>
                    <a:lnTo>
                      <a:pt x="1747" y="246"/>
                    </a:lnTo>
                    <a:lnTo>
                      <a:pt x="1742" y="248"/>
                    </a:lnTo>
                    <a:lnTo>
                      <a:pt x="1739" y="249"/>
                    </a:lnTo>
                    <a:lnTo>
                      <a:pt x="1737" y="251"/>
                    </a:lnTo>
                    <a:lnTo>
                      <a:pt x="1736" y="251"/>
                    </a:lnTo>
                    <a:lnTo>
                      <a:pt x="1736" y="252"/>
                    </a:lnTo>
                    <a:lnTo>
                      <a:pt x="1734" y="254"/>
                    </a:lnTo>
                    <a:lnTo>
                      <a:pt x="1728" y="259"/>
                    </a:lnTo>
                    <a:lnTo>
                      <a:pt x="1726" y="259"/>
                    </a:lnTo>
                    <a:lnTo>
                      <a:pt x="1725" y="259"/>
                    </a:lnTo>
                    <a:lnTo>
                      <a:pt x="1723" y="260"/>
                    </a:lnTo>
                    <a:lnTo>
                      <a:pt x="1721" y="262"/>
                    </a:lnTo>
                    <a:lnTo>
                      <a:pt x="1715" y="265"/>
                    </a:lnTo>
                    <a:lnTo>
                      <a:pt x="1714" y="267"/>
                    </a:lnTo>
                    <a:lnTo>
                      <a:pt x="1712" y="267"/>
                    </a:lnTo>
                    <a:lnTo>
                      <a:pt x="1710" y="267"/>
                    </a:lnTo>
                    <a:lnTo>
                      <a:pt x="1710" y="268"/>
                    </a:lnTo>
                    <a:lnTo>
                      <a:pt x="1709" y="268"/>
                    </a:lnTo>
                    <a:lnTo>
                      <a:pt x="1707" y="268"/>
                    </a:lnTo>
                    <a:lnTo>
                      <a:pt x="1706" y="268"/>
                    </a:lnTo>
                    <a:lnTo>
                      <a:pt x="1704" y="270"/>
                    </a:lnTo>
                    <a:lnTo>
                      <a:pt x="1702" y="270"/>
                    </a:lnTo>
                    <a:lnTo>
                      <a:pt x="1701" y="271"/>
                    </a:lnTo>
                    <a:lnTo>
                      <a:pt x="1690" y="276"/>
                    </a:lnTo>
                    <a:lnTo>
                      <a:pt x="1688" y="276"/>
                    </a:lnTo>
                    <a:lnTo>
                      <a:pt x="1687" y="278"/>
                    </a:lnTo>
                    <a:lnTo>
                      <a:pt x="1683" y="278"/>
                    </a:lnTo>
                    <a:lnTo>
                      <a:pt x="1680" y="279"/>
                    </a:lnTo>
                    <a:lnTo>
                      <a:pt x="1679" y="279"/>
                    </a:lnTo>
                    <a:lnTo>
                      <a:pt x="1676" y="279"/>
                    </a:lnTo>
                    <a:lnTo>
                      <a:pt x="1672" y="279"/>
                    </a:lnTo>
                    <a:lnTo>
                      <a:pt x="1669" y="279"/>
                    </a:lnTo>
                    <a:lnTo>
                      <a:pt x="1668" y="279"/>
                    </a:lnTo>
                    <a:lnTo>
                      <a:pt x="1668" y="281"/>
                    </a:lnTo>
                    <a:lnTo>
                      <a:pt x="1661" y="281"/>
                    </a:lnTo>
                    <a:lnTo>
                      <a:pt x="1660" y="281"/>
                    </a:lnTo>
                    <a:lnTo>
                      <a:pt x="1658" y="281"/>
                    </a:lnTo>
                    <a:lnTo>
                      <a:pt x="1657" y="281"/>
                    </a:lnTo>
                    <a:lnTo>
                      <a:pt x="1653" y="282"/>
                    </a:lnTo>
                    <a:lnTo>
                      <a:pt x="1652" y="282"/>
                    </a:lnTo>
                    <a:lnTo>
                      <a:pt x="1650" y="284"/>
                    </a:lnTo>
                    <a:lnTo>
                      <a:pt x="1649" y="284"/>
                    </a:lnTo>
                    <a:lnTo>
                      <a:pt x="1647" y="284"/>
                    </a:lnTo>
                    <a:lnTo>
                      <a:pt x="1645" y="286"/>
                    </a:lnTo>
                    <a:lnTo>
                      <a:pt x="1644" y="287"/>
                    </a:lnTo>
                    <a:lnTo>
                      <a:pt x="1641" y="289"/>
                    </a:lnTo>
                    <a:lnTo>
                      <a:pt x="1639" y="289"/>
                    </a:lnTo>
                    <a:lnTo>
                      <a:pt x="1636" y="290"/>
                    </a:lnTo>
                    <a:lnTo>
                      <a:pt x="1634" y="290"/>
                    </a:lnTo>
                    <a:lnTo>
                      <a:pt x="1633" y="290"/>
                    </a:lnTo>
                    <a:lnTo>
                      <a:pt x="1628" y="292"/>
                    </a:lnTo>
                    <a:lnTo>
                      <a:pt x="1626" y="292"/>
                    </a:lnTo>
                    <a:lnTo>
                      <a:pt x="1625" y="293"/>
                    </a:lnTo>
                    <a:lnTo>
                      <a:pt x="1623" y="293"/>
                    </a:lnTo>
                    <a:lnTo>
                      <a:pt x="1623" y="295"/>
                    </a:lnTo>
                    <a:lnTo>
                      <a:pt x="1622" y="295"/>
                    </a:lnTo>
                    <a:lnTo>
                      <a:pt x="1620" y="297"/>
                    </a:lnTo>
                    <a:lnTo>
                      <a:pt x="1619" y="298"/>
                    </a:lnTo>
                    <a:lnTo>
                      <a:pt x="1617" y="300"/>
                    </a:lnTo>
                    <a:lnTo>
                      <a:pt x="1617" y="301"/>
                    </a:lnTo>
                    <a:lnTo>
                      <a:pt x="1615" y="301"/>
                    </a:lnTo>
                    <a:lnTo>
                      <a:pt x="1614" y="303"/>
                    </a:lnTo>
                    <a:lnTo>
                      <a:pt x="1611" y="305"/>
                    </a:lnTo>
                    <a:lnTo>
                      <a:pt x="1609" y="305"/>
                    </a:lnTo>
                    <a:lnTo>
                      <a:pt x="1600" y="312"/>
                    </a:lnTo>
                    <a:lnTo>
                      <a:pt x="1596" y="314"/>
                    </a:lnTo>
                    <a:lnTo>
                      <a:pt x="1595" y="316"/>
                    </a:lnTo>
                    <a:lnTo>
                      <a:pt x="1588" y="317"/>
                    </a:lnTo>
                    <a:lnTo>
                      <a:pt x="1587" y="317"/>
                    </a:lnTo>
                    <a:lnTo>
                      <a:pt x="1585" y="317"/>
                    </a:lnTo>
                    <a:lnTo>
                      <a:pt x="1584" y="319"/>
                    </a:lnTo>
                    <a:lnTo>
                      <a:pt x="1580" y="320"/>
                    </a:lnTo>
                    <a:lnTo>
                      <a:pt x="1579" y="322"/>
                    </a:lnTo>
                    <a:lnTo>
                      <a:pt x="1577" y="322"/>
                    </a:lnTo>
                    <a:lnTo>
                      <a:pt x="1576" y="324"/>
                    </a:lnTo>
                    <a:lnTo>
                      <a:pt x="1573" y="324"/>
                    </a:lnTo>
                    <a:lnTo>
                      <a:pt x="1573" y="325"/>
                    </a:lnTo>
                    <a:lnTo>
                      <a:pt x="1569" y="327"/>
                    </a:lnTo>
                    <a:lnTo>
                      <a:pt x="1568" y="330"/>
                    </a:lnTo>
                    <a:lnTo>
                      <a:pt x="1565" y="331"/>
                    </a:lnTo>
                    <a:lnTo>
                      <a:pt x="1565" y="333"/>
                    </a:lnTo>
                    <a:lnTo>
                      <a:pt x="1561" y="335"/>
                    </a:lnTo>
                    <a:lnTo>
                      <a:pt x="1560" y="336"/>
                    </a:lnTo>
                    <a:lnTo>
                      <a:pt x="1555" y="341"/>
                    </a:lnTo>
                    <a:lnTo>
                      <a:pt x="1552" y="344"/>
                    </a:lnTo>
                    <a:lnTo>
                      <a:pt x="1550" y="344"/>
                    </a:lnTo>
                    <a:lnTo>
                      <a:pt x="1549" y="346"/>
                    </a:lnTo>
                    <a:lnTo>
                      <a:pt x="1541" y="352"/>
                    </a:lnTo>
                    <a:lnTo>
                      <a:pt x="1538" y="354"/>
                    </a:lnTo>
                    <a:lnTo>
                      <a:pt x="1536" y="354"/>
                    </a:lnTo>
                    <a:lnTo>
                      <a:pt x="1533" y="355"/>
                    </a:lnTo>
                    <a:lnTo>
                      <a:pt x="1528" y="355"/>
                    </a:lnTo>
                    <a:lnTo>
                      <a:pt x="1527" y="355"/>
                    </a:lnTo>
                    <a:lnTo>
                      <a:pt x="1523" y="355"/>
                    </a:lnTo>
                    <a:lnTo>
                      <a:pt x="1520" y="354"/>
                    </a:lnTo>
                    <a:lnTo>
                      <a:pt x="1519" y="354"/>
                    </a:lnTo>
                    <a:lnTo>
                      <a:pt x="1517" y="350"/>
                    </a:lnTo>
                    <a:lnTo>
                      <a:pt x="1516" y="350"/>
                    </a:lnTo>
                    <a:lnTo>
                      <a:pt x="1514" y="349"/>
                    </a:lnTo>
                    <a:lnTo>
                      <a:pt x="1512" y="349"/>
                    </a:lnTo>
                    <a:lnTo>
                      <a:pt x="1511" y="349"/>
                    </a:lnTo>
                    <a:lnTo>
                      <a:pt x="1508" y="349"/>
                    </a:lnTo>
                    <a:lnTo>
                      <a:pt x="1504" y="349"/>
                    </a:lnTo>
                    <a:lnTo>
                      <a:pt x="1503" y="347"/>
                    </a:lnTo>
                    <a:lnTo>
                      <a:pt x="1500" y="346"/>
                    </a:lnTo>
                    <a:lnTo>
                      <a:pt x="1498" y="346"/>
                    </a:lnTo>
                    <a:lnTo>
                      <a:pt x="1489" y="347"/>
                    </a:lnTo>
                    <a:lnTo>
                      <a:pt x="1487" y="349"/>
                    </a:lnTo>
                    <a:lnTo>
                      <a:pt x="1485" y="349"/>
                    </a:lnTo>
                    <a:lnTo>
                      <a:pt x="1484" y="349"/>
                    </a:lnTo>
                    <a:lnTo>
                      <a:pt x="1481" y="350"/>
                    </a:lnTo>
                    <a:lnTo>
                      <a:pt x="1479" y="350"/>
                    </a:lnTo>
                    <a:lnTo>
                      <a:pt x="1474" y="352"/>
                    </a:lnTo>
                    <a:lnTo>
                      <a:pt x="1470" y="354"/>
                    </a:lnTo>
                    <a:lnTo>
                      <a:pt x="1468" y="354"/>
                    </a:lnTo>
                    <a:lnTo>
                      <a:pt x="1466" y="354"/>
                    </a:lnTo>
                    <a:lnTo>
                      <a:pt x="1463" y="352"/>
                    </a:lnTo>
                    <a:lnTo>
                      <a:pt x="1457" y="354"/>
                    </a:lnTo>
                    <a:lnTo>
                      <a:pt x="1455" y="354"/>
                    </a:lnTo>
                    <a:lnTo>
                      <a:pt x="1454" y="354"/>
                    </a:lnTo>
                    <a:lnTo>
                      <a:pt x="1447" y="354"/>
                    </a:lnTo>
                    <a:lnTo>
                      <a:pt x="1446" y="354"/>
                    </a:lnTo>
                    <a:lnTo>
                      <a:pt x="1444" y="354"/>
                    </a:lnTo>
                    <a:lnTo>
                      <a:pt x="1443" y="354"/>
                    </a:lnTo>
                    <a:lnTo>
                      <a:pt x="1441" y="354"/>
                    </a:lnTo>
                    <a:lnTo>
                      <a:pt x="1438" y="354"/>
                    </a:lnTo>
                    <a:lnTo>
                      <a:pt x="1436" y="354"/>
                    </a:lnTo>
                    <a:lnTo>
                      <a:pt x="1433" y="352"/>
                    </a:lnTo>
                    <a:lnTo>
                      <a:pt x="1432" y="352"/>
                    </a:lnTo>
                    <a:lnTo>
                      <a:pt x="1430" y="352"/>
                    </a:lnTo>
                    <a:lnTo>
                      <a:pt x="1428" y="352"/>
                    </a:lnTo>
                    <a:lnTo>
                      <a:pt x="1427" y="352"/>
                    </a:lnTo>
                    <a:lnTo>
                      <a:pt x="1425" y="352"/>
                    </a:lnTo>
                    <a:lnTo>
                      <a:pt x="1417" y="354"/>
                    </a:lnTo>
                    <a:lnTo>
                      <a:pt x="1416" y="354"/>
                    </a:lnTo>
                    <a:lnTo>
                      <a:pt x="1416" y="355"/>
                    </a:lnTo>
                    <a:lnTo>
                      <a:pt x="1414" y="355"/>
                    </a:lnTo>
                    <a:lnTo>
                      <a:pt x="1413" y="357"/>
                    </a:lnTo>
                    <a:lnTo>
                      <a:pt x="1408" y="360"/>
                    </a:lnTo>
                    <a:lnTo>
                      <a:pt x="1405" y="363"/>
                    </a:lnTo>
                    <a:lnTo>
                      <a:pt x="1403" y="365"/>
                    </a:lnTo>
                    <a:lnTo>
                      <a:pt x="1403" y="366"/>
                    </a:lnTo>
                    <a:lnTo>
                      <a:pt x="1402" y="366"/>
                    </a:lnTo>
                    <a:lnTo>
                      <a:pt x="1400" y="368"/>
                    </a:lnTo>
                    <a:lnTo>
                      <a:pt x="1398" y="368"/>
                    </a:lnTo>
                    <a:lnTo>
                      <a:pt x="1397" y="370"/>
                    </a:lnTo>
                    <a:lnTo>
                      <a:pt x="1394" y="371"/>
                    </a:lnTo>
                    <a:lnTo>
                      <a:pt x="1392" y="373"/>
                    </a:lnTo>
                    <a:lnTo>
                      <a:pt x="1390" y="373"/>
                    </a:lnTo>
                    <a:lnTo>
                      <a:pt x="1384" y="376"/>
                    </a:lnTo>
                    <a:lnTo>
                      <a:pt x="1382" y="379"/>
                    </a:lnTo>
                    <a:lnTo>
                      <a:pt x="1381" y="379"/>
                    </a:lnTo>
                    <a:lnTo>
                      <a:pt x="1381" y="381"/>
                    </a:lnTo>
                    <a:lnTo>
                      <a:pt x="1371" y="387"/>
                    </a:lnTo>
                    <a:lnTo>
                      <a:pt x="1365" y="387"/>
                    </a:lnTo>
                    <a:lnTo>
                      <a:pt x="1363" y="387"/>
                    </a:lnTo>
                    <a:lnTo>
                      <a:pt x="1362" y="385"/>
                    </a:lnTo>
                    <a:lnTo>
                      <a:pt x="1360" y="385"/>
                    </a:lnTo>
                    <a:lnTo>
                      <a:pt x="1356" y="385"/>
                    </a:lnTo>
                    <a:lnTo>
                      <a:pt x="1346" y="387"/>
                    </a:lnTo>
                    <a:lnTo>
                      <a:pt x="1341" y="387"/>
                    </a:lnTo>
                    <a:lnTo>
                      <a:pt x="1333" y="393"/>
                    </a:lnTo>
                    <a:lnTo>
                      <a:pt x="1325" y="400"/>
                    </a:lnTo>
                    <a:lnTo>
                      <a:pt x="1324" y="401"/>
                    </a:lnTo>
                    <a:lnTo>
                      <a:pt x="1324" y="403"/>
                    </a:lnTo>
                    <a:lnTo>
                      <a:pt x="1321" y="404"/>
                    </a:lnTo>
                    <a:lnTo>
                      <a:pt x="1321" y="406"/>
                    </a:lnTo>
                    <a:lnTo>
                      <a:pt x="1319" y="406"/>
                    </a:lnTo>
                    <a:lnTo>
                      <a:pt x="1316" y="409"/>
                    </a:lnTo>
                    <a:lnTo>
                      <a:pt x="1314" y="411"/>
                    </a:lnTo>
                    <a:lnTo>
                      <a:pt x="1313" y="411"/>
                    </a:lnTo>
                    <a:lnTo>
                      <a:pt x="1311" y="411"/>
                    </a:lnTo>
                    <a:lnTo>
                      <a:pt x="1311" y="412"/>
                    </a:lnTo>
                    <a:lnTo>
                      <a:pt x="1310" y="412"/>
                    </a:lnTo>
                    <a:lnTo>
                      <a:pt x="1308" y="414"/>
                    </a:lnTo>
                    <a:lnTo>
                      <a:pt x="1306" y="414"/>
                    </a:lnTo>
                    <a:lnTo>
                      <a:pt x="1305" y="415"/>
                    </a:lnTo>
                    <a:lnTo>
                      <a:pt x="1302" y="417"/>
                    </a:lnTo>
                    <a:lnTo>
                      <a:pt x="1302" y="419"/>
                    </a:lnTo>
                    <a:lnTo>
                      <a:pt x="1300" y="419"/>
                    </a:lnTo>
                    <a:lnTo>
                      <a:pt x="1299" y="420"/>
                    </a:lnTo>
                    <a:lnTo>
                      <a:pt x="1299" y="422"/>
                    </a:lnTo>
                    <a:lnTo>
                      <a:pt x="1295" y="425"/>
                    </a:lnTo>
                    <a:lnTo>
                      <a:pt x="1294" y="427"/>
                    </a:lnTo>
                    <a:lnTo>
                      <a:pt x="1292" y="427"/>
                    </a:lnTo>
                    <a:lnTo>
                      <a:pt x="1289" y="430"/>
                    </a:lnTo>
                    <a:lnTo>
                      <a:pt x="1289" y="431"/>
                    </a:lnTo>
                    <a:lnTo>
                      <a:pt x="1287" y="431"/>
                    </a:lnTo>
                    <a:lnTo>
                      <a:pt x="1286" y="433"/>
                    </a:lnTo>
                    <a:lnTo>
                      <a:pt x="1284" y="431"/>
                    </a:lnTo>
                    <a:lnTo>
                      <a:pt x="1281" y="431"/>
                    </a:lnTo>
                    <a:lnTo>
                      <a:pt x="1280" y="431"/>
                    </a:lnTo>
                    <a:lnTo>
                      <a:pt x="1276" y="431"/>
                    </a:lnTo>
                    <a:lnTo>
                      <a:pt x="1275" y="430"/>
                    </a:lnTo>
                    <a:lnTo>
                      <a:pt x="1273" y="430"/>
                    </a:lnTo>
                    <a:lnTo>
                      <a:pt x="1272" y="428"/>
                    </a:lnTo>
                    <a:lnTo>
                      <a:pt x="1268" y="425"/>
                    </a:lnTo>
                    <a:lnTo>
                      <a:pt x="1268" y="423"/>
                    </a:lnTo>
                    <a:lnTo>
                      <a:pt x="1264" y="423"/>
                    </a:lnTo>
                    <a:lnTo>
                      <a:pt x="1261" y="423"/>
                    </a:lnTo>
                    <a:lnTo>
                      <a:pt x="1257" y="423"/>
                    </a:lnTo>
                    <a:lnTo>
                      <a:pt x="1254" y="422"/>
                    </a:lnTo>
                    <a:lnTo>
                      <a:pt x="1253" y="422"/>
                    </a:lnTo>
                    <a:lnTo>
                      <a:pt x="1251" y="420"/>
                    </a:lnTo>
                    <a:lnTo>
                      <a:pt x="1248" y="417"/>
                    </a:lnTo>
                    <a:lnTo>
                      <a:pt x="1246" y="414"/>
                    </a:lnTo>
                    <a:lnTo>
                      <a:pt x="1245" y="414"/>
                    </a:lnTo>
                    <a:lnTo>
                      <a:pt x="1243" y="412"/>
                    </a:lnTo>
                    <a:lnTo>
                      <a:pt x="1240" y="408"/>
                    </a:lnTo>
                    <a:lnTo>
                      <a:pt x="1238" y="406"/>
                    </a:lnTo>
                    <a:lnTo>
                      <a:pt x="1237" y="404"/>
                    </a:lnTo>
                    <a:lnTo>
                      <a:pt x="1235" y="403"/>
                    </a:lnTo>
                    <a:lnTo>
                      <a:pt x="1234" y="403"/>
                    </a:lnTo>
                    <a:lnTo>
                      <a:pt x="1229" y="403"/>
                    </a:lnTo>
                    <a:lnTo>
                      <a:pt x="1224" y="404"/>
                    </a:lnTo>
                    <a:lnTo>
                      <a:pt x="1223" y="404"/>
                    </a:lnTo>
                    <a:lnTo>
                      <a:pt x="1223" y="403"/>
                    </a:lnTo>
                    <a:lnTo>
                      <a:pt x="1221" y="403"/>
                    </a:lnTo>
                    <a:lnTo>
                      <a:pt x="1221" y="401"/>
                    </a:lnTo>
                    <a:lnTo>
                      <a:pt x="1221" y="400"/>
                    </a:lnTo>
                    <a:lnTo>
                      <a:pt x="1218" y="393"/>
                    </a:lnTo>
                    <a:lnTo>
                      <a:pt x="1215" y="392"/>
                    </a:lnTo>
                    <a:lnTo>
                      <a:pt x="1215" y="390"/>
                    </a:lnTo>
                    <a:lnTo>
                      <a:pt x="1213" y="390"/>
                    </a:lnTo>
                    <a:lnTo>
                      <a:pt x="1211" y="390"/>
                    </a:lnTo>
                    <a:lnTo>
                      <a:pt x="1210" y="390"/>
                    </a:lnTo>
                    <a:lnTo>
                      <a:pt x="1208" y="390"/>
                    </a:lnTo>
                    <a:lnTo>
                      <a:pt x="1202" y="389"/>
                    </a:lnTo>
                    <a:lnTo>
                      <a:pt x="1199" y="387"/>
                    </a:lnTo>
                    <a:lnTo>
                      <a:pt x="1197" y="387"/>
                    </a:lnTo>
                    <a:lnTo>
                      <a:pt x="1196" y="387"/>
                    </a:lnTo>
                    <a:lnTo>
                      <a:pt x="1192" y="387"/>
                    </a:lnTo>
                    <a:lnTo>
                      <a:pt x="1191" y="387"/>
                    </a:lnTo>
                    <a:lnTo>
                      <a:pt x="1189" y="387"/>
                    </a:lnTo>
                    <a:lnTo>
                      <a:pt x="1188" y="387"/>
                    </a:lnTo>
                    <a:lnTo>
                      <a:pt x="1184" y="387"/>
                    </a:lnTo>
                    <a:lnTo>
                      <a:pt x="1181" y="387"/>
                    </a:lnTo>
                    <a:lnTo>
                      <a:pt x="1178" y="387"/>
                    </a:lnTo>
                    <a:lnTo>
                      <a:pt x="1175" y="385"/>
                    </a:lnTo>
                    <a:lnTo>
                      <a:pt x="1167" y="382"/>
                    </a:lnTo>
                    <a:lnTo>
                      <a:pt x="1165" y="381"/>
                    </a:lnTo>
                    <a:lnTo>
                      <a:pt x="1165" y="382"/>
                    </a:lnTo>
                    <a:lnTo>
                      <a:pt x="1162" y="382"/>
                    </a:lnTo>
                    <a:lnTo>
                      <a:pt x="1161" y="382"/>
                    </a:lnTo>
                    <a:lnTo>
                      <a:pt x="1159" y="384"/>
                    </a:lnTo>
                    <a:lnTo>
                      <a:pt x="1154" y="385"/>
                    </a:lnTo>
                    <a:lnTo>
                      <a:pt x="1151" y="385"/>
                    </a:lnTo>
                    <a:lnTo>
                      <a:pt x="1148" y="385"/>
                    </a:lnTo>
                    <a:lnTo>
                      <a:pt x="1146" y="385"/>
                    </a:lnTo>
                    <a:lnTo>
                      <a:pt x="1145" y="385"/>
                    </a:lnTo>
                    <a:lnTo>
                      <a:pt x="1142" y="384"/>
                    </a:lnTo>
                    <a:lnTo>
                      <a:pt x="1139" y="384"/>
                    </a:lnTo>
                    <a:lnTo>
                      <a:pt x="1134" y="385"/>
                    </a:lnTo>
                    <a:lnTo>
                      <a:pt x="1131" y="387"/>
                    </a:lnTo>
                    <a:lnTo>
                      <a:pt x="1129" y="389"/>
                    </a:lnTo>
                    <a:lnTo>
                      <a:pt x="1127" y="389"/>
                    </a:lnTo>
                    <a:lnTo>
                      <a:pt x="1126" y="390"/>
                    </a:lnTo>
                    <a:lnTo>
                      <a:pt x="1123" y="389"/>
                    </a:lnTo>
                    <a:lnTo>
                      <a:pt x="1121" y="389"/>
                    </a:lnTo>
                    <a:lnTo>
                      <a:pt x="1120" y="389"/>
                    </a:lnTo>
                    <a:lnTo>
                      <a:pt x="1116" y="389"/>
                    </a:lnTo>
                    <a:lnTo>
                      <a:pt x="1115" y="389"/>
                    </a:lnTo>
                    <a:lnTo>
                      <a:pt x="1112" y="390"/>
                    </a:lnTo>
                    <a:lnTo>
                      <a:pt x="1110" y="390"/>
                    </a:lnTo>
                    <a:lnTo>
                      <a:pt x="1108" y="390"/>
                    </a:lnTo>
                    <a:lnTo>
                      <a:pt x="1108" y="392"/>
                    </a:lnTo>
                    <a:lnTo>
                      <a:pt x="1107" y="392"/>
                    </a:lnTo>
                    <a:lnTo>
                      <a:pt x="1105" y="392"/>
                    </a:lnTo>
                    <a:lnTo>
                      <a:pt x="1096" y="398"/>
                    </a:lnTo>
                    <a:lnTo>
                      <a:pt x="1094" y="400"/>
                    </a:lnTo>
                    <a:lnTo>
                      <a:pt x="1093" y="403"/>
                    </a:lnTo>
                    <a:lnTo>
                      <a:pt x="1093" y="404"/>
                    </a:lnTo>
                    <a:lnTo>
                      <a:pt x="1091" y="404"/>
                    </a:lnTo>
                    <a:lnTo>
                      <a:pt x="1089" y="406"/>
                    </a:lnTo>
                    <a:lnTo>
                      <a:pt x="1085" y="406"/>
                    </a:lnTo>
                    <a:lnTo>
                      <a:pt x="1083" y="406"/>
                    </a:lnTo>
                    <a:lnTo>
                      <a:pt x="1083" y="408"/>
                    </a:lnTo>
                    <a:lnTo>
                      <a:pt x="1083" y="411"/>
                    </a:lnTo>
                    <a:lnTo>
                      <a:pt x="1083" y="412"/>
                    </a:lnTo>
                    <a:lnTo>
                      <a:pt x="1083" y="414"/>
                    </a:lnTo>
                    <a:lnTo>
                      <a:pt x="1083" y="415"/>
                    </a:lnTo>
                    <a:lnTo>
                      <a:pt x="1085" y="415"/>
                    </a:lnTo>
                    <a:lnTo>
                      <a:pt x="1085" y="419"/>
                    </a:lnTo>
                    <a:lnTo>
                      <a:pt x="1085" y="420"/>
                    </a:lnTo>
                    <a:lnTo>
                      <a:pt x="1083" y="420"/>
                    </a:lnTo>
                    <a:lnTo>
                      <a:pt x="1083" y="422"/>
                    </a:lnTo>
                    <a:lnTo>
                      <a:pt x="1083" y="423"/>
                    </a:lnTo>
                    <a:lnTo>
                      <a:pt x="1083" y="425"/>
                    </a:lnTo>
                    <a:lnTo>
                      <a:pt x="1082" y="425"/>
                    </a:lnTo>
                    <a:lnTo>
                      <a:pt x="1080" y="431"/>
                    </a:lnTo>
                    <a:lnTo>
                      <a:pt x="1078" y="434"/>
                    </a:lnTo>
                    <a:lnTo>
                      <a:pt x="1077" y="438"/>
                    </a:lnTo>
                    <a:lnTo>
                      <a:pt x="1077" y="439"/>
                    </a:lnTo>
                    <a:lnTo>
                      <a:pt x="1075" y="439"/>
                    </a:lnTo>
                    <a:lnTo>
                      <a:pt x="1072" y="444"/>
                    </a:lnTo>
                    <a:lnTo>
                      <a:pt x="1072" y="447"/>
                    </a:lnTo>
                    <a:lnTo>
                      <a:pt x="1070" y="450"/>
                    </a:lnTo>
                    <a:lnTo>
                      <a:pt x="1070" y="452"/>
                    </a:lnTo>
                    <a:lnTo>
                      <a:pt x="1070" y="453"/>
                    </a:lnTo>
                    <a:lnTo>
                      <a:pt x="1070" y="455"/>
                    </a:lnTo>
                    <a:lnTo>
                      <a:pt x="1072" y="457"/>
                    </a:lnTo>
                    <a:lnTo>
                      <a:pt x="1074" y="460"/>
                    </a:lnTo>
                    <a:lnTo>
                      <a:pt x="1074" y="461"/>
                    </a:lnTo>
                    <a:lnTo>
                      <a:pt x="1074" y="465"/>
                    </a:lnTo>
                    <a:lnTo>
                      <a:pt x="1074" y="466"/>
                    </a:lnTo>
                    <a:lnTo>
                      <a:pt x="1074" y="468"/>
                    </a:lnTo>
                    <a:lnTo>
                      <a:pt x="1074" y="469"/>
                    </a:lnTo>
                    <a:lnTo>
                      <a:pt x="1072" y="469"/>
                    </a:lnTo>
                    <a:lnTo>
                      <a:pt x="1070" y="471"/>
                    </a:lnTo>
                    <a:lnTo>
                      <a:pt x="1070" y="472"/>
                    </a:lnTo>
                    <a:lnTo>
                      <a:pt x="1069" y="476"/>
                    </a:lnTo>
                    <a:lnTo>
                      <a:pt x="1064" y="479"/>
                    </a:lnTo>
                    <a:lnTo>
                      <a:pt x="1063" y="482"/>
                    </a:lnTo>
                    <a:lnTo>
                      <a:pt x="1061" y="484"/>
                    </a:lnTo>
                    <a:lnTo>
                      <a:pt x="1059" y="484"/>
                    </a:lnTo>
                    <a:lnTo>
                      <a:pt x="1058" y="484"/>
                    </a:lnTo>
                    <a:lnTo>
                      <a:pt x="1056" y="484"/>
                    </a:lnTo>
                    <a:lnTo>
                      <a:pt x="1055" y="485"/>
                    </a:lnTo>
                    <a:lnTo>
                      <a:pt x="1053" y="485"/>
                    </a:lnTo>
                    <a:lnTo>
                      <a:pt x="1051" y="485"/>
                    </a:lnTo>
                    <a:lnTo>
                      <a:pt x="1051" y="487"/>
                    </a:lnTo>
                    <a:lnTo>
                      <a:pt x="1050" y="487"/>
                    </a:lnTo>
                    <a:lnTo>
                      <a:pt x="1048" y="487"/>
                    </a:lnTo>
                    <a:lnTo>
                      <a:pt x="1047" y="488"/>
                    </a:lnTo>
                    <a:lnTo>
                      <a:pt x="1042" y="490"/>
                    </a:lnTo>
                    <a:lnTo>
                      <a:pt x="1037" y="491"/>
                    </a:lnTo>
                    <a:lnTo>
                      <a:pt x="1036" y="493"/>
                    </a:lnTo>
                    <a:lnTo>
                      <a:pt x="1031" y="496"/>
                    </a:lnTo>
                    <a:lnTo>
                      <a:pt x="1029" y="498"/>
                    </a:lnTo>
                    <a:lnTo>
                      <a:pt x="1028" y="498"/>
                    </a:lnTo>
                    <a:lnTo>
                      <a:pt x="1026" y="499"/>
                    </a:lnTo>
                    <a:lnTo>
                      <a:pt x="1026" y="501"/>
                    </a:lnTo>
                    <a:lnTo>
                      <a:pt x="1025" y="501"/>
                    </a:lnTo>
                    <a:lnTo>
                      <a:pt x="1025" y="503"/>
                    </a:lnTo>
                    <a:lnTo>
                      <a:pt x="1023" y="503"/>
                    </a:lnTo>
                    <a:lnTo>
                      <a:pt x="1017" y="507"/>
                    </a:lnTo>
                    <a:lnTo>
                      <a:pt x="1013" y="509"/>
                    </a:lnTo>
                    <a:lnTo>
                      <a:pt x="1012" y="509"/>
                    </a:lnTo>
                    <a:lnTo>
                      <a:pt x="1010" y="509"/>
                    </a:lnTo>
                    <a:lnTo>
                      <a:pt x="1009" y="509"/>
                    </a:lnTo>
                    <a:lnTo>
                      <a:pt x="1005" y="509"/>
                    </a:lnTo>
                    <a:lnTo>
                      <a:pt x="1001" y="507"/>
                    </a:lnTo>
                    <a:lnTo>
                      <a:pt x="999" y="507"/>
                    </a:lnTo>
                    <a:lnTo>
                      <a:pt x="998" y="507"/>
                    </a:lnTo>
                    <a:lnTo>
                      <a:pt x="994" y="507"/>
                    </a:lnTo>
                    <a:lnTo>
                      <a:pt x="993" y="509"/>
                    </a:lnTo>
                    <a:lnTo>
                      <a:pt x="991" y="509"/>
                    </a:lnTo>
                    <a:lnTo>
                      <a:pt x="990" y="509"/>
                    </a:lnTo>
                    <a:lnTo>
                      <a:pt x="986" y="509"/>
                    </a:lnTo>
                    <a:lnTo>
                      <a:pt x="982" y="510"/>
                    </a:lnTo>
                    <a:lnTo>
                      <a:pt x="977" y="514"/>
                    </a:lnTo>
                    <a:lnTo>
                      <a:pt x="972" y="517"/>
                    </a:lnTo>
                    <a:lnTo>
                      <a:pt x="971" y="517"/>
                    </a:lnTo>
                    <a:lnTo>
                      <a:pt x="967" y="518"/>
                    </a:lnTo>
                    <a:lnTo>
                      <a:pt x="964" y="522"/>
                    </a:lnTo>
                    <a:lnTo>
                      <a:pt x="964" y="523"/>
                    </a:lnTo>
                    <a:lnTo>
                      <a:pt x="964" y="525"/>
                    </a:lnTo>
                    <a:lnTo>
                      <a:pt x="961" y="528"/>
                    </a:lnTo>
                    <a:lnTo>
                      <a:pt x="961" y="529"/>
                    </a:lnTo>
                    <a:lnTo>
                      <a:pt x="960" y="531"/>
                    </a:lnTo>
                    <a:lnTo>
                      <a:pt x="955" y="534"/>
                    </a:lnTo>
                    <a:lnTo>
                      <a:pt x="952" y="536"/>
                    </a:lnTo>
                    <a:lnTo>
                      <a:pt x="950" y="536"/>
                    </a:lnTo>
                    <a:lnTo>
                      <a:pt x="948" y="536"/>
                    </a:lnTo>
                    <a:lnTo>
                      <a:pt x="947" y="536"/>
                    </a:lnTo>
                    <a:lnTo>
                      <a:pt x="945" y="536"/>
                    </a:lnTo>
                    <a:lnTo>
                      <a:pt x="939" y="534"/>
                    </a:lnTo>
                    <a:lnTo>
                      <a:pt x="936" y="533"/>
                    </a:lnTo>
                    <a:lnTo>
                      <a:pt x="931" y="531"/>
                    </a:lnTo>
                    <a:lnTo>
                      <a:pt x="926" y="528"/>
                    </a:lnTo>
                    <a:lnTo>
                      <a:pt x="925" y="526"/>
                    </a:lnTo>
                    <a:lnTo>
                      <a:pt x="923" y="525"/>
                    </a:lnTo>
                    <a:lnTo>
                      <a:pt x="923" y="523"/>
                    </a:lnTo>
                    <a:lnTo>
                      <a:pt x="917" y="522"/>
                    </a:lnTo>
                    <a:lnTo>
                      <a:pt x="915" y="520"/>
                    </a:lnTo>
                    <a:lnTo>
                      <a:pt x="914" y="520"/>
                    </a:lnTo>
                    <a:lnTo>
                      <a:pt x="912" y="520"/>
                    </a:lnTo>
                    <a:lnTo>
                      <a:pt x="910" y="522"/>
                    </a:lnTo>
                    <a:lnTo>
                      <a:pt x="909" y="522"/>
                    </a:lnTo>
                    <a:lnTo>
                      <a:pt x="906" y="523"/>
                    </a:lnTo>
                    <a:lnTo>
                      <a:pt x="899" y="526"/>
                    </a:lnTo>
                    <a:lnTo>
                      <a:pt x="896" y="526"/>
                    </a:lnTo>
                    <a:lnTo>
                      <a:pt x="888" y="526"/>
                    </a:lnTo>
                    <a:lnTo>
                      <a:pt x="887" y="526"/>
                    </a:lnTo>
                    <a:lnTo>
                      <a:pt x="885" y="525"/>
                    </a:lnTo>
                    <a:lnTo>
                      <a:pt x="872" y="522"/>
                    </a:lnTo>
                    <a:lnTo>
                      <a:pt x="869" y="522"/>
                    </a:lnTo>
                    <a:lnTo>
                      <a:pt x="866" y="522"/>
                    </a:lnTo>
                    <a:lnTo>
                      <a:pt x="865" y="522"/>
                    </a:lnTo>
                    <a:lnTo>
                      <a:pt x="863" y="522"/>
                    </a:lnTo>
                    <a:lnTo>
                      <a:pt x="861" y="522"/>
                    </a:lnTo>
                    <a:lnTo>
                      <a:pt x="860" y="522"/>
                    </a:lnTo>
                    <a:lnTo>
                      <a:pt x="858" y="522"/>
                    </a:lnTo>
                    <a:lnTo>
                      <a:pt x="857" y="522"/>
                    </a:lnTo>
                    <a:lnTo>
                      <a:pt x="855" y="522"/>
                    </a:lnTo>
                    <a:lnTo>
                      <a:pt x="853" y="522"/>
                    </a:lnTo>
                    <a:lnTo>
                      <a:pt x="852" y="522"/>
                    </a:lnTo>
                    <a:lnTo>
                      <a:pt x="850" y="522"/>
                    </a:lnTo>
                    <a:lnTo>
                      <a:pt x="849" y="522"/>
                    </a:lnTo>
                    <a:lnTo>
                      <a:pt x="847" y="522"/>
                    </a:lnTo>
                    <a:lnTo>
                      <a:pt x="844" y="520"/>
                    </a:lnTo>
                    <a:lnTo>
                      <a:pt x="842" y="517"/>
                    </a:lnTo>
                    <a:lnTo>
                      <a:pt x="838" y="514"/>
                    </a:lnTo>
                    <a:lnTo>
                      <a:pt x="838" y="512"/>
                    </a:lnTo>
                    <a:lnTo>
                      <a:pt x="836" y="512"/>
                    </a:lnTo>
                    <a:lnTo>
                      <a:pt x="834" y="510"/>
                    </a:lnTo>
                    <a:lnTo>
                      <a:pt x="833" y="509"/>
                    </a:lnTo>
                    <a:lnTo>
                      <a:pt x="833" y="507"/>
                    </a:lnTo>
                    <a:lnTo>
                      <a:pt x="831" y="504"/>
                    </a:lnTo>
                    <a:lnTo>
                      <a:pt x="830" y="503"/>
                    </a:lnTo>
                    <a:lnTo>
                      <a:pt x="826" y="499"/>
                    </a:lnTo>
                    <a:lnTo>
                      <a:pt x="825" y="498"/>
                    </a:lnTo>
                    <a:lnTo>
                      <a:pt x="825" y="496"/>
                    </a:lnTo>
                    <a:lnTo>
                      <a:pt x="823" y="495"/>
                    </a:lnTo>
                    <a:lnTo>
                      <a:pt x="820" y="490"/>
                    </a:lnTo>
                    <a:lnTo>
                      <a:pt x="819" y="487"/>
                    </a:lnTo>
                    <a:lnTo>
                      <a:pt x="819" y="485"/>
                    </a:lnTo>
                    <a:lnTo>
                      <a:pt x="817" y="485"/>
                    </a:lnTo>
                    <a:lnTo>
                      <a:pt x="815" y="484"/>
                    </a:lnTo>
                    <a:lnTo>
                      <a:pt x="812" y="482"/>
                    </a:lnTo>
                    <a:lnTo>
                      <a:pt x="811" y="484"/>
                    </a:lnTo>
                    <a:lnTo>
                      <a:pt x="809" y="485"/>
                    </a:lnTo>
                    <a:lnTo>
                      <a:pt x="807" y="485"/>
                    </a:lnTo>
                    <a:lnTo>
                      <a:pt x="807" y="487"/>
                    </a:lnTo>
                    <a:lnTo>
                      <a:pt x="807" y="488"/>
                    </a:lnTo>
                    <a:lnTo>
                      <a:pt x="807" y="491"/>
                    </a:lnTo>
                    <a:lnTo>
                      <a:pt x="807" y="493"/>
                    </a:lnTo>
                    <a:lnTo>
                      <a:pt x="806" y="493"/>
                    </a:lnTo>
                    <a:lnTo>
                      <a:pt x="804" y="493"/>
                    </a:lnTo>
                    <a:lnTo>
                      <a:pt x="800" y="491"/>
                    </a:lnTo>
                    <a:lnTo>
                      <a:pt x="798" y="493"/>
                    </a:lnTo>
                    <a:lnTo>
                      <a:pt x="796" y="493"/>
                    </a:lnTo>
                    <a:lnTo>
                      <a:pt x="792" y="493"/>
                    </a:lnTo>
                    <a:lnTo>
                      <a:pt x="788" y="493"/>
                    </a:lnTo>
                    <a:lnTo>
                      <a:pt x="787" y="493"/>
                    </a:lnTo>
                    <a:lnTo>
                      <a:pt x="785" y="493"/>
                    </a:lnTo>
                    <a:lnTo>
                      <a:pt x="781" y="493"/>
                    </a:lnTo>
                    <a:lnTo>
                      <a:pt x="779" y="493"/>
                    </a:lnTo>
                    <a:lnTo>
                      <a:pt x="774" y="493"/>
                    </a:lnTo>
                    <a:lnTo>
                      <a:pt x="771" y="493"/>
                    </a:lnTo>
                    <a:lnTo>
                      <a:pt x="768" y="495"/>
                    </a:lnTo>
                    <a:lnTo>
                      <a:pt x="766" y="493"/>
                    </a:lnTo>
                    <a:lnTo>
                      <a:pt x="765" y="493"/>
                    </a:lnTo>
                    <a:lnTo>
                      <a:pt x="762" y="490"/>
                    </a:lnTo>
                    <a:lnTo>
                      <a:pt x="760" y="490"/>
                    </a:lnTo>
                    <a:lnTo>
                      <a:pt x="758" y="490"/>
                    </a:lnTo>
                    <a:lnTo>
                      <a:pt x="758" y="488"/>
                    </a:lnTo>
                    <a:lnTo>
                      <a:pt x="757" y="488"/>
                    </a:lnTo>
                    <a:lnTo>
                      <a:pt x="755" y="488"/>
                    </a:lnTo>
                    <a:lnTo>
                      <a:pt x="754" y="488"/>
                    </a:lnTo>
                    <a:lnTo>
                      <a:pt x="752" y="488"/>
                    </a:lnTo>
                    <a:lnTo>
                      <a:pt x="752" y="487"/>
                    </a:lnTo>
                    <a:lnTo>
                      <a:pt x="750" y="487"/>
                    </a:lnTo>
                    <a:lnTo>
                      <a:pt x="749" y="485"/>
                    </a:lnTo>
                    <a:lnTo>
                      <a:pt x="747" y="485"/>
                    </a:lnTo>
                    <a:lnTo>
                      <a:pt x="746" y="485"/>
                    </a:lnTo>
                    <a:lnTo>
                      <a:pt x="746" y="487"/>
                    </a:lnTo>
                    <a:lnTo>
                      <a:pt x="744" y="487"/>
                    </a:lnTo>
                    <a:lnTo>
                      <a:pt x="743" y="488"/>
                    </a:lnTo>
                    <a:lnTo>
                      <a:pt x="738" y="495"/>
                    </a:lnTo>
                    <a:lnTo>
                      <a:pt x="735" y="499"/>
                    </a:lnTo>
                    <a:lnTo>
                      <a:pt x="731" y="503"/>
                    </a:lnTo>
                    <a:lnTo>
                      <a:pt x="730" y="503"/>
                    </a:lnTo>
                    <a:lnTo>
                      <a:pt x="730" y="504"/>
                    </a:lnTo>
                    <a:lnTo>
                      <a:pt x="728" y="504"/>
                    </a:lnTo>
                    <a:lnTo>
                      <a:pt x="727" y="506"/>
                    </a:lnTo>
                    <a:lnTo>
                      <a:pt x="727" y="509"/>
                    </a:lnTo>
                    <a:lnTo>
                      <a:pt x="725" y="510"/>
                    </a:lnTo>
                    <a:lnTo>
                      <a:pt x="724" y="510"/>
                    </a:lnTo>
                    <a:lnTo>
                      <a:pt x="724" y="512"/>
                    </a:lnTo>
                    <a:lnTo>
                      <a:pt x="719" y="518"/>
                    </a:lnTo>
                    <a:lnTo>
                      <a:pt x="716" y="520"/>
                    </a:lnTo>
                    <a:lnTo>
                      <a:pt x="714" y="522"/>
                    </a:lnTo>
                    <a:lnTo>
                      <a:pt x="712" y="522"/>
                    </a:lnTo>
                    <a:lnTo>
                      <a:pt x="712" y="523"/>
                    </a:lnTo>
                    <a:lnTo>
                      <a:pt x="709" y="523"/>
                    </a:lnTo>
                    <a:lnTo>
                      <a:pt x="708" y="525"/>
                    </a:lnTo>
                    <a:lnTo>
                      <a:pt x="706" y="525"/>
                    </a:lnTo>
                    <a:lnTo>
                      <a:pt x="705" y="525"/>
                    </a:lnTo>
                    <a:lnTo>
                      <a:pt x="703" y="525"/>
                    </a:lnTo>
                    <a:lnTo>
                      <a:pt x="703" y="526"/>
                    </a:lnTo>
                    <a:lnTo>
                      <a:pt x="701" y="528"/>
                    </a:lnTo>
                    <a:lnTo>
                      <a:pt x="700" y="528"/>
                    </a:lnTo>
                    <a:lnTo>
                      <a:pt x="698" y="529"/>
                    </a:lnTo>
                    <a:lnTo>
                      <a:pt x="698" y="531"/>
                    </a:lnTo>
                    <a:lnTo>
                      <a:pt x="695" y="531"/>
                    </a:lnTo>
                    <a:lnTo>
                      <a:pt x="695" y="533"/>
                    </a:lnTo>
                    <a:lnTo>
                      <a:pt x="693" y="533"/>
                    </a:lnTo>
                    <a:lnTo>
                      <a:pt x="692" y="533"/>
                    </a:lnTo>
                    <a:lnTo>
                      <a:pt x="690" y="533"/>
                    </a:lnTo>
                    <a:lnTo>
                      <a:pt x="686" y="533"/>
                    </a:lnTo>
                    <a:lnTo>
                      <a:pt x="684" y="533"/>
                    </a:lnTo>
                    <a:lnTo>
                      <a:pt x="676" y="531"/>
                    </a:lnTo>
                    <a:lnTo>
                      <a:pt x="671" y="534"/>
                    </a:lnTo>
                    <a:lnTo>
                      <a:pt x="670" y="534"/>
                    </a:lnTo>
                    <a:lnTo>
                      <a:pt x="668" y="534"/>
                    </a:lnTo>
                    <a:lnTo>
                      <a:pt x="662" y="539"/>
                    </a:lnTo>
                    <a:lnTo>
                      <a:pt x="659" y="539"/>
                    </a:lnTo>
                    <a:lnTo>
                      <a:pt x="657" y="537"/>
                    </a:lnTo>
                    <a:lnTo>
                      <a:pt x="654" y="534"/>
                    </a:lnTo>
                    <a:lnTo>
                      <a:pt x="652" y="534"/>
                    </a:lnTo>
                    <a:lnTo>
                      <a:pt x="651" y="534"/>
                    </a:lnTo>
                    <a:lnTo>
                      <a:pt x="651" y="533"/>
                    </a:lnTo>
                    <a:lnTo>
                      <a:pt x="648" y="533"/>
                    </a:lnTo>
                    <a:lnTo>
                      <a:pt x="646" y="533"/>
                    </a:lnTo>
                    <a:lnTo>
                      <a:pt x="644" y="531"/>
                    </a:lnTo>
                    <a:lnTo>
                      <a:pt x="644" y="529"/>
                    </a:lnTo>
                    <a:lnTo>
                      <a:pt x="643" y="526"/>
                    </a:lnTo>
                    <a:lnTo>
                      <a:pt x="643" y="523"/>
                    </a:lnTo>
                    <a:lnTo>
                      <a:pt x="643" y="522"/>
                    </a:lnTo>
                    <a:lnTo>
                      <a:pt x="641" y="522"/>
                    </a:lnTo>
                    <a:lnTo>
                      <a:pt x="640" y="520"/>
                    </a:lnTo>
                    <a:lnTo>
                      <a:pt x="633" y="520"/>
                    </a:lnTo>
                    <a:lnTo>
                      <a:pt x="632" y="520"/>
                    </a:lnTo>
                    <a:lnTo>
                      <a:pt x="624" y="520"/>
                    </a:lnTo>
                    <a:lnTo>
                      <a:pt x="622" y="520"/>
                    </a:lnTo>
                    <a:lnTo>
                      <a:pt x="621" y="522"/>
                    </a:lnTo>
                    <a:lnTo>
                      <a:pt x="617" y="522"/>
                    </a:lnTo>
                    <a:lnTo>
                      <a:pt x="616" y="522"/>
                    </a:lnTo>
                    <a:lnTo>
                      <a:pt x="614" y="522"/>
                    </a:lnTo>
                    <a:lnTo>
                      <a:pt x="613" y="522"/>
                    </a:lnTo>
                    <a:lnTo>
                      <a:pt x="611" y="520"/>
                    </a:lnTo>
                    <a:lnTo>
                      <a:pt x="608" y="518"/>
                    </a:lnTo>
                    <a:lnTo>
                      <a:pt x="606" y="518"/>
                    </a:lnTo>
                    <a:lnTo>
                      <a:pt x="605" y="518"/>
                    </a:lnTo>
                    <a:lnTo>
                      <a:pt x="603" y="520"/>
                    </a:lnTo>
                    <a:lnTo>
                      <a:pt x="602" y="520"/>
                    </a:lnTo>
                    <a:lnTo>
                      <a:pt x="600" y="523"/>
                    </a:lnTo>
                    <a:lnTo>
                      <a:pt x="598" y="523"/>
                    </a:lnTo>
                    <a:lnTo>
                      <a:pt x="598" y="525"/>
                    </a:lnTo>
                    <a:lnTo>
                      <a:pt x="598" y="526"/>
                    </a:lnTo>
                    <a:lnTo>
                      <a:pt x="590" y="526"/>
                    </a:lnTo>
                    <a:lnTo>
                      <a:pt x="589" y="526"/>
                    </a:lnTo>
                    <a:lnTo>
                      <a:pt x="586" y="525"/>
                    </a:lnTo>
                    <a:lnTo>
                      <a:pt x="583" y="525"/>
                    </a:lnTo>
                    <a:lnTo>
                      <a:pt x="581" y="526"/>
                    </a:lnTo>
                    <a:lnTo>
                      <a:pt x="578" y="526"/>
                    </a:lnTo>
                    <a:lnTo>
                      <a:pt x="575" y="528"/>
                    </a:lnTo>
                    <a:lnTo>
                      <a:pt x="573" y="526"/>
                    </a:lnTo>
                    <a:lnTo>
                      <a:pt x="571" y="526"/>
                    </a:lnTo>
                    <a:lnTo>
                      <a:pt x="570" y="528"/>
                    </a:lnTo>
                    <a:lnTo>
                      <a:pt x="568" y="529"/>
                    </a:lnTo>
                    <a:lnTo>
                      <a:pt x="567" y="529"/>
                    </a:lnTo>
                    <a:lnTo>
                      <a:pt x="567" y="531"/>
                    </a:lnTo>
                    <a:lnTo>
                      <a:pt x="565" y="529"/>
                    </a:lnTo>
                    <a:lnTo>
                      <a:pt x="564" y="529"/>
                    </a:lnTo>
                    <a:lnTo>
                      <a:pt x="562" y="529"/>
                    </a:lnTo>
                    <a:lnTo>
                      <a:pt x="560" y="529"/>
                    </a:lnTo>
                    <a:lnTo>
                      <a:pt x="557" y="526"/>
                    </a:lnTo>
                    <a:lnTo>
                      <a:pt x="551" y="528"/>
                    </a:lnTo>
                    <a:lnTo>
                      <a:pt x="548" y="528"/>
                    </a:lnTo>
                    <a:lnTo>
                      <a:pt x="545" y="529"/>
                    </a:lnTo>
                    <a:lnTo>
                      <a:pt x="541" y="529"/>
                    </a:lnTo>
                    <a:lnTo>
                      <a:pt x="540" y="529"/>
                    </a:lnTo>
                    <a:lnTo>
                      <a:pt x="538" y="528"/>
                    </a:lnTo>
                    <a:lnTo>
                      <a:pt x="540" y="525"/>
                    </a:lnTo>
                    <a:lnTo>
                      <a:pt x="541" y="523"/>
                    </a:lnTo>
                    <a:lnTo>
                      <a:pt x="540" y="522"/>
                    </a:lnTo>
                    <a:lnTo>
                      <a:pt x="540" y="520"/>
                    </a:lnTo>
                    <a:lnTo>
                      <a:pt x="538" y="518"/>
                    </a:lnTo>
                    <a:lnTo>
                      <a:pt x="537" y="517"/>
                    </a:lnTo>
                    <a:lnTo>
                      <a:pt x="535" y="517"/>
                    </a:lnTo>
                    <a:lnTo>
                      <a:pt x="535" y="514"/>
                    </a:lnTo>
                    <a:lnTo>
                      <a:pt x="537" y="507"/>
                    </a:lnTo>
                    <a:lnTo>
                      <a:pt x="538" y="507"/>
                    </a:lnTo>
                    <a:lnTo>
                      <a:pt x="538" y="504"/>
                    </a:lnTo>
                    <a:lnTo>
                      <a:pt x="538" y="503"/>
                    </a:lnTo>
                    <a:lnTo>
                      <a:pt x="537" y="499"/>
                    </a:lnTo>
                    <a:lnTo>
                      <a:pt x="537" y="498"/>
                    </a:lnTo>
                    <a:lnTo>
                      <a:pt x="537" y="496"/>
                    </a:lnTo>
                    <a:lnTo>
                      <a:pt x="537" y="495"/>
                    </a:lnTo>
                    <a:lnTo>
                      <a:pt x="537" y="493"/>
                    </a:lnTo>
                    <a:lnTo>
                      <a:pt x="537" y="491"/>
                    </a:lnTo>
                    <a:lnTo>
                      <a:pt x="537" y="490"/>
                    </a:lnTo>
                    <a:lnTo>
                      <a:pt x="535" y="488"/>
                    </a:lnTo>
                    <a:lnTo>
                      <a:pt x="533" y="487"/>
                    </a:lnTo>
                    <a:lnTo>
                      <a:pt x="532" y="487"/>
                    </a:lnTo>
                    <a:lnTo>
                      <a:pt x="532" y="485"/>
                    </a:lnTo>
                    <a:lnTo>
                      <a:pt x="530" y="485"/>
                    </a:lnTo>
                    <a:lnTo>
                      <a:pt x="530" y="484"/>
                    </a:lnTo>
                    <a:lnTo>
                      <a:pt x="529" y="484"/>
                    </a:lnTo>
                    <a:lnTo>
                      <a:pt x="527" y="482"/>
                    </a:lnTo>
                    <a:lnTo>
                      <a:pt x="526" y="482"/>
                    </a:lnTo>
                    <a:lnTo>
                      <a:pt x="524" y="482"/>
                    </a:lnTo>
                    <a:lnTo>
                      <a:pt x="522" y="480"/>
                    </a:lnTo>
                    <a:lnTo>
                      <a:pt x="521" y="477"/>
                    </a:lnTo>
                    <a:lnTo>
                      <a:pt x="519" y="476"/>
                    </a:lnTo>
                    <a:lnTo>
                      <a:pt x="518" y="477"/>
                    </a:lnTo>
                    <a:lnTo>
                      <a:pt x="516" y="477"/>
                    </a:lnTo>
                    <a:lnTo>
                      <a:pt x="514" y="476"/>
                    </a:lnTo>
                    <a:lnTo>
                      <a:pt x="513" y="476"/>
                    </a:lnTo>
                    <a:lnTo>
                      <a:pt x="511" y="476"/>
                    </a:lnTo>
                    <a:lnTo>
                      <a:pt x="511" y="474"/>
                    </a:lnTo>
                    <a:lnTo>
                      <a:pt x="510" y="474"/>
                    </a:lnTo>
                    <a:lnTo>
                      <a:pt x="508" y="471"/>
                    </a:lnTo>
                    <a:lnTo>
                      <a:pt x="495" y="465"/>
                    </a:lnTo>
                    <a:lnTo>
                      <a:pt x="492" y="463"/>
                    </a:lnTo>
                    <a:lnTo>
                      <a:pt x="488" y="460"/>
                    </a:lnTo>
                    <a:lnTo>
                      <a:pt x="486" y="460"/>
                    </a:lnTo>
                    <a:lnTo>
                      <a:pt x="484" y="460"/>
                    </a:lnTo>
                    <a:lnTo>
                      <a:pt x="483" y="460"/>
                    </a:lnTo>
                    <a:lnTo>
                      <a:pt x="478" y="458"/>
                    </a:lnTo>
                    <a:lnTo>
                      <a:pt x="472" y="457"/>
                    </a:lnTo>
                    <a:lnTo>
                      <a:pt x="467" y="455"/>
                    </a:lnTo>
                    <a:lnTo>
                      <a:pt x="465" y="453"/>
                    </a:lnTo>
                    <a:lnTo>
                      <a:pt x="465" y="452"/>
                    </a:lnTo>
                    <a:lnTo>
                      <a:pt x="465" y="449"/>
                    </a:lnTo>
                    <a:lnTo>
                      <a:pt x="467" y="446"/>
                    </a:lnTo>
                    <a:lnTo>
                      <a:pt x="467" y="442"/>
                    </a:lnTo>
                    <a:lnTo>
                      <a:pt x="467" y="441"/>
                    </a:lnTo>
                    <a:lnTo>
                      <a:pt x="465" y="439"/>
                    </a:lnTo>
                    <a:lnTo>
                      <a:pt x="461" y="434"/>
                    </a:lnTo>
                    <a:lnTo>
                      <a:pt x="456" y="434"/>
                    </a:lnTo>
                    <a:lnTo>
                      <a:pt x="454" y="434"/>
                    </a:lnTo>
                    <a:lnTo>
                      <a:pt x="453" y="434"/>
                    </a:lnTo>
                    <a:lnTo>
                      <a:pt x="449" y="436"/>
                    </a:lnTo>
                    <a:lnTo>
                      <a:pt x="448" y="434"/>
                    </a:lnTo>
                    <a:lnTo>
                      <a:pt x="443" y="434"/>
                    </a:lnTo>
                    <a:lnTo>
                      <a:pt x="442" y="434"/>
                    </a:lnTo>
                    <a:lnTo>
                      <a:pt x="437" y="434"/>
                    </a:lnTo>
                    <a:lnTo>
                      <a:pt x="434" y="434"/>
                    </a:lnTo>
                    <a:lnTo>
                      <a:pt x="432" y="434"/>
                    </a:lnTo>
                    <a:lnTo>
                      <a:pt x="430" y="433"/>
                    </a:lnTo>
                    <a:lnTo>
                      <a:pt x="430" y="431"/>
                    </a:lnTo>
                    <a:lnTo>
                      <a:pt x="429" y="430"/>
                    </a:lnTo>
                    <a:lnTo>
                      <a:pt x="427" y="430"/>
                    </a:lnTo>
                    <a:lnTo>
                      <a:pt x="426" y="430"/>
                    </a:lnTo>
                    <a:lnTo>
                      <a:pt x="424" y="430"/>
                    </a:lnTo>
                    <a:lnTo>
                      <a:pt x="423" y="430"/>
                    </a:lnTo>
                    <a:lnTo>
                      <a:pt x="421" y="430"/>
                    </a:lnTo>
                    <a:lnTo>
                      <a:pt x="419" y="433"/>
                    </a:lnTo>
                    <a:lnTo>
                      <a:pt x="419" y="434"/>
                    </a:lnTo>
                    <a:lnTo>
                      <a:pt x="418" y="436"/>
                    </a:lnTo>
                    <a:lnTo>
                      <a:pt x="413" y="442"/>
                    </a:lnTo>
                    <a:lnTo>
                      <a:pt x="413" y="444"/>
                    </a:lnTo>
                    <a:lnTo>
                      <a:pt x="411" y="444"/>
                    </a:lnTo>
                    <a:lnTo>
                      <a:pt x="410" y="446"/>
                    </a:lnTo>
                    <a:lnTo>
                      <a:pt x="410" y="447"/>
                    </a:lnTo>
                    <a:lnTo>
                      <a:pt x="408" y="449"/>
                    </a:lnTo>
                    <a:lnTo>
                      <a:pt x="407" y="450"/>
                    </a:lnTo>
                    <a:lnTo>
                      <a:pt x="405" y="450"/>
                    </a:lnTo>
                    <a:lnTo>
                      <a:pt x="400" y="452"/>
                    </a:lnTo>
                    <a:lnTo>
                      <a:pt x="399" y="452"/>
                    </a:lnTo>
                    <a:lnTo>
                      <a:pt x="397" y="452"/>
                    </a:lnTo>
                    <a:lnTo>
                      <a:pt x="396" y="452"/>
                    </a:lnTo>
                    <a:lnTo>
                      <a:pt x="391" y="453"/>
                    </a:lnTo>
                    <a:lnTo>
                      <a:pt x="388" y="453"/>
                    </a:lnTo>
                    <a:lnTo>
                      <a:pt x="386" y="453"/>
                    </a:lnTo>
                    <a:lnTo>
                      <a:pt x="383" y="457"/>
                    </a:lnTo>
                    <a:lnTo>
                      <a:pt x="383" y="460"/>
                    </a:lnTo>
                    <a:lnTo>
                      <a:pt x="383" y="461"/>
                    </a:lnTo>
                    <a:lnTo>
                      <a:pt x="383" y="465"/>
                    </a:lnTo>
                    <a:lnTo>
                      <a:pt x="383" y="466"/>
                    </a:lnTo>
                    <a:lnTo>
                      <a:pt x="381" y="466"/>
                    </a:lnTo>
                    <a:lnTo>
                      <a:pt x="380" y="466"/>
                    </a:lnTo>
                    <a:lnTo>
                      <a:pt x="378" y="468"/>
                    </a:lnTo>
                    <a:lnTo>
                      <a:pt x="377" y="471"/>
                    </a:lnTo>
                    <a:lnTo>
                      <a:pt x="377" y="474"/>
                    </a:lnTo>
                    <a:lnTo>
                      <a:pt x="375" y="476"/>
                    </a:lnTo>
                    <a:lnTo>
                      <a:pt x="373" y="477"/>
                    </a:lnTo>
                    <a:lnTo>
                      <a:pt x="372" y="479"/>
                    </a:lnTo>
                    <a:lnTo>
                      <a:pt x="370" y="479"/>
                    </a:lnTo>
                    <a:lnTo>
                      <a:pt x="370" y="480"/>
                    </a:lnTo>
                    <a:lnTo>
                      <a:pt x="369" y="480"/>
                    </a:lnTo>
                    <a:lnTo>
                      <a:pt x="369" y="482"/>
                    </a:lnTo>
                    <a:lnTo>
                      <a:pt x="369" y="484"/>
                    </a:lnTo>
                    <a:lnTo>
                      <a:pt x="367" y="484"/>
                    </a:lnTo>
                    <a:lnTo>
                      <a:pt x="366" y="485"/>
                    </a:lnTo>
                    <a:lnTo>
                      <a:pt x="366" y="490"/>
                    </a:lnTo>
                    <a:lnTo>
                      <a:pt x="364" y="490"/>
                    </a:lnTo>
                    <a:lnTo>
                      <a:pt x="362" y="488"/>
                    </a:lnTo>
                    <a:lnTo>
                      <a:pt x="362" y="487"/>
                    </a:lnTo>
                    <a:lnTo>
                      <a:pt x="361" y="487"/>
                    </a:lnTo>
                    <a:lnTo>
                      <a:pt x="361" y="488"/>
                    </a:lnTo>
                    <a:lnTo>
                      <a:pt x="359" y="488"/>
                    </a:lnTo>
                    <a:lnTo>
                      <a:pt x="358" y="488"/>
                    </a:lnTo>
                    <a:lnTo>
                      <a:pt x="358" y="490"/>
                    </a:lnTo>
                    <a:lnTo>
                      <a:pt x="351" y="490"/>
                    </a:lnTo>
                    <a:lnTo>
                      <a:pt x="348" y="491"/>
                    </a:lnTo>
                    <a:lnTo>
                      <a:pt x="348" y="490"/>
                    </a:lnTo>
                    <a:lnTo>
                      <a:pt x="347" y="490"/>
                    </a:lnTo>
                    <a:lnTo>
                      <a:pt x="345" y="488"/>
                    </a:lnTo>
                    <a:lnTo>
                      <a:pt x="343" y="487"/>
                    </a:lnTo>
                    <a:lnTo>
                      <a:pt x="343" y="490"/>
                    </a:lnTo>
                    <a:lnTo>
                      <a:pt x="343" y="491"/>
                    </a:lnTo>
                    <a:lnTo>
                      <a:pt x="342" y="493"/>
                    </a:lnTo>
                    <a:lnTo>
                      <a:pt x="340" y="493"/>
                    </a:lnTo>
                    <a:lnTo>
                      <a:pt x="339" y="491"/>
                    </a:lnTo>
                    <a:lnTo>
                      <a:pt x="339" y="493"/>
                    </a:lnTo>
                    <a:lnTo>
                      <a:pt x="337" y="493"/>
                    </a:lnTo>
                    <a:lnTo>
                      <a:pt x="335" y="493"/>
                    </a:lnTo>
                    <a:lnTo>
                      <a:pt x="334" y="490"/>
                    </a:lnTo>
                    <a:lnTo>
                      <a:pt x="332" y="490"/>
                    </a:lnTo>
                    <a:lnTo>
                      <a:pt x="332" y="491"/>
                    </a:lnTo>
                    <a:lnTo>
                      <a:pt x="329" y="490"/>
                    </a:lnTo>
                    <a:lnTo>
                      <a:pt x="328" y="491"/>
                    </a:lnTo>
                    <a:lnTo>
                      <a:pt x="328" y="493"/>
                    </a:lnTo>
                    <a:lnTo>
                      <a:pt x="329" y="495"/>
                    </a:lnTo>
                    <a:lnTo>
                      <a:pt x="329" y="496"/>
                    </a:lnTo>
                    <a:lnTo>
                      <a:pt x="328" y="496"/>
                    </a:lnTo>
                    <a:lnTo>
                      <a:pt x="328" y="495"/>
                    </a:lnTo>
                    <a:lnTo>
                      <a:pt x="323" y="493"/>
                    </a:lnTo>
                    <a:lnTo>
                      <a:pt x="323" y="491"/>
                    </a:lnTo>
                    <a:lnTo>
                      <a:pt x="323" y="490"/>
                    </a:lnTo>
                    <a:lnTo>
                      <a:pt x="321" y="488"/>
                    </a:lnTo>
                    <a:lnTo>
                      <a:pt x="321" y="487"/>
                    </a:lnTo>
                    <a:lnTo>
                      <a:pt x="320" y="487"/>
                    </a:lnTo>
                    <a:lnTo>
                      <a:pt x="316" y="485"/>
                    </a:lnTo>
                    <a:lnTo>
                      <a:pt x="315" y="484"/>
                    </a:lnTo>
                    <a:lnTo>
                      <a:pt x="313" y="484"/>
                    </a:lnTo>
                    <a:lnTo>
                      <a:pt x="313" y="485"/>
                    </a:lnTo>
                    <a:lnTo>
                      <a:pt x="315" y="487"/>
                    </a:lnTo>
                    <a:lnTo>
                      <a:pt x="315" y="488"/>
                    </a:lnTo>
                    <a:lnTo>
                      <a:pt x="315" y="490"/>
                    </a:lnTo>
                    <a:lnTo>
                      <a:pt x="313" y="490"/>
                    </a:lnTo>
                    <a:lnTo>
                      <a:pt x="309" y="490"/>
                    </a:lnTo>
                    <a:lnTo>
                      <a:pt x="305" y="488"/>
                    </a:lnTo>
                    <a:lnTo>
                      <a:pt x="304" y="487"/>
                    </a:lnTo>
                    <a:lnTo>
                      <a:pt x="302" y="488"/>
                    </a:lnTo>
                    <a:lnTo>
                      <a:pt x="301" y="488"/>
                    </a:lnTo>
                    <a:lnTo>
                      <a:pt x="299" y="487"/>
                    </a:lnTo>
                    <a:lnTo>
                      <a:pt x="297" y="488"/>
                    </a:lnTo>
                    <a:lnTo>
                      <a:pt x="296" y="488"/>
                    </a:lnTo>
                    <a:lnTo>
                      <a:pt x="294" y="487"/>
                    </a:lnTo>
                    <a:lnTo>
                      <a:pt x="294" y="485"/>
                    </a:lnTo>
                    <a:lnTo>
                      <a:pt x="293" y="482"/>
                    </a:lnTo>
                    <a:lnTo>
                      <a:pt x="293" y="480"/>
                    </a:lnTo>
                    <a:lnTo>
                      <a:pt x="291" y="480"/>
                    </a:lnTo>
                    <a:lnTo>
                      <a:pt x="290" y="482"/>
                    </a:lnTo>
                    <a:lnTo>
                      <a:pt x="290" y="484"/>
                    </a:lnTo>
                    <a:lnTo>
                      <a:pt x="288" y="484"/>
                    </a:lnTo>
                    <a:lnTo>
                      <a:pt x="286" y="484"/>
                    </a:lnTo>
                    <a:lnTo>
                      <a:pt x="285" y="485"/>
                    </a:lnTo>
                    <a:lnTo>
                      <a:pt x="283" y="485"/>
                    </a:lnTo>
                    <a:lnTo>
                      <a:pt x="283" y="487"/>
                    </a:lnTo>
                    <a:lnTo>
                      <a:pt x="283" y="485"/>
                    </a:lnTo>
                    <a:lnTo>
                      <a:pt x="282" y="485"/>
                    </a:lnTo>
                    <a:lnTo>
                      <a:pt x="280" y="485"/>
                    </a:lnTo>
                    <a:lnTo>
                      <a:pt x="280" y="484"/>
                    </a:lnTo>
                    <a:lnTo>
                      <a:pt x="280" y="482"/>
                    </a:lnTo>
                    <a:lnTo>
                      <a:pt x="278" y="482"/>
                    </a:lnTo>
                    <a:lnTo>
                      <a:pt x="277" y="482"/>
                    </a:lnTo>
                    <a:lnTo>
                      <a:pt x="272" y="482"/>
                    </a:lnTo>
                    <a:lnTo>
                      <a:pt x="271" y="482"/>
                    </a:lnTo>
                    <a:lnTo>
                      <a:pt x="269" y="480"/>
                    </a:lnTo>
                    <a:lnTo>
                      <a:pt x="269" y="479"/>
                    </a:lnTo>
                    <a:lnTo>
                      <a:pt x="266" y="477"/>
                    </a:lnTo>
                    <a:lnTo>
                      <a:pt x="237" y="479"/>
                    </a:lnTo>
                    <a:lnTo>
                      <a:pt x="236" y="479"/>
                    </a:lnTo>
                    <a:lnTo>
                      <a:pt x="234" y="479"/>
                    </a:lnTo>
                    <a:lnTo>
                      <a:pt x="232" y="479"/>
                    </a:lnTo>
                    <a:lnTo>
                      <a:pt x="231" y="479"/>
                    </a:lnTo>
                    <a:lnTo>
                      <a:pt x="229" y="479"/>
                    </a:lnTo>
                    <a:lnTo>
                      <a:pt x="228" y="479"/>
                    </a:lnTo>
                    <a:lnTo>
                      <a:pt x="226" y="479"/>
                    </a:lnTo>
                    <a:lnTo>
                      <a:pt x="225" y="479"/>
                    </a:lnTo>
                    <a:lnTo>
                      <a:pt x="223" y="479"/>
                    </a:lnTo>
                    <a:lnTo>
                      <a:pt x="221" y="479"/>
                    </a:lnTo>
                    <a:lnTo>
                      <a:pt x="220" y="479"/>
                    </a:lnTo>
                    <a:lnTo>
                      <a:pt x="218" y="479"/>
                    </a:lnTo>
                    <a:lnTo>
                      <a:pt x="217" y="479"/>
                    </a:lnTo>
                    <a:lnTo>
                      <a:pt x="217" y="480"/>
                    </a:lnTo>
                    <a:lnTo>
                      <a:pt x="215" y="480"/>
                    </a:lnTo>
                    <a:lnTo>
                      <a:pt x="213" y="480"/>
                    </a:lnTo>
                    <a:lnTo>
                      <a:pt x="213" y="479"/>
                    </a:lnTo>
                    <a:lnTo>
                      <a:pt x="210" y="479"/>
                    </a:lnTo>
                    <a:lnTo>
                      <a:pt x="209" y="479"/>
                    </a:lnTo>
                    <a:lnTo>
                      <a:pt x="206" y="479"/>
                    </a:lnTo>
                    <a:lnTo>
                      <a:pt x="204" y="479"/>
                    </a:lnTo>
                    <a:lnTo>
                      <a:pt x="204" y="480"/>
                    </a:lnTo>
                    <a:lnTo>
                      <a:pt x="201" y="480"/>
                    </a:lnTo>
                    <a:lnTo>
                      <a:pt x="199" y="480"/>
                    </a:lnTo>
                    <a:lnTo>
                      <a:pt x="196" y="480"/>
                    </a:lnTo>
                    <a:lnTo>
                      <a:pt x="193" y="480"/>
                    </a:lnTo>
                    <a:lnTo>
                      <a:pt x="182" y="480"/>
                    </a:lnTo>
                    <a:lnTo>
                      <a:pt x="180" y="480"/>
                    </a:lnTo>
                    <a:lnTo>
                      <a:pt x="174" y="480"/>
                    </a:lnTo>
                    <a:lnTo>
                      <a:pt x="172" y="480"/>
                    </a:lnTo>
                    <a:lnTo>
                      <a:pt x="172" y="482"/>
                    </a:lnTo>
                    <a:lnTo>
                      <a:pt x="171" y="482"/>
                    </a:lnTo>
                    <a:lnTo>
                      <a:pt x="168" y="482"/>
                    </a:lnTo>
                    <a:lnTo>
                      <a:pt x="164" y="482"/>
                    </a:lnTo>
                    <a:lnTo>
                      <a:pt x="163" y="482"/>
                    </a:lnTo>
                    <a:lnTo>
                      <a:pt x="161" y="482"/>
                    </a:lnTo>
                    <a:lnTo>
                      <a:pt x="160" y="482"/>
                    </a:lnTo>
                    <a:lnTo>
                      <a:pt x="158" y="482"/>
                    </a:lnTo>
                    <a:lnTo>
                      <a:pt x="155" y="482"/>
                    </a:lnTo>
                    <a:lnTo>
                      <a:pt x="153" y="482"/>
                    </a:lnTo>
                    <a:lnTo>
                      <a:pt x="152" y="482"/>
                    </a:lnTo>
                    <a:lnTo>
                      <a:pt x="150" y="482"/>
                    </a:lnTo>
                    <a:lnTo>
                      <a:pt x="147" y="482"/>
                    </a:lnTo>
                    <a:lnTo>
                      <a:pt x="145" y="484"/>
                    </a:lnTo>
                    <a:lnTo>
                      <a:pt x="144" y="484"/>
                    </a:lnTo>
                    <a:lnTo>
                      <a:pt x="142" y="482"/>
                    </a:lnTo>
                    <a:lnTo>
                      <a:pt x="141" y="482"/>
                    </a:lnTo>
                    <a:lnTo>
                      <a:pt x="139" y="476"/>
                    </a:lnTo>
                    <a:lnTo>
                      <a:pt x="137" y="472"/>
                    </a:lnTo>
                    <a:lnTo>
                      <a:pt x="137" y="469"/>
                    </a:lnTo>
                    <a:lnTo>
                      <a:pt x="137" y="465"/>
                    </a:lnTo>
                    <a:lnTo>
                      <a:pt x="136" y="457"/>
                    </a:lnTo>
                    <a:lnTo>
                      <a:pt x="134" y="453"/>
                    </a:lnTo>
                    <a:lnTo>
                      <a:pt x="133" y="442"/>
                    </a:lnTo>
                    <a:lnTo>
                      <a:pt x="131" y="436"/>
                    </a:lnTo>
                    <a:lnTo>
                      <a:pt x="131" y="431"/>
                    </a:lnTo>
                    <a:lnTo>
                      <a:pt x="130" y="428"/>
                    </a:lnTo>
                    <a:lnTo>
                      <a:pt x="125" y="420"/>
                    </a:lnTo>
                    <a:lnTo>
                      <a:pt x="125" y="419"/>
                    </a:lnTo>
                    <a:lnTo>
                      <a:pt x="122" y="417"/>
                    </a:lnTo>
                    <a:lnTo>
                      <a:pt x="118" y="415"/>
                    </a:lnTo>
                    <a:lnTo>
                      <a:pt x="117" y="412"/>
                    </a:lnTo>
                    <a:lnTo>
                      <a:pt x="112" y="411"/>
                    </a:lnTo>
                    <a:lnTo>
                      <a:pt x="104" y="406"/>
                    </a:lnTo>
                    <a:lnTo>
                      <a:pt x="101" y="404"/>
                    </a:lnTo>
                    <a:lnTo>
                      <a:pt x="92" y="401"/>
                    </a:lnTo>
                    <a:lnTo>
                      <a:pt x="88" y="401"/>
                    </a:lnTo>
                    <a:lnTo>
                      <a:pt x="84" y="403"/>
                    </a:lnTo>
                    <a:lnTo>
                      <a:pt x="84" y="401"/>
                    </a:lnTo>
                    <a:lnTo>
                      <a:pt x="84" y="400"/>
                    </a:lnTo>
                    <a:lnTo>
                      <a:pt x="82" y="398"/>
                    </a:lnTo>
                    <a:lnTo>
                      <a:pt x="82" y="395"/>
                    </a:lnTo>
                    <a:lnTo>
                      <a:pt x="82" y="393"/>
                    </a:lnTo>
                    <a:lnTo>
                      <a:pt x="84" y="392"/>
                    </a:lnTo>
                    <a:lnTo>
                      <a:pt x="85" y="392"/>
                    </a:lnTo>
                    <a:lnTo>
                      <a:pt x="87" y="389"/>
                    </a:lnTo>
                    <a:lnTo>
                      <a:pt x="85" y="385"/>
                    </a:lnTo>
                    <a:lnTo>
                      <a:pt x="82" y="382"/>
                    </a:lnTo>
                    <a:lnTo>
                      <a:pt x="80" y="382"/>
                    </a:lnTo>
                    <a:lnTo>
                      <a:pt x="79" y="382"/>
                    </a:lnTo>
                    <a:lnTo>
                      <a:pt x="77" y="381"/>
                    </a:lnTo>
                    <a:lnTo>
                      <a:pt x="77" y="376"/>
                    </a:lnTo>
                    <a:lnTo>
                      <a:pt x="74" y="373"/>
                    </a:lnTo>
                    <a:lnTo>
                      <a:pt x="72" y="370"/>
                    </a:lnTo>
                    <a:lnTo>
                      <a:pt x="69" y="366"/>
                    </a:lnTo>
                    <a:lnTo>
                      <a:pt x="68" y="362"/>
                    </a:lnTo>
                    <a:lnTo>
                      <a:pt x="68" y="358"/>
                    </a:lnTo>
                    <a:lnTo>
                      <a:pt x="65" y="357"/>
                    </a:lnTo>
                    <a:lnTo>
                      <a:pt x="61" y="354"/>
                    </a:lnTo>
                    <a:lnTo>
                      <a:pt x="58" y="349"/>
                    </a:lnTo>
                    <a:lnTo>
                      <a:pt x="58" y="347"/>
                    </a:lnTo>
                    <a:lnTo>
                      <a:pt x="57" y="346"/>
                    </a:lnTo>
                    <a:lnTo>
                      <a:pt x="52" y="343"/>
                    </a:lnTo>
                    <a:lnTo>
                      <a:pt x="46" y="339"/>
                    </a:lnTo>
                    <a:lnTo>
                      <a:pt x="44" y="339"/>
                    </a:lnTo>
                    <a:lnTo>
                      <a:pt x="39" y="338"/>
                    </a:lnTo>
                    <a:lnTo>
                      <a:pt x="38" y="336"/>
                    </a:lnTo>
                    <a:lnTo>
                      <a:pt x="36" y="335"/>
                    </a:lnTo>
                    <a:lnTo>
                      <a:pt x="34" y="331"/>
                    </a:lnTo>
                    <a:lnTo>
                      <a:pt x="34" y="330"/>
                    </a:lnTo>
                    <a:lnTo>
                      <a:pt x="36" y="328"/>
                    </a:lnTo>
                    <a:lnTo>
                      <a:pt x="34" y="327"/>
                    </a:lnTo>
                    <a:lnTo>
                      <a:pt x="36" y="324"/>
                    </a:lnTo>
                    <a:lnTo>
                      <a:pt x="36" y="320"/>
                    </a:lnTo>
                    <a:lnTo>
                      <a:pt x="34" y="319"/>
                    </a:lnTo>
                    <a:lnTo>
                      <a:pt x="34" y="317"/>
                    </a:lnTo>
                    <a:lnTo>
                      <a:pt x="36" y="319"/>
                    </a:lnTo>
                    <a:lnTo>
                      <a:pt x="38" y="319"/>
                    </a:lnTo>
                    <a:lnTo>
                      <a:pt x="36" y="316"/>
                    </a:lnTo>
                    <a:lnTo>
                      <a:pt x="36" y="314"/>
                    </a:lnTo>
                    <a:lnTo>
                      <a:pt x="34" y="314"/>
                    </a:lnTo>
                    <a:lnTo>
                      <a:pt x="33" y="314"/>
                    </a:lnTo>
                    <a:lnTo>
                      <a:pt x="31" y="312"/>
                    </a:lnTo>
                    <a:lnTo>
                      <a:pt x="30" y="312"/>
                    </a:lnTo>
                    <a:lnTo>
                      <a:pt x="28" y="312"/>
                    </a:lnTo>
                    <a:lnTo>
                      <a:pt x="27" y="311"/>
                    </a:lnTo>
                    <a:lnTo>
                      <a:pt x="25" y="308"/>
                    </a:lnTo>
                    <a:lnTo>
                      <a:pt x="25" y="300"/>
                    </a:lnTo>
                    <a:lnTo>
                      <a:pt x="27" y="293"/>
                    </a:lnTo>
                    <a:lnTo>
                      <a:pt x="28" y="290"/>
                    </a:lnTo>
                    <a:lnTo>
                      <a:pt x="30" y="289"/>
                    </a:lnTo>
                    <a:lnTo>
                      <a:pt x="31" y="284"/>
                    </a:lnTo>
                    <a:lnTo>
                      <a:pt x="36" y="279"/>
                    </a:lnTo>
                    <a:lnTo>
                      <a:pt x="38" y="278"/>
                    </a:lnTo>
                    <a:lnTo>
                      <a:pt x="38" y="274"/>
                    </a:lnTo>
                    <a:lnTo>
                      <a:pt x="39" y="273"/>
                    </a:lnTo>
                    <a:lnTo>
                      <a:pt x="39" y="271"/>
                    </a:lnTo>
                    <a:lnTo>
                      <a:pt x="39" y="270"/>
                    </a:lnTo>
                    <a:lnTo>
                      <a:pt x="41" y="268"/>
                    </a:lnTo>
                    <a:lnTo>
                      <a:pt x="41" y="267"/>
                    </a:lnTo>
                    <a:lnTo>
                      <a:pt x="38" y="263"/>
                    </a:lnTo>
                    <a:lnTo>
                      <a:pt x="39" y="257"/>
                    </a:lnTo>
                    <a:lnTo>
                      <a:pt x="38" y="251"/>
                    </a:lnTo>
                    <a:lnTo>
                      <a:pt x="39" y="246"/>
                    </a:lnTo>
                    <a:lnTo>
                      <a:pt x="41" y="243"/>
                    </a:lnTo>
                    <a:lnTo>
                      <a:pt x="41" y="236"/>
                    </a:lnTo>
                    <a:lnTo>
                      <a:pt x="39" y="227"/>
                    </a:lnTo>
                    <a:lnTo>
                      <a:pt x="39" y="224"/>
                    </a:lnTo>
                    <a:lnTo>
                      <a:pt x="41" y="222"/>
                    </a:lnTo>
                    <a:lnTo>
                      <a:pt x="41" y="219"/>
                    </a:lnTo>
                    <a:lnTo>
                      <a:pt x="41" y="214"/>
                    </a:lnTo>
                    <a:lnTo>
                      <a:pt x="38" y="210"/>
                    </a:lnTo>
                    <a:lnTo>
                      <a:pt x="36" y="208"/>
                    </a:lnTo>
                    <a:lnTo>
                      <a:pt x="34" y="206"/>
                    </a:lnTo>
                    <a:lnTo>
                      <a:pt x="31" y="205"/>
                    </a:lnTo>
                    <a:lnTo>
                      <a:pt x="30" y="202"/>
                    </a:lnTo>
                    <a:lnTo>
                      <a:pt x="31" y="200"/>
                    </a:lnTo>
                    <a:lnTo>
                      <a:pt x="33" y="194"/>
                    </a:lnTo>
                    <a:lnTo>
                      <a:pt x="31" y="191"/>
                    </a:lnTo>
                    <a:lnTo>
                      <a:pt x="31" y="187"/>
                    </a:lnTo>
                    <a:lnTo>
                      <a:pt x="28" y="181"/>
                    </a:lnTo>
                    <a:lnTo>
                      <a:pt x="28" y="179"/>
                    </a:lnTo>
                    <a:lnTo>
                      <a:pt x="27" y="176"/>
                    </a:lnTo>
                    <a:lnTo>
                      <a:pt x="23" y="175"/>
                    </a:lnTo>
                    <a:lnTo>
                      <a:pt x="20" y="168"/>
                    </a:lnTo>
                    <a:lnTo>
                      <a:pt x="20" y="167"/>
                    </a:lnTo>
                    <a:lnTo>
                      <a:pt x="22" y="164"/>
                    </a:lnTo>
                    <a:lnTo>
                      <a:pt x="23" y="164"/>
                    </a:lnTo>
                    <a:lnTo>
                      <a:pt x="23" y="160"/>
                    </a:lnTo>
                    <a:lnTo>
                      <a:pt x="14" y="156"/>
                    </a:lnTo>
                    <a:lnTo>
                      <a:pt x="11" y="152"/>
                    </a:lnTo>
                    <a:lnTo>
                      <a:pt x="11" y="151"/>
                    </a:lnTo>
                    <a:lnTo>
                      <a:pt x="11" y="146"/>
                    </a:lnTo>
                    <a:lnTo>
                      <a:pt x="9" y="145"/>
                    </a:lnTo>
                    <a:lnTo>
                      <a:pt x="9" y="143"/>
                    </a:lnTo>
                    <a:lnTo>
                      <a:pt x="8" y="141"/>
                    </a:lnTo>
                    <a:lnTo>
                      <a:pt x="11" y="141"/>
                    </a:lnTo>
                    <a:lnTo>
                      <a:pt x="12" y="141"/>
                    </a:lnTo>
                    <a:lnTo>
                      <a:pt x="11" y="140"/>
                    </a:lnTo>
                    <a:lnTo>
                      <a:pt x="8" y="138"/>
                    </a:lnTo>
                    <a:lnTo>
                      <a:pt x="8" y="137"/>
                    </a:lnTo>
                    <a:lnTo>
                      <a:pt x="9" y="133"/>
                    </a:lnTo>
                    <a:lnTo>
                      <a:pt x="15" y="129"/>
                    </a:lnTo>
                    <a:lnTo>
                      <a:pt x="17" y="126"/>
                    </a:lnTo>
                    <a:lnTo>
                      <a:pt x="17" y="124"/>
                    </a:lnTo>
                    <a:lnTo>
                      <a:pt x="15" y="122"/>
                    </a:lnTo>
                    <a:lnTo>
                      <a:pt x="14" y="121"/>
                    </a:lnTo>
                    <a:lnTo>
                      <a:pt x="14" y="119"/>
                    </a:lnTo>
                    <a:lnTo>
                      <a:pt x="15" y="118"/>
                    </a:lnTo>
                    <a:lnTo>
                      <a:pt x="15" y="116"/>
                    </a:lnTo>
                    <a:lnTo>
                      <a:pt x="12" y="114"/>
                    </a:lnTo>
                    <a:lnTo>
                      <a:pt x="9" y="116"/>
                    </a:lnTo>
                    <a:lnTo>
                      <a:pt x="8" y="108"/>
                    </a:lnTo>
                    <a:lnTo>
                      <a:pt x="6" y="107"/>
                    </a:lnTo>
                    <a:lnTo>
                      <a:pt x="6" y="100"/>
                    </a:lnTo>
                    <a:lnTo>
                      <a:pt x="6" y="99"/>
                    </a:lnTo>
                    <a:lnTo>
                      <a:pt x="8" y="97"/>
                    </a:lnTo>
                    <a:lnTo>
                      <a:pt x="9" y="86"/>
                    </a:lnTo>
                    <a:lnTo>
                      <a:pt x="11" y="84"/>
                    </a:lnTo>
                    <a:lnTo>
                      <a:pt x="12" y="78"/>
                    </a:lnTo>
                    <a:lnTo>
                      <a:pt x="11" y="78"/>
                    </a:lnTo>
                    <a:lnTo>
                      <a:pt x="15" y="72"/>
                    </a:lnTo>
                    <a:lnTo>
                      <a:pt x="14" y="72"/>
                    </a:lnTo>
                    <a:lnTo>
                      <a:pt x="15" y="69"/>
                    </a:lnTo>
                    <a:lnTo>
                      <a:pt x="15" y="67"/>
                    </a:lnTo>
                    <a:lnTo>
                      <a:pt x="14" y="61"/>
                    </a:lnTo>
                    <a:lnTo>
                      <a:pt x="14" y="57"/>
                    </a:lnTo>
                    <a:lnTo>
                      <a:pt x="11" y="54"/>
                    </a:lnTo>
                    <a:lnTo>
                      <a:pt x="9" y="48"/>
                    </a:lnTo>
                    <a:lnTo>
                      <a:pt x="11" y="42"/>
                    </a:lnTo>
                    <a:lnTo>
                      <a:pt x="11" y="40"/>
                    </a:lnTo>
                    <a:lnTo>
                      <a:pt x="11" y="34"/>
                    </a:lnTo>
                    <a:lnTo>
                      <a:pt x="9" y="29"/>
                    </a:lnTo>
                    <a:lnTo>
                      <a:pt x="8" y="26"/>
                    </a:lnTo>
                    <a:lnTo>
                      <a:pt x="6" y="23"/>
                    </a:lnTo>
                    <a:lnTo>
                      <a:pt x="4" y="19"/>
                    </a:lnTo>
                    <a:lnTo>
                      <a:pt x="3" y="15"/>
                    </a:lnTo>
                    <a:lnTo>
                      <a:pt x="1" y="12"/>
                    </a:lnTo>
                    <a:lnTo>
                      <a:pt x="0" y="10"/>
                    </a:lnTo>
                    <a:lnTo>
                      <a:pt x="3" y="7"/>
                    </a:lnTo>
                    <a:lnTo>
                      <a:pt x="3" y="5"/>
                    </a:lnTo>
                    <a:lnTo>
                      <a:pt x="3"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74" name="Freeform 154"/>
              <p:cNvSpPr>
                <a:spLocks/>
              </p:cNvSpPr>
              <p:nvPr/>
            </p:nvSpPr>
            <p:spPr bwMode="auto">
              <a:xfrm>
                <a:off x="1869" y="1633"/>
                <a:ext cx="1693" cy="1861"/>
              </a:xfrm>
              <a:custGeom>
                <a:avLst/>
                <a:gdLst>
                  <a:gd name="T0" fmla="*/ 1674 w 1693"/>
                  <a:gd name="T1" fmla="*/ 1820 h 1861"/>
                  <a:gd name="T2" fmla="*/ 1605 w 1693"/>
                  <a:gd name="T3" fmla="*/ 1736 h 1861"/>
                  <a:gd name="T4" fmla="*/ 1540 w 1693"/>
                  <a:gd name="T5" fmla="*/ 1679 h 1861"/>
                  <a:gd name="T6" fmla="*/ 1502 w 1693"/>
                  <a:gd name="T7" fmla="*/ 1697 h 1861"/>
                  <a:gd name="T8" fmla="*/ 1499 w 1693"/>
                  <a:gd name="T9" fmla="*/ 1739 h 1861"/>
                  <a:gd name="T10" fmla="*/ 1491 w 1693"/>
                  <a:gd name="T11" fmla="*/ 1735 h 1861"/>
                  <a:gd name="T12" fmla="*/ 1480 w 1693"/>
                  <a:gd name="T13" fmla="*/ 1728 h 1861"/>
                  <a:gd name="T14" fmla="*/ 1464 w 1693"/>
                  <a:gd name="T15" fmla="*/ 1716 h 1861"/>
                  <a:gd name="T16" fmla="*/ 1442 w 1693"/>
                  <a:gd name="T17" fmla="*/ 1698 h 1861"/>
                  <a:gd name="T18" fmla="*/ 1427 w 1693"/>
                  <a:gd name="T19" fmla="*/ 1697 h 1861"/>
                  <a:gd name="T20" fmla="*/ 1416 w 1693"/>
                  <a:gd name="T21" fmla="*/ 1706 h 1861"/>
                  <a:gd name="T22" fmla="*/ 1394 w 1693"/>
                  <a:gd name="T23" fmla="*/ 1701 h 1861"/>
                  <a:gd name="T24" fmla="*/ 1375 w 1693"/>
                  <a:gd name="T25" fmla="*/ 1698 h 1861"/>
                  <a:gd name="T26" fmla="*/ 1364 w 1693"/>
                  <a:gd name="T27" fmla="*/ 1711 h 1861"/>
                  <a:gd name="T28" fmla="*/ 1334 w 1693"/>
                  <a:gd name="T29" fmla="*/ 1703 h 1861"/>
                  <a:gd name="T30" fmla="*/ 1320 w 1693"/>
                  <a:gd name="T31" fmla="*/ 1682 h 1861"/>
                  <a:gd name="T32" fmla="*/ 1302 w 1693"/>
                  <a:gd name="T33" fmla="*/ 1668 h 1861"/>
                  <a:gd name="T34" fmla="*/ 1280 w 1693"/>
                  <a:gd name="T35" fmla="*/ 1670 h 1861"/>
                  <a:gd name="T36" fmla="*/ 1253 w 1693"/>
                  <a:gd name="T37" fmla="*/ 1670 h 1861"/>
                  <a:gd name="T38" fmla="*/ 1236 w 1693"/>
                  <a:gd name="T39" fmla="*/ 1663 h 1861"/>
                  <a:gd name="T40" fmla="*/ 1212 w 1693"/>
                  <a:gd name="T41" fmla="*/ 1644 h 1861"/>
                  <a:gd name="T42" fmla="*/ 1199 w 1693"/>
                  <a:gd name="T43" fmla="*/ 1632 h 1861"/>
                  <a:gd name="T44" fmla="*/ 1186 w 1693"/>
                  <a:gd name="T45" fmla="*/ 1633 h 1861"/>
                  <a:gd name="T46" fmla="*/ 1163 w 1693"/>
                  <a:gd name="T47" fmla="*/ 1633 h 1861"/>
                  <a:gd name="T48" fmla="*/ 1142 w 1693"/>
                  <a:gd name="T49" fmla="*/ 1625 h 1861"/>
                  <a:gd name="T50" fmla="*/ 1112 w 1693"/>
                  <a:gd name="T51" fmla="*/ 1600 h 1861"/>
                  <a:gd name="T52" fmla="*/ 1069 w 1693"/>
                  <a:gd name="T53" fmla="*/ 1592 h 1861"/>
                  <a:gd name="T54" fmla="*/ 1023 w 1693"/>
                  <a:gd name="T55" fmla="*/ 1554 h 1861"/>
                  <a:gd name="T56" fmla="*/ 992 w 1693"/>
                  <a:gd name="T57" fmla="*/ 1549 h 1861"/>
                  <a:gd name="T58" fmla="*/ 949 w 1693"/>
                  <a:gd name="T59" fmla="*/ 1549 h 1861"/>
                  <a:gd name="T60" fmla="*/ 916 w 1693"/>
                  <a:gd name="T61" fmla="*/ 1529 h 1861"/>
                  <a:gd name="T62" fmla="*/ 870 w 1693"/>
                  <a:gd name="T63" fmla="*/ 1532 h 1861"/>
                  <a:gd name="T64" fmla="*/ 849 w 1693"/>
                  <a:gd name="T65" fmla="*/ 1508 h 1861"/>
                  <a:gd name="T66" fmla="*/ 797 w 1693"/>
                  <a:gd name="T67" fmla="*/ 1473 h 1861"/>
                  <a:gd name="T68" fmla="*/ 771 w 1693"/>
                  <a:gd name="T69" fmla="*/ 1481 h 1861"/>
                  <a:gd name="T70" fmla="*/ 732 w 1693"/>
                  <a:gd name="T71" fmla="*/ 1453 h 1861"/>
                  <a:gd name="T72" fmla="*/ 714 w 1693"/>
                  <a:gd name="T73" fmla="*/ 1405 h 1861"/>
                  <a:gd name="T74" fmla="*/ 673 w 1693"/>
                  <a:gd name="T75" fmla="*/ 1388 h 1861"/>
                  <a:gd name="T76" fmla="*/ 656 w 1693"/>
                  <a:gd name="T77" fmla="*/ 1383 h 1861"/>
                  <a:gd name="T78" fmla="*/ 629 w 1693"/>
                  <a:gd name="T79" fmla="*/ 1383 h 1861"/>
                  <a:gd name="T80" fmla="*/ 602 w 1693"/>
                  <a:gd name="T81" fmla="*/ 1381 h 1861"/>
                  <a:gd name="T82" fmla="*/ 537 w 1693"/>
                  <a:gd name="T83" fmla="*/ 1358 h 1861"/>
                  <a:gd name="T84" fmla="*/ 499 w 1693"/>
                  <a:gd name="T85" fmla="*/ 1309 h 1861"/>
                  <a:gd name="T86" fmla="*/ 471 w 1693"/>
                  <a:gd name="T87" fmla="*/ 1256 h 1861"/>
                  <a:gd name="T88" fmla="*/ 452 w 1693"/>
                  <a:gd name="T89" fmla="*/ 1207 h 1861"/>
                  <a:gd name="T90" fmla="*/ 394 w 1693"/>
                  <a:gd name="T91" fmla="*/ 1076 h 1861"/>
                  <a:gd name="T92" fmla="*/ 356 w 1693"/>
                  <a:gd name="T93" fmla="*/ 995 h 1861"/>
                  <a:gd name="T94" fmla="*/ 301 w 1693"/>
                  <a:gd name="T95" fmla="*/ 875 h 1861"/>
                  <a:gd name="T96" fmla="*/ 253 w 1693"/>
                  <a:gd name="T97" fmla="*/ 813 h 1861"/>
                  <a:gd name="T98" fmla="*/ 163 w 1693"/>
                  <a:gd name="T99" fmla="*/ 743 h 1861"/>
                  <a:gd name="T100" fmla="*/ 95 w 1693"/>
                  <a:gd name="T101" fmla="*/ 635 h 1861"/>
                  <a:gd name="T102" fmla="*/ 92 w 1693"/>
                  <a:gd name="T103" fmla="*/ 461 h 1861"/>
                  <a:gd name="T104" fmla="*/ 67 w 1693"/>
                  <a:gd name="T105" fmla="*/ 342 h 1861"/>
                  <a:gd name="T106" fmla="*/ 21 w 1693"/>
                  <a:gd name="T107" fmla="*/ 228 h 1861"/>
                  <a:gd name="T108" fmla="*/ 22 w 1693"/>
                  <a:gd name="T109" fmla="*/ 48 h 1861"/>
                  <a:gd name="T110" fmla="*/ 120 w 1693"/>
                  <a:gd name="T111" fmla="*/ 32 h 1861"/>
                  <a:gd name="T112" fmla="*/ 141 w 1693"/>
                  <a:gd name="T113" fmla="*/ 37 h 1861"/>
                  <a:gd name="T114" fmla="*/ 147 w 1693"/>
                  <a:gd name="T115" fmla="*/ 18 h 1861"/>
                  <a:gd name="T116" fmla="*/ 160 w 1693"/>
                  <a:gd name="T117" fmla="*/ 2 h 1861"/>
                  <a:gd name="T118" fmla="*/ 174 w 1693"/>
                  <a:gd name="T119" fmla="*/ 7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93" h="1861">
                    <a:moveTo>
                      <a:pt x="1692" y="1861"/>
                    </a:moveTo>
                    <a:lnTo>
                      <a:pt x="1690" y="1860"/>
                    </a:lnTo>
                    <a:lnTo>
                      <a:pt x="1690" y="1858"/>
                    </a:lnTo>
                    <a:lnTo>
                      <a:pt x="1693" y="1854"/>
                    </a:lnTo>
                    <a:lnTo>
                      <a:pt x="1692" y="1854"/>
                    </a:lnTo>
                    <a:lnTo>
                      <a:pt x="1693" y="1852"/>
                    </a:lnTo>
                    <a:lnTo>
                      <a:pt x="1693" y="1850"/>
                    </a:lnTo>
                    <a:lnTo>
                      <a:pt x="1693" y="1849"/>
                    </a:lnTo>
                    <a:lnTo>
                      <a:pt x="1692" y="1847"/>
                    </a:lnTo>
                    <a:lnTo>
                      <a:pt x="1689" y="1838"/>
                    </a:lnTo>
                    <a:lnTo>
                      <a:pt x="1685" y="1833"/>
                    </a:lnTo>
                    <a:lnTo>
                      <a:pt x="1684" y="1831"/>
                    </a:lnTo>
                    <a:lnTo>
                      <a:pt x="1684" y="1828"/>
                    </a:lnTo>
                    <a:lnTo>
                      <a:pt x="1682" y="1825"/>
                    </a:lnTo>
                    <a:lnTo>
                      <a:pt x="1679" y="1823"/>
                    </a:lnTo>
                    <a:lnTo>
                      <a:pt x="1678" y="1822"/>
                    </a:lnTo>
                    <a:lnTo>
                      <a:pt x="1674" y="1820"/>
                    </a:lnTo>
                    <a:lnTo>
                      <a:pt x="1671" y="1817"/>
                    </a:lnTo>
                    <a:lnTo>
                      <a:pt x="1668" y="1814"/>
                    </a:lnTo>
                    <a:lnTo>
                      <a:pt x="1666" y="1811"/>
                    </a:lnTo>
                    <a:lnTo>
                      <a:pt x="1659" y="1801"/>
                    </a:lnTo>
                    <a:lnTo>
                      <a:pt x="1647" y="1790"/>
                    </a:lnTo>
                    <a:lnTo>
                      <a:pt x="1647" y="1789"/>
                    </a:lnTo>
                    <a:lnTo>
                      <a:pt x="1636" y="1774"/>
                    </a:lnTo>
                    <a:lnTo>
                      <a:pt x="1630" y="1770"/>
                    </a:lnTo>
                    <a:lnTo>
                      <a:pt x="1630" y="1768"/>
                    </a:lnTo>
                    <a:lnTo>
                      <a:pt x="1628" y="1766"/>
                    </a:lnTo>
                    <a:lnTo>
                      <a:pt x="1627" y="1763"/>
                    </a:lnTo>
                    <a:lnTo>
                      <a:pt x="1625" y="1758"/>
                    </a:lnTo>
                    <a:lnTo>
                      <a:pt x="1624" y="1757"/>
                    </a:lnTo>
                    <a:lnTo>
                      <a:pt x="1622" y="1754"/>
                    </a:lnTo>
                    <a:lnTo>
                      <a:pt x="1619" y="1749"/>
                    </a:lnTo>
                    <a:lnTo>
                      <a:pt x="1606" y="1739"/>
                    </a:lnTo>
                    <a:lnTo>
                      <a:pt x="1605" y="1736"/>
                    </a:lnTo>
                    <a:lnTo>
                      <a:pt x="1600" y="1732"/>
                    </a:lnTo>
                    <a:lnTo>
                      <a:pt x="1598" y="1730"/>
                    </a:lnTo>
                    <a:lnTo>
                      <a:pt x="1597" y="1727"/>
                    </a:lnTo>
                    <a:lnTo>
                      <a:pt x="1586" y="1717"/>
                    </a:lnTo>
                    <a:lnTo>
                      <a:pt x="1583" y="1716"/>
                    </a:lnTo>
                    <a:lnTo>
                      <a:pt x="1576" y="1708"/>
                    </a:lnTo>
                    <a:lnTo>
                      <a:pt x="1573" y="1706"/>
                    </a:lnTo>
                    <a:lnTo>
                      <a:pt x="1570" y="1703"/>
                    </a:lnTo>
                    <a:lnTo>
                      <a:pt x="1565" y="1700"/>
                    </a:lnTo>
                    <a:lnTo>
                      <a:pt x="1563" y="1698"/>
                    </a:lnTo>
                    <a:lnTo>
                      <a:pt x="1563" y="1697"/>
                    </a:lnTo>
                    <a:lnTo>
                      <a:pt x="1562" y="1697"/>
                    </a:lnTo>
                    <a:lnTo>
                      <a:pt x="1556" y="1689"/>
                    </a:lnTo>
                    <a:lnTo>
                      <a:pt x="1552" y="1687"/>
                    </a:lnTo>
                    <a:lnTo>
                      <a:pt x="1549" y="1684"/>
                    </a:lnTo>
                    <a:lnTo>
                      <a:pt x="1543" y="1679"/>
                    </a:lnTo>
                    <a:lnTo>
                      <a:pt x="1540" y="1679"/>
                    </a:lnTo>
                    <a:lnTo>
                      <a:pt x="1540" y="1678"/>
                    </a:lnTo>
                    <a:lnTo>
                      <a:pt x="1538" y="1675"/>
                    </a:lnTo>
                    <a:lnTo>
                      <a:pt x="1537" y="1673"/>
                    </a:lnTo>
                    <a:lnTo>
                      <a:pt x="1532" y="1670"/>
                    </a:lnTo>
                    <a:lnTo>
                      <a:pt x="1530" y="1668"/>
                    </a:lnTo>
                    <a:lnTo>
                      <a:pt x="1524" y="1668"/>
                    </a:lnTo>
                    <a:lnTo>
                      <a:pt x="1524" y="1670"/>
                    </a:lnTo>
                    <a:lnTo>
                      <a:pt x="1514" y="1675"/>
                    </a:lnTo>
                    <a:lnTo>
                      <a:pt x="1513" y="1675"/>
                    </a:lnTo>
                    <a:lnTo>
                      <a:pt x="1513" y="1676"/>
                    </a:lnTo>
                    <a:lnTo>
                      <a:pt x="1508" y="1679"/>
                    </a:lnTo>
                    <a:lnTo>
                      <a:pt x="1506" y="1682"/>
                    </a:lnTo>
                    <a:lnTo>
                      <a:pt x="1503" y="1686"/>
                    </a:lnTo>
                    <a:lnTo>
                      <a:pt x="1502" y="1692"/>
                    </a:lnTo>
                    <a:lnTo>
                      <a:pt x="1502" y="1694"/>
                    </a:lnTo>
                    <a:lnTo>
                      <a:pt x="1502" y="1695"/>
                    </a:lnTo>
                    <a:lnTo>
                      <a:pt x="1502" y="1697"/>
                    </a:lnTo>
                    <a:lnTo>
                      <a:pt x="1505" y="1701"/>
                    </a:lnTo>
                    <a:lnTo>
                      <a:pt x="1505" y="1703"/>
                    </a:lnTo>
                    <a:lnTo>
                      <a:pt x="1505" y="1705"/>
                    </a:lnTo>
                    <a:lnTo>
                      <a:pt x="1508" y="1709"/>
                    </a:lnTo>
                    <a:lnTo>
                      <a:pt x="1508" y="1711"/>
                    </a:lnTo>
                    <a:lnTo>
                      <a:pt x="1508" y="1713"/>
                    </a:lnTo>
                    <a:lnTo>
                      <a:pt x="1505" y="1717"/>
                    </a:lnTo>
                    <a:lnTo>
                      <a:pt x="1505" y="1719"/>
                    </a:lnTo>
                    <a:lnTo>
                      <a:pt x="1503" y="1724"/>
                    </a:lnTo>
                    <a:lnTo>
                      <a:pt x="1503" y="1725"/>
                    </a:lnTo>
                    <a:lnTo>
                      <a:pt x="1503" y="1727"/>
                    </a:lnTo>
                    <a:lnTo>
                      <a:pt x="1503" y="1728"/>
                    </a:lnTo>
                    <a:lnTo>
                      <a:pt x="1502" y="1732"/>
                    </a:lnTo>
                    <a:lnTo>
                      <a:pt x="1500" y="1735"/>
                    </a:lnTo>
                    <a:lnTo>
                      <a:pt x="1500" y="1736"/>
                    </a:lnTo>
                    <a:lnTo>
                      <a:pt x="1500" y="1738"/>
                    </a:lnTo>
                    <a:lnTo>
                      <a:pt x="1499" y="1739"/>
                    </a:lnTo>
                    <a:lnTo>
                      <a:pt x="1497" y="1738"/>
                    </a:lnTo>
                    <a:lnTo>
                      <a:pt x="1495" y="1738"/>
                    </a:lnTo>
                    <a:lnTo>
                      <a:pt x="1494" y="1738"/>
                    </a:lnTo>
                    <a:lnTo>
                      <a:pt x="1492" y="1738"/>
                    </a:lnTo>
                    <a:lnTo>
                      <a:pt x="1492" y="1739"/>
                    </a:lnTo>
                    <a:lnTo>
                      <a:pt x="1491" y="1739"/>
                    </a:lnTo>
                    <a:lnTo>
                      <a:pt x="1489" y="1739"/>
                    </a:lnTo>
                    <a:lnTo>
                      <a:pt x="1489" y="1738"/>
                    </a:lnTo>
                    <a:lnTo>
                      <a:pt x="1489" y="1739"/>
                    </a:lnTo>
                    <a:lnTo>
                      <a:pt x="1489" y="1738"/>
                    </a:lnTo>
                    <a:lnTo>
                      <a:pt x="1487" y="1738"/>
                    </a:lnTo>
                    <a:lnTo>
                      <a:pt x="1487" y="1736"/>
                    </a:lnTo>
                    <a:lnTo>
                      <a:pt x="1487" y="1738"/>
                    </a:lnTo>
                    <a:lnTo>
                      <a:pt x="1487" y="1736"/>
                    </a:lnTo>
                    <a:lnTo>
                      <a:pt x="1489" y="1736"/>
                    </a:lnTo>
                    <a:lnTo>
                      <a:pt x="1489" y="1735"/>
                    </a:lnTo>
                    <a:lnTo>
                      <a:pt x="1491" y="1735"/>
                    </a:lnTo>
                    <a:lnTo>
                      <a:pt x="1491" y="1733"/>
                    </a:lnTo>
                    <a:lnTo>
                      <a:pt x="1489" y="1733"/>
                    </a:lnTo>
                    <a:lnTo>
                      <a:pt x="1489" y="1732"/>
                    </a:lnTo>
                    <a:lnTo>
                      <a:pt x="1489" y="1733"/>
                    </a:lnTo>
                    <a:lnTo>
                      <a:pt x="1487" y="1733"/>
                    </a:lnTo>
                    <a:lnTo>
                      <a:pt x="1487" y="1732"/>
                    </a:lnTo>
                    <a:lnTo>
                      <a:pt x="1486" y="1732"/>
                    </a:lnTo>
                    <a:lnTo>
                      <a:pt x="1486" y="1733"/>
                    </a:lnTo>
                    <a:lnTo>
                      <a:pt x="1486" y="1732"/>
                    </a:lnTo>
                    <a:lnTo>
                      <a:pt x="1484" y="1732"/>
                    </a:lnTo>
                    <a:lnTo>
                      <a:pt x="1483" y="1732"/>
                    </a:lnTo>
                    <a:lnTo>
                      <a:pt x="1484" y="1732"/>
                    </a:lnTo>
                    <a:lnTo>
                      <a:pt x="1484" y="1730"/>
                    </a:lnTo>
                    <a:lnTo>
                      <a:pt x="1483" y="1730"/>
                    </a:lnTo>
                    <a:lnTo>
                      <a:pt x="1483" y="1728"/>
                    </a:lnTo>
                    <a:lnTo>
                      <a:pt x="1481" y="1728"/>
                    </a:lnTo>
                    <a:lnTo>
                      <a:pt x="1480" y="1728"/>
                    </a:lnTo>
                    <a:lnTo>
                      <a:pt x="1480" y="1730"/>
                    </a:lnTo>
                    <a:lnTo>
                      <a:pt x="1480" y="1728"/>
                    </a:lnTo>
                    <a:lnTo>
                      <a:pt x="1480" y="1727"/>
                    </a:lnTo>
                    <a:lnTo>
                      <a:pt x="1478" y="1727"/>
                    </a:lnTo>
                    <a:lnTo>
                      <a:pt x="1478" y="1725"/>
                    </a:lnTo>
                    <a:lnTo>
                      <a:pt x="1476" y="1725"/>
                    </a:lnTo>
                    <a:lnTo>
                      <a:pt x="1476" y="1724"/>
                    </a:lnTo>
                    <a:lnTo>
                      <a:pt x="1475" y="1724"/>
                    </a:lnTo>
                    <a:lnTo>
                      <a:pt x="1475" y="1722"/>
                    </a:lnTo>
                    <a:lnTo>
                      <a:pt x="1473" y="1722"/>
                    </a:lnTo>
                    <a:lnTo>
                      <a:pt x="1473" y="1720"/>
                    </a:lnTo>
                    <a:lnTo>
                      <a:pt x="1470" y="1719"/>
                    </a:lnTo>
                    <a:lnTo>
                      <a:pt x="1470" y="1717"/>
                    </a:lnTo>
                    <a:lnTo>
                      <a:pt x="1468" y="1717"/>
                    </a:lnTo>
                    <a:lnTo>
                      <a:pt x="1467" y="1717"/>
                    </a:lnTo>
                    <a:lnTo>
                      <a:pt x="1465" y="1716"/>
                    </a:lnTo>
                    <a:lnTo>
                      <a:pt x="1464" y="1716"/>
                    </a:lnTo>
                    <a:lnTo>
                      <a:pt x="1462" y="1716"/>
                    </a:lnTo>
                    <a:lnTo>
                      <a:pt x="1459" y="1713"/>
                    </a:lnTo>
                    <a:lnTo>
                      <a:pt x="1459" y="1711"/>
                    </a:lnTo>
                    <a:lnTo>
                      <a:pt x="1459" y="1709"/>
                    </a:lnTo>
                    <a:lnTo>
                      <a:pt x="1457" y="1709"/>
                    </a:lnTo>
                    <a:lnTo>
                      <a:pt x="1456" y="1708"/>
                    </a:lnTo>
                    <a:lnTo>
                      <a:pt x="1454" y="1706"/>
                    </a:lnTo>
                    <a:lnTo>
                      <a:pt x="1454" y="1705"/>
                    </a:lnTo>
                    <a:lnTo>
                      <a:pt x="1453" y="1705"/>
                    </a:lnTo>
                    <a:lnTo>
                      <a:pt x="1451" y="1705"/>
                    </a:lnTo>
                    <a:lnTo>
                      <a:pt x="1448" y="1701"/>
                    </a:lnTo>
                    <a:lnTo>
                      <a:pt x="1448" y="1700"/>
                    </a:lnTo>
                    <a:lnTo>
                      <a:pt x="1446" y="1700"/>
                    </a:lnTo>
                    <a:lnTo>
                      <a:pt x="1446" y="1698"/>
                    </a:lnTo>
                    <a:lnTo>
                      <a:pt x="1445" y="1698"/>
                    </a:lnTo>
                    <a:lnTo>
                      <a:pt x="1443" y="1698"/>
                    </a:lnTo>
                    <a:lnTo>
                      <a:pt x="1442" y="1698"/>
                    </a:lnTo>
                    <a:lnTo>
                      <a:pt x="1442" y="1697"/>
                    </a:lnTo>
                    <a:lnTo>
                      <a:pt x="1440" y="1697"/>
                    </a:lnTo>
                    <a:lnTo>
                      <a:pt x="1438" y="1697"/>
                    </a:lnTo>
                    <a:lnTo>
                      <a:pt x="1438" y="1698"/>
                    </a:lnTo>
                    <a:lnTo>
                      <a:pt x="1437" y="1698"/>
                    </a:lnTo>
                    <a:lnTo>
                      <a:pt x="1437" y="1697"/>
                    </a:lnTo>
                    <a:lnTo>
                      <a:pt x="1435" y="1697"/>
                    </a:lnTo>
                    <a:lnTo>
                      <a:pt x="1434" y="1697"/>
                    </a:lnTo>
                    <a:lnTo>
                      <a:pt x="1434" y="1698"/>
                    </a:lnTo>
                    <a:lnTo>
                      <a:pt x="1432" y="1698"/>
                    </a:lnTo>
                    <a:lnTo>
                      <a:pt x="1432" y="1697"/>
                    </a:lnTo>
                    <a:lnTo>
                      <a:pt x="1432" y="1698"/>
                    </a:lnTo>
                    <a:lnTo>
                      <a:pt x="1430" y="1697"/>
                    </a:lnTo>
                    <a:lnTo>
                      <a:pt x="1429" y="1697"/>
                    </a:lnTo>
                    <a:lnTo>
                      <a:pt x="1429" y="1698"/>
                    </a:lnTo>
                    <a:lnTo>
                      <a:pt x="1429" y="1697"/>
                    </a:lnTo>
                    <a:lnTo>
                      <a:pt x="1427" y="1697"/>
                    </a:lnTo>
                    <a:lnTo>
                      <a:pt x="1427" y="1698"/>
                    </a:lnTo>
                    <a:lnTo>
                      <a:pt x="1426" y="1698"/>
                    </a:lnTo>
                    <a:lnTo>
                      <a:pt x="1426" y="1700"/>
                    </a:lnTo>
                    <a:lnTo>
                      <a:pt x="1424" y="1700"/>
                    </a:lnTo>
                    <a:lnTo>
                      <a:pt x="1424" y="1701"/>
                    </a:lnTo>
                    <a:lnTo>
                      <a:pt x="1426" y="1701"/>
                    </a:lnTo>
                    <a:lnTo>
                      <a:pt x="1424" y="1701"/>
                    </a:lnTo>
                    <a:lnTo>
                      <a:pt x="1424" y="1703"/>
                    </a:lnTo>
                    <a:lnTo>
                      <a:pt x="1423" y="1703"/>
                    </a:lnTo>
                    <a:lnTo>
                      <a:pt x="1423" y="1705"/>
                    </a:lnTo>
                    <a:lnTo>
                      <a:pt x="1424" y="1705"/>
                    </a:lnTo>
                    <a:lnTo>
                      <a:pt x="1423" y="1705"/>
                    </a:lnTo>
                    <a:lnTo>
                      <a:pt x="1423" y="1708"/>
                    </a:lnTo>
                    <a:lnTo>
                      <a:pt x="1423" y="1709"/>
                    </a:lnTo>
                    <a:lnTo>
                      <a:pt x="1419" y="1706"/>
                    </a:lnTo>
                    <a:lnTo>
                      <a:pt x="1418" y="1706"/>
                    </a:lnTo>
                    <a:lnTo>
                      <a:pt x="1416" y="1706"/>
                    </a:lnTo>
                    <a:lnTo>
                      <a:pt x="1413" y="1706"/>
                    </a:lnTo>
                    <a:lnTo>
                      <a:pt x="1411" y="1706"/>
                    </a:lnTo>
                    <a:lnTo>
                      <a:pt x="1410" y="1706"/>
                    </a:lnTo>
                    <a:lnTo>
                      <a:pt x="1408" y="1706"/>
                    </a:lnTo>
                    <a:lnTo>
                      <a:pt x="1408" y="1705"/>
                    </a:lnTo>
                    <a:lnTo>
                      <a:pt x="1407" y="1705"/>
                    </a:lnTo>
                    <a:lnTo>
                      <a:pt x="1405" y="1705"/>
                    </a:lnTo>
                    <a:lnTo>
                      <a:pt x="1405" y="1703"/>
                    </a:lnTo>
                    <a:lnTo>
                      <a:pt x="1404" y="1703"/>
                    </a:lnTo>
                    <a:lnTo>
                      <a:pt x="1402" y="1703"/>
                    </a:lnTo>
                    <a:lnTo>
                      <a:pt x="1400" y="1703"/>
                    </a:lnTo>
                    <a:lnTo>
                      <a:pt x="1402" y="1705"/>
                    </a:lnTo>
                    <a:lnTo>
                      <a:pt x="1399" y="1705"/>
                    </a:lnTo>
                    <a:lnTo>
                      <a:pt x="1397" y="1703"/>
                    </a:lnTo>
                    <a:lnTo>
                      <a:pt x="1396" y="1703"/>
                    </a:lnTo>
                    <a:lnTo>
                      <a:pt x="1394" y="1703"/>
                    </a:lnTo>
                    <a:lnTo>
                      <a:pt x="1394" y="1701"/>
                    </a:lnTo>
                    <a:lnTo>
                      <a:pt x="1391" y="1701"/>
                    </a:lnTo>
                    <a:lnTo>
                      <a:pt x="1391" y="1700"/>
                    </a:lnTo>
                    <a:lnTo>
                      <a:pt x="1389" y="1700"/>
                    </a:lnTo>
                    <a:lnTo>
                      <a:pt x="1388" y="1700"/>
                    </a:lnTo>
                    <a:lnTo>
                      <a:pt x="1388" y="1698"/>
                    </a:lnTo>
                    <a:lnTo>
                      <a:pt x="1386" y="1697"/>
                    </a:lnTo>
                    <a:lnTo>
                      <a:pt x="1384" y="1697"/>
                    </a:lnTo>
                    <a:lnTo>
                      <a:pt x="1383" y="1695"/>
                    </a:lnTo>
                    <a:lnTo>
                      <a:pt x="1383" y="1697"/>
                    </a:lnTo>
                    <a:lnTo>
                      <a:pt x="1381" y="1697"/>
                    </a:lnTo>
                    <a:lnTo>
                      <a:pt x="1381" y="1698"/>
                    </a:lnTo>
                    <a:lnTo>
                      <a:pt x="1380" y="1698"/>
                    </a:lnTo>
                    <a:lnTo>
                      <a:pt x="1378" y="1698"/>
                    </a:lnTo>
                    <a:lnTo>
                      <a:pt x="1378" y="1700"/>
                    </a:lnTo>
                    <a:lnTo>
                      <a:pt x="1377" y="1700"/>
                    </a:lnTo>
                    <a:lnTo>
                      <a:pt x="1377" y="1698"/>
                    </a:lnTo>
                    <a:lnTo>
                      <a:pt x="1375" y="1698"/>
                    </a:lnTo>
                    <a:lnTo>
                      <a:pt x="1373" y="1698"/>
                    </a:lnTo>
                    <a:lnTo>
                      <a:pt x="1372" y="1698"/>
                    </a:lnTo>
                    <a:lnTo>
                      <a:pt x="1372" y="1700"/>
                    </a:lnTo>
                    <a:lnTo>
                      <a:pt x="1372" y="1701"/>
                    </a:lnTo>
                    <a:lnTo>
                      <a:pt x="1370" y="1701"/>
                    </a:lnTo>
                    <a:lnTo>
                      <a:pt x="1370" y="1703"/>
                    </a:lnTo>
                    <a:lnTo>
                      <a:pt x="1369" y="1703"/>
                    </a:lnTo>
                    <a:lnTo>
                      <a:pt x="1369" y="1705"/>
                    </a:lnTo>
                    <a:lnTo>
                      <a:pt x="1369" y="1706"/>
                    </a:lnTo>
                    <a:lnTo>
                      <a:pt x="1367" y="1706"/>
                    </a:lnTo>
                    <a:lnTo>
                      <a:pt x="1365" y="1706"/>
                    </a:lnTo>
                    <a:lnTo>
                      <a:pt x="1365" y="1708"/>
                    </a:lnTo>
                    <a:lnTo>
                      <a:pt x="1367" y="1708"/>
                    </a:lnTo>
                    <a:lnTo>
                      <a:pt x="1367" y="1709"/>
                    </a:lnTo>
                    <a:lnTo>
                      <a:pt x="1367" y="1711"/>
                    </a:lnTo>
                    <a:lnTo>
                      <a:pt x="1365" y="1711"/>
                    </a:lnTo>
                    <a:lnTo>
                      <a:pt x="1364" y="1711"/>
                    </a:lnTo>
                    <a:lnTo>
                      <a:pt x="1362" y="1711"/>
                    </a:lnTo>
                    <a:lnTo>
                      <a:pt x="1362" y="1713"/>
                    </a:lnTo>
                    <a:lnTo>
                      <a:pt x="1361" y="1713"/>
                    </a:lnTo>
                    <a:lnTo>
                      <a:pt x="1356" y="1711"/>
                    </a:lnTo>
                    <a:lnTo>
                      <a:pt x="1356" y="1709"/>
                    </a:lnTo>
                    <a:lnTo>
                      <a:pt x="1353" y="1711"/>
                    </a:lnTo>
                    <a:lnTo>
                      <a:pt x="1351" y="1711"/>
                    </a:lnTo>
                    <a:lnTo>
                      <a:pt x="1350" y="1711"/>
                    </a:lnTo>
                    <a:lnTo>
                      <a:pt x="1348" y="1709"/>
                    </a:lnTo>
                    <a:lnTo>
                      <a:pt x="1346" y="1709"/>
                    </a:lnTo>
                    <a:lnTo>
                      <a:pt x="1345" y="1709"/>
                    </a:lnTo>
                    <a:lnTo>
                      <a:pt x="1343" y="1709"/>
                    </a:lnTo>
                    <a:lnTo>
                      <a:pt x="1339" y="1708"/>
                    </a:lnTo>
                    <a:lnTo>
                      <a:pt x="1337" y="1708"/>
                    </a:lnTo>
                    <a:lnTo>
                      <a:pt x="1335" y="1706"/>
                    </a:lnTo>
                    <a:lnTo>
                      <a:pt x="1334" y="1705"/>
                    </a:lnTo>
                    <a:lnTo>
                      <a:pt x="1334" y="1703"/>
                    </a:lnTo>
                    <a:lnTo>
                      <a:pt x="1332" y="1703"/>
                    </a:lnTo>
                    <a:lnTo>
                      <a:pt x="1331" y="1703"/>
                    </a:lnTo>
                    <a:lnTo>
                      <a:pt x="1331" y="1701"/>
                    </a:lnTo>
                    <a:lnTo>
                      <a:pt x="1331" y="1700"/>
                    </a:lnTo>
                    <a:lnTo>
                      <a:pt x="1331" y="1698"/>
                    </a:lnTo>
                    <a:lnTo>
                      <a:pt x="1331" y="1697"/>
                    </a:lnTo>
                    <a:lnTo>
                      <a:pt x="1331" y="1695"/>
                    </a:lnTo>
                    <a:lnTo>
                      <a:pt x="1331" y="1694"/>
                    </a:lnTo>
                    <a:lnTo>
                      <a:pt x="1329" y="1692"/>
                    </a:lnTo>
                    <a:lnTo>
                      <a:pt x="1327" y="1690"/>
                    </a:lnTo>
                    <a:lnTo>
                      <a:pt x="1324" y="1687"/>
                    </a:lnTo>
                    <a:lnTo>
                      <a:pt x="1323" y="1687"/>
                    </a:lnTo>
                    <a:lnTo>
                      <a:pt x="1323" y="1686"/>
                    </a:lnTo>
                    <a:lnTo>
                      <a:pt x="1323" y="1684"/>
                    </a:lnTo>
                    <a:lnTo>
                      <a:pt x="1321" y="1684"/>
                    </a:lnTo>
                    <a:lnTo>
                      <a:pt x="1321" y="1682"/>
                    </a:lnTo>
                    <a:lnTo>
                      <a:pt x="1320" y="1682"/>
                    </a:lnTo>
                    <a:lnTo>
                      <a:pt x="1318" y="1682"/>
                    </a:lnTo>
                    <a:lnTo>
                      <a:pt x="1318" y="1681"/>
                    </a:lnTo>
                    <a:lnTo>
                      <a:pt x="1316" y="1682"/>
                    </a:lnTo>
                    <a:lnTo>
                      <a:pt x="1316" y="1681"/>
                    </a:lnTo>
                    <a:lnTo>
                      <a:pt x="1315" y="1679"/>
                    </a:lnTo>
                    <a:lnTo>
                      <a:pt x="1315" y="1678"/>
                    </a:lnTo>
                    <a:lnTo>
                      <a:pt x="1313" y="1678"/>
                    </a:lnTo>
                    <a:lnTo>
                      <a:pt x="1312" y="1679"/>
                    </a:lnTo>
                    <a:lnTo>
                      <a:pt x="1310" y="1678"/>
                    </a:lnTo>
                    <a:lnTo>
                      <a:pt x="1308" y="1676"/>
                    </a:lnTo>
                    <a:lnTo>
                      <a:pt x="1308" y="1675"/>
                    </a:lnTo>
                    <a:lnTo>
                      <a:pt x="1307" y="1673"/>
                    </a:lnTo>
                    <a:lnTo>
                      <a:pt x="1305" y="1673"/>
                    </a:lnTo>
                    <a:lnTo>
                      <a:pt x="1305" y="1671"/>
                    </a:lnTo>
                    <a:lnTo>
                      <a:pt x="1304" y="1671"/>
                    </a:lnTo>
                    <a:lnTo>
                      <a:pt x="1302" y="1670"/>
                    </a:lnTo>
                    <a:lnTo>
                      <a:pt x="1302" y="1668"/>
                    </a:lnTo>
                    <a:lnTo>
                      <a:pt x="1301" y="1668"/>
                    </a:lnTo>
                    <a:lnTo>
                      <a:pt x="1301" y="1667"/>
                    </a:lnTo>
                    <a:lnTo>
                      <a:pt x="1299" y="1667"/>
                    </a:lnTo>
                    <a:lnTo>
                      <a:pt x="1299" y="1665"/>
                    </a:lnTo>
                    <a:lnTo>
                      <a:pt x="1297" y="1665"/>
                    </a:lnTo>
                    <a:lnTo>
                      <a:pt x="1297" y="1667"/>
                    </a:lnTo>
                    <a:lnTo>
                      <a:pt x="1296" y="1667"/>
                    </a:lnTo>
                    <a:lnTo>
                      <a:pt x="1294" y="1667"/>
                    </a:lnTo>
                    <a:lnTo>
                      <a:pt x="1293" y="1668"/>
                    </a:lnTo>
                    <a:lnTo>
                      <a:pt x="1291" y="1668"/>
                    </a:lnTo>
                    <a:lnTo>
                      <a:pt x="1289" y="1668"/>
                    </a:lnTo>
                    <a:lnTo>
                      <a:pt x="1288" y="1670"/>
                    </a:lnTo>
                    <a:lnTo>
                      <a:pt x="1286" y="1670"/>
                    </a:lnTo>
                    <a:lnTo>
                      <a:pt x="1286" y="1671"/>
                    </a:lnTo>
                    <a:lnTo>
                      <a:pt x="1285" y="1671"/>
                    </a:lnTo>
                    <a:lnTo>
                      <a:pt x="1282" y="1670"/>
                    </a:lnTo>
                    <a:lnTo>
                      <a:pt x="1280" y="1670"/>
                    </a:lnTo>
                    <a:lnTo>
                      <a:pt x="1280" y="1668"/>
                    </a:lnTo>
                    <a:lnTo>
                      <a:pt x="1278" y="1667"/>
                    </a:lnTo>
                    <a:lnTo>
                      <a:pt x="1277" y="1667"/>
                    </a:lnTo>
                    <a:lnTo>
                      <a:pt x="1275" y="1667"/>
                    </a:lnTo>
                    <a:lnTo>
                      <a:pt x="1274" y="1667"/>
                    </a:lnTo>
                    <a:lnTo>
                      <a:pt x="1272" y="1668"/>
                    </a:lnTo>
                    <a:lnTo>
                      <a:pt x="1270" y="1668"/>
                    </a:lnTo>
                    <a:lnTo>
                      <a:pt x="1269" y="1668"/>
                    </a:lnTo>
                    <a:lnTo>
                      <a:pt x="1267" y="1670"/>
                    </a:lnTo>
                    <a:lnTo>
                      <a:pt x="1266" y="1671"/>
                    </a:lnTo>
                    <a:lnTo>
                      <a:pt x="1264" y="1673"/>
                    </a:lnTo>
                    <a:lnTo>
                      <a:pt x="1263" y="1673"/>
                    </a:lnTo>
                    <a:lnTo>
                      <a:pt x="1259" y="1673"/>
                    </a:lnTo>
                    <a:lnTo>
                      <a:pt x="1258" y="1673"/>
                    </a:lnTo>
                    <a:lnTo>
                      <a:pt x="1256" y="1671"/>
                    </a:lnTo>
                    <a:lnTo>
                      <a:pt x="1255" y="1670"/>
                    </a:lnTo>
                    <a:lnTo>
                      <a:pt x="1253" y="1670"/>
                    </a:lnTo>
                    <a:lnTo>
                      <a:pt x="1251" y="1670"/>
                    </a:lnTo>
                    <a:lnTo>
                      <a:pt x="1250" y="1670"/>
                    </a:lnTo>
                    <a:lnTo>
                      <a:pt x="1250" y="1668"/>
                    </a:lnTo>
                    <a:lnTo>
                      <a:pt x="1248" y="1668"/>
                    </a:lnTo>
                    <a:lnTo>
                      <a:pt x="1247" y="1668"/>
                    </a:lnTo>
                    <a:lnTo>
                      <a:pt x="1245" y="1668"/>
                    </a:lnTo>
                    <a:lnTo>
                      <a:pt x="1244" y="1668"/>
                    </a:lnTo>
                    <a:lnTo>
                      <a:pt x="1244" y="1667"/>
                    </a:lnTo>
                    <a:lnTo>
                      <a:pt x="1244" y="1668"/>
                    </a:lnTo>
                    <a:lnTo>
                      <a:pt x="1242" y="1668"/>
                    </a:lnTo>
                    <a:lnTo>
                      <a:pt x="1242" y="1667"/>
                    </a:lnTo>
                    <a:lnTo>
                      <a:pt x="1240" y="1667"/>
                    </a:lnTo>
                    <a:lnTo>
                      <a:pt x="1239" y="1667"/>
                    </a:lnTo>
                    <a:lnTo>
                      <a:pt x="1239" y="1665"/>
                    </a:lnTo>
                    <a:lnTo>
                      <a:pt x="1237" y="1665"/>
                    </a:lnTo>
                    <a:lnTo>
                      <a:pt x="1236" y="1665"/>
                    </a:lnTo>
                    <a:lnTo>
                      <a:pt x="1236" y="1663"/>
                    </a:lnTo>
                    <a:lnTo>
                      <a:pt x="1234" y="1663"/>
                    </a:lnTo>
                    <a:lnTo>
                      <a:pt x="1232" y="1662"/>
                    </a:lnTo>
                    <a:lnTo>
                      <a:pt x="1229" y="1659"/>
                    </a:lnTo>
                    <a:lnTo>
                      <a:pt x="1228" y="1659"/>
                    </a:lnTo>
                    <a:lnTo>
                      <a:pt x="1226" y="1657"/>
                    </a:lnTo>
                    <a:lnTo>
                      <a:pt x="1225" y="1655"/>
                    </a:lnTo>
                    <a:lnTo>
                      <a:pt x="1221" y="1655"/>
                    </a:lnTo>
                    <a:lnTo>
                      <a:pt x="1220" y="1654"/>
                    </a:lnTo>
                    <a:lnTo>
                      <a:pt x="1217" y="1652"/>
                    </a:lnTo>
                    <a:lnTo>
                      <a:pt x="1217" y="1651"/>
                    </a:lnTo>
                    <a:lnTo>
                      <a:pt x="1217" y="1649"/>
                    </a:lnTo>
                    <a:lnTo>
                      <a:pt x="1215" y="1649"/>
                    </a:lnTo>
                    <a:lnTo>
                      <a:pt x="1213" y="1649"/>
                    </a:lnTo>
                    <a:lnTo>
                      <a:pt x="1213" y="1648"/>
                    </a:lnTo>
                    <a:lnTo>
                      <a:pt x="1213" y="1646"/>
                    </a:lnTo>
                    <a:lnTo>
                      <a:pt x="1212" y="1646"/>
                    </a:lnTo>
                    <a:lnTo>
                      <a:pt x="1212" y="1644"/>
                    </a:lnTo>
                    <a:lnTo>
                      <a:pt x="1210" y="1644"/>
                    </a:lnTo>
                    <a:lnTo>
                      <a:pt x="1209" y="1643"/>
                    </a:lnTo>
                    <a:lnTo>
                      <a:pt x="1207" y="1643"/>
                    </a:lnTo>
                    <a:lnTo>
                      <a:pt x="1206" y="1643"/>
                    </a:lnTo>
                    <a:lnTo>
                      <a:pt x="1207" y="1643"/>
                    </a:lnTo>
                    <a:lnTo>
                      <a:pt x="1207" y="1641"/>
                    </a:lnTo>
                    <a:lnTo>
                      <a:pt x="1206" y="1641"/>
                    </a:lnTo>
                    <a:lnTo>
                      <a:pt x="1204" y="1641"/>
                    </a:lnTo>
                    <a:lnTo>
                      <a:pt x="1204" y="1640"/>
                    </a:lnTo>
                    <a:lnTo>
                      <a:pt x="1202" y="1640"/>
                    </a:lnTo>
                    <a:lnTo>
                      <a:pt x="1202" y="1638"/>
                    </a:lnTo>
                    <a:lnTo>
                      <a:pt x="1201" y="1638"/>
                    </a:lnTo>
                    <a:lnTo>
                      <a:pt x="1201" y="1636"/>
                    </a:lnTo>
                    <a:lnTo>
                      <a:pt x="1201" y="1635"/>
                    </a:lnTo>
                    <a:lnTo>
                      <a:pt x="1199" y="1635"/>
                    </a:lnTo>
                    <a:lnTo>
                      <a:pt x="1199" y="1633"/>
                    </a:lnTo>
                    <a:lnTo>
                      <a:pt x="1199" y="1632"/>
                    </a:lnTo>
                    <a:lnTo>
                      <a:pt x="1198" y="1632"/>
                    </a:lnTo>
                    <a:lnTo>
                      <a:pt x="1198" y="1630"/>
                    </a:lnTo>
                    <a:lnTo>
                      <a:pt x="1198" y="1629"/>
                    </a:lnTo>
                    <a:lnTo>
                      <a:pt x="1196" y="1629"/>
                    </a:lnTo>
                    <a:lnTo>
                      <a:pt x="1196" y="1627"/>
                    </a:lnTo>
                    <a:lnTo>
                      <a:pt x="1194" y="1627"/>
                    </a:lnTo>
                    <a:lnTo>
                      <a:pt x="1194" y="1629"/>
                    </a:lnTo>
                    <a:lnTo>
                      <a:pt x="1194" y="1627"/>
                    </a:lnTo>
                    <a:lnTo>
                      <a:pt x="1193" y="1627"/>
                    </a:lnTo>
                    <a:lnTo>
                      <a:pt x="1191" y="1627"/>
                    </a:lnTo>
                    <a:lnTo>
                      <a:pt x="1191" y="1629"/>
                    </a:lnTo>
                    <a:lnTo>
                      <a:pt x="1190" y="1629"/>
                    </a:lnTo>
                    <a:lnTo>
                      <a:pt x="1190" y="1630"/>
                    </a:lnTo>
                    <a:lnTo>
                      <a:pt x="1188" y="1630"/>
                    </a:lnTo>
                    <a:lnTo>
                      <a:pt x="1188" y="1632"/>
                    </a:lnTo>
                    <a:lnTo>
                      <a:pt x="1186" y="1632"/>
                    </a:lnTo>
                    <a:lnTo>
                      <a:pt x="1186" y="1633"/>
                    </a:lnTo>
                    <a:lnTo>
                      <a:pt x="1185" y="1633"/>
                    </a:lnTo>
                    <a:lnTo>
                      <a:pt x="1183" y="1633"/>
                    </a:lnTo>
                    <a:lnTo>
                      <a:pt x="1183" y="1635"/>
                    </a:lnTo>
                    <a:lnTo>
                      <a:pt x="1182" y="1635"/>
                    </a:lnTo>
                    <a:lnTo>
                      <a:pt x="1182" y="1636"/>
                    </a:lnTo>
                    <a:lnTo>
                      <a:pt x="1180" y="1636"/>
                    </a:lnTo>
                    <a:lnTo>
                      <a:pt x="1180" y="1638"/>
                    </a:lnTo>
                    <a:lnTo>
                      <a:pt x="1179" y="1638"/>
                    </a:lnTo>
                    <a:lnTo>
                      <a:pt x="1177" y="1638"/>
                    </a:lnTo>
                    <a:lnTo>
                      <a:pt x="1172" y="1638"/>
                    </a:lnTo>
                    <a:lnTo>
                      <a:pt x="1171" y="1638"/>
                    </a:lnTo>
                    <a:lnTo>
                      <a:pt x="1169" y="1636"/>
                    </a:lnTo>
                    <a:lnTo>
                      <a:pt x="1167" y="1635"/>
                    </a:lnTo>
                    <a:lnTo>
                      <a:pt x="1167" y="1633"/>
                    </a:lnTo>
                    <a:lnTo>
                      <a:pt x="1164" y="1632"/>
                    </a:lnTo>
                    <a:lnTo>
                      <a:pt x="1164" y="1633"/>
                    </a:lnTo>
                    <a:lnTo>
                      <a:pt x="1163" y="1633"/>
                    </a:lnTo>
                    <a:lnTo>
                      <a:pt x="1163" y="1635"/>
                    </a:lnTo>
                    <a:lnTo>
                      <a:pt x="1161" y="1635"/>
                    </a:lnTo>
                    <a:lnTo>
                      <a:pt x="1160" y="1635"/>
                    </a:lnTo>
                    <a:lnTo>
                      <a:pt x="1160" y="1633"/>
                    </a:lnTo>
                    <a:lnTo>
                      <a:pt x="1160" y="1632"/>
                    </a:lnTo>
                    <a:lnTo>
                      <a:pt x="1160" y="1629"/>
                    </a:lnTo>
                    <a:lnTo>
                      <a:pt x="1160" y="1627"/>
                    </a:lnTo>
                    <a:lnTo>
                      <a:pt x="1158" y="1627"/>
                    </a:lnTo>
                    <a:lnTo>
                      <a:pt x="1156" y="1627"/>
                    </a:lnTo>
                    <a:lnTo>
                      <a:pt x="1155" y="1629"/>
                    </a:lnTo>
                    <a:lnTo>
                      <a:pt x="1153" y="1629"/>
                    </a:lnTo>
                    <a:lnTo>
                      <a:pt x="1152" y="1630"/>
                    </a:lnTo>
                    <a:lnTo>
                      <a:pt x="1150" y="1630"/>
                    </a:lnTo>
                    <a:lnTo>
                      <a:pt x="1148" y="1629"/>
                    </a:lnTo>
                    <a:lnTo>
                      <a:pt x="1147" y="1629"/>
                    </a:lnTo>
                    <a:lnTo>
                      <a:pt x="1145" y="1627"/>
                    </a:lnTo>
                    <a:lnTo>
                      <a:pt x="1142" y="1625"/>
                    </a:lnTo>
                    <a:lnTo>
                      <a:pt x="1137" y="1624"/>
                    </a:lnTo>
                    <a:lnTo>
                      <a:pt x="1133" y="1619"/>
                    </a:lnTo>
                    <a:lnTo>
                      <a:pt x="1131" y="1619"/>
                    </a:lnTo>
                    <a:lnTo>
                      <a:pt x="1131" y="1617"/>
                    </a:lnTo>
                    <a:lnTo>
                      <a:pt x="1129" y="1617"/>
                    </a:lnTo>
                    <a:lnTo>
                      <a:pt x="1129" y="1614"/>
                    </a:lnTo>
                    <a:lnTo>
                      <a:pt x="1126" y="1613"/>
                    </a:lnTo>
                    <a:lnTo>
                      <a:pt x="1123" y="1611"/>
                    </a:lnTo>
                    <a:lnTo>
                      <a:pt x="1122" y="1611"/>
                    </a:lnTo>
                    <a:lnTo>
                      <a:pt x="1120" y="1611"/>
                    </a:lnTo>
                    <a:lnTo>
                      <a:pt x="1118" y="1611"/>
                    </a:lnTo>
                    <a:lnTo>
                      <a:pt x="1118" y="1610"/>
                    </a:lnTo>
                    <a:lnTo>
                      <a:pt x="1118" y="1608"/>
                    </a:lnTo>
                    <a:lnTo>
                      <a:pt x="1117" y="1605"/>
                    </a:lnTo>
                    <a:lnTo>
                      <a:pt x="1114" y="1602"/>
                    </a:lnTo>
                    <a:lnTo>
                      <a:pt x="1114" y="1600"/>
                    </a:lnTo>
                    <a:lnTo>
                      <a:pt x="1112" y="1600"/>
                    </a:lnTo>
                    <a:lnTo>
                      <a:pt x="1110" y="1600"/>
                    </a:lnTo>
                    <a:lnTo>
                      <a:pt x="1109" y="1600"/>
                    </a:lnTo>
                    <a:lnTo>
                      <a:pt x="1109" y="1598"/>
                    </a:lnTo>
                    <a:lnTo>
                      <a:pt x="1107" y="1598"/>
                    </a:lnTo>
                    <a:lnTo>
                      <a:pt x="1106" y="1598"/>
                    </a:lnTo>
                    <a:lnTo>
                      <a:pt x="1104" y="1598"/>
                    </a:lnTo>
                    <a:lnTo>
                      <a:pt x="1104" y="1597"/>
                    </a:lnTo>
                    <a:lnTo>
                      <a:pt x="1103" y="1597"/>
                    </a:lnTo>
                    <a:lnTo>
                      <a:pt x="1099" y="1597"/>
                    </a:lnTo>
                    <a:lnTo>
                      <a:pt x="1091" y="1597"/>
                    </a:lnTo>
                    <a:lnTo>
                      <a:pt x="1084" y="1597"/>
                    </a:lnTo>
                    <a:lnTo>
                      <a:pt x="1082" y="1597"/>
                    </a:lnTo>
                    <a:lnTo>
                      <a:pt x="1079" y="1597"/>
                    </a:lnTo>
                    <a:lnTo>
                      <a:pt x="1077" y="1595"/>
                    </a:lnTo>
                    <a:lnTo>
                      <a:pt x="1074" y="1594"/>
                    </a:lnTo>
                    <a:lnTo>
                      <a:pt x="1071" y="1592"/>
                    </a:lnTo>
                    <a:lnTo>
                      <a:pt x="1069" y="1592"/>
                    </a:lnTo>
                    <a:lnTo>
                      <a:pt x="1063" y="1589"/>
                    </a:lnTo>
                    <a:lnTo>
                      <a:pt x="1058" y="1589"/>
                    </a:lnTo>
                    <a:lnTo>
                      <a:pt x="1055" y="1589"/>
                    </a:lnTo>
                    <a:lnTo>
                      <a:pt x="1052" y="1589"/>
                    </a:lnTo>
                    <a:lnTo>
                      <a:pt x="1049" y="1591"/>
                    </a:lnTo>
                    <a:lnTo>
                      <a:pt x="1046" y="1591"/>
                    </a:lnTo>
                    <a:lnTo>
                      <a:pt x="1044" y="1591"/>
                    </a:lnTo>
                    <a:lnTo>
                      <a:pt x="1044" y="1589"/>
                    </a:lnTo>
                    <a:lnTo>
                      <a:pt x="1042" y="1586"/>
                    </a:lnTo>
                    <a:lnTo>
                      <a:pt x="1031" y="1572"/>
                    </a:lnTo>
                    <a:lnTo>
                      <a:pt x="1031" y="1570"/>
                    </a:lnTo>
                    <a:lnTo>
                      <a:pt x="1027" y="1564"/>
                    </a:lnTo>
                    <a:lnTo>
                      <a:pt x="1028" y="1560"/>
                    </a:lnTo>
                    <a:lnTo>
                      <a:pt x="1030" y="1557"/>
                    </a:lnTo>
                    <a:lnTo>
                      <a:pt x="1028" y="1557"/>
                    </a:lnTo>
                    <a:lnTo>
                      <a:pt x="1025" y="1556"/>
                    </a:lnTo>
                    <a:lnTo>
                      <a:pt x="1023" y="1554"/>
                    </a:lnTo>
                    <a:lnTo>
                      <a:pt x="1022" y="1553"/>
                    </a:lnTo>
                    <a:lnTo>
                      <a:pt x="1020" y="1553"/>
                    </a:lnTo>
                    <a:lnTo>
                      <a:pt x="1019" y="1551"/>
                    </a:lnTo>
                    <a:lnTo>
                      <a:pt x="1017" y="1551"/>
                    </a:lnTo>
                    <a:lnTo>
                      <a:pt x="1014" y="1551"/>
                    </a:lnTo>
                    <a:lnTo>
                      <a:pt x="1012" y="1549"/>
                    </a:lnTo>
                    <a:lnTo>
                      <a:pt x="1011" y="1548"/>
                    </a:lnTo>
                    <a:lnTo>
                      <a:pt x="1009" y="1546"/>
                    </a:lnTo>
                    <a:lnTo>
                      <a:pt x="1007" y="1546"/>
                    </a:lnTo>
                    <a:lnTo>
                      <a:pt x="1006" y="1546"/>
                    </a:lnTo>
                    <a:lnTo>
                      <a:pt x="1003" y="1548"/>
                    </a:lnTo>
                    <a:lnTo>
                      <a:pt x="1001" y="1548"/>
                    </a:lnTo>
                    <a:lnTo>
                      <a:pt x="1000" y="1548"/>
                    </a:lnTo>
                    <a:lnTo>
                      <a:pt x="996" y="1548"/>
                    </a:lnTo>
                    <a:lnTo>
                      <a:pt x="995" y="1549"/>
                    </a:lnTo>
                    <a:lnTo>
                      <a:pt x="993" y="1549"/>
                    </a:lnTo>
                    <a:lnTo>
                      <a:pt x="992" y="1549"/>
                    </a:lnTo>
                    <a:lnTo>
                      <a:pt x="990" y="1549"/>
                    </a:lnTo>
                    <a:lnTo>
                      <a:pt x="988" y="1549"/>
                    </a:lnTo>
                    <a:lnTo>
                      <a:pt x="987" y="1549"/>
                    </a:lnTo>
                    <a:lnTo>
                      <a:pt x="987" y="1551"/>
                    </a:lnTo>
                    <a:lnTo>
                      <a:pt x="985" y="1551"/>
                    </a:lnTo>
                    <a:lnTo>
                      <a:pt x="976" y="1551"/>
                    </a:lnTo>
                    <a:lnTo>
                      <a:pt x="974" y="1551"/>
                    </a:lnTo>
                    <a:lnTo>
                      <a:pt x="971" y="1551"/>
                    </a:lnTo>
                    <a:lnTo>
                      <a:pt x="969" y="1551"/>
                    </a:lnTo>
                    <a:lnTo>
                      <a:pt x="958" y="1551"/>
                    </a:lnTo>
                    <a:lnTo>
                      <a:pt x="957" y="1551"/>
                    </a:lnTo>
                    <a:lnTo>
                      <a:pt x="955" y="1551"/>
                    </a:lnTo>
                    <a:lnTo>
                      <a:pt x="954" y="1551"/>
                    </a:lnTo>
                    <a:lnTo>
                      <a:pt x="952" y="1551"/>
                    </a:lnTo>
                    <a:lnTo>
                      <a:pt x="952" y="1549"/>
                    </a:lnTo>
                    <a:lnTo>
                      <a:pt x="950" y="1549"/>
                    </a:lnTo>
                    <a:lnTo>
                      <a:pt x="949" y="1549"/>
                    </a:lnTo>
                    <a:lnTo>
                      <a:pt x="947" y="1549"/>
                    </a:lnTo>
                    <a:lnTo>
                      <a:pt x="947" y="1548"/>
                    </a:lnTo>
                    <a:lnTo>
                      <a:pt x="943" y="1545"/>
                    </a:lnTo>
                    <a:lnTo>
                      <a:pt x="939" y="1543"/>
                    </a:lnTo>
                    <a:lnTo>
                      <a:pt x="938" y="1543"/>
                    </a:lnTo>
                    <a:lnTo>
                      <a:pt x="936" y="1541"/>
                    </a:lnTo>
                    <a:lnTo>
                      <a:pt x="933" y="1538"/>
                    </a:lnTo>
                    <a:lnTo>
                      <a:pt x="930" y="1537"/>
                    </a:lnTo>
                    <a:lnTo>
                      <a:pt x="930" y="1535"/>
                    </a:lnTo>
                    <a:lnTo>
                      <a:pt x="928" y="1535"/>
                    </a:lnTo>
                    <a:lnTo>
                      <a:pt x="927" y="1534"/>
                    </a:lnTo>
                    <a:lnTo>
                      <a:pt x="925" y="1532"/>
                    </a:lnTo>
                    <a:lnTo>
                      <a:pt x="924" y="1532"/>
                    </a:lnTo>
                    <a:lnTo>
                      <a:pt x="922" y="1530"/>
                    </a:lnTo>
                    <a:lnTo>
                      <a:pt x="922" y="1529"/>
                    </a:lnTo>
                    <a:lnTo>
                      <a:pt x="917" y="1529"/>
                    </a:lnTo>
                    <a:lnTo>
                      <a:pt x="916" y="1529"/>
                    </a:lnTo>
                    <a:lnTo>
                      <a:pt x="912" y="1529"/>
                    </a:lnTo>
                    <a:lnTo>
                      <a:pt x="909" y="1527"/>
                    </a:lnTo>
                    <a:lnTo>
                      <a:pt x="908" y="1527"/>
                    </a:lnTo>
                    <a:lnTo>
                      <a:pt x="906" y="1527"/>
                    </a:lnTo>
                    <a:lnTo>
                      <a:pt x="905" y="1526"/>
                    </a:lnTo>
                    <a:lnTo>
                      <a:pt x="903" y="1526"/>
                    </a:lnTo>
                    <a:lnTo>
                      <a:pt x="901" y="1526"/>
                    </a:lnTo>
                    <a:lnTo>
                      <a:pt x="898" y="1526"/>
                    </a:lnTo>
                    <a:lnTo>
                      <a:pt x="893" y="1526"/>
                    </a:lnTo>
                    <a:lnTo>
                      <a:pt x="889" y="1526"/>
                    </a:lnTo>
                    <a:lnTo>
                      <a:pt x="886" y="1526"/>
                    </a:lnTo>
                    <a:lnTo>
                      <a:pt x="879" y="1527"/>
                    </a:lnTo>
                    <a:lnTo>
                      <a:pt x="876" y="1527"/>
                    </a:lnTo>
                    <a:lnTo>
                      <a:pt x="874" y="1529"/>
                    </a:lnTo>
                    <a:lnTo>
                      <a:pt x="874" y="1530"/>
                    </a:lnTo>
                    <a:lnTo>
                      <a:pt x="871" y="1532"/>
                    </a:lnTo>
                    <a:lnTo>
                      <a:pt x="870" y="1532"/>
                    </a:lnTo>
                    <a:lnTo>
                      <a:pt x="868" y="1534"/>
                    </a:lnTo>
                    <a:lnTo>
                      <a:pt x="867" y="1534"/>
                    </a:lnTo>
                    <a:lnTo>
                      <a:pt x="863" y="1532"/>
                    </a:lnTo>
                    <a:lnTo>
                      <a:pt x="863" y="1530"/>
                    </a:lnTo>
                    <a:lnTo>
                      <a:pt x="860" y="1529"/>
                    </a:lnTo>
                    <a:lnTo>
                      <a:pt x="859" y="1527"/>
                    </a:lnTo>
                    <a:lnTo>
                      <a:pt x="857" y="1526"/>
                    </a:lnTo>
                    <a:lnTo>
                      <a:pt x="855" y="1522"/>
                    </a:lnTo>
                    <a:lnTo>
                      <a:pt x="854" y="1521"/>
                    </a:lnTo>
                    <a:lnTo>
                      <a:pt x="852" y="1519"/>
                    </a:lnTo>
                    <a:lnTo>
                      <a:pt x="852" y="1518"/>
                    </a:lnTo>
                    <a:lnTo>
                      <a:pt x="851" y="1518"/>
                    </a:lnTo>
                    <a:lnTo>
                      <a:pt x="849" y="1515"/>
                    </a:lnTo>
                    <a:lnTo>
                      <a:pt x="849" y="1513"/>
                    </a:lnTo>
                    <a:lnTo>
                      <a:pt x="849" y="1511"/>
                    </a:lnTo>
                    <a:lnTo>
                      <a:pt x="849" y="1510"/>
                    </a:lnTo>
                    <a:lnTo>
                      <a:pt x="849" y="1508"/>
                    </a:lnTo>
                    <a:lnTo>
                      <a:pt x="848" y="1507"/>
                    </a:lnTo>
                    <a:lnTo>
                      <a:pt x="846" y="1502"/>
                    </a:lnTo>
                    <a:lnTo>
                      <a:pt x="849" y="1496"/>
                    </a:lnTo>
                    <a:lnTo>
                      <a:pt x="851" y="1492"/>
                    </a:lnTo>
                    <a:lnTo>
                      <a:pt x="851" y="1491"/>
                    </a:lnTo>
                    <a:lnTo>
                      <a:pt x="852" y="1489"/>
                    </a:lnTo>
                    <a:lnTo>
                      <a:pt x="852" y="1488"/>
                    </a:lnTo>
                    <a:lnTo>
                      <a:pt x="851" y="1488"/>
                    </a:lnTo>
                    <a:lnTo>
                      <a:pt x="835" y="1480"/>
                    </a:lnTo>
                    <a:lnTo>
                      <a:pt x="833" y="1480"/>
                    </a:lnTo>
                    <a:lnTo>
                      <a:pt x="825" y="1477"/>
                    </a:lnTo>
                    <a:lnTo>
                      <a:pt x="816" y="1475"/>
                    </a:lnTo>
                    <a:lnTo>
                      <a:pt x="814" y="1473"/>
                    </a:lnTo>
                    <a:lnTo>
                      <a:pt x="811" y="1473"/>
                    </a:lnTo>
                    <a:lnTo>
                      <a:pt x="811" y="1472"/>
                    </a:lnTo>
                    <a:lnTo>
                      <a:pt x="805" y="1472"/>
                    </a:lnTo>
                    <a:lnTo>
                      <a:pt x="797" y="1473"/>
                    </a:lnTo>
                    <a:lnTo>
                      <a:pt x="795" y="1473"/>
                    </a:lnTo>
                    <a:lnTo>
                      <a:pt x="794" y="1473"/>
                    </a:lnTo>
                    <a:lnTo>
                      <a:pt x="794" y="1475"/>
                    </a:lnTo>
                    <a:lnTo>
                      <a:pt x="792" y="1475"/>
                    </a:lnTo>
                    <a:lnTo>
                      <a:pt x="790" y="1477"/>
                    </a:lnTo>
                    <a:lnTo>
                      <a:pt x="789" y="1478"/>
                    </a:lnTo>
                    <a:lnTo>
                      <a:pt x="787" y="1480"/>
                    </a:lnTo>
                    <a:lnTo>
                      <a:pt x="787" y="1481"/>
                    </a:lnTo>
                    <a:lnTo>
                      <a:pt x="784" y="1481"/>
                    </a:lnTo>
                    <a:lnTo>
                      <a:pt x="784" y="1483"/>
                    </a:lnTo>
                    <a:lnTo>
                      <a:pt x="783" y="1483"/>
                    </a:lnTo>
                    <a:lnTo>
                      <a:pt x="781" y="1481"/>
                    </a:lnTo>
                    <a:lnTo>
                      <a:pt x="779" y="1480"/>
                    </a:lnTo>
                    <a:lnTo>
                      <a:pt x="779" y="1481"/>
                    </a:lnTo>
                    <a:lnTo>
                      <a:pt x="776" y="1481"/>
                    </a:lnTo>
                    <a:lnTo>
                      <a:pt x="775" y="1481"/>
                    </a:lnTo>
                    <a:lnTo>
                      <a:pt x="771" y="1481"/>
                    </a:lnTo>
                    <a:lnTo>
                      <a:pt x="770" y="1480"/>
                    </a:lnTo>
                    <a:lnTo>
                      <a:pt x="768" y="1480"/>
                    </a:lnTo>
                    <a:lnTo>
                      <a:pt x="767" y="1480"/>
                    </a:lnTo>
                    <a:lnTo>
                      <a:pt x="765" y="1480"/>
                    </a:lnTo>
                    <a:lnTo>
                      <a:pt x="764" y="1477"/>
                    </a:lnTo>
                    <a:lnTo>
                      <a:pt x="762" y="1475"/>
                    </a:lnTo>
                    <a:lnTo>
                      <a:pt x="757" y="1469"/>
                    </a:lnTo>
                    <a:lnTo>
                      <a:pt x="756" y="1469"/>
                    </a:lnTo>
                    <a:lnTo>
                      <a:pt x="749" y="1465"/>
                    </a:lnTo>
                    <a:lnTo>
                      <a:pt x="748" y="1465"/>
                    </a:lnTo>
                    <a:lnTo>
                      <a:pt x="743" y="1462"/>
                    </a:lnTo>
                    <a:lnTo>
                      <a:pt x="740" y="1459"/>
                    </a:lnTo>
                    <a:lnTo>
                      <a:pt x="738" y="1459"/>
                    </a:lnTo>
                    <a:lnTo>
                      <a:pt x="738" y="1457"/>
                    </a:lnTo>
                    <a:lnTo>
                      <a:pt x="735" y="1456"/>
                    </a:lnTo>
                    <a:lnTo>
                      <a:pt x="733" y="1456"/>
                    </a:lnTo>
                    <a:lnTo>
                      <a:pt x="732" y="1453"/>
                    </a:lnTo>
                    <a:lnTo>
                      <a:pt x="732" y="1451"/>
                    </a:lnTo>
                    <a:lnTo>
                      <a:pt x="730" y="1450"/>
                    </a:lnTo>
                    <a:lnTo>
                      <a:pt x="729" y="1446"/>
                    </a:lnTo>
                    <a:lnTo>
                      <a:pt x="732" y="1438"/>
                    </a:lnTo>
                    <a:lnTo>
                      <a:pt x="733" y="1431"/>
                    </a:lnTo>
                    <a:lnTo>
                      <a:pt x="733" y="1426"/>
                    </a:lnTo>
                    <a:lnTo>
                      <a:pt x="730" y="1416"/>
                    </a:lnTo>
                    <a:lnTo>
                      <a:pt x="729" y="1413"/>
                    </a:lnTo>
                    <a:lnTo>
                      <a:pt x="727" y="1412"/>
                    </a:lnTo>
                    <a:lnTo>
                      <a:pt x="726" y="1408"/>
                    </a:lnTo>
                    <a:lnTo>
                      <a:pt x="724" y="1408"/>
                    </a:lnTo>
                    <a:lnTo>
                      <a:pt x="724" y="1407"/>
                    </a:lnTo>
                    <a:lnTo>
                      <a:pt x="722" y="1407"/>
                    </a:lnTo>
                    <a:lnTo>
                      <a:pt x="721" y="1407"/>
                    </a:lnTo>
                    <a:lnTo>
                      <a:pt x="719" y="1407"/>
                    </a:lnTo>
                    <a:lnTo>
                      <a:pt x="718" y="1405"/>
                    </a:lnTo>
                    <a:lnTo>
                      <a:pt x="714" y="1405"/>
                    </a:lnTo>
                    <a:lnTo>
                      <a:pt x="708" y="1405"/>
                    </a:lnTo>
                    <a:lnTo>
                      <a:pt x="707" y="1405"/>
                    </a:lnTo>
                    <a:lnTo>
                      <a:pt x="705" y="1405"/>
                    </a:lnTo>
                    <a:lnTo>
                      <a:pt x="703" y="1405"/>
                    </a:lnTo>
                    <a:lnTo>
                      <a:pt x="699" y="1399"/>
                    </a:lnTo>
                    <a:lnTo>
                      <a:pt x="699" y="1397"/>
                    </a:lnTo>
                    <a:lnTo>
                      <a:pt x="699" y="1396"/>
                    </a:lnTo>
                    <a:lnTo>
                      <a:pt x="695" y="1394"/>
                    </a:lnTo>
                    <a:lnTo>
                      <a:pt x="694" y="1391"/>
                    </a:lnTo>
                    <a:lnTo>
                      <a:pt x="692" y="1391"/>
                    </a:lnTo>
                    <a:lnTo>
                      <a:pt x="691" y="1391"/>
                    </a:lnTo>
                    <a:lnTo>
                      <a:pt x="689" y="1391"/>
                    </a:lnTo>
                    <a:lnTo>
                      <a:pt x="688" y="1391"/>
                    </a:lnTo>
                    <a:lnTo>
                      <a:pt x="678" y="1391"/>
                    </a:lnTo>
                    <a:lnTo>
                      <a:pt x="676" y="1389"/>
                    </a:lnTo>
                    <a:lnTo>
                      <a:pt x="675" y="1389"/>
                    </a:lnTo>
                    <a:lnTo>
                      <a:pt x="673" y="1388"/>
                    </a:lnTo>
                    <a:lnTo>
                      <a:pt x="672" y="1386"/>
                    </a:lnTo>
                    <a:lnTo>
                      <a:pt x="670" y="1383"/>
                    </a:lnTo>
                    <a:lnTo>
                      <a:pt x="670" y="1380"/>
                    </a:lnTo>
                    <a:lnTo>
                      <a:pt x="667" y="1378"/>
                    </a:lnTo>
                    <a:lnTo>
                      <a:pt x="667" y="1377"/>
                    </a:lnTo>
                    <a:lnTo>
                      <a:pt x="665" y="1375"/>
                    </a:lnTo>
                    <a:lnTo>
                      <a:pt x="665" y="1374"/>
                    </a:lnTo>
                    <a:lnTo>
                      <a:pt x="664" y="1374"/>
                    </a:lnTo>
                    <a:lnTo>
                      <a:pt x="662" y="1375"/>
                    </a:lnTo>
                    <a:lnTo>
                      <a:pt x="662" y="1377"/>
                    </a:lnTo>
                    <a:lnTo>
                      <a:pt x="662" y="1378"/>
                    </a:lnTo>
                    <a:lnTo>
                      <a:pt x="662" y="1380"/>
                    </a:lnTo>
                    <a:lnTo>
                      <a:pt x="662" y="1381"/>
                    </a:lnTo>
                    <a:lnTo>
                      <a:pt x="661" y="1381"/>
                    </a:lnTo>
                    <a:lnTo>
                      <a:pt x="659" y="1383"/>
                    </a:lnTo>
                    <a:lnTo>
                      <a:pt x="657" y="1383"/>
                    </a:lnTo>
                    <a:lnTo>
                      <a:pt x="656" y="1383"/>
                    </a:lnTo>
                    <a:lnTo>
                      <a:pt x="653" y="1381"/>
                    </a:lnTo>
                    <a:lnTo>
                      <a:pt x="651" y="1383"/>
                    </a:lnTo>
                    <a:lnTo>
                      <a:pt x="651" y="1385"/>
                    </a:lnTo>
                    <a:lnTo>
                      <a:pt x="650" y="1383"/>
                    </a:lnTo>
                    <a:lnTo>
                      <a:pt x="650" y="1381"/>
                    </a:lnTo>
                    <a:lnTo>
                      <a:pt x="648" y="1381"/>
                    </a:lnTo>
                    <a:lnTo>
                      <a:pt x="646" y="1381"/>
                    </a:lnTo>
                    <a:lnTo>
                      <a:pt x="645" y="1383"/>
                    </a:lnTo>
                    <a:lnTo>
                      <a:pt x="643" y="1385"/>
                    </a:lnTo>
                    <a:lnTo>
                      <a:pt x="640" y="1388"/>
                    </a:lnTo>
                    <a:lnTo>
                      <a:pt x="637" y="1388"/>
                    </a:lnTo>
                    <a:lnTo>
                      <a:pt x="635" y="1388"/>
                    </a:lnTo>
                    <a:lnTo>
                      <a:pt x="634" y="1388"/>
                    </a:lnTo>
                    <a:lnTo>
                      <a:pt x="632" y="1388"/>
                    </a:lnTo>
                    <a:lnTo>
                      <a:pt x="630" y="1386"/>
                    </a:lnTo>
                    <a:lnTo>
                      <a:pt x="630" y="1385"/>
                    </a:lnTo>
                    <a:lnTo>
                      <a:pt x="629" y="1383"/>
                    </a:lnTo>
                    <a:lnTo>
                      <a:pt x="627" y="1383"/>
                    </a:lnTo>
                    <a:lnTo>
                      <a:pt x="627" y="1381"/>
                    </a:lnTo>
                    <a:lnTo>
                      <a:pt x="627" y="1380"/>
                    </a:lnTo>
                    <a:lnTo>
                      <a:pt x="626" y="1378"/>
                    </a:lnTo>
                    <a:lnTo>
                      <a:pt x="624" y="1378"/>
                    </a:lnTo>
                    <a:lnTo>
                      <a:pt x="621" y="1378"/>
                    </a:lnTo>
                    <a:lnTo>
                      <a:pt x="619" y="1377"/>
                    </a:lnTo>
                    <a:lnTo>
                      <a:pt x="618" y="1375"/>
                    </a:lnTo>
                    <a:lnTo>
                      <a:pt x="613" y="1374"/>
                    </a:lnTo>
                    <a:lnTo>
                      <a:pt x="611" y="1374"/>
                    </a:lnTo>
                    <a:lnTo>
                      <a:pt x="610" y="1375"/>
                    </a:lnTo>
                    <a:lnTo>
                      <a:pt x="608" y="1375"/>
                    </a:lnTo>
                    <a:lnTo>
                      <a:pt x="607" y="1377"/>
                    </a:lnTo>
                    <a:lnTo>
                      <a:pt x="605" y="1377"/>
                    </a:lnTo>
                    <a:lnTo>
                      <a:pt x="604" y="1380"/>
                    </a:lnTo>
                    <a:lnTo>
                      <a:pt x="604" y="1381"/>
                    </a:lnTo>
                    <a:lnTo>
                      <a:pt x="602" y="1381"/>
                    </a:lnTo>
                    <a:lnTo>
                      <a:pt x="600" y="1383"/>
                    </a:lnTo>
                    <a:lnTo>
                      <a:pt x="596" y="1386"/>
                    </a:lnTo>
                    <a:lnTo>
                      <a:pt x="592" y="1388"/>
                    </a:lnTo>
                    <a:lnTo>
                      <a:pt x="588" y="1389"/>
                    </a:lnTo>
                    <a:lnTo>
                      <a:pt x="581" y="1388"/>
                    </a:lnTo>
                    <a:lnTo>
                      <a:pt x="577" y="1388"/>
                    </a:lnTo>
                    <a:lnTo>
                      <a:pt x="569" y="1385"/>
                    </a:lnTo>
                    <a:lnTo>
                      <a:pt x="567" y="1383"/>
                    </a:lnTo>
                    <a:lnTo>
                      <a:pt x="564" y="1381"/>
                    </a:lnTo>
                    <a:lnTo>
                      <a:pt x="561" y="1380"/>
                    </a:lnTo>
                    <a:lnTo>
                      <a:pt x="556" y="1378"/>
                    </a:lnTo>
                    <a:lnTo>
                      <a:pt x="553" y="1375"/>
                    </a:lnTo>
                    <a:lnTo>
                      <a:pt x="548" y="1370"/>
                    </a:lnTo>
                    <a:lnTo>
                      <a:pt x="543" y="1367"/>
                    </a:lnTo>
                    <a:lnTo>
                      <a:pt x="543" y="1366"/>
                    </a:lnTo>
                    <a:lnTo>
                      <a:pt x="540" y="1361"/>
                    </a:lnTo>
                    <a:lnTo>
                      <a:pt x="537" y="1358"/>
                    </a:lnTo>
                    <a:lnTo>
                      <a:pt x="535" y="1356"/>
                    </a:lnTo>
                    <a:lnTo>
                      <a:pt x="534" y="1353"/>
                    </a:lnTo>
                    <a:lnTo>
                      <a:pt x="529" y="1348"/>
                    </a:lnTo>
                    <a:lnTo>
                      <a:pt x="529" y="1347"/>
                    </a:lnTo>
                    <a:lnTo>
                      <a:pt x="528" y="1345"/>
                    </a:lnTo>
                    <a:lnTo>
                      <a:pt x="521" y="1337"/>
                    </a:lnTo>
                    <a:lnTo>
                      <a:pt x="521" y="1336"/>
                    </a:lnTo>
                    <a:lnTo>
                      <a:pt x="520" y="1334"/>
                    </a:lnTo>
                    <a:lnTo>
                      <a:pt x="516" y="1332"/>
                    </a:lnTo>
                    <a:lnTo>
                      <a:pt x="515" y="1329"/>
                    </a:lnTo>
                    <a:lnTo>
                      <a:pt x="513" y="1326"/>
                    </a:lnTo>
                    <a:lnTo>
                      <a:pt x="512" y="1326"/>
                    </a:lnTo>
                    <a:lnTo>
                      <a:pt x="512" y="1324"/>
                    </a:lnTo>
                    <a:lnTo>
                      <a:pt x="507" y="1320"/>
                    </a:lnTo>
                    <a:lnTo>
                      <a:pt x="505" y="1318"/>
                    </a:lnTo>
                    <a:lnTo>
                      <a:pt x="504" y="1317"/>
                    </a:lnTo>
                    <a:lnTo>
                      <a:pt x="499" y="1309"/>
                    </a:lnTo>
                    <a:lnTo>
                      <a:pt x="496" y="1304"/>
                    </a:lnTo>
                    <a:lnTo>
                      <a:pt x="493" y="1301"/>
                    </a:lnTo>
                    <a:lnTo>
                      <a:pt x="493" y="1299"/>
                    </a:lnTo>
                    <a:lnTo>
                      <a:pt x="486" y="1291"/>
                    </a:lnTo>
                    <a:lnTo>
                      <a:pt x="485" y="1288"/>
                    </a:lnTo>
                    <a:lnTo>
                      <a:pt x="482" y="1285"/>
                    </a:lnTo>
                    <a:lnTo>
                      <a:pt x="480" y="1280"/>
                    </a:lnTo>
                    <a:lnTo>
                      <a:pt x="475" y="1269"/>
                    </a:lnTo>
                    <a:lnTo>
                      <a:pt x="475" y="1267"/>
                    </a:lnTo>
                    <a:lnTo>
                      <a:pt x="475" y="1266"/>
                    </a:lnTo>
                    <a:lnTo>
                      <a:pt x="474" y="1266"/>
                    </a:lnTo>
                    <a:lnTo>
                      <a:pt x="474" y="1264"/>
                    </a:lnTo>
                    <a:lnTo>
                      <a:pt x="474" y="1263"/>
                    </a:lnTo>
                    <a:lnTo>
                      <a:pt x="472" y="1261"/>
                    </a:lnTo>
                    <a:lnTo>
                      <a:pt x="472" y="1259"/>
                    </a:lnTo>
                    <a:lnTo>
                      <a:pt x="472" y="1258"/>
                    </a:lnTo>
                    <a:lnTo>
                      <a:pt x="471" y="1256"/>
                    </a:lnTo>
                    <a:lnTo>
                      <a:pt x="471" y="1255"/>
                    </a:lnTo>
                    <a:lnTo>
                      <a:pt x="469" y="1255"/>
                    </a:lnTo>
                    <a:lnTo>
                      <a:pt x="469" y="1253"/>
                    </a:lnTo>
                    <a:lnTo>
                      <a:pt x="469" y="1252"/>
                    </a:lnTo>
                    <a:lnTo>
                      <a:pt x="464" y="1244"/>
                    </a:lnTo>
                    <a:lnTo>
                      <a:pt x="464" y="1242"/>
                    </a:lnTo>
                    <a:lnTo>
                      <a:pt x="464" y="1240"/>
                    </a:lnTo>
                    <a:lnTo>
                      <a:pt x="463" y="1231"/>
                    </a:lnTo>
                    <a:lnTo>
                      <a:pt x="463" y="1229"/>
                    </a:lnTo>
                    <a:lnTo>
                      <a:pt x="459" y="1218"/>
                    </a:lnTo>
                    <a:lnTo>
                      <a:pt x="458" y="1217"/>
                    </a:lnTo>
                    <a:lnTo>
                      <a:pt x="456" y="1214"/>
                    </a:lnTo>
                    <a:lnTo>
                      <a:pt x="455" y="1214"/>
                    </a:lnTo>
                    <a:lnTo>
                      <a:pt x="455" y="1212"/>
                    </a:lnTo>
                    <a:lnTo>
                      <a:pt x="453" y="1210"/>
                    </a:lnTo>
                    <a:lnTo>
                      <a:pt x="453" y="1209"/>
                    </a:lnTo>
                    <a:lnTo>
                      <a:pt x="452" y="1207"/>
                    </a:lnTo>
                    <a:lnTo>
                      <a:pt x="452" y="1206"/>
                    </a:lnTo>
                    <a:lnTo>
                      <a:pt x="450" y="1206"/>
                    </a:lnTo>
                    <a:lnTo>
                      <a:pt x="450" y="1204"/>
                    </a:lnTo>
                    <a:lnTo>
                      <a:pt x="442" y="1185"/>
                    </a:lnTo>
                    <a:lnTo>
                      <a:pt x="440" y="1183"/>
                    </a:lnTo>
                    <a:lnTo>
                      <a:pt x="437" y="1182"/>
                    </a:lnTo>
                    <a:lnTo>
                      <a:pt x="431" y="1177"/>
                    </a:lnTo>
                    <a:lnTo>
                      <a:pt x="429" y="1169"/>
                    </a:lnTo>
                    <a:lnTo>
                      <a:pt x="426" y="1161"/>
                    </a:lnTo>
                    <a:lnTo>
                      <a:pt x="423" y="1150"/>
                    </a:lnTo>
                    <a:lnTo>
                      <a:pt x="417" y="1133"/>
                    </a:lnTo>
                    <a:lnTo>
                      <a:pt x="417" y="1131"/>
                    </a:lnTo>
                    <a:lnTo>
                      <a:pt x="415" y="1130"/>
                    </a:lnTo>
                    <a:lnTo>
                      <a:pt x="406" y="1103"/>
                    </a:lnTo>
                    <a:lnTo>
                      <a:pt x="402" y="1092"/>
                    </a:lnTo>
                    <a:lnTo>
                      <a:pt x="401" y="1092"/>
                    </a:lnTo>
                    <a:lnTo>
                      <a:pt x="394" y="1076"/>
                    </a:lnTo>
                    <a:lnTo>
                      <a:pt x="394" y="1074"/>
                    </a:lnTo>
                    <a:lnTo>
                      <a:pt x="394" y="1073"/>
                    </a:lnTo>
                    <a:lnTo>
                      <a:pt x="388" y="1060"/>
                    </a:lnTo>
                    <a:lnTo>
                      <a:pt x="387" y="1054"/>
                    </a:lnTo>
                    <a:lnTo>
                      <a:pt x="385" y="1052"/>
                    </a:lnTo>
                    <a:lnTo>
                      <a:pt x="383" y="1050"/>
                    </a:lnTo>
                    <a:lnTo>
                      <a:pt x="383" y="1049"/>
                    </a:lnTo>
                    <a:lnTo>
                      <a:pt x="382" y="1047"/>
                    </a:lnTo>
                    <a:lnTo>
                      <a:pt x="382" y="1046"/>
                    </a:lnTo>
                    <a:lnTo>
                      <a:pt x="382" y="1044"/>
                    </a:lnTo>
                    <a:lnTo>
                      <a:pt x="375" y="1031"/>
                    </a:lnTo>
                    <a:lnTo>
                      <a:pt x="369" y="1020"/>
                    </a:lnTo>
                    <a:lnTo>
                      <a:pt x="369" y="1019"/>
                    </a:lnTo>
                    <a:lnTo>
                      <a:pt x="368" y="1017"/>
                    </a:lnTo>
                    <a:lnTo>
                      <a:pt x="366" y="1014"/>
                    </a:lnTo>
                    <a:lnTo>
                      <a:pt x="364" y="1009"/>
                    </a:lnTo>
                    <a:lnTo>
                      <a:pt x="356" y="995"/>
                    </a:lnTo>
                    <a:lnTo>
                      <a:pt x="350" y="981"/>
                    </a:lnTo>
                    <a:lnTo>
                      <a:pt x="349" y="976"/>
                    </a:lnTo>
                    <a:lnTo>
                      <a:pt x="345" y="968"/>
                    </a:lnTo>
                    <a:lnTo>
                      <a:pt x="341" y="954"/>
                    </a:lnTo>
                    <a:lnTo>
                      <a:pt x="341" y="952"/>
                    </a:lnTo>
                    <a:lnTo>
                      <a:pt x="339" y="951"/>
                    </a:lnTo>
                    <a:lnTo>
                      <a:pt x="336" y="941"/>
                    </a:lnTo>
                    <a:lnTo>
                      <a:pt x="336" y="940"/>
                    </a:lnTo>
                    <a:lnTo>
                      <a:pt x="336" y="938"/>
                    </a:lnTo>
                    <a:lnTo>
                      <a:pt x="333" y="933"/>
                    </a:lnTo>
                    <a:lnTo>
                      <a:pt x="320" y="908"/>
                    </a:lnTo>
                    <a:lnTo>
                      <a:pt x="318" y="905"/>
                    </a:lnTo>
                    <a:lnTo>
                      <a:pt x="317" y="903"/>
                    </a:lnTo>
                    <a:lnTo>
                      <a:pt x="307" y="882"/>
                    </a:lnTo>
                    <a:lnTo>
                      <a:pt x="306" y="879"/>
                    </a:lnTo>
                    <a:lnTo>
                      <a:pt x="303" y="875"/>
                    </a:lnTo>
                    <a:lnTo>
                      <a:pt x="301" y="875"/>
                    </a:lnTo>
                    <a:lnTo>
                      <a:pt x="301" y="873"/>
                    </a:lnTo>
                    <a:lnTo>
                      <a:pt x="301" y="871"/>
                    </a:lnTo>
                    <a:lnTo>
                      <a:pt x="299" y="871"/>
                    </a:lnTo>
                    <a:lnTo>
                      <a:pt x="299" y="870"/>
                    </a:lnTo>
                    <a:lnTo>
                      <a:pt x="298" y="867"/>
                    </a:lnTo>
                    <a:lnTo>
                      <a:pt x="296" y="865"/>
                    </a:lnTo>
                    <a:lnTo>
                      <a:pt x="295" y="863"/>
                    </a:lnTo>
                    <a:lnTo>
                      <a:pt x="293" y="860"/>
                    </a:lnTo>
                    <a:lnTo>
                      <a:pt x="292" y="859"/>
                    </a:lnTo>
                    <a:lnTo>
                      <a:pt x="292" y="857"/>
                    </a:lnTo>
                    <a:lnTo>
                      <a:pt x="282" y="844"/>
                    </a:lnTo>
                    <a:lnTo>
                      <a:pt x="279" y="840"/>
                    </a:lnTo>
                    <a:lnTo>
                      <a:pt x="279" y="838"/>
                    </a:lnTo>
                    <a:lnTo>
                      <a:pt x="276" y="835"/>
                    </a:lnTo>
                    <a:lnTo>
                      <a:pt x="265" y="822"/>
                    </a:lnTo>
                    <a:lnTo>
                      <a:pt x="260" y="818"/>
                    </a:lnTo>
                    <a:lnTo>
                      <a:pt x="253" y="813"/>
                    </a:lnTo>
                    <a:lnTo>
                      <a:pt x="250" y="810"/>
                    </a:lnTo>
                    <a:lnTo>
                      <a:pt x="249" y="806"/>
                    </a:lnTo>
                    <a:lnTo>
                      <a:pt x="247" y="806"/>
                    </a:lnTo>
                    <a:lnTo>
                      <a:pt x="247" y="805"/>
                    </a:lnTo>
                    <a:lnTo>
                      <a:pt x="246" y="805"/>
                    </a:lnTo>
                    <a:lnTo>
                      <a:pt x="236" y="799"/>
                    </a:lnTo>
                    <a:lnTo>
                      <a:pt x="228" y="792"/>
                    </a:lnTo>
                    <a:lnTo>
                      <a:pt x="227" y="791"/>
                    </a:lnTo>
                    <a:lnTo>
                      <a:pt x="220" y="786"/>
                    </a:lnTo>
                    <a:lnTo>
                      <a:pt x="219" y="786"/>
                    </a:lnTo>
                    <a:lnTo>
                      <a:pt x="217" y="784"/>
                    </a:lnTo>
                    <a:lnTo>
                      <a:pt x="214" y="781"/>
                    </a:lnTo>
                    <a:lnTo>
                      <a:pt x="208" y="778"/>
                    </a:lnTo>
                    <a:lnTo>
                      <a:pt x="198" y="770"/>
                    </a:lnTo>
                    <a:lnTo>
                      <a:pt x="189" y="764"/>
                    </a:lnTo>
                    <a:lnTo>
                      <a:pt x="181" y="757"/>
                    </a:lnTo>
                    <a:lnTo>
                      <a:pt x="163" y="743"/>
                    </a:lnTo>
                    <a:lnTo>
                      <a:pt x="152" y="732"/>
                    </a:lnTo>
                    <a:lnTo>
                      <a:pt x="151" y="730"/>
                    </a:lnTo>
                    <a:lnTo>
                      <a:pt x="149" y="727"/>
                    </a:lnTo>
                    <a:lnTo>
                      <a:pt x="147" y="726"/>
                    </a:lnTo>
                    <a:lnTo>
                      <a:pt x="146" y="724"/>
                    </a:lnTo>
                    <a:lnTo>
                      <a:pt x="139" y="716"/>
                    </a:lnTo>
                    <a:lnTo>
                      <a:pt x="136" y="713"/>
                    </a:lnTo>
                    <a:lnTo>
                      <a:pt x="125" y="697"/>
                    </a:lnTo>
                    <a:lnTo>
                      <a:pt x="114" y="680"/>
                    </a:lnTo>
                    <a:lnTo>
                      <a:pt x="113" y="677"/>
                    </a:lnTo>
                    <a:lnTo>
                      <a:pt x="109" y="672"/>
                    </a:lnTo>
                    <a:lnTo>
                      <a:pt x="106" y="667"/>
                    </a:lnTo>
                    <a:lnTo>
                      <a:pt x="105" y="662"/>
                    </a:lnTo>
                    <a:lnTo>
                      <a:pt x="97" y="643"/>
                    </a:lnTo>
                    <a:lnTo>
                      <a:pt x="97" y="642"/>
                    </a:lnTo>
                    <a:lnTo>
                      <a:pt x="97" y="639"/>
                    </a:lnTo>
                    <a:lnTo>
                      <a:pt x="95" y="635"/>
                    </a:lnTo>
                    <a:lnTo>
                      <a:pt x="94" y="634"/>
                    </a:lnTo>
                    <a:lnTo>
                      <a:pt x="94" y="632"/>
                    </a:lnTo>
                    <a:lnTo>
                      <a:pt x="90" y="624"/>
                    </a:lnTo>
                    <a:lnTo>
                      <a:pt x="87" y="615"/>
                    </a:lnTo>
                    <a:lnTo>
                      <a:pt x="86" y="605"/>
                    </a:lnTo>
                    <a:lnTo>
                      <a:pt x="82" y="583"/>
                    </a:lnTo>
                    <a:lnTo>
                      <a:pt x="82" y="582"/>
                    </a:lnTo>
                    <a:lnTo>
                      <a:pt x="82" y="566"/>
                    </a:lnTo>
                    <a:lnTo>
                      <a:pt x="82" y="542"/>
                    </a:lnTo>
                    <a:lnTo>
                      <a:pt x="82" y="539"/>
                    </a:lnTo>
                    <a:lnTo>
                      <a:pt x="82" y="521"/>
                    </a:lnTo>
                    <a:lnTo>
                      <a:pt x="82" y="517"/>
                    </a:lnTo>
                    <a:lnTo>
                      <a:pt x="82" y="515"/>
                    </a:lnTo>
                    <a:lnTo>
                      <a:pt x="86" y="502"/>
                    </a:lnTo>
                    <a:lnTo>
                      <a:pt x="89" y="486"/>
                    </a:lnTo>
                    <a:lnTo>
                      <a:pt x="90" y="471"/>
                    </a:lnTo>
                    <a:lnTo>
                      <a:pt x="92" y="461"/>
                    </a:lnTo>
                    <a:lnTo>
                      <a:pt x="92" y="458"/>
                    </a:lnTo>
                    <a:lnTo>
                      <a:pt x="90" y="453"/>
                    </a:lnTo>
                    <a:lnTo>
                      <a:pt x="89" y="425"/>
                    </a:lnTo>
                    <a:lnTo>
                      <a:pt x="87" y="420"/>
                    </a:lnTo>
                    <a:lnTo>
                      <a:pt x="86" y="410"/>
                    </a:lnTo>
                    <a:lnTo>
                      <a:pt x="84" y="407"/>
                    </a:lnTo>
                    <a:lnTo>
                      <a:pt x="82" y="395"/>
                    </a:lnTo>
                    <a:lnTo>
                      <a:pt x="81" y="390"/>
                    </a:lnTo>
                    <a:lnTo>
                      <a:pt x="79" y="385"/>
                    </a:lnTo>
                    <a:lnTo>
                      <a:pt x="79" y="384"/>
                    </a:lnTo>
                    <a:lnTo>
                      <a:pt x="78" y="380"/>
                    </a:lnTo>
                    <a:lnTo>
                      <a:pt x="78" y="376"/>
                    </a:lnTo>
                    <a:lnTo>
                      <a:pt x="76" y="374"/>
                    </a:lnTo>
                    <a:lnTo>
                      <a:pt x="76" y="372"/>
                    </a:lnTo>
                    <a:lnTo>
                      <a:pt x="73" y="363"/>
                    </a:lnTo>
                    <a:lnTo>
                      <a:pt x="67" y="344"/>
                    </a:lnTo>
                    <a:lnTo>
                      <a:pt x="67" y="342"/>
                    </a:lnTo>
                    <a:lnTo>
                      <a:pt x="65" y="342"/>
                    </a:lnTo>
                    <a:lnTo>
                      <a:pt x="65" y="339"/>
                    </a:lnTo>
                    <a:lnTo>
                      <a:pt x="63" y="339"/>
                    </a:lnTo>
                    <a:lnTo>
                      <a:pt x="63" y="338"/>
                    </a:lnTo>
                    <a:lnTo>
                      <a:pt x="57" y="320"/>
                    </a:lnTo>
                    <a:lnTo>
                      <a:pt x="55" y="319"/>
                    </a:lnTo>
                    <a:lnTo>
                      <a:pt x="52" y="314"/>
                    </a:lnTo>
                    <a:lnTo>
                      <a:pt x="49" y="304"/>
                    </a:lnTo>
                    <a:lnTo>
                      <a:pt x="46" y="298"/>
                    </a:lnTo>
                    <a:lnTo>
                      <a:pt x="46" y="296"/>
                    </a:lnTo>
                    <a:lnTo>
                      <a:pt x="36" y="274"/>
                    </a:lnTo>
                    <a:lnTo>
                      <a:pt x="33" y="266"/>
                    </a:lnTo>
                    <a:lnTo>
                      <a:pt x="33" y="263"/>
                    </a:lnTo>
                    <a:lnTo>
                      <a:pt x="27" y="249"/>
                    </a:lnTo>
                    <a:lnTo>
                      <a:pt x="24" y="238"/>
                    </a:lnTo>
                    <a:lnTo>
                      <a:pt x="22" y="231"/>
                    </a:lnTo>
                    <a:lnTo>
                      <a:pt x="21" y="228"/>
                    </a:lnTo>
                    <a:lnTo>
                      <a:pt x="21" y="227"/>
                    </a:lnTo>
                    <a:lnTo>
                      <a:pt x="14" y="209"/>
                    </a:lnTo>
                    <a:lnTo>
                      <a:pt x="10" y="195"/>
                    </a:lnTo>
                    <a:lnTo>
                      <a:pt x="10" y="187"/>
                    </a:lnTo>
                    <a:lnTo>
                      <a:pt x="3" y="160"/>
                    </a:lnTo>
                    <a:lnTo>
                      <a:pt x="2" y="147"/>
                    </a:lnTo>
                    <a:lnTo>
                      <a:pt x="2" y="143"/>
                    </a:lnTo>
                    <a:lnTo>
                      <a:pt x="2" y="135"/>
                    </a:lnTo>
                    <a:lnTo>
                      <a:pt x="0" y="117"/>
                    </a:lnTo>
                    <a:lnTo>
                      <a:pt x="0" y="111"/>
                    </a:lnTo>
                    <a:lnTo>
                      <a:pt x="2" y="106"/>
                    </a:lnTo>
                    <a:lnTo>
                      <a:pt x="2" y="105"/>
                    </a:lnTo>
                    <a:lnTo>
                      <a:pt x="3" y="95"/>
                    </a:lnTo>
                    <a:lnTo>
                      <a:pt x="10" y="81"/>
                    </a:lnTo>
                    <a:lnTo>
                      <a:pt x="14" y="68"/>
                    </a:lnTo>
                    <a:lnTo>
                      <a:pt x="19" y="59"/>
                    </a:lnTo>
                    <a:lnTo>
                      <a:pt x="22" y="48"/>
                    </a:lnTo>
                    <a:lnTo>
                      <a:pt x="22" y="45"/>
                    </a:lnTo>
                    <a:lnTo>
                      <a:pt x="22" y="38"/>
                    </a:lnTo>
                    <a:lnTo>
                      <a:pt x="21" y="29"/>
                    </a:lnTo>
                    <a:lnTo>
                      <a:pt x="48" y="29"/>
                    </a:lnTo>
                    <a:lnTo>
                      <a:pt x="55" y="29"/>
                    </a:lnTo>
                    <a:lnTo>
                      <a:pt x="78" y="27"/>
                    </a:lnTo>
                    <a:lnTo>
                      <a:pt x="89" y="29"/>
                    </a:lnTo>
                    <a:lnTo>
                      <a:pt x="106" y="29"/>
                    </a:lnTo>
                    <a:lnTo>
                      <a:pt x="109" y="29"/>
                    </a:lnTo>
                    <a:lnTo>
                      <a:pt x="111" y="30"/>
                    </a:lnTo>
                    <a:lnTo>
                      <a:pt x="111" y="29"/>
                    </a:lnTo>
                    <a:lnTo>
                      <a:pt x="113" y="29"/>
                    </a:lnTo>
                    <a:lnTo>
                      <a:pt x="116" y="30"/>
                    </a:lnTo>
                    <a:lnTo>
                      <a:pt x="117" y="30"/>
                    </a:lnTo>
                    <a:lnTo>
                      <a:pt x="119" y="30"/>
                    </a:lnTo>
                    <a:lnTo>
                      <a:pt x="120" y="30"/>
                    </a:lnTo>
                    <a:lnTo>
                      <a:pt x="120" y="32"/>
                    </a:lnTo>
                    <a:lnTo>
                      <a:pt x="122" y="33"/>
                    </a:lnTo>
                    <a:lnTo>
                      <a:pt x="124" y="33"/>
                    </a:lnTo>
                    <a:lnTo>
                      <a:pt x="125" y="33"/>
                    </a:lnTo>
                    <a:lnTo>
                      <a:pt x="125" y="32"/>
                    </a:lnTo>
                    <a:lnTo>
                      <a:pt x="127" y="32"/>
                    </a:lnTo>
                    <a:lnTo>
                      <a:pt x="128" y="32"/>
                    </a:lnTo>
                    <a:lnTo>
                      <a:pt x="128" y="33"/>
                    </a:lnTo>
                    <a:lnTo>
                      <a:pt x="130" y="33"/>
                    </a:lnTo>
                    <a:lnTo>
                      <a:pt x="132" y="33"/>
                    </a:lnTo>
                    <a:lnTo>
                      <a:pt x="133" y="32"/>
                    </a:lnTo>
                    <a:lnTo>
                      <a:pt x="135" y="32"/>
                    </a:lnTo>
                    <a:lnTo>
                      <a:pt x="136" y="32"/>
                    </a:lnTo>
                    <a:lnTo>
                      <a:pt x="136" y="33"/>
                    </a:lnTo>
                    <a:lnTo>
                      <a:pt x="136" y="35"/>
                    </a:lnTo>
                    <a:lnTo>
                      <a:pt x="138" y="37"/>
                    </a:lnTo>
                    <a:lnTo>
                      <a:pt x="139" y="37"/>
                    </a:lnTo>
                    <a:lnTo>
                      <a:pt x="141" y="37"/>
                    </a:lnTo>
                    <a:lnTo>
                      <a:pt x="141" y="35"/>
                    </a:lnTo>
                    <a:lnTo>
                      <a:pt x="144" y="32"/>
                    </a:lnTo>
                    <a:lnTo>
                      <a:pt x="144" y="30"/>
                    </a:lnTo>
                    <a:lnTo>
                      <a:pt x="143" y="30"/>
                    </a:lnTo>
                    <a:lnTo>
                      <a:pt x="143" y="29"/>
                    </a:lnTo>
                    <a:lnTo>
                      <a:pt x="143" y="27"/>
                    </a:lnTo>
                    <a:lnTo>
                      <a:pt x="143" y="26"/>
                    </a:lnTo>
                    <a:lnTo>
                      <a:pt x="143" y="24"/>
                    </a:lnTo>
                    <a:lnTo>
                      <a:pt x="143" y="22"/>
                    </a:lnTo>
                    <a:lnTo>
                      <a:pt x="143" y="21"/>
                    </a:lnTo>
                    <a:lnTo>
                      <a:pt x="144" y="21"/>
                    </a:lnTo>
                    <a:lnTo>
                      <a:pt x="144" y="19"/>
                    </a:lnTo>
                    <a:lnTo>
                      <a:pt x="146" y="19"/>
                    </a:lnTo>
                    <a:lnTo>
                      <a:pt x="146" y="18"/>
                    </a:lnTo>
                    <a:lnTo>
                      <a:pt x="147" y="18"/>
                    </a:lnTo>
                    <a:lnTo>
                      <a:pt x="149" y="18"/>
                    </a:lnTo>
                    <a:lnTo>
                      <a:pt x="147" y="18"/>
                    </a:lnTo>
                    <a:lnTo>
                      <a:pt x="149" y="18"/>
                    </a:lnTo>
                    <a:lnTo>
                      <a:pt x="149" y="16"/>
                    </a:lnTo>
                    <a:lnTo>
                      <a:pt x="151" y="16"/>
                    </a:lnTo>
                    <a:lnTo>
                      <a:pt x="151" y="14"/>
                    </a:lnTo>
                    <a:lnTo>
                      <a:pt x="152" y="14"/>
                    </a:lnTo>
                    <a:lnTo>
                      <a:pt x="152" y="13"/>
                    </a:lnTo>
                    <a:lnTo>
                      <a:pt x="154" y="13"/>
                    </a:lnTo>
                    <a:lnTo>
                      <a:pt x="154" y="11"/>
                    </a:lnTo>
                    <a:lnTo>
                      <a:pt x="155" y="10"/>
                    </a:lnTo>
                    <a:lnTo>
                      <a:pt x="155" y="8"/>
                    </a:lnTo>
                    <a:lnTo>
                      <a:pt x="155" y="7"/>
                    </a:lnTo>
                    <a:lnTo>
                      <a:pt x="157" y="7"/>
                    </a:lnTo>
                    <a:lnTo>
                      <a:pt x="157" y="5"/>
                    </a:lnTo>
                    <a:lnTo>
                      <a:pt x="158" y="5"/>
                    </a:lnTo>
                    <a:lnTo>
                      <a:pt x="158" y="3"/>
                    </a:lnTo>
                    <a:lnTo>
                      <a:pt x="158" y="2"/>
                    </a:lnTo>
                    <a:lnTo>
                      <a:pt x="160" y="2"/>
                    </a:lnTo>
                    <a:lnTo>
                      <a:pt x="160" y="3"/>
                    </a:lnTo>
                    <a:lnTo>
                      <a:pt x="160" y="2"/>
                    </a:lnTo>
                    <a:lnTo>
                      <a:pt x="162" y="2"/>
                    </a:lnTo>
                    <a:lnTo>
                      <a:pt x="163" y="0"/>
                    </a:lnTo>
                    <a:lnTo>
                      <a:pt x="163" y="2"/>
                    </a:lnTo>
                    <a:lnTo>
                      <a:pt x="165" y="2"/>
                    </a:lnTo>
                    <a:lnTo>
                      <a:pt x="163" y="3"/>
                    </a:lnTo>
                    <a:lnTo>
                      <a:pt x="165" y="3"/>
                    </a:lnTo>
                    <a:lnTo>
                      <a:pt x="166" y="3"/>
                    </a:lnTo>
                    <a:lnTo>
                      <a:pt x="168" y="3"/>
                    </a:lnTo>
                    <a:lnTo>
                      <a:pt x="168" y="5"/>
                    </a:lnTo>
                    <a:lnTo>
                      <a:pt x="170" y="5"/>
                    </a:lnTo>
                    <a:lnTo>
                      <a:pt x="170" y="7"/>
                    </a:lnTo>
                    <a:lnTo>
                      <a:pt x="171" y="7"/>
                    </a:lnTo>
                    <a:lnTo>
                      <a:pt x="171" y="8"/>
                    </a:lnTo>
                    <a:lnTo>
                      <a:pt x="173" y="8"/>
                    </a:lnTo>
                    <a:lnTo>
                      <a:pt x="174" y="7"/>
                    </a:lnTo>
                    <a:lnTo>
                      <a:pt x="174" y="8"/>
                    </a:lnTo>
                    <a:lnTo>
                      <a:pt x="176" y="8"/>
                    </a:lnTo>
                    <a:lnTo>
                      <a:pt x="177" y="8"/>
                    </a:lnTo>
                    <a:lnTo>
                      <a:pt x="177" y="7"/>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75" name="Freeform 155"/>
              <p:cNvSpPr>
                <a:spLocks/>
              </p:cNvSpPr>
              <p:nvPr/>
            </p:nvSpPr>
            <p:spPr bwMode="auto">
              <a:xfrm>
                <a:off x="2046" y="1020"/>
                <a:ext cx="319" cy="621"/>
              </a:xfrm>
              <a:custGeom>
                <a:avLst/>
                <a:gdLst>
                  <a:gd name="T0" fmla="*/ 5 w 319"/>
                  <a:gd name="T1" fmla="*/ 613 h 621"/>
                  <a:gd name="T2" fmla="*/ 21 w 319"/>
                  <a:gd name="T3" fmla="*/ 608 h 621"/>
                  <a:gd name="T4" fmla="*/ 37 w 319"/>
                  <a:gd name="T5" fmla="*/ 594 h 621"/>
                  <a:gd name="T6" fmla="*/ 46 w 319"/>
                  <a:gd name="T7" fmla="*/ 586 h 621"/>
                  <a:gd name="T8" fmla="*/ 57 w 319"/>
                  <a:gd name="T9" fmla="*/ 580 h 621"/>
                  <a:gd name="T10" fmla="*/ 61 w 319"/>
                  <a:gd name="T11" fmla="*/ 572 h 621"/>
                  <a:gd name="T12" fmla="*/ 65 w 319"/>
                  <a:gd name="T13" fmla="*/ 555 h 621"/>
                  <a:gd name="T14" fmla="*/ 80 w 319"/>
                  <a:gd name="T15" fmla="*/ 545 h 621"/>
                  <a:gd name="T16" fmla="*/ 89 w 319"/>
                  <a:gd name="T17" fmla="*/ 537 h 621"/>
                  <a:gd name="T18" fmla="*/ 97 w 319"/>
                  <a:gd name="T19" fmla="*/ 528 h 621"/>
                  <a:gd name="T20" fmla="*/ 105 w 319"/>
                  <a:gd name="T21" fmla="*/ 513 h 621"/>
                  <a:gd name="T22" fmla="*/ 116 w 319"/>
                  <a:gd name="T23" fmla="*/ 501 h 621"/>
                  <a:gd name="T24" fmla="*/ 118 w 319"/>
                  <a:gd name="T25" fmla="*/ 483 h 621"/>
                  <a:gd name="T26" fmla="*/ 122 w 319"/>
                  <a:gd name="T27" fmla="*/ 471 h 621"/>
                  <a:gd name="T28" fmla="*/ 132 w 319"/>
                  <a:gd name="T29" fmla="*/ 456 h 621"/>
                  <a:gd name="T30" fmla="*/ 141 w 319"/>
                  <a:gd name="T31" fmla="*/ 447 h 621"/>
                  <a:gd name="T32" fmla="*/ 148 w 319"/>
                  <a:gd name="T33" fmla="*/ 431 h 621"/>
                  <a:gd name="T34" fmla="*/ 159 w 319"/>
                  <a:gd name="T35" fmla="*/ 425 h 621"/>
                  <a:gd name="T36" fmla="*/ 170 w 319"/>
                  <a:gd name="T37" fmla="*/ 428 h 621"/>
                  <a:gd name="T38" fmla="*/ 175 w 319"/>
                  <a:gd name="T39" fmla="*/ 423 h 621"/>
                  <a:gd name="T40" fmla="*/ 168 w 319"/>
                  <a:gd name="T41" fmla="*/ 409 h 621"/>
                  <a:gd name="T42" fmla="*/ 175 w 319"/>
                  <a:gd name="T43" fmla="*/ 395 h 621"/>
                  <a:gd name="T44" fmla="*/ 178 w 319"/>
                  <a:gd name="T45" fmla="*/ 383 h 621"/>
                  <a:gd name="T46" fmla="*/ 183 w 319"/>
                  <a:gd name="T47" fmla="*/ 374 h 621"/>
                  <a:gd name="T48" fmla="*/ 189 w 319"/>
                  <a:gd name="T49" fmla="*/ 363 h 621"/>
                  <a:gd name="T50" fmla="*/ 195 w 319"/>
                  <a:gd name="T51" fmla="*/ 349 h 621"/>
                  <a:gd name="T52" fmla="*/ 211 w 319"/>
                  <a:gd name="T53" fmla="*/ 342 h 621"/>
                  <a:gd name="T54" fmla="*/ 229 w 319"/>
                  <a:gd name="T55" fmla="*/ 330 h 621"/>
                  <a:gd name="T56" fmla="*/ 249 w 319"/>
                  <a:gd name="T57" fmla="*/ 320 h 621"/>
                  <a:gd name="T58" fmla="*/ 262 w 319"/>
                  <a:gd name="T59" fmla="*/ 306 h 621"/>
                  <a:gd name="T60" fmla="*/ 249 w 319"/>
                  <a:gd name="T61" fmla="*/ 290 h 621"/>
                  <a:gd name="T62" fmla="*/ 259 w 319"/>
                  <a:gd name="T63" fmla="*/ 276 h 621"/>
                  <a:gd name="T64" fmla="*/ 279 w 319"/>
                  <a:gd name="T65" fmla="*/ 263 h 621"/>
                  <a:gd name="T66" fmla="*/ 294 w 319"/>
                  <a:gd name="T67" fmla="*/ 265 h 621"/>
                  <a:gd name="T68" fmla="*/ 314 w 319"/>
                  <a:gd name="T69" fmla="*/ 255 h 621"/>
                  <a:gd name="T70" fmla="*/ 311 w 319"/>
                  <a:gd name="T71" fmla="*/ 241 h 621"/>
                  <a:gd name="T72" fmla="*/ 311 w 319"/>
                  <a:gd name="T73" fmla="*/ 219 h 621"/>
                  <a:gd name="T74" fmla="*/ 313 w 319"/>
                  <a:gd name="T75" fmla="*/ 201 h 621"/>
                  <a:gd name="T76" fmla="*/ 306 w 319"/>
                  <a:gd name="T77" fmla="*/ 187 h 621"/>
                  <a:gd name="T78" fmla="*/ 317 w 319"/>
                  <a:gd name="T79" fmla="*/ 165 h 621"/>
                  <a:gd name="T80" fmla="*/ 298 w 319"/>
                  <a:gd name="T81" fmla="*/ 168 h 621"/>
                  <a:gd name="T82" fmla="*/ 276 w 319"/>
                  <a:gd name="T83" fmla="*/ 166 h 621"/>
                  <a:gd name="T84" fmla="*/ 257 w 319"/>
                  <a:gd name="T85" fmla="*/ 168 h 621"/>
                  <a:gd name="T86" fmla="*/ 240 w 319"/>
                  <a:gd name="T87" fmla="*/ 147 h 621"/>
                  <a:gd name="T88" fmla="*/ 225 w 319"/>
                  <a:gd name="T89" fmla="*/ 140 h 621"/>
                  <a:gd name="T90" fmla="*/ 206 w 319"/>
                  <a:gd name="T91" fmla="*/ 157 h 621"/>
                  <a:gd name="T92" fmla="*/ 194 w 319"/>
                  <a:gd name="T93" fmla="*/ 146 h 621"/>
                  <a:gd name="T94" fmla="*/ 184 w 319"/>
                  <a:gd name="T95" fmla="*/ 140 h 621"/>
                  <a:gd name="T96" fmla="*/ 178 w 319"/>
                  <a:gd name="T97" fmla="*/ 128 h 621"/>
                  <a:gd name="T98" fmla="*/ 176 w 319"/>
                  <a:gd name="T99" fmla="*/ 122 h 621"/>
                  <a:gd name="T100" fmla="*/ 181 w 319"/>
                  <a:gd name="T101" fmla="*/ 111 h 621"/>
                  <a:gd name="T102" fmla="*/ 187 w 319"/>
                  <a:gd name="T103" fmla="*/ 100 h 621"/>
                  <a:gd name="T104" fmla="*/ 192 w 319"/>
                  <a:gd name="T105" fmla="*/ 86 h 621"/>
                  <a:gd name="T106" fmla="*/ 206 w 319"/>
                  <a:gd name="T107" fmla="*/ 76 h 621"/>
                  <a:gd name="T108" fmla="*/ 214 w 319"/>
                  <a:gd name="T109" fmla="*/ 62 h 621"/>
                  <a:gd name="T110" fmla="*/ 200 w 319"/>
                  <a:gd name="T111" fmla="*/ 65 h 621"/>
                  <a:gd name="T112" fmla="*/ 181 w 319"/>
                  <a:gd name="T113" fmla="*/ 65 h 621"/>
                  <a:gd name="T114" fmla="*/ 189 w 319"/>
                  <a:gd name="T115" fmla="*/ 45 h 621"/>
                  <a:gd name="T116" fmla="*/ 200 w 319"/>
                  <a:gd name="T117" fmla="*/ 26 h 621"/>
                  <a:gd name="T118" fmla="*/ 208 w 319"/>
                  <a:gd name="T119" fmla="*/ 5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9" h="621">
                    <a:moveTo>
                      <a:pt x="0" y="620"/>
                    </a:moveTo>
                    <a:lnTo>
                      <a:pt x="0" y="621"/>
                    </a:lnTo>
                    <a:lnTo>
                      <a:pt x="2" y="620"/>
                    </a:lnTo>
                    <a:lnTo>
                      <a:pt x="0" y="620"/>
                    </a:lnTo>
                    <a:lnTo>
                      <a:pt x="0" y="618"/>
                    </a:lnTo>
                    <a:lnTo>
                      <a:pt x="0" y="616"/>
                    </a:lnTo>
                    <a:lnTo>
                      <a:pt x="2" y="616"/>
                    </a:lnTo>
                    <a:lnTo>
                      <a:pt x="4" y="616"/>
                    </a:lnTo>
                    <a:lnTo>
                      <a:pt x="5" y="616"/>
                    </a:lnTo>
                    <a:lnTo>
                      <a:pt x="4" y="616"/>
                    </a:lnTo>
                    <a:lnTo>
                      <a:pt x="5" y="616"/>
                    </a:lnTo>
                    <a:lnTo>
                      <a:pt x="5" y="615"/>
                    </a:lnTo>
                    <a:lnTo>
                      <a:pt x="4" y="615"/>
                    </a:lnTo>
                    <a:lnTo>
                      <a:pt x="5" y="615"/>
                    </a:lnTo>
                    <a:lnTo>
                      <a:pt x="5" y="613"/>
                    </a:lnTo>
                    <a:lnTo>
                      <a:pt x="5" y="612"/>
                    </a:lnTo>
                    <a:lnTo>
                      <a:pt x="5" y="613"/>
                    </a:lnTo>
                    <a:lnTo>
                      <a:pt x="7" y="613"/>
                    </a:lnTo>
                    <a:lnTo>
                      <a:pt x="7" y="612"/>
                    </a:lnTo>
                    <a:lnTo>
                      <a:pt x="8" y="612"/>
                    </a:lnTo>
                    <a:lnTo>
                      <a:pt x="10" y="612"/>
                    </a:lnTo>
                    <a:lnTo>
                      <a:pt x="10" y="613"/>
                    </a:lnTo>
                    <a:lnTo>
                      <a:pt x="10" y="612"/>
                    </a:lnTo>
                    <a:lnTo>
                      <a:pt x="12" y="612"/>
                    </a:lnTo>
                    <a:lnTo>
                      <a:pt x="13" y="610"/>
                    </a:lnTo>
                    <a:lnTo>
                      <a:pt x="13" y="612"/>
                    </a:lnTo>
                    <a:lnTo>
                      <a:pt x="15" y="612"/>
                    </a:lnTo>
                    <a:lnTo>
                      <a:pt x="15" y="610"/>
                    </a:lnTo>
                    <a:lnTo>
                      <a:pt x="13" y="610"/>
                    </a:lnTo>
                    <a:lnTo>
                      <a:pt x="15" y="610"/>
                    </a:lnTo>
                    <a:lnTo>
                      <a:pt x="16" y="610"/>
                    </a:lnTo>
                    <a:lnTo>
                      <a:pt x="18" y="610"/>
                    </a:lnTo>
                    <a:lnTo>
                      <a:pt x="19" y="608"/>
                    </a:lnTo>
                    <a:lnTo>
                      <a:pt x="21" y="608"/>
                    </a:lnTo>
                    <a:lnTo>
                      <a:pt x="23" y="607"/>
                    </a:lnTo>
                    <a:lnTo>
                      <a:pt x="24" y="607"/>
                    </a:lnTo>
                    <a:lnTo>
                      <a:pt x="24" y="605"/>
                    </a:lnTo>
                    <a:lnTo>
                      <a:pt x="26" y="605"/>
                    </a:lnTo>
                    <a:lnTo>
                      <a:pt x="26" y="604"/>
                    </a:lnTo>
                    <a:lnTo>
                      <a:pt x="27" y="604"/>
                    </a:lnTo>
                    <a:lnTo>
                      <a:pt x="29" y="604"/>
                    </a:lnTo>
                    <a:lnTo>
                      <a:pt x="29" y="602"/>
                    </a:lnTo>
                    <a:lnTo>
                      <a:pt x="31" y="602"/>
                    </a:lnTo>
                    <a:lnTo>
                      <a:pt x="31" y="601"/>
                    </a:lnTo>
                    <a:lnTo>
                      <a:pt x="31" y="599"/>
                    </a:lnTo>
                    <a:lnTo>
                      <a:pt x="32" y="597"/>
                    </a:lnTo>
                    <a:lnTo>
                      <a:pt x="32" y="596"/>
                    </a:lnTo>
                    <a:lnTo>
                      <a:pt x="32" y="594"/>
                    </a:lnTo>
                    <a:lnTo>
                      <a:pt x="34" y="594"/>
                    </a:lnTo>
                    <a:lnTo>
                      <a:pt x="35" y="594"/>
                    </a:lnTo>
                    <a:lnTo>
                      <a:pt x="37" y="594"/>
                    </a:lnTo>
                    <a:lnTo>
                      <a:pt x="37" y="593"/>
                    </a:lnTo>
                    <a:lnTo>
                      <a:pt x="38" y="593"/>
                    </a:lnTo>
                    <a:lnTo>
                      <a:pt x="38" y="594"/>
                    </a:lnTo>
                    <a:lnTo>
                      <a:pt x="40" y="594"/>
                    </a:lnTo>
                    <a:lnTo>
                      <a:pt x="40" y="593"/>
                    </a:lnTo>
                    <a:lnTo>
                      <a:pt x="40" y="594"/>
                    </a:lnTo>
                    <a:lnTo>
                      <a:pt x="42" y="594"/>
                    </a:lnTo>
                    <a:lnTo>
                      <a:pt x="42" y="593"/>
                    </a:lnTo>
                    <a:lnTo>
                      <a:pt x="43" y="593"/>
                    </a:lnTo>
                    <a:lnTo>
                      <a:pt x="43" y="591"/>
                    </a:lnTo>
                    <a:lnTo>
                      <a:pt x="43" y="589"/>
                    </a:lnTo>
                    <a:lnTo>
                      <a:pt x="43" y="588"/>
                    </a:lnTo>
                    <a:lnTo>
                      <a:pt x="45" y="588"/>
                    </a:lnTo>
                    <a:lnTo>
                      <a:pt x="46" y="589"/>
                    </a:lnTo>
                    <a:lnTo>
                      <a:pt x="48" y="588"/>
                    </a:lnTo>
                    <a:lnTo>
                      <a:pt x="46" y="588"/>
                    </a:lnTo>
                    <a:lnTo>
                      <a:pt x="46" y="586"/>
                    </a:lnTo>
                    <a:lnTo>
                      <a:pt x="48" y="586"/>
                    </a:lnTo>
                    <a:lnTo>
                      <a:pt x="50" y="586"/>
                    </a:lnTo>
                    <a:lnTo>
                      <a:pt x="50" y="588"/>
                    </a:lnTo>
                    <a:lnTo>
                      <a:pt x="51" y="588"/>
                    </a:lnTo>
                    <a:lnTo>
                      <a:pt x="51" y="586"/>
                    </a:lnTo>
                    <a:lnTo>
                      <a:pt x="51" y="588"/>
                    </a:lnTo>
                    <a:lnTo>
                      <a:pt x="51" y="586"/>
                    </a:lnTo>
                    <a:lnTo>
                      <a:pt x="53" y="586"/>
                    </a:lnTo>
                    <a:lnTo>
                      <a:pt x="53" y="585"/>
                    </a:lnTo>
                    <a:lnTo>
                      <a:pt x="53" y="586"/>
                    </a:lnTo>
                    <a:lnTo>
                      <a:pt x="54" y="586"/>
                    </a:lnTo>
                    <a:lnTo>
                      <a:pt x="56" y="586"/>
                    </a:lnTo>
                    <a:lnTo>
                      <a:pt x="56" y="585"/>
                    </a:lnTo>
                    <a:lnTo>
                      <a:pt x="56" y="583"/>
                    </a:lnTo>
                    <a:lnTo>
                      <a:pt x="57" y="583"/>
                    </a:lnTo>
                    <a:lnTo>
                      <a:pt x="57" y="581"/>
                    </a:lnTo>
                    <a:lnTo>
                      <a:pt x="57" y="580"/>
                    </a:lnTo>
                    <a:lnTo>
                      <a:pt x="56" y="580"/>
                    </a:lnTo>
                    <a:lnTo>
                      <a:pt x="57" y="580"/>
                    </a:lnTo>
                    <a:lnTo>
                      <a:pt x="59" y="580"/>
                    </a:lnTo>
                    <a:lnTo>
                      <a:pt x="59" y="581"/>
                    </a:lnTo>
                    <a:lnTo>
                      <a:pt x="59" y="580"/>
                    </a:lnTo>
                    <a:lnTo>
                      <a:pt x="59" y="578"/>
                    </a:lnTo>
                    <a:lnTo>
                      <a:pt x="59" y="577"/>
                    </a:lnTo>
                    <a:lnTo>
                      <a:pt x="57" y="577"/>
                    </a:lnTo>
                    <a:lnTo>
                      <a:pt x="59" y="577"/>
                    </a:lnTo>
                    <a:lnTo>
                      <a:pt x="59" y="575"/>
                    </a:lnTo>
                    <a:lnTo>
                      <a:pt x="57" y="575"/>
                    </a:lnTo>
                    <a:lnTo>
                      <a:pt x="59" y="575"/>
                    </a:lnTo>
                    <a:lnTo>
                      <a:pt x="61" y="575"/>
                    </a:lnTo>
                    <a:lnTo>
                      <a:pt x="61" y="574"/>
                    </a:lnTo>
                    <a:lnTo>
                      <a:pt x="59" y="574"/>
                    </a:lnTo>
                    <a:lnTo>
                      <a:pt x="61" y="574"/>
                    </a:lnTo>
                    <a:lnTo>
                      <a:pt x="61" y="572"/>
                    </a:lnTo>
                    <a:lnTo>
                      <a:pt x="61" y="570"/>
                    </a:lnTo>
                    <a:lnTo>
                      <a:pt x="59" y="570"/>
                    </a:lnTo>
                    <a:lnTo>
                      <a:pt x="61" y="570"/>
                    </a:lnTo>
                    <a:lnTo>
                      <a:pt x="59" y="570"/>
                    </a:lnTo>
                    <a:lnTo>
                      <a:pt x="59" y="569"/>
                    </a:lnTo>
                    <a:lnTo>
                      <a:pt x="61" y="569"/>
                    </a:lnTo>
                    <a:lnTo>
                      <a:pt x="61" y="567"/>
                    </a:lnTo>
                    <a:lnTo>
                      <a:pt x="61" y="566"/>
                    </a:lnTo>
                    <a:lnTo>
                      <a:pt x="62" y="566"/>
                    </a:lnTo>
                    <a:lnTo>
                      <a:pt x="62" y="564"/>
                    </a:lnTo>
                    <a:lnTo>
                      <a:pt x="62" y="562"/>
                    </a:lnTo>
                    <a:lnTo>
                      <a:pt x="64" y="561"/>
                    </a:lnTo>
                    <a:lnTo>
                      <a:pt x="65" y="561"/>
                    </a:lnTo>
                    <a:lnTo>
                      <a:pt x="65" y="559"/>
                    </a:lnTo>
                    <a:lnTo>
                      <a:pt x="65" y="558"/>
                    </a:lnTo>
                    <a:lnTo>
                      <a:pt x="65" y="556"/>
                    </a:lnTo>
                    <a:lnTo>
                      <a:pt x="65" y="555"/>
                    </a:lnTo>
                    <a:lnTo>
                      <a:pt x="67" y="555"/>
                    </a:lnTo>
                    <a:lnTo>
                      <a:pt x="65" y="555"/>
                    </a:lnTo>
                    <a:lnTo>
                      <a:pt x="67" y="555"/>
                    </a:lnTo>
                    <a:lnTo>
                      <a:pt x="67" y="553"/>
                    </a:lnTo>
                    <a:lnTo>
                      <a:pt x="67" y="551"/>
                    </a:lnTo>
                    <a:lnTo>
                      <a:pt x="69" y="551"/>
                    </a:lnTo>
                    <a:lnTo>
                      <a:pt x="69" y="550"/>
                    </a:lnTo>
                    <a:lnTo>
                      <a:pt x="70" y="550"/>
                    </a:lnTo>
                    <a:lnTo>
                      <a:pt x="70" y="548"/>
                    </a:lnTo>
                    <a:lnTo>
                      <a:pt x="72" y="548"/>
                    </a:lnTo>
                    <a:lnTo>
                      <a:pt x="73" y="548"/>
                    </a:lnTo>
                    <a:lnTo>
                      <a:pt x="73" y="547"/>
                    </a:lnTo>
                    <a:lnTo>
                      <a:pt x="75" y="547"/>
                    </a:lnTo>
                    <a:lnTo>
                      <a:pt x="76" y="547"/>
                    </a:lnTo>
                    <a:lnTo>
                      <a:pt x="78" y="547"/>
                    </a:lnTo>
                    <a:lnTo>
                      <a:pt x="78" y="545"/>
                    </a:lnTo>
                    <a:lnTo>
                      <a:pt x="80" y="545"/>
                    </a:lnTo>
                    <a:lnTo>
                      <a:pt x="78" y="545"/>
                    </a:lnTo>
                    <a:lnTo>
                      <a:pt x="78" y="543"/>
                    </a:lnTo>
                    <a:lnTo>
                      <a:pt x="80" y="543"/>
                    </a:lnTo>
                    <a:lnTo>
                      <a:pt x="80" y="542"/>
                    </a:lnTo>
                    <a:lnTo>
                      <a:pt x="81" y="542"/>
                    </a:lnTo>
                    <a:lnTo>
                      <a:pt x="83" y="542"/>
                    </a:lnTo>
                    <a:lnTo>
                      <a:pt x="81" y="542"/>
                    </a:lnTo>
                    <a:lnTo>
                      <a:pt x="83" y="542"/>
                    </a:lnTo>
                    <a:lnTo>
                      <a:pt x="83" y="540"/>
                    </a:lnTo>
                    <a:lnTo>
                      <a:pt x="84" y="540"/>
                    </a:lnTo>
                    <a:lnTo>
                      <a:pt x="86" y="540"/>
                    </a:lnTo>
                    <a:lnTo>
                      <a:pt x="86" y="539"/>
                    </a:lnTo>
                    <a:lnTo>
                      <a:pt x="88" y="539"/>
                    </a:lnTo>
                    <a:lnTo>
                      <a:pt x="88" y="537"/>
                    </a:lnTo>
                    <a:lnTo>
                      <a:pt x="88" y="539"/>
                    </a:lnTo>
                    <a:lnTo>
                      <a:pt x="88" y="537"/>
                    </a:lnTo>
                    <a:lnTo>
                      <a:pt x="89" y="537"/>
                    </a:lnTo>
                    <a:lnTo>
                      <a:pt x="91" y="537"/>
                    </a:lnTo>
                    <a:lnTo>
                      <a:pt x="91" y="536"/>
                    </a:lnTo>
                    <a:lnTo>
                      <a:pt x="92" y="536"/>
                    </a:lnTo>
                    <a:lnTo>
                      <a:pt x="92" y="534"/>
                    </a:lnTo>
                    <a:lnTo>
                      <a:pt x="92" y="536"/>
                    </a:lnTo>
                    <a:lnTo>
                      <a:pt x="92" y="534"/>
                    </a:lnTo>
                    <a:lnTo>
                      <a:pt x="94" y="534"/>
                    </a:lnTo>
                    <a:lnTo>
                      <a:pt x="94" y="532"/>
                    </a:lnTo>
                    <a:lnTo>
                      <a:pt x="96" y="532"/>
                    </a:lnTo>
                    <a:lnTo>
                      <a:pt x="94" y="532"/>
                    </a:lnTo>
                    <a:lnTo>
                      <a:pt x="96" y="532"/>
                    </a:lnTo>
                    <a:lnTo>
                      <a:pt x="96" y="531"/>
                    </a:lnTo>
                    <a:lnTo>
                      <a:pt x="97" y="531"/>
                    </a:lnTo>
                    <a:lnTo>
                      <a:pt x="97" y="529"/>
                    </a:lnTo>
                    <a:lnTo>
                      <a:pt x="96" y="529"/>
                    </a:lnTo>
                    <a:lnTo>
                      <a:pt x="97" y="529"/>
                    </a:lnTo>
                    <a:lnTo>
                      <a:pt x="97" y="528"/>
                    </a:lnTo>
                    <a:lnTo>
                      <a:pt x="99" y="528"/>
                    </a:lnTo>
                    <a:lnTo>
                      <a:pt x="99" y="526"/>
                    </a:lnTo>
                    <a:lnTo>
                      <a:pt x="100" y="526"/>
                    </a:lnTo>
                    <a:lnTo>
                      <a:pt x="100" y="524"/>
                    </a:lnTo>
                    <a:lnTo>
                      <a:pt x="99" y="524"/>
                    </a:lnTo>
                    <a:lnTo>
                      <a:pt x="100" y="524"/>
                    </a:lnTo>
                    <a:lnTo>
                      <a:pt x="100" y="523"/>
                    </a:lnTo>
                    <a:lnTo>
                      <a:pt x="102" y="523"/>
                    </a:lnTo>
                    <a:lnTo>
                      <a:pt x="102" y="521"/>
                    </a:lnTo>
                    <a:lnTo>
                      <a:pt x="102" y="523"/>
                    </a:lnTo>
                    <a:lnTo>
                      <a:pt x="102" y="521"/>
                    </a:lnTo>
                    <a:lnTo>
                      <a:pt x="102" y="520"/>
                    </a:lnTo>
                    <a:lnTo>
                      <a:pt x="102" y="518"/>
                    </a:lnTo>
                    <a:lnTo>
                      <a:pt x="103" y="518"/>
                    </a:lnTo>
                    <a:lnTo>
                      <a:pt x="103" y="517"/>
                    </a:lnTo>
                    <a:lnTo>
                      <a:pt x="103" y="515"/>
                    </a:lnTo>
                    <a:lnTo>
                      <a:pt x="105" y="513"/>
                    </a:lnTo>
                    <a:lnTo>
                      <a:pt x="103" y="513"/>
                    </a:lnTo>
                    <a:lnTo>
                      <a:pt x="105" y="513"/>
                    </a:lnTo>
                    <a:lnTo>
                      <a:pt x="105" y="512"/>
                    </a:lnTo>
                    <a:lnTo>
                      <a:pt x="107" y="512"/>
                    </a:lnTo>
                    <a:lnTo>
                      <a:pt x="108" y="512"/>
                    </a:lnTo>
                    <a:lnTo>
                      <a:pt x="110" y="510"/>
                    </a:lnTo>
                    <a:lnTo>
                      <a:pt x="111" y="509"/>
                    </a:lnTo>
                    <a:lnTo>
                      <a:pt x="111" y="507"/>
                    </a:lnTo>
                    <a:lnTo>
                      <a:pt x="113" y="507"/>
                    </a:lnTo>
                    <a:lnTo>
                      <a:pt x="111" y="507"/>
                    </a:lnTo>
                    <a:lnTo>
                      <a:pt x="113" y="507"/>
                    </a:lnTo>
                    <a:lnTo>
                      <a:pt x="113" y="505"/>
                    </a:lnTo>
                    <a:lnTo>
                      <a:pt x="115" y="505"/>
                    </a:lnTo>
                    <a:lnTo>
                      <a:pt x="115" y="504"/>
                    </a:lnTo>
                    <a:lnTo>
                      <a:pt x="115" y="502"/>
                    </a:lnTo>
                    <a:lnTo>
                      <a:pt x="116" y="502"/>
                    </a:lnTo>
                    <a:lnTo>
                      <a:pt x="116" y="501"/>
                    </a:lnTo>
                    <a:lnTo>
                      <a:pt x="116" y="499"/>
                    </a:lnTo>
                    <a:lnTo>
                      <a:pt x="115" y="499"/>
                    </a:lnTo>
                    <a:lnTo>
                      <a:pt x="113" y="499"/>
                    </a:lnTo>
                    <a:lnTo>
                      <a:pt x="113" y="498"/>
                    </a:lnTo>
                    <a:lnTo>
                      <a:pt x="113" y="496"/>
                    </a:lnTo>
                    <a:lnTo>
                      <a:pt x="111" y="494"/>
                    </a:lnTo>
                    <a:lnTo>
                      <a:pt x="111" y="493"/>
                    </a:lnTo>
                    <a:lnTo>
                      <a:pt x="113" y="493"/>
                    </a:lnTo>
                    <a:lnTo>
                      <a:pt x="113" y="491"/>
                    </a:lnTo>
                    <a:lnTo>
                      <a:pt x="115" y="491"/>
                    </a:lnTo>
                    <a:lnTo>
                      <a:pt x="115" y="490"/>
                    </a:lnTo>
                    <a:lnTo>
                      <a:pt x="116" y="490"/>
                    </a:lnTo>
                    <a:lnTo>
                      <a:pt x="116" y="488"/>
                    </a:lnTo>
                    <a:lnTo>
                      <a:pt x="116" y="486"/>
                    </a:lnTo>
                    <a:lnTo>
                      <a:pt x="116" y="485"/>
                    </a:lnTo>
                    <a:lnTo>
                      <a:pt x="118" y="485"/>
                    </a:lnTo>
                    <a:lnTo>
                      <a:pt x="118" y="483"/>
                    </a:lnTo>
                    <a:lnTo>
                      <a:pt x="116" y="483"/>
                    </a:lnTo>
                    <a:lnTo>
                      <a:pt x="118" y="482"/>
                    </a:lnTo>
                    <a:lnTo>
                      <a:pt x="116" y="482"/>
                    </a:lnTo>
                    <a:lnTo>
                      <a:pt x="118" y="482"/>
                    </a:lnTo>
                    <a:lnTo>
                      <a:pt x="118" y="480"/>
                    </a:lnTo>
                    <a:lnTo>
                      <a:pt x="118" y="479"/>
                    </a:lnTo>
                    <a:lnTo>
                      <a:pt x="118" y="477"/>
                    </a:lnTo>
                    <a:lnTo>
                      <a:pt x="118" y="479"/>
                    </a:lnTo>
                    <a:lnTo>
                      <a:pt x="118" y="477"/>
                    </a:lnTo>
                    <a:lnTo>
                      <a:pt x="119" y="475"/>
                    </a:lnTo>
                    <a:lnTo>
                      <a:pt x="119" y="474"/>
                    </a:lnTo>
                    <a:lnTo>
                      <a:pt x="121" y="474"/>
                    </a:lnTo>
                    <a:lnTo>
                      <a:pt x="121" y="472"/>
                    </a:lnTo>
                    <a:lnTo>
                      <a:pt x="121" y="471"/>
                    </a:lnTo>
                    <a:lnTo>
                      <a:pt x="121" y="472"/>
                    </a:lnTo>
                    <a:lnTo>
                      <a:pt x="121" y="471"/>
                    </a:lnTo>
                    <a:lnTo>
                      <a:pt x="122" y="471"/>
                    </a:lnTo>
                    <a:lnTo>
                      <a:pt x="124" y="471"/>
                    </a:lnTo>
                    <a:lnTo>
                      <a:pt x="124" y="469"/>
                    </a:lnTo>
                    <a:lnTo>
                      <a:pt x="124" y="467"/>
                    </a:lnTo>
                    <a:lnTo>
                      <a:pt x="124" y="466"/>
                    </a:lnTo>
                    <a:lnTo>
                      <a:pt x="126" y="466"/>
                    </a:lnTo>
                    <a:lnTo>
                      <a:pt x="126" y="464"/>
                    </a:lnTo>
                    <a:lnTo>
                      <a:pt x="126" y="463"/>
                    </a:lnTo>
                    <a:lnTo>
                      <a:pt x="126" y="461"/>
                    </a:lnTo>
                    <a:lnTo>
                      <a:pt x="127" y="461"/>
                    </a:lnTo>
                    <a:lnTo>
                      <a:pt x="126" y="461"/>
                    </a:lnTo>
                    <a:lnTo>
                      <a:pt x="126" y="460"/>
                    </a:lnTo>
                    <a:lnTo>
                      <a:pt x="127" y="460"/>
                    </a:lnTo>
                    <a:lnTo>
                      <a:pt x="127" y="458"/>
                    </a:lnTo>
                    <a:lnTo>
                      <a:pt x="129" y="458"/>
                    </a:lnTo>
                    <a:lnTo>
                      <a:pt x="129" y="456"/>
                    </a:lnTo>
                    <a:lnTo>
                      <a:pt x="130" y="456"/>
                    </a:lnTo>
                    <a:lnTo>
                      <a:pt x="132" y="456"/>
                    </a:lnTo>
                    <a:lnTo>
                      <a:pt x="132" y="455"/>
                    </a:lnTo>
                    <a:lnTo>
                      <a:pt x="132" y="456"/>
                    </a:lnTo>
                    <a:lnTo>
                      <a:pt x="134" y="456"/>
                    </a:lnTo>
                    <a:lnTo>
                      <a:pt x="134" y="455"/>
                    </a:lnTo>
                    <a:lnTo>
                      <a:pt x="134" y="453"/>
                    </a:lnTo>
                    <a:lnTo>
                      <a:pt x="134" y="455"/>
                    </a:lnTo>
                    <a:lnTo>
                      <a:pt x="135" y="453"/>
                    </a:lnTo>
                    <a:lnTo>
                      <a:pt x="135" y="452"/>
                    </a:lnTo>
                    <a:lnTo>
                      <a:pt x="137" y="452"/>
                    </a:lnTo>
                    <a:lnTo>
                      <a:pt x="138" y="452"/>
                    </a:lnTo>
                    <a:lnTo>
                      <a:pt x="138" y="450"/>
                    </a:lnTo>
                    <a:lnTo>
                      <a:pt x="140" y="450"/>
                    </a:lnTo>
                    <a:lnTo>
                      <a:pt x="140" y="448"/>
                    </a:lnTo>
                    <a:lnTo>
                      <a:pt x="138" y="448"/>
                    </a:lnTo>
                    <a:lnTo>
                      <a:pt x="140" y="448"/>
                    </a:lnTo>
                    <a:lnTo>
                      <a:pt x="141" y="448"/>
                    </a:lnTo>
                    <a:lnTo>
                      <a:pt x="141" y="447"/>
                    </a:lnTo>
                    <a:lnTo>
                      <a:pt x="143" y="447"/>
                    </a:lnTo>
                    <a:lnTo>
                      <a:pt x="143" y="445"/>
                    </a:lnTo>
                    <a:lnTo>
                      <a:pt x="143" y="444"/>
                    </a:lnTo>
                    <a:lnTo>
                      <a:pt x="143" y="442"/>
                    </a:lnTo>
                    <a:lnTo>
                      <a:pt x="145" y="441"/>
                    </a:lnTo>
                    <a:lnTo>
                      <a:pt x="145" y="439"/>
                    </a:lnTo>
                    <a:lnTo>
                      <a:pt x="145" y="437"/>
                    </a:lnTo>
                    <a:lnTo>
                      <a:pt x="146" y="437"/>
                    </a:lnTo>
                    <a:lnTo>
                      <a:pt x="148" y="437"/>
                    </a:lnTo>
                    <a:lnTo>
                      <a:pt x="148" y="436"/>
                    </a:lnTo>
                    <a:lnTo>
                      <a:pt x="146" y="436"/>
                    </a:lnTo>
                    <a:lnTo>
                      <a:pt x="148" y="436"/>
                    </a:lnTo>
                    <a:lnTo>
                      <a:pt x="148" y="434"/>
                    </a:lnTo>
                    <a:lnTo>
                      <a:pt x="146" y="434"/>
                    </a:lnTo>
                    <a:lnTo>
                      <a:pt x="148" y="434"/>
                    </a:lnTo>
                    <a:lnTo>
                      <a:pt x="148" y="433"/>
                    </a:lnTo>
                    <a:lnTo>
                      <a:pt x="148" y="431"/>
                    </a:lnTo>
                    <a:lnTo>
                      <a:pt x="148" y="433"/>
                    </a:lnTo>
                    <a:lnTo>
                      <a:pt x="148" y="431"/>
                    </a:lnTo>
                    <a:lnTo>
                      <a:pt x="148" y="429"/>
                    </a:lnTo>
                    <a:lnTo>
                      <a:pt x="149" y="429"/>
                    </a:lnTo>
                    <a:lnTo>
                      <a:pt x="148" y="428"/>
                    </a:lnTo>
                    <a:lnTo>
                      <a:pt x="149" y="428"/>
                    </a:lnTo>
                    <a:lnTo>
                      <a:pt x="149" y="426"/>
                    </a:lnTo>
                    <a:lnTo>
                      <a:pt x="151" y="426"/>
                    </a:lnTo>
                    <a:lnTo>
                      <a:pt x="151" y="425"/>
                    </a:lnTo>
                    <a:lnTo>
                      <a:pt x="153" y="426"/>
                    </a:lnTo>
                    <a:lnTo>
                      <a:pt x="153" y="425"/>
                    </a:lnTo>
                    <a:lnTo>
                      <a:pt x="154" y="425"/>
                    </a:lnTo>
                    <a:lnTo>
                      <a:pt x="154" y="423"/>
                    </a:lnTo>
                    <a:lnTo>
                      <a:pt x="156" y="423"/>
                    </a:lnTo>
                    <a:lnTo>
                      <a:pt x="157" y="423"/>
                    </a:lnTo>
                    <a:lnTo>
                      <a:pt x="157" y="425"/>
                    </a:lnTo>
                    <a:lnTo>
                      <a:pt x="159" y="425"/>
                    </a:lnTo>
                    <a:lnTo>
                      <a:pt x="157" y="425"/>
                    </a:lnTo>
                    <a:lnTo>
                      <a:pt x="159" y="425"/>
                    </a:lnTo>
                    <a:lnTo>
                      <a:pt x="159" y="426"/>
                    </a:lnTo>
                    <a:lnTo>
                      <a:pt x="159" y="425"/>
                    </a:lnTo>
                    <a:lnTo>
                      <a:pt x="160" y="425"/>
                    </a:lnTo>
                    <a:lnTo>
                      <a:pt x="162" y="423"/>
                    </a:lnTo>
                    <a:lnTo>
                      <a:pt x="164" y="423"/>
                    </a:lnTo>
                    <a:lnTo>
                      <a:pt x="164" y="425"/>
                    </a:lnTo>
                    <a:lnTo>
                      <a:pt x="164" y="423"/>
                    </a:lnTo>
                    <a:lnTo>
                      <a:pt x="165" y="425"/>
                    </a:lnTo>
                    <a:lnTo>
                      <a:pt x="167" y="425"/>
                    </a:lnTo>
                    <a:lnTo>
                      <a:pt x="167" y="426"/>
                    </a:lnTo>
                    <a:lnTo>
                      <a:pt x="167" y="428"/>
                    </a:lnTo>
                    <a:lnTo>
                      <a:pt x="168" y="428"/>
                    </a:lnTo>
                    <a:lnTo>
                      <a:pt x="168" y="429"/>
                    </a:lnTo>
                    <a:lnTo>
                      <a:pt x="170" y="429"/>
                    </a:lnTo>
                    <a:lnTo>
                      <a:pt x="170" y="428"/>
                    </a:lnTo>
                    <a:lnTo>
                      <a:pt x="172" y="429"/>
                    </a:lnTo>
                    <a:lnTo>
                      <a:pt x="170" y="429"/>
                    </a:lnTo>
                    <a:lnTo>
                      <a:pt x="170" y="431"/>
                    </a:lnTo>
                    <a:lnTo>
                      <a:pt x="172" y="431"/>
                    </a:lnTo>
                    <a:lnTo>
                      <a:pt x="172" y="429"/>
                    </a:lnTo>
                    <a:lnTo>
                      <a:pt x="172" y="431"/>
                    </a:lnTo>
                    <a:lnTo>
                      <a:pt x="173" y="431"/>
                    </a:lnTo>
                    <a:lnTo>
                      <a:pt x="173" y="429"/>
                    </a:lnTo>
                    <a:lnTo>
                      <a:pt x="173" y="428"/>
                    </a:lnTo>
                    <a:lnTo>
                      <a:pt x="175" y="428"/>
                    </a:lnTo>
                    <a:lnTo>
                      <a:pt x="173" y="428"/>
                    </a:lnTo>
                    <a:lnTo>
                      <a:pt x="175" y="428"/>
                    </a:lnTo>
                    <a:lnTo>
                      <a:pt x="175" y="426"/>
                    </a:lnTo>
                    <a:lnTo>
                      <a:pt x="176" y="426"/>
                    </a:lnTo>
                    <a:lnTo>
                      <a:pt x="176" y="425"/>
                    </a:lnTo>
                    <a:lnTo>
                      <a:pt x="175" y="425"/>
                    </a:lnTo>
                    <a:lnTo>
                      <a:pt x="175" y="423"/>
                    </a:lnTo>
                    <a:lnTo>
                      <a:pt x="175" y="422"/>
                    </a:lnTo>
                    <a:lnTo>
                      <a:pt x="175" y="420"/>
                    </a:lnTo>
                    <a:lnTo>
                      <a:pt x="173" y="418"/>
                    </a:lnTo>
                    <a:lnTo>
                      <a:pt x="173" y="417"/>
                    </a:lnTo>
                    <a:lnTo>
                      <a:pt x="173" y="415"/>
                    </a:lnTo>
                    <a:lnTo>
                      <a:pt x="173" y="414"/>
                    </a:lnTo>
                    <a:lnTo>
                      <a:pt x="172" y="414"/>
                    </a:lnTo>
                    <a:lnTo>
                      <a:pt x="173" y="414"/>
                    </a:lnTo>
                    <a:lnTo>
                      <a:pt x="172" y="414"/>
                    </a:lnTo>
                    <a:lnTo>
                      <a:pt x="173" y="414"/>
                    </a:lnTo>
                    <a:lnTo>
                      <a:pt x="172" y="412"/>
                    </a:lnTo>
                    <a:lnTo>
                      <a:pt x="172" y="410"/>
                    </a:lnTo>
                    <a:lnTo>
                      <a:pt x="172" y="412"/>
                    </a:lnTo>
                    <a:lnTo>
                      <a:pt x="172" y="410"/>
                    </a:lnTo>
                    <a:lnTo>
                      <a:pt x="172" y="409"/>
                    </a:lnTo>
                    <a:lnTo>
                      <a:pt x="170" y="409"/>
                    </a:lnTo>
                    <a:lnTo>
                      <a:pt x="168" y="409"/>
                    </a:lnTo>
                    <a:lnTo>
                      <a:pt x="168" y="407"/>
                    </a:lnTo>
                    <a:lnTo>
                      <a:pt x="168" y="406"/>
                    </a:lnTo>
                    <a:lnTo>
                      <a:pt x="170" y="406"/>
                    </a:lnTo>
                    <a:lnTo>
                      <a:pt x="170" y="404"/>
                    </a:lnTo>
                    <a:lnTo>
                      <a:pt x="168" y="404"/>
                    </a:lnTo>
                    <a:lnTo>
                      <a:pt x="168" y="403"/>
                    </a:lnTo>
                    <a:lnTo>
                      <a:pt x="170" y="403"/>
                    </a:lnTo>
                    <a:lnTo>
                      <a:pt x="170" y="401"/>
                    </a:lnTo>
                    <a:lnTo>
                      <a:pt x="168" y="401"/>
                    </a:lnTo>
                    <a:lnTo>
                      <a:pt x="170" y="401"/>
                    </a:lnTo>
                    <a:lnTo>
                      <a:pt x="172" y="401"/>
                    </a:lnTo>
                    <a:lnTo>
                      <a:pt x="172" y="399"/>
                    </a:lnTo>
                    <a:lnTo>
                      <a:pt x="172" y="398"/>
                    </a:lnTo>
                    <a:lnTo>
                      <a:pt x="173" y="398"/>
                    </a:lnTo>
                    <a:lnTo>
                      <a:pt x="173" y="396"/>
                    </a:lnTo>
                    <a:lnTo>
                      <a:pt x="173" y="395"/>
                    </a:lnTo>
                    <a:lnTo>
                      <a:pt x="175" y="395"/>
                    </a:lnTo>
                    <a:lnTo>
                      <a:pt x="175" y="396"/>
                    </a:lnTo>
                    <a:lnTo>
                      <a:pt x="175" y="395"/>
                    </a:lnTo>
                    <a:lnTo>
                      <a:pt x="175" y="393"/>
                    </a:lnTo>
                    <a:lnTo>
                      <a:pt x="173" y="393"/>
                    </a:lnTo>
                    <a:lnTo>
                      <a:pt x="175" y="393"/>
                    </a:lnTo>
                    <a:lnTo>
                      <a:pt x="176" y="391"/>
                    </a:lnTo>
                    <a:lnTo>
                      <a:pt x="175" y="391"/>
                    </a:lnTo>
                    <a:lnTo>
                      <a:pt x="175" y="390"/>
                    </a:lnTo>
                    <a:lnTo>
                      <a:pt x="175" y="388"/>
                    </a:lnTo>
                    <a:lnTo>
                      <a:pt x="176" y="388"/>
                    </a:lnTo>
                    <a:lnTo>
                      <a:pt x="178" y="388"/>
                    </a:lnTo>
                    <a:lnTo>
                      <a:pt x="176" y="388"/>
                    </a:lnTo>
                    <a:lnTo>
                      <a:pt x="178" y="387"/>
                    </a:lnTo>
                    <a:lnTo>
                      <a:pt x="176" y="387"/>
                    </a:lnTo>
                    <a:lnTo>
                      <a:pt x="178" y="387"/>
                    </a:lnTo>
                    <a:lnTo>
                      <a:pt x="178" y="385"/>
                    </a:lnTo>
                    <a:lnTo>
                      <a:pt x="178" y="383"/>
                    </a:lnTo>
                    <a:lnTo>
                      <a:pt x="178" y="385"/>
                    </a:lnTo>
                    <a:lnTo>
                      <a:pt x="178" y="383"/>
                    </a:lnTo>
                    <a:lnTo>
                      <a:pt x="179" y="383"/>
                    </a:lnTo>
                    <a:lnTo>
                      <a:pt x="178" y="383"/>
                    </a:lnTo>
                    <a:lnTo>
                      <a:pt x="179" y="383"/>
                    </a:lnTo>
                    <a:lnTo>
                      <a:pt x="179" y="382"/>
                    </a:lnTo>
                    <a:lnTo>
                      <a:pt x="179" y="380"/>
                    </a:lnTo>
                    <a:lnTo>
                      <a:pt x="181" y="380"/>
                    </a:lnTo>
                    <a:lnTo>
                      <a:pt x="181" y="379"/>
                    </a:lnTo>
                    <a:lnTo>
                      <a:pt x="183" y="379"/>
                    </a:lnTo>
                    <a:lnTo>
                      <a:pt x="181" y="379"/>
                    </a:lnTo>
                    <a:lnTo>
                      <a:pt x="181" y="377"/>
                    </a:lnTo>
                    <a:lnTo>
                      <a:pt x="183" y="377"/>
                    </a:lnTo>
                    <a:lnTo>
                      <a:pt x="183" y="376"/>
                    </a:lnTo>
                    <a:lnTo>
                      <a:pt x="181" y="376"/>
                    </a:lnTo>
                    <a:lnTo>
                      <a:pt x="181" y="374"/>
                    </a:lnTo>
                    <a:lnTo>
                      <a:pt x="183" y="374"/>
                    </a:lnTo>
                    <a:lnTo>
                      <a:pt x="184" y="374"/>
                    </a:lnTo>
                    <a:lnTo>
                      <a:pt x="184" y="372"/>
                    </a:lnTo>
                    <a:lnTo>
                      <a:pt x="184" y="374"/>
                    </a:lnTo>
                    <a:lnTo>
                      <a:pt x="186" y="374"/>
                    </a:lnTo>
                    <a:lnTo>
                      <a:pt x="186" y="372"/>
                    </a:lnTo>
                    <a:lnTo>
                      <a:pt x="187" y="372"/>
                    </a:lnTo>
                    <a:lnTo>
                      <a:pt x="187" y="371"/>
                    </a:lnTo>
                    <a:lnTo>
                      <a:pt x="189" y="371"/>
                    </a:lnTo>
                    <a:lnTo>
                      <a:pt x="189" y="369"/>
                    </a:lnTo>
                    <a:lnTo>
                      <a:pt x="191" y="369"/>
                    </a:lnTo>
                    <a:lnTo>
                      <a:pt x="191" y="368"/>
                    </a:lnTo>
                    <a:lnTo>
                      <a:pt x="191" y="366"/>
                    </a:lnTo>
                    <a:lnTo>
                      <a:pt x="191" y="364"/>
                    </a:lnTo>
                    <a:lnTo>
                      <a:pt x="189" y="364"/>
                    </a:lnTo>
                    <a:lnTo>
                      <a:pt x="189" y="363"/>
                    </a:lnTo>
                    <a:lnTo>
                      <a:pt x="191" y="363"/>
                    </a:lnTo>
                    <a:lnTo>
                      <a:pt x="189" y="363"/>
                    </a:lnTo>
                    <a:lnTo>
                      <a:pt x="191" y="363"/>
                    </a:lnTo>
                    <a:lnTo>
                      <a:pt x="191" y="361"/>
                    </a:lnTo>
                    <a:lnTo>
                      <a:pt x="191" y="360"/>
                    </a:lnTo>
                    <a:lnTo>
                      <a:pt x="191" y="358"/>
                    </a:lnTo>
                    <a:lnTo>
                      <a:pt x="189" y="358"/>
                    </a:lnTo>
                    <a:lnTo>
                      <a:pt x="189" y="360"/>
                    </a:lnTo>
                    <a:lnTo>
                      <a:pt x="187" y="358"/>
                    </a:lnTo>
                    <a:lnTo>
                      <a:pt x="187" y="357"/>
                    </a:lnTo>
                    <a:lnTo>
                      <a:pt x="187" y="355"/>
                    </a:lnTo>
                    <a:lnTo>
                      <a:pt x="189" y="355"/>
                    </a:lnTo>
                    <a:lnTo>
                      <a:pt x="189" y="353"/>
                    </a:lnTo>
                    <a:lnTo>
                      <a:pt x="191" y="353"/>
                    </a:lnTo>
                    <a:lnTo>
                      <a:pt x="192" y="352"/>
                    </a:lnTo>
                    <a:lnTo>
                      <a:pt x="192" y="350"/>
                    </a:lnTo>
                    <a:lnTo>
                      <a:pt x="194" y="350"/>
                    </a:lnTo>
                    <a:lnTo>
                      <a:pt x="194" y="349"/>
                    </a:lnTo>
                    <a:lnTo>
                      <a:pt x="195" y="349"/>
                    </a:lnTo>
                    <a:lnTo>
                      <a:pt x="195" y="347"/>
                    </a:lnTo>
                    <a:lnTo>
                      <a:pt x="197" y="347"/>
                    </a:lnTo>
                    <a:lnTo>
                      <a:pt x="198" y="345"/>
                    </a:lnTo>
                    <a:lnTo>
                      <a:pt x="200" y="344"/>
                    </a:lnTo>
                    <a:lnTo>
                      <a:pt x="202" y="344"/>
                    </a:lnTo>
                    <a:lnTo>
                      <a:pt x="202" y="342"/>
                    </a:lnTo>
                    <a:lnTo>
                      <a:pt x="202" y="341"/>
                    </a:lnTo>
                    <a:lnTo>
                      <a:pt x="203" y="341"/>
                    </a:lnTo>
                    <a:lnTo>
                      <a:pt x="205" y="339"/>
                    </a:lnTo>
                    <a:lnTo>
                      <a:pt x="205" y="341"/>
                    </a:lnTo>
                    <a:lnTo>
                      <a:pt x="206" y="341"/>
                    </a:lnTo>
                    <a:lnTo>
                      <a:pt x="208" y="341"/>
                    </a:lnTo>
                    <a:lnTo>
                      <a:pt x="208" y="342"/>
                    </a:lnTo>
                    <a:lnTo>
                      <a:pt x="208" y="344"/>
                    </a:lnTo>
                    <a:lnTo>
                      <a:pt x="210" y="344"/>
                    </a:lnTo>
                    <a:lnTo>
                      <a:pt x="210" y="342"/>
                    </a:lnTo>
                    <a:lnTo>
                      <a:pt x="211" y="342"/>
                    </a:lnTo>
                    <a:lnTo>
                      <a:pt x="211" y="341"/>
                    </a:lnTo>
                    <a:lnTo>
                      <a:pt x="213" y="339"/>
                    </a:lnTo>
                    <a:lnTo>
                      <a:pt x="213" y="338"/>
                    </a:lnTo>
                    <a:lnTo>
                      <a:pt x="214" y="338"/>
                    </a:lnTo>
                    <a:lnTo>
                      <a:pt x="214" y="336"/>
                    </a:lnTo>
                    <a:lnTo>
                      <a:pt x="216" y="336"/>
                    </a:lnTo>
                    <a:lnTo>
                      <a:pt x="216" y="334"/>
                    </a:lnTo>
                    <a:lnTo>
                      <a:pt x="217" y="334"/>
                    </a:lnTo>
                    <a:lnTo>
                      <a:pt x="219" y="334"/>
                    </a:lnTo>
                    <a:lnTo>
                      <a:pt x="221" y="333"/>
                    </a:lnTo>
                    <a:lnTo>
                      <a:pt x="222" y="333"/>
                    </a:lnTo>
                    <a:lnTo>
                      <a:pt x="224" y="333"/>
                    </a:lnTo>
                    <a:lnTo>
                      <a:pt x="225" y="333"/>
                    </a:lnTo>
                    <a:lnTo>
                      <a:pt x="225" y="331"/>
                    </a:lnTo>
                    <a:lnTo>
                      <a:pt x="227" y="331"/>
                    </a:lnTo>
                    <a:lnTo>
                      <a:pt x="229" y="331"/>
                    </a:lnTo>
                    <a:lnTo>
                      <a:pt x="229" y="330"/>
                    </a:lnTo>
                    <a:lnTo>
                      <a:pt x="230" y="330"/>
                    </a:lnTo>
                    <a:lnTo>
                      <a:pt x="232" y="330"/>
                    </a:lnTo>
                    <a:lnTo>
                      <a:pt x="232" y="328"/>
                    </a:lnTo>
                    <a:lnTo>
                      <a:pt x="233" y="328"/>
                    </a:lnTo>
                    <a:lnTo>
                      <a:pt x="235" y="328"/>
                    </a:lnTo>
                    <a:lnTo>
                      <a:pt x="235" y="326"/>
                    </a:lnTo>
                    <a:lnTo>
                      <a:pt x="236" y="326"/>
                    </a:lnTo>
                    <a:lnTo>
                      <a:pt x="236" y="325"/>
                    </a:lnTo>
                    <a:lnTo>
                      <a:pt x="238" y="325"/>
                    </a:lnTo>
                    <a:lnTo>
                      <a:pt x="240" y="323"/>
                    </a:lnTo>
                    <a:lnTo>
                      <a:pt x="241" y="323"/>
                    </a:lnTo>
                    <a:lnTo>
                      <a:pt x="243" y="323"/>
                    </a:lnTo>
                    <a:lnTo>
                      <a:pt x="244" y="323"/>
                    </a:lnTo>
                    <a:lnTo>
                      <a:pt x="244" y="322"/>
                    </a:lnTo>
                    <a:lnTo>
                      <a:pt x="246" y="322"/>
                    </a:lnTo>
                    <a:lnTo>
                      <a:pt x="248" y="320"/>
                    </a:lnTo>
                    <a:lnTo>
                      <a:pt x="249" y="320"/>
                    </a:lnTo>
                    <a:lnTo>
                      <a:pt x="249" y="319"/>
                    </a:lnTo>
                    <a:lnTo>
                      <a:pt x="249" y="317"/>
                    </a:lnTo>
                    <a:lnTo>
                      <a:pt x="251" y="317"/>
                    </a:lnTo>
                    <a:lnTo>
                      <a:pt x="251" y="315"/>
                    </a:lnTo>
                    <a:lnTo>
                      <a:pt x="252" y="315"/>
                    </a:lnTo>
                    <a:lnTo>
                      <a:pt x="254" y="315"/>
                    </a:lnTo>
                    <a:lnTo>
                      <a:pt x="254" y="314"/>
                    </a:lnTo>
                    <a:lnTo>
                      <a:pt x="255" y="314"/>
                    </a:lnTo>
                    <a:lnTo>
                      <a:pt x="255" y="312"/>
                    </a:lnTo>
                    <a:lnTo>
                      <a:pt x="257" y="312"/>
                    </a:lnTo>
                    <a:lnTo>
                      <a:pt x="257" y="311"/>
                    </a:lnTo>
                    <a:lnTo>
                      <a:pt x="259" y="311"/>
                    </a:lnTo>
                    <a:lnTo>
                      <a:pt x="259" y="309"/>
                    </a:lnTo>
                    <a:lnTo>
                      <a:pt x="260" y="309"/>
                    </a:lnTo>
                    <a:lnTo>
                      <a:pt x="260" y="307"/>
                    </a:lnTo>
                    <a:lnTo>
                      <a:pt x="260" y="306"/>
                    </a:lnTo>
                    <a:lnTo>
                      <a:pt x="262" y="306"/>
                    </a:lnTo>
                    <a:lnTo>
                      <a:pt x="260" y="304"/>
                    </a:lnTo>
                    <a:lnTo>
                      <a:pt x="262" y="303"/>
                    </a:lnTo>
                    <a:lnTo>
                      <a:pt x="262" y="301"/>
                    </a:lnTo>
                    <a:lnTo>
                      <a:pt x="262" y="300"/>
                    </a:lnTo>
                    <a:lnTo>
                      <a:pt x="260" y="300"/>
                    </a:lnTo>
                    <a:lnTo>
                      <a:pt x="260" y="298"/>
                    </a:lnTo>
                    <a:lnTo>
                      <a:pt x="259" y="298"/>
                    </a:lnTo>
                    <a:lnTo>
                      <a:pt x="257" y="296"/>
                    </a:lnTo>
                    <a:lnTo>
                      <a:pt x="255" y="296"/>
                    </a:lnTo>
                    <a:lnTo>
                      <a:pt x="254" y="296"/>
                    </a:lnTo>
                    <a:lnTo>
                      <a:pt x="252" y="296"/>
                    </a:lnTo>
                    <a:lnTo>
                      <a:pt x="252" y="295"/>
                    </a:lnTo>
                    <a:lnTo>
                      <a:pt x="252" y="293"/>
                    </a:lnTo>
                    <a:lnTo>
                      <a:pt x="251" y="293"/>
                    </a:lnTo>
                    <a:lnTo>
                      <a:pt x="251" y="292"/>
                    </a:lnTo>
                    <a:lnTo>
                      <a:pt x="249" y="292"/>
                    </a:lnTo>
                    <a:lnTo>
                      <a:pt x="249" y="290"/>
                    </a:lnTo>
                    <a:lnTo>
                      <a:pt x="249" y="288"/>
                    </a:lnTo>
                    <a:lnTo>
                      <a:pt x="248" y="288"/>
                    </a:lnTo>
                    <a:lnTo>
                      <a:pt x="249" y="288"/>
                    </a:lnTo>
                    <a:lnTo>
                      <a:pt x="248" y="288"/>
                    </a:lnTo>
                    <a:lnTo>
                      <a:pt x="249" y="288"/>
                    </a:lnTo>
                    <a:lnTo>
                      <a:pt x="249" y="287"/>
                    </a:lnTo>
                    <a:lnTo>
                      <a:pt x="251" y="285"/>
                    </a:lnTo>
                    <a:lnTo>
                      <a:pt x="252" y="285"/>
                    </a:lnTo>
                    <a:lnTo>
                      <a:pt x="252" y="284"/>
                    </a:lnTo>
                    <a:lnTo>
                      <a:pt x="254" y="284"/>
                    </a:lnTo>
                    <a:lnTo>
                      <a:pt x="254" y="282"/>
                    </a:lnTo>
                    <a:lnTo>
                      <a:pt x="255" y="282"/>
                    </a:lnTo>
                    <a:lnTo>
                      <a:pt x="255" y="281"/>
                    </a:lnTo>
                    <a:lnTo>
                      <a:pt x="257" y="281"/>
                    </a:lnTo>
                    <a:lnTo>
                      <a:pt x="257" y="279"/>
                    </a:lnTo>
                    <a:lnTo>
                      <a:pt x="259" y="277"/>
                    </a:lnTo>
                    <a:lnTo>
                      <a:pt x="259" y="276"/>
                    </a:lnTo>
                    <a:lnTo>
                      <a:pt x="260" y="276"/>
                    </a:lnTo>
                    <a:lnTo>
                      <a:pt x="262" y="276"/>
                    </a:lnTo>
                    <a:lnTo>
                      <a:pt x="263" y="276"/>
                    </a:lnTo>
                    <a:lnTo>
                      <a:pt x="265" y="274"/>
                    </a:lnTo>
                    <a:lnTo>
                      <a:pt x="267" y="274"/>
                    </a:lnTo>
                    <a:lnTo>
                      <a:pt x="270" y="273"/>
                    </a:lnTo>
                    <a:lnTo>
                      <a:pt x="271" y="273"/>
                    </a:lnTo>
                    <a:lnTo>
                      <a:pt x="273" y="273"/>
                    </a:lnTo>
                    <a:lnTo>
                      <a:pt x="273" y="271"/>
                    </a:lnTo>
                    <a:lnTo>
                      <a:pt x="275" y="271"/>
                    </a:lnTo>
                    <a:lnTo>
                      <a:pt x="276" y="271"/>
                    </a:lnTo>
                    <a:lnTo>
                      <a:pt x="276" y="269"/>
                    </a:lnTo>
                    <a:lnTo>
                      <a:pt x="278" y="268"/>
                    </a:lnTo>
                    <a:lnTo>
                      <a:pt x="278" y="266"/>
                    </a:lnTo>
                    <a:lnTo>
                      <a:pt x="279" y="266"/>
                    </a:lnTo>
                    <a:lnTo>
                      <a:pt x="279" y="265"/>
                    </a:lnTo>
                    <a:lnTo>
                      <a:pt x="279" y="263"/>
                    </a:lnTo>
                    <a:lnTo>
                      <a:pt x="279" y="262"/>
                    </a:lnTo>
                    <a:lnTo>
                      <a:pt x="279" y="260"/>
                    </a:lnTo>
                    <a:lnTo>
                      <a:pt x="281" y="260"/>
                    </a:lnTo>
                    <a:lnTo>
                      <a:pt x="282" y="258"/>
                    </a:lnTo>
                    <a:lnTo>
                      <a:pt x="284" y="258"/>
                    </a:lnTo>
                    <a:lnTo>
                      <a:pt x="284" y="260"/>
                    </a:lnTo>
                    <a:lnTo>
                      <a:pt x="284" y="262"/>
                    </a:lnTo>
                    <a:lnTo>
                      <a:pt x="284" y="263"/>
                    </a:lnTo>
                    <a:lnTo>
                      <a:pt x="284" y="265"/>
                    </a:lnTo>
                    <a:lnTo>
                      <a:pt x="286" y="265"/>
                    </a:lnTo>
                    <a:lnTo>
                      <a:pt x="286" y="266"/>
                    </a:lnTo>
                    <a:lnTo>
                      <a:pt x="287" y="266"/>
                    </a:lnTo>
                    <a:lnTo>
                      <a:pt x="289" y="266"/>
                    </a:lnTo>
                    <a:lnTo>
                      <a:pt x="290" y="266"/>
                    </a:lnTo>
                    <a:lnTo>
                      <a:pt x="290" y="265"/>
                    </a:lnTo>
                    <a:lnTo>
                      <a:pt x="292" y="265"/>
                    </a:lnTo>
                    <a:lnTo>
                      <a:pt x="294" y="265"/>
                    </a:lnTo>
                    <a:lnTo>
                      <a:pt x="295" y="265"/>
                    </a:lnTo>
                    <a:lnTo>
                      <a:pt x="295" y="263"/>
                    </a:lnTo>
                    <a:lnTo>
                      <a:pt x="297" y="263"/>
                    </a:lnTo>
                    <a:lnTo>
                      <a:pt x="298" y="263"/>
                    </a:lnTo>
                    <a:lnTo>
                      <a:pt x="300" y="263"/>
                    </a:lnTo>
                    <a:lnTo>
                      <a:pt x="301" y="263"/>
                    </a:lnTo>
                    <a:lnTo>
                      <a:pt x="303" y="262"/>
                    </a:lnTo>
                    <a:lnTo>
                      <a:pt x="303" y="260"/>
                    </a:lnTo>
                    <a:lnTo>
                      <a:pt x="305" y="260"/>
                    </a:lnTo>
                    <a:lnTo>
                      <a:pt x="306" y="260"/>
                    </a:lnTo>
                    <a:lnTo>
                      <a:pt x="308" y="258"/>
                    </a:lnTo>
                    <a:lnTo>
                      <a:pt x="309" y="258"/>
                    </a:lnTo>
                    <a:lnTo>
                      <a:pt x="311" y="258"/>
                    </a:lnTo>
                    <a:lnTo>
                      <a:pt x="311" y="257"/>
                    </a:lnTo>
                    <a:lnTo>
                      <a:pt x="313" y="257"/>
                    </a:lnTo>
                    <a:lnTo>
                      <a:pt x="313" y="255"/>
                    </a:lnTo>
                    <a:lnTo>
                      <a:pt x="314" y="255"/>
                    </a:lnTo>
                    <a:lnTo>
                      <a:pt x="316" y="255"/>
                    </a:lnTo>
                    <a:lnTo>
                      <a:pt x="316" y="254"/>
                    </a:lnTo>
                    <a:lnTo>
                      <a:pt x="314" y="254"/>
                    </a:lnTo>
                    <a:lnTo>
                      <a:pt x="313" y="254"/>
                    </a:lnTo>
                    <a:lnTo>
                      <a:pt x="313" y="252"/>
                    </a:lnTo>
                    <a:lnTo>
                      <a:pt x="311" y="252"/>
                    </a:lnTo>
                    <a:lnTo>
                      <a:pt x="309" y="252"/>
                    </a:lnTo>
                    <a:lnTo>
                      <a:pt x="309" y="250"/>
                    </a:lnTo>
                    <a:lnTo>
                      <a:pt x="309" y="249"/>
                    </a:lnTo>
                    <a:lnTo>
                      <a:pt x="308" y="249"/>
                    </a:lnTo>
                    <a:lnTo>
                      <a:pt x="308" y="247"/>
                    </a:lnTo>
                    <a:lnTo>
                      <a:pt x="308" y="246"/>
                    </a:lnTo>
                    <a:lnTo>
                      <a:pt x="306" y="246"/>
                    </a:lnTo>
                    <a:lnTo>
                      <a:pt x="306" y="244"/>
                    </a:lnTo>
                    <a:lnTo>
                      <a:pt x="308" y="243"/>
                    </a:lnTo>
                    <a:lnTo>
                      <a:pt x="309" y="241"/>
                    </a:lnTo>
                    <a:lnTo>
                      <a:pt x="311" y="241"/>
                    </a:lnTo>
                    <a:lnTo>
                      <a:pt x="313" y="239"/>
                    </a:lnTo>
                    <a:lnTo>
                      <a:pt x="314" y="239"/>
                    </a:lnTo>
                    <a:lnTo>
                      <a:pt x="316" y="239"/>
                    </a:lnTo>
                    <a:lnTo>
                      <a:pt x="317" y="239"/>
                    </a:lnTo>
                    <a:lnTo>
                      <a:pt x="316" y="238"/>
                    </a:lnTo>
                    <a:lnTo>
                      <a:pt x="316" y="236"/>
                    </a:lnTo>
                    <a:lnTo>
                      <a:pt x="314" y="235"/>
                    </a:lnTo>
                    <a:lnTo>
                      <a:pt x="314" y="233"/>
                    </a:lnTo>
                    <a:lnTo>
                      <a:pt x="316" y="231"/>
                    </a:lnTo>
                    <a:lnTo>
                      <a:pt x="316" y="230"/>
                    </a:lnTo>
                    <a:lnTo>
                      <a:pt x="316" y="228"/>
                    </a:lnTo>
                    <a:lnTo>
                      <a:pt x="316" y="227"/>
                    </a:lnTo>
                    <a:lnTo>
                      <a:pt x="317" y="225"/>
                    </a:lnTo>
                    <a:lnTo>
                      <a:pt x="316" y="222"/>
                    </a:lnTo>
                    <a:lnTo>
                      <a:pt x="314" y="220"/>
                    </a:lnTo>
                    <a:lnTo>
                      <a:pt x="313" y="219"/>
                    </a:lnTo>
                    <a:lnTo>
                      <a:pt x="311" y="219"/>
                    </a:lnTo>
                    <a:lnTo>
                      <a:pt x="309" y="220"/>
                    </a:lnTo>
                    <a:lnTo>
                      <a:pt x="308" y="220"/>
                    </a:lnTo>
                    <a:lnTo>
                      <a:pt x="308" y="219"/>
                    </a:lnTo>
                    <a:lnTo>
                      <a:pt x="309" y="217"/>
                    </a:lnTo>
                    <a:lnTo>
                      <a:pt x="311" y="217"/>
                    </a:lnTo>
                    <a:lnTo>
                      <a:pt x="311" y="216"/>
                    </a:lnTo>
                    <a:lnTo>
                      <a:pt x="313" y="214"/>
                    </a:lnTo>
                    <a:lnTo>
                      <a:pt x="311" y="212"/>
                    </a:lnTo>
                    <a:lnTo>
                      <a:pt x="313" y="212"/>
                    </a:lnTo>
                    <a:lnTo>
                      <a:pt x="313" y="211"/>
                    </a:lnTo>
                    <a:lnTo>
                      <a:pt x="313" y="209"/>
                    </a:lnTo>
                    <a:lnTo>
                      <a:pt x="313" y="208"/>
                    </a:lnTo>
                    <a:lnTo>
                      <a:pt x="313" y="206"/>
                    </a:lnTo>
                    <a:lnTo>
                      <a:pt x="313" y="204"/>
                    </a:lnTo>
                    <a:lnTo>
                      <a:pt x="314" y="203"/>
                    </a:lnTo>
                    <a:lnTo>
                      <a:pt x="314" y="201"/>
                    </a:lnTo>
                    <a:lnTo>
                      <a:pt x="313" y="201"/>
                    </a:lnTo>
                    <a:lnTo>
                      <a:pt x="313" y="200"/>
                    </a:lnTo>
                    <a:lnTo>
                      <a:pt x="311" y="198"/>
                    </a:lnTo>
                    <a:lnTo>
                      <a:pt x="309" y="198"/>
                    </a:lnTo>
                    <a:lnTo>
                      <a:pt x="308" y="198"/>
                    </a:lnTo>
                    <a:lnTo>
                      <a:pt x="306" y="198"/>
                    </a:lnTo>
                    <a:lnTo>
                      <a:pt x="306" y="197"/>
                    </a:lnTo>
                    <a:lnTo>
                      <a:pt x="305" y="195"/>
                    </a:lnTo>
                    <a:lnTo>
                      <a:pt x="303" y="195"/>
                    </a:lnTo>
                    <a:lnTo>
                      <a:pt x="303" y="193"/>
                    </a:lnTo>
                    <a:lnTo>
                      <a:pt x="303" y="192"/>
                    </a:lnTo>
                    <a:lnTo>
                      <a:pt x="301" y="192"/>
                    </a:lnTo>
                    <a:lnTo>
                      <a:pt x="301" y="190"/>
                    </a:lnTo>
                    <a:lnTo>
                      <a:pt x="300" y="189"/>
                    </a:lnTo>
                    <a:lnTo>
                      <a:pt x="303" y="189"/>
                    </a:lnTo>
                    <a:lnTo>
                      <a:pt x="303" y="187"/>
                    </a:lnTo>
                    <a:lnTo>
                      <a:pt x="305" y="187"/>
                    </a:lnTo>
                    <a:lnTo>
                      <a:pt x="306" y="187"/>
                    </a:lnTo>
                    <a:lnTo>
                      <a:pt x="306" y="185"/>
                    </a:lnTo>
                    <a:lnTo>
                      <a:pt x="308" y="184"/>
                    </a:lnTo>
                    <a:lnTo>
                      <a:pt x="308" y="182"/>
                    </a:lnTo>
                    <a:lnTo>
                      <a:pt x="308" y="181"/>
                    </a:lnTo>
                    <a:lnTo>
                      <a:pt x="309" y="179"/>
                    </a:lnTo>
                    <a:lnTo>
                      <a:pt x="309" y="178"/>
                    </a:lnTo>
                    <a:lnTo>
                      <a:pt x="311" y="178"/>
                    </a:lnTo>
                    <a:lnTo>
                      <a:pt x="311" y="176"/>
                    </a:lnTo>
                    <a:lnTo>
                      <a:pt x="311" y="174"/>
                    </a:lnTo>
                    <a:lnTo>
                      <a:pt x="313" y="174"/>
                    </a:lnTo>
                    <a:lnTo>
                      <a:pt x="313" y="173"/>
                    </a:lnTo>
                    <a:lnTo>
                      <a:pt x="314" y="173"/>
                    </a:lnTo>
                    <a:lnTo>
                      <a:pt x="314" y="171"/>
                    </a:lnTo>
                    <a:lnTo>
                      <a:pt x="314" y="170"/>
                    </a:lnTo>
                    <a:lnTo>
                      <a:pt x="316" y="168"/>
                    </a:lnTo>
                    <a:lnTo>
                      <a:pt x="317" y="166"/>
                    </a:lnTo>
                    <a:lnTo>
                      <a:pt x="317" y="165"/>
                    </a:lnTo>
                    <a:lnTo>
                      <a:pt x="319" y="165"/>
                    </a:lnTo>
                    <a:lnTo>
                      <a:pt x="317" y="165"/>
                    </a:lnTo>
                    <a:lnTo>
                      <a:pt x="316" y="165"/>
                    </a:lnTo>
                    <a:lnTo>
                      <a:pt x="316" y="163"/>
                    </a:lnTo>
                    <a:lnTo>
                      <a:pt x="314" y="163"/>
                    </a:lnTo>
                    <a:lnTo>
                      <a:pt x="314" y="165"/>
                    </a:lnTo>
                    <a:lnTo>
                      <a:pt x="313" y="163"/>
                    </a:lnTo>
                    <a:lnTo>
                      <a:pt x="313" y="165"/>
                    </a:lnTo>
                    <a:lnTo>
                      <a:pt x="311" y="165"/>
                    </a:lnTo>
                    <a:lnTo>
                      <a:pt x="309" y="165"/>
                    </a:lnTo>
                    <a:lnTo>
                      <a:pt x="308" y="165"/>
                    </a:lnTo>
                    <a:lnTo>
                      <a:pt x="306" y="165"/>
                    </a:lnTo>
                    <a:lnTo>
                      <a:pt x="305" y="166"/>
                    </a:lnTo>
                    <a:lnTo>
                      <a:pt x="305" y="168"/>
                    </a:lnTo>
                    <a:lnTo>
                      <a:pt x="303" y="168"/>
                    </a:lnTo>
                    <a:lnTo>
                      <a:pt x="301" y="168"/>
                    </a:lnTo>
                    <a:lnTo>
                      <a:pt x="298" y="168"/>
                    </a:lnTo>
                    <a:lnTo>
                      <a:pt x="297" y="168"/>
                    </a:lnTo>
                    <a:lnTo>
                      <a:pt x="295" y="170"/>
                    </a:lnTo>
                    <a:lnTo>
                      <a:pt x="294" y="170"/>
                    </a:lnTo>
                    <a:lnTo>
                      <a:pt x="292" y="170"/>
                    </a:lnTo>
                    <a:lnTo>
                      <a:pt x="290" y="170"/>
                    </a:lnTo>
                    <a:lnTo>
                      <a:pt x="287" y="170"/>
                    </a:lnTo>
                    <a:lnTo>
                      <a:pt x="286" y="170"/>
                    </a:lnTo>
                    <a:lnTo>
                      <a:pt x="286" y="171"/>
                    </a:lnTo>
                    <a:lnTo>
                      <a:pt x="284" y="171"/>
                    </a:lnTo>
                    <a:lnTo>
                      <a:pt x="284" y="170"/>
                    </a:lnTo>
                    <a:lnTo>
                      <a:pt x="282" y="170"/>
                    </a:lnTo>
                    <a:lnTo>
                      <a:pt x="282" y="168"/>
                    </a:lnTo>
                    <a:lnTo>
                      <a:pt x="281" y="168"/>
                    </a:lnTo>
                    <a:lnTo>
                      <a:pt x="279" y="168"/>
                    </a:lnTo>
                    <a:lnTo>
                      <a:pt x="278" y="168"/>
                    </a:lnTo>
                    <a:lnTo>
                      <a:pt x="278" y="166"/>
                    </a:lnTo>
                    <a:lnTo>
                      <a:pt x="276" y="166"/>
                    </a:lnTo>
                    <a:lnTo>
                      <a:pt x="275" y="166"/>
                    </a:lnTo>
                    <a:lnTo>
                      <a:pt x="275" y="165"/>
                    </a:lnTo>
                    <a:lnTo>
                      <a:pt x="273" y="163"/>
                    </a:lnTo>
                    <a:lnTo>
                      <a:pt x="273" y="162"/>
                    </a:lnTo>
                    <a:lnTo>
                      <a:pt x="271" y="162"/>
                    </a:lnTo>
                    <a:lnTo>
                      <a:pt x="270" y="162"/>
                    </a:lnTo>
                    <a:lnTo>
                      <a:pt x="270" y="163"/>
                    </a:lnTo>
                    <a:lnTo>
                      <a:pt x="268" y="163"/>
                    </a:lnTo>
                    <a:lnTo>
                      <a:pt x="265" y="165"/>
                    </a:lnTo>
                    <a:lnTo>
                      <a:pt x="265" y="166"/>
                    </a:lnTo>
                    <a:lnTo>
                      <a:pt x="263" y="166"/>
                    </a:lnTo>
                    <a:lnTo>
                      <a:pt x="263" y="168"/>
                    </a:lnTo>
                    <a:lnTo>
                      <a:pt x="262" y="168"/>
                    </a:lnTo>
                    <a:lnTo>
                      <a:pt x="260" y="170"/>
                    </a:lnTo>
                    <a:lnTo>
                      <a:pt x="259" y="170"/>
                    </a:lnTo>
                    <a:lnTo>
                      <a:pt x="259" y="168"/>
                    </a:lnTo>
                    <a:lnTo>
                      <a:pt x="257" y="168"/>
                    </a:lnTo>
                    <a:lnTo>
                      <a:pt x="257" y="166"/>
                    </a:lnTo>
                    <a:lnTo>
                      <a:pt x="255" y="165"/>
                    </a:lnTo>
                    <a:lnTo>
                      <a:pt x="254" y="163"/>
                    </a:lnTo>
                    <a:lnTo>
                      <a:pt x="252" y="162"/>
                    </a:lnTo>
                    <a:lnTo>
                      <a:pt x="252" y="160"/>
                    </a:lnTo>
                    <a:lnTo>
                      <a:pt x="252" y="159"/>
                    </a:lnTo>
                    <a:lnTo>
                      <a:pt x="252" y="157"/>
                    </a:lnTo>
                    <a:lnTo>
                      <a:pt x="251" y="155"/>
                    </a:lnTo>
                    <a:lnTo>
                      <a:pt x="249" y="154"/>
                    </a:lnTo>
                    <a:lnTo>
                      <a:pt x="248" y="152"/>
                    </a:lnTo>
                    <a:lnTo>
                      <a:pt x="248" y="151"/>
                    </a:lnTo>
                    <a:lnTo>
                      <a:pt x="246" y="151"/>
                    </a:lnTo>
                    <a:lnTo>
                      <a:pt x="244" y="149"/>
                    </a:lnTo>
                    <a:lnTo>
                      <a:pt x="244" y="147"/>
                    </a:lnTo>
                    <a:lnTo>
                      <a:pt x="243" y="147"/>
                    </a:lnTo>
                    <a:lnTo>
                      <a:pt x="241" y="147"/>
                    </a:lnTo>
                    <a:lnTo>
                      <a:pt x="240" y="147"/>
                    </a:lnTo>
                    <a:lnTo>
                      <a:pt x="240" y="146"/>
                    </a:lnTo>
                    <a:lnTo>
                      <a:pt x="238" y="146"/>
                    </a:lnTo>
                    <a:lnTo>
                      <a:pt x="236" y="146"/>
                    </a:lnTo>
                    <a:lnTo>
                      <a:pt x="236" y="144"/>
                    </a:lnTo>
                    <a:lnTo>
                      <a:pt x="235" y="143"/>
                    </a:lnTo>
                    <a:lnTo>
                      <a:pt x="233" y="143"/>
                    </a:lnTo>
                    <a:lnTo>
                      <a:pt x="233" y="141"/>
                    </a:lnTo>
                    <a:lnTo>
                      <a:pt x="232" y="141"/>
                    </a:lnTo>
                    <a:lnTo>
                      <a:pt x="230" y="141"/>
                    </a:lnTo>
                    <a:lnTo>
                      <a:pt x="230" y="140"/>
                    </a:lnTo>
                    <a:lnTo>
                      <a:pt x="232" y="140"/>
                    </a:lnTo>
                    <a:lnTo>
                      <a:pt x="230" y="138"/>
                    </a:lnTo>
                    <a:lnTo>
                      <a:pt x="230" y="136"/>
                    </a:lnTo>
                    <a:lnTo>
                      <a:pt x="229" y="136"/>
                    </a:lnTo>
                    <a:lnTo>
                      <a:pt x="227" y="136"/>
                    </a:lnTo>
                    <a:lnTo>
                      <a:pt x="225" y="138"/>
                    </a:lnTo>
                    <a:lnTo>
                      <a:pt x="225" y="140"/>
                    </a:lnTo>
                    <a:lnTo>
                      <a:pt x="222" y="141"/>
                    </a:lnTo>
                    <a:lnTo>
                      <a:pt x="222" y="143"/>
                    </a:lnTo>
                    <a:lnTo>
                      <a:pt x="221" y="144"/>
                    </a:lnTo>
                    <a:lnTo>
                      <a:pt x="219" y="146"/>
                    </a:lnTo>
                    <a:lnTo>
                      <a:pt x="219" y="147"/>
                    </a:lnTo>
                    <a:lnTo>
                      <a:pt x="217" y="149"/>
                    </a:lnTo>
                    <a:lnTo>
                      <a:pt x="216" y="149"/>
                    </a:lnTo>
                    <a:lnTo>
                      <a:pt x="214" y="149"/>
                    </a:lnTo>
                    <a:lnTo>
                      <a:pt x="214" y="151"/>
                    </a:lnTo>
                    <a:lnTo>
                      <a:pt x="213" y="151"/>
                    </a:lnTo>
                    <a:lnTo>
                      <a:pt x="213" y="152"/>
                    </a:lnTo>
                    <a:lnTo>
                      <a:pt x="211" y="152"/>
                    </a:lnTo>
                    <a:lnTo>
                      <a:pt x="210" y="154"/>
                    </a:lnTo>
                    <a:lnTo>
                      <a:pt x="208" y="154"/>
                    </a:lnTo>
                    <a:lnTo>
                      <a:pt x="208" y="155"/>
                    </a:lnTo>
                    <a:lnTo>
                      <a:pt x="206" y="155"/>
                    </a:lnTo>
                    <a:lnTo>
                      <a:pt x="206" y="157"/>
                    </a:lnTo>
                    <a:lnTo>
                      <a:pt x="205" y="157"/>
                    </a:lnTo>
                    <a:lnTo>
                      <a:pt x="205" y="155"/>
                    </a:lnTo>
                    <a:lnTo>
                      <a:pt x="203" y="155"/>
                    </a:lnTo>
                    <a:lnTo>
                      <a:pt x="202" y="155"/>
                    </a:lnTo>
                    <a:lnTo>
                      <a:pt x="200" y="155"/>
                    </a:lnTo>
                    <a:lnTo>
                      <a:pt x="200" y="154"/>
                    </a:lnTo>
                    <a:lnTo>
                      <a:pt x="198" y="154"/>
                    </a:lnTo>
                    <a:lnTo>
                      <a:pt x="198" y="152"/>
                    </a:lnTo>
                    <a:lnTo>
                      <a:pt x="198" y="151"/>
                    </a:lnTo>
                    <a:lnTo>
                      <a:pt x="197" y="151"/>
                    </a:lnTo>
                    <a:lnTo>
                      <a:pt x="197" y="149"/>
                    </a:lnTo>
                    <a:lnTo>
                      <a:pt x="195" y="149"/>
                    </a:lnTo>
                    <a:lnTo>
                      <a:pt x="195" y="147"/>
                    </a:lnTo>
                    <a:lnTo>
                      <a:pt x="194" y="147"/>
                    </a:lnTo>
                    <a:lnTo>
                      <a:pt x="195" y="147"/>
                    </a:lnTo>
                    <a:lnTo>
                      <a:pt x="194" y="147"/>
                    </a:lnTo>
                    <a:lnTo>
                      <a:pt x="194" y="146"/>
                    </a:lnTo>
                    <a:lnTo>
                      <a:pt x="192" y="146"/>
                    </a:lnTo>
                    <a:lnTo>
                      <a:pt x="192" y="147"/>
                    </a:lnTo>
                    <a:lnTo>
                      <a:pt x="191" y="146"/>
                    </a:lnTo>
                    <a:lnTo>
                      <a:pt x="192" y="146"/>
                    </a:lnTo>
                    <a:lnTo>
                      <a:pt x="194" y="146"/>
                    </a:lnTo>
                    <a:lnTo>
                      <a:pt x="192" y="144"/>
                    </a:lnTo>
                    <a:lnTo>
                      <a:pt x="192" y="143"/>
                    </a:lnTo>
                    <a:lnTo>
                      <a:pt x="191" y="143"/>
                    </a:lnTo>
                    <a:lnTo>
                      <a:pt x="189" y="143"/>
                    </a:lnTo>
                    <a:lnTo>
                      <a:pt x="189" y="144"/>
                    </a:lnTo>
                    <a:lnTo>
                      <a:pt x="189" y="143"/>
                    </a:lnTo>
                    <a:lnTo>
                      <a:pt x="187" y="143"/>
                    </a:lnTo>
                    <a:lnTo>
                      <a:pt x="187" y="141"/>
                    </a:lnTo>
                    <a:lnTo>
                      <a:pt x="187" y="143"/>
                    </a:lnTo>
                    <a:lnTo>
                      <a:pt x="186" y="143"/>
                    </a:lnTo>
                    <a:lnTo>
                      <a:pt x="186" y="141"/>
                    </a:lnTo>
                    <a:lnTo>
                      <a:pt x="184" y="140"/>
                    </a:lnTo>
                    <a:lnTo>
                      <a:pt x="184" y="141"/>
                    </a:lnTo>
                    <a:lnTo>
                      <a:pt x="184" y="140"/>
                    </a:lnTo>
                    <a:lnTo>
                      <a:pt x="184" y="138"/>
                    </a:lnTo>
                    <a:lnTo>
                      <a:pt x="184" y="136"/>
                    </a:lnTo>
                    <a:lnTo>
                      <a:pt x="184" y="135"/>
                    </a:lnTo>
                    <a:lnTo>
                      <a:pt x="184" y="133"/>
                    </a:lnTo>
                    <a:lnTo>
                      <a:pt x="183" y="133"/>
                    </a:lnTo>
                    <a:lnTo>
                      <a:pt x="184" y="132"/>
                    </a:lnTo>
                    <a:lnTo>
                      <a:pt x="183" y="132"/>
                    </a:lnTo>
                    <a:lnTo>
                      <a:pt x="183" y="130"/>
                    </a:lnTo>
                    <a:lnTo>
                      <a:pt x="181" y="130"/>
                    </a:lnTo>
                    <a:lnTo>
                      <a:pt x="181" y="128"/>
                    </a:lnTo>
                    <a:lnTo>
                      <a:pt x="179" y="130"/>
                    </a:lnTo>
                    <a:lnTo>
                      <a:pt x="178" y="130"/>
                    </a:lnTo>
                    <a:lnTo>
                      <a:pt x="178" y="132"/>
                    </a:lnTo>
                    <a:lnTo>
                      <a:pt x="178" y="130"/>
                    </a:lnTo>
                    <a:lnTo>
                      <a:pt x="178" y="128"/>
                    </a:lnTo>
                    <a:lnTo>
                      <a:pt x="176" y="128"/>
                    </a:lnTo>
                    <a:lnTo>
                      <a:pt x="176" y="127"/>
                    </a:lnTo>
                    <a:lnTo>
                      <a:pt x="178" y="127"/>
                    </a:lnTo>
                    <a:lnTo>
                      <a:pt x="176" y="127"/>
                    </a:lnTo>
                    <a:lnTo>
                      <a:pt x="178" y="127"/>
                    </a:lnTo>
                    <a:lnTo>
                      <a:pt x="178" y="125"/>
                    </a:lnTo>
                    <a:lnTo>
                      <a:pt x="176" y="125"/>
                    </a:lnTo>
                    <a:lnTo>
                      <a:pt x="176" y="127"/>
                    </a:lnTo>
                    <a:lnTo>
                      <a:pt x="175" y="127"/>
                    </a:lnTo>
                    <a:lnTo>
                      <a:pt x="175" y="125"/>
                    </a:lnTo>
                    <a:lnTo>
                      <a:pt x="175" y="127"/>
                    </a:lnTo>
                    <a:lnTo>
                      <a:pt x="175" y="125"/>
                    </a:lnTo>
                    <a:lnTo>
                      <a:pt x="176" y="125"/>
                    </a:lnTo>
                    <a:lnTo>
                      <a:pt x="176" y="124"/>
                    </a:lnTo>
                    <a:lnTo>
                      <a:pt x="178" y="124"/>
                    </a:lnTo>
                    <a:lnTo>
                      <a:pt x="178" y="122"/>
                    </a:lnTo>
                    <a:lnTo>
                      <a:pt x="176" y="122"/>
                    </a:lnTo>
                    <a:lnTo>
                      <a:pt x="178" y="121"/>
                    </a:lnTo>
                    <a:lnTo>
                      <a:pt x="176" y="121"/>
                    </a:lnTo>
                    <a:lnTo>
                      <a:pt x="178" y="121"/>
                    </a:lnTo>
                    <a:lnTo>
                      <a:pt x="179" y="121"/>
                    </a:lnTo>
                    <a:lnTo>
                      <a:pt x="178" y="119"/>
                    </a:lnTo>
                    <a:lnTo>
                      <a:pt x="179" y="121"/>
                    </a:lnTo>
                    <a:lnTo>
                      <a:pt x="179" y="119"/>
                    </a:lnTo>
                    <a:lnTo>
                      <a:pt x="179" y="117"/>
                    </a:lnTo>
                    <a:lnTo>
                      <a:pt x="181" y="117"/>
                    </a:lnTo>
                    <a:lnTo>
                      <a:pt x="181" y="116"/>
                    </a:lnTo>
                    <a:lnTo>
                      <a:pt x="179" y="116"/>
                    </a:lnTo>
                    <a:lnTo>
                      <a:pt x="181" y="116"/>
                    </a:lnTo>
                    <a:lnTo>
                      <a:pt x="181" y="114"/>
                    </a:lnTo>
                    <a:lnTo>
                      <a:pt x="181" y="113"/>
                    </a:lnTo>
                    <a:lnTo>
                      <a:pt x="179" y="113"/>
                    </a:lnTo>
                    <a:lnTo>
                      <a:pt x="181" y="113"/>
                    </a:lnTo>
                    <a:lnTo>
                      <a:pt x="181" y="111"/>
                    </a:lnTo>
                    <a:lnTo>
                      <a:pt x="181" y="109"/>
                    </a:lnTo>
                    <a:lnTo>
                      <a:pt x="183" y="111"/>
                    </a:lnTo>
                    <a:lnTo>
                      <a:pt x="183" y="109"/>
                    </a:lnTo>
                    <a:lnTo>
                      <a:pt x="184" y="109"/>
                    </a:lnTo>
                    <a:lnTo>
                      <a:pt x="183" y="108"/>
                    </a:lnTo>
                    <a:lnTo>
                      <a:pt x="184" y="108"/>
                    </a:lnTo>
                    <a:lnTo>
                      <a:pt x="183" y="108"/>
                    </a:lnTo>
                    <a:lnTo>
                      <a:pt x="183" y="106"/>
                    </a:lnTo>
                    <a:lnTo>
                      <a:pt x="184" y="106"/>
                    </a:lnTo>
                    <a:lnTo>
                      <a:pt x="184" y="108"/>
                    </a:lnTo>
                    <a:lnTo>
                      <a:pt x="184" y="106"/>
                    </a:lnTo>
                    <a:lnTo>
                      <a:pt x="186" y="106"/>
                    </a:lnTo>
                    <a:lnTo>
                      <a:pt x="186" y="105"/>
                    </a:lnTo>
                    <a:lnTo>
                      <a:pt x="186" y="103"/>
                    </a:lnTo>
                    <a:lnTo>
                      <a:pt x="186" y="102"/>
                    </a:lnTo>
                    <a:lnTo>
                      <a:pt x="187" y="102"/>
                    </a:lnTo>
                    <a:lnTo>
                      <a:pt x="187" y="100"/>
                    </a:lnTo>
                    <a:lnTo>
                      <a:pt x="186" y="100"/>
                    </a:lnTo>
                    <a:lnTo>
                      <a:pt x="187" y="98"/>
                    </a:lnTo>
                    <a:lnTo>
                      <a:pt x="187" y="97"/>
                    </a:lnTo>
                    <a:lnTo>
                      <a:pt x="187" y="95"/>
                    </a:lnTo>
                    <a:lnTo>
                      <a:pt x="186" y="95"/>
                    </a:lnTo>
                    <a:lnTo>
                      <a:pt x="186" y="94"/>
                    </a:lnTo>
                    <a:lnTo>
                      <a:pt x="184" y="94"/>
                    </a:lnTo>
                    <a:lnTo>
                      <a:pt x="184" y="92"/>
                    </a:lnTo>
                    <a:lnTo>
                      <a:pt x="186" y="92"/>
                    </a:lnTo>
                    <a:lnTo>
                      <a:pt x="186" y="90"/>
                    </a:lnTo>
                    <a:lnTo>
                      <a:pt x="186" y="89"/>
                    </a:lnTo>
                    <a:lnTo>
                      <a:pt x="187" y="89"/>
                    </a:lnTo>
                    <a:lnTo>
                      <a:pt x="189" y="89"/>
                    </a:lnTo>
                    <a:lnTo>
                      <a:pt x="189" y="87"/>
                    </a:lnTo>
                    <a:lnTo>
                      <a:pt x="191" y="87"/>
                    </a:lnTo>
                    <a:lnTo>
                      <a:pt x="192" y="87"/>
                    </a:lnTo>
                    <a:lnTo>
                      <a:pt x="192" y="86"/>
                    </a:lnTo>
                    <a:lnTo>
                      <a:pt x="194" y="86"/>
                    </a:lnTo>
                    <a:lnTo>
                      <a:pt x="194" y="84"/>
                    </a:lnTo>
                    <a:lnTo>
                      <a:pt x="192" y="84"/>
                    </a:lnTo>
                    <a:lnTo>
                      <a:pt x="192" y="83"/>
                    </a:lnTo>
                    <a:lnTo>
                      <a:pt x="194" y="83"/>
                    </a:lnTo>
                    <a:lnTo>
                      <a:pt x="194" y="81"/>
                    </a:lnTo>
                    <a:lnTo>
                      <a:pt x="195" y="81"/>
                    </a:lnTo>
                    <a:lnTo>
                      <a:pt x="195" y="79"/>
                    </a:lnTo>
                    <a:lnTo>
                      <a:pt x="197" y="79"/>
                    </a:lnTo>
                    <a:lnTo>
                      <a:pt x="198" y="81"/>
                    </a:lnTo>
                    <a:lnTo>
                      <a:pt x="200" y="81"/>
                    </a:lnTo>
                    <a:lnTo>
                      <a:pt x="202" y="79"/>
                    </a:lnTo>
                    <a:lnTo>
                      <a:pt x="203" y="79"/>
                    </a:lnTo>
                    <a:lnTo>
                      <a:pt x="203" y="78"/>
                    </a:lnTo>
                    <a:lnTo>
                      <a:pt x="203" y="76"/>
                    </a:lnTo>
                    <a:lnTo>
                      <a:pt x="205" y="76"/>
                    </a:lnTo>
                    <a:lnTo>
                      <a:pt x="206" y="76"/>
                    </a:lnTo>
                    <a:lnTo>
                      <a:pt x="206" y="75"/>
                    </a:lnTo>
                    <a:lnTo>
                      <a:pt x="206" y="73"/>
                    </a:lnTo>
                    <a:lnTo>
                      <a:pt x="206" y="75"/>
                    </a:lnTo>
                    <a:lnTo>
                      <a:pt x="208" y="75"/>
                    </a:lnTo>
                    <a:lnTo>
                      <a:pt x="208" y="73"/>
                    </a:lnTo>
                    <a:lnTo>
                      <a:pt x="208" y="71"/>
                    </a:lnTo>
                    <a:lnTo>
                      <a:pt x="208" y="73"/>
                    </a:lnTo>
                    <a:lnTo>
                      <a:pt x="210" y="71"/>
                    </a:lnTo>
                    <a:lnTo>
                      <a:pt x="211" y="71"/>
                    </a:lnTo>
                    <a:lnTo>
                      <a:pt x="211" y="70"/>
                    </a:lnTo>
                    <a:lnTo>
                      <a:pt x="211" y="68"/>
                    </a:lnTo>
                    <a:lnTo>
                      <a:pt x="213" y="68"/>
                    </a:lnTo>
                    <a:lnTo>
                      <a:pt x="213" y="67"/>
                    </a:lnTo>
                    <a:lnTo>
                      <a:pt x="213" y="65"/>
                    </a:lnTo>
                    <a:lnTo>
                      <a:pt x="214" y="65"/>
                    </a:lnTo>
                    <a:lnTo>
                      <a:pt x="214" y="64"/>
                    </a:lnTo>
                    <a:lnTo>
                      <a:pt x="214" y="62"/>
                    </a:lnTo>
                    <a:lnTo>
                      <a:pt x="213" y="62"/>
                    </a:lnTo>
                    <a:lnTo>
                      <a:pt x="214" y="60"/>
                    </a:lnTo>
                    <a:lnTo>
                      <a:pt x="213" y="59"/>
                    </a:lnTo>
                    <a:lnTo>
                      <a:pt x="214" y="59"/>
                    </a:lnTo>
                    <a:lnTo>
                      <a:pt x="213" y="59"/>
                    </a:lnTo>
                    <a:lnTo>
                      <a:pt x="213" y="60"/>
                    </a:lnTo>
                    <a:lnTo>
                      <a:pt x="211" y="59"/>
                    </a:lnTo>
                    <a:lnTo>
                      <a:pt x="211" y="60"/>
                    </a:lnTo>
                    <a:lnTo>
                      <a:pt x="210" y="60"/>
                    </a:lnTo>
                    <a:lnTo>
                      <a:pt x="208" y="60"/>
                    </a:lnTo>
                    <a:lnTo>
                      <a:pt x="206" y="62"/>
                    </a:lnTo>
                    <a:lnTo>
                      <a:pt x="206" y="64"/>
                    </a:lnTo>
                    <a:lnTo>
                      <a:pt x="205" y="64"/>
                    </a:lnTo>
                    <a:lnTo>
                      <a:pt x="203" y="64"/>
                    </a:lnTo>
                    <a:lnTo>
                      <a:pt x="203" y="65"/>
                    </a:lnTo>
                    <a:lnTo>
                      <a:pt x="202" y="65"/>
                    </a:lnTo>
                    <a:lnTo>
                      <a:pt x="200" y="65"/>
                    </a:lnTo>
                    <a:lnTo>
                      <a:pt x="200" y="67"/>
                    </a:lnTo>
                    <a:lnTo>
                      <a:pt x="197" y="67"/>
                    </a:lnTo>
                    <a:lnTo>
                      <a:pt x="195" y="68"/>
                    </a:lnTo>
                    <a:lnTo>
                      <a:pt x="195" y="70"/>
                    </a:lnTo>
                    <a:lnTo>
                      <a:pt x="194" y="70"/>
                    </a:lnTo>
                    <a:lnTo>
                      <a:pt x="192" y="71"/>
                    </a:lnTo>
                    <a:lnTo>
                      <a:pt x="191" y="71"/>
                    </a:lnTo>
                    <a:lnTo>
                      <a:pt x="189" y="70"/>
                    </a:lnTo>
                    <a:lnTo>
                      <a:pt x="187" y="68"/>
                    </a:lnTo>
                    <a:lnTo>
                      <a:pt x="187" y="67"/>
                    </a:lnTo>
                    <a:lnTo>
                      <a:pt x="186" y="67"/>
                    </a:lnTo>
                    <a:lnTo>
                      <a:pt x="184" y="67"/>
                    </a:lnTo>
                    <a:lnTo>
                      <a:pt x="183" y="67"/>
                    </a:lnTo>
                    <a:lnTo>
                      <a:pt x="183" y="68"/>
                    </a:lnTo>
                    <a:lnTo>
                      <a:pt x="183" y="67"/>
                    </a:lnTo>
                    <a:lnTo>
                      <a:pt x="181" y="67"/>
                    </a:lnTo>
                    <a:lnTo>
                      <a:pt x="181" y="65"/>
                    </a:lnTo>
                    <a:lnTo>
                      <a:pt x="179" y="65"/>
                    </a:lnTo>
                    <a:lnTo>
                      <a:pt x="179" y="64"/>
                    </a:lnTo>
                    <a:lnTo>
                      <a:pt x="178" y="62"/>
                    </a:lnTo>
                    <a:lnTo>
                      <a:pt x="179" y="62"/>
                    </a:lnTo>
                    <a:lnTo>
                      <a:pt x="179" y="60"/>
                    </a:lnTo>
                    <a:lnTo>
                      <a:pt x="179" y="59"/>
                    </a:lnTo>
                    <a:lnTo>
                      <a:pt x="181" y="59"/>
                    </a:lnTo>
                    <a:lnTo>
                      <a:pt x="181" y="57"/>
                    </a:lnTo>
                    <a:lnTo>
                      <a:pt x="183" y="56"/>
                    </a:lnTo>
                    <a:lnTo>
                      <a:pt x="184" y="54"/>
                    </a:lnTo>
                    <a:lnTo>
                      <a:pt x="184" y="52"/>
                    </a:lnTo>
                    <a:lnTo>
                      <a:pt x="186" y="51"/>
                    </a:lnTo>
                    <a:lnTo>
                      <a:pt x="186" y="49"/>
                    </a:lnTo>
                    <a:lnTo>
                      <a:pt x="186" y="48"/>
                    </a:lnTo>
                    <a:lnTo>
                      <a:pt x="187" y="46"/>
                    </a:lnTo>
                    <a:lnTo>
                      <a:pt x="187" y="45"/>
                    </a:lnTo>
                    <a:lnTo>
                      <a:pt x="189" y="45"/>
                    </a:lnTo>
                    <a:lnTo>
                      <a:pt x="189" y="43"/>
                    </a:lnTo>
                    <a:lnTo>
                      <a:pt x="191" y="43"/>
                    </a:lnTo>
                    <a:lnTo>
                      <a:pt x="191" y="41"/>
                    </a:lnTo>
                    <a:lnTo>
                      <a:pt x="191" y="40"/>
                    </a:lnTo>
                    <a:lnTo>
                      <a:pt x="192" y="40"/>
                    </a:lnTo>
                    <a:lnTo>
                      <a:pt x="192" y="38"/>
                    </a:lnTo>
                    <a:lnTo>
                      <a:pt x="194" y="38"/>
                    </a:lnTo>
                    <a:lnTo>
                      <a:pt x="194" y="37"/>
                    </a:lnTo>
                    <a:lnTo>
                      <a:pt x="194" y="35"/>
                    </a:lnTo>
                    <a:lnTo>
                      <a:pt x="195" y="33"/>
                    </a:lnTo>
                    <a:lnTo>
                      <a:pt x="197" y="33"/>
                    </a:lnTo>
                    <a:lnTo>
                      <a:pt x="197" y="32"/>
                    </a:lnTo>
                    <a:lnTo>
                      <a:pt x="197" y="30"/>
                    </a:lnTo>
                    <a:lnTo>
                      <a:pt x="198" y="29"/>
                    </a:lnTo>
                    <a:lnTo>
                      <a:pt x="200" y="29"/>
                    </a:lnTo>
                    <a:lnTo>
                      <a:pt x="200" y="27"/>
                    </a:lnTo>
                    <a:lnTo>
                      <a:pt x="200" y="26"/>
                    </a:lnTo>
                    <a:lnTo>
                      <a:pt x="200" y="24"/>
                    </a:lnTo>
                    <a:lnTo>
                      <a:pt x="200" y="22"/>
                    </a:lnTo>
                    <a:lnTo>
                      <a:pt x="200" y="21"/>
                    </a:lnTo>
                    <a:lnTo>
                      <a:pt x="200" y="19"/>
                    </a:lnTo>
                    <a:lnTo>
                      <a:pt x="198" y="19"/>
                    </a:lnTo>
                    <a:lnTo>
                      <a:pt x="200" y="18"/>
                    </a:lnTo>
                    <a:lnTo>
                      <a:pt x="202" y="18"/>
                    </a:lnTo>
                    <a:lnTo>
                      <a:pt x="203" y="18"/>
                    </a:lnTo>
                    <a:lnTo>
                      <a:pt x="203" y="16"/>
                    </a:lnTo>
                    <a:lnTo>
                      <a:pt x="203" y="14"/>
                    </a:lnTo>
                    <a:lnTo>
                      <a:pt x="205" y="14"/>
                    </a:lnTo>
                    <a:lnTo>
                      <a:pt x="205" y="13"/>
                    </a:lnTo>
                    <a:lnTo>
                      <a:pt x="206" y="11"/>
                    </a:lnTo>
                    <a:lnTo>
                      <a:pt x="206" y="10"/>
                    </a:lnTo>
                    <a:lnTo>
                      <a:pt x="208" y="8"/>
                    </a:lnTo>
                    <a:lnTo>
                      <a:pt x="208" y="6"/>
                    </a:lnTo>
                    <a:lnTo>
                      <a:pt x="208" y="5"/>
                    </a:lnTo>
                    <a:lnTo>
                      <a:pt x="210" y="3"/>
                    </a:lnTo>
                    <a:lnTo>
                      <a:pt x="210" y="2"/>
                    </a:lnTo>
                    <a:lnTo>
                      <a:pt x="211" y="2"/>
                    </a:lnTo>
                    <a:lnTo>
                      <a:pt x="21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76" name="Freeform 156"/>
              <p:cNvSpPr>
                <a:spLocks/>
              </p:cNvSpPr>
              <p:nvPr/>
            </p:nvSpPr>
            <p:spPr bwMode="auto">
              <a:xfrm>
                <a:off x="2235" y="535"/>
                <a:ext cx="2360" cy="764"/>
              </a:xfrm>
              <a:custGeom>
                <a:avLst/>
                <a:gdLst>
                  <a:gd name="T0" fmla="*/ 47 w 2360"/>
                  <a:gd name="T1" fmla="*/ 463 h 764"/>
                  <a:gd name="T2" fmla="*/ 79 w 2360"/>
                  <a:gd name="T3" fmla="*/ 450 h 764"/>
                  <a:gd name="T4" fmla="*/ 108 w 2360"/>
                  <a:gd name="T5" fmla="*/ 457 h 764"/>
                  <a:gd name="T6" fmla="*/ 128 w 2360"/>
                  <a:gd name="T7" fmla="*/ 433 h 764"/>
                  <a:gd name="T8" fmla="*/ 128 w 2360"/>
                  <a:gd name="T9" fmla="*/ 395 h 764"/>
                  <a:gd name="T10" fmla="*/ 125 w 2360"/>
                  <a:gd name="T11" fmla="*/ 328 h 764"/>
                  <a:gd name="T12" fmla="*/ 109 w 2360"/>
                  <a:gd name="T13" fmla="*/ 308 h 764"/>
                  <a:gd name="T14" fmla="*/ 122 w 2360"/>
                  <a:gd name="T15" fmla="*/ 286 h 764"/>
                  <a:gd name="T16" fmla="*/ 122 w 2360"/>
                  <a:gd name="T17" fmla="*/ 248 h 764"/>
                  <a:gd name="T18" fmla="*/ 122 w 2360"/>
                  <a:gd name="T19" fmla="*/ 217 h 764"/>
                  <a:gd name="T20" fmla="*/ 100 w 2360"/>
                  <a:gd name="T21" fmla="*/ 184 h 764"/>
                  <a:gd name="T22" fmla="*/ 79 w 2360"/>
                  <a:gd name="T23" fmla="*/ 141 h 764"/>
                  <a:gd name="T24" fmla="*/ 43 w 2360"/>
                  <a:gd name="T25" fmla="*/ 119 h 764"/>
                  <a:gd name="T26" fmla="*/ 30 w 2360"/>
                  <a:gd name="T27" fmla="*/ 97 h 764"/>
                  <a:gd name="T28" fmla="*/ 9 w 2360"/>
                  <a:gd name="T29" fmla="*/ 62 h 764"/>
                  <a:gd name="T30" fmla="*/ 9 w 2360"/>
                  <a:gd name="T31" fmla="*/ 24 h 764"/>
                  <a:gd name="T32" fmla="*/ 27 w 2360"/>
                  <a:gd name="T33" fmla="*/ 31 h 764"/>
                  <a:gd name="T34" fmla="*/ 47 w 2360"/>
                  <a:gd name="T35" fmla="*/ 27 h 764"/>
                  <a:gd name="T36" fmla="*/ 68 w 2360"/>
                  <a:gd name="T37" fmla="*/ 24 h 764"/>
                  <a:gd name="T38" fmla="*/ 82 w 2360"/>
                  <a:gd name="T39" fmla="*/ 12 h 764"/>
                  <a:gd name="T40" fmla="*/ 100 w 2360"/>
                  <a:gd name="T41" fmla="*/ 2 h 764"/>
                  <a:gd name="T42" fmla="*/ 127 w 2360"/>
                  <a:gd name="T43" fmla="*/ 5 h 764"/>
                  <a:gd name="T44" fmla="*/ 168 w 2360"/>
                  <a:gd name="T45" fmla="*/ 5 h 764"/>
                  <a:gd name="T46" fmla="*/ 193 w 2360"/>
                  <a:gd name="T47" fmla="*/ 5 h 764"/>
                  <a:gd name="T48" fmla="*/ 236 w 2360"/>
                  <a:gd name="T49" fmla="*/ 5 h 764"/>
                  <a:gd name="T50" fmla="*/ 266 w 2360"/>
                  <a:gd name="T51" fmla="*/ 5 h 764"/>
                  <a:gd name="T52" fmla="*/ 306 w 2360"/>
                  <a:gd name="T53" fmla="*/ 5 h 764"/>
                  <a:gd name="T54" fmla="*/ 358 w 2360"/>
                  <a:gd name="T55" fmla="*/ 7 h 764"/>
                  <a:gd name="T56" fmla="*/ 409 w 2360"/>
                  <a:gd name="T57" fmla="*/ 5 h 764"/>
                  <a:gd name="T58" fmla="*/ 1131 w 2360"/>
                  <a:gd name="T59" fmla="*/ 8 h 764"/>
                  <a:gd name="T60" fmla="*/ 1175 w 2360"/>
                  <a:gd name="T61" fmla="*/ 16 h 764"/>
                  <a:gd name="T62" fmla="*/ 1226 w 2360"/>
                  <a:gd name="T63" fmla="*/ 42 h 764"/>
                  <a:gd name="T64" fmla="*/ 1243 w 2360"/>
                  <a:gd name="T65" fmla="*/ 46 h 764"/>
                  <a:gd name="T66" fmla="*/ 1262 w 2360"/>
                  <a:gd name="T67" fmla="*/ 59 h 764"/>
                  <a:gd name="T68" fmla="*/ 1299 w 2360"/>
                  <a:gd name="T69" fmla="*/ 78 h 764"/>
                  <a:gd name="T70" fmla="*/ 1342 w 2360"/>
                  <a:gd name="T71" fmla="*/ 107 h 764"/>
                  <a:gd name="T72" fmla="*/ 1364 w 2360"/>
                  <a:gd name="T73" fmla="*/ 116 h 764"/>
                  <a:gd name="T74" fmla="*/ 1407 w 2360"/>
                  <a:gd name="T75" fmla="*/ 145 h 764"/>
                  <a:gd name="T76" fmla="*/ 1460 w 2360"/>
                  <a:gd name="T77" fmla="*/ 170 h 764"/>
                  <a:gd name="T78" fmla="*/ 1500 w 2360"/>
                  <a:gd name="T79" fmla="*/ 194 h 764"/>
                  <a:gd name="T80" fmla="*/ 1559 w 2360"/>
                  <a:gd name="T81" fmla="*/ 230 h 764"/>
                  <a:gd name="T82" fmla="*/ 1613 w 2360"/>
                  <a:gd name="T83" fmla="*/ 257 h 764"/>
                  <a:gd name="T84" fmla="*/ 1644 w 2360"/>
                  <a:gd name="T85" fmla="*/ 274 h 764"/>
                  <a:gd name="T86" fmla="*/ 1677 w 2360"/>
                  <a:gd name="T87" fmla="*/ 292 h 764"/>
                  <a:gd name="T88" fmla="*/ 1727 w 2360"/>
                  <a:gd name="T89" fmla="*/ 320 h 764"/>
                  <a:gd name="T90" fmla="*/ 1747 w 2360"/>
                  <a:gd name="T91" fmla="*/ 332 h 764"/>
                  <a:gd name="T92" fmla="*/ 1799 w 2360"/>
                  <a:gd name="T93" fmla="*/ 362 h 764"/>
                  <a:gd name="T94" fmla="*/ 1855 w 2360"/>
                  <a:gd name="T95" fmla="*/ 392 h 764"/>
                  <a:gd name="T96" fmla="*/ 1887 w 2360"/>
                  <a:gd name="T97" fmla="*/ 411 h 764"/>
                  <a:gd name="T98" fmla="*/ 1942 w 2360"/>
                  <a:gd name="T99" fmla="*/ 442 h 764"/>
                  <a:gd name="T100" fmla="*/ 1983 w 2360"/>
                  <a:gd name="T101" fmla="*/ 465 h 764"/>
                  <a:gd name="T102" fmla="*/ 2020 w 2360"/>
                  <a:gd name="T103" fmla="*/ 485 h 764"/>
                  <a:gd name="T104" fmla="*/ 2058 w 2360"/>
                  <a:gd name="T105" fmla="*/ 507 h 764"/>
                  <a:gd name="T106" fmla="*/ 2134 w 2360"/>
                  <a:gd name="T107" fmla="*/ 550 h 764"/>
                  <a:gd name="T108" fmla="*/ 2180 w 2360"/>
                  <a:gd name="T109" fmla="*/ 575 h 764"/>
                  <a:gd name="T110" fmla="*/ 2216 w 2360"/>
                  <a:gd name="T111" fmla="*/ 594 h 764"/>
                  <a:gd name="T112" fmla="*/ 2262 w 2360"/>
                  <a:gd name="T113" fmla="*/ 621 h 764"/>
                  <a:gd name="T114" fmla="*/ 2292 w 2360"/>
                  <a:gd name="T115" fmla="*/ 637 h 764"/>
                  <a:gd name="T116" fmla="*/ 2351 w 2360"/>
                  <a:gd name="T117" fmla="*/ 704 h 764"/>
                  <a:gd name="T118" fmla="*/ 2360 w 2360"/>
                  <a:gd name="T119" fmla="*/ 753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60" h="764">
                    <a:moveTo>
                      <a:pt x="22" y="485"/>
                    </a:moveTo>
                    <a:lnTo>
                      <a:pt x="22" y="484"/>
                    </a:lnTo>
                    <a:lnTo>
                      <a:pt x="22" y="482"/>
                    </a:lnTo>
                    <a:lnTo>
                      <a:pt x="22" y="480"/>
                    </a:lnTo>
                    <a:lnTo>
                      <a:pt x="24" y="479"/>
                    </a:lnTo>
                    <a:lnTo>
                      <a:pt x="24" y="477"/>
                    </a:lnTo>
                    <a:lnTo>
                      <a:pt x="25" y="476"/>
                    </a:lnTo>
                    <a:lnTo>
                      <a:pt x="25" y="474"/>
                    </a:lnTo>
                    <a:lnTo>
                      <a:pt x="27" y="472"/>
                    </a:lnTo>
                    <a:lnTo>
                      <a:pt x="28" y="472"/>
                    </a:lnTo>
                    <a:lnTo>
                      <a:pt x="36" y="468"/>
                    </a:lnTo>
                    <a:lnTo>
                      <a:pt x="38" y="468"/>
                    </a:lnTo>
                    <a:lnTo>
                      <a:pt x="40" y="468"/>
                    </a:lnTo>
                    <a:lnTo>
                      <a:pt x="40" y="466"/>
                    </a:lnTo>
                    <a:lnTo>
                      <a:pt x="43" y="465"/>
                    </a:lnTo>
                    <a:lnTo>
                      <a:pt x="46" y="463"/>
                    </a:lnTo>
                    <a:lnTo>
                      <a:pt x="47" y="463"/>
                    </a:lnTo>
                    <a:lnTo>
                      <a:pt x="49" y="461"/>
                    </a:lnTo>
                    <a:lnTo>
                      <a:pt x="51" y="461"/>
                    </a:lnTo>
                    <a:lnTo>
                      <a:pt x="54" y="461"/>
                    </a:lnTo>
                    <a:lnTo>
                      <a:pt x="55" y="461"/>
                    </a:lnTo>
                    <a:lnTo>
                      <a:pt x="55" y="463"/>
                    </a:lnTo>
                    <a:lnTo>
                      <a:pt x="59" y="463"/>
                    </a:lnTo>
                    <a:lnTo>
                      <a:pt x="60" y="465"/>
                    </a:lnTo>
                    <a:lnTo>
                      <a:pt x="62" y="465"/>
                    </a:lnTo>
                    <a:lnTo>
                      <a:pt x="63" y="466"/>
                    </a:lnTo>
                    <a:lnTo>
                      <a:pt x="66" y="466"/>
                    </a:lnTo>
                    <a:lnTo>
                      <a:pt x="66" y="465"/>
                    </a:lnTo>
                    <a:lnTo>
                      <a:pt x="68" y="465"/>
                    </a:lnTo>
                    <a:lnTo>
                      <a:pt x="68" y="461"/>
                    </a:lnTo>
                    <a:lnTo>
                      <a:pt x="70" y="461"/>
                    </a:lnTo>
                    <a:lnTo>
                      <a:pt x="73" y="458"/>
                    </a:lnTo>
                    <a:lnTo>
                      <a:pt x="78" y="450"/>
                    </a:lnTo>
                    <a:lnTo>
                      <a:pt x="79" y="450"/>
                    </a:lnTo>
                    <a:lnTo>
                      <a:pt x="81" y="449"/>
                    </a:lnTo>
                    <a:lnTo>
                      <a:pt x="82" y="447"/>
                    </a:lnTo>
                    <a:lnTo>
                      <a:pt x="84" y="447"/>
                    </a:lnTo>
                    <a:lnTo>
                      <a:pt x="86" y="447"/>
                    </a:lnTo>
                    <a:lnTo>
                      <a:pt x="86" y="449"/>
                    </a:lnTo>
                    <a:lnTo>
                      <a:pt x="87" y="449"/>
                    </a:lnTo>
                    <a:lnTo>
                      <a:pt x="89" y="449"/>
                    </a:lnTo>
                    <a:lnTo>
                      <a:pt x="92" y="452"/>
                    </a:lnTo>
                    <a:lnTo>
                      <a:pt x="93" y="453"/>
                    </a:lnTo>
                    <a:lnTo>
                      <a:pt x="95" y="455"/>
                    </a:lnTo>
                    <a:lnTo>
                      <a:pt x="97" y="455"/>
                    </a:lnTo>
                    <a:lnTo>
                      <a:pt x="98" y="455"/>
                    </a:lnTo>
                    <a:lnTo>
                      <a:pt x="100" y="457"/>
                    </a:lnTo>
                    <a:lnTo>
                      <a:pt x="101" y="458"/>
                    </a:lnTo>
                    <a:lnTo>
                      <a:pt x="103" y="458"/>
                    </a:lnTo>
                    <a:lnTo>
                      <a:pt x="106" y="457"/>
                    </a:lnTo>
                    <a:lnTo>
                      <a:pt x="108" y="457"/>
                    </a:lnTo>
                    <a:lnTo>
                      <a:pt x="108" y="455"/>
                    </a:lnTo>
                    <a:lnTo>
                      <a:pt x="109" y="455"/>
                    </a:lnTo>
                    <a:lnTo>
                      <a:pt x="109" y="453"/>
                    </a:lnTo>
                    <a:lnTo>
                      <a:pt x="114" y="452"/>
                    </a:lnTo>
                    <a:lnTo>
                      <a:pt x="119" y="450"/>
                    </a:lnTo>
                    <a:lnTo>
                      <a:pt x="122" y="446"/>
                    </a:lnTo>
                    <a:lnTo>
                      <a:pt x="122" y="444"/>
                    </a:lnTo>
                    <a:lnTo>
                      <a:pt x="124" y="444"/>
                    </a:lnTo>
                    <a:lnTo>
                      <a:pt x="124" y="442"/>
                    </a:lnTo>
                    <a:lnTo>
                      <a:pt x="125" y="438"/>
                    </a:lnTo>
                    <a:lnTo>
                      <a:pt x="128" y="438"/>
                    </a:lnTo>
                    <a:lnTo>
                      <a:pt x="128" y="436"/>
                    </a:lnTo>
                    <a:lnTo>
                      <a:pt x="130" y="436"/>
                    </a:lnTo>
                    <a:lnTo>
                      <a:pt x="131" y="434"/>
                    </a:lnTo>
                    <a:lnTo>
                      <a:pt x="130" y="434"/>
                    </a:lnTo>
                    <a:lnTo>
                      <a:pt x="128" y="434"/>
                    </a:lnTo>
                    <a:lnTo>
                      <a:pt x="128" y="433"/>
                    </a:lnTo>
                    <a:lnTo>
                      <a:pt x="128" y="430"/>
                    </a:lnTo>
                    <a:lnTo>
                      <a:pt x="130" y="425"/>
                    </a:lnTo>
                    <a:lnTo>
                      <a:pt x="130" y="423"/>
                    </a:lnTo>
                    <a:lnTo>
                      <a:pt x="128" y="422"/>
                    </a:lnTo>
                    <a:lnTo>
                      <a:pt x="128" y="420"/>
                    </a:lnTo>
                    <a:lnTo>
                      <a:pt x="128" y="419"/>
                    </a:lnTo>
                    <a:lnTo>
                      <a:pt x="127" y="412"/>
                    </a:lnTo>
                    <a:lnTo>
                      <a:pt x="127" y="411"/>
                    </a:lnTo>
                    <a:lnTo>
                      <a:pt x="127" y="409"/>
                    </a:lnTo>
                    <a:lnTo>
                      <a:pt x="127" y="406"/>
                    </a:lnTo>
                    <a:lnTo>
                      <a:pt x="127" y="404"/>
                    </a:lnTo>
                    <a:lnTo>
                      <a:pt x="128" y="404"/>
                    </a:lnTo>
                    <a:lnTo>
                      <a:pt x="128" y="403"/>
                    </a:lnTo>
                    <a:lnTo>
                      <a:pt x="128" y="401"/>
                    </a:lnTo>
                    <a:lnTo>
                      <a:pt x="128" y="400"/>
                    </a:lnTo>
                    <a:lnTo>
                      <a:pt x="128" y="398"/>
                    </a:lnTo>
                    <a:lnTo>
                      <a:pt x="128" y="395"/>
                    </a:lnTo>
                    <a:lnTo>
                      <a:pt x="130" y="392"/>
                    </a:lnTo>
                    <a:lnTo>
                      <a:pt x="131" y="387"/>
                    </a:lnTo>
                    <a:lnTo>
                      <a:pt x="135" y="381"/>
                    </a:lnTo>
                    <a:lnTo>
                      <a:pt x="135" y="379"/>
                    </a:lnTo>
                    <a:lnTo>
                      <a:pt x="136" y="377"/>
                    </a:lnTo>
                    <a:lnTo>
                      <a:pt x="138" y="374"/>
                    </a:lnTo>
                    <a:lnTo>
                      <a:pt x="139" y="368"/>
                    </a:lnTo>
                    <a:lnTo>
                      <a:pt x="144" y="362"/>
                    </a:lnTo>
                    <a:lnTo>
                      <a:pt x="144" y="357"/>
                    </a:lnTo>
                    <a:lnTo>
                      <a:pt x="138" y="346"/>
                    </a:lnTo>
                    <a:lnTo>
                      <a:pt x="138" y="344"/>
                    </a:lnTo>
                    <a:lnTo>
                      <a:pt x="136" y="344"/>
                    </a:lnTo>
                    <a:lnTo>
                      <a:pt x="136" y="343"/>
                    </a:lnTo>
                    <a:lnTo>
                      <a:pt x="133" y="339"/>
                    </a:lnTo>
                    <a:lnTo>
                      <a:pt x="133" y="338"/>
                    </a:lnTo>
                    <a:lnTo>
                      <a:pt x="128" y="332"/>
                    </a:lnTo>
                    <a:lnTo>
                      <a:pt x="125" y="328"/>
                    </a:lnTo>
                    <a:lnTo>
                      <a:pt x="124" y="324"/>
                    </a:lnTo>
                    <a:lnTo>
                      <a:pt x="122" y="320"/>
                    </a:lnTo>
                    <a:lnTo>
                      <a:pt x="116" y="309"/>
                    </a:lnTo>
                    <a:lnTo>
                      <a:pt x="114" y="308"/>
                    </a:lnTo>
                    <a:lnTo>
                      <a:pt x="114" y="309"/>
                    </a:lnTo>
                    <a:lnTo>
                      <a:pt x="112" y="309"/>
                    </a:lnTo>
                    <a:lnTo>
                      <a:pt x="111" y="309"/>
                    </a:lnTo>
                    <a:lnTo>
                      <a:pt x="111" y="311"/>
                    </a:lnTo>
                    <a:lnTo>
                      <a:pt x="111" y="312"/>
                    </a:lnTo>
                    <a:lnTo>
                      <a:pt x="109" y="312"/>
                    </a:lnTo>
                    <a:lnTo>
                      <a:pt x="109" y="311"/>
                    </a:lnTo>
                    <a:lnTo>
                      <a:pt x="108" y="311"/>
                    </a:lnTo>
                    <a:lnTo>
                      <a:pt x="106" y="312"/>
                    </a:lnTo>
                    <a:lnTo>
                      <a:pt x="106" y="311"/>
                    </a:lnTo>
                    <a:lnTo>
                      <a:pt x="108" y="311"/>
                    </a:lnTo>
                    <a:lnTo>
                      <a:pt x="108" y="309"/>
                    </a:lnTo>
                    <a:lnTo>
                      <a:pt x="109" y="308"/>
                    </a:lnTo>
                    <a:lnTo>
                      <a:pt x="111" y="306"/>
                    </a:lnTo>
                    <a:lnTo>
                      <a:pt x="112" y="306"/>
                    </a:lnTo>
                    <a:lnTo>
                      <a:pt x="112" y="305"/>
                    </a:lnTo>
                    <a:lnTo>
                      <a:pt x="114" y="305"/>
                    </a:lnTo>
                    <a:lnTo>
                      <a:pt x="116" y="303"/>
                    </a:lnTo>
                    <a:lnTo>
                      <a:pt x="116" y="301"/>
                    </a:lnTo>
                    <a:lnTo>
                      <a:pt x="117" y="300"/>
                    </a:lnTo>
                    <a:lnTo>
                      <a:pt x="117" y="298"/>
                    </a:lnTo>
                    <a:lnTo>
                      <a:pt x="119" y="298"/>
                    </a:lnTo>
                    <a:lnTo>
                      <a:pt x="119" y="297"/>
                    </a:lnTo>
                    <a:lnTo>
                      <a:pt x="119" y="295"/>
                    </a:lnTo>
                    <a:lnTo>
                      <a:pt x="117" y="292"/>
                    </a:lnTo>
                    <a:lnTo>
                      <a:pt x="119" y="292"/>
                    </a:lnTo>
                    <a:lnTo>
                      <a:pt x="120" y="289"/>
                    </a:lnTo>
                    <a:lnTo>
                      <a:pt x="122" y="289"/>
                    </a:lnTo>
                    <a:lnTo>
                      <a:pt x="122" y="287"/>
                    </a:lnTo>
                    <a:lnTo>
                      <a:pt x="122" y="286"/>
                    </a:lnTo>
                    <a:lnTo>
                      <a:pt x="122" y="282"/>
                    </a:lnTo>
                    <a:lnTo>
                      <a:pt x="119" y="281"/>
                    </a:lnTo>
                    <a:lnTo>
                      <a:pt x="117" y="281"/>
                    </a:lnTo>
                    <a:lnTo>
                      <a:pt x="117" y="279"/>
                    </a:lnTo>
                    <a:lnTo>
                      <a:pt x="119" y="278"/>
                    </a:lnTo>
                    <a:lnTo>
                      <a:pt x="120" y="276"/>
                    </a:lnTo>
                    <a:lnTo>
                      <a:pt x="120" y="271"/>
                    </a:lnTo>
                    <a:lnTo>
                      <a:pt x="120" y="265"/>
                    </a:lnTo>
                    <a:lnTo>
                      <a:pt x="120" y="263"/>
                    </a:lnTo>
                    <a:lnTo>
                      <a:pt x="120" y="260"/>
                    </a:lnTo>
                    <a:lnTo>
                      <a:pt x="122" y="259"/>
                    </a:lnTo>
                    <a:lnTo>
                      <a:pt x="122" y="257"/>
                    </a:lnTo>
                    <a:lnTo>
                      <a:pt x="124" y="254"/>
                    </a:lnTo>
                    <a:lnTo>
                      <a:pt x="124" y="252"/>
                    </a:lnTo>
                    <a:lnTo>
                      <a:pt x="122" y="251"/>
                    </a:lnTo>
                    <a:lnTo>
                      <a:pt x="122" y="249"/>
                    </a:lnTo>
                    <a:lnTo>
                      <a:pt x="122" y="248"/>
                    </a:lnTo>
                    <a:lnTo>
                      <a:pt x="120" y="248"/>
                    </a:lnTo>
                    <a:lnTo>
                      <a:pt x="117" y="246"/>
                    </a:lnTo>
                    <a:lnTo>
                      <a:pt x="117" y="244"/>
                    </a:lnTo>
                    <a:lnTo>
                      <a:pt x="119" y="241"/>
                    </a:lnTo>
                    <a:lnTo>
                      <a:pt x="120" y="240"/>
                    </a:lnTo>
                    <a:lnTo>
                      <a:pt x="120" y="238"/>
                    </a:lnTo>
                    <a:lnTo>
                      <a:pt x="120" y="235"/>
                    </a:lnTo>
                    <a:lnTo>
                      <a:pt x="120" y="233"/>
                    </a:lnTo>
                    <a:lnTo>
                      <a:pt x="119" y="232"/>
                    </a:lnTo>
                    <a:lnTo>
                      <a:pt x="119" y="229"/>
                    </a:lnTo>
                    <a:lnTo>
                      <a:pt x="120" y="225"/>
                    </a:lnTo>
                    <a:lnTo>
                      <a:pt x="122" y="224"/>
                    </a:lnTo>
                    <a:lnTo>
                      <a:pt x="124" y="224"/>
                    </a:lnTo>
                    <a:lnTo>
                      <a:pt x="124" y="222"/>
                    </a:lnTo>
                    <a:lnTo>
                      <a:pt x="124" y="221"/>
                    </a:lnTo>
                    <a:lnTo>
                      <a:pt x="124" y="217"/>
                    </a:lnTo>
                    <a:lnTo>
                      <a:pt x="122" y="217"/>
                    </a:lnTo>
                    <a:lnTo>
                      <a:pt x="120" y="213"/>
                    </a:lnTo>
                    <a:lnTo>
                      <a:pt x="111" y="200"/>
                    </a:lnTo>
                    <a:lnTo>
                      <a:pt x="111" y="198"/>
                    </a:lnTo>
                    <a:lnTo>
                      <a:pt x="109" y="198"/>
                    </a:lnTo>
                    <a:lnTo>
                      <a:pt x="109" y="197"/>
                    </a:lnTo>
                    <a:lnTo>
                      <a:pt x="108" y="197"/>
                    </a:lnTo>
                    <a:lnTo>
                      <a:pt x="108" y="195"/>
                    </a:lnTo>
                    <a:lnTo>
                      <a:pt x="106" y="194"/>
                    </a:lnTo>
                    <a:lnTo>
                      <a:pt x="106" y="192"/>
                    </a:lnTo>
                    <a:lnTo>
                      <a:pt x="105" y="192"/>
                    </a:lnTo>
                    <a:lnTo>
                      <a:pt x="105" y="191"/>
                    </a:lnTo>
                    <a:lnTo>
                      <a:pt x="103" y="189"/>
                    </a:lnTo>
                    <a:lnTo>
                      <a:pt x="103" y="187"/>
                    </a:lnTo>
                    <a:lnTo>
                      <a:pt x="101" y="187"/>
                    </a:lnTo>
                    <a:lnTo>
                      <a:pt x="101" y="186"/>
                    </a:lnTo>
                    <a:lnTo>
                      <a:pt x="100" y="186"/>
                    </a:lnTo>
                    <a:lnTo>
                      <a:pt x="100" y="184"/>
                    </a:lnTo>
                    <a:lnTo>
                      <a:pt x="98" y="183"/>
                    </a:lnTo>
                    <a:lnTo>
                      <a:pt x="98" y="181"/>
                    </a:lnTo>
                    <a:lnTo>
                      <a:pt x="97" y="181"/>
                    </a:lnTo>
                    <a:lnTo>
                      <a:pt x="97" y="179"/>
                    </a:lnTo>
                    <a:lnTo>
                      <a:pt x="95" y="179"/>
                    </a:lnTo>
                    <a:lnTo>
                      <a:pt x="95" y="178"/>
                    </a:lnTo>
                    <a:lnTo>
                      <a:pt x="93" y="170"/>
                    </a:lnTo>
                    <a:lnTo>
                      <a:pt x="93" y="168"/>
                    </a:lnTo>
                    <a:lnTo>
                      <a:pt x="93" y="159"/>
                    </a:lnTo>
                    <a:lnTo>
                      <a:pt x="92" y="154"/>
                    </a:lnTo>
                    <a:lnTo>
                      <a:pt x="92" y="153"/>
                    </a:lnTo>
                    <a:lnTo>
                      <a:pt x="90" y="151"/>
                    </a:lnTo>
                    <a:lnTo>
                      <a:pt x="87" y="148"/>
                    </a:lnTo>
                    <a:lnTo>
                      <a:pt x="86" y="146"/>
                    </a:lnTo>
                    <a:lnTo>
                      <a:pt x="82" y="145"/>
                    </a:lnTo>
                    <a:lnTo>
                      <a:pt x="81" y="143"/>
                    </a:lnTo>
                    <a:lnTo>
                      <a:pt x="79" y="141"/>
                    </a:lnTo>
                    <a:lnTo>
                      <a:pt x="74" y="138"/>
                    </a:lnTo>
                    <a:lnTo>
                      <a:pt x="74" y="137"/>
                    </a:lnTo>
                    <a:lnTo>
                      <a:pt x="73" y="137"/>
                    </a:lnTo>
                    <a:lnTo>
                      <a:pt x="71" y="137"/>
                    </a:lnTo>
                    <a:lnTo>
                      <a:pt x="71" y="135"/>
                    </a:lnTo>
                    <a:lnTo>
                      <a:pt x="71" y="134"/>
                    </a:lnTo>
                    <a:lnTo>
                      <a:pt x="68" y="134"/>
                    </a:lnTo>
                    <a:lnTo>
                      <a:pt x="62" y="132"/>
                    </a:lnTo>
                    <a:lnTo>
                      <a:pt x="52" y="129"/>
                    </a:lnTo>
                    <a:lnTo>
                      <a:pt x="51" y="122"/>
                    </a:lnTo>
                    <a:lnTo>
                      <a:pt x="49" y="122"/>
                    </a:lnTo>
                    <a:lnTo>
                      <a:pt x="49" y="121"/>
                    </a:lnTo>
                    <a:lnTo>
                      <a:pt x="47" y="119"/>
                    </a:lnTo>
                    <a:lnTo>
                      <a:pt x="46" y="119"/>
                    </a:lnTo>
                    <a:lnTo>
                      <a:pt x="44" y="121"/>
                    </a:lnTo>
                    <a:lnTo>
                      <a:pt x="43" y="121"/>
                    </a:lnTo>
                    <a:lnTo>
                      <a:pt x="43" y="119"/>
                    </a:lnTo>
                    <a:lnTo>
                      <a:pt x="41" y="119"/>
                    </a:lnTo>
                    <a:lnTo>
                      <a:pt x="40" y="118"/>
                    </a:lnTo>
                    <a:lnTo>
                      <a:pt x="38" y="118"/>
                    </a:lnTo>
                    <a:lnTo>
                      <a:pt x="36" y="118"/>
                    </a:lnTo>
                    <a:lnTo>
                      <a:pt x="35" y="118"/>
                    </a:lnTo>
                    <a:lnTo>
                      <a:pt x="35" y="116"/>
                    </a:lnTo>
                    <a:lnTo>
                      <a:pt x="35" y="113"/>
                    </a:lnTo>
                    <a:lnTo>
                      <a:pt x="33" y="113"/>
                    </a:lnTo>
                    <a:lnTo>
                      <a:pt x="33" y="111"/>
                    </a:lnTo>
                    <a:lnTo>
                      <a:pt x="32" y="108"/>
                    </a:lnTo>
                    <a:lnTo>
                      <a:pt x="32" y="107"/>
                    </a:lnTo>
                    <a:lnTo>
                      <a:pt x="32" y="105"/>
                    </a:lnTo>
                    <a:lnTo>
                      <a:pt x="32" y="103"/>
                    </a:lnTo>
                    <a:lnTo>
                      <a:pt x="32" y="102"/>
                    </a:lnTo>
                    <a:lnTo>
                      <a:pt x="32" y="99"/>
                    </a:lnTo>
                    <a:lnTo>
                      <a:pt x="30" y="99"/>
                    </a:lnTo>
                    <a:lnTo>
                      <a:pt x="30" y="97"/>
                    </a:lnTo>
                    <a:lnTo>
                      <a:pt x="28" y="95"/>
                    </a:lnTo>
                    <a:lnTo>
                      <a:pt x="27" y="91"/>
                    </a:lnTo>
                    <a:lnTo>
                      <a:pt x="27" y="86"/>
                    </a:lnTo>
                    <a:lnTo>
                      <a:pt x="25" y="86"/>
                    </a:lnTo>
                    <a:lnTo>
                      <a:pt x="25" y="84"/>
                    </a:lnTo>
                    <a:lnTo>
                      <a:pt x="22" y="80"/>
                    </a:lnTo>
                    <a:lnTo>
                      <a:pt x="21" y="75"/>
                    </a:lnTo>
                    <a:lnTo>
                      <a:pt x="19" y="73"/>
                    </a:lnTo>
                    <a:lnTo>
                      <a:pt x="19" y="72"/>
                    </a:lnTo>
                    <a:lnTo>
                      <a:pt x="19" y="70"/>
                    </a:lnTo>
                    <a:lnTo>
                      <a:pt x="17" y="70"/>
                    </a:lnTo>
                    <a:lnTo>
                      <a:pt x="17" y="69"/>
                    </a:lnTo>
                    <a:lnTo>
                      <a:pt x="17" y="67"/>
                    </a:lnTo>
                    <a:lnTo>
                      <a:pt x="14" y="64"/>
                    </a:lnTo>
                    <a:lnTo>
                      <a:pt x="14" y="62"/>
                    </a:lnTo>
                    <a:lnTo>
                      <a:pt x="13" y="62"/>
                    </a:lnTo>
                    <a:lnTo>
                      <a:pt x="9" y="62"/>
                    </a:lnTo>
                    <a:lnTo>
                      <a:pt x="6" y="62"/>
                    </a:lnTo>
                    <a:lnTo>
                      <a:pt x="5" y="62"/>
                    </a:lnTo>
                    <a:lnTo>
                      <a:pt x="5" y="61"/>
                    </a:lnTo>
                    <a:lnTo>
                      <a:pt x="3" y="56"/>
                    </a:lnTo>
                    <a:lnTo>
                      <a:pt x="6" y="50"/>
                    </a:lnTo>
                    <a:lnTo>
                      <a:pt x="6" y="48"/>
                    </a:lnTo>
                    <a:lnTo>
                      <a:pt x="6" y="46"/>
                    </a:lnTo>
                    <a:lnTo>
                      <a:pt x="5" y="46"/>
                    </a:lnTo>
                    <a:lnTo>
                      <a:pt x="3" y="46"/>
                    </a:lnTo>
                    <a:lnTo>
                      <a:pt x="2" y="46"/>
                    </a:lnTo>
                    <a:lnTo>
                      <a:pt x="0" y="45"/>
                    </a:lnTo>
                    <a:lnTo>
                      <a:pt x="0" y="43"/>
                    </a:lnTo>
                    <a:lnTo>
                      <a:pt x="2" y="40"/>
                    </a:lnTo>
                    <a:lnTo>
                      <a:pt x="2" y="37"/>
                    </a:lnTo>
                    <a:lnTo>
                      <a:pt x="2" y="35"/>
                    </a:lnTo>
                    <a:lnTo>
                      <a:pt x="8" y="27"/>
                    </a:lnTo>
                    <a:lnTo>
                      <a:pt x="9" y="24"/>
                    </a:lnTo>
                    <a:lnTo>
                      <a:pt x="11" y="24"/>
                    </a:lnTo>
                    <a:lnTo>
                      <a:pt x="13" y="24"/>
                    </a:lnTo>
                    <a:lnTo>
                      <a:pt x="13" y="26"/>
                    </a:lnTo>
                    <a:lnTo>
                      <a:pt x="14" y="26"/>
                    </a:lnTo>
                    <a:lnTo>
                      <a:pt x="14" y="27"/>
                    </a:lnTo>
                    <a:lnTo>
                      <a:pt x="16" y="27"/>
                    </a:lnTo>
                    <a:lnTo>
                      <a:pt x="16" y="29"/>
                    </a:lnTo>
                    <a:lnTo>
                      <a:pt x="17" y="29"/>
                    </a:lnTo>
                    <a:lnTo>
                      <a:pt x="19" y="29"/>
                    </a:lnTo>
                    <a:lnTo>
                      <a:pt x="19" y="31"/>
                    </a:lnTo>
                    <a:lnTo>
                      <a:pt x="19" y="29"/>
                    </a:lnTo>
                    <a:lnTo>
                      <a:pt x="21" y="29"/>
                    </a:lnTo>
                    <a:lnTo>
                      <a:pt x="21" y="31"/>
                    </a:lnTo>
                    <a:lnTo>
                      <a:pt x="22" y="31"/>
                    </a:lnTo>
                    <a:lnTo>
                      <a:pt x="24" y="31"/>
                    </a:lnTo>
                    <a:lnTo>
                      <a:pt x="25" y="31"/>
                    </a:lnTo>
                    <a:lnTo>
                      <a:pt x="27" y="31"/>
                    </a:lnTo>
                    <a:lnTo>
                      <a:pt x="28" y="31"/>
                    </a:lnTo>
                    <a:lnTo>
                      <a:pt x="30" y="29"/>
                    </a:lnTo>
                    <a:lnTo>
                      <a:pt x="32" y="29"/>
                    </a:lnTo>
                    <a:lnTo>
                      <a:pt x="33" y="29"/>
                    </a:lnTo>
                    <a:lnTo>
                      <a:pt x="33" y="27"/>
                    </a:lnTo>
                    <a:lnTo>
                      <a:pt x="35" y="27"/>
                    </a:lnTo>
                    <a:lnTo>
                      <a:pt x="36" y="27"/>
                    </a:lnTo>
                    <a:lnTo>
                      <a:pt x="38" y="27"/>
                    </a:lnTo>
                    <a:lnTo>
                      <a:pt x="40" y="27"/>
                    </a:lnTo>
                    <a:lnTo>
                      <a:pt x="40" y="26"/>
                    </a:lnTo>
                    <a:lnTo>
                      <a:pt x="41" y="27"/>
                    </a:lnTo>
                    <a:lnTo>
                      <a:pt x="41" y="26"/>
                    </a:lnTo>
                    <a:lnTo>
                      <a:pt x="43" y="26"/>
                    </a:lnTo>
                    <a:lnTo>
                      <a:pt x="44" y="26"/>
                    </a:lnTo>
                    <a:lnTo>
                      <a:pt x="46" y="26"/>
                    </a:lnTo>
                    <a:lnTo>
                      <a:pt x="46" y="27"/>
                    </a:lnTo>
                    <a:lnTo>
                      <a:pt x="47" y="27"/>
                    </a:lnTo>
                    <a:lnTo>
                      <a:pt x="49" y="27"/>
                    </a:lnTo>
                    <a:lnTo>
                      <a:pt x="51" y="27"/>
                    </a:lnTo>
                    <a:lnTo>
                      <a:pt x="52" y="27"/>
                    </a:lnTo>
                    <a:lnTo>
                      <a:pt x="54" y="27"/>
                    </a:lnTo>
                    <a:lnTo>
                      <a:pt x="55" y="27"/>
                    </a:lnTo>
                    <a:lnTo>
                      <a:pt x="55" y="29"/>
                    </a:lnTo>
                    <a:lnTo>
                      <a:pt x="57" y="29"/>
                    </a:lnTo>
                    <a:lnTo>
                      <a:pt x="59" y="29"/>
                    </a:lnTo>
                    <a:lnTo>
                      <a:pt x="59" y="27"/>
                    </a:lnTo>
                    <a:lnTo>
                      <a:pt x="60" y="27"/>
                    </a:lnTo>
                    <a:lnTo>
                      <a:pt x="62" y="27"/>
                    </a:lnTo>
                    <a:lnTo>
                      <a:pt x="63" y="27"/>
                    </a:lnTo>
                    <a:lnTo>
                      <a:pt x="65" y="27"/>
                    </a:lnTo>
                    <a:lnTo>
                      <a:pt x="65" y="26"/>
                    </a:lnTo>
                    <a:lnTo>
                      <a:pt x="66" y="26"/>
                    </a:lnTo>
                    <a:lnTo>
                      <a:pt x="68" y="26"/>
                    </a:lnTo>
                    <a:lnTo>
                      <a:pt x="68" y="24"/>
                    </a:lnTo>
                    <a:lnTo>
                      <a:pt x="70" y="24"/>
                    </a:lnTo>
                    <a:lnTo>
                      <a:pt x="70" y="23"/>
                    </a:lnTo>
                    <a:lnTo>
                      <a:pt x="70" y="21"/>
                    </a:lnTo>
                    <a:lnTo>
                      <a:pt x="70" y="19"/>
                    </a:lnTo>
                    <a:lnTo>
                      <a:pt x="71" y="19"/>
                    </a:lnTo>
                    <a:lnTo>
                      <a:pt x="71" y="18"/>
                    </a:lnTo>
                    <a:lnTo>
                      <a:pt x="73" y="18"/>
                    </a:lnTo>
                    <a:lnTo>
                      <a:pt x="73" y="16"/>
                    </a:lnTo>
                    <a:lnTo>
                      <a:pt x="74" y="16"/>
                    </a:lnTo>
                    <a:lnTo>
                      <a:pt x="74" y="15"/>
                    </a:lnTo>
                    <a:lnTo>
                      <a:pt x="76" y="15"/>
                    </a:lnTo>
                    <a:lnTo>
                      <a:pt x="76" y="13"/>
                    </a:lnTo>
                    <a:lnTo>
                      <a:pt x="78" y="13"/>
                    </a:lnTo>
                    <a:lnTo>
                      <a:pt x="79" y="13"/>
                    </a:lnTo>
                    <a:lnTo>
                      <a:pt x="79" y="12"/>
                    </a:lnTo>
                    <a:lnTo>
                      <a:pt x="81" y="12"/>
                    </a:lnTo>
                    <a:lnTo>
                      <a:pt x="82" y="12"/>
                    </a:lnTo>
                    <a:lnTo>
                      <a:pt x="82" y="10"/>
                    </a:lnTo>
                    <a:lnTo>
                      <a:pt x="84" y="10"/>
                    </a:lnTo>
                    <a:lnTo>
                      <a:pt x="86" y="10"/>
                    </a:lnTo>
                    <a:lnTo>
                      <a:pt x="87" y="10"/>
                    </a:lnTo>
                    <a:lnTo>
                      <a:pt x="89" y="10"/>
                    </a:lnTo>
                    <a:lnTo>
                      <a:pt x="89" y="8"/>
                    </a:lnTo>
                    <a:lnTo>
                      <a:pt x="90" y="8"/>
                    </a:lnTo>
                    <a:lnTo>
                      <a:pt x="92" y="8"/>
                    </a:lnTo>
                    <a:lnTo>
                      <a:pt x="93" y="8"/>
                    </a:lnTo>
                    <a:lnTo>
                      <a:pt x="93" y="7"/>
                    </a:lnTo>
                    <a:lnTo>
                      <a:pt x="95" y="7"/>
                    </a:lnTo>
                    <a:lnTo>
                      <a:pt x="95" y="5"/>
                    </a:lnTo>
                    <a:lnTo>
                      <a:pt x="97" y="5"/>
                    </a:lnTo>
                    <a:lnTo>
                      <a:pt x="97" y="4"/>
                    </a:lnTo>
                    <a:lnTo>
                      <a:pt x="98" y="4"/>
                    </a:lnTo>
                    <a:lnTo>
                      <a:pt x="98" y="2"/>
                    </a:lnTo>
                    <a:lnTo>
                      <a:pt x="100" y="2"/>
                    </a:lnTo>
                    <a:lnTo>
                      <a:pt x="101" y="2"/>
                    </a:lnTo>
                    <a:lnTo>
                      <a:pt x="101" y="0"/>
                    </a:lnTo>
                    <a:lnTo>
                      <a:pt x="103" y="0"/>
                    </a:lnTo>
                    <a:lnTo>
                      <a:pt x="103" y="2"/>
                    </a:lnTo>
                    <a:lnTo>
                      <a:pt x="105" y="2"/>
                    </a:lnTo>
                    <a:lnTo>
                      <a:pt x="106" y="2"/>
                    </a:lnTo>
                    <a:lnTo>
                      <a:pt x="108" y="4"/>
                    </a:lnTo>
                    <a:lnTo>
                      <a:pt x="109" y="4"/>
                    </a:lnTo>
                    <a:lnTo>
                      <a:pt x="111" y="5"/>
                    </a:lnTo>
                    <a:lnTo>
                      <a:pt x="112" y="5"/>
                    </a:lnTo>
                    <a:lnTo>
                      <a:pt x="116" y="5"/>
                    </a:lnTo>
                    <a:lnTo>
                      <a:pt x="117" y="5"/>
                    </a:lnTo>
                    <a:lnTo>
                      <a:pt x="120" y="5"/>
                    </a:lnTo>
                    <a:lnTo>
                      <a:pt x="122" y="5"/>
                    </a:lnTo>
                    <a:lnTo>
                      <a:pt x="124" y="5"/>
                    </a:lnTo>
                    <a:lnTo>
                      <a:pt x="125" y="5"/>
                    </a:lnTo>
                    <a:lnTo>
                      <a:pt x="127" y="5"/>
                    </a:lnTo>
                    <a:lnTo>
                      <a:pt x="128" y="5"/>
                    </a:lnTo>
                    <a:lnTo>
                      <a:pt x="130" y="5"/>
                    </a:lnTo>
                    <a:lnTo>
                      <a:pt x="131" y="5"/>
                    </a:lnTo>
                    <a:lnTo>
                      <a:pt x="133" y="5"/>
                    </a:lnTo>
                    <a:lnTo>
                      <a:pt x="135" y="5"/>
                    </a:lnTo>
                    <a:lnTo>
                      <a:pt x="136" y="5"/>
                    </a:lnTo>
                    <a:lnTo>
                      <a:pt x="141" y="5"/>
                    </a:lnTo>
                    <a:lnTo>
                      <a:pt x="144" y="5"/>
                    </a:lnTo>
                    <a:lnTo>
                      <a:pt x="147" y="5"/>
                    </a:lnTo>
                    <a:lnTo>
                      <a:pt x="150" y="5"/>
                    </a:lnTo>
                    <a:lnTo>
                      <a:pt x="152" y="5"/>
                    </a:lnTo>
                    <a:lnTo>
                      <a:pt x="154" y="5"/>
                    </a:lnTo>
                    <a:lnTo>
                      <a:pt x="157" y="5"/>
                    </a:lnTo>
                    <a:lnTo>
                      <a:pt x="160" y="5"/>
                    </a:lnTo>
                    <a:lnTo>
                      <a:pt x="163" y="5"/>
                    </a:lnTo>
                    <a:lnTo>
                      <a:pt x="166" y="5"/>
                    </a:lnTo>
                    <a:lnTo>
                      <a:pt x="168" y="5"/>
                    </a:lnTo>
                    <a:lnTo>
                      <a:pt x="169" y="5"/>
                    </a:lnTo>
                    <a:lnTo>
                      <a:pt x="171" y="5"/>
                    </a:lnTo>
                    <a:lnTo>
                      <a:pt x="173" y="5"/>
                    </a:lnTo>
                    <a:lnTo>
                      <a:pt x="174" y="5"/>
                    </a:lnTo>
                    <a:lnTo>
                      <a:pt x="176" y="5"/>
                    </a:lnTo>
                    <a:lnTo>
                      <a:pt x="177" y="5"/>
                    </a:lnTo>
                    <a:lnTo>
                      <a:pt x="179" y="5"/>
                    </a:lnTo>
                    <a:lnTo>
                      <a:pt x="182" y="5"/>
                    </a:lnTo>
                    <a:lnTo>
                      <a:pt x="184" y="5"/>
                    </a:lnTo>
                    <a:lnTo>
                      <a:pt x="185" y="5"/>
                    </a:lnTo>
                    <a:lnTo>
                      <a:pt x="187" y="5"/>
                    </a:lnTo>
                    <a:lnTo>
                      <a:pt x="188" y="5"/>
                    </a:lnTo>
                    <a:lnTo>
                      <a:pt x="190" y="5"/>
                    </a:lnTo>
                    <a:lnTo>
                      <a:pt x="190" y="7"/>
                    </a:lnTo>
                    <a:lnTo>
                      <a:pt x="192" y="7"/>
                    </a:lnTo>
                    <a:lnTo>
                      <a:pt x="193" y="7"/>
                    </a:lnTo>
                    <a:lnTo>
                      <a:pt x="193" y="5"/>
                    </a:lnTo>
                    <a:lnTo>
                      <a:pt x="195" y="5"/>
                    </a:lnTo>
                    <a:lnTo>
                      <a:pt x="196" y="5"/>
                    </a:lnTo>
                    <a:lnTo>
                      <a:pt x="200" y="5"/>
                    </a:lnTo>
                    <a:lnTo>
                      <a:pt x="204" y="5"/>
                    </a:lnTo>
                    <a:lnTo>
                      <a:pt x="207" y="5"/>
                    </a:lnTo>
                    <a:lnTo>
                      <a:pt x="209" y="5"/>
                    </a:lnTo>
                    <a:lnTo>
                      <a:pt x="211" y="5"/>
                    </a:lnTo>
                    <a:lnTo>
                      <a:pt x="214" y="5"/>
                    </a:lnTo>
                    <a:lnTo>
                      <a:pt x="217" y="5"/>
                    </a:lnTo>
                    <a:lnTo>
                      <a:pt x="222" y="5"/>
                    </a:lnTo>
                    <a:lnTo>
                      <a:pt x="225" y="5"/>
                    </a:lnTo>
                    <a:lnTo>
                      <a:pt x="226" y="5"/>
                    </a:lnTo>
                    <a:lnTo>
                      <a:pt x="230" y="5"/>
                    </a:lnTo>
                    <a:lnTo>
                      <a:pt x="231" y="5"/>
                    </a:lnTo>
                    <a:lnTo>
                      <a:pt x="233" y="5"/>
                    </a:lnTo>
                    <a:lnTo>
                      <a:pt x="234" y="5"/>
                    </a:lnTo>
                    <a:lnTo>
                      <a:pt x="236" y="5"/>
                    </a:lnTo>
                    <a:lnTo>
                      <a:pt x="238" y="5"/>
                    </a:lnTo>
                    <a:lnTo>
                      <a:pt x="239" y="5"/>
                    </a:lnTo>
                    <a:lnTo>
                      <a:pt x="241" y="5"/>
                    </a:lnTo>
                    <a:lnTo>
                      <a:pt x="242" y="5"/>
                    </a:lnTo>
                    <a:lnTo>
                      <a:pt x="244" y="5"/>
                    </a:lnTo>
                    <a:lnTo>
                      <a:pt x="245" y="5"/>
                    </a:lnTo>
                    <a:lnTo>
                      <a:pt x="247" y="5"/>
                    </a:lnTo>
                    <a:lnTo>
                      <a:pt x="249" y="5"/>
                    </a:lnTo>
                    <a:lnTo>
                      <a:pt x="250" y="5"/>
                    </a:lnTo>
                    <a:lnTo>
                      <a:pt x="252" y="5"/>
                    </a:lnTo>
                    <a:lnTo>
                      <a:pt x="253" y="5"/>
                    </a:lnTo>
                    <a:lnTo>
                      <a:pt x="255" y="5"/>
                    </a:lnTo>
                    <a:lnTo>
                      <a:pt x="257" y="5"/>
                    </a:lnTo>
                    <a:lnTo>
                      <a:pt x="258" y="5"/>
                    </a:lnTo>
                    <a:lnTo>
                      <a:pt x="260" y="5"/>
                    </a:lnTo>
                    <a:lnTo>
                      <a:pt x="261" y="5"/>
                    </a:lnTo>
                    <a:lnTo>
                      <a:pt x="266" y="5"/>
                    </a:lnTo>
                    <a:lnTo>
                      <a:pt x="268" y="5"/>
                    </a:lnTo>
                    <a:lnTo>
                      <a:pt x="269" y="5"/>
                    </a:lnTo>
                    <a:lnTo>
                      <a:pt x="271" y="5"/>
                    </a:lnTo>
                    <a:lnTo>
                      <a:pt x="274" y="5"/>
                    </a:lnTo>
                    <a:lnTo>
                      <a:pt x="276" y="5"/>
                    </a:lnTo>
                    <a:lnTo>
                      <a:pt x="277" y="5"/>
                    </a:lnTo>
                    <a:lnTo>
                      <a:pt x="279" y="5"/>
                    </a:lnTo>
                    <a:lnTo>
                      <a:pt x="282" y="5"/>
                    </a:lnTo>
                    <a:lnTo>
                      <a:pt x="285" y="5"/>
                    </a:lnTo>
                    <a:lnTo>
                      <a:pt x="288" y="5"/>
                    </a:lnTo>
                    <a:lnTo>
                      <a:pt x="291" y="5"/>
                    </a:lnTo>
                    <a:lnTo>
                      <a:pt x="293" y="5"/>
                    </a:lnTo>
                    <a:lnTo>
                      <a:pt x="295" y="5"/>
                    </a:lnTo>
                    <a:lnTo>
                      <a:pt x="296" y="5"/>
                    </a:lnTo>
                    <a:lnTo>
                      <a:pt x="299" y="5"/>
                    </a:lnTo>
                    <a:lnTo>
                      <a:pt x="303" y="5"/>
                    </a:lnTo>
                    <a:lnTo>
                      <a:pt x="306" y="5"/>
                    </a:lnTo>
                    <a:lnTo>
                      <a:pt x="309" y="5"/>
                    </a:lnTo>
                    <a:lnTo>
                      <a:pt x="312" y="5"/>
                    </a:lnTo>
                    <a:lnTo>
                      <a:pt x="315" y="5"/>
                    </a:lnTo>
                    <a:lnTo>
                      <a:pt x="318" y="5"/>
                    </a:lnTo>
                    <a:lnTo>
                      <a:pt x="322" y="5"/>
                    </a:lnTo>
                    <a:lnTo>
                      <a:pt x="325" y="5"/>
                    </a:lnTo>
                    <a:lnTo>
                      <a:pt x="328" y="5"/>
                    </a:lnTo>
                    <a:lnTo>
                      <a:pt x="331" y="5"/>
                    </a:lnTo>
                    <a:lnTo>
                      <a:pt x="333" y="5"/>
                    </a:lnTo>
                    <a:lnTo>
                      <a:pt x="341" y="7"/>
                    </a:lnTo>
                    <a:lnTo>
                      <a:pt x="342" y="7"/>
                    </a:lnTo>
                    <a:lnTo>
                      <a:pt x="344" y="7"/>
                    </a:lnTo>
                    <a:lnTo>
                      <a:pt x="347" y="7"/>
                    </a:lnTo>
                    <a:lnTo>
                      <a:pt x="348" y="7"/>
                    </a:lnTo>
                    <a:lnTo>
                      <a:pt x="352" y="7"/>
                    </a:lnTo>
                    <a:lnTo>
                      <a:pt x="355" y="7"/>
                    </a:lnTo>
                    <a:lnTo>
                      <a:pt x="358" y="7"/>
                    </a:lnTo>
                    <a:lnTo>
                      <a:pt x="360" y="7"/>
                    </a:lnTo>
                    <a:lnTo>
                      <a:pt x="361" y="7"/>
                    </a:lnTo>
                    <a:lnTo>
                      <a:pt x="363" y="7"/>
                    </a:lnTo>
                    <a:lnTo>
                      <a:pt x="366" y="7"/>
                    </a:lnTo>
                    <a:lnTo>
                      <a:pt x="367" y="7"/>
                    </a:lnTo>
                    <a:lnTo>
                      <a:pt x="371" y="7"/>
                    </a:lnTo>
                    <a:lnTo>
                      <a:pt x="379" y="7"/>
                    </a:lnTo>
                    <a:lnTo>
                      <a:pt x="380" y="7"/>
                    </a:lnTo>
                    <a:lnTo>
                      <a:pt x="385" y="7"/>
                    </a:lnTo>
                    <a:lnTo>
                      <a:pt x="388" y="7"/>
                    </a:lnTo>
                    <a:lnTo>
                      <a:pt x="391" y="7"/>
                    </a:lnTo>
                    <a:lnTo>
                      <a:pt x="393" y="7"/>
                    </a:lnTo>
                    <a:lnTo>
                      <a:pt x="396" y="7"/>
                    </a:lnTo>
                    <a:lnTo>
                      <a:pt x="399" y="7"/>
                    </a:lnTo>
                    <a:lnTo>
                      <a:pt x="401" y="7"/>
                    </a:lnTo>
                    <a:lnTo>
                      <a:pt x="405" y="7"/>
                    </a:lnTo>
                    <a:lnTo>
                      <a:pt x="409" y="5"/>
                    </a:lnTo>
                    <a:lnTo>
                      <a:pt x="412" y="5"/>
                    </a:lnTo>
                    <a:lnTo>
                      <a:pt x="417" y="5"/>
                    </a:lnTo>
                    <a:lnTo>
                      <a:pt x="420" y="5"/>
                    </a:lnTo>
                    <a:lnTo>
                      <a:pt x="424" y="5"/>
                    </a:lnTo>
                    <a:lnTo>
                      <a:pt x="428" y="5"/>
                    </a:lnTo>
                    <a:lnTo>
                      <a:pt x="432" y="5"/>
                    </a:lnTo>
                    <a:lnTo>
                      <a:pt x="437" y="5"/>
                    </a:lnTo>
                    <a:lnTo>
                      <a:pt x="439" y="5"/>
                    </a:lnTo>
                    <a:lnTo>
                      <a:pt x="451" y="5"/>
                    </a:lnTo>
                    <a:lnTo>
                      <a:pt x="466" y="5"/>
                    </a:lnTo>
                    <a:lnTo>
                      <a:pt x="738" y="5"/>
                    </a:lnTo>
                    <a:lnTo>
                      <a:pt x="787" y="5"/>
                    </a:lnTo>
                    <a:lnTo>
                      <a:pt x="996" y="5"/>
                    </a:lnTo>
                    <a:lnTo>
                      <a:pt x="1041" y="5"/>
                    </a:lnTo>
                    <a:lnTo>
                      <a:pt x="1053" y="5"/>
                    </a:lnTo>
                    <a:lnTo>
                      <a:pt x="1131" y="5"/>
                    </a:lnTo>
                    <a:lnTo>
                      <a:pt x="1131" y="8"/>
                    </a:lnTo>
                    <a:lnTo>
                      <a:pt x="1158" y="8"/>
                    </a:lnTo>
                    <a:lnTo>
                      <a:pt x="1159" y="10"/>
                    </a:lnTo>
                    <a:lnTo>
                      <a:pt x="1161" y="12"/>
                    </a:lnTo>
                    <a:lnTo>
                      <a:pt x="1161" y="13"/>
                    </a:lnTo>
                    <a:lnTo>
                      <a:pt x="1161" y="15"/>
                    </a:lnTo>
                    <a:lnTo>
                      <a:pt x="1161" y="16"/>
                    </a:lnTo>
                    <a:lnTo>
                      <a:pt x="1163" y="18"/>
                    </a:lnTo>
                    <a:lnTo>
                      <a:pt x="1163" y="19"/>
                    </a:lnTo>
                    <a:lnTo>
                      <a:pt x="1164" y="21"/>
                    </a:lnTo>
                    <a:lnTo>
                      <a:pt x="1166" y="23"/>
                    </a:lnTo>
                    <a:lnTo>
                      <a:pt x="1169" y="23"/>
                    </a:lnTo>
                    <a:lnTo>
                      <a:pt x="1171" y="21"/>
                    </a:lnTo>
                    <a:lnTo>
                      <a:pt x="1172" y="21"/>
                    </a:lnTo>
                    <a:lnTo>
                      <a:pt x="1174" y="19"/>
                    </a:lnTo>
                    <a:lnTo>
                      <a:pt x="1174" y="18"/>
                    </a:lnTo>
                    <a:lnTo>
                      <a:pt x="1174" y="16"/>
                    </a:lnTo>
                    <a:lnTo>
                      <a:pt x="1175" y="16"/>
                    </a:lnTo>
                    <a:lnTo>
                      <a:pt x="1177" y="16"/>
                    </a:lnTo>
                    <a:lnTo>
                      <a:pt x="1178" y="15"/>
                    </a:lnTo>
                    <a:lnTo>
                      <a:pt x="1182" y="18"/>
                    </a:lnTo>
                    <a:lnTo>
                      <a:pt x="1201" y="27"/>
                    </a:lnTo>
                    <a:lnTo>
                      <a:pt x="1207" y="32"/>
                    </a:lnTo>
                    <a:lnTo>
                      <a:pt x="1209" y="31"/>
                    </a:lnTo>
                    <a:lnTo>
                      <a:pt x="1209" y="29"/>
                    </a:lnTo>
                    <a:lnTo>
                      <a:pt x="1209" y="27"/>
                    </a:lnTo>
                    <a:lnTo>
                      <a:pt x="1207" y="27"/>
                    </a:lnTo>
                    <a:lnTo>
                      <a:pt x="1209" y="27"/>
                    </a:lnTo>
                    <a:lnTo>
                      <a:pt x="1210" y="27"/>
                    </a:lnTo>
                    <a:lnTo>
                      <a:pt x="1212" y="29"/>
                    </a:lnTo>
                    <a:lnTo>
                      <a:pt x="1215" y="31"/>
                    </a:lnTo>
                    <a:lnTo>
                      <a:pt x="1215" y="32"/>
                    </a:lnTo>
                    <a:lnTo>
                      <a:pt x="1215" y="34"/>
                    </a:lnTo>
                    <a:lnTo>
                      <a:pt x="1215" y="35"/>
                    </a:lnTo>
                    <a:lnTo>
                      <a:pt x="1226" y="42"/>
                    </a:lnTo>
                    <a:lnTo>
                      <a:pt x="1226" y="40"/>
                    </a:lnTo>
                    <a:lnTo>
                      <a:pt x="1226" y="38"/>
                    </a:lnTo>
                    <a:lnTo>
                      <a:pt x="1228" y="38"/>
                    </a:lnTo>
                    <a:lnTo>
                      <a:pt x="1229" y="38"/>
                    </a:lnTo>
                    <a:lnTo>
                      <a:pt x="1229" y="40"/>
                    </a:lnTo>
                    <a:lnTo>
                      <a:pt x="1231" y="40"/>
                    </a:lnTo>
                    <a:lnTo>
                      <a:pt x="1232" y="40"/>
                    </a:lnTo>
                    <a:lnTo>
                      <a:pt x="1232" y="42"/>
                    </a:lnTo>
                    <a:lnTo>
                      <a:pt x="1234" y="42"/>
                    </a:lnTo>
                    <a:lnTo>
                      <a:pt x="1236" y="42"/>
                    </a:lnTo>
                    <a:lnTo>
                      <a:pt x="1236" y="43"/>
                    </a:lnTo>
                    <a:lnTo>
                      <a:pt x="1237" y="43"/>
                    </a:lnTo>
                    <a:lnTo>
                      <a:pt x="1239" y="43"/>
                    </a:lnTo>
                    <a:lnTo>
                      <a:pt x="1239" y="45"/>
                    </a:lnTo>
                    <a:lnTo>
                      <a:pt x="1240" y="45"/>
                    </a:lnTo>
                    <a:lnTo>
                      <a:pt x="1242" y="46"/>
                    </a:lnTo>
                    <a:lnTo>
                      <a:pt x="1243" y="46"/>
                    </a:lnTo>
                    <a:lnTo>
                      <a:pt x="1243" y="48"/>
                    </a:lnTo>
                    <a:lnTo>
                      <a:pt x="1245" y="48"/>
                    </a:lnTo>
                    <a:lnTo>
                      <a:pt x="1247" y="50"/>
                    </a:lnTo>
                    <a:lnTo>
                      <a:pt x="1248" y="50"/>
                    </a:lnTo>
                    <a:lnTo>
                      <a:pt x="1250" y="51"/>
                    </a:lnTo>
                    <a:lnTo>
                      <a:pt x="1251" y="51"/>
                    </a:lnTo>
                    <a:lnTo>
                      <a:pt x="1251" y="53"/>
                    </a:lnTo>
                    <a:lnTo>
                      <a:pt x="1253" y="53"/>
                    </a:lnTo>
                    <a:lnTo>
                      <a:pt x="1255" y="53"/>
                    </a:lnTo>
                    <a:lnTo>
                      <a:pt x="1255" y="54"/>
                    </a:lnTo>
                    <a:lnTo>
                      <a:pt x="1256" y="54"/>
                    </a:lnTo>
                    <a:lnTo>
                      <a:pt x="1258" y="54"/>
                    </a:lnTo>
                    <a:lnTo>
                      <a:pt x="1258" y="56"/>
                    </a:lnTo>
                    <a:lnTo>
                      <a:pt x="1259" y="56"/>
                    </a:lnTo>
                    <a:lnTo>
                      <a:pt x="1261" y="57"/>
                    </a:lnTo>
                    <a:lnTo>
                      <a:pt x="1262" y="57"/>
                    </a:lnTo>
                    <a:lnTo>
                      <a:pt x="1262" y="59"/>
                    </a:lnTo>
                    <a:lnTo>
                      <a:pt x="1264" y="59"/>
                    </a:lnTo>
                    <a:lnTo>
                      <a:pt x="1266" y="59"/>
                    </a:lnTo>
                    <a:lnTo>
                      <a:pt x="1266" y="61"/>
                    </a:lnTo>
                    <a:lnTo>
                      <a:pt x="1267" y="61"/>
                    </a:lnTo>
                    <a:lnTo>
                      <a:pt x="1269" y="61"/>
                    </a:lnTo>
                    <a:lnTo>
                      <a:pt x="1269" y="62"/>
                    </a:lnTo>
                    <a:lnTo>
                      <a:pt x="1270" y="62"/>
                    </a:lnTo>
                    <a:lnTo>
                      <a:pt x="1272" y="64"/>
                    </a:lnTo>
                    <a:lnTo>
                      <a:pt x="1274" y="64"/>
                    </a:lnTo>
                    <a:lnTo>
                      <a:pt x="1275" y="65"/>
                    </a:lnTo>
                    <a:lnTo>
                      <a:pt x="1277" y="65"/>
                    </a:lnTo>
                    <a:lnTo>
                      <a:pt x="1275" y="67"/>
                    </a:lnTo>
                    <a:lnTo>
                      <a:pt x="1274" y="69"/>
                    </a:lnTo>
                    <a:lnTo>
                      <a:pt x="1297" y="83"/>
                    </a:lnTo>
                    <a:lnTo>
                      <a:pt x="1297" y="81"/>
                    </a:lnTo>
                    <a:lnTo>
                      <a:pt x="1299" y="80"/>
                    </a:lnTo>
                    <a:lnTo>
                      <a:pt x="1299" y="78"/>
                    </a:lnTo>
                    <a:lnTo>
                      <a:pt x="1304" y="81"/>
                    </a:lnTo>
                    <a:lnTo>
                      <a:pt x="1315" y="88"/>
                    </a:lnTo>
                    <a:lnTo>
                      <a:pt x="1315" y="89"/>
                    </a:lnTo>
                    <a:lnTo>
                      <a:pt x="1315" y="91"/>
                    </a:lnTo>
                    <a:lnTo>
                      <a:pt x="1315" y="92"/>
                    </a:lnTo>
                    <a:lnTo>
                      <a:pt x="1318" y="94"/>
                    </a:lnTo>
                    <a:lnTo>
                      <a:pt x="1319" y="94"/>
                    </a:lnTo>
                    <a:lnTo>
                      <a:pt x="1334" y="103"/>
                    </a:lnTo>
                    <a:lnTo>
                      <a:pt x="1337" y="105"/>
                    </a:lnTo>
                    <a:lnTo>
                      <a:pt x="1337" y="102"/>
                    </a:lnTo>
                    <a:lnTo>
                      <a:pt x="1335" y="100"/>
                    </a:lnTo>
                    <a:lnTo>
                      <a:pt x="1337" y="100"/>
                    </a:lnTo>
                    <a:lnTo>
                      <a:pt x="1338" y="102"/>
                    </a:lnTo>
                    <a:lnTo>
                      <a:pt x="1340" y="102"/>
                    </a:lnTo>
                    <a:lnTo>
                      <a:pt x="1342" y="103"/>
                    </a:lnTo>
                    <a:lnTo>
                      <a:pt x="1342" y="105"/>
                    </a:lnTo>
                    <a:lnTo>
                      <a:pt x="1342" y="107"/>
                    </a:lnTo>
                    <a:lnTo>
                      <a:pt x="1345" y="108"/>
                    </a:lnTo>
                    <a:lnTo>
                      <a:pt x="1345" y="110"/>
                    </a:lnTo>
                    <a:lnTo>
                      <a:pt x="1346" y="108"/>
                    </a:lnTo>
                    <a:lnTo>
                      <a:pt x="1348" y="108"/>
                    </a:lnTo>
                    <a:lnTo>
                      <a:pt x="1348" y="107"/>
                    </a:lnTo>
                    <a:lnTo>
                      <a:pt x="1351" y="108"/>
                    </a:lnTo>
                    <a:lnTo>
                      <a:pt x="1353" y="108"/>
                    </a:lnTo>
                    <a:lnTo>
                      <a:pt x="1353" y="110"/>
                    </a:lnTo>
                    <a:lnTo>
                      <a:pt x="1354" y="110"/>
                    </a:lnTo>
                    <a:lnTo>
                      <a:pt x="1356" y="111"/>
                    </a:lnTo>
                    <a:lnTo>
                      <a:pt x="1357" y="111"/>
                    </a:lnTo>
                    <a:lnTo>
                      <a:pt x="1359" y="113"/>
                    </a:lnTo>
                    <a:lnTo>
                      <a:pt x="1361" y="113"/>
                    </a:lnTo>
                    <a:lnTo>
                      <a:pt x="1361" y="114"/>
                    </a:lnTo>
                    <a:lnTo>
                      <a:pt x="1362" y="114"/>
                    </a:lnTo>
                    <a:lnTo>
                      <a:pt x="1364" y="114"/>
                    </a:lnTo>
                    <a:lnTo>
                      <a:pt x="1364" y="116"/>
                    </a:lnTo>
                    <a:lnTo>
                      <a:pt x="1365" y="116"/>
                    </a:lnTo>
                    <a:lnTo>
                      <a:pt x="1365" y="118"/>
                    </a:lnTo>
                    <a:lnTo>
                      <a:pt x="1367" y="118"/>
                    </a:lnTo>
                    <a:lnTo>
                      <a:pt x="1369" y="118"/>
                    </a:lnTo>
                    <a:lnTo>
                      <a:pt x="1369" y="119"/>
                    </a:lnTo>
                    <a:lnTo>
                      <a:pt x="1370" y="119"/>
                    </a:lnTo>
                    <a:lnTo>
                      <a:pt x="1372" y="119"/>
                    </a:lnTo>
                    <a:lnTo>
                      <a:pt x="1372" y="121"/>
                    </a:lnTo>
                    <a:lnTo>
                      <a:pt x="1373" y="121"/>
                    </a:lnTo>
                    <a:lnTo>
                      <a:pt x="1378" y="122"/>
                    </a:lnTo>
                    <a:lnTo>
                      <a:pt x="1378" y="124"/>
                    </a:lnTo>
                    <a:lnTo>
                      <a:pt x="1381" y="126"/>
                    </a:lnTo>
                    <a:lnTo>
                      <a:pt x="1381" y="127"/>
                    </a:lnTo>
                    <a:lnTo>
                      <a:pt x="1381" y="129"/>
                    </a:lnTo>
                    <a:lnTo>
                      <a:pt x="1388" y="134"/>
                    </a:lnTo>
                    <a:lnTo>
                      <a:pt x="1388" y="135"/>
                    </a:lnTo>
                    <a:lnTo>
                      <a:pt x="1407" y="145"/>
                    </a:lnTo>
                    <a:lnTo>
                      <a:pt x="1410" y="141"/>
                    </a:lnTo>
                    <a:lnTo>
                      <a:pt x="1411" y="143"/>
                    </a:lnTo>
                    <a:lnTo>
                      <a:pt x="1413" y="143"/>
                    </a:lnTo>
                    <a:lnTo>
                      <a:pt x="1416" y="145"/>
                    </a:lnTo>
                    <a:lnTo>
                      <a:pt x="1419" y="148"/>
                    </a:lnTo>
                    <a:lnTo>
                      <a:pt x="1438" y="157"/>
                    </a:lnTo>
                    <a:lnTo>
                      <a:pt x="1438" y="159"/>
                    </a:lnTo>
                    <a:lnTo>
                      <a:pt x="1440" y="159"/>
                    </a:lnTo>
                    <a:lnTo>
                      <a:pt x="1446" y="162"/>
                    </a:lnTo>
                    <a:lnTo>
                      <a:pt x="1448" y="164"/>
                    </a:lnTo>
                    <a:lnTo>
                      <a:pt x="1449" y="164"/>
                    </a:lnTo>
                    <a:lnTo>
                      <a:pt x="1449" y="165"/>
                    </a:lnTo>
                    <a:lnTo>
                      <a:pt x="1454" y="167"/>
                    </a:lnTo>
                    <a:lnTo>
                      <a:pt x="1457" y="168"/>
                    </a:lnTo>
                    <a:lnTo>
                      <a:pt x="1457" y="170"/>
                    </a:lnTo>
                    <a:lnTo>
                      <a:pt x="1459" y="170"/>
                    </a:lnTo>
                    <a:lnTo>
                      <a:pt x="1460" y="170"/>
                    </a:lnTo>
                    <a:lnTo>
                      <a:pt x="1464" y="172"/>
                    </a:lnTo>
                    <a:lnTo>
                      <a:pt x="1467" y="175"/>
                    </a:lnTo>
                    <a:lnTo>
                      <a:pt x="1468" y="175"/>
                    </a:lnTo>
                    <a:lnTo>
                      <a:pt x="1472" y="178"/>
                    </a:lnTo>
                    <a:lnTo>
                      <a:pt x="1475" y="179"/>
                    </a:lnTo>
                    <a:lnTo>
                      <a:pt x="1478" y="179"/>
                    </a:lnTo>
                    <a:lnTo>
                      <a:pt x="1478" y="181"/>
                    </a:lnTo>
                    <a:lnTo>
                      <a:pt x="1479" y="181"/>
                    </a:lnTo>
                    <a:lnTo>
                      <a:pt x="1481" y="183"/>
                    </a:lnTo>
                    <a:lnTo>
                      <a:pt x="1483" y="183"/>
                    </a:lnTo>
                    <a:lnTo>
                      <a:pt x="1483" y="184"/>
                    </a:lnTo>
                    <a:lnTo>
                      <a:pt x="1484" y="184"/>
                    </a:lnTo>
                    <a:lnTo>
                      <a:pt x="1486" y="184"/>
                    </a:lnTo>
                    <a:lnTo>
                      <a:pt x="1492" y="189"/>
                    </a:lnTo>
                    <a:lnTo>
                      <a:pt x="1497" y="191"/>
                    </a:lnTo>
                    <a:lnTo>
                      <a:pt x="1498" y="192"/>
                    </a:lnTo>
                    <a:lnTo>
                      <a:pt x="1500" y="194"/>
                    </a:lnTo>
                    <a:lnTo>
                      <a:pt x="1502" y="194"/>
                    </a:lnTo>
                    <a:lnTo>
                      <a:pt x="1503" y="195"/>
                    </a:lnTo>
                    <a:lnTo>
                      <a:pt x="1506" y="195"/>
                    </a:lnTo>
                    <a:lnTo>
                      <a:pt x="1508" y="198"/>
                    </a:lnTo>
                    <a:lnTo>
                      <a:pt x="1510" y="198"/>
                    </a:lnTo>
                    <a:lnTo>
                      <a:pt x="1511" y="198"/>
                    </a:lnTo>
                    <a:lnTo>
                      <a:pt x="1511" y="200"/>
                    </a:lnTo>
                    <a:lnTo>
                      <a:pt x="1513" y="200"/>
                    </a:lnTo>
                    <a:lnTo>
                      <a:pt x="1529" y="210"/>
                    </a:lnTo>
                    <a:lnTo>
                      <a:pt x="1533" y="213"/>
                    </a:lnTo>
                    <a:lnTo>
                      <a:pt x="1536" y="213"/>
                    </a:lnTo>
                    <a:lnTo>
                      <a:pt x="1536" y="214"/>
                    </a:lnTo>
                    <a:lnTo>
                      <a:pt x="1538" y="214"/>
                    </a:lnTo>
                    <a:lnTo>
                      <a:pt x="1540" y="214"/>
                    </a:lnTo>
                    <a:lnTo>
                      <a:pt x="1538" y="216"/>
                    </a:lnTo>
                    <a:lnTo>
                      <a:pt x="1535" y="217"/>
                    </a:lnTo>
                    <a:lnTo>
                      <a:pt x="1559" y="230"/>
                    </a:lnTo>
                    <a:lnTo>
                      <a:pt x="1581" y="244"/>
                    </a:lnTo>
                    <a:lnTo>
                      <a:pt x="1581" y="238"/>
                    </a:lnTo>
                    <a:lnTo>
                      <a:pt x="1582" y="238"/>
                    </a:lnTo>
                    <a:lnTo>
                      <a:pt x="1582" y="240"/>
                    </a:lnTo>
                    <a:lnTo>
                      <a:pt x="1584" y="240"/>
                    </a:lnTo>
                    <a:lnTo>
                      <a:pt x="1586" y="241"/>
                    </a:lnTo>
                    <a:lnTo>
                      <a:pt x="1589" y="243"/>
                    </a:lnTo>
                    <a:lnTo>
                      <a:pt x="1590" y="243"/>
                    </a:lnTo>
                    <a:lnTo>
                      <a:pt x="1590" y="244"/>
                    </a:lnTo>
                    <a:lnTo>
                      <a:pt x="1600" y="249"/>
                    </a:lnTo>
                    <a:lnTo>
                      <a:pt x="1601" y="249"/>
                    </a:lnTo>
                    <a:lnTo>
                      <a:pt x="1605" y="252"/>
                    </a:lnTo>
                    <a:lnTo>
                      <a:pt x="1608" y="254"/>
                    </a:lnTo>
                    <a:lnTo>
                      <a:pt x="1609" y="255"/>
                    </a:lnTo>
                    <a:lnTo>
                      <a:pt x="1611" y="255"/>
                    </a:lnTo>
                    <a:lnTo>
                      <a:pt x="1613" y="255"/>
                    </a:lnTo>
                    <a:lnTo>
                      <a:pt x="1613" y="257"/>
                    </a:lnTo>
                    <a:lnTo>
                      <a:pt x="1614" y="257"/>
                    </a:lnTo>
                    <a:lnTo>
                      <a:pt x="1617" y="259"/>
                    </a:lnTo>
                    <a:lnTo>
                      <a:pt x="1620" y="260"/>
                    </a:lnTo>
                    <a:lnTo>
                      <a:pt x="1622" y="262"/>
                    </a:lnTo>
                    <a:lnTo>
                      <a:pt x="1624" y="262"/>
                    </a:lnTo>
                    <a:lnTo>
                      <a:pt x="1628" y="265"/>
                    </a:lnTo>
                    <a:lnTo>
                      <a:pt x="1630" y="265"/>
                    </a:lnTo>
                    <a:lnTo>
                      <a:pt x="1630" y="267"/>
                    </a:lnTo>
                    <a:lnTo>
                      <a:pt x="1632" y="267"/>
                    </a:lnTo>
                    <a:lnTo>
                      <a:pt x="1635" y="268"/>
                    </a:lnTo>
                    <a:lnTo>
                      <a:pt x="1638" y="270"/>
                    </a:lnTo>
                    <a:lnTo>
                      <a:pt x="1638" y="271"/>
                    </a:lnTo>
                    <a:lnTo>
                      <a:pt x="1639" y="271"/>
                    </a:lnTo>
                    <a:lnTo>
                      <a:pt x="1641" y="271"/>
                    </a:lnTo>
                    <a:lnTo>
                      <a:pt x="1641" y="273"/>
                    </a:lnTo>
                    <a:lnTo>
                      <a:pt x="1643" y="273"/>
                    </a:lnTo>
                    <a:lnTo>
                      <a:pt x="1644" y="274"/>
                    </a:lnTo>
                    <a:lnTo>
                      <a:pt x="1646" y="274"/>
                    </a:lnTo>
                    <a:lnTo>
                      <a:pt x="1647" y="276"/>
                    </a:lnTo>
                    <a:lnTo>
                      <a:pt x="1649" y="276"/>
                    </a:lnTo>
                    <a:lnTo>
                      <a:pt x="1649" y="278"/>
                    </a:lnTo>
                    <a:lnTo>
                      <a:pt x="1651" y="278"/>
                    </a:lnTo>
                    <a:lnTo>
                      <a:pt x="1652" y="278"/>
                    </a:lnTo>
                    <a:lnTo>
                      <a:pt x="1652" y="279"/>
                    </a:lnTo>
                    <a:lnTo>
                      <a:pt x="1654" y="279"/>
                    </a:lnTo>
                    <a:lnTo>
                      <a:pt x="1658" y="282"/>
                    </a:lnTo>
                    <a:lnTo>
                      <a:pt x="1662" y="284"/>
                    </a:lnTo>
                    <a:lnTo>
                      <a:pt x="1665" y="286"/>
                    </a:lnTo>
                    <a:lnTo>
                      <a:pt x="1666" y="286"/>
                    </a:lnTo>
                    <a:lnTo>
                      <a:pt x="1666" y="287"/>
                    </a:lnTo>
                    <a:lnTo>
                      <a:pt x="1668" y="287"/>
                    </a:lnTo>
                    <a:lnTo>
                      <a:pt x="1674" y="290"/>
                    </a:lnTo>
                    <a:lnTo>
                      <a:pt x="1676" y="292"/>
                    </a:lnTo>
                    <a:lnTo>
                      <a:pt x="1677" y="292"/>
                    </a:lnTo>
                    <a:lnTo>
                      <a:pt x="1679" y="293"/>
                    </a:lnTo>
                    <a:lnTo>
                      <a:pt x="1685" y="297"/>
                    </a:lnTo>
                    <a:lnTo>
                      <a:pt x="1689" y="298"/>
                    </a:lnTo>
                    <a:lnTo>
                      <a:pt x="1690" y="300"/>
                    </a:lnTo>
                    <a:lnTo>
                      <a:pt x="1692" y="300"/>
                    </a:lnTo>
                    <a:lnTo>
                      <a:pt x="1711" y="311"/>
                    </a:lnTo>
                    <a:lnTo>
                      <a:pt x="1712" y="311"/>
                    </a:lnTo>
                    <a:lnTo>
                      <a:pt x="1712" y="312"/>
                    </a:lnTo>
                    <a:lnTo>
                      <a:pt x="1714" y="312"/>
                    </a:lnTo>
                    <a:lnTo>
                      <a:pt x="1715" y="312"/>
                    </a:lnTo>
                    <a:lnTo>
                      <a:pt x="1717" y="314"/>
                    </a:lnTo>
                    <a:lnTo>
                      <a:pt x="1719" y="316"/>
                    </a:lnTo>
                    <a:lnTo>
                      <a:pt x="1720" y="317"/>
                    </a:lnTo>
                    <a:lnTo>
                      <a:pt x="1723" y="319"/>
                    </a:lnTo>
                    <a:lnTo>
                      <a:pt x="1725" y="319"/>
                    </a:lnTo>
                    <a:lnTo>
                      <a:pt x="1725" y="320"/>
                    </a:lnTo>
                    <a:lnTo>
                      <a:pt x="1727" y="320"/>
                    </a:lnTo>
                    <a:lnTo>
                      <a:pt x="1728" y="320"/>
                    </a:lnTo>
                    <a:lnTo>
                      <a:pt x="1728" y="322"/>
                    </a:lnTo>
                    <a:lnTo>
                      <a:pt x="1730" y="322"/>
                    </a:lnTo>
                    <a:lnTo>
                      <a:pt x="1731" y="322"/>
                    </a:lnTo>
                    <a:lnTo>
                      <a:pt x="1731" y="324"/>
                    </a:lnTo>
                    <a:lnTo>
                      <a:pt x="1733" y="324"/>
                    </a:lnTo>
                    <a:lnTo>
                      <a:pt x="1734" y="324"/>
                    </a:lnTo>
                    <a:lnTo>
                      <a:pt x="1734" y="325"/>
                    </a:lnTo>
                    <a:lnTo>
                      <a:pt x="1736" y="325"/>
                    </a:lnTo>
                    <a:lnTo>
                      <a:pt x="1738" y="327"/>
                    </a:lnTo>
                    <a:lnTo>
                      <a:pt x="1739" y="327"/>
                    </a:lnTo>
                    <a:lnTo>
                      <a:pt x="1741" y="328"/>
                    </a:lnTo>
                    <a:lnTo>
                      <a:pt x="1742" y="328"/>
                    </a:lnTo>
                    <a:lnTo>
                      <a:pt x="1742" y="330"/>
                    </a:lnTo>
                    <a:lnTo>
                      <a:pt x="1744" y="330"/>
                    </a:lnTo>
                    <a:lnTo>
                      <a:pt x="1746" y="330"/>
                    </a:lnTo>
                    <a:lnTo>
                      <a:pt x="1747" y="332"/>
                    </a:lnTo>
                    <a:lnTo>
                      <a:pt x="1749" y="332"/>
                    </a:lnTo>
                    <a:lnTo>
                      <a:pt x="1749" y="333"/>
                    </a:lnTo>
                    <a:lnTo>
                      <a:pt x="1750" y="333"/>
                    </a:lnTo>
                    <a:lnTo>
                      <a:pt x="1755" y="335"/>
                    </a:lnTo>
                    <a:lnTo>
                      <a:pt x="1760" y="338"/>
                    </a:lnTo>
                    <a:lnTo>
                      <a:pt x="1761" y="339"/>
                    </a:lnTo>
                    <a:lnTo>
                      <a:pt x="1763" y="341"/>
                    </a:lnTo>
                    <a:lnTo>
                      <a:pt x="1769" y="344"/>
                    </a:lnTo>
                    <a:lnTo>
                      <a:pt x="1774" y="346"/>
                    </a:lnTo>
                    <a:lnTo>
                      <a:pt x="1774" y="347"/>
                    </a:lnTo>
                    <a:lnTo>
                      <a:pt x="1776" y="347"/>
                    </a:lnTo>
                    <a:lnTo>
                      <a:pt x="1787" y="354"/>
                    </a:lnTo>
                    <a:lnTo>
                      <a:pt x="1796" y="358"/>
                    </a:lnTo>
                    <a:lnTo>
                      <a:pt x="1796" y="360"/>
                    </a:lnTo>
                    <a:lnTo>
                      <a:pt x="1798" y="360"/>
                    </a:lnTo>
                    <a:lnTo>
                      <a:pt x="1799" y="360"/>
                    </a:lnTo>
                    <a:lnTo>
                      <a:pt x="1799" y="362"/>
                    </a:lnTo>
                    <a:lnTo>
                      <a:pt x="1801" y="362"/>
                    </a:lnTo>
                    <a:lnTo>
                      <a:pt x="1803" y="363"/>
                    </a:lnTo>
                    <a:lnTo>
                      <a:pt x="1801" y="363"/>
                    </a:lnTo>
                    <a:lnTo>
                      <a:pt x="1801" y="366"/>
                    </a:lnTo>
                    <a:lnTo>
                      <a:pt x="1801" y="370"/>
                    </a:lnTo>
                    <a:lnTo>
                      <a:pt x="1801" y="374"/>
                    </a:lnTo>
                    <a:lnTo>
                      <a:pt x="1809" y="377"/>
                    </a:lnTo>
                    <a:lnTo>
                      <a:pt x="1836" y="392"/>
                    </a:lnTo>
                    <a:lnTo>
                      <a:pt x="1837" y="382"/>
                    </a:lnTo>
                    <a:lnTo>
                      <a:pt x="1842" y="385"/>
                    </a:lnTo>
                    <a:lnTo>
                      <a:pt x="1844" y="387"/>
                    </a:lnTo>
                    <a:lnTo>
                      <a:pt x="1845" y="387"/>
                    </a:lnTo>
                    <a:lnTo>
                      <a:pt x="1847" y="389"/>
                    </a:lnTo>
                    <a:lnTo>
                      <a:pt x="1850" y="390"/>
                    </a:lnTo>
                    <a:lnTo>
                      <a:pt x="1852" y="392"/>
                    </a:lnTo>
                    <a:lnTo>
                      <a:pt x="1853" y="392"/>
                    </a:lnTo>
                    <a:lnTo>
                      <a:pt x="1855" y="392"/>
                    </a:lnTo>
                    <a:lnTo>
                      <a:pt x="1855" y="393"/>
                    </a:lnTo>
                    <a:lnTo>
                      <a:pt x="1856" y="393"/>
                    </a:lnTo>
                    <a:lnTo>
                      <a:pt x="1858" y="395"/>
                    </a:lnTo>
                    <a:lnTo>
                      <a:pt x="1860" y="395"/>
                    </a:lnTo>
                    <a:lnTo>
                      <a:pt x="1861" y="396"/>
                    </a:lnTo>
                    <a:lnTo>
                      <a:pt x="1863" y="396"/>
                    </a:lnTo>
                    <a:lnTo>
                      <a:pt x="1864" y="398"/>
                    </a:lnTo>
                    <a:lnTo>
                      <a:pt x="1866" y="398"/>
                    </a:lnTo>
                    <a:lnTo>
                      <a:pt x="1866" y="400"/>
                    </a:lnTo>
                    <a:lnTo>
                      <a:pt x="1868" y="400"/>
                    </a:lnTo>
                    <a:lnTo>
                      <a:pt x="1879" y="406"/>
                    </a:lnTo>
                    <a:lnTo>
                      <a:pt x="1880" y="408"/>
                    </a:lnTo>
                    <a:lnTo>
                      <a:pt x="1882" y="408"/>
                    </a:lnTo>
                    <a:lnTo>
                      <a:pt x="1883" y="408"/>
                    </a:lnTo>
                    <a:lnTo>
                      <a:pt x="1883" y="409"/>
                    </a:lnTo>
                    <a:lnTo>
                      <a:pt x="1885" y="409"/>
                    </a:lnTo>
                    <a:lnTo>
                      <a:pt x="1887" y="411"/>
                    </a:lnTo>
                    <a:lnTo>
                      <a:pt x="1890" y="412"/>
                    </a:lnTo>
                    <a:lnTo>
                      <a:pt x="1891" y="414"/>
                    </a:lnTo>
                    <a:lnTo>
                      <a:pt x="1893" y="414"/>
                    </a:lnTo>
                    <a:lnTo>
                      <a:pt x="1893" y="415"/>
                    </a:lnTo>
                    <a:lnTo>
                      <a:pt x="1898" y="417"/>
                    </a:lnTo>
                    <a:lnTo>
                      <a:pt x="1901" y="419"/>
                    </a:lnTo>
                    <a:lnTo>
                      <a:pt x="1902" y="420"/>
                    </a:lnTo>
                    <a:lnTo>
                      <a:pt x="1904" y="420"/>
                    </a:lnTo>
                    <a:lnTo>
                      <a:pt x="1915" y="427"/>
                    </a:lnTo>
                    <a:lnTo>
                      <a:pt x="1920" y="430"/>
                    </a:lnTo>
                    <a:lnTo>
                      <a:pt x="1925" y="433"/>
                    </a:lnTo>
                    <a:lnTo>
                      <a:pt x="1926" y="433"/>
                    </a:lnTo>
                    <a:lnTo>
                      <a:pt x="1928" y="434"/>
                    </a:lnTo>
                    <a:lnTo>
                      <a:pt x="1931" y="436"/>
                    </a:lnTo>
                    <a:lnTo>
                      <a:pt x="1936" y="438"/>
                    </a:lnTo>
                    <a:lnTo>
                      <a:pt x="1940" y="441"/>
                    </a:lnTo>
                    <a:lnTo>
                      <a:pt x="1942" y="442"/>
                    </a:lnTo>
                    <a:lnTo>
                      <a:pt x="1944" y="442"/>
                    </a:lnTo>
                    <a:lnTo>
                      <a:pt x="1945" y="444"/>
                    </a:lnTo>
                    <a:lnTo>
                      <a:pt x="1948" y="446"/>
                    </a:lnTo>
                    <a:lnTo>
                      <a:pt x="1950" y="446"/>
                    </a:lnTo>
                    <a:lnTo>
                      <a:pt x="1953" y="447"/>
                    </a:lnTo>
                    <a:lnTo>
                      <a:pt x="1953" y="449"/>
                    </a:lnTo>
                    <a:lnTo>
                      <a:pt x="1955" y="449"/>
                    </a:lnTo>
                    <a:lnTo>
                      <a:pt x="1958" y="450"/>
                    </a:lnTo>
                    <a:lnTo>
                      <a:pt x="1959" y="452"/>
                    </a:lnTo>
                    <a:lnTo>
                      <a:pt x="1966" y="455"/>
                    </a:lnTo>
                    <a:lnTo>
                      <a:pt x="1967" y="455"/>
                    </a:lnTo>
                    <a:lnTo>
                      <a:pt x="1967" y="457"/>
                    </a:lnTo>
                    <a:lnTo>
                      <a:pt x="1975" y="461"/>
                    </a:lnTo>
                    <a:lnTo>
                      <a:pt x="1977" y="461"/>
                    </a:lnTo>
                    <a:lnTo>
                      <a:pt x="1978" y="463"/>
                    </a:lnTo>
                    <a:lnTo>
                      <a:pt x="1980" y="463"/>
                    </a:lnTo>
                    <a:lnTo>
                      <a:pt x="1983" y="465"/>
                    </a:lnTo>
                    <a:lnTo>
                      <a:pt x="1985" y="466"/>
                    </a:lnTo>
                    <a:lnTo>
                      <a:pt x="1986" y="468"/>
                    </a:lnTo>
                    <a:lnTo>
                      <a:pt x="1988" y="468"/>
                    </a:lnTo>
                    <a:lnTo>
                      <a:pt x="1991" y="469"/>
                    </a:lnTo>
                    <a:lnTo>
                      <a:pt x="1993" y="471"/>
                    </a:lnTo>
                    <a:lnTo>
                      <a:pt x="1994" y="471"/>
                    </a:lnTo>
                    <a:lnTo>
                      <a:pt x="1994" y="472"/>
                    </a:lnTo>
                    <a:lnTo>
                      <a:pt x="1996" y="472"/>
                    </a:lnTo>
                    <a:lnTo>
                      <a:pt x="1997" y="472"/>
                    </a:lnTo>
                    <a:lnTo>
                      <a:pt x="1999" y="474"/>
                    </a:lnTo>
                    <a:lnTo>
                      <a:pt x="2004" y="476"/>
                    </a:lnTo>
                    <a:lnTo>
                      <a:pt x="2004" y="477"/>
                    </a:lnTo>
                    <a:lnTo>
                      <a:pt x="2005" y="477"/>
                    </a:lnTo>
                    <a:lnTo>
                      <a:pt x="2007" y="477"/>
                    </a:lnTo>
                    <a:lnTo>
                      <a:pt x="2009" y="479"/>
                    </a:lnTo>
                    <a:lnTo>
                      <a:pt x="2018" y="485"/>
                    </a:lnTo>
                    <a:lnTo>
                      <a:pt x="2020" y="485"/>
                    </a:lnTo>
                    <a:lnTo>
                      <a:pt x="2021" y="487"/>
                    </a:lnTo>
                    <a:lnTo>
                      <a:pt x="2023" y="487"/>
                    </a:lnTo>
                    <a:lnTo>
                      <a:pt x="2023" y="488"/>
                    </a:lnTo>
                    <a:lnTo>
                      <a:pt x="2024" y="488"/>
                    </a:lnTo>
                    <a:lnTo>
                      <a:pt x="2026" y="490"/>
                    </a:lnTo>
                    <a:lnTo>
                      <a:pt x="2034" y="493"/>
                    </a:lnTo>
                    <a:lnTo>
                      <a:pt x="2035" y="495"/>
                    </a:lnTo>
                    <a:lnTo>
                      <a:pt x="2037" y="496"/>
                    </a:lnTo>
                    <a:lnTo>
                      <a:pt x="2039" y="496"/>
                    </a:lnTo>
                    <a:lnTo>
                      <a:pt x="2040" y="496"/>
                    </a:lnTo>
                    <a:lnTo>
                      <a:pt x="2040" y="498"/>
                    </a:lnTo>
                    <a:lnTo>
                      <a:pt x="2047" y="501"/>
                    </a:lnTo>
                    <a:lnTo>
                      <a:pt x="2048" y="501"/>
                    </a:lnTo>
                    <a:lnTo>
                      <a:pt x="2053" y="504"/>
                    </a:lnTo>
                    <a:lnTo>
                      <a:pt x="2054" y="506"/>
                    </a:lnTo>
                    <a:lnTo>
                      <a:pt x="2056" y="506"/>
                    </a:lnTo>
                    <a:lnTo>
                      <a:pt x="2058" y="507"/>
                    </a:lnTo>
                    <a:lnTo>
                      <a:pt x="2059" y="509"/>
                    </a:lnTo>
                    <a:lnTo>
                      <a:pt x="2062" y="509"/>
                    </a:lnTo>
                    <a:lnTo>
                      <a:pt x="2062" y="511"/>
                    </a:lnTo>
                    <a:lnTo>
                      <a:pt x="2086" y="523"/>
                    </a:lnTo>
                    <a:lnTo>
                      <a:pt x="2094" y="528"/>
                    </a:lnTo>
                    <a:lnTo>
                      <a:pt x="2096" y="528"/>
                    </a:lnTo>
                    <a:lnTo>
                      <a:pt x="2096" y="530"/>
                    </a:lnTo>
                    <a:lnTo>
                      <a:pt x="2097" y="530"/>
                    </a:lnTo>
                    <a:lnTo>
                      <a:pt x="2099" y="531"/>
                    </a:lnTo>
                    <a:lnTo>
                      <a:pt x="2107" y="534"/>
                    </a:lnTo>
                    <a:lnTo>
                      <a:pt x="2126" y="545"/>
                    </a:lnTo>
                    <a:lnTo>
                      <a:pt x="2127" y="547"/>
                    </a:lnTo>
                    <a:lnTo>
                      <a:pt x="2129" y="547"/>
                    </a:lnTo>
                    <a:lnTo>
                      <a:pt x="2129" y="549"/>
                    </a:lnTo>
                    <a:lnTo>
                      <a:pt x="2130" y="549"/>
                    </a:lnTo>
                    <a:lnTo>
                      <a:pt x="2132" y="549"/>
                    </a:lnTo>
                    <a:lnTo>
                      <a:pt x="2134" y="550"/>
                    </a:lnTo>
                    <a:lnTo>
                      <a:pt x="2135" y="550"/>
                    </a:lnTo>
                    <a:lnTo>
                      <a:pt x="2137" y="552"/>
                    </a:lnTo>
                    <a:lnTo>
                      <a:pt x="2138" y="552"/>
                    </a:lnTo>
                    <a:lnTo>
                      <a:pt x="2140" y="553"/>
                    </a:lnTo>
                    <a:lnTo>
                      <a:pt x="2143" y="555"/>
                    </a:lnTo>
                    <a:lnTo>
                      <a:pt x="2146" y="556"/>
                    </a:lnTo>
                    <a:lnTo>
                      <a:pt x="2148" y="558"/>
                    </a:lnTo>
                    <a:lnTo>
                      <a:pt x="2162" y="566"/>
                    </a:lnTo>
                    <a:lnTo>
                      <a:pt x="2165" y="568"/>
                    </a:lnTo>
                    <a:lnTo>
                      <a:pt x="2167" y="568"/>
                    </a:lnTo>
                    <a:lnTo>
                      <a:pt x="2169" y="569"/>
                    </a:lnTo>
                    <a:lnTo>
                      <a:pt x="2170" y="571"/>
                    </a:lnTo>
                    <a:lnTo>
                      <a:pt x="2172" y="571"/>
                    </a:lnTo>
                    <a:lnTo>
                      <a:pt x="2176" y="574"/>
                    </a:lnTo>
                    <a:lnTo>
                      <a:pt x="2178" y="574"/>
                    </a:lnTo>
                    <a:lnTo>
                      <a:pt x="2178" y="575"/>
                    </a:lnTo>
                    <a:lnTo>
                      <a:pt x="2180" y="575"/>
                    </a:lnTo>
                    <a:lnTo>
                      <a:pt x="2183" y="577"/>
                    </a:lnTo>
                    <a:lnTo>
                      <a:pt x="2184" y="577"/>
                    </a:lnTo>
                    <a:lnTo>
                      <a:pt x="2186" y="579"/>
                    </a:lnTo>
                    <a:lnTo>
                      <a:pt x="2191" y="580"/>
                    </a:lnTo>
                    <a:lnTo>
                      <a:pt x="2191" y="582"/>
                    </a:lnTo>
                    <a:lnTo>
                      <a:pt x="2192" y="582"/>
                    </a:lnTo>
                    <a:lnTo>
                      <a:pt x="2194" y="583"/>
                    </a:lnTo>
                    <a:lnTo>
                      <a:pt x="2199" y="585"/>
                    </a:lnTo>
                    <a:lnTo>
                      <a:pt x="2199" y="587"/>
                    </a:lnTo>
                    <a:lnTo>
                      <a:pt x="2200" y="587"/>
                    </a:lnTo>
                    <a:lnTo>
                      <a:pt x="2202" y="587"/>
                    </a:lnTo>
                    <a:lnTo>
                      <a:pt x="2203" y="588"/>
                    </a:lnTo>
                    <a:lnTo>
                      <a:pt x="2207" y="590"/>
                    </a:lnTo>
                    <a:lnTo>
                      <a:pt x="2208" y="590"/>
                    </a:lnTo>
                    <a:lnTo>
                      <a:pt x="2208" y="591"/>
                    </a:lnTo>
                    <a:lnTo>
                      <a:pt x="2210" y="591"/>
                    </a:lnTo>
                    <a:lnTo>
                      <a:pt x="2216" y="594"/>
                    </a:lnTo>
                    <a:lnTo>
                      <a:pt x="2219" y="598"/>
                    </a:lnTo>
                    <a:lnTo>
                      <a:pt x="2221" y="598"/>
                    </a:lnTo>
                    <a:lnTo>
                      <a:pt x="2224" y="599"/>
                    </a:lnTo>
                    <a:lnTo>
                      <a:pt x="2226" y="601"/>
                    </a:lnTo>
                    <a:lnTo>
                      <a:pt x="2229" y="602"/>
                    </a:lnTo>
                    <a:lnTo>
                      <a:pt x="2230" y="602"/>
                    </a:lnTo>
                    <a:lnTo>
                      <a:pt x="2230" y="604"/>
                    </a:lnTo>
                    <a:lnTo>
                      <a:pt x="2233" y="604"/>
                    </a:lnTo>
                    <a:lnTo>
                      <a:pt x="2238" y="607"/>
                    </a:lnTo>
                    <a:lnTo>
                      <a:pt x="2237" y="607"/>
                    </a:lnTo>
                    <a:lnTo>
                      <a:pt x="2235" y="609"/>
                    </a:lnTo>
                    <a:lnTo>
                      <a:pt x="2233" y="607"/>
                    </a:lnTo>
                    <a:lnTo>
                      <a:pt x="2230" y="607"/>
                    </a:lnTo>
                    <a:lnTo>
                      <a:pt x="2229" y="609"/>
                    </a:lnTo>
                    <a:lnTo>
                      <a:pt x="2257" y="625"/>
                    </a:lnTo>
                    <a:lnTo>
                      <a:pt x="2262" y="620"/>
                    </a:lnTo>
                    <a:lnTo>
                      <a:pt x="2262" y="621"/>
                    </a:lnTo>
                    <a:lnTo>
                      <a:pt x="2264" y="621"/>
                    </a:lnTo>
                    <a:lnTo>
                      <a:pt x="2276" y="628"/>
                    </a:lnTo>
                    <a:lnTo>
                      <a:pt x="2278" y="629"/>
                    </a:lnTo>
                    <a:lnTo>
                      <a:pt x="2279" y="629"/>
                    </a:lnTo>
                    <a:lnTo>
                      <a:pt x="2279" y="631"/>
                    </a:lnTo>
                    <a:lnTo>
                      <a:pt x="2281" y="631"/>
                    </a:lnTo>
                    <a:lnTo>
                      <a:pt x="2279" y="634"/>
                    </a:lnTo>
                    <a:lnTo>
                      <a:pt x="2279" y="636"/>
                    </a:lnTo>
                    <a:lnTo>
                      <a:pt x="2281" y="637"/>
                    </a:lnTo>
                    <a:lnTo>
                      <a:pt x="2284" y="639"/>
                    </a:lnTo>
                    <a:lnTo>
                      <a:pt x="2287" y="636"/>
                    </a:lnTo>
                    <a:lnTo>
                      <a:pt x="2287" y="634"/>
                    </a:lnTo>
                    <a:lnTo>
                      <a:pt x="2287" y="636"/>
                    </a:lnTo>
                    <a:lnTo>
                      <a:pt x="2289" y="636"/>
                    </a:lnTo>
                    <a:lnTo>
                      <a:pt x="2290" y="636"/>
                    </a:lnTo>
                    <a:lnTo>
                      <a:pt x="2290" y="637"/>
                    </a:lnTo>
                    <a:lnTo>
                      <a:pt x="2292" y="637"/>
                    </a:lnTo>
                    <a:lnTo>
                      <a:pt x="2295" y="640"/>
                    </a:lnTo>
                    <a:lnTo>
                      <a:pt x="2298" y="640"/>
                    </a:lnTo>
                    <a:lnTo>
                      <a:pt x="2298" y="642"/>
                    </a:lnTo>
                    <a:lnTo>
                      <a:pt x="2300" y="642"/>
                    </a:lnTo>
                    <a:lnTo>
                      <a:pt x="2303" y="644"/>
                    </a:lnTo>
                    <a:lnTo>
                      <a:pt x="2317" y="653"/>
                    </a:lnTo>
                    <a:lnTo>
                      <a:pt x="2321" y="656"/>
                    </a:lnTo>
                    <a:lnTo>
                      <a:pt x="2322" y="658"/>
                    </a:lnTo>
                    <a:lnTo>
                      <a:pt x="2324" y="658"/>
                    </a:lnTo>
                    <a:lnTo>
                      <a:pt x="2325" y="659"/>
                    </a:lnTo>
                    <a:lnTo>
                      <a:pt x="2332" y="664"/>
                    </a:lnTo>
                    <a:lnTo>
                      <a:pt x="2327" y="666"/>
                    </a:lnTo>
                    <a:lnTo>
                      <a:pt x="2332" y="669"/>
                    </a:lnTo>
                    <a:lnTo>
                      <a:pt x="2348" y="680"/>
                    </a:lnTo>
                    <a:lnTo>
                      <a:pt x="2349" y="689"/>
                    </a:lnTo>
                    <a:lnTo>
                      <a:pt x="2349" y="694"/>
                    </a:lnTo>
                    <a:lnTo>
                      <a:pt x="2351" y="704"/>
                    </a:lnTo>
                    <a:lnTo>
                      <a:pt x="2352" y="707"/>
                    </a:lnTo>
                    <a:lnTo>
                      <a:pt x="2352" y="713"/>
                    </a:lnTo>
                    <a:lnTo>
                      <a:pt x="2354" y="718"/>
                    </a:lnTo>
                    <a:lnTo>
                      <a:pt x="2354" y="720"/>
                    </a:lnTo>
                    <a:lnTo>
                      <a:pt x="2355" y="724"/>
                    </a:lnTo>
                    <a:lnTo>
                      <a:pt x="2355" y="726"/>
                    </a:lnTo>
                    <a:lnTo>
                      <a:pt x="2355" y="729"/>
                    </a:lnTo>
                    <a:lnTo>
                      <a:pt x="2355" y="731"/>
                    </a:lnTo>
                    <a:lnTo>
                      <a:pt x="2357" y="731"/>
                    </a:lnTo>
                    <a:lnTo>
                      <a:pt x="2357" y="732"/>
                    </a:lnTo>
                    <a:lnTo>
                      <a:pt x="2357" y="737"/>
                    </a:lnTo>
                    <a:lnTo>
                      <a:pt x="2357" y="740"/>
                    </a:lnTo>
                    <a:lnTo>
                      <a:pt x="2359" y="740"/>
                    </a:lnTo>
                    <a:lnTo>
                      <a:pt x="2359" y="742"/>
                    </a:lnTo>
                    <a:lnTo>
                      <a:pt x="2359" y="743"/>
                    </a:lnTo>
                    <a:lnTo>
                      <a:pt x="2359" y="745"/>
                    </a:lnTo>
                    <a:lnTo>
                      <a:pt x="2360" y="753"/>
                    </a:lnTo>
                    <a:lnTo>
                      <a:pt x="2360" y="758"/>
                    </a:lnTo>
                    <a:lnTo>
                      <a:pt x="2360" y="759"/>
                    </a:lnTo>
                    <a:lnTo>
                      <a:pt x="2359" y="759"/>
                    </a:lnTo>
                    <a:lnTo>
                      <a:pt x="2352" y="764"/>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77" name="Freeform 157"/>
              <p:cNvSpPr>
                <a:spLocks/>
              </p:cNvSpPr>
              <p:nvPr/>
            </p:nvSpPr>
            <p:spPr bwMode="auto">
              <a:xfrm>
                <a:off x="4556" y="1299"/>
                <a:ext cx="530" cy="1018"/>
              </a:xfrm>
              <a:custGeom>
                <a:avLst/>
                <a:gdLst>
                  <a:gd name="T0" fmla="*/ 4 w 530"/>
                  <a:gd name="T1" fmla="*/ 55 h 1018"/>
                  <a:gd name="T2" fmla="*/ 53 w 530"/>
                  <a:gd name="T3" fmla="*/ 84 h 1018"/>
                  <a:gd name="T4" fmla="*/ 136 w 530"/>
                  <a:gd name="T5" fmla="*/ 163 h 1018"/>
                  <a:gd name="T6" fmla="*/ 275 w 530"/>
                  <a:gd name="T7" fmla="*/ 261 h 1018"/>
                  <a:gd name="T8" fmla="*/ 521 w 530"/>
                  <a:gd name="T9" fmla="*/ 429 h 1018"/>
                  <a:gd name="T10" fmla="*/ 521 w 530"/>
                  <a:gd name="T11" fmla="*/ 440 h 1018"/>
                  <a:gd name="T12" fmla="*/ 525 w 530"/>
                  <a:gd name="T13" fmla="*/ 450 h 1018"/>
                  <a:gd name="T14" fmla="*/ 525 w 530"/>
                  <a:gd name="T15" fmla="*/ 461 h 1018"/>
                  <a:gd name="T16" fmla="*/ 518 w 530"/>
                  <a:gd name="T17" fmla="*/ 464 h 1018"/>
                  <a:gd name="T18" fmla="*/ 518 w 530"/>
                  <a:gd name="T19" fmla="*/ 464 h 1018"/>
                  <a:gd name="T20" fmla="*/ 513 w 530"/>
                  <a:gd name="T21" fmla="*/ 470 h 1018"/>
                  <a:gd name="T22" fmla="*/ 522 w 530"/>
                  <a:gd name="T23" fmla="*/ 475 h 1018"/>
                  <a:gd name="T24" fmla="*/ 524 w 530"/>
                  <a:gd name="T25" fmla="*/ 488 h 1018"/>
                  <a:gd name="T26" fmla="*/ 521 w 530"/>
                  <a:gd name="T27" fmla="*/ 505 h 1018"/>
                  <a:gd name="T28" fmla="*/ 514 w 530"/>
                  <a:gd name="T29" fmla="*/ 520 h 1018"/>
                  <a:gd name="T30" fmla="*/ 506 w 530"/>
                  <a:gd name="T31" fmla="*/ 513 h 1018"/>
                  <a:gd name="T32" fmla="*/ 511 w 530"/>
                  <a:gd name="T33" fmla="*/ 501 h 1018"/>
                  <a:gd name="T34" fmla="*/ 510 w 530"/>
                  <a:gd name="T35" fmla="*/ 494 h 1018"/>
                  <a:gd name="T36" fmla="*/ 505 w 530"/>
                  <a:gd name="T37" fmla="*/ 507 h 1018"/>
                  <a:gd name="T38" fmla="*/ 499 w 530"/>
                  <a:gd name="T39" fmla="*/ 518 h 1018"/>
                  <a:gd name="T40" fmla="*/ 495 w 530"/>
                  <a:gd name="T41" fmla="*/ 520 h 1018"/>
                  <a:gd name="T42" fmla="*/ 502 w 530"/>
                  <a:gd name="T43" fmla="*/ 534 h 1018"/>
                  <a:gd name="T44" fmla="*/ 495 w 530"/>
                  <a:gd name="T45" fmla="*/ 535 h 1018"/>
                  <a:gd name="T46" fmla="*/ 502 w 530"/>
                  <a:gd name="T47" fmla="*/ 546 h 1018"/>
                  <a:gd name="T48" fmla="*/ 491 w 530"/>
                  <a:gd name="T49" fmla="*/ 553 h 1018"/>
                  <a:gd name="T50" fmla="*/ 489 w 530"/>
                  <a:gd name="T51" fmla="*/ 556 h 1018"/>
                  <a:gd name="T52" fmla="*/ 495 w 530"/>
                  <a:gd name="T53" fmla="*/ 561 h 1018"/>
                  <a:gd name="T54" fmla="*/ 500 w 530"/>
                  <a:gd name="T55" fmla="*/ 577 h 1018"/>
                  <a:gd name="T56" fmla="*/ 489 w 530"/>
                  <a:gd name="T57" fmla="*/ 589 h 1018"/>
                  <a:gd name="T58" fmla="*/ 492 w 530"/>
                  <a:gd name="T59" fmla="*/ 600 h 1018"/>
                  <a:gd name="T60" fmla="*/ 481 w 530"/>
                  <a:gd name="T61" fmla="*/ 610 h 1018"/>
                  <a:gd name="T62" fmla="*/ 473 w 530"/>
                  <a:gd name="T63" fmla="*/ 619 h 1018"/>
                  <a:gd name="T64" fmla="*/ 484 w 530"/>
                  <a:gd name="T65" fmla="*/ 619 h 1018"/>
                  <a:gd name="T66" fmla="*/ 478 w 530"/>
                  <a:gd name="T67" fmla="*/ 640 h 1018"/>
                  <a:gd name="T68" fmla="*/ 470 w 530"/>
                  <a:gd name="T69" fmla="*/ 659 h 1018"/>
                  <a:gd name="T70" fmla="*/ 461 w 530"/>
                  <a:gd name="T71" fmla="*/ 676 h 1018"/>
                  <a:gd name="T72" fmla="*/ 449 w 530"/>
                  <a:gd name="T73" fmla="*/ 683 h 1018"/>
                  <a:gd name="T74" fmla="*/ 456 w 530"/>
                  <a:gd name="T75" fmla="*/ 694 h 1018"/>
                  <a:gd name="T76" fmla="*/ 449 w 530"/>
                  <a:gd name="T77" fmla="*/ 711 h 1018"/>
                  <a:gd name="T78" fmla="*/ 440 w 530"/>
                  <a:gd name="T79" fmla="*/ 729 h 1018"/>
                  <a:gd name="T80" fmla="*/ 430 w 530"/>
                  <a:gd name="T81" fmla="*/ 746 h 1018"/>
                  <a:gd name="T82" fmla="*/ 426 w 530"/>
                  <a:gd name="T83" fmla="*/ 756 h 1018"/>
                  <a:gd name="T84" fmla="*/ 423 w 530"/>
                  <a:gd name="T85" fmla="*/ 767 h 1018"/>
                  <a:gd name="T86" fmla="*/ 415 w 530"/>
                  <a:gd name="T87" fmla="*/ 786 h 1018"/>
                  <a:gd name="T88" fmla="*/ 405 w 530"/>
                  <a:gd name="T89" fmla="*/ 803 h 1018"/>
                  <a:gd name="T90" fmla="*/ 397 w 530"/>
                  <a:gd name="T91" fmla="*/ 822 h 1018"/>
                  <a:gd name="T92" fmla="*/ 397 w 530"/>
                  <a:gd name="T93" fmla="*/ 846 h 1018"/>
                  <a:gd name="T94" fmla="*/ 389 w 530"/>
                  <a:gd name="T95" fmla="*/ 865 h 1018"/>
                  <a:gd name="T96" fmla="*/ 386 w 530"/>
                  <a:gd name="T97" fmla="*/ 885 h 1018"/>
                  <a:gd name="T98" fmla="*/ 394 w 530"/>
                  <a:gd name="T99" fmla="*/ 901 h 1018"/>
                  <a:gd name="T100" fmla="*/ 404 w 530"/>
                  <a:gd name="T101" fmla="*/ 912 h 1018"/>
                  <a:gd name="T102" fmla="*/ 411 w 530"/>
                  <a:gd name="T103" fmla="*/ 919 h 1018"/>
                  <a:gd name="T104" fmla="*/ 413 w 530"/>
                  <a:gd name="T105" fmla="*/ 941 h 1018"/>
                  <a:gd name="T106" fmla="*/ 408 w 530"/>
                  <a:gd name="T107" fmla="*/ 957 h 1018"/>
                  <a:gd name="T108" fmla="*/ 407 w 530"/>
                  <a:gd name="T109" fmla="*/ 979 h 1018"/>
                  <a:gd name="T110" fmla="*/ 408 w 530"/>
                  <a:gd name="T111" fmla="*/ 995 h 1018"/>
                  <a:gd name="T112" fmla="*/ 411 w 530"/>
                  <a:gd name="T113" fmla="*/ 999 h 1018"/>
                  <a:gd name="T114" fmla="*/ 415 w 530"/>
                  <a:gd name="T115" fmla="*/ 995 h 1018"/>
                  <a:gd name="T116" fmla="*/ 426 w 530"/>
                  <a:gd name="T117" fmla="*/ 1007 h 1018"/>
                  <a:gd name="T118" fmla="*/ 442 w 530"/>
                  <a:gd name="T119" fmla="*/ 1015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0" h="1018">
                    <a:moveTo>
                      <a:pt x="31" y="0"/>
                    </a:moveTo>
                    <a:lnTo>
                      <a:pt x="31" y="8"/>
                    </a:lnTo>
                    <a:lnTo>
                      <a:pt x="27" y="9"/>
                    </a:lnTo>
                    <a:lnTo>
                      <a:pt x="23" y="11"/>
                    </a:lnTo>
                    <a:lnTo>
                      <a:pt x="17" y="17"/>
                    </a:lnTo>
                    <a:lnTo>
                      <a:pt x="12" y="22"/>
                    </a:lnTo>
                    <a:lnTo>
                      <a:pt x="4" y="32"/>
                    </a:lnTo>
                    <a:lnTo>
                      <a:pt x="0" y="36"/>
                    </a:lnTo>
                    <a:lnTo>
                      <a:pt x="0" y="38"/>
                    </a:lnTo>
                    <a:lnTo>
                      <a:pt x="0" y="41"/>
                    </a:lnTo>
                    <a:lnTo>
                      <a:pt x="0" y="44"/>
                    </a:lnTo>
                    <a:lnTo>
                      <a:pt x="9" y="44"/>
                    </a:lnTo>
                    <a:lnTo>
                      <a:pt x="11" y="44"/>
                    </a:lnTo>
                    <a:lnTo>
                      <a:pt x="9" y="46"/>
                    </a:lnTo>
                    <a:lnTo>
                      <a:pt x="6" y="52"/>
                    </a:lnTo>
                    <a:lnTo>
                      <a:pt x="4" y="54"/>
                    </a:lnTo>
                    <a:lnTo>
                      <a:pt x="4" y="55"/>
                    </a:lnTo>
                    <a:lnTo>
                      <a:pt x="3" y="55"/>
                    </a:lnTo>
                    <a:lnTo>
                      <a:pt x="3" y="57"/>
                    </a:lnTo>
                    <a:lnTo>
                      <a:pt x="3" y="59"/>
                    </a:lnTo>
                    <a:lnTo>
                      <a:pt x="3" y="60"/>
                    </a:lnTo>
                    <a:lnTo>
                      <a:pt x="4" y="60"/>
                    </a:lnTo>
                    <a:lnTo>
                      <a:pt x="4" y="62"/>
                    </a:lnTo>
                    <a:lnTo>
                      <a:pt x="6" y="62"/>
                    </a:lnTo>
                    <a:lnTo>
                      <a:pt x="6" y="63"/>
                    </a:lnTo>
                    <a:lnTo>
                      <a:pt x="11" y="65"/>
                    </a:lnTo>
                    <a:lnTo>
                      <a:pt x="15" y="63"/>
                    </a:lnTo>
                    <a:lnTo>
                      <a:pt x="22" y="60"/>
                    </a:lnTo>
                    <a:lnTo>
                      <a:pt x="25" y="59"/>
                    </a:lnTo>
                    <a:lnTo>
                      <a:pt x="34" y="65"/>
                    </a:lnTo>
                    <a:lnTo>
                      <a:pt x="44" y="68"/>
                    </a:lnTo>
                    <a:lnTo>
                      <a:pt x="49" y="70"/>
                    </a:lnTo>
                    <a:lnTo>
                      <a:pt x="50" y="73"/>
                    </a:lnTo>
                    <a:lnTo>
                      <a:pt x="53" y="84"/>
                    </a:lnTo>
                    <a:lnTo>
                      <a:pt x="55" y="87"/>
                    </a:lnTo>
                    <a:lnTo>
                      <a:pt x="55" y="89"/>
                    </a:lnTo>
                    <a:lnTo>
                      <a:pt x="58" y="97"/>
                    </a:lnTo>
                    <a:lnTo>
                      <a:pt x="65" y="114"/>
                    </a:lnTo>
                    <a:lnTo>
                      <a:pt x="71" y="117"/>
                    </a:lnTo>
                    <a:lnTo>
                      <a:pt x="118" y="150"/>
                    </a:lnTo>
                    <a:lnTo>
                      <a:pt x="122" y="152"/>
                    </a:lnTo>
                    <a:lnTo>
                      <a:pt x="125" y="154"/>
                    </a:lnTo>
                    <a:lnTo>
                      <a:pt x="128" y="157"/>
                    </a:lnTo>
                    <a:lnTo>
                      <a:pt x="129" y="157"/>
                    </a:lnTo>
                    <a:lnTo>
                      <a:pt x="129" y="158"/>
                    </a:lnTo>
                    <a:lnTo>
                      <a:pt x="131" y="158"/>
                    </a:lnTo>
                    <a:lnTo>
                      <a:pt x="131" y="160"/>
                    </a:lnTo>
                    <a:lnTo>
                      <a:pt x="133" y="160"/>
                    </a:lnTo>
                    <a:lnTo>
                      <a:pt x="134" y="162"/>
                    </a:lnTo>
                    <a:lnTo>
                      <a:pt x="136" y="162"/>
                    </a:lnTo>
                    <a:lnTo>
                      <a:pt x="136" y="163"/>
                    </a:lnTo>
                    <a:lnTo>
                      <a:pt x="137" y="163"/>
                    </a:lnTo>
                    <a:lnTo>
                      <a:pt x="137" y="165"/>
                    </a:lnTo>
                    <a:lnTo>
                      <a:pt x="139" y="165"/>
                    </a:lnTo>
                    <a:lnTo>
                      <a:pt x="141" y="166"/>
                    </a:lnTo>
                    <a:lnTo>
                      <a:pt x="142" y="166"/>
                    </a:lnTo>
                    <a:lnTo>
                      <a:pt x="142" y="168"/>
                    </a:lnTo>
                    <a:lnTo>
                      <a:pt x="156" y="177"/>
                    </a:lnTo>
                    <a:lnTo>
                      <a:pt x="166" y="184"/>
                    </a:lnTo>
                    <a:lnTo>
                      <a:pt x="175" y="190"/>
                    </a:lnTo>
                    <a:lnTo>
                      <a:pt x="177" y="192"/>
                    </a:lnTo>
                    <a:lnTo>
                      <a:pt x="179" y="193"/>
                    </a:lnTo>
                    <a:lnTo>
                      <a:pt x="223" y="223"/>
                    </a:lnTo>
                    <a:lnTo>
                      <a:pt x="225" y="226"/>
                    </a:lnTo>
                    <a:lnTo>
                      <a:pt x="264" y="253"/>
                    </a:lnTo>
                    <a:lnTo>
                      <a:pt x="267" y="255"/>
                    </a:lnTo>
                    <a:lnTo>
                      <a:pt x="272" y="258"/>
                    </a:lnTo>
                    <a:lnTo>
                      <a:pt x="275" y="261"/>
                    </a:lnTo>
                    <a:lnTo>
                      <a:pt x="277" y="263"/>
                    </a:lnTo>
                    <a:lnTo>
                      <a:pt x="278" y="263"/>
                    </a:lnTo>
                    <a:lnTo>
                      <a:pt x="278" y="264"/>
                    </a:lnTo>
                    <a:lnTo>
                      <a:pt x="304" y="282"/>
                    </a:lnTo>
                    <a:lnTo>
                      <a:pt x="307" y="283"/>
                    </a:lnTo>
                    <a:lnTo>
                      <a:pt x="383" y="334"/>
                    </a:lnTo>
                    <a:lnTo>
                      <a:pt x="392" y="341"/>
                    </a:lnTo>
                    <a:lnTo>
                      <a:pt x="394" y="342"/>
                    </a:lnTo>
                    <a:lnTo>
                      <a:pt x="461" y="388"/>
                    </a:lnTo>
                    <a:lnTo>
                      <a:pt x="462" y="390"/>
                    </a:lnTo>
                    <a:lnTo>
                      <a:pt x="486" y="405"/>
                    </a:lnTo>
                    <a:lnTo>
                      <a:pt x="487" y="407"/>
                    </a:lnTo>
                    <a:lnTo>
                      <a:pt x="494" y="410"/>
                    </a:lnTo>
                    <a:lnTo>
                      <a:pt x="497" y="413"/>
                    </a:lnTo>
                    <a:lnTo>
                      <a:pt x="508" y="420"/>
                    </a:lnTo>
                    <a:lnTo>
                      <a:pt x="519" y="429"/>
                    </a:lnTo>
                    <a:lnTo>
                      <a:pt x="521" y="429"/>
                    </a:lnTo>
                    <a:lnTo>
                      <a:pt x="522" y="431"/>
                    </a:lnTo>
                    <a:lnTo>
                      <a:pt x="522" y="432"/>
                    </a:lnTo>
                    <a:lnTo>
                      <a:pt x="524" y="432"/>
                    </a:lnTo>
                    <a:lnTo>
                      <a:pt x="525" y="432"/>
                    </a:lnTo>
                    <a:lnTo>
                      <a:pt x="525" y="434"/>
                    </a:lnTo>
                    <a:lnTo>
                      <a:pt x="527" y="436"/>
                    </a:lnTo>
                    <a:lnTo>
                      <a:pt x="529" y="436"/>
                    </a:lnTo>
                    <a:lnTo>
                      <a:pt x="530" y="436"/>
                    </a:lnTo>
                    <a:lnTo>
                      <a:pt x="529" y="436"/>
                    </a:lnTo>
                    <a:lnTo>
                      <a:pt x="529" y="437"/>
                    </a:lnTo>
                    <a:lnTo>
                      <a:pt x="529" y="439"/>
                    </a:lnTo>
                    <a:lnTo>
                      <a:pt x="527" y="439"/>
                    </a:lnTo>
                    <a:lnTo>
                      <a:pt x="525" y="439"/>
                    </a:lnTo>
                    <a:lnTo>
                      <a:pt x="524" y="439"/>
                    </a:lnTo>
                    <a:lnTo>
                      <a:pt x="522" y="439"/>
                    </a:lnTo>
                    <a:lnTo>
                      <a:pt x="521" y="439"/>
                    </a:lnTo>
                    <a:lnTo>
                      <a:pt x="521" y="440"/>
                    </a:lnTo>
                    <a:lnTo>
                      <a:pt x="519" y="440"/>
                    </a:lnTo>
                    <a:lnTo>
                      <a:pt x="518" y="440"/>
                    </a:lnTo>
                    <a:lnTo>
                      <a:pt x="519" y="440"/>
                    </a:lnTo>
                    <a:lnTo>
                      <a:pt x="521" y="440"/>
                    </a:lnTo>
                    <a:lnTo>
                      <a:pt x="522" y="440"/>
                    </a:lnTo>
                    <a:lnTo>
                      <a:pt x="522" y="439"/>
                    </a:lnTo>
                    <a:lnTo>
                      <a:pt x="524" y="439"/>
                    </a:lnTo>
                    <a:lnTo>
                      <a:pt x="525" y="439"/>
                    </a:lnTo>
                    <a:lnTo>
                      <a:pt x="525" y="440"/>
                    </a:lnTo>
                    <a:lnTo>
                      <a:pt x="525" y="442"/>
                    </a:lnTo>
                    <a:lnTo>
                      <a:pt x="524" y="442"/>
                    </a:lnTo>
                    <a:lnTo>
                      <a:pt x="524" y="443"/>
                    </a:lnTo>
                    <a:lnTo>
                      <a:pt x="524" y="445"/>
                    </a:lnTo>
                    <a:lnTo>
                      <a:pt x="524" y="447"/>
                    </a:lnTo>
                    <a:lnTo>
                      <a:pt x="524" y="448"/>
                    </a:lnTo>
                    <a:lnTo>
                      <a:pt x="524" y="450"/>
                    </a:lnTo>
                    <a:lnTo>
                      <a:pt x="525" y="450"/>
                    </a:lnTo>
                    <a:lnTo>
                      <a:pt x="525" y="448"/>
                    </a:lnTo>
                    <a:lnTo>
                      <a:pt x="525" y="450"/>
                    </a:lnTo>
                    <a:lnTo>
                      <a:pt x="525" y="451"/>
                    </a:lnTo>
                    <a:lnTo>
                      <a:pt x="525" y="453"/>
                    </a:lnTo>
                    <a:lnTo>
                      <a:pt x="525" y="455"/>
                    </a:lnTo>
                    <a:lnTo>
                      <a:pt x="525" y="456"/>
                    </a:lnTo>
                    <a:lnTo>
                      <a:pt x="527" y="456"/>
                    </a:lnTo>
                    <a:lnTo>
                      <a:pt x="525" y="456"/>
                    </a:lnTo>
                    <a:lnTo>
                      <a:pt x="527" y="456"/>
                    </a:lnTo>
                    <a:lnTo>
                      <a:pt x="527" y="458"/>
                    </a:lnTo>
                    <a:lnTo>
                      <a:pt x="525" y="458"/>
                    </a:lnTo>
                    <a:lnTo>
                      <a:pt x="527" y="458"/>
                    </a:lnTo>
                    <a:lnTo>
                      <a:pt x="527" y="459"/>
                    </a:lnTo>
                    <a:lnTo>
                      <a:pt x="525" y="459"/>
                    </a:lnTo>
                    <a:lnTo>
                      <a:pt x="527" y="459"/>
                    </a:lnTo>
                    <a:lnTo>
                      <a:pt x="527" y="461"/>
                    </a:lnTo>
                    <a:lnTo>
                      <a:pt x="525" y="461"/>
                    </a:lnTo>
                    <a:lnTo>
                      <a:pt x="525" y="462"/>
                    </a:lnTo>
                    <a:lnTo>
                      <a:pt x="525" y="464"/>
                    </a:lnTo>
                    <a:lnTo>
                      <a:pt x="527" y="464"/>
                    </a:lnTo>
                    <a:lnTo>
                      <a:pt x="525" y="464"/>
                    </a:lnTo>
                    <a:lnTo>
                      <a:pt x="525" y="466"/>
                    </a:lnTo>
                    <a:lnTo>
                      <a:pt x="525" y="467"/>
                    </a:lnTo>
                    <a:lnTo>
                      <a:pt x="525" y="469"/>
                    </a:lnTo>
                    <a:lnTo>
                      <a:pt x="524" y="469"/>
                    </a:lnTo>
                    <a:lnTo>
                      <a:pt x="522" y="469"/>
                    </a:lnTo>
                    <a:lnTo>
                      <a:pt x="521" y="469"/>
                    </a:lnTo>
                    <a:lnTo>
                      <a:pt x="521" y="467"/>
                    </a:lnTo>
                    <a:lnTo>
                      <a:pt x="519" y="467"/>
                    </a:lnTo>
                    <a:lnTo>
                      <a:pt x="519" y="466"/>
                    </a:lnTo>
                    <a:lnTo>
                      <a:pt x="519" y="464"/>
                    </a:lnTo>
                    <a:lnTo>
                      <a:pt x="519" y="466"/>
                    </a:lnTo>
                    <a:lnTo>
                      <a:pt x="519" y="464"/>
                    </a:lnTo>
                    <a:lnTo>
                      <a:pt x="518" y="464"/>
                    </a:lnTo>
                    <a:lnTo>
                      <a:pt x="518" y="462"/>
                    </a:lnTo>
                    <a:lnTo>
                      <a:pt x="518" y="461"/>
                    </a:lnTo>
                    <a:lnTo>
                      <a:pt x="516" y="461"/>
                    </a:lnTo>
                    <a:lnTo>
                      <a:pt x="516" y="459"/>
                    </a:lnTo>
                    <a:lnTo>
                      <a:pt x="516" y="458"/>
                    </a:lnTo>
                    <a:lnTo>
                      <a:pt x="516" y="456"/>
                    </a:lnTo>
                    <a:lnTo>
                      <a:pt x="518" y="456"/>
                    </a:lnTo>
                    <a:lnTo>
                      <a:pt x="518" y="455"/>
                    </a:lnTo>
                    <a:lnTo>
                      <a:pt x="518" y="456"/>
                    </a:lnTo>
                    <a:lnTo>
                      <a:pt x="516" y="456"/>
                    </a:lnTo>
                    <a:lnTo>
                      <a:pt x="516" y="458"/>
                    </a:lnTo>
                    <a:lnTo>
                      <a:pt x="516" y="461"/>
                    </a:lnTo>
                    <a:lnTo>
                      <a:pt x="516" y="462"/>
                    </a:lnTo>
                    <a:lnTo>
                      <a:pt x="518" y="462"/>
                    </a:lnTo>
                    <a:lnTo>
                      <a:pt x="516" y="462"/>
                    </a:lnTo>
                    <a:lnTo>
                      <a:pt x="516" y="464"/>
                    </a:lnTo>
                    <a:lnTo>
                      <a:pt x="518" y="464"/>
                    </a:lnTo>
                    <a:lnTo>
                      <a:pt x="516" y="464"/>
                    </a:lnTo>
                    <a:lnTo>
                      <a:pt x="516" y="466"/>
                    </a:lnTo>
                    <a:lnTo>
                      <a:pt x="514" y="466"/>
                    </a:lnTo>
                    <a:lnTo>
                      <a:pt x="514" y="467"/>
                    </a:lnTo>
                    <a:lnTo>
                      <a:pt x="513" y="467"/>
                    </a:lnTo>
                    <a:lnTo>
                      <a:pt x="513" y="469"/>
                    </a:lnTo>
                    <a:lnTo>
                      <a:pt x="513" y="470"/>
                    </a:lnTo>
                    <a:lnTo>
                      <a:pt x="511" y="470"/>
                    </a:lnTo>
                    <a:lnTo>
                      <a:pt x="510" y="470"/>
                    </a:lnTo>
                    <a:lnTo>
                      <a:pt x="510" y="472"/>
                    </a:lnTo>
                    <a:lnTo>
                      <a:pt x="510" y="474"/>
                    </a:lnTo>
                    <a:lnTo>
                      <a:pt x="508" y="474"/>
                    </a:lnTo>
                    <a:lnTo>
                      <a:pt x="510" y="474"/>
                    </a:lnTo>
                    <a:lnTo>
                      <a:pt x="510" y="472"/>
                    </a:lnTo>
                    <a:lnTo>
                      <a:pt x="511" y="472"/>
                    </a:lnTo>
                    <a:lnTo>
                      <a:pt x="511" y="470"/>
                    </a:lnTo>
                    <a:lnTo>
                      <a:pt x="513" y="470"/>
                    </a:lnTo>
                    <a:lnTo>
                      <a:pt x="513" y="472"/>
                    </a:lnTo>
                    <a:lnTo>
                      <a:pt x="514" y="472"/>
                    </a:lnTo>
                    <a:lnTo>
                      <a:pt x="514" y="474"/>
                    </a:lnTo>
                    <a:lnTo>
                      <a:pt x="516" y="474"/>
                    </a:lnTo>
                    <a:lnTo>
                      <a:pt x="516" y="475"/>
                    </a:lnTo>
                    <a:lnTo>
                      <a:pt x="516" y="477"/>
                    </a:lnTo>
                    <a:lnTo>
                      <a:pt x="516" y="475"/>
                    </a:lnTo>
                    <a:lnTo>
                      <a:pt x="516" y="477"/>
                    </a:lnTo>
                    <a:lnTo>
                      <a:pt x="518" y="477"/>
                    </a:lnTo>
                    <a:lnTo>
                      <a:pt x="518" y="475"/>
                    </a:lnTo>
                    <a:lnTo>
                      <a:pt x="519" y="475"/>
                    </a:lnTo>
                    <a:lnTo>
                      <a:pt x="519" y="474"/>
                    </a:lnTo>
                    <a:lnTo>
                      <a:pt x="519" y="475"/>
                    </a:lnTo>
                    <a:lnTo>
                      <a:pt x="519" y="477"/>
                    </a:lnTo>
                    <a:lnTo>
                      <a:pt x="521" y="477"/>
                    </a:lnTo>
                    <a:lnTo>
                      <a:pt x="521" y="475"/>
                    </a:lnTo>
                    <a:lnTo>
                      <a:pt x="522" y="475"/>
                    </a:lnTo>
                    <a:lnTo>
                      <a:pt x="524" y="475"/>
                    </a:lnTo>
                    <a:lnTo>
                      <a:pt x="525" y="475"/>
                    </a:lnTo>
                    <a:lnTo>
                      <a:pt x="524" y="475"/>
                    </a:lnTo>
                    <a:lnTo>
                      <a:pt x="525" y="475"/>
                    </a:lnTo>
                    <a:lnTo>
                      <a:pt x="527" y="475"/>
                    </a:lnTo>
                    <a:lnTo>
                      <a:pt x="527" y="477"/>
                    </a:lnTo>
                    <a:lnTo>
                      <a:pt x="527" y="478"/>
                    </a:lnTo>
                    <a:lnTo>
                      <a:pt x="527" y="480"/>
                    </a:lnTo>
                    <a:lnTo>
                      <a:pt x="529" y="480"/>
                    </a:lnTo>
                    <a:lnTo>
                      <a:pt x="529" y="481"/>
                    </a:lnTo>
                    <a:lnTo>
                      <a:pt x="527" y="481"/>
                    </a:lnTo>
                    <a:lnTo>
                      <a:pt x="527" y="483"/>
                    </a:lnTo>
                    <a:lnTo>
                      <a:pt x="527" y="485"/>
                    </a:lnTo>
                    <a:lnTo>
                      <a:pt x="527" y="486"/>
                    </a:lnTo>
                    <a:lnTo>
                      <a:pt x="525" y="486"/>
                    </a:lnTo>
                    <a:lnTo>
                      <a:pt x="524" y="486"/>
                    </a:lnTo>
                    <a:lnTo>
                      <a:pt x="524" y="488"/>
                    </a:lnTo>
                    <a:lnTo>
                      <a:pt x="524" y="489"/>
                    </a:lnTo>
                    <a:lnTo>
                      <a:pt x="525" y="489"/>
                    </a:lnTo>
                    <a:lnTo>
                      <a:pt x="527" y="489"/>
                    </a:lnTo>
                    <a:lnTo>
                      <a:pt x="527" y="491"/>
                    </a:lnTo>
                    <a:lnTo>
                      <a:pt x="527" y="493"/>
                    </a:lnTo>
                    <a:lnTo>
                      <a:pt x="527" y="494"/>
                    </a:lnTo>
                    <a:lnTo>
                      <a:pt x="527" y="496"/>
                    </a:lnTo>
                    <a:lnTo>
                      <a:pt x="525" y="496"/>
                    </a:lnTo>
                    <a:lnTo>
                      <a:pt x="525" y="497"/>
                    </a:lnTo>
                    <a:lnTo>
                      <a:pt x="525" y="499"/>
                    </a:lnTo>
                    <a:lnTo>
                      <a:pt x="525" y="501"/>
                    </a:lnTo>
                    <a:lnTo>
                      <a:pt x="524" y="501"/>
                    </a:lnTo>
                    <a:lnTo>
                      <a:pt x="524" y="502"/>
                    </a:lnTo>
                    <a:lnTo>
                      <a:pt x="522" y="502"/>
                    </a:lnTo>
                    <a:lnTo>
                      <a:pt x="522" y="504"/>
                    </a:lnTo>
                    <a:lnTo>
                      <a:pt x="522" y="505"/>
                    </a:lnTo>
                    <a:lnTo>
                      <a:pt x="521" y="505"/>
                    </a:lnTo>
                    <a:lnTo>
                      <a:pt x="521" y="507"/>
                    </a:lnTo>
                    <a:lnTo>
                      <a:pt x="519" y="507"/>
                    </a:lnTo>
                    <a:lnTo>
                      <a:pt x="519" y="508"/>
                    </a:lnTo>
                    <a:lnTo>
                      <a:pt x="519" y="507"/>
                    </a:lnTo>
                    <a:lnTo>
                      <a:pt x="521" y="507"/>
                    </a:lnTo>
                    <a:lnTo>
                      <a:pt x="521" y="508"/>
                    </a:lnTo>
                    <a:lnTo>
                      <a:pt x="519" y="508"/>
                    </a:lnTo>
                    <a:lnTo>
                      <a:pt x="519" y="510"/>
                    </a:lnTo>
                    <a:lnTo>
                      <a:pt x="519" y="512"/>
                    </a:lnTo>
                    <a:lnTo>
                      <a:pt x="518" y="512"/>
                    </a:lnTo>
                    <a:lnTo>
                      <a:pt x="518" y="513"/>
                    </a:lnTo>
                    <a:lnTo>
                      <a:pt x="518" y="515"/>
                    </a:lnTo>
                    <a:lnTo>
                      <a:pt x="518" y="516"/>
                    </a:lnTo>
                    <a:lnTo>
                      <a:pt x="516" y="516"/>
                    </a:lnTo>
                    <a:lnTo>
                      <a:pt x="516" y="518"/>
                    </a:lnTo>
                    <a:lnTo>
                      <a:pt x="514" y="518"/>
                    </a:lnTo>
                    <a:lnTo>
                      <a:pt x="514" y="520"/>
                    </a:lnTo>
                    <a:lnTo>
                      <a:pt x="514" y="521"/>
                    </a:lnTo>
                    <a:lnTo>
                      <a:pt x="514" y="523"/>
                    </a:lnTo>
                    <a:lnTo>
                      <a:pt x="514" y="524"/>
                    </a:lnTo>
                    <a:lnTo>
                      <a:pt x="513" y="524"/>
                    </a:lnTo>
                    <a:lnTo>
                      <a:pt x="513" y="523"/>
                    </a:lnTo>
                    <a:lnTo>
                      <a:pt x="513" y="521"/>
                    </a:lnTo>
                    <a:lnTo>
                      <a:pt x="511" y="521"/>
                    </a:lnTo>
                    <a:lnTo>
                      <a:pt x="511" y="520"/>
                    </a:lnTo>
                    <a:lnTo>
                      <a:pt x="510" y="520"/>
                    </a:lnTo>
                    <a:lnTo>
                      <a:pt x="510" y="518"/>
                    </a:lnTo>
                    <a:lnTo>
                      <a:pt x="508" y="518"/>
                    </a:lnTo>
                    <a:lnTo>
                      <a:pt x="508" y="516"/>
                    </a:lnTo>
                    <a:lnTo>
                      <a:pt x="506" y="516"/>
                    </a:lnTo>
                    <a:lnTo>
                      <a:pt x="506" y="515"/>
                    </a:lnTo>
                    <a:lnTo>
                      <a:pt x="508" y="515"/>
                    </a:lnTo>
                    <a:lnTo>
                      <a:pt x="508" y="513"/>
                    </a:lnTo>
                    <a:lnTo>
                      <a:pt x="506" y="513"/>
                    </a:lnTo>
                    <a:lnTo>
                      <a:pt x="508" y="513"/>
                    </a:lnTo>
                    <a:lnTo>
                      <a:pt x="508" y="512"/>
                    </a:lnTo>
                    <a:lnTo>
                      <a:pt x="510" y="512"/>
                    </a:lnTo>
                    <a:lnTo>
                      <a:pt x="510" y="510"/>
                    </a:lnTo>
                    <a:lnTo>
                      <a:pt x="508" y="510"/>
                    </a:lnTo>
                    <a:lnTo>
                      <a:pt x="510" y="510"/>
                    </a:lnTo>
                    <a:lnTo>
                      <a:pt x="510" y="508"/>
                    </a:lnTo>
                    <a:lnTo>
                      <a:pt x="510" y="507"/>
                    </a:lnTo>
                    <a:lnTo>
                      <a:pt x="511" y="507"/>
                    </a:lnTo>
                    <a:lnTo>
                      <a:pt x="511" y="505"/>
                    </a:lnTo>
                    <a:lnTo>
                      <a:pt x="511" y="504"/>
                    </a:lnTo>
                    <a:lnTo>
                      <a:pt x="513" y="504"/>
                    </a:lnTo>
                    <a:lnTo>
                      <a:pt x="513" y="502"/>
                    </a:lnTo>
                    <a:lnTo>
                      <a:pt x="511" y="502"/>
                    </a:lnTo>
                    <a:lnTo>
                      <a:pt x="510" y="502"/>
                    </a:lnTo>
                    <a:lnTo>
                      <a:pt x="510" y="501"/>
                    </a:lnTo>
                    <a:lnTo>
                      <a:pt x="511" y="501"/>
                    </a:lnTo>
                    <a:lnTo>
                      <a:pt x="511" y="499"/>
                    </a:lnTo>
                    <a:lnTo>
                      <a:pt x="511" y="501"/>
                    </a:lnTo>
                    <a:lnTo>
                      <a:pt x="513" y="501"/>
                    </a:lnTo>
                    <a:lnTo>
                      <a:pt x="513" y="499"/>
                    </a:lnTo>
                    <a:lnTo>
                      <a:pt x="513" y="497"/>
                    </a:lnTo>
                    <a:lnTo>
                      <a:pt x="513" y="496"/>
                    </a:lnTo>
                    <a:lnTo>
                      <a:pt x="513" y="494"/>
                    </a:lnTo>
                    <a:lnTo>
                      <a:pt x="513" y="496"/>
                    </a:lnTo>
                    <a:lnTo>
                      <a:pt x="511" y="496"/>
                    </a:lnTo>
                    <a:lnTo>
                      <a:pt x="511" y="497"/>
                    </a:lnTo>
                    <a:lnTo>
                      <a:pt x="511" y="496"/>
                    </a:lnTo>
                    <a:lnTo>
                      <a:pt x="511" y="494"/>
                    </a:lnTo>
                    <a:lnTo>
                      <a:pt x="511" y="493"/>
                    </a:lnTo>
                    <a:lnTo>
                      <a:pt x="511" y="491"/>
                    </a:lnTo>
                    <a:lnTo>
                      <a:pt x="510" y="491"/>
                    </a:lnTo>
                    <a:lnTo>
                      <a:pt x="510" y="493"/>
                    </a:lnTo>
                    <a:lnTo>
                      <a:pt x="510" y="494"/>
                    </a:lnTo>
                    <a:lnTo>
                      <a:pt x="510" y="496"/>
                    </a:lnTo>
                    <a:lnTo>
                      <a:pt x="510" y="497"/>
                    </a:lnTo>
                    <a:lnTo>
                      <a:pt x="510" y="499"/>
                    </a:lnTo>
                    <a:lnTo>
                      <a:pt x="508" y="499"/>
                    </a:lnTo>
                    <a:lnTo>
                      <a:pt x="508" y="501"/>
                    </a:lnTo>
                    <a:lnTo>
                      <a:pt x="506" y="501"/>
                    </a:lnTo>
                    <a:lnTo>
                      <a:pt x="506" y="502"/>
                    </a:lnTo>
                    <a:lnTo>
                      <a:pt x="506" y="504"/>
                    </a:lnTo>
                    <a:lnTo>
                      <a:pt x="506" y="505"/>
                    </a:lnTo>
                    <a:lnTo>
                      <a:pt x="506" y="504"/>
                    </a:lnTo>
                    <a:lnTo>
                      <a:pt x="506" y="502"/>
                    </a:lnTo>
                    <a:lnTo>
                      <a:pt x="505" y="502"/>
                    </a:lnTo>
                    <a:lnTo>
                      <a:pt x="505" y="504"/>
                    </a:lnTo>
                    <a:lnTo>
                      <a:pt x="505" y="505"/>
                    </a:lnTo>
                    <a:lnTo>
                      <a:pt x="503" y="505"/>
                    </a:lnTo>
                    <a:lnTo>
                      <a:pt x="503" y="507"/>
                    </a:lnTo>
                    <a:lnTo>
                      <a:pt x="505" y="507"/>
                    </a:lnTo>
                    <a:lnTo>
                      <a:pt x="503" y="507"/>
                    </a:lnTo>
                    <a:lnTo>
                      <a:pt x="505" y="507"/>
                    </a:lnTo>
                    <a:lnTo>
                      <a:pt x="505" y="508"/>
                    </a:lnTo>
                    <a:lnTo>
                      <a:pt x="503" y="508"/>
                    </a:lnTo>
                    <a:lnTo>
                      <a:pt x="503" y="510"/>
                    </a:lnTo>
                    <a:lnTo>
                      <a:pt x="505" y="510"/>
                    </a:lnTo>
                    <a:lnTo>
                      <a:pt x="505" y="512"/>
                    </a:lnTo>
                    <a:lnTo>
                      <a:pt x="503" y="512"/>
                    </a:lnTo>
                    <a:lnTo>
                      <a:pt x="503" y="513"/>
                    </a:lnTo>
                    <a:lnTo>
                      <a:pt x="502" y="513"/>
                    </a:lnTo>
                    <a:lnTo>
                      <a:pt x="502" y="515"/>
                    </a:lnTo>
                    <a:lnTo>
                      <a:pt x="502" y="516"/>
                    </a:lnTo>
                    <a:lnTo>
                      <a:pt x="500" y="516"/>
                    </a:lnTo>
                    <a:lnTo>
                      <a:pt x="500" y="518"/>
                    </a:lnTo>
                    <a:lnTo>
                      <a:pt x="499" y="518"/>
                    </a:lnTo>
                    <a:lnTo>
                      <a:pt x="499" y="516"/>
                    </a:lnTo>
                    <a:lnTo>
                      <a:pt x="499" y="518"/>
                    </a:lnTo>
                    <a:lnTo>
                      <a:pt x="499" y="516"/>
                    </a:lnTo>
                    <a:lnTo>
                      <a:pt x="497" y="516"/>
                    </a:lnTo>
                    <a:lnTo>
                      <a:pt x="495" y="516"/>
                    </a:lnTo>
                    <a:lnTo>
                      <a:pt x="494" y="516"/>
                    </a:lnTo>
                    <a:lnTo>
                      <a:pt x="492" y="516"/>
                    </a:lnTo>
                    <a:lnTo>
                      <a:pt x="492" y="515"/>
                    </a:lnTo>
                    <a:lnTo>
                      <a:pt x="492" y="516"/>
                    </a:lnTo>
                    <a:lnTo>
                      <a:pt x="491" y="516"/>
                    </a:lnTo>
                    <a:lnTo>
                      <a:pt x="492" y="516"/>
                    </a:lnTo>
                    <a:lnTo>
                      <a:pt x="494" y="516"/>
                    </a:lnTo>
                    <a:lnTo>
                      <a:pt x="495" y="516"/>
                    </a:lnTo>
                    <a:lnTo>
                      <a:pt x="495" y="518"/>
                    </a:lnTo>
                    <a:lnTo>
                      <a:pt x="497" y="518"/>
                    </a:lnTo>
                    <a:lnTo>
                      <a:pt x="495" y="518"/>
                    </a:lnTo>
                    <a:lnTo>
                      <a:pt x="495" y="520"/>
                    </a:lnTo>
                    <a:lnTo>
                      <a:pt x="495" y="518"/>
                    </a:lnTo>
                    <a:lnTo>
                      <a:pt x="495" y="520"/>
                    </a:lnTo>
                    <a:lnTo>
                      <a:pt x="497" y="520"/>
                    </a:lnTo>
                    <a:lnTo>
                      <a:pt x="497" y="521"/>
                    </a:lnTo>
                    <a:lnTo>
                      <a:pt x="499" y="521"/>
                    </a:lnTo>
                    <a:lnTo>
                      <a:pt x="499" y="523"/>
                    </a:lnTo>
                    <a:lnTo>
                      <a:pt x="500" y="523"/>
                    </a:lnTo>
                    <a:lnTo>
                      <a:pt x="502" y="523"/>
                    </a:lnTo>
                    <a:lnTo>
                      <a:pt x="502" y="524"/>
                    </a:lnTo>
                    <a:lnTo>
                      <a:pt x="502" y="526"/>
                    </a:lnTo>
                    <a:lnTo>
                      <a:pt x="502" y="527"/>
                    </a:lnTo>
                    <a:lnTo>
                      <a:pt x="502" y="529"/>
                    </a:lnTo>
                    <a:lnTo>
                      <a:pt x="502" y="531"/>
                    </a:lnTo>
                    <a:lnTo>
                      <a:pt x="503" y="531"/>
                    </a:lnTo>
                    <a:lnTo>
                      <a:pt x="503" y="532"/>
                    </a:lnTo>
                    <a:lnTo>
                      <a:pt x="502" y="532"/>
                    </a:lnTo>
                    <a:lnTo>
                      <a:pt x="503" y="532"/>
                    </a:lnTo>
                    <a:lnTo>
                      <a:pt x="503" y="534"/>
                    </a:lnTo>
                    <a:lnTo>
                      <a:pt x="502" y="534"/>
                    </a:lnTo>
                    <a:lnTo>
                      <a:pt x="502" y="535"/>
                    </a:lnTo>
                    <a:lnTo>
                      <a:pt x="500" y="535"/>
                    </a:lnTo>
                    <a:lnTo>
                      <a:pt x="499" y="535"/>
                    </a:lnTo>
                    <a:lnTo>
                      <a:pt x="500" y="535"/>
                    </a:lnTo>
                    <a:lnTo>
                      <a:pt x="500" y="537"/>
                    </a:lnTo>
                    <a:lnTo>
                      <a:pt x="499" y="537"/>
                    </a:lnTo>
                    <a:lnTo>
                      <a:pt x="499" y="539"/>
                    </a:lnTo>
                    <a:lnTo>
                      <a:pt x="497" y="539"/>
                    </a:lnTo>
                    <a:lnTo>
                      <a:pt x="497" y="537"/>
                    </a:lnTo>
                    <a:lnTo>
                      <a:pt x="499" y="537"/>
                    </a:lnTo>
                    <a:lnTo>
                      <a:pt x="499" y="535"/>
                    </a:lnTo>
                    <a:lnTo>
                      <a:pt x="497" y="535"/>
                    </a:lnTo>
                    <a:lnTo>
                      <a:pt x="495" y="535"/>
                    </a:lnTo>
                    <a:lnTo>
                      <a:pt x="494" y="535"/>
                    </a:lnTo>
                    <a:lnTo>
                      <a:pt x="492" y="535"/>
                    </a:lnTo>
                    <a:lnTo>
                      <a:pt x="494" y="535"/>
                    </a:lnTo>
                    <a:lnTo>
                      <a:pt x="495" y="535"/>
                    </a:lnTo>
                    <a:lnTo>
                      <a:pt x="497" y="535"/>
                    </a:lnTo>
                    <a:lnTo>
                      <a:pt x="497" y="537"/>
                    </a:lnTo>
                    <a:lnTo>
                      <a:pt x="497" y="539"/>
                    </a:lnTo>
                    <a:lnTo>
                      <a:pt x="497" y="540"/>
                    </a:lnTo>
                    <a:lnTo>
                      <a:pt x="499" y="540"/>
                    </a:lnTo>
                    <a:lnTo>
                      <a:pt x="500" y="540"/>
                    </a:lnTo>
                    <a:lnTo>
                      <a:pt x="500" y="542"/>
                    </a:lnTo>
                    <a:lnTo>
                      <a:pt x="502" y="542"/>
                    </a:lnTo>
                    <a:lnTo>
                      <a:pt x="503" y="542"/>
                    </a:lnTo>
                    <a:lnTo>
                      <a:pt x="505" y="542"/>
                    </a:lnTo>
                    <a:lnTo>
                      <a:pt x="505" y="543"/>
                    </a:lnTo>
                    <a:lnTo>
                      <a:pt x="506" y="543"/>
                    </a:lnTo>
                    <a:lnTo>
                      <a:pt x="506" y="545"/>
                    </a:lnTo>
                    <a:lnTo>
                      <a:pt x="505" y="545"/>
                    </a:lnTo>
                    <a:lnTo>
                      <a:pt x="503" y="545"/>
                    </a:lnTo>
                    <a:lnTo>
                      <a:pt x="502" y="545"/>
                    </a:lnTo>
                    <a:lnTo>
                      <a:pt x="502" y="546"/>
                    </a:lnTo>
                    <a:lnTo>
                      <a:pt x="502" y="548"/>
                    </a:lnTo>
                    <a:lnTo>
                      <a:pt x="500" y="548"/>
                    </a:lnTo>
                    <a:lnTo>
                      <a:pt x="500" y="550"/>
                    </a:lnTo>
                    <a:lnTo>
                      <a:pt x="499" y="550"/>
                    </a:lnTo>
                    <a:lnTo>
                      <a:pt x="499" y="551"/>
                    </a:lnTo>
                    <a:lnTo>
                      <a:pt x="497" y="551"/>
                    </a:lnTo>
                    <a:lnTo>
                      <a:pt x="495" y="551"/>
                    </a:lnTo>
                    <a:lnTo>
                      <a:pt x="495" y="550"/>
                    </a:lnTo>
                    <a:lnTo>
                      <a:pt x="494" y="550"/>
                    </a:lnTo>
                    <a:lnTo>
                      <a:pt x="494" y="551"/>
                    </a:lnTo>
                    <a:lnTo>
                      <a:pt x="492" y="551"/>
                    </a:lnTo>
                    <a:lnTo>
                      <a:pt x="491" y="551"/>
                    </a:lnTo>
                    <a:lnTo>
                      <a:pt x="492" y="551"/>
                    </a:lnTo>
                    <a:lnTo>
                      <a:pt x="491" y="551"/>
                    </a:lnTo>
                    <a:lnTo>
                      <a:pt x="491" y="553"/>
                    </a:lnTo>
                    <a:lnTo>
                      <a:pt x="491" y="551"/>
                    </a:lnTo>
                    <a:lnTo>
                      <a:pt x="491" y="553"/>
                    </a:lnTo>
                    <a:lnTo>
                      <a:pt x="489" y="553"/>
                    </a:lnTo>
                    <a:lnTo>
                      <a:pt x="491" y="553"/>
                    </a:lnTo>
                    <a:lnTo>
                      <a:pt x="489" y="553"/>
                    </a:lnTo>
                    <a:lnTo>
                      <a:pt x="487" y="553"/>
                    </a:lnTo>
                    <a:lnTo>
                      <a:pt x="487" y="551"/>
                    </a:lnTo>
                    <a:lnTo>
                      <a:pt x="486" y="551"/>
                    </a:lnTo>
                    <a:lnTo>
                      <a:pt x="484" y="551"/>
                    </a:lnTo>
                    <a:lnTo>
                      <a:pt x="484" y="553"/>
                    </a:lnTo>
                    <a:lnTo>
                      <a:pt x="484" y="551"/>
                    </a:lnTo>
                    <a:lnTo>
                      <a:pt x="486" y="551"/>
                    </a:lnTo>
                    <a:lnTo>
                      <a:pt x="486" y="553"/>
                    </a:lnTo>
                    <a:lnTo>
                      <a:pt x="487" y="553"/>
                    </a:lnTo>
                    <a:lnTo>
                      <a:pt x="487" y="554"/>
                    </a:lnTo>
                    <a:lnTo>
                      <a:pt x="489" y="554"/>
                    </a:lnTo>
                    <a:lnTo>
                      <a:pt x="491" y="554"/>
                    </a:lnTo>
                    <a:lnTo>
                      <a:pt x="489" y="554"/>
                    </a:lnTo>
                    <a:lnTo>
                      <a:pt x="489" y="556"/>
                    </a:lnTo>
                    <a:lnTo>
                      <a:pt x="489" y="558"/>
                    </a:lnTo>
                    <a:lnTo>
                      <a:pt x="489" y="556"/>
                    </a:lnTo>
                    <a:lnTo>
                      <a:pt x="487" y="556"/>
                    </a:lnTo>
                    <a:lnTo>
                      <a:pt x="487" y="558"/>
                    </a:lnTo>
                    <a:lnTo>
                      <a:pt x="487" y="559"/>
                    </a:lnTo>
                    <a:lnTo>
                      <a:pt x="486" y="559"/>
                    </a:lnTo>
                    <a:lnTo>
                      <a:pt x="486" y="561"/>
                    </a:lnTo>
                    <a:lnTo>
                      <a:pt x="486" y="562"/>
                    </a:lnTo>
                    <a:lnTo>
                      <a:pt x="486" y="564"/>
                    </a:lnTo>
                    <a:lnTo>
                      <a:pt x="487" y="564"/>
                    </a:lnTo>
                    <a:lnTo>
                      <a:pt x="489" y="564"/>
                    </a:lnTo>
                    <a:lnTo>
                      <a:pt x="491" y="564"/>
                    </a:lnTo>
                    <a:lnTo>
                      <a:pt x="492" y="564"/>
                    </a:lnTo>
                    <a:lnTo>
                      <a:pt x="492" y="562"/>
                    </a:lnTo>
                    <a:lnTo>
                      <a:pt x="494" y="562"/>
                    </a:lnTo>
                    <a:lnTo>
                      <a:pt x="495" y="562"/>
                    </a:lnTo>
                    <a:lnTo>
                      <a:pt x="495" y="561"/>
                    </a:lnTo>
                    <a:lnTo>
                      <a:pt x="495" y="559"/>
                    </a:lnTo>
                    <a:lnTo>
                      <a:pt x="497" y="559"/>
                    </a:lnTo>
                    <a:lnTo>
                      <a:pt x="497" y="561"/>
                    </a:lnTo>
                    <a:lnTo>
                      <a:pt x="499" y="561"/>
                    </a:lnTo>
                    <a:lnTo>
                      <a:pt x="499" y="562"/>
                    </a:lnTo>
                    <a:lnTo>
                      <a:pt x="499" y="564"/>
                    </a:lnTo>
                    <a:lnTo>
                      <a:pt x="499" y="565"/>
                    </a:lnTo>
                    <a:lnTo>
                      <a:pt x="499" y="567"/>
                    </a:lnTo>
                    <a:lnTo>
                      <a:pt x="499" y="569"/>
                    </a:lnTo>
                    <a:lnTo>
                      <a:pt x="499" y="570"/>
                    </a:lnTo>
                    <a:lnTo>
                      <a:pt x="499" y="572"/>
                    </a:lnTo>
                    <a:lnTo>
                      <a:pt x="500" y="572"/>
                    </a:lnTo>
                    <a:lnTo>
                      <a:pt x="500" y="573"/>
                    </a:lnTo>
                    <a:lnTo>
                      <a:pt x="499" y="573"/>
                    </a:lnTo>
                    <a:lnTo>
                      <a:pt x="500" y="573"/>
                    </a:lnTo>
                    <a:lnTo>
                      <a:pt x="500" y="575"/>
                    </a:lnTo>
                    <a:lnTo>
                      <a:pt x="500" y="577"/>
                    </a:lnTo>
                    <a:lnTo>
                      <a:pt x="500" y="578"/>
                    </a:lnTo>
                    <a:lnTo>
                      <a:pt x="502" y="578"/>
                    </a:lnTo>
                    <a:lnTo>
                      <a:pt x="502" y="580"/>
                    </a:lnTo>
                    <a:lnTo>
                      <a:pt x="502" y="581"/>
                    </a:lnTo>
                    <a:lnTo>
                      <a:pt x="502" y="583"/>
                    </a:lnTo>
                    <a:lnTo>
                      <a:pt x="500" y="583"/>
                    </a:lnTo>
                    <a:lnTo>
                      <a:pt x="499" y="583"/>
                    </a:lnTo>
                    <a:lnTo>
                      <a:pt x="497" y="583"/>
                    </a:lnTo>
                    <a:lnTo>
                      <a:pt x="495" y="583"/>
                    </a:lnTo>
                    <a:lnTo>
                      <a:pt x="494" y="583"/>
                    </a:lnTo>
                    <a:lnTo>
                      <a:pt x="492" y="583"/>
                    </a:lnTo>
                    <a:lnTo>
                      <a:pt x="492" y="584"/>
                    </a:lnTo>
                    <a:lnTo>
                      <a:pt x="491" y="584"/>
                    </a:lnTo>
                    <a:lnTo>
                      <a:pt x="491" y="586"/>
                    </a:lnTo>
                    <a:lnTo>
                      <a:pt x="491" y="588"/>
                    </a:lnTo>
                    <a:lnTo>
                      <a:pt x="489" y="588"/>
                    </a:lnTo>
                    <a:lnTo>
                      <a:pt x="489" y="589"/>
                    </a:lnTo>
                    <a:lnTo>
                      <a:pt x="491" y="589"/>
                    </a:lnTo>
                    <a:lnTo>
                      <a:pt x="491" y="591"/>
                    </a:lnTo>
                    <a:lnTo>
                      <a:pt x="491" y="592"/>
                    </a:lnTo>
                    <a:lnTo>
                      <a:pt x="491" y="594"/>
                    </a:lnTo>
                    <a:lnTo>
                      <a:pt x="491" y="596"/>
                    </a:lnTo>
                    <a:lnTo>
                      <a:pt x="489" y="596"/>
                    </a:lnTo>
                    <a:lnTo>
                      <a:pt x="489" y="597"/>
                    </a:lnTo>
                    <a:lnTo>
                      <a:pt x="491" y="597"/>
                    </a:lnTo>
                    <a:lnTo>
                      <a:pt x="491" y="599"/>
                    </a:lnTo>
                    <a:lnTo>
                      <a:pt x="491" y="597"/>
                    </a:lnTo>
                    <a:lnTo>
                      <a:pt x="492" y="597"/>
                    </a:lnTo>
                    <a:lnTo>
                      <a:pt x="492" y="599"/>
                    </a:lnTo>
                    <a:lnTo>
                      <a:pt x="492" y="600"/>
                    </a:lnTo>
                    <a:lnTo>
                      <a:pt x="492" y="599"/>
                    </a:lnTo>
                    <a:lnTo>
                      <a:pt x="491" y="599"/>
                    </a:lnTo>
                    <a:lnTo>
                      <a:pt x="491" y="600"/>
                    </a:lnTo>
                    <a:lnTo>
                      <a:pt x="492" y="600"/>
                    </a:lnTo>
                    <a:lnTo>
                      <a:pt x="491" y="600"/>
                    </a:lnTo>
                    <a:lnTo>
                      <a:pt x="491" y="602"/>
                    </a:lnTo>
                    <a:lnTo>
                      <a:pt x="491" y="600"/>
                    </a:lnTo>
                    <a:lnTo>
                      <a:pt x="491" y="602"/>
                    </a:lnTo>
                    <a:lnTo>
                      <a:pt x="489" y="602"/>
                    </a:lnTo>
                    <a:lnTo>
                      <a:pt x="489" y="603"/>
                    </a:lnTo>
                    <a:lnTo>
                      <a:pt x="487" y="603"/>
                    </a:lnTo>
                    <a:lnTo>
                      <a:pt x="487" y="605"/>
                    </a:lnTo>
                    <a:lnTo>
                      <a:pt x="486" y="605"/>
                    </a:lnTo>
                    <a:lnTo>
                      <a:pt x="486" y="607"/>
                    </a:lnTo>
                    <a:lnTo>
                      <a:pt x="484" y="607"/>
                    </a:lnTo>
                    <a:lnTo>
                      <a:pt x="484" y="608"/>
                    </a:lnTo>
                    <a:lnTo>
                      <a:pt x="484" y="610"/>
                    </a:lnTo>
                    <a:lnTo>
                      <a:pt x="483" y="610"/>
                    </a:lnTo>
                    <a:lnTo>
                      <a:pt x="483" y="611"/>
                    </a:lnTo>
                    <a:lnTo>
                      <a:pt x="481" y="611"/>
                    </a:lnTo>
                    <a:lnTo>
                      <a:pt x="481" y="610"/>
                    </a:lnTo>
                    <a:lnTo>
                      <a:pt x="480" y="610"/>
                    </a:lnTo>
                    <a:lnTo>
                      <a:pt x="480" y="611"/>
                    </a:lnTo>
                    <a:lnTo>
                      <a:pt x="478" y="611"/>
                    </a:lnTo>
                    <a:lnTo>
                      <a:pt x="478" y="613"/>
                    </a:lnTo>
                    <a:lnTo>
                      <a:pt x="478" y="611"/>
                    </a:lnTo>
                    <a:lnTo>
                      <a:pt x="480" y="611"/>
                    </a:lnTo>
                    <a:lnTo>
                      <a:pt x="480" y="613"/>
                    </a:lnTo>
                    <a:lnTo>
                      <a:pt x="478" y="613"/>
                    </a:lnTo>
                    <a:lnTo>
                      <a:pt x="478" y="615"/>
                    </a:lnTo>
                    <a:lnTo>
                      <a:pt x="478" y="616"/>
                    </a:lnTo>
                    <a:lnTo>
                      <a:pt x="476" y="616"/>
                    </a:lnTo>
                    <a:lnTo>
                      <a:pt x="476" y="618"/>
                    </a:lnTo>
                    <a:lnTo>
                      <a:pt x="475" y="618"/>
                    </a:lnTo>
                    <a:lnTo>
                      <a:pt x="475" y="619"/>
                    </a:lnTo>
                    <a:lnTo>
                      <a:pt x="473" y="619"/>
                    </a:lnTo>
                    <a:lnTo>
                      <a:pt x="473" y="618"/>
                    </a:lnTo>
                    <a:lnTo>
                      <a:pt x="473" y="619"/>
                    </a:lnTo>
                    <a:lnTo>
                      <a:pt x="475" y="619"/>
                    </a:lnTo>
                    <a:lnTo>
                      <a:pt x="476" y="619"/>
                    </a:lnTo>
                    <a:lnTo>
                      <a:pt x="476" y="618"/>
                    </a:lnTo>
                    <a:lnTo>
                      <a:pt x="478" y="618"/>
                    </a:lnTo>
                    <a:lnTo>
                      <a:pt x="478" y="616"/>
                    </a:lnTo>
                    <a:lnTo>
                      <a:pt x="478" y="615"/>
                    </a:lnTo>
                    <a:lnTo>
                      <a:pt x="480" y="615"/>
                    </a:lnTo>
                    <a:lnTo>
                      <a:pt x="480" y="613"/>
                    </a:lnTo>
                    <a:lnTo>
                      <a:pt x="481" y="613"/>
                    </a:lnTo>
                    <a:lnTo>
                      <a:pt x="481" y="615"/>
                    </a:lnTo>
                    <a:lnTo>
                      <a:pt x="483" y="615"/>
                    </a:lnTo>
                    <a:lnTo>
                      <a:pt x="483" y="616"/>
                    </a:lnTo>
                    <a:lnTo>
                      <a:pt x="484" y="616"/>
                    </a:lnTo>
                    <a:lnTo>
                      <a:pt x="486" y="616"/>
                    </a:lnTo>
                    <a:lnTo>
                      <a:pt x="486" y="618"/>
                    </a:lnTo>
                    <a:lnTo>
                      <a:pt x="484" y="618"/>
                    </a:lnTo>
                    <a:lnTo>
                      <a:pt x="484" y="619"/>
                    </a:lnTo>
                    <a:lnTo>
                      <a:pt x="484" y="621"/>
                    </a:lnTo>
                    <a:lnTo>
                      <a:pt x="483" y="621"/>
                    </a:lnTo>
                    <a:lnTo>
                      <a:pt x="483" y="622"/>
                    </a:lnTo>
                    <a:lnTo>
                      <a:pt x="483" y="624"/>
                    </a:lnTo>
                    <a:lnTo>
                      <a:pt x="481" y="624"/>
                    </a:lnTo>
                    <a:lnTo>
                      <a:pt x="481" y="626"/>
                    </a:lnTo>
                    <a:lnTo>
                      <a:pt x="481" y="627"/>
                    </a:lnTo>
                    <a:lnTo>
                      <a:pt x="481" y="629"/>
                    </a:lnTo>
                    <a:lnTo>
                      <a:pt x="481" y="630"/>
                    </a:lnTo>
                    <a:lnTo>
                      <a:pt x="481" y="632"/>
                    </a:lnTo>
                    <a:lnTo>
                      <a:pt x="480" y="632"/>
                    </a:lnTo>
                    <a:lnTo>
                      <a:pt x="480" y="634"/>
                    </a:lnTo>
                    <a:lnTo>
                      <a:pt x="480" y="635"/>
                    </a:lnTo>
                    <a:lnTo>
                      <a:pt x="480" y="637"/>
                    </a:lnTo>
                    <a:lnTo>
                      <a:pt x="478" y="637"/>
                    </a:lnTo>
                    <a:lnTo>
                      <a:pt x="478" y="638"/>
                    </a:lnTo>
                    <a:lnTo>
                      <a:pt x="478" y="640"/>
                    </a:lnTo>
                    <a:lnTo>
                      <a:pt x="478" y="641"/>
                    </a:lnTo>
                    <a:lnTo>
                      <a:pt x="476" y="641"/>
                    </a:lnTo>
                    <a:lnTo>
                      <a:pt x="476" y="643"/>
                    </a:lnTo>
                    <a:lnTo>
                      <a:pt x="476" y="645"/>
                    </a:lnTo>
                    <a:lnTo>
                      <a:pt x="475" y="645"/>
                    </a:lnTo>
                    <a:lnTo>
                      <a:pt x="475" y="646"/>
                    </a:lnTo>
                    <a:lnTo>
                      <a:pt x="475" y="648"/>
                    </a:lnTo>
                    <a:lnTo>
                      <a:pt x="473" y="648"/>
                    </a:lnTo>
                    <a:lnTo>
                      <a:pt x="473" y="649"/>
                    </a:lnTo>
                    <a:lnTo>
                      <a:pt x="473" y="651"/>
                    </a:lnTo>
                    <a:lnTo>
                      <a:pt x="472" y="651"/>
                    </a:lnTo>
                    <a:lnTo>
                      <a:pt x="472" y="653"/>
                    </a:lnTo>
                    <a:lnTo>
                      <a:pt x="472" y="654"/>
                    </a:lnTo>
                    <a:lnTo>
                      <a:pt x="472" y="656"/>
                    </a:lnTo>
                    <a:lnTo>
                      <a:pt x="472" y="657"/>
                    </a:lnTo>
                    <a:lnTo>
                      <a:pt x="470" y="657"/>
                    </a:lnTo>
                    <a:lnTo>
                      <a:pt x="470" y="659"/>
                    </a:lnTo>
                    <a:lnTo>
                      <a:pt x="470" y="660"/>
                    </a:lnTo>
                    <a:lnTo>
                      <a:pt x="470" y="662"/>
                    </a:lnTo>
                    <a:lnTo>
                      <a:pt x="468" y="662"/>
                    </a:lnTo>
                    <a:lnTo>
                      <a:pt x="468" y="664"/>
                    </a:lnTo>
                    <a:lnTo>
                      <a:pt x="468" y="665"/>
                    </a:lnTo>
                    <a:lnTo>
                      <a:pt x="467" y="665"/>
                    </a:lnTo>
                    <a:lnTo>
                      <a:pt x="467" y="667"/>
                    </a:lnTo>
                    <a:lnTo>
                      <a:pt x="467" y="668"/>
                    </a:lnTo>
                    <a:lnTo>
                      <a:pt x="467" y="670"/>
                    </a:lnTo>
                    <a:lnTo>
                      <a:pt x="465" y="670"/>
                    </a:lnTo>
                    <a:lnTo>
                      <a:pt x="465" y="672"/>
                    </a:lnTo>
                    <a:lnTo>
                      <a:pt x="465" y="673"/>
                    </a:lnTo>
                    <a:lnTo>
                      <a:pt x="464" y="673"/>
                    </a:lnTo>
                    <a:lnTo>
                      <a:pt x="464" y="675"/>
                    </a:lnTo>
                    <a:lnTo>
                      <a:pt x="464" y="676"/>
                    </a:lnTo>
                    <a:lnTo>
                      <a:pt x="462" y="676"/>
                    </a:lnTo>
                    <a:lnTo>
                      <a:pt x="461" y="676"/>
                    </a:lnTo>
                    <a:lnTo>
                      <a:pt x="462" y="676"/>
                    </a:lnTo>
                    <a:lnTo>
                      <a:pt x="461" y="676"/>
                    </a:lnTo>
                    <a:lnTo>
                      <a:pt x="461" y="675"/>
                    </a:lnTo>
                    <a:lnTo>
                      <a:pt x="459" y="675"/>
                    </a:lnTo>
                    <a:lnTo>
                      <a:pt x="457" y="675"/>
                    </a:lnTo>
                    <a:lnTo>
                      <a:pt x="457" y="676"/>
                    </a:lnTo>
                    <a:lnTo>
                      <a:pt x="456" y="676"/>
                    </a:lnTo>
                    <a:lnTo>
                      <a:pt x="456" y="678"/>
                    </a:lnTo>
                    <a:lnTo>
                      <a:pt x="456" y="676"/>
                    </a:lnTo>
                    <a:lnTo>
                      <a:pt x="454" y="676"/>
                    </a:lnTo>
                    <a:lnTo>
                      <a:pt x="454" y="678"/>
                    </a:lnTo>
                    <a:lnTo>
                      <a:pt x="453" y="678"/>
                    </a:lnTo>
                    <a:lnTo>
                      <a:pt x="453" y="679"/>
                    </a:lnTo>
                    <a:lnTo>
                      <a:pt x="453" y="681"/>
                    </a:lnTo>
                    <a:lnTo>
                      <a:pt x="451" y="681"/>
                    </a:lnTo>
                    <a:lnTo>
                      <a:pt x="451" y="683"/>
                    </a:lnTo>
                    <a:lnTo>
                      <a:pt x="449" y="683"/>
                    </a:lnTo>
                    <a:lnTo>
                      <a:pt x="448" y="683"/>
                    </a:lnTo>
                    <a:lnTo>
                      <a:pt x="449" y="683"/>
                    </a:lnTo>
                    <a:lnTo>
                      <a:pt x="448" y="683"/>
                    </a:lnTo>
                    <a:lnTo>
                      <a:pt x="449" y="683"/>
                    </a:lnTo>
                    <a:lnTo>
                      <a:pt x="449" y="684"/>
                    </a:lnTo>
                    <a:lnTo>
                      <a:pt x="451" y="684"/>
                    </a:lnTo>
                    <a:lnTo>
                      <a:pt x="453" y="684"/>
                    </a:lnTo>
                    <a:lnTo>
                      <a:pt x="453" y="686"/>
                    </a:lnTo>
                    <a:lnTo>
                      <a:pt x="453" y="687"/>
                    </a:lnTo>
                    <a:lnTo>
                      <a:pt x="454" y="687"/>
                    </a:lnTo>
                    <a:lnTo>
                      <a:pt x="456" y="687"/>
                    </a:lnTo>
                    <a:lnTo>
                      <a:pt x="456" y="689"/>
                    </a:lnTo>
                    <a:lnTo>
                      <a:pt x="457" y="689"/>
                    </a:lnTo>
                    <a:lnTo>
                      <a:pt x="457" y="691"/>
                    </a:lnTo>
                    <a:lnTo>
                      <a:pt x="457" y="692"/>
                    </a:lnTo>
                    <a:lnTo>
                      <a:pt x="456" y="692"/>
                    </a:lnTo>
                    <a:lnTo>
                      <a:pt x="456" y="694"/>
                    </a:lnTo>
                    <a:lnTo>
                      <a:pt x="456" y="695"/>
                    </a:lnTo>
                    <a:lnTo>
                      <a:pt x="456" y="697"/>
                    </a:lnTo>
                    <a:lnTo>
                      <a:pt x="456" y="699"/>
                    </a:lnTo>
                    <a:lnTo>
                      <a:pt x="456" y="700"/>
                    </a:lnTo>
                    <a:lnTo>
                      <a:pt x="454" y="700"/>
                    </a:lnTo>
                    <a:lnTo>
                      <a:pt x="456" y="700"/>
                    </a:lnTo>
                    <a:lnTo>
                      <a:pt x="456" y="702"/>
                    </a:lnTo>
                    <a:lnTo>
                      <a:pt x="454" y="702"/>
                    </a:lnTo>
                    <a:lnTo>
                      <a:pt x="454" y="703"/>
                    </a:lnTo>
                    <a:lnTo>
                      <a:pt x="453" y="703"/>
                    </a:lnTo>
                    <a:lnTo>
                      <a:pt x="453" y="705"/>
                    </a:lnTo>
                    <a:lnTo>
                      <a:pt x="451" y="705"/>
                    </a:lnTo>
                    <a:lnTo>
                      <a:pt x="451" y="706"/>
                    </a:lnTo>
                    <a:lnTo>
                      <a:pt x="451" y="708"/>
                    </a:lnTo>
                    <a:lnTo>
                      <a:pt x="449" y="708"/>
                    </a:lnTo>
                    <a:lnTo>
                      <a:pt x="449" y="710"/>
                    </a:lnTo>
                    <a:lnTo>
                      <a:pt x="449" y="711"/>
                    </a:lnTo>
                    <a:lnTo>
                      <a:pt x="449" y="713"/>
                    </a:lnTo>
                    <a:lnTo>
                      <a:pt x="448" y="713"/>
                    </a:lnTo>
                    <a:lnTo>
                      <a:pt x="448" y="714"/>
                    </a:lnTo>
                    <a:lnTo>
                      <a:pt x="446" y="714"/>
                    </a:lnTo>
                    <a:lnTo>
                      <a:pt x="446" y="716"/>
                    </a:lnTo>
                    <a:lnTo>
                      <a:pt x="446" y="718"/>
                    </a:lnTo>
                    <a:lnTo>
                      <a:pt x="446" y="719"/>
                    </a:lnTo>
                    <a:lnTo>
                      <a:pt x="446" y="721"/>
                    </a:lnTo>
                    <a:lnTo>
                      <a:pt x="446" y="722"/>
                    </a:lnTo>
                    <a:lnTo>
                      <a:pt x="446" y="724"/>
                    </a:lnTo>
                    <a:lnTo>
                      <a:pt x="445" y="724"/>
                    </a:lnTo>
                    <a:lnTo>
                      <a:pt x="445" y="725"/>
                    </a:lnTo>
                    <a:lnTo>
                      <a:pt x="443" y="725"/>
                    </a:lnTo>
                    <a:lnTo>
                      <a:pt x="442" y="725"/>
                    </a:lnTo>
                    <a:lnTo>
                      <a:pt x="442" y="727"/>
                    </a:lnTo>
                    <a:lnTo>
                      <a:pt x="440" y="727"/>
                    </a:lnTo>
                    <a:lnTo>
                      <a:pt x="440" y="729"/>
                    </a:lnTo>
                    <a:lnTo>
                      <a:pt x="440" y="730"/>
                    </a:lnTo>
                    <a:lnTo>
                      <a:pt x="438" y="730"/>
                    </a:lnTo>
                    <a:lnTo>
                      <a:pt x="438" y="732"/>
                    </a:lnTo>
                    <a:lnTo>
                      <a:pt x="438" y="733"/>
                    </a:lnTo>
                    <a:lnTo>
                      <a:pt x="437" y="733"/>
                    </a:lnTo>
                    <a:lnTo>
                      <a:pt x="437" y="735"/>
                    </a:lnTo>
                    <a:lnTo>
                      <a:pt x="437" y="737"/>
                    </a:lnTo>
                    <a:lnTo>
                      <a:pt x="435" y="737"/>
                    </a:lnTo>
                    <a:lnTo>
                      <a:pt x="435" y="738"/>
                    </a:lnTo>
                    <a:lnTo>
                      <a:pt x="435" y="740"/>
                    </a:lnTo>
                    <a:lnTo>
                      <a:pt x="435" y="741"/>
                    </a:lnTo>
                    <a:lnTo>
                      <a:pt x="435" y="743"/>
                    </a:lnTo>
                    <a:lnTo>
                      <a:pt x="435" y="744"/>
                    </a:lnTo>
                    <a:lnTo>
                      <a:pt x="434" y="744"/>
                    </a:lnTo>
                    <a:lnTo>
                      <a:pt x="432" y="744"/>
                    </a:lnTo>
                    <a:lnTo>
                      <a:pt x="432" y="746"/>
                    </a:lnTo>
                    <a:lnTo>
                      <a:pt x="430" y="746"/>
                    </a:lnTo>
                    <a:lnTo>
                      <a:pt x="430" y="748"/>
                    </a:lnTo>
                    <a:lnTo>
                      <a:pt x="429" y="748"/>
                    </a:lnTo>
                    <a:lnTo>
                      <a:pt x="429" y="749"/>
                    </a:lnTo>
                    <a:lnTo>
                      <a:pt x="430" y="749"/>
                    </a:lnTo>
                    <a:lnTo>
                      <a:pt x="430" y="751"/>
                    </a:lnTo>
                    <a:lnTo>
                      <a:pt x="429" y="751"/>
                    </a:lnTo>
                    <a:lnTo>
                      <a:pt x="427" y="751"/>
                    </a:lnTo>
                    <a:lnTo>
                      <a:pt x="426" y="751"/>
                    </a:lnTo>
                    <a:lnTo>
                      <a:pt x="424" y="751"/>
                    </a:lnTo>
                    <a:lnTo>
                      <a:pt x="424" y="749"/>
                    </a:lnTo>
                    <a:lnTo>
                      <a:pt x="423" y="749"/>
                    </a:lnTo>
                    <a:lnTo>
                      <a:pt x="423" y="751"/>
                    </a:lnTo>
                    <a:lnTo>
                      <a:pt x="424" y="751"/>
                    </a:lnTo>
                    <a:lnTo>
                      <a:pt x="426" y="751"/>
                    </a:lnTo>
                    <a:lnTo>
                      <a:pt x="426" y="752"/>
                    </a:lnTo>
                    <a:lnTo>
                      <a:pt x="426" y="754"/>
                    </a:lnTo>
                    <a:lnTo>
                      <a:pt x="426" y="756"/>
                    </a:lnTo>
                    <a:lnTo>
                      <a:pt x="424" y="756"/>
                    </a:lnTo>
                    <a:lnTo>
                      <a:pt x="424" y="757"/>
                    </a:lnTo>
                    <a:lnTo>
                      <a:pt x="424" y="759"/>
                    </a:lnTo>
                    <a:lnTo>
                      <a:pt x="423" y="759"/>
                    </a:lnTo>
                    <a:lnTo>
                      <a:pt x="423" y="760"/>
                    </a:lnTo>
                    <a:lnTo>
                      <a:pt x="423" y="762"/>
                    </a:lnTo>
                    <a:lnTo>
                      <a:pt x="421" y="762"/>
                    </a:lnTo>
                    <a:lnTo>
                      <a:pt x="423" y="762"/>
                    </a:lnTo>
                    <a:lnTo>
                      <a:pt x="421" y="762"/>
                    </a:lnTo>
                    <a:lnTo>
                      <a:pt x="423" y="762"/>
                    </a:lnTo>
                    <a:lnTo>
                      <a:pt x="421" y="762"/>
                    </a:lnTo>
                    <a:lnTo>
                      <a:pt x="423" y="762"/>
                    </a:lnTo>
                    <a:lnTo>
                      <a:pt x="423" y="763"/>
                    </a:lnTo>
                    <a:lnTo>
                      <a:pt x="421" y="763"/>
                    </a:lnTo>
                    <a:lnTo>
                      <a:pt x="421" y="765"/>
                    </a:lnTo>
                    <a:lnTo>
                      <a:pt x="423" y="765"/>
                    </a:lnTo>
                    <a:lnTo>
                      <a:pt x="423" y="767"/>
                    </a:lnTo>
                    <a:lnTo>
                      <a:pt x="423" y="768"/>
                    </a:lnTo>
                    <a:lnTo>
                      <a:pt x="423" y="770"/>
                    </a:lnTo>
                    <a:lnTo>
                      <a:pt x="423" y="771"/>
                    </a:lnTo>
                    <a:lnTo>
                      <a:pt x="423" y="773"/>
                    </a:lnTo>
                    <a:lnTo>
                      <a:pt x="423" y="775"/>
                    </a:lnTo>
                    <a:lnTo>
                      <a:pt x="423" y="776"/>
                    </a:lnTo>
                    <a:lnTo>
                      <a:pt x="421" y="776"/>
                    </a:lnTo>
                    <a:lnTo>
                      <a:pt x="421" y="778"/>
                    </a:lnTo>
                    <a:lnTo>
                      <a:pt x="419" y="778"/>
                    </a:lnTo>
                    <a:lnTo>
                      <a:pt x="419" y="779"/>
                    </a:lnTo>
                    <a:lnTo>
                      <a:pt x="419" y="781"/>
                    </a:lnTo>
                    <a:lnTo>
                      <a:pt x="418" y="781"/>
                    </a:lnTo>
                    <a:lnTo>
                      <a:pt x="418" y="782"/>
                    </a:lnTo>
                    <a:lnTo>
                      <a:pt x="418" y="784"/>
                    </a:lnTo>
                    <a:lnTo>
                      <a:pt x="416" y="784"/>
                    </a:lnTo>
                    <a:lnTo>
                      <a:pt x="416" y="786"/>
                    </a:lnTo>
                    <a:lnTo>
                      <a:pt x="415" y="786"/>
                    </a:lnTo>
                    <a:lnTo>
                      <a:pt x="415" y="787"/>
                    </a:lnTo>
                    <a:lnTo>
                      <a:pt x="415" y="789"/>
                    </a:lnTo>
                    <a:lnTo>
                      <a:pt x="413" y="789"/>
                    </a:lnTo>
                    <a:lnTo>
                      <a:pt x="413" y="790"/>
                    </a:lnTo>
                    <a:lnTo>
                      <a:pt x="413" y="792"/>
                    </a:lnTo>
                    <a:lnTo>
                      <a:pt x="411" y="792"/>
                    </a:lnTo>
                    <a:lnTo>
                      <a:pt x="411" y="794"/>
                    </a:lnTo>
                    <a:lnTo>
                      <a:pt x="410" y="794"/>
                    </a:lnTo>
                    <a:lnTo>
                      <a:pt x="410" y="795"/>
                    </a:lnTo>
                    <a:lnTo>
                      <a:pt x="410" y="797"/>
                    </a:lnTo>
                    <a:lnTo>
                      <a:pt x="408" y="797"/>
                    </a:lnTo>
                    <a:lnTo>
                      <a:pt x="408" y="798"/>
                    </a:lnTo>
                    <a:lnTo>
                      <a:pt x="408" y="800"/>
                    </a:lnTo>
                    <a:lnTo>
                      <a:pt x="407" y="800"/>
                    </a:lnTo>
                    <a:lnTo>
                      <a:pt x="407" y="801"/>
                    </a:lnTo>
                    <a:lnTo>
                      <a:pt x="405" y="801"/>
                    </a:lnTo>
                    <a:lnTo>
                      <a:pt x="405" y="803"/>
                    </a:lnTo>
                    <a:lnTo>
                      <a:pt x="405" y="805"/>
                    </a:lnTo>
                    <a:lnTo>
                      <a:pt x="404" y="805"/>
                    </a:lnTo>
                    <a:lnTo>
                      <a:pt x="404" y="806"/>
                    </a:lnTo>
                    <a:lnTo>
                      <a:pt x="404" y="808"/>
                    </a:lnTo>
                    <a:lnTo>
                      <a:pt x="404" y="809"/>
                    </a:lnTo>
                    <a:lnTo>
                      <a:pt x="402" y="809"/>
                    </a:lnTo>
                    <a:lnTo>
                      <a:pt x="402" y="811"/>
                    </a:lnTo>
                    <a:lnTo>
                      <a:pt x="402" y="813"/>
                    </a:lnTo>
                    <a:lnTo>
                      <a:pt x="400" y="813"/>
                    </a:lnTo>
                    <a:lnTo>
                      <a:pt x="400" y="814"/>
                    </a:lnTo>
                    <a:lnTo>
                      <a:pt x="400" y="816"/>
                    </a:lnTo>
                    <a:lnTo>
                      <a:pt x="399" y="816"/>
                    </a:lnTo>
                    <a:lnTo>
                      <a:pt x="399" y="817"/>
                    </a:lnTo>
                    <a:lnTo>
                      <a:pt x="399" y="819"/>
                    </a:lnTo>
                    <a:lnTo>
                      <a:pt x="399" y="820"/>
                    </a:lnTo>
                    <a:lnTo>
                      <a:pt x="397" y="820"/>
                    </a:lnTo>
                    <a:lnTo>
                      <a:pt x="397" y="822"/>
                    </a:lnTo>
                    <a:lnTo>
                      <a:pt x="397" y="824"/>
                    </a:lnTo>
                    <a:lnTo>
                      <a:pt x="397" y="825"/>
                    </a:lnTo>
                    <a:lnTo>
                      <a:pt x="397" y="827"/>
                    </a:lnTo>
                    <a:lnTo>
                      <a:pt x="397" y="828"/>
                    </a:lnTo>
                    <a:lnTo>
                      <a:pt x="397" y="830"/>
                    </a:lnTo>
                    <a:lnTo>
                      <a:pt x="399" y="830"/>
                    </a:lnTo>
                    <a:lnTo>
                      <a:pt x="399" y="832"/>
                    </a:lnTo>
                    <a:lnTo>
                      <a:pt x="399" y="833"/>
                    </a:lnTo>
                    <a:lnTo>
                      <a:pt x="399" y="835"/>
                    </a:lnTo>
                    <a:lnTo>
                      <a:pt x="399" y="836"/>
                    </a:lnTo>
                    <a:lnTo>
                      <a:pt x="399" y="838"/>
                    </a:lnTo>
                    <a:lnTo>
                      <a:pt x="399" y="839"/>
                    </a:lnTo>
                    <a:lnTo>
                      <a:pt x="399" y="841"/>
                    </a:lnTo>
                    <a:lnTo>
                      <a:pt x="399" y="843"/>
                    </a:lnTo>
                    <a:lnTo>
                      <a:pt x="399" y="844"/>
                    </a:lnTo>
                    <a:lnTo>
                      <a:pt x="397" y="844"/>
                    </a:lnTo>
                    <a:lnTo>
                      <a:pt x="397" y="846"/>
                    </a:lnTo>
                    <a:lnTo>
                      <a:pt x="397" y="847"/>
                    </a:lnTo>
                    <a:lnTo>
                      <a:pt x="397" y="849"/>
                    </a:lnTo>
                    <a:lnTo>
                      <a:pt x="396" y="849"/>
                    </a:lnTo>
                    <a:lnTo>
                      <a:pt x="396" y="851"/>
                    </a:lnTo>
                    <a:lnTo>
                      <a:pt x="394" y="851"/>
                    </a:lnTo>
                    <a:lnTo>
                      <a:pt x="392" y="851"/>
                    </a:lnTo>
                    <a:lnTo>
                      <a:pt x="392" y="852"/>
                    </a:lnTo>
                    <a:lnTo>
                      <a:pt x="392" y="854"/>
                    </a:lnTo>
                    <a:lnTo>
                      <a:pt x="392" y="855"/>
                    </a:lnTo>
                    <a:lnTo>
                      <a:pt x="391" y="855"/>
                    </a:lnTo>
                    <a:lnTo>
                      <a:pt x="391" y="857"/>
                    </a:lnTo>
                    <a:lnTo>
                      <a:pt x="391" y="858"/>
                    </a:lnTo>
                    <a:lnTo>
                      <a:pt x="391" y="860"/>
                    </a:lnTo>
                    <a:lnTo>
                      <a:pt x="391" y="862"/>
                    </a:lnTo>
                    <a:lnTo>
                      <a:pt x="389" y="862"/>
                    </a:lnTo>
                    <a:lnTo>
                      <a:pt x="389" y="863"/>
                    </a:lnTo>
                    <a:lnTo>
                      <a:pt x="389" y="865"/>
                    </a:lnTo>
                    <a:lnTo>
                      <a:pt x="388" y="865"/>
                    </a:lnTo>
                    <a:lnTo>
                      <a:pt x="388" y="866"/>
                    </a:lnTo>
                    <a:lnTo>
                      <a:pt x="388" y="868"/>
                    </a:lnTo>
                    <a:lnTo>
                      <a:pt x="388" y="870"/>
                    </a:lnTo>
                    <a:lnTo>
                      <a:pt x="386" y="870"/>
                    </a:lnTo>
                    <a:lnTo>
                      <a:pt x="386" y="871"/>
                    </a:lnTo>
                    <a:lnTo>
                      <a:pt x="386" y="873"/>
                    </a:lnTo>
                    <a:lnTo>
                      <a:pt x="384" y="873"/>
                    </a:lnTo>
                    <a:lnTo>
                      <a:pt x="384" y="874"/>
                    </a:lnTo>
                    <a:lnTo>
                      <a:pt x="384" y="876"/>
                    </a:lnTo>
                    <a:lnTo>
                      <a:pt x="384" y="878"/>
                    </a:lnTo>
                    <a:lnTo>
                      <a:pt x="384" y="879"/>
                    </a:lnTo>
                    <a:lnTo>
                      <a:pt x="384" y="881"/>
                    </a:lnTo>
                    <a:lnTo>
                      <a:pt x="384" y="882"/>
                    </a:lnTo>
                    <a:lnTo>
                      <a:pt x="384" y="884"/>
                    </a:lnTo>
                    <a:lnTo>
                      <a:pt x="384" y="885"/>
                    </a:lnTo>
                    <a:lnTo>
                      <a:pt x="386" y="885"/>
                    </a:lnTo>
                    <a:lnTo>
                      <a:pt x="386" y="887"/>
                    </a:lnTo>
                    <a:lnTo>
                      <a:pt x="388" y="887"/>
                    </a:lnTo>
                    <a:lnTo>
                      <a:pt x="388" y="889"/>
                    </a:lnTo>
                    <a:lnTo>
                      <a:pt x="388" y="890"/>
                    </a:lnTo>
                    <a:lnTo>
                      <a:pt x="388" y="892"/>
                    </a:lnTo>
                    <a:lnTo>
                      <a:pt x="389" y="892"/>
                    </a:lnTo>
                    <a:lnTo>
                      <a:pt x="389" y="893"/>
                    </a:lnTo>
                    <a:lnTo>
                      <a:pt x="389" y="895"/>
                    </a:lnTo>
                    <a:lnTo>
                      <a:pt x="389" y="897"/>
                    </a:lnTo>
                    <a:lnTo>
                      <a:pt x="391" y="897"/>
                    </a:lnTo>
                    <a:lnTo>
                      <a:pt x="391" y="898"/>
                    </a:lnTo>
                    <a:lnTo>
                      <a:pt x="392" y="898"/>
                    </a:lnTo>
                    <a:lnTo>
                      <a:pt x="392" y="900"/>
                    </a:lnTo>
                    <a:lnTo>
                      <a:pt x="394" y="900"/>
                    </a:lnTo>
                    <a:lnTo>
                      <a:pt x="392" y="900"/>
                    </a:lnTo>
                    <a:lnTo>
                      <a:pt x="394" y="900"/>
                    </a:lnTo>
                    <a:lnTo>
                      <a:pt x="394" y="901"/>
                    </a:lnTo>
                    <a:lnTo>
                      <a:pt x="396" y="901"/>
                    </a:lnTo>
                    <a:lnTo>
                      <a:pt x="396" y="903"/>
                    </a:lnTo>
                    <a:lnTo>
                      <a:pt x="397" y="903"/>
                    </a:lnTo>
                    <a:lnTo>
                      <a:pt x="397" y="904"/>
                    </a:lnTo>
                    <a:lnTo>
                      <a:pt x="397" y="906"/>
                    </a:lnTo>
                    <a:lnTo>
                      <a:pt x="396" y="906"/>
                    </a:lnTo>
                    <a:lnTo>
                      <a:pt x="396" y="908"/>
                    </a:lnTo>
                    <a:lnTo>
                      <a:pt x="397" y="908"/>
                    </a:lnTo>
                    <a:lnTo>
                      <a:pt x="397" y="906"/>
                    </a:lnTo>
                    <a:lnTo>
                      <a:pt x="399" y="906"/>
                    </a:lnTo>
                    <a:lnTo>
                      <a:pt x="399" y="908"/>
                    </a:lnTo>
                    <a:lnTo>
                      <a:pt x="400" y="908"/>
                    </a:lnTo>
                    <a:lnTo>
                      <a:pt x="400" y="909"/>
                    </a:lnTo>
                    <a:lnTo>
                      <a:pt x="400" y="911"/>
                    </a:lnTo>
                    <a:lnTo>
                      <a:pt x="402" y="911"/>
                    </a:lnTo>
                    <a:lnTo>
                      <a:pt x="402" y="912"/>
                    </a:lnTo>
                    <a:lnTo>
                      <a:pt x="404" y="912"/>
                    </a:lnTo>
                    <a:lnTo>
                      <a:pt x="404" y="914"/>
                    </a:lnTo>
                    <a:lnTo>
                      <a:pt x="404" y="916"/>
                    </a:lnTo>
                    <a:lnTo>
                      <a:pt x="405" y="916"/>
                    </a:lnTo>
                    <a:lnTo>
                      <a:pt x="405" y="917"/>
                    </a:lnTo>
                    <a:lnTo>
                      <a:pt x="405" y="919"/>
                    </a:lnTo>
                    <a:lnTo>
                      <a:pt x="407" y="919"/>
                    </a:lnTo>
                    <a:lnTo>
                      <a:pt x="408" y="919"/>
                    </a:lnTo>
                    <a:lnTo>
                      <a:pt x="408" y="920"/>
                    </a:lnTo>
                    <a:lnTo>
                      <a:pt x="410" y="920"/>
                    </a:lnTo>
                    <a:lnTo>
                      <a:pt x="410" y="922"/>
                    </a:lnTo>
                    <a:lnTo>
                      <a:pt x="408" y="922"/>
                    </a:lnTo>
                    <a:lnTo>
                      <a:pt x="410" y="922"/>
                    </a:lnTo>
                    <a:lnTo>
                      <a:pt x="411" y="922"/>
                    </a:lnTo>
                    <a:lnTo>
                      <a:pt x="411" y="920"/>
                    </a:lnTo>
                    <a:lnTo>
                      <a:pt x="410" y="920"/>
                    </a:lnTo>
                    <a:lnTo>
                      <a:pt x="410" y="919"/>
                    </a:lnTo>
                    <a:lnTo>
                      <a:pt x="411" y="919"/>
                    </a:lnTo>
                    <a:lnTo>
                      <a:pt x="411" y="920"/>
                    </a:lnTo>
                    <a:lnTo>
                      <a:pt x="411" y="922"/>
                    </a:lnTo>
                    <a:lnTo>
                      <a:pt x="411" y="923"/>
                    </a:lnTo>
                    <a:lnTo>
                      <a:pt x="411" y="925"/>
                    </a:lnTo>
                    <a:lnTo>
                      <a:pt x="413" y="925"/>
                    </a:lnTo>
                    <a:lnTo>
                      <a:pt x="411" y="925"/>
                    </a:lnTo>
                    <a:lnTo>
                      <a:pt x="411" y="927"/>
                    </a:lnTo>
                    <a:lnTo>
                      <a:pt x="411" y="928"/>
                    </a:lnTo>
                    <a:lnTo>
                      <a:pt x="411" y="930"/>
                    </a:lnTo>
                    <a:lnTo>
                      <a:pt x="411" y="931"/>
                    </a:lnTo>
                    <a:lnTo>
                      <a:pt x="411" y="933"/>
                    </a:lnTo>
                    <a:lnTo>
                      <a:pt x="411" y="935"/>
                    </a:lnTo>
                    <a:lnTo>
                      <a:pt x="411" y="936"/>
                    </a:lnTo>
                    <a:lnTo>
                      <a:pt x="411" y="938"/>
                    </a:lnTo>
                    <a:lnTo>
                      <a:pt x="413" y="938"/>
                    </a:lnTo>
                    <a:lnTo>
                      <a:pt x="413" y="939"/>
                    </a:lnTo>
                    <a:lnTo>
                      <a:pt x="413" y="941"/>
                    </a:lnTo>
                    <a:lnTo>
                      <a:pt x="411" y="941"/>
                    </a:lnTo>
                    <a:lnTo>
                      <a:pt x="413" y="941"/>
                    </a:lnTo>
                    <a:lnTo>
                      <a:pt x="411" y="941"/>
                    </a:lnTo>
                    <a:lnTo>
                      <a:pt x="411" y="942"/>
                    </a:lnTo>
                    <a:lnTo>
                      <a:pt x="411" y="944"/>
                    </a:lnTo>
                    <a:lnTo>
                      <a:pt x="410" y="944"/>
                    </a:lnTo>
                    <a:lnTo>
                      <a:pt x="410" y="946"/>
                    </a:lnTo>
                    <a:lnTo>
                      <a:pt x="410" y="947"/>
                    </a:lnTo>
                    <a:lnTo>
                      <a:pt x="408" y="947"/>
                    </a:lnTo>
                    <a:lnTo>
                      <a:pt x="408" y="949"/>
                    </a:lnTo>
                    <a:lnTo>
                      <a:pt x="408" y="947"/>
                    </a:lnTo>
                    <a:lnTo>
                      <a:pt x="408" y="949"/>
                    </a:lnTo>
                    <a:lnTo>
                      <a:pt x="408" y="950"/>
                    </a:lnTo>
                    <a:lnTo>
                      <a:pt x="408" y="952"/>
                    </a:lnTo>
                    <a:lnTo>
                      <a:pt x="408" y="954"/>
                    </a:lnTo>
                    <a:lnTo>
                      <a:pt x="408" y="955"/>
                    </a:lnTo>
                    <a:lnTo>
                      <a:pt x="408" y="957"/>
                    </a:lnTo>
                    <a:lnTo>
                      <a:pt x="407" y="957"/>
                    </a:lnTo>
                    <a:lnTo>
                      <a:pt x="407" y="958"/>
                    </a:lnTo>
                    <a:lnTo>
                      <a:pt x="407" y="960"/>
                    </a:lnTo>
                    <a:lnTo>
                      <a:pt x="407" y="961"/>
                    </a:lnTo>
                    <a:lnTo>
                      <a:pt x="405" y="961"/>
                    </a:lnTo>
                    <a:lnTo>
                      <a:pt x="405" y="963"/>
                    </a:lnTo>
                    <a:lnTo>
                      <a:pt x="405" y="965"/>
                    </a:lnTo>
                    <a:lnTo>
                      <a:pt x="405" y="966"/>
                    </a:lnTo>
                    <a:lnTo>
                      <a:pt x="405" y="968"/>
                    </a:lnTo>
                    <a:lnTo>
                      <a:pt x="405" y="969"/>
                    </a:lnTo>
                    <a:lnTo>
                      <a:pt x="405" y="971"/>
                    </a:lnTo>
                    <a:lnTo>
                      <a:pt x="405" y="973"/>
                    </a:lnTo>
                    <a:lnTo>
                      <a:pt x="405" y="974"/>
                    </a:lnTo>
                    <a:lnTo>
                      <a:pt x="405" y="976"/>
                    </a:lnTo>
                    <a:lnTo>
                      <a:pt x="405" y="977"/>
                    </a:lnTo>
                    <a:lnTo>
                      <a:pt x="405" y="979"/>
                    </a:lnTo>
                    <a:lnTo>
                      <a:pt x="407" y="979"/>
                    </a:lnTo>
                    <a:lnTo>
                      <a:pt x="407" y="980"/>
                    </a:lnTo>
                    <a:lnTo>
                      <a:pt x="407" y="982"/>
                    </a:lnTo>
                    <a:lnTo>
                      <a:pt x="408" y="982"/>
                    </a:lnTo>
                    <a:lnTo>
                      <a:pt x="408" y="984"/>
                    </a:lnTo>
                    <a:lnTo>
                      <a:pt x="410" y="984"/>
                    </a:lnTo>
                    <a:lnTo>
                      <a:pt x="410" y="985"/>
                    </a:lnTo>
                    <a:lnTo>
                      <a:pt x="410" y="987"/>
                    </a:lnTo>
                    <a:lnTo>
                      <a:pt x="411" y="987"/>
                    </a:lnTo>
                    <a:lnTo>
                      <a:pt x="413" y="987"/>
                    </a:lnTo>
                    <a:lnTo>
                      <a:pt x="413" y="988"/>
                    </a:lnTo>
                    <a:lnTo>
                      <a:pt x="413" y="990"/>
                    </a:lnTo>
                    <a:lnTo>
                      <a:pt x="411" y="990"/>
                    </a:lnTo>
                    <a:lnTo>
                      <a:pt x="410" y="990"/>
                    </a:lnTo>
                    <a:lnTo>
                      <a:pt x="410" y="992"/>
                    </a:lnTo>
                    <a:lnTo>
                      <a:pt x="408" y="992"/>
                    </a:lnTo>
                    <a:lnTo>
                      <a:pt x="408" y="993"/>
                    </a:lnTo>
                    <a:lnTo>
                      <a:pt x="408" y="995"/>
                    </a:lnTo>
                    <a:lnTo>
                      <a:pt x="410" y="995"/>
                    </a:lnTo>
                    <a:lnTo>
                      <a:pt x="410" y="996"/>
                    </a:lnTo>
                    <a:lnTo>
                      <a:pt x="411" y="996"/>
                    </a:lnTo>
                    <a:lnTo>
                      <a:pt x="413" y="996"/>
                    </a:lnTo>
                    <a:lnTo>
                      <a:pt x="413" y="998"/>
                    </a:lnTo>
                    <a:lnTo>
                      <a:pt x="411" y="998"/>
                    </a:lnTo>
                    <a:lnTo>
                      <a:pt x="411" y="999"/>
                    </a:lnTo>
                    <a:lnTo>
                      <a:pt x="410" y="999"/>
                    </a:lnTo>
                    <a:lnTo>
                      <a:pt x="408" y="999"/>
                    </a:lnTo>
                    <a:lnTo>
                      <a:pt x="408" y="998"/>
                    </a:lnTo>
                    <a:lnTo>
                      <a:pt x="410" y="998"/>
                    </a:lnTo>
                    <a:lnTo>
                      <a:pt x="408" y="998"/>
                    </a:lnTo>
                    <a:lnTo>
                      <a:pt x="408" y="996"/>
                    </a:lnTo>
                    <a:lnTo>
                      <a:pt x="408" y="998"/>
                    </a:lnTo>
                    <a:lnTo>
                      <a:pt x="408" y="999"/>
                    </a:lnTo>
                    <a:lnTo>
                      <a:pt x="410" y="999"/>
                    </a:lnTo>
                    <a:lnTo>
                      <a:pt x="411" y="999"/>
                    </a:lnTo>
                    <a:lnTo>
                      <a:pt x="411" y="998"/>
                    </a:lnTo>
                    <a:lnTo>
                      <a:pt x="413" y="998"/>
                    </a:lnTo>
                    <a:lnTo>
                      <a:pt x="415" y="998"/>
                    </a:lnTo>
                    <a:lnTo>
                      <a:pt x="415" y="996"/>
                    </a:lnTo>
                    <a:lnTo>
                      <a:pt x="413" y="996"/>
                    </a:lnTo>
                    <a:lnTo>
                      <a:pt x="413" y="995"/>
                    </a:lnTo>
                    <a:lnTo>
                      <a:pt x="411" y="995"/>
                    </a:lnTo>
                    <a:lnTo>
                      <a:pt x="410" y="995"/>
                    </a:lnTo>
                    <a:lnTo>
                      <a:pt x="410" y="993"/>
                    </a:lnTo>
                    <a:lnTo>
                      <a:pt x="411" y="993"/>
                    </a:lnTo>
                    <a:lnTo>
                      <a:pt x="411" y="992"/>
                    </a:lnTo>
                    <a:lnTo>
                      <a:pt x="413" y="992"/>
                    </a:lnTo>
                    <a:lnTo>
                      <a:pt x="415" y="992"/>
                    </a:lnTo>
                    <a:lnTo>
                      <a:pt x="415" y="993"/>
                    </a:lnTo>
                    <a:lnTo>
                      <a:pt x="416" y="993"/>
                    </a:lnTo>
                    <a:lnTo>
                      <a:pt x="415" y="993"/>
                    </a:lnTo>
                    <a:lnTo>
                      <a:pt x="415" y="995"/>
                    </a:lnTo>
                    <a:lnTo>
                      <a:pt x="416" y="995"/>
                    </a:lnTo>
                    <a:lnTo>
                      <a:pt x="416" y="996"/>
                    </a:lnTo>
                    <a:lnTo>
                      <a:pt x="418" y="996"/>
                    </a:lnTo>
                    <a:lnTo>
                      <a:pt x="418" y="998"/>
                    </a:lnTo>
                    <a:lnTo>
                      <a:pt x="419" y="998"/>
                    </a:lnTo>
                    <a:lnTo>
                      <a:pt x="421" y="998"/>
                    </a:lnTo>
                    <a:lnTo>
                      <a:pt x="421" y="999"/>
                    </a:lnTo>
                    <a:lnTo>
                      <a:pt x="423" y="999"/>
                    </a:lnTo>
                    <a:lnTo>
                      <a:pt x="424" y="999"/>
                    </a:lnTo>
                    <a:lnTo>
                      <a:pt x="424" y="1001"/>
                    </a:lnTo>
                    <a:lnTo>
                      <a:pt x="424" y="1003"/>
                    </a:lnTo>
                    <a:lnTo>
                      <a:pt x="424" y="1004"/>
                    </a:lnTo>
                    <a:lnTo>
                      <a:pt x="424" y="1006"/>
                    </a:lnTo>
                    <a:lnTo>
                      <a:pt x="426" y="1006"/>
                    </a:lnTo>
                    <a:lnTo>
                      <a:pt x="424" y="1006"/>
                    </a:lnTo>
                    <a:lnTo>
                      <a:pt x="424" y="1007"/>
                    </a:lnTo>
                    <a:lnTo>
                      <a:pt x="426" y="1007"/>
                    </a:lnTo>
                    <a:lnTo>
                      <a:pt x="426" y="1009"/>
                    </a:lnTo>
                    <a:lnTo>
                      <a:pt x="427" y="1009"/>
                    </a:lnTo>
                    <a:lnTo>
                      <a:pt x="427" y="1011"/>
                    </a:lnTo>
                    <a:lnTo>
                      <a:pt x="427" y="1012"/>
                    </a:lnTo>
                    <a:lnTo>
                      <a:pt x="429" y="1012"/>
                    </a:lnTo>
                    <a:lnTo>
                      <a:pt x="429" y="1014"/>
                    </a:lnTo>
                    <a:lnTo>
                      <a:pt x="430" y="1014"/>
                    </a:lnTo>
                    <a:lnTo>
                      <a:pt x="432" y="1014"/>
                    </a:lnTo>
                    <a:lnTo>
                      <a:pt x="432" y="1015"/>
                    </a:lnTo>
                    <a:lnTo>
                      <a:pt x="434" y="1015"/>
                    </a:lnTo>
                    <a:lnTo>
                      <a:pt x="435" y="1015"/>
                    </a:lnTo>
                    <a:lnTo>
                      <a:pt x="437" y="1015"/>
                    </a:lnTo>
                    <a:lnTo>
                      <a:pt x="437" y="1017"/>
                    </a:lnTo>
                    <a:lnTo>
                      <a:pt x="438" y="1017"/>
                    </a:lnTo>
                    <a:lnTo>
                      <a:pt x="438" y="1015"/>
                    </a:lnTo>
                    <a:lnTo>
                      <a:pt x="440" y="1015"/>
                    </a:lnTo>
                    <a:lnTo>
                      <a:pt x="442" y="1015"/>
                    </a:lnTo>
                    <a:lnTo>
                      <a:pt x="443" y="1015"/>
                    </a:lnTo>
                    <a:lnTo>
                      <a:pt x="445" y="1015"/>
                    </a:lnTo>
                    <a:lnTo>
                      <a:pt x="445" y="1017"/>
                    </a:lnTo>
                    <a:lnTo>
                      <a:pt x="445" y="1018"/>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78" name="Freeform 158"/>
              <p:cNvSpPr>
                <a:spLocks/>
              </p:cNvSpPr>
              <p:nvPr/>
            </p:nvSpPr>
            <p:spPr bwMode="auto">
              <a:xfrm>
                <a:off x="5001" y="2314"/>
                <a:ext cx="193" cy="656"/>
              </a:xfrm>
              <a:custGeom>
                <a:avLst/>
                <a:gdLst>
                  <a:gd name="T0" fmla="*/ 16 w 193"/>
                  <a:gd name="T1" fmla="*/ 11 h 656"/>
                  <a:gd name="T2" fmla="*/ 19 w 193"/>
                  <a:gd name="T3" fmla="*/ 3 h 656"/>
                  <a:gd name="T4" fmla="*/ 8 w 193"/>
                  <a:gd name="T5" fmla="*/ 0 h 656"/>
                  <a:gd name="T6" fmla="*/ 27 w 193"/>
                  <a:gd name="T7" fmla="*/ 8 h 656"/>
                  <a:gd name="T8" fmla="*/ 36 w 193"/>
                  <a:gd name="T9" fmla="*/ 16 h 656"/>
                  <a:gd name="T10" fmla="*/ 47 w 193"/>
                  <a:gd name="T11" fmla="*/ 32 h 656"/>
                  <a:gd name="T12" fmla="*/ 61 w 193"/>
                  <a:gd name="T13" fmla="*/ 42 h 656"/>
                  <a:gd name="T14" fmla="*/ 73 w 193"/>
                  <a:gd name="T15" fmla="*/ 57 h 656"/>
                  <a:gd name="T16" fmla="*/ 82 w 193"/>
                  <a:gd name="T17" fmla="*/ 68 h 656"/>
                  <a:gd name="T18" fmla="*/ 88 w 193"/>
                  <a:gd name="T19" fmla="*/ 86 h 656"/>
                  <a:gd name="T20" fmla="*/ 98 w 193"/>
                  <a:gd name="T21" fmla="*/ 100 h 656"/>
                  <a:gd name="T22" fmla="*/ 104 w 193"/>
                  <a:gd name="T23" fmla="*/ 99 h 656"/>
                  <a:gd name="T24" fmla="*/ 107 w 193"/>
                  <a:gd name="T25" fmla="*/ 116 h 656"/>
                  <a:gd name="T26" fmla="*/ 109 w 193"/>
                  <a:gd name="T27" fmla="*/ 129 h 656"/>
                  <a:gd name="T28" fmla="*/ 111 w 193"/>
                  <a:gd name="T29" fmla="*/ 132 h 656"/>
                  <a:gd name="T30" fmla="*/ 115 w 193"/>
                  <a:gd name="T31" fmla="*/ 119 h 656"/>
                  <a:gd name="T32" fmla="*/ 131 w 193"/>
                  <a:gd name="T33" fmla="*/ 130 h 656"/>
                  <a:gd name="T34" fmla="*/ 152 w 193"/>
                  <a:gd name="T35" fmla="*/ 133 h 656"/>
                  <a:gd name="T36" fmla="*/ 166 w 193"/>
                  <a:gd name="T37" fmla="*/ 133 h 656"/>
                  <a:gd name="T38" fmla="*/ 174 w 193"/>
                  <a:gd name="T39" fmla="*/ 152 h 656"/>
                  <a:gd name="T40" fmla="*/ 183 w 193"/>
                  <a:gd name="T41" fmla="*/ 170 h 656"/>
                  <a:gd name="T42" fmla="*/ 190 w 193"/>
                  <a:gd name="T43" fmla="*/ 181 h 656"/>
                  <a:gd name="T44" fmla="*/ 188 w 193"/>
                  <a:gd name="T45" fmla="*/ 197 h 656"/>
                  <a:gd name="T46" fmla="*/ 190 w 193"/>
                  <a:gd name="T47" fmla="*/ 213 h 656"/>
                  <a:gd name="T48" fmla="*/ 183 w 193"/>
                  <a:gd name="T49" fmla="*/ 217 h 656"/>
                  <a:gd name="T50" fmla="*/ 177 w 193"/>
                  <a:gd name="T51" fmla="*/ 235 h 656"/>
                  <a:gd name="T52" fmla="*/ 161 w 193"/>
                  <a:gd name="T53" fmla="*/ 233 h 656"/>
                  <a:gd name="T54" fmla="*/ 153 w 193"/>
                  <a:gd name="T55" fmla="*/ 243 h 656"/>
                  <a:gd name="T56" fmla="*/ 150 w 193"/>
                  <a:gd name="T57" fmla="*/ 257 h 656"/>
                  <a:gd name="T58" fmla="*/ 145 w 193"/>
                  <a:gd name="T59" fmla="*/ 257 h 656"/>
                  <a:gd name="T60" fmla="*/ 139 w 193"/>
                  <a:gd name="T61" fmla="*/ 265 h 656"/>
                  <a:gd name="T62" fmla="*/ 134 w 193"/>
                  <a:gd name="T63" fmla="*/ 274 h 656"/>
                  <a:gd name="T64" fmla="*/ 125 w 193"/>
                  <a:gd name="T65" fmla="*/ 289 h 656"/>
                  <a:gd name="T66" fmla="*/ 125 w 193"/>
                  <a:gd name="T67" fmla="*/ 297 h 656"/>
                  <a:gd name="T68" fmla="*/ 120 w 193"/>
                  <a:gd name="T69" fmla="*/ 312 h 656"/>
                  <a:gd name="T70" fmla="*/ 112 w 193"/>
                  <a:gd name="T71" fmla="*/ 325 h 656"/>
                  <a:gd name="T72" fmla="*/ 107 w 193"/>
                  <a:gd name="T73" fmla="*/ 344 h 656"/>
                  <a:gd name="T74" fmla="*/ 101 w 193"/>
                  <a:gd name="T75" fmla="*/ 365 h 656"/>
                  <a:gd name="T76" fmla="*/ 104 w 193"/>
                  <a:gd name="T77" fmla="*/ 388 h 656"/>
                  <a:gd name="T78" fmla="*/ 106 w 193"/>
                  <a:gd name="T79" fmla="*/ 404 h 656"/>
                  <a:gd name="T80" fmla="*/ 114 w 193"/>
                  <a:gd name="T81" fmla="*/ 423 h 656"/>
                  <a:gd name="T82" fmla="*/ 125 w 193"/>
                  <a:gd name="T83" fmla="*/ 420 h 656"/>
                  <a:gd name="T84" fmla="*/ 139 w 193"/>
                  <a:gd name="T85" fmla="*/ 430 h 656"/>
                  <a:gd name="T86" fmla="*/ 152 w 193"/>
                  <a:gd name="T87" fmla="*/ 441 h 656"/>
                  <a:gd name="T88" fmla="*/ 155 w 193"/>
                  <a:gd name="T89" fmla="*/ 452 h 656"/>
                  <a:gd name="T90" fmla="*/ 149 w 193"/>
                  <a:gd name="T91" fmla="*/ 469 h 656"/>
                  <a:gd name="T92" fmla="*/ 150 w 193"/>
                  <a:gd name="T93" fmla="*/ 485 h 656"/>
                  <a:gd name="T94" fmla="*/ 157 w 193"/>
                  <a:gd name="T95" fmla="*/ 499 h 656"/>
                  <a:gd name="T96" fmla="*/ 152 w 193"/>
                  <a:gd name="T97" fmla="*/ 515 h 656"/>
                  <a:gd name="T98" fmla="*/ 145 w 193"/>
                  <a:gd name="T99" fmla="*/ 536 h 656"/>
                  <a:gd name="T100" fmla="*/ 134 w 193"/>
                  <a:gd name="T101" fmla="*/ 552 h 656"/>
                  <a:gd name="T102" fmla="*/ 128 w 193"/>
                  <a:gd name="T103" fmla="*/ 569 h 656"/>
                  <a:gd name="T104" fmla="*/ 120 w 193"/>
                  <a:gd name="T105" fmla="*/ 585 h 656"/>
                  <a:gd name="T106" fmla="*/ 123 w 193"/>
                  <a:gd name="T107" fmla="*/ 599 h 656"/>
                  <a:gd name="T108" fmla="*/ 111 w 193"/>
                  <a:gd name="T109" fmla="*/ 601 h 656"/>
                  <a:gd name="T110" fmla="*/ 101 w 193"/>
                  <a:gd name="T111" fmla="*/ 602 h 656"/>
                  <a:gd name="T112" fmla="*/ 104 w 193"/>
                  <a:gd name="T113" fmla="*/ 620 h 656"/>
                  <a:gd name="T114" fmla="*/ 111 w 193"/>
                  <a:gd name="T115" fmla="*/ 628 h 656"/>
                  <a:gd name="T116" fmla="*/ 107 w 193"/>
                  <a:gd name="T117" fmla="*/ 639 h 656"/>
                  <a:gd name="T118" fmla="*/ 106 w 193"/>
                  <a:gd name="T119" fmla="*/ 651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3" h="656">
                    <a:moveTo>
                      <a:pt x="0" y="3"/>
                    </a:moveTo>
                    <a:lnTo>
                      <a:pt x="0" y="5"/>
                    </a:lnTo>
                    <a:lnTo>
                      <a:pt x="1" y="5"/>
                    </a:lnTo>
                    <a:lnTo>
                      <a:pt x="1" y="7"/>
                    </a:lnTo>
                    <a:lnTo>
                      <a:pt x="3" y="7"/>
                    </a:lnTo>
                    <a:lnTo>
                      <a:pt x="4" y="7"/>
                    </a:lnTo>
                    <a:lnTo>
                      <a:pt x="4" y="8"/>
                    </a:lnTo>
                    <a:lnTo>
                      <a:pt x="8" y="8"/>
                    </a:lnTo>
                    <a:lnTo>
                      <a:pt x="8" y="7"/>
                    </a:lnTo>
                    <a:lnTo>
                      <a:pt x="9" y="7"/>
                    </a:lnTo>
                    <a:lnTo>
                      <a:pt x="11" y="7"/>
                    </a:lnTo>
                    <a:lnTo>
                      <a:pt x="11" y="8"/>
                    </a:lnTo>
                    <a:lnTo>
                      <a:pt x="12" y="8"/>
                    </a:lnTo>
                    <a:lnTo>
                      <a:pt x="14" y="8"/>
                    </a:lnTo>
                    <a:lnTo>
                      <a:pt x="14" y="10"/>
                    </a:lnTo>
                    <a:lnTo>
                      <a:pt x="16" y="10"/>
                    </a:lnTo>
                    <a:lnTo>
                      <a:pt x="16" y="11"/>
                    </a:lnTo>
                    <a:lnTo>
                      <a:pt x="17" y="11"/>
                    </a:lnTo>
                    <a:lnTo>
                      <a:pt x="17" y="13"/>
                    </a:lnTo>
                    <a:lnTo>
                      <a:pt x="19" y="13"/>
                    </a:lnTo>
                    <a:lnTo>
                      <a:pt x="20" y="13"/>
                    </a:lnTo>
                    <a:lnTo>
                      <a:pt x="22" y="13"/>
                    </a:lnTo>
                    <a:lnTo>
                      <a:pt x="22" y="11"/>
                    </a:lnTo>
                    <a:lnTo>
                      <a:pt x="23" y="11"/>
                    </a:lnTo>
                    <a:lnTo>
                      <a:pt x="23" y="10"/>
                    </a:lnTo>
                    <a:lnTo>
                      <a:pt x="22" y="10"/>
                    </a:lnTo>
                    <a:lnTo>
                      <a:pt x="23" y="10"/>
                    </a:lnTo>
                    <a:lnTo>
                      <a:pt x="23" y="8"/>
                    </a:lnTo>
                    <a:lnTo>
                      <a:pt x="23" y="7"/>
                    </a:lnTo>
                    <a:lnTo>
                      <a:pt x="23" y="5"/>
                    </a:lnTo>
                    <a:lnTo>
                      <a:pt x="22" y="5"/>
                    </a:lnTo>
                    <a:lnTo>
                      <a:pt x="20" y="5"/>
                    </a:lnTo>
                    <a:lnTo>
                      <a:pt x="19" y="5"/>
                    </a:lnTo>
                    <a:lnTo>
                      <a:pt x="19" y="3"/>
                    </a:lnTo>
                    <a:lnTo>
                      <a:pt x="17" y="3"/>
                    </a:lnTo>
                    <a:lnTo>
                      <a:pt x="16" y="3"/>
                    </a:lnTo>
                    <a:lnTo>
                      <a:pt x="16" y="5"/>
                    </a:lnTo>
                    <a:lnTo>
                      <a:pt x="16" y="3"/>
                    </a:lnTo>
                    <a:lnTo>
                      <a:pt x="14" y="3"/>
                    </a:lnTo>
                    <a:lnTo>
                      <a:pt x="12" y="3"/>
                    </a:lnTo>
                    <a:lnTo>
                      <a:pt x="12" y="2"/>
                    </a:lnTo>
                    <a:lnTo>
                      <a:pt x="12" y="3"/>
                    </a:lnTo>
                    <a:lnTo>
                      <a:pt x="11" y="3"/>
                    </a:lnTo>
                    <a:lnTo>
                      <a:pt x="11" y="2"/>
                    </a:lnTo>
                    <a:lnTo>
                      <a:pt x="9" y="2"/>
                    </a:lnTo>
                    <a:lnTo>
                      <a:pt x="8" y="2"/>
                    </a:lnTo>
                    <a:lnTo>
                      <a:pt x="6" y="2"/>
                    </a:lnTo>
                    <a:lnTo>
                      <a:pt x="6" y="0"/>
                    </a:lnTo>
                    <a:lnTo>
                      <a:pt x="4" y="0"/>
                    </a:lnTo>
                    <a:lnTo>
                      <a:pt x="6" y="0"/>
                    </a:lnTo>
                    <a:lnTo>
                      <a:pt x="8" y="0"/>
                    </a:lnTo>
                    <a:lnTo>
                      <a:pt x="9" y="0"/>
                    </a:lnTo>
                    <a:lnTo>
                      <a:pt x="9" y="2"/>
                    </a:lnTo>
                    <a:lnTo>
                      <a:pt x="11" y="2"/>
                    </a:lnTo>
                    <a:lnTo>
                      <a:pt x="12" y="2"/>
                    </a:lnTo>
                    <a:lnTo>
                      <a:pt x="14" y="2"/>
                    </a:lnTo>
                    <a:lnTo>
                      <a:pt x="16" y="2"/>
                    </a:lnTo>
                    <a:lnTo>
                      <a:pt x="17" y="2"/>
                    </a:lnTo>
                    <a:lnTo>
                      <a:pt x="17" y="3"/>
                    </a:lnTo>
                    <a:lnTo>
                      <a:pt x="19" y="3"/>
                    </a:lnTo>
                    <a:lnTo>
                      <a:pt x="20" y="3"/>
                    </a:lnTo>
                    <a:lnTo>
                      <a:pt x="22" y="3"/>
                    </a:lnTo>
                    <a:lnTo>
                      <a:pt x="22" y="5"/>
                    </a:lnTo>
                    <a:lnTo>
                      <a:pt x="23" y="5"/>
                    </a:lnTo>
                    <a:lnTo>
                      <a:pt x="23" y="7"/>
                    </a:lnTo>
                    <a:lnTo>
                      <a:pt x="25" y="7"/>
                    </a:lnTo>
                    <a:lnTo>
                      <a:pt x="27" y="7"/>
                    </a:lnTo>
                    <a:lnTo>
                      <a:pt x="27" y="8"/>
                    </a:lnTo>
                    <a:lnTo>
                      <a:pt x="27" y="10"/>
                    </a:lnTo>
                    <a:lnTo>
                      <a:pt x="28" y="10"/>
                    </a:lnTo>
                    <a:lnTo>
                      <a:pt x="28" y="11"/>
                    </a:lnTo>
                    <a:lnTo>
                      <a:pt x="28" y="10"/>
                    </a:lnTo>
                    <a:lnTo>
                      <a:pt x="28" y="11"/>
                    </a:lnTo>
                    <a:lnTo>
                      <a:pt x="30" y="11"/>
                    </a:lnTo>
                    <a:lnTo>
                      <a:pt x="30" y="13"/>
                    </a:lnTo>
                    <a:lnTo>
                      <a:pt x="31" y="13"/>
                    </a:lnTo>
                    <a:lnTo>
                      <a:pt x="33" y="13"/>
                    </a:lnTo>
                    <a:lnTo>
                      <a:pt x="33" y="15"/>
                    </a:lnTo>
                    <a:lnTo>
                      <a:pt x="33" y="16"/>
                    </a:lnTo>
                    <a:lnTo>
                      <a:pt x="35" y="16"/>
                    </a:lnTo>
                    <a:lnTo>
                      <a:pt x="33" y="16"/>
                    </a:lnTo>
                    <a:lnTo>
                      <a:pt x="33" y="15"/>
                    </a:lnTo>
                    <a:lnTo>
                      <a:pt x="35" y="15"/>
                    </a:lnTo>
                    <a:lnTo>
                      <a:pt x="35" y="16"/>
                    </a:lnTo>
                    <a:lnTo>
                      <a:pt x="36" y="16"/>
                    </a:lnTo>
                    <a:lnTo>
                      <a:pt x="36" y="18"/>
                    </a:lnTo>
                    <a:lnTo>
                      <a:pt x="38" y="18"/>
                    </a:lnTo>
                    <a:lnTo>
                      <a:pt x="38" y="19"/>
                    </a:lnTo>
                    <a:lnTo>
                      <a:pt x="38" y="21"/>
                    </a:lnTo>
                    <a:lnTo>
                      <a:pt x="39" y="21"/>
                    </a:lnTo>
                    <a:lnTo>
                      <a:pt x="39" y="22"/>
                    </a:lnTo>
                    <a:lnTo>
                      <a:pt x="39" y="24"/>
                    </a:lnTo>
                    <a:lnTo>
                      <a:pt x="41" y="24"/>
                    </a:lnTo>
                    <a:lnTo>
                      <a:pt x="41" y="26"/>
                    </a:lnTo>
                    <a:lnTo>
                      <a:pt x="42" y="26"/>
                    </a:lnTo>
                    <a:lnTo>
                      <a:pt x="42" y="27"/>
                    </a:lnTo>
                    <a:lnTo>
                      <a:pt x="42" y="29"/>
                    </a:lnTo>
                    <a:lnTo>
                      <a:pt x="44" y="29"/>
                    </a:lnTo>
                    <a:lnTo>
                      <a:pt x="46" y="29"/>
                    </a:lnTo>
                    <a:lnTo>
                      <a:pt x="46" y="30"/>
                    </a:lnTo>
                    <a:lnTo>
                      <a:pt x="47" y="30"/>
                    </a:lnTo>
                    <a:lnTo>
                      <a:pt x="47" y="32"/>
                    </a:lnTo>
                    <a:lnTo>
                      <a:pt x="47" y="34"/>
                    </a:lnTo>
                    <a:lnTo>
                      <a:pt x="47" y="35"/>
                    </a:lnTo>
                    <a:lnTo>
                      <a:pt x="49" y="35"/>
                    </a:lnTo>
                    <a:lnTo>
                      <a:pt x="50" y="35"/>
                    </a:lnTo>
                    <a:lnTo>
                      <a:pt x="50" y="37"/>
                    </a:lnTo>
                    <a:lnTo>
                      <a:pt x="52" y="37"/>
                    </a:lnTo>
                    <a:lnTo>
                      <a:pt x="54" y="37"/>
                    </a:lnTo>
                    <a:lnTo>
                      <a:pt x="54" y="38"/>
                    </a:lnTo>
                    <a:lnTo>
                      <a:pt x="55" y="38"/>
                    </a:lnTo>
                    <a:lnTo>
                      <a:pt x="55" y="40"/>
                    </a:lnTo>
                    <a:lnTo>
                      <a:pt x="57" y="40"/>
                    </a:lnTo>
                    <a:lnTo>
                      <a:pt x="57" y="38"/>
                    </a:lnTo>
                    <a:lnTo>
                      <a:pt x="58" y="38"/>
                    </a:lnTo>
                    <a:lnTo>
                      <a:pt x="58" y="40"/>
                    </a:lnTo>
                    <a:lnTo>
                      <a:pt x="60" y="40"/>
                    </a:lnTo>
                    <a:lnTo>
                      <a:pt x="60" y="42"/>
                    </a:lnTo>
                    <a:lnTo>
                      <a:pt x="61" y="42"/>
                    </a:lnTo>
                    <a:lnTo>
                      <a:pt x="61" y="43"/>
                    </a:lnTo>
                    <a:lnTo>
                      <a:pt x="63" y="43"/>
                    </a:lnTo>
                    <a:lnTo>
                      <a:pt x="63" y="45"/>
                    </a:lnTo>
                    <a:lnTo>
                      <a:pt x="65" y="45"/>
                    </a:lnTo>
                    <a:lnTo>
                      <a:pt x="65" y="46"/>
                    </a:lnTo>
                    <a:lnTo>
                      <a:pt x="65" y="48"/>
                    </a:lnTo>
                    <a:lnTo>
                      <a:pt x="65" y="49"/>
                    </a:lnTo>
                    <a:lnTo>
                      <a:pt x="66" y="49"/>
                    </a:lnTo>
                    <a:lnTo>
                      <a:pt x="66" y="51"/>
                    </a:lnTo>
                    <a:lnTo>
                      <a:pt x="66" y="53"/>
                    </a:lnTo>
                    <a:lnTo>
                      <a:pt x="68" y="53"/>
                    </a:lnTo>
                    <a:lnTo>
                      <a:pt x="68" y="54"/>
                    </a:lnTo>
                    <a:lnTo>
                      <a:pt x="68" y="56"/>
                    </a:lnTo>
                    <a:lnTo>
                      <a:pt x="69" y="56"/>
                    </a:lnTo>
                    <a:lnTo>
                      <a:pt x="71" y="56"/>
                    </a:lnTo>
                    <a:lnTo>
                      <a:pt x="71" y="57"/>
                    </a:lnTo>
                    <a:lnTo>
                      <a:pt x="73" y="57"/>
                    </a:lnTo>
                    <a:lnTo>
                      <a:pt x="74" y="57"/>
                    </a:lnTo>
                    <a:lnTo>
                      <a:pt x="74" y="56"/>
                    </a:lnTo>
                    <a:lnTo>
                      <a:pt x="73" y="56"/>
                    </a:lnTo>
                    <a:lnTo>
                      <a:pt x="74" y="56"/>
                    </a:lnTo>
                    <a:lnTo>
                      <a:pt x="74" y="57"/>
                    </a:lnTo>
                    <a:lnTo>
                      <a:pt x="76" y="57"/>
                    </a:lnTo>
                    <a:lnTo>
                      <a:pt x="76" y="59"/>
                    </a:lnTo>
                    <a:lnTo>
                      <a:pt x="77" y="59"/>
                    </a:lnTo>
                    <a:lnTo>
                      <a:pt x="77" y="61"/>
                    </a:lnTo>
                    <a:lnTo>
                      <a:pt x="77" y="62"/>
                    </a:lnTo>
                    <a:lnTo>
                      <a:pt x="79" y="62"/>
                    </a:lnTo>
                    <a:lnTo>
                      <a:pt x="79" y="64"/>
                    </a:lnTo>
                    <a:lnTo>
                      <a:pt x="80" y="64"/>
                    </a:lnTo>
                    <a:lnTo>
                      <a:pt x="80" y="65"/>
                    </a:lnTo>
                    <a:lnTo>
                      <a:pt x="80" y="67"/>
                    </a:lnTo>
                    <a:lnTo>
                      <a:pt x="82" y="67"/>
                    </a:lnTo>
                    <a:lnTo>
                      <a:pt x="82" y="68"/>
                    </a:lnTo>
                    <a:lnTo>
                      <a:pt x="84" y="68"/>
                    </a:lnTo>
                    <a:lnTo>
                      <a:pt x="84" y="70"/>
                    </a:lnTo>
                    <a:lnTo>
                      <a:pt x="82" y="70"/>
                    </a:lnTo>
                    <a:lnTo>
                      <a:pt x="82" y="72"/>
                    </a:lnTo>
                    <a:lnTo>
                      <a:pt x="84" y="72"/>
                    </a:lnTo>
                    <a:lnTo>
                      <a:pt x="84" y="73"/>
                    </a:lnTo>
                    <a:lnTo>
                      <a:pt x="84" y="75"/>
                    </a:lnTo>
                    <a:lnTo>
                      <a:pt x="84" y="76"/>
                    </a:lnTo>
                    <a:lnTo>
                      <a:pt x="85" y="76"/>
                    </a:lnTo>
                    <a:lnTo>
                      <a:pt x="85" y="78"/>
                    </a:lnTo>
                    <a:lnTo>
                      <a:pt x="85" y="80"/>
                    </a:lnTo>
                    <a:lnTo>
                      <a:pt x="85" y="81"/>
                    </a:lnTo>
                    <a:lnTo>
                      <a:pt x="87" y="81"/>
                    </a:lnTo>
                    <a:lnTo>
                      <a:pt x="87" y="83"/>
                    </a:lnTo>
                    <a:lnTo>
                      <a:pt x="87" y="84"/>
                    </a:lnTo>
                    <a:lnTo>
                      <a:pt x="87" y="86"/>
                    </a:lnTo>
                    <a:lnTo>
                      <a:pt x="88" y="86"/>
                    </a:lnTo>
                    <a:lnTo>
                      <a:pt x="87" y="86"/>
                    </a:lnTo>
                    <a:lnTo>
                      <a:pt x="87" y="87"/>
                    </a:lnTo>
                    <a:lnTo>
                      <a:pt x="88" y="87"/>
                    </a:lnTo>
                    <a:lnTo>
                      <a:pt x="88" y="89"/>
                    </a:lnTo>
                    <a:lnTo>
                      <a:pt x="88" y="91"/>
                    </a:lnTo>
                    <a:lnTo>
                      <a:pt x="88" y="92"/>
                    </a:lnTo>
                    <a:lnTo>
                      <a:pt x="90" y="92"/>
                    </a:lnTo>
                    <a:lnTo>
                      <a:pt x="90" y="94"/>
                    </a:lnTo>
                    <a:lnTo>
                      <a:pt x="90" y="95"/>
                    </a:lnTo>
                    <a:lnTo>
                      <a:pt x="92" y="95"/>
                    </a:lnTo>
                    <a:lnTo>
                      <a:pt x="92" y="97"/>
                    </a:lnTo>
                    <a:lnTo>
                      <a:pt x="93" y="97"/>
                    </a:lnTo>
                    <a:lnTo>
                      <a:pt x="93" y="99"/>
                    </a:lnTo>
                    <a:lnTo>
                      <a:pt x="95" y="99"/>
                    </a:lnTo>
                    <a:lnTo>
                      <a:pt x="96" y="99"/>
                    </a:lnTo>
                    <a:lnTo>
                      <a:pt x="96" y="100"/>
                    </a:lnTo>
                    <a:lnTo>
                      <a:pt x="98" y="100"/>
                    </a:lnTo>
                    <a:lnTo>
                      <a:pt x="98" y="99"/>
                    </a:lnTo>
                    <a:lnTo>
                      <a:pt x="99" y="99"/>
                    </a:lnTo>
                    <a:lnTo>
                      <a:pt x="99" y="97"/>
                    </a:lnTo>
                    <a:lnTo>
                      <a:pt x="99" y="95"/>
                    </a:lnTo>
                    <a:lnTo>
                      <a:pt x="99" y="94"/>
                    </a:lnTo>
                    <a:lnTo>
                      <a:pt x="101" y="94"/>
                    </a:lnTo>
                    <a:lnTo>
                      <a:pt x="101" y="92"/>
                    </a:lnTo>
                    <a:lnTo>
                      <a:pt x="101" y="91"/>
                    </a:lnTo>
                    <a:lnTo>
                      <a:pt x="103" y="91"/>
                    </a:lnTo>
                    <a:lnTo>
                      <a:pt x="103" y="92"/>
                    </a:lnTo>
                    <a:lnTo>
                      <a:pt x="104" y="92"/>
                    </a:lnTo>
                    <a:lnTo>
                      <a:pt x="104" y="94"/>
                    </a:lnTo>
                    <a:lnTo>
                      <a:pt x="104" y="95"/>
                    </a:lnTo>
                    <a:lnTo>
                      <a:pt x="106" y="95"/>
                    </a:lnTo>
                    <a:lnTo>
                      <a:pt x="106" y="97"/>
                    </a:lnTo>
                    <a:lnTo>
                      <a:pt x="106" y="99"/>
                    </a:lnTo>
                    <a:lnTo>
                      <a:pt x="104" y="99"/>
                    </a:lnTo>
                    <a:lnTo>
                      <a:pt x="104" y="100"/>
                    </a:lnTo>
                    <a:lnTo>
                      <a:pt x="103" y="100"/>
                    </a:lnTo>
                    <a:lnTo>
                      <a:pt x="103" y="102"/>
                    </a:lnTo>
                    <a:lnTo>
                      <a:pt x="103" y="103"/>
                    </a:lnTo>
                    <a:lnTo>
                      <a:pt x="103" y="105"/>
                    </a:lnTo>
                    <a:lnTo>
                      <a:pt x="104" y="105"/>
                    </a:lnTo>
                    <a:lnTo>
                      <a:pt x="104" y="106"/>
                    </a:lnTo>
                    <a:lnTo>
                      <a:pt x="104" y="108"/>
                    </a:lnTo>
                    <a:lnTo>
                      <a:pt x="103" y="108"/>
                    </a:lnTo>
                    <a:lnTo>
                      <a:pt x="103" y="110"/>
                    </a:lnTo>
                    <a:lnTo>
                      <a:pt x="103" y="111"/>
                    </a:lnTo>
                    <a:lnTo>
                      <a:pt x="104" y="111"/>
                    </a:lnTo>
                    <a:lnTo>
                      <a:pt x="104" y="113"/>
                    </a:lnTo>
                    <a:lnTo>
                      <a:pt x="106" y="113"/>
                    </a:lnTo>
                    <a:lnTo>
                      <a:pt x="106" y="114"/>
                    </a:lnTo>
                    <a:lnTo>
                      <a:pt x="107" y="114"/>
                    </a:lnTo>
                    <a:lnTo>
                      <a:pt x="107" y="116"/>
                    </a:lnTo>
                    <a:lnTo>
                      <a:pt x="109" y="116"/>
                    </a:lnTo>
                    <a:lnTo>
                      <a:pt x="109" y="118"/>
                    </a:lnTo>
                    <a:lnTo>
                      <a:pt x="109" y="119"/>
                    </a:lnTo>
                    <a:lnTo>
                      <a:pt x="107" y="119"/>
                    </a:lnTo>
                    <a:lnTo>
                      <a:pt x="106" y="119"/>
                    </a:lnTo>
                    <a:lnTo>
                      <a:pt x="104" y="119"/>
                    </a:lnTo>
                    <a:lnTo>
                      <a:pt x="104" y="121"/>
                    </a:lnTo>
                    <a:lnTo>
                      <a:pt x="104" y="122"/>
                    </a:lnTo>
                    <a:lnTo>
                      <a:pt x="106" y="122"/>
                    </a:lnTo>
                    <a:lnTo>
                      <a:pt x="107" y="122"/>
                    </a:lnTo>
                    <a:lnTo>
                      <a:pt x="107" y="124"/>
                    </a:lnTo>
                    <a:lnTo>
                      <a:pt x="107" y="125"/>
                    </a:lnTo>
                    <a:lnTo>
                      <a:pt x="109" y="125"/>
                    </a:lnTo>
                    <a:lnTo>
                      <a:pt x="109" y="127"/>
                    </a:lnTo>
                    <a:lnTo>
                      <a:pt x="111" y="127"/>
                    </a:lnTo>
                    <a:lnTo>
                      <a:pt x="111" y="129"/>
                    </a:lnTo>
                    <a:lnTo>
                      <a:pt x="109" y="129"/>
                    </a:lnTo>
                    <a:lnTo>
                      <a:pt x="109" y="127"/>
                    </a:lnTo>
                    <a:lnTo>
                      <a:pt x="107" y="127"/>
                    </a:lnTo>
                    <a:lnTo>
                      <a:pt x="109" y="127"/>
                    </a:lnTo>
                    <a:lnTo>
                      <a:pt x="109" y="129"/>
                    </a:lnTo>
                    <a:lnTo>
                      <a:pt x="109" y="130"/>
                    </a:lnTo>
                    <a:lnTo>
                      <a:pt x="107" y="130"/>
                    </a:lnTo>
                    <a:lnTo>
                      <a:pt x="107" y="132"/>
                    </a:lnTo>
                    <a:lnTo>
                      <a:pt x="106" y="132"/>
                    </a:lnTo>
                    <a:lnTo>
                      <a:pt x="106" y="133"/>
                    </a:lnTo>
                    <a:lnTo>
                      <a:pt x="104" y="133"/>
                    </a:lnTo>
                    <a:lnTo>
                      <a:pt x="104" y="135"/>
                    </a:lnTo>
                    <a:lnTo>
                      <a:pt x="106" y="135"/>
                    </a:lnTo>
                    <a:lnTo>
                      <a:pt x="107" y="135"/>
                    </a:lnTo>
                    <a:lnTo>
                      <a:pt x="107" y="133"/>
                    </a:lnTo>
                    <a:lnTo>
                      <a:pt x="109" y="133"/>
                    </a:lnTo>
                    <a:lnTo>
                      <a:pt x="109" y="132"/>
                    </a:lnTo>
                    <a:lnTo>
                      <a:pt x="111" y="132"/>
                    </a:lnTo>
                    <a:lnTo>
                      <a:pt x="111" y="130"/>
                    </a:lnTo>
                    <a:lnTo>
                      <a:pt x="111" y="129"/>
                    </a:lnTo>
                    <a:lnTo>
                      <a:pt x="111" y="127"/>
                    </a:lnTo>
                    <a:lnTo>
                      <a:pt x="109" y="127"/>
                    </a:lnTo>
                    <a:lnTo>
                      <a:pt x="109" y="125"/>
                    </a:lnTo>
                    <a:lnTo>
                      <a:pt x="109" y="124"/>
                    </a:lnTo>
                    <a:lnTo>
                      <a:pt x="109" y="122"/>
                    </a:lnTo>
                    <a:lnTo>
                      <a:pt x="107" y="122"/>
                    </a:lnTo>
                    <a:lnTo>
                      <a:pt x="107" y="121"/>
                    </a:lnTo>
                    <a:lnTo>
                      <a:pt x="109" y="121"/>
                    </a:lnTo>
                    <a:lnTo>
                      <a:pt x="109" y="119"/>
                    </a:lnTo>
                    <a:lnTo>
                      <a:pt x="111" y="119"/>
                    </a:lnTo>
                    <a:lnTo>
                      <a:pt x="112" y="119"/>
                    </a:lnTo>
                    <a:lnTo>
                      <a:pt x="112" y="118"/>
                    </a:lnTo>
                    <a:lnTo>
                      <a:pt x="114" y="118"/>
                    </a:lnTo>
                    <a:lnTo>
                      <a:pt x="115" y="118"/>
                    </a:lnTo>
                    <a:lnTo>
                      <a:pt x="115" y="119"/>
                    </a:lnTo>
                    <a:lnTo>
                      <a:pt x="117" y="119"/>
                    </a:lnTo>
                    <a:lnTo>
                      <a:pt x="117" y="121"/>
                    </a:lnTo>
                    <a:lnTo>
                      <a:pt x="118" y="121"/>
                    </a:lnTo>
                    <a:lnTo>
                      <a:pt x="120" y="121"/>
                    </a:lnTo>
                    <a:lnTo>
                      <a:pt x="120" y="122"/>
                    </a:lnTo>
                    <a:lnTo>
                      <a:pt x="122" y="122"/>
                    </a:lnTo>
                    <a:lnTo>
                      <a:pt x="123" y="122"/>
                    </a:lnTo>
                    <a:lnTo>
                      <a:pt x="125" y="122"/>
                    </a:lnTo>
                    <a:lnTo>
                      <a:pt x="125" y="124"/>
                    </a:lnTo>
                    <a:lnTo>
                      <a:pt x="126" y="124"/>
                    </a:lnTo>
                    <a:lnTo>
                      <a:pt x="126" y="125"/>
                    </a:lnTo>
                    <a:lnTo>
                      <a:pt x="126" y="127"/>
                    </a:lnTo>
                    <a:lnTo>
                      <a:pt x="128" y="127"/>
                    </a:lnTo>
                    <a:lnTo>
                      <a:pt x="128" y="129"/>
                    </a:lnTo>
                    <a:lnTo>
                      <a:pt x="130" y="129"/>
                    </a:lnTo>
                    <a:lnTo>
                      <a:pt x="130" y="130"/>
                    </a:lnTo>
                    <a:lnTo>
                      <a:pt x="131" y="130"/>
                    </a:lnTo>
                    <a:lnTo>
                      <a:pt x="133" y="130"/>
                    </a:lnTo>
                    <a:lnTo>
                      <a:pt x="134" y="130"/>
                    </a:lnTo>
                    <a:lnTo>
                      <a:pt x="136" y="130"/>
                    </a:lnTo>
                    <a:lnTo>
                      <a:pt x="137" y="130"/>
                    </a:lnTo>
                    <a:lnTo>
                      <a:pt x="137" y="129"/>
                    </a:lnTo>
                    <a:lnTo>
                      <a:pt x="139" y="129"/>
                    </a:lnTo>
                    <a:lnTo>
                      <a:pt x="139" y="130"/>
                    </a:lnTo>
                    <a:lnTo>
                      <a:pt x="141" y="130"/>
                    </a:lnTo>
                    <a:lnTo>
                      <a:pt x="141" y="132"/>
                    </a:lnTo>
                    <a:lnTo>
                      <a:pt x="142" y="132"/>
                    </a:lnTo>
                    <a:lnTo>
                      <a:pt x="144" y="132"/>
                    </a:lnTo>
                    <a:lnTo>
                      <a:pt x="144" y="133"/>
                    </a:lnTo>
                    <a:lnTo>
                      <a:pt x="145" y="133"/>
                    </a:lnTo>
                    <a:lnTo>
                      <a:pt x="147" y="133"/>
                    </a:lnTo>
                    <a:lnTo>
                      <a:pt x="149" y="133"/>
                    </a:lnTo>
                    <a:lnTo>
                      <a:pt x="150" y="133"/>
                    </a:lnTo>
                    <a:lnTo>
                      <a:pt x="152" y="133"/>
                    </a:lnTo>
                    <a:lnTo>
                      <a:pt x="152" y="135"/>
                    </a:lnTo>
                    <a:lnTo>
                      <a:pt x="152" y="133"/>
                    </a:lnTo>
                    <a:lnTo>
                      <a:pt x="152" y="135"/>
                    </a:lnTo>
                    <a:lnTo>
                      <a:pt x="153" y="135"/>
                    </a:lnTo>
                    <a:lnTo>
                      <a:pt x="155" y="135"/>
                    </a:lnTo>
                    <a:lnTo>
                      <a:pt x="157" y="135"/>
                    </a:lnTo>
                    <a:lnTo>
                      <a:pt x="157" y="133"/>
                    </a:lnTo>
                    <a:lnTo>
                      <a:pt x="158" y="133"/>
                    </a:lnTo>
                    <a:lnTo>
                      <a:pt x="158" y="135"/>
                    </a:lnTo>
                    <a:lnTo>
                      <a:pt x="160" y="135"/>
                    </a:lnTo>
                    <a:lnTo>
                      <a:pt x="161" y="135"/>
                    </a:lnTo>
                    <a:lnTo>
                      <a:pt x="161" y="137"/>
                    </a:lnTo>
                    <a:lnTo>
                      <a:pt x="163" y="137"/>
                    </a:lnTo>
                    <a:lnTo>
                      <a:pt x="164" y="137"/>
                    </a:lnTo>
                    <a:lnTo>
                      <a:pt x="164" y="135"/>
                    </a:lnTo>
                    <a:lnTo>
                      <a:pt x="164" y="133"/>
                    </a:lnTo>
                    <a:lnTo>
                      <a:pt x="166" y="133"/>
                    </a:lnTo>
                    <a:lnTo>
                      <a:pt x="166" y="135"/>
                    </a:lnTo>
                    <a:lnTo>
                      <a:pt x="168" y="135"/>
                    </a:lnTo>
                    <a:lnTo>
                      <a:pt x="168" y="137"/>
                    </a:lnTo>
                    <a:lnTo>
                      <a:pt x="168" y="138"/>
                    </a:lnTo>
                    <a:lnTo>
                      <a:pt x="168" y="140"/>
                    </a:lnTo>
                    <a:lnTo>
                      <a:pt x="169" y="140"/>
                    </a:lnTo>
                    <a:lnTo>
                      <a:pt x="171" y="140"/>
                    </a:lnTo>
                    <a:lnTo>
                      <a:pt x="171" y="141"/>
                    </a:lnTo>
                    <a:lnTo>
                      <a:pt x="172" y="141"/>
                    </a:lnTo>
                    <a:lnTo>
                      <a:pt x="172" y="143"/>
                    </a:lnTo>
                    <a:lnTo>
                      <a:pt x="172" y="144"/>
                    </a:lnTo>
                    <a:lnTo>
                      <a:pt x="172" y="146"/>
                    </a:lnTo>
                    <a:lnTo>
                      <a:pt x="172" y="148"/>
                    </a:lnTo>
                    <a:lnTo>
                      <a:pt x="172" y="149"/>
                    </a:lnTo>
                    <a:lnTo>
                      <a:pt x="174" y="149"/>
                    </a:lnTo>
                    <a:lnTo>
                      <a:pt x="174" y="151"/>
                    </a:lnTo>
                    <a:lnTo>
                      <a:pt x="174" y="152"/>
                    </a:lnTo>
                    <a:lnTo>
                      <a:pt x="174" y="154"/>
                    </a:lnTo>
                    <a:lnTo>
                      <a:pt x="174" y="156"/>
                    </a:lnTo>
                    <a:lnTo>
                      <a:pt x="176" y="156"/>
                    </a:lnTo>
                    <a:lnTo>
                      <a:pt x="176" y="157"/>
                    </a:lnTo>
                    <a:lnTo>
                      <a:pt x="176" y="159"/>
                    </a:lnTo>
                    <a:lnTo>
                      <a:pt x="177" y="159"/>
                    </a:lnTo>
                    <a:lnTo>
                      <a:pt x="177" y="160"/>
                    </a:lnTo>
                    <a:lnTo>
                      <a:pt x="177" y="162"/>
                    </a:lnTo>
                    <a:lnTo>
                      <a:pt x="177" y="163"/>
                    </a:lnTo>
                    <a:lnTo>
                      <a:pt x="179" y="163"/>
                    </a:lnTo>
                    <a:lnTo>
                      <a:pt x="179" y="165"/>
                    </a:lnTo>
                    <a:lnTo>
                      <a:pt x="180" y="165"/>
                    </a:lnTo>
                    <a:lnTo>
                      <a:pt x="180" y="167"/>
                    </a:lnTo>
                    <a:lnTo>
                      <a:pt x="180" y="168"/>
                    </a:lnTo>
                    <a:lnTo>
                      <a:pt x="182" y="168"/>
                    </a:lnTo>
                    <a:lnTo>
                      <a:pt x="182" y="170"/>
                    </a:lnTo>
                    <a:lnTo>
                      <a:pt x="183" y="170"/>
                    </a:lnTo>
                    <a:lnTo>
                      <a:pt x="183" y="171"/>
                    </a:lnTo>
                    <a:lnTo>
                      <a:pt x="185" y="171"/>
                    </a:lnTo>
                    <a:lnTo>
                      <a:pt x="185" y="173"/>
                    </a:lnTo>
                    <a:lnTo>
                      <a:pt x="187" y="173"/>
                    </a:lnTo>
                    <a:lnTo>
                      <a:pt x="188" y="173"/>
                    </a:lnTo>
                    <a:lnTo>
                      <a:pt x="190" y="173"/>
                    </a:lnTo>
                    <a:lnTo>
                      <a:pt x="190" y="175"/>
                    </a:lnTo>
                    <a:lnTo>
                      <a:pt x="188" y="175"/>
                    </a:lnTo>
                    <a:lnTo>
                      <a:pt x="188" y="176"/>
                    </a:lnTo>
                    <a:lnTo>
                      <a:pt x="190" y="176"/>
                    </a:lnTo>
                    <a:lnTo>
                      <a:pt x="190" y="178"/>
                    </a:lnTo>
                    <a:lnTo>
                      <a:pt x="188" y="178"/>
                    </a:lnTo>
                    <a:lnTo>
                      <a:pt x="188" y="176"/>
                    </a:lnTo>
                    <a:lnTo>
                      <a:pt x="188" y="178"/>
                    </a:lnTo>
                    <a:lnTo>
                      <a:pt x="188" y="179"/>
                    </a:lnTo>
                    <a:lnTo>
                      <a:pt x="188" y="181"/>
                    </a:lnTo>
                    <a:lnTo>
                      <a:pt x="190" y="181"/>
                    </a:lnTo>
                    <a:lnTo>
                      <a:pt x="190" y="182"/>
                    </a:lnTo>
                    <a:lnTo>
                      <a:pt x="191" y="182"/>
                    </a:lnTo>
                    <a:lnTo>
                      <a:pt x="191" y="184"/>
                    </a:lnTo>
                    <a:lnTo>
                      <a:pt x="190" y="184"/>
                    </a:lnTo>
                    <a:lnTo>
                      <a:pt x="190" y="186"/>
                    </a:lnTo>
                    <a:lnTo>
                      <a:pt x="190" y="187"/>
                    </a:lnTo>
                    <a:lnTo>
                      <a:pt x="188" y="187"/>
                    </a:lnTo>
                    <a:lnTo>
                      <a:pt x="188" y="189"/>
                    </a:lnTo>
                    <a:lnTo>
                      <a:pt x="188" y="190"/>
                    </a:lnTo>
                    <a:lnTo>
                      <a:pt x="188" y="192"/>
                    </a:lnTo>
                    <a:lnTo>
                      <a:pt x="188" y="194"/>
                    </a:lnTo>
                    <a:lnTo>
                      <a:pt x="190" y="194"/>
                    </a:lnTo>
                    <a:lnTo>
                      <a:pt x="188" y="194"/>
                    </a:lnTo>
                    <a:lnTo>
                      <a:pt x="188" y="195"/>
                    </a:lnTo>
                    <a:lnTo>
                      <a:pt x="190" y="195"/>
                    </a:lnTo>
                    <a:lnTo>
                      <a:pt x="188" y="195"/>
                    </a:lnTo>
                    <a:lnTo>
                      <a:pt x="188" y="197"/>
                    </a:lnTo>
                    <a:lnTo>
                      <a:pt x="188" y="198"/>
                    </a:lnTo>
                    <a:lnTo>
                      <a:pt x="188" y="200"/>
                    </a:lnTo>
                    <a:lnTo>
                      <a:pt x="190" y="200"/>
                    </a:lnTo>
                    <a:lnTo>
                      <a:pt x="190" y="201"/>
                    </a:lnTo>
                    <a:lnTo>
                      <a:pt x="188" y="201"/>
                    </a:lnTo>
                    <a:lnTo>
                      <a:pt x="187" y="201"/>
                    </a:lnTo>
                    <a:lnTo>
                      <a:pt x="187" y="203"/>
                    </a:lnTo>
                    <a:lnTo>
                      <a:pt x="188" y="203"/>
                    </a:lnTo>
                    <a:lnTo>
                      <a:pt x="188" y="205"/>
                    </a:lnTo>
                    <a:lnTo>
                      <a:pt x="188" y="206"/>
                    </a:lnTo>
                    <a:lnTo>
                      <a:pt x="188" y="208"/>
                    </a:lnTo>
                    <a:lnTo>
                      <a:pt x="190" y="208"/>
                    </a:lnTo>
                    <a:lnTo>
                      <a:pt x="188" y="208"/>
                    </a:lnTo>
                    <a:lnTo>
                      <a:pt x="190" y="208"/>
                    </a:lnTo>
                    <a:lnTo>
                      <a:pt x="190" y="209"/>
                    </a:lnTo>
                    <a:lnTo>
                      <a:pt x="190" y="211"/>
                    </a:lnTo>
                    <a:lnTo>
                      <a:pt x="190" y="213"/>
                    </a:lnTo>
                    <a:lnTo>
                      <a:pt x="191" y="213"/>
                    </a:lnTo>
                    <a:lnTo>
                      <a:pt x="190" y="213"/>
                    </a:lnTo>
                    <a:lnTo>
                      <a:pt x="190" y="214"/>
                    </a:lnTo>
                    <a:lnTo>
                      <a:pt x="191" y="214"/>
                    </a:lnTo>
                    <a:lnTo>
                      <a:pt x="191" y="216"/>
                    </a:lnTo>
                    <a:lnTo>
                      <a:pt x="191" y="217"/>
                    </a:lnTo>
                    <a:lnTo>
                      <a:pt x="193" y="217"/>
                    </a:lnTo>
                    <a:lnTo>
                      <a:pt x="191" y="217"/>
                    </a:lnTo>
                    <a:lnTo>
                      <a:pt x="191" y="219"/>
                    </a:lnTo>
                    <a:lnTo>
                      <a:pt x="191" y="220"/>
                    </a:lnTo>
                    <a:lnTo>
                      <a:pt x="190" y="220"/>
                    </a:lnTo>
                    <a:lnTo>
                      <a:pt x="190" y="219"/>
                    </a:lnTo>
                    <a:lnTo>
                      <a:pt x="188" y="219"/>
                    </a:lnTo>
                    <a:lnTo>
                      <a:pt x="188" y="217"/>
                    </a:lnTo>
                    <a:lnTo>
                      <a:pt x="187" y="217"/>
                    </a:lnTo>
                    <a:lnTo>
                      <a:pt x="185" y="217"/>
                    </a:lnTo>
                    <a:lnTo>
                      <a:pt x="183" y="217"/>
                    </a:lnTo>
                    <a:lnTo>
                      <a:pt x="183" y="219"/>
                    </a:lnTo>
                    <a:lnTo>
                      <a:pt x="182" y="219"/>
                    </a:lnTo>
                    <a:lnTo>
                      <a:pt x="182" y="220"/>
                    </a:lnTo>
                    <a:lnTo>
                      <a:pt x="182" y="222"/>
                    </a:lnTo>
                    <a:lnTo>
                      <a:pt x="182" y="224"/>
                    </a:lnTo>
                    <a:lnTo>
                      <a:pt x="180" y="224"/>
                    </a:lnTo>
                    <a:lnTo>
                      <a:pt x="180" y="225"/>
                    </a:lnTo>
                    <a:lnTo>
                      <a:pt x="179" y="225"/>
                    </a:lnTo>
                    <a:lnTo>
                      <a:pt x="179" y="227"/>
                    </a:lnTo>
                    <a:lnTo>
                      <a:pt x="179" y="228"/>
                    </a:lnTo>
                    <a:lnTo>
                      <a:pt x="180" y="228"/>
                    </a:lnTo>
                    <a:lnTo>
                      <a:pt x="180" y="230"/>
                    </a:lnTo>
                    <a:lnTo>
                      <a:pt x="180" y="232"/>
                    </a:lnTo>
                    <a:lnTo>
                      <a:pt x="180" y="233"/>
                    </a:lnTo>
                    <a:lnTo>
                      <a:pt x="180" y="235"/>
                    </a:lnTo>
                    <a:lnTo>
                      <a:pt x="179" y="235"/>
                    </a:lnTo>
                    <a:lnTo>
                      <a:pt x="177" y="235"/>
                    </a:lnTo>
                    <a:lnTo>
                      <a:pt x="177" y="236"/>
                    </a:lnTo>
                    <a:lnTo>
                      <a:pt x="177" y="238"/>
                    </a:lnTo>
                    <a:lnTo>
                      <a:pt x="176" y="238"/>
                    </a:lnTo>
                    <a:lnTo>
                      <a:pt x="174" y="238"/>
                    </a:lnTo>
                    <a:lnTo>
                      <a:pt x="172" y="238"/>
                    </a:lnTo>
                    <a:lnTo>
                      <a:pt x="172" y="236"/>
                    </a:lnTo>
                    <a:lnTo>
                      <a:pt x="171" y="236"/>
                    </a:lnTo>
                    <a:lnTo>
                      <a:pt x="171" y="235"/>
                    </a:lnTo>
                    <a:lnTo>
                      <a:pt x="171" y="233"/>
                    </a:lnTo>
                    <a:lnTo>
                      <a:pt x="171" y="232"/>
                    </a:lnTo>
                    <a:lnTo>
                      <a:pt x="169" y="232"/>
                    </a:lnTo>
                    <a:lnTo>
                      <a:pt x="168" y="232"/>
                    </a:lnTo>
                    <a:lnTo>
                      <a:pt x="166" y="232"/>
                    </a:lnTo>
                    <a:lnTo>
                      <a:pt x="164" y="232"/>
                    </a:lnTo>
                    <a:lnTo>
                      <a:pt x="163" y="232"/>
                    </a:lnTo>
                    <a:lnTo>
                      <a:pt x="163" y="233"/>
                    </a:lnTo>
                    <a:lnTo>
                      <a:pt x="161" y="233"/>
                    </a:lnTo>
                    <a:lnTo>
                      <a:pt x="161" y="235"/>
                    </a:lnTo>
                    <a:lnTo>
                      <a:pt x="160" y="235"/>
                    </a:lnTo>
                    <a:lnTo>
                      <a:pt x="158" y="235"/>
                    </a:lnTo>
                    <a:lnTo>
                      <a:pt x="158" y="236"/>
                    </a:lnTo>
                    <a:lnTo>
                      <a:pt x="157" y="236"/>
                    </a:lnTo>
                    <a:lnTo>
                      <a:pt x="155" y="236"/>
                    </a:lnTo>
                    <a:lnTo>
                      <a:pt x="153" y="236"/>
                    </a:lnTo>
                    <a:lnTo>
                      <a:pt x="152" y="236"/>
                    </a:lnTo>
                    <a:lnTo>
                      <a:pt x="153" y="236"/>
                    </a:lnTo>
                    <a:lnTo>
                      <a:pt x="152" y="236"/>
                    </a:lnTo>
                    <a:lnTo>
                      <a:pt x="153" y="236"/>
                    </a:lnTo>
                    <a:lnTo>
                      <a:pt x="155" y="236"/>
                    </a:lnTo>
                    <a:lnTo>
                      <a:pt x="155" y="238"/>
                    </a:lnTo>
                    <a:lnTo>
                      <a:pt x="155" y="240"/>
                    </a:lnTo>
                    <a:lnTo>
                      <a:pt x="153" y="240"/>
                    </a:lnTo>
                    <a:lnTo>
                      <a:pt x="153" y="241"/>
                    </a:lnTo>
                    <a:lnTo>
                      <a:pt x="153" y="243"/>
                    </a:lnTo>
                    <a:lnTo>
                      <a:pt x="152" y="243"/>
                    </a:lnTo>
                    <a:lnTo>
                      <a:pt x="152" y="244"/>
                    </a:lnTo>
                    <a:lnTo>
                      <a:pt x="152" y="246"/>
                    </a:lnTo>
                    <a:lnTo>
                      <a:pt x="152" y="247"/>
                    </a:lnTo>
                    <a:lnTo>
                      <a:pt x="152" y="249"/>
                    </a:lnTo>
                    <a:lnTo>
                      <a:pt x="150" y="249"/>
                    </a:lnTo>
                    <a:lnTo>
                      <a:pt x="152" y="249"/>
                    </a:lnTo>
                    <a:lnTo>
                      <a:pt x="150" y="249"/>
                    </a:lnTo>
                    <a:lnTo>
                      <a:pt x="152" y="249"/>
                    </a:lnTo>
                    <a:lnTo>
                      <a:pt x="152" y="251"/>
                    </a:lnTo>
                    <a:lnTo>
                      <a:pt x="150" y="251"/>
                    </a:lnTo>
                    <a:lnTo>
                      <a:pt x="152" y="251"/>
                    </a:lnTo>
                    <a:lnTo>
                      <a:pt x="150" y="251"/>
                    </a:lnTo>
                    <a:lnTo>
                      <a:pt x="150" y="252"/>
                    </a:lnTo>
                    <a:lnTo>
                      <a:pt x="150" y="254"/>
                    </a:lnTo>
                    <a:lnTo>
                      <a:pt x="150" y="255"/>
                    </a:lnTo>
                    <a:lnTo>
                      <a:pt x="150" y="257"/>
                    </a:lnTo>
                    <a:lnTo>
                      <a:pt x="149" y="257"/>
                    </a:lnTo>
                    <a:lnTo>
                      <a:pt x="149" y="259"/>
                    </a:lnTo>
                    <a:lnTo>
                      <a:pt x="149" y="260"/>
                    </a:lnTo>
                    <a:lnTo>
                      <a:pt x="147" y="260"/>
                    </a:lnTo>
                    <a:lnTo>
                      <a:pt x="145" y="260"/>
                    </a:lnTo>
                    <a:lnTo>
                      <a:pt x="145" y="259"/>
                    </a:lnTo>
                    <a:lnTo>
                      <a:pt x="147" y="259"/>
                    </a:lnTo>
                    <a:lnTo>
                      <a:pt x="147" y="257"/>
                    </a:lnTo>
                    <a:lnTo>
                      <a:pt x="147" y="255"/>
                    </a:lnTo>
                    <a:lnTo>
                      <a:pt x="147" y="254"/>
                    </a:lnTo>
                    <a:lnTo>
                      <a:pt x="147" y="252"/>
                    </a:lnTo>
                    <a:lnTo>
                      <a:pt x="147" y="254"/>
                    </a:lnTo>
                    <a:lnTo>
                      <a:pt x="145" y="254"/>
                    </a:lnTo>
                    <a:lnTo>
                      <a:pt x="147" y="254"/>
                    </a:lnTo>
                    <a:lnTo>
                      <a:pt x="147" y="255"/>
                    </a:lnTo>
                    <a:lnTo>
                      <a:pt x="147" y="257"/>
                    </a:lnTo>
                    <a:lnTo>
                      <a:pt x="145" y="257"/>
                    </a:lnTo>
                    <a:lnTo>
                      <a:pt x="145" y="259"/>
                    </a:lnTo>
                    <a:lnTo>
                      <a:pt x="145" y="257"/>
                    </a:lnTo>
                    <a:lnTo>
                      <a:pt x="144" y="257"/>
                    </a:lnTo>
                    <a:lnTo>
                      <a:pt x="142" y="257"/>
                    </a:lnTo>
                    <a:lnTo>
                      <a:pt x="141" y="257"/>
                    </a:lnTo>
                    <a:lnTo>
                      <a:pt x="142" y="257"/>
                    </a:lnTo>
                    <a:lnTo>
                      <a:pt x="144" y="257"/>
                    </a:lnTo>
                    <a:lnTo>
                      <a:pt x="144" y="259"/>
                    </a:lnTo>
                    <a:lnTo>
                      <a:pt x="145" y="259"/>
                    </a:lnTo>
                    <a:lnTo>
                      <a:pt x="145" y="260"/>
                    </a:lnTo>
                    <a:lnTo>
                      <a:pt x="144" y="260"/>
                    </a:lnTo>
                    <a:lnTo>
                      <a:pt x="144" y="262"/>
                    </a:lnTo>
                    <a:lnTo>
                      <a:pt x="142" y="262"/>
                    </a:lnTo>
                    <a:lnTo>
                      <a:pt x="142" y="263"/>
                    </a:lnTo>
                    <a:lnTo>
                      <a:pt x="141" y="263"/>
                    </a:lnTo>
                    <a:lnTo>
                      <a:pt x="141" y="265"/>
                    </a:lnTo>
                    <a:lnTo>
                      <a:pt x="139" y="265"/>
                    </a:lnTo>
                    <a:lnTo>
                      <a:pt x="139" y="266"/>
                    </a:lnTo>
                    <a:lnTo>
                      <a:pt x="137" y="266"/>
                    </a:lnTo>
                    <a:lnTo>
                      <a:pt x="137" y="268"/>
                    </a:lnTo>
                    <a:lnTo>
                      <a:pt x="136" y="268"/>
                    </a:lnTo>
                    <a:lnTo>
                      <a:pt x="134" y="268"/>
                    </a:lnTo>
                    <a:lnTo>
                      <a:pt x="134" y="270"/>
                    </a:lnTo>
                    <a:lnTo>
                      <a:pt x="133" y="270"/>
                    </a:lnTo>
                    <a:lnTo>
                      <a:pt x="134" y="270"/>
                    </a:lnTo>
                    <a:lnTo>
                      <a:pt x="134" y="271"/>
                    </a:lnTo>
                    <a:lnTo>
                      <a:pt x="133" y="271"/>
                    </a:lnTo>
                    <a:lnTo>
                      <a:pt x="133" y="273"/>
                    </a:lnTo>
                    <a:lnTo>
                      <a:pt x="131" y="273"/>
                    </a:lnTo>
                    <a:lnTo>
                      <a:pt x="133" y="273"/>
                    </a:lnTo>
                    <a:lnTo>
                      <a:pt x="134" y="273"/>
                    </a:lnTo>
                    <a:lnTo>
                      <a:pt x="134" y="271"/>
                    </a:lnTo>
                    <a:lnTo>
                      <a:pt x="134" y="273"/>
                    </a:lnTo>
                    <a:lnTo>
                      <a:pt x="134" y="274"/>
                    </a:lnTo>
                    <a:lnTo>
                      <a:pt x="133" y="274"/>
                    </a:lnTo>
                    <a:lnTo>
                      <a:pt x="133" y="276"/>
                    </a:lnTo>
                    <a:lnTo>
                      <a:pt x="133" y="278"/>
                    </a:lnTo>
                    <a:lnTo>
                      <a:pt x="131" y="278"/>
                    </a:lnTo>
                    <a:lnTo>
                      <a:pt x="131" y="279"/>
                    </a:lnTo>
                    <a:lnTo>
                      <a:pt x="131" y="281"/>
                    </a:lnTo>
                    <a:lnTo>
                      <a:pt x="130" y="281"/>
                    </a:lnTo>
                    <a:lnTo>
                      <a:pt x="128" y="281"/>
                    </a:lnTo>
                    <a:lnTo>
                      <a:pt x="126" y="281"/>
                    </a:lnTo>
                    <a:lnTo>
                      <a:pt x="126" y="282"/>
                    </a:lnTo>
                    <a:lnTo>
                      <a:pt x="125" y="282"/>
                    </a:lnTo>
                    <a:lnTo>
                      <a:pt x="125" y="284"/>
                    </a:lnTo>
                    <a:lnTo>
                      <a:pt x="125" y="285"/>
                    </a:lnTo>
                    <a:lnTo>
                      <a:pt x="125" y="287"/>
                    </a:lnTo>
                    <a:lnTo>
                      <a:pt x="125" y="285"/>
                    </a:lnTo>
                    <a:lnTo>
                      <a:pt x="125" y="287"/>
                    </a:lnTo>
                    <a:lnTo>
                      <a:pt x="125" y="289"/>
                    </a:lnTo>
                    <a:lnTo>
                      <a:pt x="125" y="287"/>
                    </a:lnTo>
                    <a:lnTo>
                      <a:pt x="126" y="287"/>
                    </a:lnTo>
                    <a:lnTo>
                      <a:pt x="126" y="285"/>
                    </a:lnTo>
                    <a:lnTo>
                      <a:pt x="126" y="284"/>
                    </a:lnTo>
                    <a:lnTo>
                      <a:pt x="128" y="284"/>
                    </a:lnTo>
                    <a:lnTo>
                      <a:pt x="128" y="285"/>
                    </a:lnTo>
                    <a:lnTo>
                      <a:pt x="128" y="287"/>
                    </a:lnTo>
                    <a:lnTo>
                      <a:pt x="128" y="289"/>
                    </a:lnTo>
                    <a:lnTo>
                      <a:pt x="128" y="290"/>
                    </a:lnTo>
                    <a:lnTo>
                      <a:pt x="126" y="290"/>
                    </a:lnTo>
                    <a:lnTo>
                      <a:pt x="126" y="292"/>
                    </a:lnTo>
                    <a:lnTo>
                      <a:pt x="126" y="293"/>
                    </a:lnTo>
                    <a:lnTo>
                      <a:pt x="126" y="295"/>
                    </a:lnTo>
                    <a:lnTo>
                      <a:pt x="125" y="295"/>
                    </a:lnTo>
                    <a:lnTo>
                      <a:pt x="126" y="295"/>
                    </a:lnTo>
                    <a:lnTo>
                      <a:pt x="125" y="295"/>
                    </a:lnTo>
                    <a:lnTo>
                      <a:pt x="125" y="297"/>
                    </a:lnTo>
                    <a:lnTo>
                      <a:pt x="125" y="298"/>
                    </a:lnTo>
                    <a:lnTo>
                      <a:pt x="125" y="300"/>
                    </a:lnTo>
                    <a:lnTo>
                      <a:pt x="125" y="301"/>
                    </a:lnTo>
                    <a:lnTo>
                      <a:pt x="125" y="303"/>
                    </a:lnTo>
                    <a:lnTo>
                      <a:pt x="125" y="304"/>
                    </a:lnTo>
                    <a:lnTo>
                      <a:pt x="126" y="304"/>
                    </a:lnTo>
                    <a:lnTo>
                      <a:pt x="126" y="306"/>
                    </a:lnTo>
                    <a:lnTo>
                      <a:pt x="126" y="308"/>
                    </a:lnTo>
                    <a:lnTo>
                      <a:pt x="125" y="308"/>
                    </a:lnTo>
                    <a:lnTo>
                      <a:pt x="125" y="309"/>
                    </a:lnTo>
                    <a:lnTo>
                      <a:pt x="125" y="311"/>
                    </a:lnTo>
                    <a:lnTo>
                      <a:pt x="123" y="311"/>
                    </a:lnTo>
                    <a:lnTo>
                      <a:pt x="123" y="309"/>
                    </a:lnTo>
                    <a:lnTo>
                      <a:pt x="122" y="309"/>
                    </a:lnTo>
                    <a:lnTo>
                      <a:pt x="122" y="311"/>
                    </a:lnTo>
                    <a:lnTo>
                      <a:pt x="120" y="311"/>
                    </a:lnTo>
                    <a:lnTo>
                      <a:pt x="120" y="312"/>
                    </a:lnTo>
                    <a:lnTo>
                      <a:pt x="120" y="311"/>
                    </a:lnTo>
                    <a:lnTo>
                      <a:pt x="122" y="311"/>
                    </a:lnTo>
                    <a:lnTo>
                      <a:pt x="122" y="312"/>
                    </a:lnTo>
                    <a:lnTo>
                      <a:pt x="120" y="312"/>
                    </a:lnTo>
                    <a:lnTo>
                      <a:pt x="120" y="314"/>
                    </a:lnTo>
                    <a:lnTo>
                      <a:pt x="118" y="314"/>
                    </a:lnTo>
                    <a:lnTo>
                      <a:pt x="118" y="316"/>
                    </a:lnTo>
                    <a:lnTo>
                      <a:pt x="117" y="316"/>
                    </a:lnTo>
                    <a:lnTo>
                      <a:pt x="117" y="317"/>
                    </a:lnTo>
                    <a:lnTo>
                      <a:pt x="115" y="317"/>
                    </a:lnTo>
                    <a:lnTo>
                      <a:pt x="115" y="319"/>
                    </a:lnTo>
                    <a:lnTo>
                      <a:pt x="115" y="320"/>
                    </a:lnTo>
                    <a:lnTo>
                      <a:pt x="114" y="320"/>
                    </a:lnTo>
                    <a:lnTo>
                      <a:pt x="114" y="322"/>
                    </a:lnTo>
                    <a:lnTo>
                      <a:pt x="114" y="323"/>
                    </a:lnTo>
                    <a:lnTo>
                      <a:pt x="112" y="323"/>
                    </a:lnTo>
                    <a:lnTo>
                      <a:pt x="112" y="325"/>
                    </a:lnTo>
                    <a:lnTo>
                      <a:pt x="112" y="327"/>
                    </a:lnTo>
                    <a:lnTo>
                      <a:pt x="111" y="327"/>
                    </a:lnTo>
                    <a:lnTo>
                      <a:pt x="111" y="328"/>
                    </a:lnTo>
                    <a:lnTo>
                      <a:pt x="111" y="330"/>
                    </a:lnTo>
                    <a:lnTo>
                      <a:pt x="111" y="331"/>
                    </a:lnTo>
                    <a:lnTo>
                      <a:pt x="111" y="333"/>
                    </a:lnTo>
                    <a:lnTo>
                      <a:pt x="109" y="333"/>
                    </a:lnTo>
                    <a:lnTo>
                      <a:pt x="109" y="335"/>
                    </a:lnTo>
                    <a:lnTo>
                      <a:pt x="109" y="336"/>
                    </a:lnTo>
                    <a:lnTo>
                      <a:pt x="109" y="338"/>
                    </a:lnTo>
                    <a:lnTo>
                      <a:pt x="109" y="339"/>
                    </a:lnTo>
                    <a:lnTo>
                      <a:pt x="109" y="341"/>
                    </a:lnTo>
                    <a:lnTo>
                      <a:pt x="109" y="342"/>
                    </a:lnTo>
                    <a:lnTo>
                      <a:pt x="107" y="342"/>
                    </a:lnTo>
                    <a:lnTo>
                      <a:pt x="107" y="344"/>
                    </a:lnTo>
                    <a:lnTo>
                      <a:pt x="109" y="344"/>
                    </a:lnTo>
                    <a:lnTo>
                      <a:pt x="107" y="344"/>
                    </a:lnTo>
                    <a:lnTo>
                      <a:pt x="107" y="346"/>
                    </a:lnTo>
                    <a:lnTo>
                      <a:pt x="107" y="347"/>
                    </a:lnTo>
                    <a:lnTo>
                      <a:pt x="107" y="349"/>
                    </a:lnTo>
                    <a:lnTo>
                      <a:pt x="107" y="350"/>
                    </a:lnTo>
                    <a:lnTo>
                      <a:pt x="107" y="352"/>
                    </a:lnTo>
                    <a:lnTo>
                      <a:pt x="106" y="352"/>
                    </a:lnTo>
                    <a:lnTo>
                      <a:pt x="106" y="354"/>
                    </a:lnTo>
                    <a:lnTo>
                      <a:pt x="106" y="355"/>
                    </a:lnTo>
                    <a:lnTo>
                      <a:pt x="106" y="357"/>
                    </a:lnTo>
                    <a:lnTo>
                      <a:pt x="104" y="357"/>
                    </a:lnTo>
                    <a:lnTo>
                      <a:pt x="104" y="358"/>
                    </a:lnTo>
                    <a:lnTo>
                      <a:pt x="104" y="360"/>
                    </a:lnTo>
                    <a:lnTo>
                      <a:pt x="103" y="360"/>
                    </a:lnTo>
                    <a:lnTo>
                      <a:pt x="103" y="361"/>
                    </a:lnTo>
                    <a:lnTo>
                      <a:pt x="103" y="363"/>
                    </a:lnTo>
                    <a:lnTo>
                      <a:pt x="103" y="365"/>
                    </a:lnTo>
                    <a:lnTo>
                      <a:pt x="101" y="365"/>
                    </a:lnTo>
                    <a:lnTo>
                      <a:pt x="101" y="366"/>
                    </a:lnTo>
                    <a:lnTo>
                      <a:pt x="101" y="368"/>
                    </a:lnTo>
                    <a:lnTo>
                      <a:pt x="101" y="369"/>
                    </a:lnTo>
                    <a:lnTo>
                      <a:pt x="101" y="371"/>
                    </a:lnTo>
                    <a:lnTo>
                      <a:pt x="101" y="373"/>
                    </a:lnTo>
                    <a:lnTo>
                      <a:pt x="101" y="374"/>
                    </a:lnTo>
                    <a:lnTo>
                      <a:pt x="101" y="376"/>
                    </a:lnTo>
                    <a:lnTo>
                      <a:pt x="101" y="377"/>
                    </a:lnTo>
                    <a:lnTo>
                      <a:pt x="101" y="379"/>
                    </a:lnTo>
                    <a:lnTo>
                      <a:pt x="101" y="380"/>
                    </a:lnTo>
                    <a:lnTo>
                      <a:pt x="101" y="382"/>
                    </a:lnTo>
                    <a:lnTo>
                      <a:pt x="103" y="382"/>
                    </a:lnTo>
                    <a:lnTo>
                      <a:pt x="103" y="384"/>
                    </a:lnTo>
                    <a:lnTo>
                      <a:pt x="103" y="385"/>
                    </a:lnTo>
                    <a:lnTo>
                      <a:pt x="103" y="387"/>
                    </a:lnTo>
                    <a:lnTo>
                      <a:pt x="104" y="387"/>
                    </a:lnTo>
                    <a:lnTo>
                      <a:pt x="104" y="388"/>
                    </a:lnTo>
                    <a:lnTo>
                      <a:pt x="104" y="390"/>
                    </a:lnTo>
                    <a:lnTo>
                      <a:pt x="106" y="390"/>
                    </a:lnTo>
                    <a:lnTo>
                      <a:pt x="106" y="392"/>
                    </a:lnTo>
                    <a:lnTo>
                      <a:pt x="107" y="392"/>
                    </a:lnTo>
                    <a:lnTo>
                      <a:pt x="107" y="393"/>
                    </a:lnTo>
                    <a:lnTo>
                      <a:pt x="109" y="393"/>
                    </a:lnTo>
                    <a:lnTo>
                      <a:pt x="109" y="395"/>
                    </a:lnTo>
                    <a:lnTo>
                      <a:pt x="109" y="396"/>
                    </a:lnTo>
                    <a:lnTo>
                      <a:pt x="111" y="396"/>
                    </a:lnTo>
                    <a:lnTo>
                      <a:pt x="109" y="396"/>
                    </a:lnTo>
                    <a:lnTo>
                      <a:pt x="109" y="398"/>
                    </a:lnTo>
                    <a:lnTo>
                      <a:pt x="109" y="399"/>
                    </a:lnTo>
                    <a:lnTo>
                      <a:pt x="109" y="401"/>
                    </a:lnTo>
                    <a:lnTo>
                      <a:pt x="107" y="401"/>
                    </a:lnTo>
                    <a:lnTo>
                      <a:pt x="107" y="403"/>
                    </a:lnTo>
                    <a:lnTo>
                      <a:pt x="107" y="404"/>
                    </a:lnTo>
                    <a:lnTo>
                      <a:pt x="106" y="404"/>
                    </a:lnTo>
                    <a:lnTo>
                      <a:pt x="106" y="406"/>
                    </a:lnTo>
                    <a:lnTo>
                      <a:pt x="106" y="407"/>
                    </a:lnTo>
                    <a:lnTo>
                      <a:pt x="106" y="409"/>
                    </a:lnTo>
                    <a:lnTo>
                      <a:pt x="106" y="411"/>
                    </a:lnTo>
                    <a:lnTo>
                      <a:pt x="106" y="412"/>
                    </a:lnTo>
                    <a:lnTo>
                      <a:pt x="107" y="412"/>
                    </a:lnTo>
                    <a:lnTo>
                      <a:pt x="107" y="414"/>
                    </a:lnTo>
                    <a:lnTo>
                      <a:pt x="109" y="414"/>
                    </a:lnTo>
                    <a:lnTo>
                      <a:pt x="109" y="415"/>
                    </a:lnTo>
                    <a:lnTo>
                      <a:pt x="109" y="417"/>
                    </a:lnTo>
                    <a:lnTo>
                      <a:pt x="111" y="417"/>
                    </a:lnTo>
                    <a:lnTo>
                      <a:pt x="111" y="419"/>
                    </a:lnTo>
                    <a:lnTo>
                      <a:pt x="111" y="420"/>
                    </a:lnTo>
                    <a:lnTo>
                      <a:pt x="112" y="420"/>
                    </a:lnTo>
                    <a:lnTo>
                      <a:pt x="112" y="422"/>
                    </a:lnTo>
                    <a:lnTo>
                      <a:pt x="112" y="423"/>
                    </a:lnTo>
                    <a:lnTo>
                      <a:pt x="114" y="423"/>
                    </a:lnTo>
                    <a:lnTo>
                      <a:pt x="115" y="423"/>
                    </a:lnTo>
                    <a:lnTo>
                      <a:pt x="115" y="422"/>
                    </a:lnTo>
                    <a:lnTo>
                      <a:pt x="115" y="420"/>
                    </a:lnTo>
                    <a:lnTo>
                      <a:pt x="115" y="419"/>
                    </a:lnTo>
                    <a:lnTo>
                      <a:pt x="115" y="417"/>
                    </a:lnTo>
                    <a:lnTo>
                      <a:pt x="115" y="415"/>
                    </a:lnTo>
                    <a:lnTo>
                      <a:pt x="117" y="415"/>
                    </a:lnTo>
                    <a:lnTo>
                      <a:pt x="117" y="414"/>
                    </a:lnTo>
                    <a:lnTo>
                      <a:pt x="118" y="414"/>
                    </a:lnTo>
                    <a:lnTo>
                      <a:pt x="118" y="415"/>
                    </a:lnTo>
                    <a:lnTo>
                      <a:pt x="120" y="415"/>
                    </a:lnTo>
                    <a:lnTo>
                      <a:pt x="120" y="417"/>
                    </a:lnTo>
                    <a:lnTo>
                      <a:pt x="122" y="417"/>
                    </a:lnTo>
                    <a:lnTo>
                      <a:pt x="123" y="417"/>
                    </a:lnTo>
                    <a:lnTo>
                      <a:pt x="123" y="419"/>
                    </a:lnTo>
                    <a:lnTo>
                      <a:pt x="123" y="420"/>
                    </a:lnTo>
                    <a:lnTo>
                      <a:pt x="125" y="420"/>
                    </a:lnTo>
                    <a:lnTo>
                      <a:pt x="125" y="422"/>
                    </a:lnTo>
                    <a:lnTo>
                      <a:pt x="126" y="422"/>
                    </a:lnTo>
                    <a:lnTo>
                      <a:pt x="126" y="423"/>
                    </a:lnTo>
                    <a:lnTo>
                      <a:pt x="126" y="425"/>
                    </a:lnTo>
                    <a:lnTo>
                      <a:pt x="126" y="426"/>
                    </a:lnTo>
                    <a:lnTo>
                      <a:pt x="126" y="428"/>
                    </a:lnTo>
                    <a:lnTo>
                      <a:pt x="128" y="428"/>
                    </a:lnTo>
                    <a:lnTo>
                      <a:pt x="130" y="428"/>
                    </a:lnTo>
                    <a:lnTo>
                      <a:pt x="130" y="426"/>
                    </a:lnTo>
                    <a:lnTo>
                      <a:pt x="131" y="426"/>
                    </a:lnTo>
                    <a:lnTo>
                      <a:pt x="131" y="428"/>
                    </a:lnTo>
                    <a:lnTo>
                      <a:pt x="133" y="428"/>
                    </a:lnTo>
                    <a:lnTo>
                      <a:pt x="134" y="428"/>
                    </a:lnTo>
                    <a:lnTo>
                      <a:pt x="136" y="428"/>
                    </a:lnTo>
                    <a:lnTo>
                      <a:pt x="136" y="430"/>
                    </a:lnTo>
                    <a:lnTo>
                      <a:pt x="137" y="430"/>
                    </a:lnTo>
                    <a:lnTo>
                      <a:pt x="139" y="430"/>
                    </a:lnTo>
                    <a:lnTo>
                      <a:pt x="139" y="431"/>
                    </a:lnTo>
                    <a:lnTo>
                      <a:pt x="141" y="431"/>
                    </a:lnTo>
                    <a:lnTo>
                      <a:pt x="141" y="433"/>
                    </a:lnTo>
                    <a:lnTo>
                      <a:pt x="142" y="433"/>
                    </a:lnTo>
                    <a:lnTo>
                      <a:pt x="142" y="434"/>
                    </a:lnTo>
                    <a:lnTo>
                      <a:pt x="144" y="434"/>
                    </a:lnTo>
                    <a:lnTo>
                      <a:pt x="142" y="434"/>
                    </a:lnTo>
                    <a:lnTo>
                      <a:pt x="142" y="436"/>
                    </a:lnTo>
                    <a:lnTo>
                      <a:pt x="144" y="436"/>
                    </a:lnTo>
                    <a:lnTo>
                      <a:pt x="144" y="438"/>
                    </a:lnTo>
                    <a:lnTo>
                      <a:pt x="145" y="438"/>
                    </a:lnTo>
                    <a:lnTo>
                      <a:pt x="147" y="438"/>
                    </a:lnTo>
                    <a:lnTo>
                      <a:pt x="147" y="439"/>
                    </a:lnTo>
                    <a:lnTo>
                      <a:pt x="149" y="439"/>
                    </a:lnTo>
                    <a:lnTo>
                      <a:pt x="150" y="439"/>
                    </a:lnTo>
                    <a:lnTo>
                      <a:pt x="150" y="441"/>
                    </a:lnTo>
                    <a:lnTo>
                      <a:pt x="152" y="441"/>
                    </a:lnTo>
                    <a:lnTo>
                      <a:pt x="153" y="441"/>
                    </a:lnTo>
                    <a:lnTo>
                      <a:pt x="152" y="441"/>
                    </a:lnTo>
                    <a:lnTo>
                      <a:pt x="153" y="441"/>
                    </a:lnTo>
                    <a:lnTo>
                      <a:pt x="153" y="442"/>
                    </a:lnTo>
                    <a:lnTo>
                      <a:pt x="152" y="442"/>
                    </a:lnTo>
                    <a:lnTo>
                      <a:pt x="153" y="442"/>
                    </a:lnTo>
                    <a:lnTo>
                      <a:pt x="155" y="442"/>
                    </a:lnTo>
                    <a:lnTo>
                      <a:pt x="155" y="441"/>
                    </a:lnTo>
                    <a:lnTo>
                      <a:pt x="157" y="441"/>
                    </a:lnTo>
                    <a:lnTo>
                      <a:pt x="157" y="442"/>
                    </a:lnTo>
                    <a:lnTo>
                      <a:pt x="157" y="444"/>
                    </a:lnTo>
                    <a:lnTo>
                      <a:pt x="157" y="445"/>
                    </a:lnTo>
                    <a:lnTo>
                      <a:pt x="157" y="447"/>
                    </a:lnTo>
                    <a:lnTo>
                      <a:pt x="157" y="449"/>
                    </a:lnTo>
                    <a:lnTo>
                      <a:pt x="155" y="449"/>
                    </a:lnTo>
                    <a:lnTo>
                      <a:pt x="155" y="450"/>
                    </a:lnTo>
                    <a:lnTo>
                      <a:pt x="155" y="452"/>
                    </a:lnTo>
                    <a:lnTo>
                      <a:pt x="157" y="452"/>
                    </a:lnTo>
                    <a:lnTo>
                      <a:pt x="157" y="453"/>
                    </a:lnTo>
                    <a:lnTo>
                      <a:pt x="155" y="453"/>
                    </a:lnTo>
                    <a:lnTo>
                      <a:pt x="155" y="455"/>
                    </a:lnTo>
                    <a:lnTo>
                      <a:pt x="153" y="455"/>
                    </a:lnTo>
                    <a:lnTo>
                      <a:pt x="153" y="457"/>
                    </a:lnTo>
                    <a:lnTo>
                      <a:pt x="153" y="458"/>
                    </a:lnTo>
                    <a:lnTo>
                      <a:pt x="153" y="460"/>
                    </a:lnTo>
                    <a:lnTo>
                      <a:pt x="153" y="461"/>
                    </a:lnTo>
                    <a:lnTo>
                      <a:pt x="152" y="461"/>
                    </a:lnTo>
                    <a:lnTo>
                      <a:pt x="152" y="463"/>
                    </a:lnTo>
                    <a:lnTo>
                      <a:pt x="152" y="464"/>
                    </a:lnTo>
                    <a:lnTo>
                      <a:pt x="150" y="464"/>
                    </a:lnTo>
                    <a:lnTo>
                      <a:pt x="150" y="466"/>
                    </a:lnTo>
                    <a:lnTo>
                      <a:pt x="150" y="468"/>
                    </a:lnTo>
                    <a:lnTo>
                      <a:pt x="149" y="468"/>
                    </a:lnTo>
                    <a:lnTo>
                      <a:pt x="149" y="469"/>
                    </a:lnTo>
                    <a:lnTo>
                      <a:pt x="149" y="471"/>
                    </a:lnTo>
                    <a:lnTo>
                      <a:pt x="147" y="471"/>
                    </a:lnTo>
                    <a:lnTo>
                      <a:pt x="145" y="471"/>
                    </a:lnTo>
                    <a:lnTo>
                      <a:pt x="145" y="472"/>
                    </a:lnTo>
                    <a:lnTo>
                      <a:pt x="147" y="472"/>
                    </a:lnTo>
                    <a:lnTo>
                      <a:pt x="145" y="472"/>
                    </a:lnTo>
                    <a:lnTo>
                      <a:pt x="145" y="474"/>
                    </a:lnTo>
                    <a:lnTo>
                      <a:pt x="147" y="474"/>
                    </a:lnTo>
                    <a:lnTo>
                      <a:pt x="147" y="476"/>
                    </a:lnTo>
                    <a:lnTo>
                      <a:pt x="147" y="477"/>
                    </a:lnTo>
                    <a:lnTo>
                      <a:pt x="147" y="479"/>
                    </a:lnTo>
                    <a:lnTo>
                      <a:pt x="147" y="480"/>
                    </a:lnTo>
                    <a:lnTo>
                      <a:pt x="149" y="480"/>
                    </a:lnTo>
                    <a:lnTo>
                      <a:pt x="149" y="482"/>
                    </a:lnTo>
                    <a:lnTo>
                      <a:pt x="150" y="482"/>
                    </a:lnTo>
                    <a:lnTo>
                      <a:pt x="150" y="483"/>
                    </a:lnTo>
                    <a:lnTo>
                      <a:pt x="150" y="485"/>
                    </a:lnTo>
                    <a:lnTo>
                      <a:pt x="152" y="485"/>
                    </a:lnTo>
                    <a:lnTo>
                      <a:pt x="152" y="487"/>
                    </a:lnTo>
                    <a:lnTo>
                      <a:pt x="152" y="488"/>
                    </a:lnTo>
                    <a:lnTo>
                      <a:pt x="152" y="490"/>
                    </a:lnTo>
                    <a:lnTo>
                      <a:pt x="152" y="491"/>
                    </a:lnTo>
                    <a:lnTo>
                      <a:pt x="150" y="491"/>
                    </a:lnTo>
                    <a:lnTo>
                      <a:pt x="152" y="491"/>
                    </a:lnTo>
                    <a:lnTo>
                      <a:pt x="152" y="493"/>
                    </a:lnTo>
                    <a:lnTo>
                      <a:pt x="152" y="495"/>
                    </a:lnTo>
                    <a:lnTo>
                      <a:pt x="153" y="495"/>
                    </a:lnTo>
                    <a:lnTo>
                      <a:pt x="152" y="495"/>
                    </a:lnTo>
                    <a:lnTo>
                      <a:pt x="152" y="496"/>
                    </a:lnTo>
                    <a:lnTo>
                      <a:pt x="153" y="496"/>
                    </a:lnTo>
                    <a:lnTo>
                      <a:pt x="153" y="498"/>
                    </a:lnTo>
                    <a:lnTo>
                      <a:pt x="155" y="498"/>
                    </a:lnTo>
                    <a:lnTo>
                      <a:pt x="157" y="498"/>
                    </a:lnTo>
                    <a:lnTo>
                      <a:pt x="157" y="499"/>
                    </a:lnTo>
                    <a:lnTo>
                      <a:pt x="157" y="501"/>
                    </a:lnTo>
                    <a:lnTo>
                      <a:pt x="158" y="501"/>
                    </a:lnTo>
                    <a:lnTo>
                      <a:pt x="158" y="502"/>
                    </a:lnTo>
                    <a:lnTo>
                      <a:pt x="157" y="502"/>
                    </a:lnTo>
                    <a:lnTo>
                      <a:pt x="158" y="502"/>
                    </a:lnTo>
                    <a:lnTo>
                      <a:pt x="157" y="502"/>
                    </a:lnTo>
                    <a:lnTo>
                      <a:pt x="157" y="504"/>
                    </a:lnTo>
                    <a:lnTo>
                      <a:pt x="157" y="506"/>
                    </a:lnTo>
                    <a:lnTo>
                      <a:pt x="157" y="507"/>
                    </a:lnTo>
                    <a:lnTo>
                      <a:pt x="155" y="507"/>
                    </a:lnTo>
                    <a:lnTo>
                      <a:pt x="155" y="509"/>
                    </a:lnTo>
                    <a:lnTo>
                      <a:pt x="155" y="510"/>
                    </a:lnTo>
                    <a:lnTo>
                      <a:pt x="155" y="512"/>
                    </a:lnTo>
                    <a:lnTo>
                      <a:pt x="153" y="512"/>
                    </a:lnTo>
                    <a:lnTo>
                      <a:pt x="153" y="514"/>
                    </a:lnTo>
                    <a:lnTo>
                      <a:pt x="152" y="514"/>
                    </a:lnTo>
                    <a:lnTo>
                      <a:pt x="152" y="515"/>
                    </a:lnTo>
                    <a:lnTo>
                      <a:pt x="152" y="517"/>
                    </a:lnTo>
                    <a:lnTo>
                      <a:pt x="152" y="518"/>
                    </a:lnTo>
                    <a:lnTo>
                      <a:pt x="150" y="518"/>
                    </a:lnTo>
                    <a:lnTo>
                      <a:pt x="150" y="520"/>
                    </a:lnTo>
                    <a:lnTo>
                      <a:pt x="150" y="521"/>
                    </a:lnTo>
                    <a:lnTo>
                      <a:pt x="150" y="523"/>
                    </a:lnTo>
                    <a:lnTo>
                      <a:pt x="149" y="523"/>
                    </a:lnTo>
                    <a:lnTo>
                      <a:pt x="149" y="525"/>
                    </a:lnTo>
                    <a:lnTo>
                      <a:pt x="149" y="526"/>
                    </a:lnTo>
                    <a:lnTo>
                      <a:pt x="149" y="528"/>
                    </a:lnTo>
                    <a:lnTo>
                      <a:pt x="149" y="529"/>
                    </a:lnTo>
                    <a:lnTo>
                      <a:pt x="147" y="529"/>
                    </a:lnTo>
                    <a:lnTo>
                      <a:pt x="147" y="531"/>
                    </a:lnTo>
                    <a:lnTo>
                      <a:pt x="145" y="531"/>
                    </a:lnTo>
                    <a:lnTo>
                      <a:pt x="145" y="533"/>
                    </a:lnTo>
                    <a:lnTo>
                      <a:pt x="145" y="534"/>
                    </a:lnTo>
                    <a:lnTo>
                      <a:pt x="145" y="536"/>
                    </a:lnTo>
                    <a:lnTo>
                      <a:pt x="144" y="536"/>
                    </a:lnTo>
                    <a:lnTo>
                      <a:pt x="144" y="537"/>
                    </a:lnTo>
                    <a:lnTo>
                      <a:pt x="142" y="537"/>
                    </a:lnTo>
                    <a:lnTo>
                      <a:pt x="141" y="537"/>
                    </a:lnTo>
                    <a:lnTo>
                      <a:pt x="141" y="539"/>
                    </a:lnTo>
                    <a:lnTo>
                      <a:pt x="141" y="540"/>
                    </a:lnTo>
                    <a:lnTo>
                      <a:pt x="139" y="540"/>
                    </a:lnTo>
                    <a:lnTo>
                      <a:pt x="139" y="542"/>
                    </a:lnTo>
                    <a:lnTo>
                      <a:pt x="139" y="544"/>
                    </a:lnTo>
                    <a:lnTo>
                      <a:pt x="137" y="544"/>
                    </a:lnTo>
                    <a:lnTo>
                      <a:pt x="137" y="545"/>
                    </a:lnTo>
                    <a:lnTo>
                      <a:pt x="137" y="547"/>
                    </a:lnTo>
                    <a:lnTo>
                      <a:pt x="137" y="548"/>
                    </a:lnTo>
                    <a:lnTo>
                      <a:pt x="136" y="548"/>
                    </a:lnTo>
                    <a:lnTo>
                      <a:pt x="136" y="550"/>
                    </a:lnTo>
                    <a:lnTo>
                      <a:pt x="134" y="550"/>
                    </a:lnTo>
                    <a:lnTo>
                      <a:pt x="134" y="552"/>
                    </a:lnTo>
                    <a:lnTo>
                      <a:pt x="133" y="552"/>
                    </a:lnTo>
                    <a:lnTo>
                      <a:pt x="134" y="552"/>
                    </a:lnTo>
                    <a:lnTo>
                      <a:pt x="134" y="553"/>
                    </a:lnTo>
                    <a:lnTo>
                      <a:pt x="133" y="553"/>
                    </a:lnTo>
                    <a:lnTo>
                      <a:pt x="133" y="555"/>
                    </a:lnTo>
                    <a:lnTo>
                      <a:pt x="133" y="556"/>
                    </a:lnTo>
                    <a:lnTo>
                      <a:pt x="131" y="556"/>
                    </a:lnTo>
                    <a:lnTo>
                      <a:pt x="131" y="558"/>
                    </a:lnTo>
                    <a:lnTo>
                      <a:pt x="131" y="559"/>
                    </a:lnTo>
                    <a:lnTo>
                      <a:pt x="131" y="561"/>
                    </a:lnTo>
                    <a:lnTo>
                      <a:pt x="131" y="563"/>
                    </a:lnTo>
                    <a:lnTo>
                      <a:pt x="131" y="564"/>
                    </a:lnTo>
                    <a:lnTo>
                      <a:pt x="130" y="564"/>
                    </a:lnTo>
                    <a:lnTo>
                      <a:pt x="130" y="566"/>
                    </a:lnTo>
                    <a:lnTo>
                      <a:pt x="130" y="567"/>
                    </a:lnTo>
                    <a:lnTo>
                      <a:pt x="130" y="569"/>
                    </a:lnTo>
                    <a:lnTo>
                      <a:pt x="128" y="569"/>
                    </a:lnTo>
                    <a:lnTo>
                      <a:pt x="128" y="571"/>
                    </a:lnTo>
                    <a:lnTo>
                      <a:pt x="128" y="572"/>
                    </a:lnTo>
                    <a:lnTo>
                      <a:pt x="126" y="572"/>
                    </a:lnTo>
                    <a:lnTo>
                      <a:pt x="126" y="574"/>
                    </a:lnTo>
                    <a:lnTo>
                      <a:pt x="126" y="575"/>
                    </a:lnTo>
                    <a:lnTo>
                      <a:pt x="125" y="575"/>
                    </a:lnTo>
                    <a:lnTo>
                      <a:pt x="125" y="574"/>
                    </a:lnTo>
                    <a:lnTo>
                      <a:pt x="125" y="575"/>
                    </a:lnTo>
                    <a:lnTo>
                      <a:pt x="123" y="575"/>
                    </a:lnTo>
                    <a:lnTo>
                      <a:pt x="123" y="577"/>
                    </a:lnTo>
                    <a:lnTo>
                      <a:pt x="123" y="578"/>
                    </a:lnTo>
                    <a:lnTo>
                      <a:pt x="123" y="580"/>
                    </a:lnTo>
                    <a:lnTo>
                      <a:pt x="123" y="582"/>
                    </a:lnTo>
                    <a:lnTo>
                      <a:pt x="123" y="583"/>
                    </a:lnTo>
                    <a:lnTo>
                      <a:pt x="122" y="583"/>
                    </a:lnTo>
                    <a:lnTo>
                      <a:pt x="120" y="583"/>
                    </a:lnTo>
                    <a:lnTo>
                      <a:pt x="120" y="585"/>
                    </a:lnTo>
                    <a:lnTo>
                      <a:pt x="120" y="583"/>
                    </a:lnTo>
                    <a:lnTo>
                      <a:pt x="120" y="585"/>
                    </a:lnTo>
                    <a:lnTo>
                      <a:pt x="122" y="585"/>
                    </a:lnTo>
                    <a:lnTo>
                      <a:pt x="122" y="586"/>
                    </a:lnTo>
                    <a:lnTo>
                      <a:pt x="122" y="588"/>
                    </a:lnTo>
                    <a:lnTo>
                      <a:pt x="123" y="588"/>
                    </a:lnTo>
                    <a:lnTo>
                      <a:pt x="123" y="590"/>
                    </a:lnTo>
                    <a:lnTo>
                      <a:pt x="125" y="590"/>
                    </a:lnTo>
                    <a:lnTo>
                      <a:pt x="125" y="591"/>
                    </a:lnTo>
                    <a:lnTo>
                      <a:pt x="125" y="593"/>
                    </a:lnTo>
                    <a:lnTo>
                      <a:pt x="123" y="593"/>
                    </a:lnTo>
                    <a:lnTo>
                      <a:pt x="123" y="594"/>
                    </a:lnTo>
                    <a:lnTo>
                      <a:pt x="122" y="594"/>
                    </a:lnTo>
                    <a:lnTo>
                      <a:pt x="122" y="596"/>
                    </a:lnTo>
                    <a:lnTo>
                      <a:pt x="123" y="596"/>
                    </a:lnTo>
                    <a:lnTo>
                      <a:pt x="123" y="597"/>
                    </a:lnTo>
                    <a:lnTo>
                      <a:pt x="123" y="599"/>
                    </a:lnTo>
                    <a:lnTo>
                      <a:pt x="122" y="599"/>
                    </a:lnTo>
                    <a:lnTo>
                      <a:pt x="120" y="599"/>
                    </a:lnTo>
                    <a:lnTo>
                      <a:pt x="120" y="597"/>
                    </a:lnTo>
                    <a:lnTo>
                      <a:pt x="120" y="599"/>
                    </a:lnTo>
                    <a:lnTo>
                      <a:pt x="118" y="599"/>
                    </a:lnTo>
                    <a:lnTo>
                      <a:pt x="118" y="597"/>
                    </a:lnTo>
                    <a:lnTo>
                      <a:pt x="117" y="597"/>
                    </a:lnTo>
                    <a:lnTo>
                      <a:pt x="117" y="596"/>
                    </a:lnTo>
                    <a:lnTo>
                      <a:pt x="115" y="596"/>
                    </a:lnTo>
                    <a:lnTo>
                      <a:pt x="115" y="597"/>
                    </a:lnTo>
                    <a:lnTo>
                      <a:pt x="117" y="597"/>
                    </a:lnTo>
                    <a:lnTo>
                      <a:pt x="117" y="599"/>
                    </a:lnTo>
                    <a:lnTo>
                      <a:pt x="115" y="599"/>
                    </a:lnTo>
                    <a:lnTo>
                      <a:pt x="114" y="599"/>
                    </a:lnTo>
                    <a:lnTo>
                      <a:pt x="112" y="599"/>
                    </a:lnTo>
                    <a:lnTo>
                      <a:pt x="112" y="601"/>
                    </a:lnTo>
                    <a:lnTo>
                      <a:pt x="111" y="601"/>
                    </a:lnTo>
                    <a:lnTo>
                      <a:pt x="109" y="601"/>
                    </a:lnTo>
                    <a:lnTo>
                      <a:pt x="109" y="599"/>
                    </a:lnTo>
                    <a:lnTo>
                      <a:pt x="107" y="599"/>
                    </a:lnTo>
                    <a:lnTo>
                      <a:pt x="106" y="599"/>
                    </a:lnTo>
                    <a:lnTo>
                      <a:pt x="106" y="601"/>
                    </a:lnTo>
                    <a:lnTo>
                      <a:pt x="107" y="601"/>
                    </a:lnTo>
                    <a:lnTo>
                      <a:pt x="109" y="601"/>
                    </a:lnTo>
                    <a:lnTo>
                      <a:pt x="109" y="602"/>
                    </a:lnTo>
                    <a:lnTo>
                      <a:pt x="107" y="602"/>
                    </a:lnTo>
                    <a:lnTo>
                      <a:pt x="107" y="601"/>
                    </a:lnTo>
                    <a:lnTo>
                      <a:pt x="106" y="601"/>
                    </a:lnTo>
                    <a:lnTo>
                      <a:pt x="106" y="602"/>
                    </a:lnTo>
                    <a:lnTo>
                      <a:pt x="104" y="602"/>
                    </a:lnTo>
                    <a:lnTo>
                      <a:pt x="104" y="604"/>
                    </a:lnTo>
                    <a:lnTo>
                      <a:pt x="103" y="604"/>
                    </a:lnTo>
                    <a:lnTo>
                      <a:pt x="103" y="602"/>
                    </a:lnTo>
                    <a:lnTo>
                      <a:pt x="101" y="602"/>
                    </a:lnTo>
                    <a:lnTo>
                      <a:pt x="101" y="604"/>
                    </a:lnTo>
                    <a:lnTo>
                      <a:pt x="99" y="604"/>
                    </a:lnTo>
                    <a:lnTo>
                      <a:pt x="98" y="604"/>
                    </a:lnTo>
                    <a:lnTo>
                      <a:pt x="98" y="605"/>
                    </a:lnTo>
                    <a:lnTo>
                      <a:pt x="98" y="607"/>
                    </a:lnTo>
                    <a:lnTo>
                      <a:pt x="98" y="609"/>
                    </a:lnTo>
                    <a:lnTo>
                      <a:pt x="99" y="609"/>
                    </a:lnTo>
                    <a:lnTo>
                      <a:pt x="99" y="610"/>
                    </a:lnTo>
                    <a:lnTo>
                      <a:pt x="101" y="610"/>
                    </a:lnTo>
                    <a:lnTo>
                      <a:pt x="101" y="612"/>
                    </a:lnTo>
                    <a:lnTo>
                      <a:pt x="101" y="613"/>
                    </a:lnTo>
                    <a:lnTo>
                      <a:pt x="103" y="613"/>
                    </a:lnTo>
                    <a:lnTo>
                      <a:pt x="103" y="615"/>
                    </a:lnTo>
                    <a:lnTo>
                      <a:pt x="103" y="617"/>
                    </a:lnTo>
                    <a:lnTo>
                      <a:pt x="104" y="617"/>
                    </a:lnTo>
                    <a:lnTo>
                      <a:pt x="104" y="618"/>
                    </a:lnTo>
                    <a:lnTo>
                      <a:pt x="104" y="620"/>
                    </a:lnTo>
                    <a:lnTo>
                      <a:pt x="106" y="620"/>
                    </a:lnTo>
                    <a:lnTo>
                      <a:pt x="106" y="621"/>
                    </a:lnTo>
                    <a:lnTo>
                      <a:pt x="107" y="621"/>
                    </a:lnTo>
                    <a:lnTo>
                      <a:pt x="107" y="623"/>
                    </a:lnTo>
                    <a:lnTo>
                      <a:pt x="109" y="623"/>
                    </a:lnTo>
                    <a:lnTo>
                      <a:pt x="111" y="623"/>
                    </a:lnTo>
                    <a:lnTo>
                      <a:pt x="111" y="624"/>
                    </a:lnTo>
                    <a:lnTo>
                      <a:pt x="111" y="623"/>
                    </a:lnTo>
                    <a:lnTo>
                      <a:pt x="112" y="623"/>
                    </a:lnTo>
                    <a:lnTo>
                      <a:pt x="111" y="623"/>
                    </a:lnTo>
                    <a:lnTo>
                      <a:pt x="111" y="624"/>
                    </a:lnTo>
                    <a:lnTo>
                      <a:pt x="112" y="624"/>
                    </a:lnTo>
                    <a:lnTo>
                      <a:pt x="112" y="623"/>
                    </a:lnTo>
                    <a:lnTo>
                      <a:pt x="112" y="624"/>
                    </a:lnTo>
                    <a:lnTo>
                      <a:pt x="112" y="626"/>
                    </a:lnTo>
                    <a:lnTo>
                      <a:pt x="111" y="626"/>
                    </a:lnTo>
                    <a:lnTo>
                      <a:pt x="111" y="628"/>
                    </a:lnTo>
                    <a:lnTo>
                      <a:pt x="109" y="628"/>
                    </a:lnTo>
                    <a:lnTo>
                      <a:pt x="111" y="628"/>
                    </a:lnTo>
                    <a:lnTo>
                      <a:pt x="111" y="629"/>
                    </a:lnTo>
                    <a:lnTo>
                      <a:pt x="109" y="629"/>
                    </a:lnTo>
                    <a:lnTo>
                      <a:pt x="109" y="631"/>
                    </a:lnTo>
                    <a:lnTo>
                      <a:pt x="109" y="632"/>
                    </a:lnTo>
                    <a:lnTo>
                      <a:pt x="107" y="632"/>
                    </a:lnTo>
                    <a:lnTo>
                      <a:pt x="109" y="632"/>
                    </a:lnTo>
                    <a:lnTo>
                      <a:pt x="109" y="634"/>
                    </a:lnTo>
                    <a:lnTo>
                      <a:pt x="109" y="636"/>
                    </a:lnTo>
                    <a:lnTo>
                      <a:pt x="111" y="636"/>
                    </a:lnTo>
                    <a:lnTo>
                      <a:pt x="111" y="637"/>
                    </a:lnTo>
                    <a:lnTo>
                      <a:pt x="111" y="636"/>
                    </a:lnTo>
                    <a:lnTo>
                      <a:pt x="111" y="637"/>
                    </a:lnTo>
                    <a:lnTo>
                      <a:pt x="109" y="637"/>
                    </a:lnTo>
                    <a:lnTo>
                      <a:pt x="107" y="637"/>
                    </a:lnTo>
                    <a:lnTo>
                      <a:pt x="107" y="639"/>
                    </a:lnTo>
                    <a:lnTo>
                      <a:pt x="109" y="639"/>
                    </a:lnTo>
                    <a:lnTo>
                      <a:pt x="109" y="637"/>
                    </a:lnTo>
                    <a:lnTo>
                      <a:pt x="109" y="639"/>
                    </a:lnTo>
                    <a:lnTo>
                      <a:pt x="111" y="639"/>
                    </a:lnTo>
                    <a:lnTo>
                      <a:pt x="112" y="639"/>
                    </a:lnTo>
                    <a:lnTo>
                      <a:pt x="112" y="640"/>
                    </a:lnTo>
                    <a:lnTo>
                      <a:pt x="112" y="642"/>
                    </a:lnTo>
                    <a:lnTo>
                      <a:pt x="111" y="642"/>
                    </a:lnTo>
                    <a:lnTo>
                      <a:pt x="109" y="642"/>
                    </a:lnTo>
                    <a:lnTo>
                      <a:pt x="109" y="643"/>
                    </a:lnTo>
                    <a:lnTo>
                      <a:pt x="107" y="643"/>
                    </a:lnTo>
                    <a:lnTo>
                      <a:pt x="107" y="645"/>
                    </a:lnTo>
                    <a:lnTo>
                      <a:pt x="107" y="647"/>
                    </a:lnTo>
                    <a:lnTo>
                      <a:pt x="106" y="647"/>
                    </a:lnTo>
                    <a:lnTo>
                      <a:pt x="106" y="648"/>
                    </a:lnTo>
                    <a:lnTo>
                      <a:pt x="106" y="650"/>
                    </a:lnTo>
                    <a:lnTo>
                      <a:pt x="106" y="651"/>
                    </a:lnTo>
                    <a:lnTo>
                      <a:pt x="106" y="653"/>
                    </a:lnTo>
                    <a:lnTo>
                      <a:pt x="107" y="653"/>
                    </a:lnTo>
                    <a:lnTo>
                      <a:pt x="107" y="655"/>
                    </a:lnTo>
                    <a:lnTo>
                      <a:pt x="107" y="656"/>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79" name="Freeform 159"/>
              <p:cNvSpPr>
                <a:spLocks/>
              </p:cNvSpPr>
              <p:nvPr/>
            </p:nvSpPr>
            <p:spPr bwMode="auto">
              <a:xfrm>
                <a:off x="5108" y="2970"/>
                <a:ext cx="167" cy="515"/>
              </a:xfrm>
              <a:custGeom>
                <a:avLst/>
                <a:gdLst>
                  <a:gd name="T0" fmla="*/ 4 w 167"/>
                  <a:gd name="T1" fmla="*/ 16 h 515"/>
                  <a:gd name="T2" fmla="*/ 11 w 167"/>
                  <a:gd name="T3" fmla="*/ 22 h 515"/>
                  <a:gd name="T4" fmla="*/ 18 w 167"/>
                  <a:gd name="T5" fmla="*/ 33 h 515"/>
                  <a:gd name="T6" fmla="*/ 23 w 167"/>
                  <a:gd name="T7" fmla="*/ 49 h 515"/>
                  <a:gd name="T8" fmla="*/ 21 w 167"/>
                  <a:gd name="T9" fmla="*/ 71 h 515"/>
                  <a:gd name="T10" fmla="*/ 26 w 167"/>
                  <a:gd name="T11" fmla="*/ 81 h 515"/>
                  <a:gd name="T12" fmla="*/ 40 w 167"/>
                  <a:gd name="T13" fmla="*/ 87 h 515"/>
                  <a:gd name="T14" fmla="*/ 51 w 167"/>
                  <a:gd name="T15" fmla="*/ 100 h 515"/>
                  <a:gd name="T16" fmla="*/ 56 w 167"/>
                  <a:gd name="T17" fmla="*/ 113 h 515"/>
                  <a:gd name="T18" fmla="*/ 65 w 167"/>
                  <a:gd name="T19" fmla="*/ 111 h 515"/>
                  <a:gd name="T20" fmla="*/ 70 w 167"/>
                  <a:gd name="T21" fmla="*/ 130 h 515"/>
                  <a:gd name="T22" fmla="*/ 81 w 167"/>
                  <a:gd name="T23" fmla="*/ 143 h 515"/>
                  <a:gd name="T24" fmla="*/ 75 w 167"/>
                  <a:gd name="T25" fmla="*/ 151 h 515"/>
                  <a:gd name="T26" fmla="*/ 61 w 167"/>
                  <a:gd name="T27" fmla="*/ 157 h 515"/>
                  <a:gd name="T28" fmla="*/ 67 w 167"/>
                  <a:gd name="T29" fmla="*/ 178 h 515"/>
                  <a:gd name="T30" fmla="*/ 65 w 167"/>
                  <a:gd name="T31" fmla="*/ 190 h 515"/>
                  <a:gd name="T32" fmla="*/ 61 w 167"/>
                  <a:gd name="T33" fmla="*/ 200 h 515"/>
                  <a:gd name="T34" fmla="*/ 69 w 167"/>
                  <a:gd name="T35" fmla="*/ 206 h 515"/>
                  <a:gd name="T36" fmla="*/ 80 w 167"/>
                  <a:gd name="T37" fmla="*/ 206 h 515"/>
                  <a:gd name="T38" fmla="*/ 92 w 167"/>
                  <a:gd name="T39" fmla="*/ 208 h 515"/>
                  <a:gd name="T40" fmla="*/ 99 w 167"/>
                  <a:gd name="T41" fmla="*/ 216 h 515"/>
                  <a:gd name="T42" fmla="*/ 92 w 167"/>
                  <a:gd name="T43" fmla="*/ 201 h 515"/>
                  <a:gd name="T44" fmla="*/ 84 w 167"/>
                  <a:gd name="T45" fmla="*/ 198 h 515"/>
                  <a:gd name="T46" fmla="*/ 83 w 167"/>
                  <a:gd name="T47" fmla="*/ 185 h 515"/>
                  <a:gd name="T48" fmla="*/ 95 w 167"/>
                  <a:gd name="T49" fmla="*/ 187 h 515"/>
                  <a:gd name="T50" fmla="*/ 107 w 167"/>
                  <a:gd name="T51" fmla="*/ 190 h 515"/>
                  <a:gd name="T52" fmla="*/ 105 w 167"/>
                  <a:gd name="T53" fmla="*/ 203 h 515"/>
                  <a:gd name="T54" fmla="*/ 102 w 167"/>
                  <a:gd name="T55" fmla="*/ 217 h 515"/>
                  <a:gd name="T56" fmla="*/ 111 w 167"/>
                  <a:gd name="T57" fmla="*/ 231 h 515"/>
                  <a:gd name="T58" fmla="*/ 113 w 167"/>
                  <a:gd name="T59" fmla="*/ 244 h 515"/>
                  <a:gd name="T60" fmla="*/ 113 w 167"/>
                  <a:gd name="T61" fmla="*/ 258 h 515"/>
                  <a:gd name="T62" fmla="*/ 116 w 167"/>
                  <a:gd name="T63" fmla="*/ 276 h 515"/>
                  <a:gd name="T64" fmla="*/ 118 w 167"/>
                  <a:gd name="T65" fmla="*/ 285 h 515"/>
                  <a:gd name="T66" fmla="*/ 108 w 167"/>
                  <a:gd name="T67" fmla="*/ 296 h 515"/>
                  <a:gd name="T68" fmla="*/ 100 w 167"/>
                  <a:gd name="T69" fmla="*/ 306 h 515"/>
                  <a:gd name="T70" fmla="*/ 88 w 167"/>
                  <a:gd name="T71" fmla="*/ 307 h 515"/>
                  <a:gd name="T72" fmla="*/ 99 w 167"/>
                  <a:gd name="T73" fmla="*/ 311 h 515"/>
                  <a:gd name="T74" fmla="*/ 113 w 167"/>
                  <a:gd name="T75" fmla="*/ 314 h 515"/>
                  <a:gd name="T76" fmla="*/ 113 w 167"/>
                  <a:gd name="T77" fmla="*/ 328 h 515"/>
                  <a:gd name="T78" fmla="*/ 124 w 167"/>
                  <a:gd name="T79" fmla="*/ 331 h 515"/>
                  <a:gd name="T80" fmla="*/ 130 w 167"/>
                  <a:gd name="T81" fmla="*/ 345 h 515"/>
                  <a:gd name="T82" fmla="*/ 137 w 167"/>
                  <a:gd name="T83" fmla="*/ 360 h 515"/>
                  <a:gd name="T84" fmla="*/ 138 w 167"/>
                  <a:gd name="T85" fmla="*/ 372 h 515"/>
                  <a:gd name="T86" fmla="*/ 145 w 167"/>
                  <a:gd name="T87" fmla="*/ 380 h 515"/>
                  <a:gd name="T88" fmla="*/ 146 w 167"/>
                  <a:gd name="T89" fmla="*/ 390 h 515"/>
                  <a:gd name="T90" fmla="*/ 146 w 167"/>
                  <a:gd name="T91" fmla="*/ 398 h 515"/>
                  <a:gd name="T92" fmla="*/ 143 w 167"/>
                  <a:gd name="T93" fmla="*/ 406 h 515"/>
                  <a:gd name="T94" fmla="*/ 140 w 167"/>
                  <a:gd name="T95" fmla="*/ 414 h 515"/>
                  <a:gd name="T96" fmla="*/ 151 w 167"/>
                  <a:gd name="T97" fmla="*/ 423 h 515"/>
                  <a:gd name="T98" fmla="*/ 159 w 167"/>
                  <a:gd name="T99" fmla="*/ 433 h 515"/>
                  <a:gd name="T100" fmla="*/ 165 w 167"/>
                  <a:gd name="T101" fmla="*/ 444 h 515"/>
                  <a:gd name="T102" fmla="*/ 164 w 167"/>
                  <a:gd name="T103" fmla="*/ 456 h 515"/>
                  <a:gd name="T104" fmla="*/ 151 w 167"/>
                  <a:gd name="T105" fmla="*/ 461 h 515"/>
                  <a:gd name="T106" fmla="*/ 156 w 167"/>
                  <a:gd name="T107" fmla="*/ 474 h 515"/>
                  <a:gd name="T108" fmla="*/ 140 w 167"/>
                  <a:gd name="T109" fmla="*/ 478 h 515"/>
                  <a:gd name="T110" fmla="*/ 133 w 167"/>
                  <a:gd name="T111" fmla="*/ 490 h 515"/>
                  <a:gd name="T112" fmla="*/ 133 w 167"/>
                  <a:gd name="T113" fmla="*/ 507 h 515"/>
                  <a:gd name="T114" fmla="*/ 129 w 167"/>
                  <a:gd name="T115" fmla="*/ 513 h 515"/>
                  <a:gd name="T116" fmla="*/ 141 w 167"/>
                  <a:gd name="T117" fmla="*/ 499 h 515"/>
                  <a:gd name="T118" fmla="*/ 151 w 167"/>
                  <a:gd name="T119" fmla="*/ 48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7" h="515">
                    <a:moveTo>
                      <a:pt x="0" y="0"/>
                    </a:moveTo>
                    <a:lnTo>
                      <a:pt x="0" y="2"/>
                    </a:lnTo>
                    <a:lnTo>
                      <a:pt x="0" y="3"/>
                    </a:lnTo>
                    <a:lnTo>
                      <a:pt x="0" y="5"/>
                    </a:lnTo>
                    <a:lnTo>
                      <a:pt x="2" y="5"/>
                    </a:lnTo>
                    <a:lnTo>
                      <a:pt x="2" y="6"/>
                    </a:lnTo>
                    <a:lnTo>
                      <a:pt x="2" y="8"/>
                    </a:lnTo>
                    <a:lnTo>
                      <a:pt x="0" y="8"/>
                    </a:lnTo>
                    <a:lnTo>
                      <a:pt x="0" y="10"/>
                    </a:lnTo>
                    <a:lnTo>
                      <a:pt x="0" y="11"/>
                    </a:lnTo>
                    <a:lnTo>
                      <a:pt x="0" y="13"/>
                    </a:lnTo>
                    <a:lnTo>
                      <a:pt x="2" y="13"/>
                    </a:lnTo>
                    <a:lnTo>
                      <a:pt x="2" y="14"/>
                    </a:lnTo>
                    <a:lnTo>
                      <a:pt x="4" y="14"/>
                    </a:lnTo>
                    <a:lnTo>
                      <a:pt x="5" y="14"/>
                    </a:lnTo>
                    <a:lnTo>
                      <a:pt x="5" y="16"/>
                    </a:lnTo>
                    <a:lnTo>
                      <a:pt x="4" y="16"/>
                    </a:lnTo>
                    <a:lnTo>
                      <a:pt x="5" y="16"/>
                    </a:lnTo>
                    <a:lnTo>
                      <a:pt x="5" y="18"/>
                    </a:lnTo>
                    <a:lnTo>
                      <a:pt x="5" y="16"/>
                    </a:lnTo>
                    <a:lnTo>
                      <a:pt x="5" y="18"/>
                    </a:lnTo>
                    <a:lnTo>
                      <a:pt x="7" y="18"/>
                    </a:lnTo>
                    <a:lnTo>
                      <a:pt x="8" y="18"/>
                    </a:lnTo>
                    <a:lnTo>
                      <a:pt x="8" y="19"/>
                    </a:lnTo>
                    <a:lnTo>
                      <a:pt x="8" y="21"/>
                    </a:lnTo>
                    <a:lnTo>
                      <a:pt x="8" y="22"/>
                    </a:lnTo>
                    <a:lnTo>
                      <a:pt x="7" y="22"/>
                    </a:lnTo>
                    <a:lnTo>
                      <a:pt x="8" y="22"/>
                    </a:lnTo>
                    <a:lnTo>
                      <a:pt x="8" y="24"/>
                    </a:lnTo>
                    <a:lnTo>
                      <a:pt x="8" y="22"/>
                    </a:lnTo>
                    <a:lnTo>
                      <a:pt x="10" y="22"/>
                    </a:lnTo>
                    <a:lnTo>
                      <a:pt x="10" y="24"/>
                    </a:lnTo>
                    <a:lnTo>
                      <a:pt x="11" y="24"/>
                    </a:lnTo>
                    <a:lnTo>
                      <a:pt x="11" y="22"/>
                    </a:lnTo>
                    <a:lnTo>
                      <a:pt x="13" y="22"/>
                    </a:lnTo>
                    <a:lnTo>
                      <a:pt x="13" y="24"/>
                    </a:lnTo>
                    <a:lnTo>
                      <a:pt x="15" y="24"/>
                    </a:lnTo>
                    <a:lnTo>
                      <a:pt x="16" y="24"/>
                    </a:lnTo>
                    <a:lnTo>
                      <a:pt x="15" y="24"/>
                    </a:lnTo>
                    <a:lnTo>
                      <a:pt x="15" y="25"/>
                    </a:lnTo>
                    <a:lnTo>
                      <a:pt x="15" y="27"/>
                    </a:lnTo>
                    <a:lnTo>
                      <a:pt x="15" y="29"/>
                    </a:lnTo>
                    <a:lnTo>
                      <a:pt x="16" y="29"/>
                    </a:lnTo>
                    <a:lnTo>
                      <a:pt x="16" y="30"/>
                    </a:lnTo>
                    <a:lnTo>
                      <a:pt x="15" y="30"/>
                    </a:lnTo>
                    <a:lnTo>
                      <a:pt x="15" y="32"/>
                    </a:lnTo>
                    <a:lnTo>
                      <a:pt x="15" y="30"/>
                    </a:lnTo>
                    <a:lnTo>
                      <a:pt x="16" y="30"/>
                    </a:lnTo>
                    <a:lnTo>
                      <a:pt x="18" y="30"/>
                    </a:lnTo>
                    <a:lnTo>
                      <a:pt x="18" y="32"/>
                    </a:lnTo>
                    <a:lnTo>
                      <a:pt x="18" y="33"/>
                    </a:lnTo>
                    <a:lnTo>
                      <a:pt x="16" y="33"/>
                    </a:lnTo>
                    <a:lnTo>
                      <a:pt x="15" y="33"/>
                    </a:lnTo>
                    <a:lnTo>
                      <a:pt x="15" y="35"/>
                    </a:lnTo>
                    <a:lnTo>
                      <a:pt x="16" y="35"/>
                    </a:lnTo>
                    <a:lnTo>
                      <a:pt x="18" y="35"/>
                    </a:lnTo>
                    <a:lnTo>
                      <a:pt x="18" y="37"/>
                    </a:lnTo>
                    <a:lnTo>
                      <a:pt x="18" y="38"/>
                    </a:lnTo>
                    <a:lnTo>
                      <a:pt x="19" y="38"/>
                    </a:lnTo>
                    <a:lnTo>
                      <a:pt x="19" y="40"/>
                    </a:lnTo>
                    <a:lnTo>
                      <a:pt x="19" y="41"/>
                    </a:lnTo>
                    <a:lnTo>
                      <a:pt x="19" y="43"/>
                    </a:lnTo>
                    <a:lnTo>
                      <a:pt x="21" y="43"/>
                    </a:lnTo>
                    <a:lnTo>
                      <a:pt x="21" y="44"/>
                    </a:lnTo>
                    <a:lnTo>
                      <a:pt x="21" y="46"/>
                    </a:lnTo>
                    <a:lnTo>
                      <a:pt x="23" y="46"/>
                    </a:lnTo>
                    <a:lnTo>
                      <a:pt x="23" y="48"/>
                    </a:lnTo>
                    <a:lnTo>
                      <a:pt x="23" y="49"/>
                    </a:lnTo>
                    <a:lnTo>
                      <a:pt x="23" y="51"/>
                    </a:lnTo>
                    <a:lnTo>
                      <a:pt x="23" y="52"/>
                    </a:lnTo>
                    <a:lnTo>
                      <a:pt x="23" y="54"/>
                    </a:lnTo>
                    <a:lnTo>
                      <a:pt x="23" y="56"/>
                    </a:lnTo>
                    <a:lnTo>
                      <a:pt x="23" y="57"/>
                    </a:lnTo>
                    <a:lnTo>
                      <a:pt x="21" y="57"/>
                    </a:lnTo>
                    <a:lnTo>
                      <a:pt x="21" y="59"/>
                    </a:lnTo>
                    <a:lnTo>
                      <a:pt x="21" y="60"/>
                    </a:lnTo>
                    <a:lnTo>
                      <a:pt x="21" y="62"/>
                    </a:lnTo>
                    <a:lnTo>
                      <a:pt x="21" y="63"/>
                    </a:lnTo>
                    <a:lnTo>
                      <a:pt x="19" y="63"/>
                    </a:lnTo>
                    <a:lnTo>
                      <a:pt x="19" y="65"/>
                    </a:lnTo>
                    <a:lnTo>
                      <a:pt x="21" y="65"/>
                    </a:lnTo>
                    <a:lnTo>
                      <a:pt x="21" y="67"/>
                    </a:lnTo>
                    <a:lnTo>
                      <a:pt x="21" y="68"/>
                    </a:lnTo>
                    <a:lnTo>
                      <a:pt x="21" y="70"/>
                    </a:lnTo>
                    <a:lnTo>
                      <a:pt x="21" y="71"/>
                    </a:lnTo>
                    <a:lnTo>
                      <a:pt x="23" y="71"/>
                    </a:lnTo>
                    <a:lnTo>
                      <a:pt x="23" y="73"/>
                    </a:lnTo>
                    <a:lnTo>
                      <a:pt x="23" y="75"/>
                    </a:lnTo>
                    <a:lnTo>
                      <a:pt x="24" y="75"/>
                    </a:lnTo>
                    <a:lnTo>
                      <a:pt x="24" y="76"/>
                    </a:lnTo>
                    <a:lnTo>
                      <a:pt x="26" y="76"/>
                    </a:lnTo>
                    <a:lnTo>
                      <a:pt x="26" y="78"/>
                    </a:lnTo>
                    <a:lnTo>
                      <a:pt x="24" y="78"/>
                    </a:lnTo>
                    <a:lnTo>
                      <a:pt x="24" y="79"/>
                    </a:lnTo>
                    <a:lnTo>
                      <a:pt x="23" y="79"/>
                    </a:lnTo>
                    <a:lnTo>
                      <a:pt x="23" y="81"/>
                    </a:lnTo>
                    <a:lnTo>
                      <a:pt x="21" y="81"/>
                    </a:lnTo>
                    <a:lnTo>
                      <a:pt x="23" y="81"/>
                    </a:lnTo>
                    <a:lnTo>
                      <a:pt x="23" y="79"/>
                    </a:lnTo>
                    <a:lnTo>
                      <a:pt x="24" y="79"/>
                    </a:lnTo>
                    <a:lnTo>
                      <a:pt x="26" y="79"/>
                    </a:lnTo>
                    <a:lnTo>
                      <a:pt x="26" y="81"/>
                    </a:lnTo>
                    <a:lnTo>
                      <a:pt x="27" y="81"/>
                    </a:lnTo>
                    <a:lnTo>
                      <a:pt x="27" y="79"/>
                    </a:lnTo>
                    <a:lnTo>
                      <a:pt x="29" y="79"/>
                    </a:lnTo>
                    <a:lnTo>
                      <a:pt x="30" y="79"/>
                    </a:lnTo>
                    <a:lnTo>
                      <a:pt x="30" y="81"/>
                    </a:lnTo>
                    <a:lnTo>
                      <a:pt x="32" y="81"/>
                    </a:lnTo>
                    <a:lnTo>
                      <a:pt x="32" y="82"/>
                    </a:lnTo>
                    <a:lnTo>
                      <a:pt x="32" y="84"/>
                    </a:lnTo>
                    <a:lnTo>
                      <a:pt x="34" y="84"/>
                    </a:lnTo>
                    <a:lnTo>
                      <a:pt x="34" y="86"/>
                    </a:lnTo>
                    <a:lnTo>
                      <a:pt x="35" y="86"/>
                    </a:lnTo>
                    <a:lnTo>
                      <a:pt x="37" y="86"/>
                    </a:lnTo>
                    <a:lnTo>
                      <a:pt x="37" y="87"/>
                    </a:lnTo>
                    <a:lnTo>
                      <a:pt x="38" y="87"/>
                    </a:lnTo>
                    <a:lnTo>
                      <a:pt x="38" y="89"/>
                    </a:lnTo>
                    <a:lnTo>
                      <a:pt x="38" y="87"/>
                    </a:lnTo>
                    <a:lnTo>
                      <a:pt x="40" y="87"/>
                    </a:lnTo>
                    <a:lnTo>
                      <a:pt x="42" y="87"/>
                    </a:lnTo>
                    <a:lnTo>
                      <a:pt x="42" y="86"/>
                    </a:lnTo>
                    <a:lnTo>
                      <a:pt x="43" y="86"/>
                    </a:lnTo>
                    <a:lnTo>
                      <a:pt x="45" y="86"/>
                    </a:lnTo>
                    <a:lnTo>
                      <a:pt x="45" y="87"/>
                    </a:lnTo>
                    <a:lnTo>
                      <a:pt x="46" y="87"/>
                    </a:lnTo>
                    <a:lnTo>
                      <a:pt x="46" y="89"/>
                    </a:lnTo>
                    <a:lnTo>
                      <a:pt x="48" y="89"/>
                    </a:lnTo>
                    <a:lnTo>
                      <a:pt x="48" y="90"/>
                    </a:lnTo>
                    <a:lnTo>
                      <a:pt x="48" y="92"/>
                    </a:lnTo>
                    <a:lnTo>
                      <a:pt x="48" y="94"/>
                    </a:lnTo>
                    <a:lnTo>
                      <a:pt x="48" y="95"/>
                    </a:lnTo>
                    <a:lnTo>
                      <a:pt x="50" y="95"/>
                    </a:lnTo>
                    <a:lnTo>
                      <a:pt x="50" y="97"/>
                    </a:lnTo>
                    <a:lnTo>
                      <a:pt x="50" y="98"/>
                    </a:lnTo>
                    <a:lnTo>
                      <a:pt x="50" y="100"/>
                    </a:lnTo>
                    <a:lnTo>
                      <a:pt x="51" y="100"/>
                    </a:lnTo>
                    <a:lnTo>
                      <a:pt x="50" y="100"/>
                    </a:lnTo>
                    <a:lnTo>
                      <a:pt x="51" y="100"/>
                    </a:lnTo>
                    <a:lnTo>
                      <a:pt x="51" y="101"/>
                    </a:lnTo>
                    <a:lnTo>
                      <a:pt x="51" y="103"/>
                    </a:lnTo>
                    <a:lnTo>
                      <a:pt x="50" y="103"/>
                    </a:lnTo>
                    <a:lnTo>
                      <a:pt x="51" y="103"/>
                    </a:lnTo>
                    <a:lnTo>
                      <a:pt x="51" y="105"/>
                    </a:lnTo>
                    <a:lnTo>
                      <a:pt x="53" y="105"/>
                    </a:lnTo>
                    <a:lnTo>
                      <a:pt x="53" y="106"/>
                    </a:lnTo>
                    <a:lnTo>
                      <a:pt x="54" y="106"/>
                    </a:lnTo>
                    <a:lnTo>
                      <a:pt x="54" y="108"/>
                    </a:lnTo>
                    <a:lnTo>
                      <a:pt x="54" y="109"/>
                    </a:lnTo>
                    <a:lnTo>
                      <a:pt x="54" y="108"/>
                    </a:lnTo>
                    <a:lnTo>
                      <a:pt x="54" y="109"/>
                    </a:lnTo>
                    <a:lnTo>
                      <a:pt x="54" y="111"/>
                    </a:lnTo>
                    <a:lnTo>
                      <a:pt x="56" y="111"/>
                    </a:lnTo>
                    <a:lnTo>
                      <a:pt x="56" y="113"/>
                    </a:lnTo>
                    <a:lnTo>
                      <a:pt x="56" y="111"/>
                    </a:lnTo>
                    <a:lnTo>
                      <a:pt x="57" y="111"/>
                    </a:lnTo>
                    <a:lnTo>
                      <a:pt x="57" y="113"/>
                    </a:lnTo>
                    <a:lnTo>
                      <a:pt x="59" y="113"/>
                    </a:lnTo>
                    <a:lnTo>
                      <a:pt x="59" y="114"/>
                    </a:lnTo>
                    <a:lnTo>
                      <a:pt x="59" y="113"/>
                    </a:lnTo>
                    <a:lnTo>
                      <a:pt x="59" y="114"/>
                    </a:lnTo>
                    <a:lnTo>
                      <a:pt x="61" y="114"/>
                    </a:lnTo>
                    <a:lnTo>
                      <a:pt x="62" y="114"/>
                    </a:lnTo>
                    <a:lnTo>
                      <a:pt x="62" y="113"/>
                    </a:lnTo>
                    <a:lnTo>
                      <a:pt x="64" y="113"/>
                    </a:lnTo>
                    <a:lnTo>
                      <a:pt x="64" y="111"/>
                    </a:lnTo>
                    <a:lnTo>
                      <a:pt x="64" y="109"/>
                    </a:lnTo>
                    <a:lnTo>
                      <a:pt x="65" y="109"/>
                    </a:lnTo>
                    <a:lnTo>
                      <a:pt x="65" y="111"/>
                    </a:lnTo>
                    <a:lnTo>
                      <a:pt x="65" y="109"/>
                    </a:lnTo>
                    <a:lnTo>
                      <a:pt x="65" y="111"/>
                    </a:lnTo>
                    <a:lnTo>
                      <a:pt x="65" y="113"/>
                    </a:lnTo>
                    <a:lnTo>
                      <a:pt x="67" y="113"/>
                    </a:lnTo>
                    <a:lnTo>
                      <a:pt x="67" y="114"/>
                    </a:lnTo>
                    <a:lnTo>
                      <a:pt x="65" y="114"/>
                    </a:lnTo>
                    <a:lnTo>
                      <a:pt x="65" y="116"/>
                    </a:lnTo>
                    <a:lnTo>
                      <a:pt x="67" y="116"/>
                    </a:lnTo>
                    <a:lnTo>
                      <a:pt x="67" y="117"/>
                    </a:lnTo>
                    <a:lnTo>
                      <a:pt x="67" y="119"/>
                    </a:lnTo>
                    <a:lnTo>
                      <a:pt x="67" y="120"/>
                    </a:lnTo>
                    <a:lnTo>
                      <a:pt x="67" y="122"/>
                    </a:lnTo>
                    <a:lnTo>
                      <a:pt x="69" y="122"/>
                    </a:lnTo>
                    <a:lnTo>
                      <a:pt x="69" y="124"/>
                    </a:lnTo>
                    <a:lnTo>
                      <a:pt x="69" y="125"/>
                    </a:lnTo>
                    <a:lnTo>
                      <a:pt x="70" y="125"/>
                    </a:lnTo>
                    <a:lnTo>
                      <a:pt x="70" y="127"/>
                    </a:lnTo>
                    <a:lnTo>
                      <a:pt x="70" y="128"/>
                    </a:lnTo>
                    <a:lnTo>
                      <a:pt x="70" y="130"/>
                    </a:lnTo>
                    <a:lnTo>
                      <a:pt x="72" y="130"/>
                    </a:lnTo>
                    <a:lnTo>
                      <a:pt x="72" y="132"/>
                    </a:lnTo>
                    <a:lnTo>
                      <a:pt x="72" y="133"/>
                    </a:lnTo>
                    <a:lnTo>
                      <a:pt x="72" y="135"/>
                    </a:lnTo>
                    <a:lnTo>
                      <a:pt x="72" y="136"/>
                    </a:lnTo>
                    <a:lnTo>
                      <a:pt x="72" y="138"/>
                    </a:lnTo>
                    <a:lnTo>
                      <a:pt x="73" y="138"/>
                    </a:lnTo>
                    <a:lnTo>
                      <a:pt x="73" y="140"/>
                    </a:lnTo>
                    <a:lnTo>
                      <a:pt x="75" y="140"/>
                    </a:lnTo>
                    <a:lnTo>
                      <a:pt x="76" y="140"/>
                    </a:lnTo>
                    <a:lnTo>
                      <a:pt x="76" y="141"/>
                    </a:lnTo>
                    <a:lnTo>
                      <a:pt x="78" y="141"/>
                    </a:lnTo>
                    <a:lnTo>
                      <a:pt x="78" y="143"/>
                    </a:lnTo>
                    <a:lnTo>
                      <a:pt x="80" y="143"/>
                    </a:lnTo>
                    <a:lnTo>
                      <a:pt x="80" y="141"/>
                    </a:lnTo>
                    <a:lnTo>
                      <a:pt x="80" y="143"/>
                    </a:lnTo>
                    <a:lnTo>
                      <a:pt x="81" y="143"/>
                    </a:lnTo>
                    <a:lnTo>
                      <a:pt x="83" y="143"/>
                    </a:lnTo>
                    <a:lnTo>
                      <a:pt x="84" y="143"/>
                    </a:lnTo>
                    <a:lnTo>
                      <a:pt x="84" y="144"/>
                    </a:lnTo>
                    <a:lnTo>
                      <a:pt x="84" y="146"/>
                    </a:lnTo>
                    <a:lnTo>
                      <a:pt x="84" y="147"/>
                    </a:lnTo>
                    <a:lnTo>
                      <a:pt x="86" y="147"/>
                    </a:lnTo>
                    <a:lnTo>
                      <a:pt x="86" y="149"/>
                    </a:lnTo>
                    <a:lnTo>
                      <a:pt x="84" y="149"/>
                    </a:lnTo>
                    <a:lnTo>
                      <a:pt x="83" y="149"/>
                    </a:lnTo>
                    <a:lnTo>
                      <a:pt x="83" y="147"/>
                    </a:lnTo>
                    <a:lnTo>
                      <a:pt x="83" y="149"/>
                    </a:lnTo>
                    <a:lnTo>
                      <a:pt x="81" y="149"/>
                    </a:lnTo>
                    <a:lnTo>
                      <a:pt x="80" y="149"/>
                    </a:lnTo>
                    <a:lnTo>
                      <a:pt x="78" y="149"/>
                    </a:lnTo>
                    <a:lnTo>
                      <a:pt x="76" y="149"/>
                    </a:lnTo>
                    <a:lnTo>
                      <a:pt x="76" y="151"/>
                    </a:lnTo>
                    <a:lnTo>
                      <a:pt x="75" y="151"/>
                    </a:lnTo>
                    <a:lnTo>
                      <a:pt x="75" y="149"/>
                    </a:lnTo>
                    <a:lnTo>
                      <a:pt x="73" y="149"/>
                    </a:lnTo>
                    <a:lnTo>
                      <a:pt x="73" y="147"/>
                    </a:lnTo>
                    <a:lnTo>
                      <a:pt x="73" y="149"/>
                    </a:lnTo>
                    <a:lnTo>
                      <a:pt x="72" y="149"/>
                    </a:lnTo>
                    <a:lnTo>
                      <a:pt x="72" y="151"/>
                    </a:lnTo>
                    <a:lnTo>
                      <a:pt x="72" y="152"/>
                    </a:lnTo>
                    <a:lnTo>
                      <a:pt x="72" y="154"/>
                    </a:lnTo>
                    <a:lnTo>
                      <a:pt x="70" y="154"/>
                    </a:lnTo>
                    <a:lnTo>
                      <a:pt x="69" y="154"/>
                    </a:lnTo>
                    <a:lnTo>
                      <a:pt x="67" y="154"/>
                    </a:lnTo>
                    <a:lnTo>
                      <a:pt x="67" y="155"/>
                    </a:lnTo>
                    <a:lnTo>
                      <a:pt x="65" y="155"/>
                    </a:lnTo>
                    <a:lnTo>
                      <a:pt x="64" y="155"/>
                    </a:lnTo>
                    <a:lnTo>
                      <a:pt x="62" y="155"/>
                    </a:lnTo>
                    <a:lnTo>
                      <a:pt x="62" y="157"/>
                    </a:lnTo>
                    <a:lnTo>
                      <a:pt x="61" y="157"/>
                    </a:lnTo>
                    <a:lnTo>
                      <a:pt x="61" y="159"/>
                    </a:lnTo>
                    <a:lnTo>
                      <a:pt x="61" y="160"/>
                    </a:lnTo>
                    <a:lnTo>
                      <a:pt x="61" y="162"/>
                    </a:lnTo>
                    <a:lnTo>
                      <a:pt x="61" y="163"/>
                    </a:lnTo>
                    <a:lnTo>
                      <a:pt x="61" y="165"/>
                    </a:lnTo>
                    <a:lnTo>
                      <a:pt x="62" y="165"/>
                    </a:lnTo>
                    <a:lnTo>
                      <a:pt x="62" y="166"/>
                    </a:lnTo>
                    <a:lnTo>
                      <a:pt x="62" y="168"/>
                    </a:lnTo>
                    <a:lnTo>
                      <a:pt x="62" y="170"/>
                    </a:lnTo>
                    <a:lnTo>
                      <a:pt x="62" y="171"/>
                    </a:lnTo>
                    <a:lnTo>
                      <a:pt x="64" y="171"/>
                    </a:lnTo>
                    <a:lnTo>
                      <a:pt x="64" y="173"/>
                    </a:lnTo>
                    <a:lnTo>
                      <a:pt x="65" y="173"/>
                    </a:lnTo>
                    <a:lnTo>
                      <a:pt x="67" y="173"/>
                    </a:lnTo>
                    <a:lnTo>
                      <a:pt x="67" y="174"/>
                    </a:lnTo>
                    <a:lnTo>
                      <a:pt x="67" y="176"/>
                    </a:lnTo>
                    <a:lnTo>
                      <a:pt x="67" y="178"/>
                    </a:lnTo>
                    <a:lnTo>
                      <a:pt x="67" y="179"/>
                    </a:lnTo>
                    <a:lnTo>
                      <a:pt x="67" y="181"/>
                    </a:lnTo>
                    <a:lnTo>
                      <a:pt x="67" y="182"/>
                    </a:lnTo>
                    <a:lnTo>
                      <a:pt x="69" y="182"/>
                    </a:lnTo>
                    <a:lnTo>
                      <a:pt x="67" y="182"/>
                    </a:lnTo>
                    <a:lnTo>
                      <a:pt x="69" y="182"/>
                    </a:lnTo>
                    <a:lnTo>
                      <a:pt x="69" y="184"/>
                    </a:lnTo>
                    <a:lnTo>
                      <a:pt x="67" y="184"/>
                    </a:lnTo>
                    <a:lnTo>
                      <a:pt x="67" y="185"/>
                    </a:lnTo>
                    <a:lnTo>
                      <a:pt x="67" y="187"/>
                    </a:lnTo>
                    <a:lnTo>
                      <a:pt x="67" y="189"/>
                    </a:lnTo>
                    <a:lnTo>
                      <a:pt x="65" y="189"/>
                    </a:lnTo>
                    <a:lnTo>
                      <a:pt x="65" y="190"/>
                    </a:lnTo>
                    <a:lnTo>
                      <a:pt x="64" y="190"/>
                    </a:lnTo>
                    <a:lnTo>
                      <a:pt x="64" y="189"/>
                    </a:lnTo>
                    <a:lnTo>
                      <a:pt x="64" y="190"/>
                    </a:lnTo>
                    <a:lnTo>
                      <a:pt x="65" y="190"/>
                    </a:lnTo>
                    <a:lnTo>
                      <a:pt x="67" y="190"/>
                    </a:lnTo>
                    <a:lnTo>
                      <a:pt x="69" y="190"/>
                    </a:lnTo>
                    <a:lnTo>
                      <a:pt x="70" y="190"/>
                    </a:lnTo>
                    <a:lnTo>
                      <a:pt x="70" y="192"/>
                    </a:lnTo>
                    <a:lnTo>
                      <a:pt x="70" y="193"/>
                    </a:lnTo>
                    <a:lnTo>
                      <a:pt x="70" y="195"/>
                    </a:lnTo>
                    <a:lnTo>
                      <a:pt x="69" y="195"/>
                    </a:lnTo>
                    <a:lnTo>
                      <a:pt x="67" y="195"/>
                    </a:lnTo>
                    <a:lnTo>
                      <a:pt x="65" y="195"/>
                    </a:lnTo>
                    <a:lnTo>
                      <a:pt x="65" y="197"/>
                    </a:lnTo>
                    <a:lnTo>
                      <a:pt x="65" y="198"/>
                    </a:lnTo>
                    <a:lnTo>
                      <a:pt x="64" y="198"/>
                    </a:lnTo>
                    <a:lnTo>
                      <a:pt x="64" y="197"/>
                    </a:lnTo>
                    <a:lnTo>
                      <a:pt x="64" y="198"/>
                    </a:lnTo>
                    <a:lnTo>
                      <a:pt x="62" y="198"/>
                    </a:lnTo>
                    <a:lnTo>
                      <a:pt x="62" y="200"/>
                    </a:lnTo>
                    <a:lnTo>
                      <a:pt x="61" y="200"/>
                    </a:lnTo>
                    <a:lnTo>
                      <a:pt x="61" y="201"/>
                    </a:lnTo>
                    <a:lnTo>
                      <a:pt x="61" y="203"/>
                    </a:lnTo>
                    <a:lnTo>
                      <a:pt x="62" y="203"/>
                    </a:lnTo>
                    <a:lnTo>
                      <a:pt x="62" y="204"/>
                    </a:lnTo>
                    <a:lnTo>
                      <a:pt x="62" y="203"/>
                    </a:lnTo>
                    <a:lnTo>
                      <a:pt x="64" y="203"/>
                    </a:lnTo>
                    <a:lnTo>
                      <a:pt x="64" y="204"/>
                    </a:lnTo>
                    <a:lnTo>
                      <a:pt x="65" y="204"/>
                    </a:lnTo>
                    <a:lnTo>
                      <a:pt x="67" y="204"/>
                    </a:lnTo>
                    <a:lnTo>
                      <a:pt x="69" y="204"/>
                    </a:lnTo>
                    <a:lnTo>
                      <a:pt x="67" y="204"/>
                    </a:lnTo>
                    <a:lnTo>
                      <a:pt x="67" y="206"/>
                    </a:lnTo>
                    <a:lnTo>
                      <a:pt x="67" y="208"/>
                    </a:lnTo>
                    <a:lnTo>
                      <a:pt x="67" y="206"/>
                    </a:lnTo>
                    <a:lnTo>
                      <a:pt x="69" y="206"/>
                    </a:lnTo>
                    <a:lnTo>
                      <a:pt x="69" y="204"/>
                    </a:lnTo>
                    <a:lnTo>
                      <a:pt x="69" y="206"/>
                    </a:lnTo>
                    <a:lnTo>
                      <a:pt x="70" y="206"/>
                    </a:lnTo>
                    <a:lnTo>
                      <a:pt x="70" y="208"/>
                    </a:lnTo>
                    <a:lnTo>
                      <a:pt x="72" y="208"/>
                    </a:lnTo>
                    <a:lnTo>
                      <a:pt x="72" y="209"/>
                    </a:lnTo>
                    <a:lnTo>
                      <a:pt x="73" y="209"/>
                    </a:lnTo>
                    <a:lnTo>
                      <a:pt x="75" y="209"/>
                    </a:lnTo>
                    <a:lnTo>
                      <a:pt x="75" y="208"/>
                    </a:lnTo>
                    <a:lnTo>
                      <a:pt x="75" y="206"/>
                    </a:lnTo>
                    <a:lnTo>
                      <a:pt x="75" y="204"/>
                    </a:lnTo>
                    <a:lnTo>
                      <a:pt x="76" y="204"/>
                    </a:lnTo>
                    <a:lnTo>
                      <a:pt x="78" y="204"/>
                    </a:lnTo>
                    <a:lnTo>
                      <a:pt x="76" y="204"/>
                    </a:lnTo>
                    <a:lnTo>
                      <a:pt x="78" y="204"/>
                    </a:lnTo>
                    <a:lnTo>
                      <a:pt x="78" y="206"/>
                    </a:lnTo>
                    <a:lnTo>
                      <a:pt x="78" y="204"/>
                    </a:lnTo>
                    <a:lnTo>
                      <a:pt x="78" y="206"/>
                    </a:lnTo>
                    <a:lnTo>
                      <a:pt x="80" y="206"/>
                    </a:lnTo>
                    <a:lnTo>
                      <a:pt x="81" y="206"/>
                    </a:lnTo>
                    <a:lnTo>
                      <a:pt x="81" y="204"/>
                    </a:lnTo>
                    <a:lnTo>
                      <a:pt x="81" y="203"/>
                    </a:lnTo>
                    <a:lnTo>
                      <a:pt x="83" y="203"/>
                    </a:lnTo>
                    <a:lnTo>
                      <a:pt x="83" y="201"/>
                    </a:lnTo>
                    <a:lnTo>
                      <a:pt x="81" y="201"/>
                    </a:lnTo>
                    <a:lnTo>
                      <a:pt x="83" y="201"/>
                    </a:lnTo>
                    <a:lnTo>
                      <a:pt x="84" y="201"/>
                    </a:lnTo>
                    <a:lnTo>
                      <a:pt x="84" y="203"/>
                    </a:lnTo>
                    <a:lnTo>
                      <a:pt x="86" y="203"/>
                    </a:lnTo>
                    <a:lnTo>
                      <a:pt x="88" y="203"/>
                    </a:lnTo>
                    <a:lnTo>
                      <a:pt x="89" y="203"/>
                    </a:lnTo>
                    <a:lnTo>
                      <a:pt x="89" y="204"/>
                    </a:lnTo>
                    <a:lnTo>
                      <a:pt x="91" y="204"/>
                    </a:lnTo>
                    <a:lnTo>
                      <a:pt x="91" y="206"/>
                    </a:lnTo>
                    <a:lnTo>
                      <a:pt x="92" y="206"/>
                    </a:lnTo>
                    <a:lnTo>
                      <a:pt x="92" y="208"/>
                    </a:lnTo>
                    <a:lnTo>
                      <a:pt x="94" y="208"/>
                    </a:lnTo>
                    <a:lnTo>
                      <a:pt x="94" y="209"/>
                    </a:lnTo>
                    <a:lnTo>
                      <a:pt x="94" y="211"/>
                    </a:lnTo>
                    <a:lnTo>
                      <a:pt x="95" y="211"/>
                    </a:lnTo>
                    <a:lnTo>
                      <a:pt x="95" y="212"/>
                    </a:lnTo>
                    <a:lnTo>
                      <a:pt x="95" y="214"/>
                    </a:lnTo>
                    <a:lnTo>
                      <a:pt x="97" y="214"/>
                    </a:lnTo>
                    <a:lnTo>
                      <a:pt x="97" y="216"/>
                    </a:lnTo>
                    <a:lnTo>
                      <a:pt x="99" y="216"/>
                    </a:lnTo>
                    <a:lnTo>
                      <a:pt x="99" y="217"/>
                    </a:lnTo>
                    <a:lnTo>
                      <a:pt x="99" y="219"/>
                    </a:lnTo>
                    <a:lnTo>
                      <a:pt x="100" y="219"/>
                    </a:lnTo>
                    <a:lnTo>
                      <a:pt x="100" y="220"/>
                    </a:lnTo>
                    <a:lnTo>
                      <a:pt x="100" y="219"/>
                    </a:lnTo>
                    <a:lnTo>
                      <a:pt x="99" y="219"/>
                    </a:lnTo>
                    <a:lnTo>
                      <a:pt x="99" y="217"/>
                    </a:lnTo>
                    <a:lnTo>
                      <a:pt x="99" y="216"/>
                    </a:lnTo>
                    <a:lnTo>
                      <a:pt x="97" y="216"/>
                    </a:lnTo>
                    <a:lnTo>
                      <a:pt x="97" y="214"/>
                    </a:lnTo>
                    <a:lnTo>
                      <a:pt x="97" y="212"/>
                    </a:lnTo>
                    <a:lnTo>
                      <a:pt x="97" y="211"/>
                    </a:lnTo>
                    <a:lnTo>
                      <a:pt x="97" y="209"/>
                    </a:lnTo>
                    <a:lnTo>
                      <a:pt x="99" y="209"/>
                    </a:lnTo>
                    <a:lnTo>
                      <a:pt x="99" y="208"/>
                    </a:lnTo>
                    <a:lnTo>
                      <a:pt x="99" y="206"/>
                    </a:lnTo>
                    <a:lnTo>
                      <a:pt x="99" y="204"/>
                    </a:lnTo>
                    <a:lnTo>
                      <a:pt x="97" y="204"/>
                    </a:lnTo>
                    <a:lnTo>
                      <a:pt x="97" y="203"/>
                    </a:lnTo>
                    <a:lnTo>
                      <a:pt x="95" y="203"/>
                    </a:lnTo>
                    <a:lnTo>
                      <a:pt x="94" y="203"/>
                    </a:lnTo>
                    <a:lnTo>
                      <a:pt x="92" y="203"/>
                    </a:lnTo>
                    <a:lnTo>
                      <a:pt x="92" y="201"/>
                    </a:lnTo>
                    <a:lnTo>
                      <a:pt x="94" y="201"/>
                    </a:lnTo>
                    <a:lnTo>
                      <a:pt x="92" y="201"/>
                    </a:lnTo>
                    <a:lnTo>
                      <a:pt x="91" y="201"/>
                    </a:lnTo>
                    <a:lnTo>
                      <a:pt x="91" y="200"/>
                    </a:lnTo>
                    <a:lnTo>
                      <a:pt x="91" y="201"/>
                    </a:lnTo>
                    <a:lnTo>
                      <a:pt x="91" y="200"/>
                    </a:lnTo>
                    <a:lnTo>
                      <a:pt x="91" y="201"/>
                    </a:lnTo>
                    <a:lnTo>
                      <a:pt x="91" y="200"/>
                    </a:lnTo>
                    <a:lnTo>
                      <a:pt x="91" y="198"/>
                    </a:lnTo>
                    <a:lnTo>
                      <a:pt x="91" y="200"/>
                    </a:lnTo>
                    <a:lnTo>
                      <a:pt x="89" y="200"/>
                    </a:lnTo>
                    <a:lnTo>
                      <a:pt x="89" y="201"/>
                    </a:lnTo>
                    <a:lnTo>
                      <a:pt x="89" y="200"/>
                    </a:lnTo>
                    <a:lnTo>
                      <a:pt x="88" y="200"/>
                    </a:lnTo>
                    <a:lnTo>
                      <a:pt x="88" y="201"/>
                    </a:lnTo>
                    <a:lnTo>
                      <a:pt x="86" y="201"/>
                    </a:lnTo>
                    <a:lnTo>
                      <a:pt x="86" y="200"/>
                    </a:lnTo>
                    <a:lnTo>
                      <a:pt x="84" y="200"/>
                    </a:lnTo>
                    <a:lnTo>
                      <a:pt x="84" y="198"/>
                    </a:lnTo>
                    <a:lnTo>
                      <a:pt x="84" y="197"/>
                    </a:lnTo>
                    <a:lnTo>
                      <a:pt x="84" y="195"/>
                    </a:lnTo>
                    <a:lnTo>
                      <a:pt x="84" y="193"/>
                    </a:lnTo>
                    <a:lnTo>
                      <a:pt x="83" y="193"/>
                    </a:lnTo>
                    <a:lnTo>
                      <a:pt x="84" y="193"/>
                    </a:lnTo>
                    <a:lnTo>
                      <a:pt x="83" y="193"/>
                    </a:lnTo>
                    <a:lnTo>
                      <a:pt x="83" y="192"/>
                    </a:lnTo>
                    <a:lnTo>
                      <a:pt x="83" y="190"/>
                    </a:lnTo>
                    <a:lnTo>
                      <a:pt x="84" y="190"/>
                    </a:lnTo>
                    <a:lnTo>
                      <a:pt x="86" y="190"/>
                    </a:lnTo>
                    <a:lnTo>
                      <a:pt x="84" y="190"/>
                    </a:lnTo>
                    <a:lnTo>
                      <a:pt x="84" y="189"/>
                    </a:lnTo>
                    <a:lnTo>
                      <a:pt x="86" y="189"/>
                    </a:lnTo>
                    <a:lnTo>
                      <a:pt x="84" y="189"/>
                    </a:lnTo>
                    <a:lnTo>
                      <a:pt x="84" y="187"/>
                    </a:lnTo>
                    <a:lnTo>
                      <a:pt x="84" y="185"/>
                    </a:lnTo>
                    <a:lnTo>
                      <a:pt x="83" y="185"/>
                    </a:lnTo>
                    <a:lnTo>
                      <a:pt x="83" y="184"/>
                    </a:lnTo>
                    <a:lnTo>
                      <a:pt x="83" y="182"/>
                    </a:lnTo>
                    <a:lnTo>
                      <a:pt x="83" y="181"/>
                    </a:lnTo>
                    <a:lnTo>
                      <a:pt x="84" y="181"/>
                    </a:lnTo>
                    <a:lnTo>
                      <a:pt x="84" y="182"/>
                    </a:lnTo>
                    <a:lnTo>
                      <a:pt x="86" y="182"/>
                    </a:lnTo>
                    <a:lnTo>
                      <a:pt x="88" y="182"/>
                    </a:lnTo>
                    <a:lnTo>
                      <a:pt x="89" y="182"/>
                    </a:lnTo>
                    <a:lnTo>
                      <a:pt x="89" y="184"/>
                    </a:lnTo>
                    <a:lnTo>
                      <a:pt x="91" y="184"/>
                    </a:lnTo>
                    <a:lnTo>
                      <a:pt x="91" y="182"/>
                    </a:lnTo>
                    <a:lnTo>
                      <a:pt x="92" y="182"/>
                    </a:lnTo>
                    <a:lnTo>
                      <a:pt x="92" y="184"/>
                    </a:lnTo>
                    <a:lnTo>
                      <a:pt x="94" y="184"/>
                    </a:lnTo>
                    <a:lnTo>
                      <a:pt x="94" y="185"/>
                    </a:lnTo>
                    <a:lnTo>
                      <a:pt x="95" y="185"/>
                    </a:lnTo>
                    <a:lnTo>
                      <a:pt x="95" y="187"/>
                    </a:lnTo>
                    <a:lnTo>
                      <a:pt x="97" y="187"/>
                    </a:lnTo>
                    <a:lnTo>
                      <a:pt x="97" y="185"/>
                    </a:lnTo>
                    <a:lnTo>
                      <a:pt x="97" y="187"/>
                    </a:lnTo>
                    <a:lnTo>
                      <a:pt x="99" y="187"/>
                    </a:lnTo>
                    <a:lnTo>
                      <a:pt x="97" y="187"/>
                    </a:lnTo>
                    <a:lnTo>
                      <a:pt x="99" y="187"/>
                    </a:lnTo>
                    <a:lnTo>
                      <a:pt x="99" y="189"/>
                    </a:lnTo>
                    <a:lnTo>
                      <a:pt x="99" y="187"/>
                    </a:lnTo>
                    <a:lnTo>
                      <a:pt x="99" y="189"/>
                    </a:lnTo>
                    <a:lnTo>
                      <a:pt x="100" y="189"/>
                    </a:lnTo>
                    <a:lnTo>
                      <a:pt x="100" y="190"/>
                    </a:lnTo>
                    <a:lnTo>
                      <a:pt x="102" y="190"/>
                    </a:lnTo>
                    <a:lnTo>
                      <a:pt x="103" y="190"/>
                    </a:lnTo>
                    <a:lnTo>
                      <a:pt x="103" y="192"/>
                    </a:lnTo>
                    <a:lnTo>
                      <a:pt x="105" y="192"/>
                    </a:lnTo>
                    <a:lnTo>
                      <a:pt x="105" y="190"/>
                    </a:lnTo>
                    <a:lnTo>
                      <a:pt x="107" y="190"/>
                    </a:lnTo>
                    <a:lnTo>
                      <a:pt x="107" y="192"/>
                    </a:lnTo>
                    <a:lnTo>
                      <a:pt x="108" y="192"/>
                    </a:lnTo>
                    <a:lnTo>
                      <a:pt x="108" y="193"/>
                    </a:lnTo>
                    <a:lnTo>
                      <a:pt x="107" y="193"/>
                    </a:lnTo>
                    <a:lnTo>
                      <a:pt x="107" y="192"/>
                    </a:lnTo>
                    <a:lnTo>
                      <a:pt x="105" y="192"/>
                    </a:lnTo>
                    <a:lnTo>
                      <a:pt x="105" y="193"/>
                    </a:lnTo>
                    <a:lnTo>
                      <a:pt x="105" y="195"/>
                    </a:lnTo>
                    <a:lnTo>
                      <a:pt x="105" y="197"/>
                    </a:lnTo>
                    <a:lnTo>
                      <a:pt x="105" y="198"/>
                    </a:lnTo>
                    <a:lnTo>
                      <a:pt x="105" y="200"/>
                    </a:lnTo>
                    <a:lnTo>
                      <a:pt x="103" y="200"/>
                    </a:lnTo>
                    <a:lnTo>
                      <a:pt x="103" y="201"/>
                    </a:lnTo>
                    <a:lnTo>
                      <a:pt x="103" y="203"/>
                    </a:lnTo>
                    <a:lnTo>
                      <a:pt x="103" y="204"/>
                    </a:lnTo>
                    <a:lnTo>
                      <a:pt x="105" y="204"/>
                    </a:lnTo>
                    <a:lnTo>
                      <a:pt x="105" y="203"/>
                    </a:lnTo>
                    <a:lnTo>
                      <a:pt x="105" y="204"/>
                    </a:lnTo>
                    <a:lnTo>
                      <a:pt x="105" y="206"/>
                    </a:lnTo>
                    <a:lnTo>
                      <a:pt x="105" y="208"/>
                    </a:lnTo>
                    <a:lnTo>
                      <a:pt x="103" y="208"/>
                    </a:lnTo>
                    <a:lnTo>
                      <a:pt x="105" y="208"/>
                    </a:lnTo>
                    <a:lnTo>
                      <a:pt x="103" y="208"/>
                    </a:lnTo>
                    <a:lnTo>
                      <a:pt x="103" y="209"/>
                    </a:lnTo>
                    <a:lnTo>
                      <a:pt x="103" y="211"/>
                    </a:lnTo>
                    <a:lnTo>
                      <a:pt x="103" y="209"/>
                    </a:lnTo>
                    <a:lnTo>
                      <a:pt x="103" y="211"/>
                    </a:lnTo>
                    <a:lnTo>
                      <a:pt x="102" y="211"/>
                    </a:lnTo>
                    <a:lnTo>
                      <a:pt x="100" y="211"/>
                    </a:lnTo>
                    <a:lnTo>
                      <a:pt x="100" y="212"/>
                    </a:lnTo>
                    <a:lnTo>
                      <a:pt x="102" y="212"/>
                    </a:lnTo>
                    <a:lnTo>
                      <a:pt x="102" y="214"/>
                    </a:lnTo>
                    <a:lnTo>
                      <a:pt x="102" y="216"/>
                    </a:lnTo>
                    <a:lnTo>
                      <a:pt x="102" y="217"/>
                    </a:lnTo>
                    <a:lnTo>
                      <a:pt x="103" y="217"/>
                    </a:lnTo>
                    <a:lnTo>
                      <a:pt x="103" y="219"/>
                    </a:lnTo>
                    <a:lnTo>
                      <a:pt x="105" y="219"/>
                    </a:lnTo>
                    <a:lnTo>
                      <a:pt x="105" y="220"/>
                    </a:lnTo>
                    <a:lnTo>
                      <a:pt x="105" y="222"/>
                    </a:lnTo>
                    <a:lnTo>
                      <a:pt x="107" y="222"/>
                    </a:lnTo>
                    <a:lnTo>
                      <a:pt x="107" y="223"/>
                    </a:lnTo>
                    <a:lnTo>
                      <a:pt x="105" y="223"/>
                    </a:lnTo>
                    <a:lnTo>
                      <a:pt x="107" y="223"/>
                    </a:lnTo>
                    <a:lnTo>
                      <a:pt x="107" y="225"/>
                    </a:lnTo>
                    <a:lnTo>
                      <a:pt x="108" y="225"/>
                    </a:lnTo>
                    <a:lnTo>
                      <a:pt x="110" y="225"/>
                    </a:lnTo>
                    <a:lnTo>
                      <a:pt x="110" y="227"/>
                    </a:lnTo>
                    <a:lnTo>
                      <a:pt x="110" y="228"/>
                    </a:lnTo>
                    <a:lnTo>
                      <a:pt x="111" y="228"/>
                    </a:lnTo>
                    <a:lnTo>
                      <a:pt x="111" y="230"/>
                    </a:lnTo>
                    <a:lnTo>
                      <a:pt x="111" y="231"/>
                    </a:lnTo>
                    <a:lnTo>
                      <a:pt x="113" y="231"/>
                    </a:lnTo>
                    <a:lnTo>
                      <a:pt x="111" y="231"/>
                    </a:lnTo>
                    <a:lnTo>
                      <a:pt x="111" y="233"/>
                    </a:lnTo>
                    <a:lnTo>
                      <a:pt x="113" y="233"/>
                    </a:lnTo>
                    <a:lnTo>
                      <a:pt x="113" y="235"/>
                    </a:lnTo>
                    <a:lnTo>
                      <a:pt x="111" y="235"/>
                    </a:lnTo>
                    <a:lnTo>
                      <a:pt x="113" y="235"/>
                    </a:lnTo>
                    <a:lnTo>
                      <a:pt x="113" y="236"/>
                    </a:lnTo>
                    <a:lnTo>
                      <a:pt x="113" y="235"/>
                    </a:lnTo>
                    <a:lnTo>
                      <a:pt x="113" y="236"/>
                    </a:lnTo>
                    <a:lnTo>
                      <a:pt x="113" y="238"/>
                    </a:lnTo>
                    <a:lnTo>
                      <a:pt x="111" y="238"/>
                    </a:lnTo>
                    <a:lnTo>
                      <a:pt x="113" y="238"/>
                    </a:lnTo>
                    <a:lnTo>
                      <a:pt x="113" y="239"/>
                    </a:lnTo>
                    <a:lnTo>
                      <a:pt x="113" y="241"/>
                    </a:lnTo>
                    <a:lnTo>
                      <a:pt x="113" y="242"/>
                    </a:lnTo>
                    <a:lnTo>
                      <a:pt x="113" y="244"/>
                    </a:lnTo>
                    <a:lnTo>
                      <a:pt x="113" y="246"/>
                    </a:lnTo>
                    <a:lnTo>
                      <a:pt x="113" y="247"/>
                    </a:lnTo>
                    <a:lnTo>
                      <a:pt x="113" y="249"/>
                    </a:lnTo>
                    <a:lnTo>
                      <a:pt x="113" y="250"/>
                    </a:lnTo>
                    <a:lnTo>
                      <a:pt x="113" y="252"/>
                    </a:lnTo>
                    <a:lnTo>
                      <a:pt x="111" y="252"/>
                    </a:lnTo>
                    <a:lnTo>
                      <a:pt x="111" y="250"/>
                    </a:lnTo>
                    <a:lnTo>
                      <a:pt x="110" y="250"/>
                    </a:lnTo>
                    <a:lnTo>
                      <a:pt x="110" y="252"/>
                    </a:lnTo>
                    <a:lnTo>
                      <a:pt x="110" y="254"/>
                    </a:lnTo>
                    <a:lnTo>
                      <a:pt x="108" y="254"/>
                    </a:lnTo>
                    <a:lnTo>
                      <a:pt x="108" y="255"/>
                    </a:lnTo>
                    <a:lnTo>
                      <a:pt x="110" y="255"/>
                    </a:lnTo>
                    <a:lnTo>
                      <a:pt x="111" y="255"/>
                    </a:lnTo>
                    <a:lnTo>
                      <a:pt x="111" y="257"/>
                    </a:lnTo>
                    <a:lnTo>
                      <a:pt x="111" y="258"/>
                    </a:lnTo>
                    <a:lnTo>
                      <a:pt x="113" y="258"/>
                    </a:lnTo>
                    <a:lnTo>
                      <a:pt x="114" y="258"/>
                    </a:lnTo>
                    <a:lnTo>
                      <a:pt x="114" y="260"/>
                    </a:lnTo>
                    <a:lnTo>
                      <a:pt x="114" y="261"/>
                    </a:lnTo>
                    <a:lnTo>
                      <a:pt x="114" y="263"/>
                    </a:lnTo>
                    <a:lnTo>
                      <a:pt x="114" y="265"/>
                    </a:lnTo>
                    <a:lnTo>
                      <a:pt x="114" y="266"/>
                    </a:lnTo>
                    <a:lnTo>
                      <a:pt x="114" y="268"/>
                    </a:lnTo>
                    <a:lnTo>
                      <a:pt x="116" y="268"/>
                    </a:lnTo>
                    <a:lnTo>
                      <a:pt x="116" y="269"/>
                    </a:lnTo>
                    <a:lnTo>
                      <a:pt x="114" y="269"/>
                    </a:lnTo>
                    <a:lnTo>
                      <a:pt x="114" y="271"/>
                    </a:lnTo>
                    <a:lnTo>
                      <a:pt x="116" y="271"/>
                    </a:lnTo>
                    <a:lnTo>
                      <a:pt x="114" y="271"/>
                    </a:lnTo>
                    <a:lnTo>
                      <a:pt x="114" y="273"/>
                    </a:lnTo>
                    <a:lnTo>
                      <a:pt x="114" y="274"/>
                    </a:lnTo>
                    <a:lnTo>
                      <a:pt x="116" y="274"/>
                    </a:lnTo>
                    <a:lnTo>
                      <a:pt x="116" y="276"/>
                    </a:lnTo>
                    <a:lnTo>
                      <a:pt x="116" y="277"/>
                    </a:lnTo>
                    <a:lnTo>
                      <a:pt x="114" y="277"/>
                    </a:lnTo>
                    <a:lnTo>
                      <a:pt x="114" y="279"/>
                    </a:lnTo>
                    <a:lnTo>
                      <a:pt x="116" y="279"/>
                    </a:lnTo>
                    <a:lnTo>
                      <a:pt x="116" y="280"/>
                    </a:lnTo>
                    <a:lnTo>
                      <a:pt x="116" y="279"/>
                    </a:lnTo>
                    <a:lnTo>
                      <a:pt x="118" y="279"/>
                    </a:lnTo>
                    <a:lnTo>
                      <a:pt x="118" y="280"/>
                    </a:lnTo>
                    <a:lnTo>
                      <a:pt x="116" y="280"/>
                    </a:lnTo>
                    <a:lnTo>
                      <a:pt x="118" y="280"/>
                    </a:lnTo>
                    <a:lnTo>
                      <a:pt x="116" y="280"/>
                    </a:lnTo>
                    <a:lnTo>
                      <a:pt x="116" y="282"/>
                    </a:lnTo>
                    <a:lnTo>
                      <a:pt x="118" y="282"/>
                    </a:lnTo>
                    <a:lnTo>
                      <a:pt x="116" y="282"/>
                    </a:lnTo>
                    <a:lnTo>
                      <a:pt x="116" y="284"/>
                    </a:lnTo>
                    <a:lnTo>
                      <a:pt x="118" y="284"/>
                    </a:lnTo>
                    <a:lnTo>
                      <a:pt x="118" y="285"/>
                    </a:lnTo>
                    <a:lnTo>
                      <a:pt x="116" y="285"/>
                    </a:lnTo>
                    <a:lnTo>
                      <a:pt x="118" y="285"/>
                    </a:lnTo>
                    <a:lnTo>
                      <a:pt x="118" y="287"/>
                    </a:lnTo>
                    <a:lnTo>
                      <a:pt x="118" y="288"/>
                    </a:lnTo>
                    <a:lnTo>
                      <a:pt x="116" y="288"/>
                    </a:lnTo>
                    <a:lnTo>
                      <a:pt x="116" y="290"/>
                    </a:lnTo>
                    <a:lnTo>
                      <a:pt x="116" y="292"/>
                    </a:lnTo>
                    <a:lnTo>
                      <a:pt x="118" y="292"/>
                    </a:lnTo>
                    <a:lnTo>
                      <a:pt x="116" y="292"/>
                    </a:lnTo>
                    <a:lnTo>
                      <a:pt x="116" y="293"/>
                    </a:lnTo>
                    <a:lnTo>
                      <a:pt x="114" y="293"/>
                    </a:lnTo>
                    <a:lnTo>
                      <a:pt x="114" y="295"/>
                    </a:lnTo>
                    <a:lnTo>
                      <a:pt x="113" y="295"/>
                    </a:lnTo>
                    <a:lnTo>
                      <a:pt x="111" y="295"/>
                    </a:lnTo>
                    <a:lnTo>
                      <a:pt x="110" y="295"/>
                    </a:lnTo>
                    <a:lnTo>
                      <a:pt x="108" y="295"/>
                    </a:lnTo>
                    <a:lnTo>
                      <a:pt x="108" y="296"/>
                    </a:lnTo>
                    <a:lnTo>
                      <a:pt x="108" y="298"/>
                    </a:lnTo>
                    <a:lnTo>
                      <a:pt x="108" y="296"/>
                    </a:lnTo>
                    <a:lnTo>
                      <a:pt x="107" y="296"/>
                    </a:lnTo>
                    <a:lnTo>
                      <a:pt x="107" y="298"/>
                    </a:lnTo>
                    <a:lnTo>
                      <a:pt x="108" y="298"/>
                    </a:lnTo>
                    <a:lnTo>
                      <a:pt x="107" y="298"/>
                    </a:lnTo>
                    <a:lnTo>
                      <a:pt x="107" y="299"/>
                    </a:lnTo>
                    <a:lnTo>
                      <a:pt x="105" y="299"/>
                    </a:lnTo>
                    <a:lnTo>
                      <a:pt x="105" y="301"/>
                    </a:lnTo>
                    <a:lnTo>
                      <a:pt x="103" y="301"/>
                    </a:lnTo>
                    <a:lnTo>
                      <a:pt x="105" y="301"/>
                    </a:lnTo>
                    <a:lnTo>
                      <a:pt x="105" y="303"/>
                    </a:lnTo>
                    <a:lnTo>
                      <a:pt x="103" y="303"/>
                    </a:lnTo>
                    <a:lnTo>
                      <a:pt x="102" y="303"/>
                    </a:lnTo>
                    <a:lnTo>
                      <a:pt x="102" y="304"/>
                    </a:lnTo>
                    <a:lnTo>
                      <a:pt x="100" y="304"/>
                    </a:lnTo>
                    <a:lnTo>
                      <a:pt x="100" y="306"/>
                    </a:lnTo>
                    <a:lnTo>
                      <a:pt x="100" y="304"/>
                    </a:lnTo>
                    <a:lnTo>
                      <a:pt x="99" y="304"/>
                    </a:lnTo>
                    <a:lnTo>
                      <a:pt x="97" y="304"/>
                    </a:lnTo>
                    <a:lnTo>
                      <a:pt x="95" y="304"/>
                    </a:lnTo>
                    <a:lnTo>
                      <a:pt x="95" y="303"/>
                    </a:lnTo>
                    <a:lnTo>
                      <a:pt x="95" y="304"/>
                    </a:lnTo>
                    <a:lnTo>
                      <a:pt x="95" y="303"/>
                    </a:lnTo>
                    <a:lnTo>
                      <a:pt x="94" y="303"/>
                    </a:lnTo>
                    <a:lnTo>
                      <a:pt x="92" y="303"/>
                    </a:lnTo>
                    <a:lnTo>
                      <a:pt x="91" y="303"/>
                    </a:lnTo>
                    <a:lnTo>
                      <a:pt x="89" y="303"/>
                    </a:lnTo>
                    <a:lnTo>
                      <a:pt x="88" y="303"/>
                    </a:lnTo>
                    <a:lnTo>
                      <a:pt x="88" y="304"/>
                    </a:lnTo>
                    <a:lnTo>
                      <a:pt x="88" y="306"/>
                    </a:lnTo>
                    <a:lnTo>
                      <a:pt x="86" y="306"/>
                    </a:lnTo>
                    <a:lnTo>
                      <a:pt x="88" y="306"/>
                    </a:lnTo>
                    <a:lnTo>
                      <a:pt x="88" y="307"/>
                    </a:lnTo>
                    <a:lnTo>
                      <a:pt x="88" y="309"/>
                    </a:lnTo>
                    <a:lnTo>
                      <a:pt x="86" y="309"/>
                    </a:lnTo>
                    <a:lnTo>
                      <a:pt x="88" y="309"/>
                    </a:lnTo>
                    <a:lnTo>
                      <a:pt x="88" y="311"/>
                    </a:lnTo>
                    <a:lnTo>
                      <a:pt x="89" y="311"/>
                    </a:lnTo>
                    <a:lnTo>
                      <a:pt x="89" y="312"/>
                    </a:lnTo>
                    <a:lnTo>
                      <a:pt x="91" y="312"/>
                    </a:lnTo>
                    <a:lnTo>
                      <a:pt x="91" y="311"/>
                    </a:lnTo>
                    <a:lnTo>
                      <a:pt x="92" y="311"/>
                    </a:lnTo>
                    <a:lnTo>
                      <a:pt x="94" y="311"/>
                    </a:lnTo>
                    <a:lnTo>
                      <a:pt x="94" y="312"/>
                    </a:lnTo>
                    <a:lnTo>
                      <a:pt x="94" y="314"/>
                    </a:lnTo>
                    <a:lnTo>
                      <a:pt x="95" y="314"/>
                    </a:lnTo>
                    <a:lnTo>
                      <a:pt x="95" y="312"/>
                    </a:lnTo>
                    <a:lnTo>
                      <a:pt x="97" y="312"/>
                    </a:lnTo>
                    <a:lnTo>
                      <a:pt x="97" y="311"/>
                    </a:lnTo>
                    <a:lnTo>
                      <a:pt x="99" y="311"/>
                    </a:lnTo>
                    <a:lnTo>
                      <a:pt x="99" y="309"/>
                    </a:lnTo>
                    <a:lnTo>
                      <a:pt x="100" y="309"/>
                    </a:lnTo>
                    <a:lnTo>
                      <a:pt x="102" y="309"/>
                    </a:lnTo>
                    <a:lnTo>
                      <a:pt x="103" y="309"/>
                    </a:lnTo>
                    <a:lnTo>
                      <a:pt x="105" y="309"/>
                    </a:lnTo>
                    <a:lnTo>
                      <a:pt x="105" y="307"/>
                    </a:lnTo>
                    <a:lnTo>
                      <a:pt x="105" y="309"/>
                    </a:lnTo>
                    <a:lnTo>
                      <a:pt x="107" y="309"/>
                    </a:lnTo>
                    <a:lnTo>
                      <a:pt x="108" y="309"/>
                    </a:lnTo>
                    <a:lnTo>
                      <a:pt x="108" y="307"/>
                    </a:lnTo>
                    <a:lnTo>
                      <a:pt x="108" y="309"/>
                    </a:lnTo>
                    <a:lnTo>
                      <a:pt x="110" y="309"/>
                    </a:lnTo>
                    <a:lnTo>
                      <a:pt x="110" y="311"/>
                    </a:lnTo>
                    <a:lnTo>
                      <a:pt x="111" y="311"/>
                    </a:lnTo>
                    <a:lnTo>
                      <a:pt x="111" y="312"/>
                    </a:lnTo>
                    <a:lnTo>
                      <a:pt x="111" y="314"/>
                    </a:lnTo>
                    <a:lnTo>
                      <a:pt x="113" y="314"/>
                    </a:lnTo>
                    <a:lnTo>
                      <a:pt x="113" y="315"/>
                    </a:lnTo>
                    <a:lnTo>
                      <a:pt x="114" y="315"/>
                    </a:lnTo>
                    <a:lnTo>
                      <a:pt x="114" y="317"/>
                    </a:lnTo>
                    <a:lnTo>
                      <a:pt x="116" y="317"/>
                    </a:lnTo>
                    <a:lnTo>
                      <a:pt x="116" y="318"/>
                    </a:lnTo>
                    <a:lnTo>
                      <a:pt x="118" y="318"/>
                    </a:lnTo>
                    <a:lnTo>
                      <a:pt x="118" y="320"/>
                    </a:lnTo>
                    <a:lnTo>
                      <a:pt x="116" y="320"/>
                    </a:lnTo>
                    <a:lnTo>
                      <a:pt x="116" y="322"/>
                    </a:lnTo>
                    <a:lnTo>
                      <a:pt x="116" y="323"/>
                    </a:lnTo>
                    <a:lnTo>
                      <a:pt x="116" y="325"/>
                    </a:lnTo>
                    <a:lnTo>
                      <a:pt x="118" y="325"/>
                    </a:lnTo>
                    <a:lnTo>
                      <a:pt x="118" y="326"/>
                    </a:lnTo>
                    <a:lnTo>
                      <a:pt x="116" y="326"/>
                    </a:lnTo>
                    <a:lnTo>
                      <a:pt x="114" y="326"/>
                    </a:lnTo>
                    <a:lnTo>
                      <a:pt x="113" y="326"/>
                    </a:lnTo>
                    <a:lnTo>
                      <a:pt x="113" y="328"/>
                    </a:lnTo>
                    <a:lnTo>
                      <a:pt x="111" y="328"/>
                    </a:lnTo>
                    <a:lnTo>
                      <a:pt x="111" y="330"/>
                    </a:lnTo>
                    <a:lnTo>
                      <a:pt x="113" y="330"/>
                    </a:lnTo>
                    <a:lnTo>
                      <a:pt x="113" y="328"/>
                    </a:lnTo>
                    <a:lnTo>
                      <a:pt x="114" y="328"/>
                    </a:lnTo>
                    <a:lnTo>
                      <a:pt x="114" y="326"/>
                    </a:lnTo>
                    <a:lnTo>
                      <a:pt x="116" y="326"/>
                    </a:lnTo>
                    <a:lnTo>
                      <a:pt x="116" y="328"/>
                    </a:lnTo>
                    <a:lnTo>
                      <a:pt x="118" y="328"/>
                    </a:lnTo>
                    <a:lnTo>
                      <a:pt x="118" y="330"/>
                    </a:lnTo>
                    <a:lnTo>
                      <a:pt x="119" y="330"/>
                    </a:lnTo>
                    <a:lnTo>
                      <a:pt x="119" y="331"/>
                    </a:lnTo>
                    <a:lnTo>
                      <a:pt x="121" y="331"/>
                    </a:lnTo>
                    <a:lnTo>
                      <a:pt x="121" y="333"/>
                    </a:lnTo>
                    <a:lnTo>
                      <a:pt x="122" y="333"/>
                    </a:lnTo>
                    <a:lnTo>
                      <a:pt x="122" y="331"/>
                    </a:lnTo>
                    <a:lnTo>
                      <a:pt x="124" y="331"/>
                    </a:lnTo>
                    <a:lnTo>
                      <a:pt x="124" y="330"/>
                    </a:lnTo>
                    <a:lnTo>
                      <a:pt x="126" y="330"/>
                    </a:lnTo>
                    <a:lnTo>
                      <a:pt x="126" y="331"/>
                    </a:lnTo>
                    <a:lnTo>
                      <a:pt x="126" y="333"/>
                    </a:lnTo>
                    <a:lnTo>
                      <a:pt x="127" y="333"/>
                    </a:lnTo>
                    <a:lnTo>
                      <a:pt x="127" y="334"/>
                    </a:lnTo>
                    <a:lnTo>
                      <a:pt x="127" y="336"/>
                    </a:lnTo>
                    <a:lnTo>
                      <a:pt x="127" y="338"/>
                    </a:lnTo>
                    <a:lnTo>
                      <a:pt x="127" y="339"/>
                    </a:lnTo>
                    <a:lnTo>
                      <a:pt x="129" y="339"/>
                    </a:lnTo>
                    <a:lnTo>
                      <a:pt x="130" y="339"/>
                    </a:lnTo>
                    <a:lnTo>
                      <a:pt x="130" y="341"/>
                    </a:lnTo>
                    <a:lnTo>
                      <a:pt x="132" y="341"/>
                    </a:lnTo>
                    <a:lnTo>
                      <a:pt x="130" y="341"/>
                    </a:lnTo>
                    <a:lnTo>
                      <a:pt x="130" y="342"/>
                    </a:lnTo>
                    <a:lnTo>
                      <a:pt x="130" y="344"/>
                    </a:lnTo>
                    <a:lnTo>
                      <a:pt x="130" y="345"/>
                    </a:lnTo>
                    <a:lnTo>
                      <a:pt x="130" y="347"/>
                    </a:lnTo>
                    <a:lnTo>
                      <a:pt x="132" y="347"/>
                    </a:lnTo>
                    <a:lnTo>
                      <a:pt x="130" y="347"/>
                    </a:lnTo>
                    <a:lnTo>
                      <a:pt x="130" y="349"/>
                    </a:lnTo>
                    <a:lnTo>
                      <a:pt x="132" y="349"/>
                    </a:lnTo>
                    <a:lnTo>
                      <a:pt x="132" y="347"/>
                    </a:lnTo>
                    <a:lnTo>
                      <a:pt x="132" y="349"/>
                    </a:lnTo>
                    <a:lnTo>
                      <a:pt x="132" y="350"/>
                    </a:lnTo>
                    <a:lnTo>
                      <a:pt x="133" y="350"/>
                    </a:lnTo>
                    <a:lnTo>
                      <a:pt x="135" y="350"/>
                    </a:lnTo>
                    <a:lnTo>
                      <a:pt x="135" y="352"/>
                    </a:lnTo>
                    <a:lnTo>
                      <a:pt x="135" y="353"/>
                    </a:lnTo>
                    <a:lnTo>
                      <a:pt x="137" y="353"/>
                    </a:lnTo>
                    <a:lnTo>
                      <a:pt x="137" y="355"/>
                    </a:lnTo>
                    <a:lnTo>
                      <a:pt x="137" y="357"/>
                    </a:lnTo>
                    <a:lnTo>
                      <a:pt x="137" y="358"/>
                    </a:lnTo>
                    <a:lnTo>
                      <a:pt x="137" y="360"/>
                    </a:lnTo>
                    <a:lnTo>
                      <a:pt x="137" y="361"/>
                    </a:lnTo>
                    <a:lnTo>
                      <a:pt x="138" y="361"/>
                    </a:lnTo>
                    <a:lnTo>
                      <a:pt x="140" y="361"/>
                    </a:lnTo>
                    <a:lnTo>
                      <a:pt x="140" y="363"/>
                    </a:lnTo>
                    <a:lnTo>
                      <a:pt x="141" y="363"/>
                    </a:lnTo>
                    <a:lnTo>
                      <a:pt x="141" y="364"/>
                    </a:lnTo>
                    <a:lnTo>
                      <a:pt x="141" y="366"/>
                    </a:lnTo>
                    <a:lnTo>
                      <a:pt x="141" y="368"/>
                    </a:lnTo>
                    <a:lnTo>
                      <a:pt x="141" y="369"/>
                    </a:lnTo>
                    <a:lnTo>
                      <a:pt x="141" y="371"/>
                    </a:lnTo>
                    <a:lnTo>
                      <a:pt x="141" y="372"/>
                    </a:lnTo>
                    <a:lnTo>
                      <a:pt x="140" y="372"/>
                    </a:lnTo>
                    <a:lnTo>
                      <a:pt x="141" y="372"/>
                    </a:lnTo>
                    <a:lnTo>
                      <a:pt x="140" y="372"/>
                    </a:lnTo>
                    <a:lnTo>
                      <a:pt x="140" y="371"/>
                    </a:lnTo>
                    <a:lnTo>
                      <a:pt x="140" y="372"/>
                    </a:lnTo>
                    <a:lnTo>
                      <a:pt x="138" y="372"/>
                    </a:lnTo>
                    <a:lnTo>
                      <a:pt x="138" y="374"/>
                    </a:lnTo>
                    <a:lnTo>
                      <a:pt x="137" y="374"/>
                    </a:lnTo>
                    <a:lnTo>
                      <a:pt x="138" y="374"/>
                    </a:lnTo>
                    <a:lnTo>
                      <a:pt x="138" y="376"/>
                    </a:lnTo>
                    <a:lnTo>
                      <a:pt x="137" y="376"/>
                    </a:lnTo>
                    <a:lnTo>
                      <a:pt x="137" y="377"/>
                    </a:lnTo>
                    <a:lnTo>
                      <a:pt x="138" y="377"/>
                    </a:lnTo>
                    <a:lnTo>
                      <a:pt x="137" y="377"/>
                    </a:lnTo>
                    <a:lnTo>
                      <a:pt x="137" y="379"/>
                    </a:lnTo>
                    <a:lnTo>
                      <a:pt x="138" y="379"/>
                    </a:lnTo>
                    <a:lnTo>
                      <a:pt x="138" y="380"/>
                    </a:lnTo>
                    <a:lnTo>
                      <a:pt x="140" y="380"/>
                    </a:lnTo>
                    <a:lnTo>
                      <a:pt x="141" y="380"/>
                    </a:lnTo>
                    <a:lnTo>
                      <a:pt x="141" y="382"/>
                    </a:lnTo>
                    <a:lnTo>
                      <a:pt x="143" y="382"/>
                    </a:lnTo>
                    <a:lnTo>
                      <a:pt x="143" y="380"/>
                    </a:lnTo>
                    <a:lnTo>
                      <a:pt x="145" y="380"/>
                    </a:lnTo>
                    <a:lnTo>
                      <a:pt x="146" y="380"/>
                    </a:lnTo>
                    <a:lnTo>
                      <a:pt x="146" y="382"/>
                    </a:lnTo>
                    <a:lnTo>
                      <a:pt x="145" y="382"/>
                    </a:lnTo>
                    <a:lnTo>
                      <a:pt x="145" y="383"/>
                    </a:lnTo>
                    <a:lnTo>
                      <a:pt x="146" y="383"/>
                    </a:lnTo>
                    <a:lnTo>
                      <a:pt x="148" y="383"/>
                    </a:lnTo>
                    <a:lnTo>
                      <a:pt x="146" y="383"/>
                    </a:lnTo>
                    <a:lnTo>
                      <a:pt x="146" y="385"/>
                    </a:lnTo>
                    <a:lnTo>
                      <a:pt x="148" y="385"/>
                    </a:lnTo>
                    <a:lnTo>
                      <a:pt x="148" y="383"/>
                    </a:lnTo>
                    <a:lnTo>
                      <a:pt x="148" y="385"/>
                    </a:lnTo>
                    <a:lnTo>
                      <a:pt x="146" y="385"/>
                    </a:lnTo>
                    <a:lnTo>
                      <a:pt x="148" y="385"/>
                    </a:lnTo>
                    <a:lnTo>
                      <a:pt x="148" y="387"/>
                    </a:lnTo>
                    <a:lnTo>
                      <a:pt x="148" y="388"/>
                    </a:lnTo>
                    <a:lnTo>
                      <a:pt x="146" y="388"/>
                    </a:lnTo>
                    <a:lnTo>
                      <a:pt x="146" y="390"/>
                    </a:lnTo>
                    <a:lnTo>
                      <a:pt x="146" y="391"/>
                    </a:lnTo>
                    <a:lnTo>
                      <a:pt x="145" y="391"/>
                    </a:lnTo>
                    <a:lnTo>
                      <a:pt x="145" y="390"/>
                    </a:lnTo>
                    <a:lnTo>
                      <a:pt x="145" y="391"/>
                    </a:lnTo>
                    <a:lnTo>
                      <a:pt x="145" y="393"/>
                    </a:lnTo>
                    <a:lnTo>
                      <a:pt x="145" y="395"/>
                    </a:lnTo>
                    <a:lnTo>
                      <a:pt x="145" y="393"/>
                    </a:lnTo>
                    <a:lnTo>
                      <a:pt x="143" y="393"/>
                    </a:lnTo>
                    <a:lnTo>
                      <a:pt x="143" y="395"/>
                    </a:lnTo>
                    <a:lnTo>
                      <a:pt x="143" y="396"/>
                    </a:lnTo>
                    <a:lnTo>
                      <a:pt x="141" y="396"/>
                    </a:lnTo>
                    <a:lnTo>
                      <a:pt x="143" y="396"/>
                    </a:lnTo>
                    <a:lnTo>
                      <a:pt x="143" y="398"/>
                    </a:lnTo>
                    <a:lnTo>
                      <a:pt x="145" y="398"/>
                    </a:lnTo>
                    <a:lnTo>
                      <a:pt x="145" y="399"/>
                    </a:lnTo>
                    <a:lnTo>
                      <a:pt x="146" y="399"/>
                    </a:lnTo>
                    <a:lnTo>
                      <a:pt x="146" y="398"/>
                    </a:lnTo>
                    <a:lnTo>
                      <a:pt x="146" y="399"/>
                    </a:lnTo>
                    <a:lnTo>
                      <a:pt x="146" y="398"/>
                    </a:lnTo>
                    <a:lnTo>
                      <a:pt x="146" y="399"/>
                    </a:lnTo>
                    <a:lnTo>
                      <a:pt x="148" y="399"/>
                    </a:lnTo>
                    <a:lnTo>
                      <a:pt x="148" y="401"/>
                    </a:lnTo>
                    <a:lnTo>
                      <a:pt x="148" y="402"/>
                    </a:lnTo>
                    <a:lnTo>
                      <a:pt x="146" y="402"/>
                    </a:lnTo>
                    <a:lnTo>
                      <a:pt x="145" y="402"/>
                    </a:lnTo>
                    <a:lnTo>
                      <a:pt x="145" y="404"/>
                    </a:lnTo>
                    <a:lnTo>
                      <a:pt x="145" y="402"/>
                    </a:lnTo>
                    <a:lnTo>
                      <a:pt x="145" y="404"/>
                    </a:lnTo>
                    <a:lnTo>
                      <a:pt x="143" y="404"/>
                    </a:lnTo>
                    <a:lnTo>
                      <a:pt x="145" y="404"/>
                    </a:lnTo>
                    <a:lnTo>
                      <a:pt x="146" y="404"/>
                    </a:lnTo>
                    <a:lnTo>
                      <a:pt x="145" y="404"/>
                    </a:lnTo>
                    <a:lnTo>
                      <a:pt x="145" y="406"/>
                    </a:lnTo>
                    <a:lnTo>
                      <a:pt x="143" y="406"/>
                    </a:lnTo>
                    <a:lnTo>
                      <a:pt x="143" y="404"/>
                    </a:lnTo>
                    <a:lnTo>
                      <a:pt x="143" y="406"/>
                    </a:lnTo>
                    <a:lnTo>
                      <a:pt x="141" y="406"/>
                    </a:lnTo>
                    <a:lnTo>
                      <a:pt x="141" y="407"/>
                    </a:lnTo>
                    <a:lnTo>
                      <a:pt x="140" y="407"/>
                    </a:lnTo>
                    <a:lnTo>
                      <a:pt x="140" y="406"/>
                    </a:lnTo>
                    <a:lnTo>
                      <a:pt x="138" y="406"/>
                    </a:lnTo>
                    <a:lnTo>
                      <a:pt x="138" y="407"/>
                    </a:lnTo>
                    <a:lnTo>
                      <a:pt x="137" y="407"/>
                    </a:lnTo>
                    <a:lnTo>
                      <a:pt x="137" y="409"/>
                    </a:lnTo>
                    <a:lnTo>
                      <a:pt x="138" y="409"/>
                    </a:lnTo>
                    <a:lnTo>
                      <a:pt x="138" y="410"/>
                    </a:lnTo>
                    <a:lnTo>
                      <a:pt x="137" y="410"/>
                    </a:lnTo>
                    <a:lnTo>
                      <a:pt x="138" y="410"/>
                    </a:lnTo>
                    <a:lnTo>
                      <a:pt x="138" y="412"/>
                    </a:lnTo>
                    <a:lnTo>
                      <a:pt x="138" y="414"/>
                    </a:lnTo>
                    <a:lnTo>
                      <a:pt x="140" y="414"/>
                    </a:lnTo>
                    <a:lnTo>
                      <a:pt x="141" y="414"/>
                    </a:lnTo>
                    <a:lnTo>
                      <a:pt x="141" y="415"/>
                    </a:lnTo>
                    <a:lnTo>
                      <a:pt x="141" y="414"/>
                    </a:lnTo>
                    <a:lnTo>
                      <a:pt x="143" y="414"/>
                    </a:lnTo>
                    <a:lnTo>
                      <a:pt x="143" y="412"/>
                    </a:lnTo>
                    <a:lnTo>
                      <a:pt x="145" y="412"/>
                    </a:lnTo>
                    <a:lnTo>
                      <a:pt x="145" y="414"/>
                    </a:lnTo>
                    <a:lnTo>
                      <a:pt x="146" y="414"/>
                    </a:lnTo>
                    <a:lnTo>
                      <a:pt x="146" y="415"/>
                    </a:lnTo>
                    <a:lnTo>
                      <a:pt x="148" y="415"/>
                    </a:lnTo>
                    <a:lnTo>
                      <a:pt x="149" y="415"/>
                    </a:lnTo>
                    <a:lnTo>
                      <a:pt x="149" y="417"/>
                    </a:lnTo>
                    <a:lnTo>
                      <a:pt x="149" y="418"/>
                    </a:lnTo>
                    <a:lnTo>
                      <a:pt x="149" y="420"/>
                    </a:lnTo>
                    <a:lnTo>
                      <a:pt x="149" y="421"/>
                    </a:lnTo>
                    <a:lnTo>
                      <a:pt x="149" y="423"/>
                    </a:lnTo>
                    <a:lnTo>
                      <a:pt x="151" y="423"/>
                    </a:lnTo>
                    <a:lnTo>
                      <a:pt x="151" y="425"/>
                    </a:lnTo>
                    <a:lnTo>
                      <a:pt x="152" y="425"/>
                    </a:lnTo>
                    <a:lnTo>
                      <a:pt x="151" y="425"/>
                    </a:lnTo>
                    <a:lnTo>
                      <a:pt x="152" y="425"/>
                    </a:lnTo>
                    <a:lnTo>
                      <a:pt x="152" y="426"/>
                    </a:lnTo>
                    <a:lnTo>
                      <a:pt x="151" y="426"/>
                    </a:lnTo>
                    <a:lnTo>
                      <a:pt x="152" y="426"/>
                    </a:lnTo>
                    <a:lnTo>
                      <a:pt x="152" y="428"/>
                    </a:lnTo>
                    <a:lnTo>
                      <a:pt x="154" y="428"/>
                    </a:lnTo>
                    <a:lnTo>
                      <a:pt x="154" y="429"/>
                    </a:lnTo>
                    <a:lnTo>
                      <a:pt x="156" y="429"/>
                    </a:lnTo>
                    <a:lnTo>
                      <a:pt x="157" y="429"/>
                    </a:lnTo>
                    <a:lnTo>
                      <a:pt x="157" y="431"/>
                    </a:lnTo>
                    <a:lnTo>
                      <a:pt x="157" y="433"/>
                    </a:lnTo>
                    <a:lnTo>
                      <a:pt x="159" y="433"/>
                    </a:lnTo>
                    <a:lnTo>
                      <a:pt x="159" y="431"/>
                    </a:lnTo>
                    <a:lnTo>
                      <a:pt x="159" y="433"/>
                    </a:lnTo>
                    <a:lnTo>
                      <a:pt x="160" y="433"/>
                    </a:lnTo>
                    <a:lnTo>
                      <a:pt x="162" y="433"/>
                    </a:lnTo>
                    <a:lnTo>
                      <a:pt x="162" y="434"/>
                    </a:lnTo>
                    <a:lnTo>
                      <a:pt x="164" y="434"/>
                    </a:lnTo>
                    <a:lnTo>
                      <a:pt x="164" y="436"/>
                    </a:lnTo>
                    <a:lnTo>
                      <a:pt x="165" y="436"/>
                    </a:lnTo>
                    <a:lnTo>
                      <a:pt x="165" y="437"/>
                    </a:lnTo>
                    <a:lnTo>
                      <a:pt x="164" y="437"/>
                    </a:lnTo>
                    <a:lnTo>
                      <a:pt x="165" y="437"/>
                    </a:lnTo>
                    <a:lnTo>
                      <a:pt x="164" y="437"/>
                    </a:lnTo>
                    <a:lnTo>
                      <a:pt x="165" y="437"/>
                    </a:lnTo>
                    <a:lnTo>
                      <a:pt x="165" y="439"/>
                    </a:lnTo>
                    <a:lnTo>
                      <a:pt x="165" y="440"/>
                    </a:lnTo>
                    <a:lnTo>
                      <a:pt x="167" y="440"/>
                    </a:lnTo>
                    <a:lnTo>
                      <a:pt x="167" y="442"/>
                    </a:lnTo>
                    <a:lnTo>
                      <a:pt x="165" y="442"/>
                    </a:lnTo>
                    <a:lnTo>
                      <a:pt x="165" y="444"/>
                    </a:lnTo>
                    <a:lnTo>
                      <a:pt x="167" y="444"/>
                    </a:lnTo>
                    <a:lnTo>
                      <a:pt x="167" y="445"/>
                    </a:lnTo>
                    <a:lnTo>
                      <a:pt x="165" y="445"/>
                    </a:lnTo>
                    <a:lnTo>
                      <a:pt x="165" y="447"/>
                    </a:lnTo>
                    <a:lnTo>
                      <a:pt x="167" y="447"/>
                    </a:lnTo>
                    <a:lnTo>
                      <a:pt x="165" y="447"/>
                    </a:lnTo>
                    <a:lnTo>
                      <a:pt x="165" y="448"/>
                    </a:lnTo>
                    <a:lnTo>
                      <a:pt x="167" y="448"/>
                    </a:lnTo>
                    <a:lnTo>
                      <a:pt x="165" y="448"/>
                    </a:lnTo>
                    <a:lnTo>
                      <a:pt x="167" y="448"/>
                    </a:lnTo>
                    <a:lnTo>
                      <a:pt x="167" y="450"/>
                    </a:lnTo>
                    <a:lnTo>
                      <a:pt x="167" y="452"/>
                    </a:lnTo>
                    <a:lnTo>
                      <a:pt x="167" y="453"/>
                    </a:lnTo>
                    <a:lnTo>
                      <a:pt x="165" y="453"/>
                    </a:lnTo>
                    <a:lnTo>
                      <a:pt x="165" y="455"/>
                    </a:lnTo>
                    <a:lnTo>
                      <a:pt x="165" y="456"/>
                    </a:lnTo>
                    <a:lnTo>
                      <a:pt x="164" y="456"/>
                    </a:lnTo>
                    <a:lnTo>
                      <a:pt x="164" y="458"/>
                    </a:lnTo>
                    <a:lnTo>
                      <a:pt x="162" y="458"/>
                    </a:lnTo>
                    <a:lnTo>
                      <a:pt x="162" y="459"/>
                    </a:lnTo>
                    <a:lnTo>
                      <a:pt x="164" y="459"/>
                    </a:lnTo>
                    <a:lnTo>
                      <a:pt x="164" y="461"/>
                    </a:lnTo>
                    <a:lnTo>
                      <a:pt x="162" y="461"/>
                    </a:lnTo>
                    <a:lnTo>
                      <a:pt x="162" y="459"/>
                    </a:lnTo>
                    <a:lnTo>
                      <a:pt x="162" y="458"/>
                    </a:lnTo>
                    <a:lnTo>
                      <a:pt x="160" y="458"/>
                    </a:lnTo>
                    <a:lnTo>
                      <a:pt x="160" y="459"/>
                    </a:lnTo>
                    <a:lnTo>
                      <a:pt x="159" y="459"/>
                    </a:lnTo>
                    <a:lnTo>
                      <a:pt x="159" y="461"/>
                    </a:lnTo>
                    <a:lnTo>
                      <a:pt x="157" y="461"/>
                    </a:lnTo>
                    <a:lnTo>
                      <a:pt x="156" y="461"/>
                    </a:lnTo>
                    <a:lnTo>
                      <a:pt x="154" y="461"/>
                    </a:lnTo>
                    <a:lnTo>
                      <a:pt x="152" y="461"/>
                    </a:lnTo>
                    <a:lnTo>
                      <a:pt x="151" y="461"/>
                    </a:lnTo>
                    <a:lnTo>
                      <a:pt x="152" y="461"/>
                    </a:lnTo>
                    <a:lnTo>
                      <a:pt x="154" y="461"/>
                    </a:lnTo>
                    <a:lnTo>
                      <a:pt x="154" y="463"/>
                    </a:lnTo>
                    <a:lnTo>
                      <a:pt x="156" y="463"/>
                    </a:lnTo>
                    <a:lnTo>
                      <a:pt x="156" y="464"/>
                    </a:lnTo>
                    <a:lnTo>
                      <a:pt x="157" y="464"/>
                    </a:lnTo>
                    <a:lnTo>
                      <a:pt x="157" y="466"/>
                    </a:lnTo>
                    <a:lnTo>
                      <a:pt x="159" y="466"/>
                    </a:lnTo>
                    <a:lnTo>
                      <a:pt x="159" y="467"/>
                    </a:lnTo>
                    <a:lnTo>
                      <a:pt x="160" y="467"/>
                    </a:lnTo>
                    <a:lnTo>
                      <a:pt x="160" y="469"/>
                    </a:lnTo>
                    <a:lnTo>
                      <a:pt x="160" y="471"/>
                    </a:lnTo>
                    <a:lnTo>
                      <a:pt x="160" y="472"/>
                    </a:lnTo>
                    <a:lnTo>
                      <a:pt x="159" y="472"/>
                    </a:lnTo>
                    <a:lnTo>
                      <a:pt x="159" y="474"/>
                    </a:lnTo>
                    <a:lnTo>
                      <a:pt x="157" y="474"/>
                    </a:lnTo>
                    <a:lnTo>
                      <a:pt x="156" y="474"/>
                    </a:lnTo>
                    <a:lnTo>
                      <a:pt x="156" y="475"/>
                    </a:lnTo>
                    <a:lnTo>
                      <a:pt x="154" y="475"/>
                    </a:lnTo>
                    <a:lnTo>
                      <a:pt x="152" y="475"/>
                    </a:lnTo>
                    <a:lnTo>
                      <a:pt x="152" y="474"/>
                    </a:lnTo>
                    <a:lnTo>
                      <a:pt x="151" y="474"/>
                    </a:lnTo>
                    <a:lnTo>
                      <a:pt x="149" y="474"/>
                    </a:lnTo>
                    <a:lnTo>
                      <a:pt x="148" y="474"/>
                    </a:lnTo>
                    <a:lnTo>
                      <a:pt x="148" y="475"/>
                    </a:lnTo>
                    <a:lnTo>
                      <a:pt x="146" y="475"/>
                    </a:lnTo>
                    <a:lnTo>
                      <a:pt x="146" y="477"/>
                    </a:lnTo>
                    <a:lnTo>
                      <a:pt x="146" y="478"/>
                    </a:lnTo>
                    <a:lnTo>
                      <a:pt x="146" y="477"/>
                    </a:lnTo>
                    <a:lnTo>
                      <a:pt x="145" y="477"/>
                    </a:lnTo>
                    <a:lnTo>
                      <a:pt x="145" y="478"/>
                    </a:lnTo>
                    <a:lnTo>
                      <a:pt x="143" y="478"/>
                    </a:lnTo>
                    <a:lnTo>
                      <a:pt x="141" y="478"/>
                    </a:lnTo>
                    <a:lnTo>
                      <a:pt x="140" y="478"/>
                    </a:lnTo>
                    <a:lnTo>
                      <a:pt x="140" y="480"/>
                    </a:lnTo>
                    <a:lnTo>
                      <a:pt x="138" y="480"/>
                    </a:lnTo>
                    <a:lnTo>
                      <a:pt x="138" y="482"/>
                    </a:lnTo>
                    <a:lnTo>
                      <a:pt x="138" y="480"/>
                    </a:lnTo>
                    <a:lnTo>
                      <a:pt x="137" y="480"/>
                    </a:lnTo>
                    <a:lnTo>
                      <a:pt x="137" y="482"/>
                    </a:lnTo>
                    <a:lnTo>
                      <a:pt x="135" y="482"/>
                    </a:lnTo>
                    <a:lnTo>
                      <a:pt x="137" y="482"/>
                    </a:lnTo>
                    <a:lnTo>
                      <a:pt x="135" y="482"/>
                    </a:lnTo>
                    <a:lnTo>
                      <a:pt x="135" y="483"/>
                    </a:lnTo>
                    <a:lnTo>
                      <a:pt x="135" y="485"/>
                    </a:lnTo>
                    <a:lnTo>
                      <a:pt x="133" y="485"/>
                    </a:lnTo>
                    <a:lnTo>
                      <a:pt x="133" y="486"/>
                    </a:lnTo>
                    <a:lnTo>
                      <a:pt x="135" y="486"/>
                    </a:lnTo>
                    <a:lnTo>
                      <a:pt x="135" y="488"/>
                    </a:lnTo>
                    <a:lnTo>
                      <a:pt x="133" y="488"/>
                    </a:lnTo>
                    <a:lnTo>
                      <a:pt x="133" y="490"/>
                    </a:lnTo>
                    <a:lnTo>
                      <a:pt x="135" y="490"/>
                    </a:lnTo>
                    <a:lnTo>
                      <a:pt x="135" y="491"/>
                    </a:lnTo>
                    <a:lnTo>
                      <a:pt x="135" y="493"/>
                    </a:lnTo>
                    <a:lnTo>
                      <a:pt x="137" y="493"/>
                    </a:lnTo>
                    <a:lnTo>
                      <a:pt x="137" y="494"/>
                    </a:lnTo>
                    <a:lnTo>
                      <a:pt x="138" y="494"/>
                    </a:lnTo>
                    <a:lnTo>
                      <a:pt x="138" y="496"/>
                    </a:lnTo>
                    <a:lnTo>
                      <a:pt x="138" y="497"/>
                    </a:lnTo>
                    <a:lnTo>
                      <a:pt x="137" y="497"/>
                    </a:lnTo>
                    <a:lnTo>
                      <a:pt x="137" y="499"/>
                    </a:lnTo>
                    <a:lnTo>
                      <a:pt x="137" y="501"/>
                    </a:lnTo>
                    <a:lnTo>
                      <a:pt x="137" y="502"/>
                    </a:lnTo>
                    <a:lnTo>
                      <a:pt x="135" y="502"/>
                    </a:lnTo>
                    <a:lnTo>
                      <a:pt x="135" y="504"/>
                    </a:lnTo>
                    <a:lnTo>
                      <a:pt x="133" y="504"/>
                    </a:lnTo>
                    <a:lnTo>
                      <a:pt x="133" y="505"/>
                    </a:lnTo>
                    <a:lnTo>
                      <a:pt x="133" y="507"/>
                    </a:lnTo>
                    <a:lnTo>
                      <a:pt x="132" y="507"/>
                    </a:lnTo>
                    <a:lnTo>
                      <a:pt x="132" y="509"/>
                    </a:lnTo>
                    <a:lnTo>
                      <a:pt x="130" y="509"/>
                    </a:lnTo>
                    <a:lnTo>
                      <a:pt x="129" y="509"/>
                    </a:lnTo>
                    <a:lnTo>
                      <a:pt x="129" y="510"/>
                    </a:lnTo>
                    <a:lnTo>
                      <a:pt x="127" y="510"/>
                    </a:lnTo>
                    <a:lnTo>
                      <a:pt x="126" y="510"/>
                    </a:lnTo>
                    <a:lnTo>
                      <a:pt x="126" y="512"/>
                    </a:lnTo>
                    <a:lnTo>
                      <a:pt x="126" y="513"/>
                    </a:lnTo>
                    <a:lnTo>
                      <a:pt x="124" y="513"/>
                    </a:lnTo>
                    <a:lnTo>
                      <a:pt x="126" y="513"/>
                    </a:lnTo>
                    <a:lnTo>
                      <a:pt x="126" y="515"/>
                    </a:lnTo>
                    <a:lnTo>
                      <a:pt x="126" y="513"/>
                    </a:lnTo>
                    <a:lnTo>
                      <a:pt x="126" y="515"/>
                    </a:lnTo>
                    <a:lnTo>
                      <a:pt x="126" y="513"/>
                    </a:lnTo>
                    <a:lnTo>
                      <a:pt x="127" y="513"/>
                    </a:lnTo>
                    <a:lnTo>
                      <a:pt x="129" y="513"/>
                    </a:lnTo>
                    <a:lnTo>
                      <a:pt x="129" y="512"/>
                    </a:lnTo>
                    <a:lnTo>
                      <a:pt x="130" y="512"/>
                    </a:lnTo>
                    <a:lnTo>
                      <a:pt x="130" y="510"/>
                    </a:lnTo>
                    <a:lnTo>
                      <a:pt x="132" y="510"/>
                    </a:lnTo>
                    <a:lnTo>
                      <a:pt x="132" y="509"/>
                    </a:lnTo>
                    <a:lnTo>
                      <a:pt x="133" y="509"/>
                    </a:lnTo>
                    <a:lnTo>
                      <a:pt x="135" y="509"/>
                    </a:lnTo>
                    <a:lnTo>
                      <a:pt x="135" y="507"/>
                    </a:lnTo>
                    <a:lnTo>
                      <a:pt x="137" y="507"/>
                    </a:lnTo>
                    <a:lnTo>
                      <a:pt x="137" y="505"/>
                    </a:lnTo>
                    <a:lnTo>
                      <a:pt x="138" y="505"/>
                    </a:lnTo>
                    <a:lnTo>
                      <a:pt x="138" y="504"/>
                    </a:lnTo>
                    <a:lnTo>
                      <a:pt x="140" y="504"/>
                    </a:lnTo>
                    <a:lnTo>
                      <a:pt x="140" y="502"/>
                    </a:lnTo>
                    <a:lnTo>
                      <a:pt x="140" y="501"/>
                    </a:lnTo>
                    <a:lnTo>
                      <a:pt x="141" y="501"/>
                    </a:lnTo>
                    <a:lnTo>
                      <a:pt x="141" y="499"/>
                    </a:lnTo>
                    <a:lnTo>
                      <a:pt x="140" y="499"/>
                    </a:lnTo>
                    <a:lnTo>
                      <a:pt x="141" y="499"/>
                    </a:lnTo>
                    <a:lnTo>
                      <a:pt x="140" y="499"/>
                    </a:lnTo>
                    <a:lnTo>
                      <a:pt x="140" y="497"/>
                    </a:lnTo>
                    <a:lnTo>
                      <a:pt x="140" y="496"/>
                    </a:lnTo>
                    <a:lnTo>
                      <a:pt x="141" y="496"/>
                    </a:lnTo>
                    <a:lnTo>
                      <a:pt x="141" y="494"/>
                    </a:lnTo>
                    <a:lnTo>
                      <a:pt x="141" y="493"/>
                    </a:lnTo>
                    <a:lnTo>
                      <a:pt x="143" y="493"/>
                    </a:lnTo>
                    <a:lnTo>
                      <a:pt x="143" y="491"/>
                    </a:lnTo>
                    <a:lnTo>
                      <a:pt x="145" y="491"/>
                    </a:lnTo>
                    <a:lnTo>
                      <a:pt x="145" y="490"/>
                    </a:lnTo>
                    <a:lnTo>
                      <a:pt x="146" y="490"/>
                    </a:lnTo>
                    <a:lnTo>
                      <a:pt x="148" y="490"/>
                    </a:lnTo>
                    <a:lnTo>
                      <a:pt x="149" y="490"/>
                    </a:lnTo>
                    <a:lnTo>
                      <a:pt x="149" y="488"/>
                    </a:lnTo>
                    <a:lnTo>
                      <a:pt x="151" y="488"/>
                    </a:lnTo>
                    <a:lnTo>
                      <a:pt x="152" y="488"/>
                    </a:lnTo>
                    <a:lnTo>
                      <a:pt x="154" y="488"/>
                    </a:lnTo>
                    <a:lnTo>
                      <a:pt x="154" y="490"/>
                    </a:lnTo>
                    <a:lnTo>
                      <a:pt x="156" y="49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80" name="Freeform 160"/>
              <p:cNvSpPr>
                <a:spLocks/>
              </p:cNvSpPr>
              <p:nvPr/>
            </p:nvSpPr>
            <p:spPr bwMode="auto">
              <a:xfrm>
                <a:off x="5264" y="3460"/>
                <a:ext cx="218" cy="201"/>
              </a:xfrm>
              <a:custGeom>
                <a:avLst/>
                <a:gdLst>
                  <a:gd name="T0" fmla="*/ 11 w 218"/>
                  <a:gd name="T1" fmla="*/ 1 h 201"/>
                  <a:gd name="T2" fmla="*/ 19 w 218"/>
                  <a:gd name="T3" fmla="*/ 7 h 201"/>
                  <a:gd name="T4" fmla="*/ 27 w 218"/>
                  <a:gd name="T5" fmla="*/ 11 h 201"/>
                  <a:gd name="T6" fmla="*/ 39 w 218"/>
                  <a:gd name="T7" fmla="*/ 15 h 201"/>
                  <a:gd name="T8" fmla="*/ 49 w 218"/>
                  <a:gd name="T9" fmla="*/ 23 h 201"/>
                  <a:gd name="T10" fmla="*/ 55 w 218"/>
                  <a:gd name="T11" fmla="*/ 31 h 201"/>
                  <a:gd name="T12" fmla="*/ 58 w 218"/>
                  <a:gd name="T13" fmla="*/ 39 h 201"/>
                  <a:gd name="T14" fmla="*/ 61 w 218"/>
                  <a:gd name="T15" fmla="*/ 44 h 201"/>
                  <a:gd name="T16" fmla="*/ 61 w 218"/>
                  <a:gd name="T17" fmla="*/ 52 h 201"/>
                  <a:gd name="T18" fmla="*/ 66 w 218"/>
                  <a:gd name="T19" fmla="*/ 61 h 201"/>
                  <a:gd name="T20" fmla="*/ 63 w 218"/>
                  <a:gd name="T21" fmla="*/ 72 h 201"/>
                  <a:gd name="T22" fmla="*/ 68 w 218"/>
                  <a:gd name="T23" fmla="*/ 69 h 201"/>
                  <a:gd name="T24" fmla="*/ 69 w 218"/>
                  <a:gd name="T25" fmla="*/ 60 h 201"/>
                  <a:gd name="T26" fmla="*/ 66 w 218"/>
                  <a:gd name="T27" fmla="*/ 49 h 201"/>
                  <a:gd name="T28" fmla="*/ 77 w 218"/>
                  <a:gd name="T29" fmla="*/ 49 h 201"/>
                  <a:gd name="T30" fmla="*/ 90 w 218"/>
                  <a:gd name="T31" fmla="*/ 53 h 201"/>
                  <a:gd name="T32" fmla="*/ 101 w 218"/>
                  <a:gd name="T33" fmla="*/ 60 h 201"/>
                  <a:gd name="T34" fmla="*/ 112 w 218"/>
                  <a:gd name="T35" fmla="*/ 63 h 201"/>
                  <a:gd name="T36" fmla="*/ 117 w 218"/>
                  <a:gd name="T37" fmla="*/ 69 h 201"/>
                  <a:gd name="T38" fmla="*/ 115 w 218"/>
                  <a:gd name="T39" fmla="*/ 82 h 201"/>
                  <a:gd name="T40" fmla="*/ 111 w 218"/>
                  <a:gd name="T41" fmla="*/ 91 h 201"/>
                  <a:gd name="T42" fmla="*/ 112 w 218"/>
                  <a:gd name="T43" fmla="*/ 98 h 201"/>
                  <a:gd name="T44" fmla="*/ 118 w 218"/>
                  <a:gd name="T45" fmla="*/ 93 h 201"/>
                  <a:gd name="T46" fmla="*/ 125 w 218"/>
                  <a:gd name="T47" fmla="*/ 98 h 201"/>
                  <a:gd name="T48" fmla="*/ 123 w 218"/>
                  <a:gd name="T49" fmla="*/ 91 h 201"/>
                  <a:gd name="T50" fmla="*/ 134 w 218"/>
                  <a:gd name="T51" fmla="*/ 88 h 201"/>
                  <a:gd name="T52" fmla="*/ 144 w 218"/>
                  <a:gd name="T53" fmla="*/ 96 h 201"/>
                  <a:gd name="T54" fmla="*/ 147 w 218"/>
                  <a:gd name="T55" fmla="*/ 104 h 201"/>
                  <a:gd name="T56" fmla="*/ 144 w 218"/>
                  <a:gd name="T57" fmla="*/ 96 h 201"/>
                  <a:gd name="T58" fmla="*/ 155 w 218"/>
                  <a:gd name="T59" fmla="*/ 96 h 201"/>
                  <a:gd name="T60" fmla="*/ 150 w 218"/>
                  <a:gd name="T61" fmla="*/ 90 h 201"/>
                  <a:gd name="T62" fmla="*/ 141 w 218"/>
                  <a:gd name="T63" fmla="*/ 88 h 201"/>
                  <a:gd name="T64" fmla="*/ 139 w 218"/>
                  <a:gd name="T65" fmla="*/ 85 h 201"/>
                  <a:gd name="T66" fmla="*/ 147 w 218"/>
                  <a:gd name="T67" fmla="*/ 76 h 201"/>
                  <a:gd name="T68" fmla="*/ 152 w 218"/>
                  <a:gd name="T69" fmla="*/ 82 h 201"/>
                  <a:gd name="T70" fmla="*/ 160 w 218"/>
                  <a:gd name="T71" fmla="*/ 91 h 201"/>
                  <a:gd name="T72" fmla="*/ 171 w 218"/>
                  <a:gd name="T73" fmla="*/ 98 h 201"/>
                  <a:gd name="T74" fmla="*/ 175 w 218"/>
                  <a:gd name="T75" fmla="*/ 110 h 201"/>
                  <a:gd name="T76" fmla="*/ 182 w 218"/>
                  <a:gd name="T77" fmla="*/ 122 h 201"/>
                  <a:gd name="T78" fmla="*/ 194 w 218"/>
                  <a:gd name="T79" fmla="*/ 123 h 201"/>
                  <a:gd name="T80" fmla="*/ 206 w 218"/>
                  <a:gd name="T81" fmla="*/ 123 h 201"/>
                  <a:gd name="T82" fmla="*/ 206 w 218"/>
                  <a:gd name="T83" fmla="*/ 112 h 201"/>
                  <a:gd name="T84" fmla="*/ 198 w 218"/>
                  <a:gd name="T85" fmla="*/ 112 h 201"/>
                  <a:gd name="T86" fmla="*/ 206 w 218"/>
                  <a:gd name="T87" fmla="*/ 103 h 201"/>
                  <a:gd name="T88" fmla="*/ 212 w 218"/>
                  <a:gd name="T89" fmla="*/ 114 h 201"/>
                  <a:gd name="T90" fmla="*/ 217 w 218"/>
                  <a:gd name="T91" fmla="*/ 123 h 201"/>
                  <a:gd name="T92" fmla="*/ 207 w 218"/>
                  <a:gd name="T93" fmla="*/ 131 h 201"/>
                  <a:gd name="T94" fmla="*/ 196 w 218"/>
                  <a:gd name="T95" fmla="*/ 137 h 201"/>
                  <a:gd name="T96" fmla="*/ 190 w 218"/>
                  <a:gd name="T97" fmla="*/ 139 h 201"/>
                  <a:gd name="T98" fmla="*/ 198 w 218"/>
                  <a:gd name="T99" fmla="*/ 136 h 201"/>
                  <a:gd name="T100" fmla="*/ 196 w 218"/>
                  <a:gd name="T101" fmla="*/ 145 h 201"/>
                  <a:gd name="T102" fmla="*/ 196 w 218"/>
                  <a:gd name="T103" fmla="*/ 150 h 201"/>
                  <a:gd name="T104" fmla="*/ 196 w 218"/>
                  <a:gd name="T105" fmla="*/ 152 h 201"/>
                  <a:gd name="T106" fmla="*/ 199 w 218"/>
                  <a:gd name="T107" fmla="*/ 147 h 201"/>
                  <a:gd name="T108" fmla="*/ 210 w 218"/>
                  <a:gd name="T109" fmla="*/ 150 h 201"/>
                  <a:gd name="T110" fmla="*/ 201 w 218"/>
                  <a:gd name="T111" fmla="*/ 155 h 201"/>
                  <a:gd name="T112" fmla="*/ 202 w 218"/>
                  <a:gd name="T113" fmla="*/ 155 h 201"/>
                  <a:gd name="T114" fmla="*/ 212 w 218"/>
                  <a:gd name="T115" fmla="*/ 153 h 201"/>
                  <a:gd name="T116" fmla="*/ 213 w 218"/>
                  <a:gd name="T117" fmla="*/ 161 h 201"/>
                  <a:gd name="T118" fmla="*/ 193 w 218"/>
                  <a:gd name="T119" fmla="*/ 185 h 201"/>
                  <a:gd name="T120" fmla="*/ 175 w 218"/>
                  <a:gd name="T121" fmla="*/ 193 h 201"/>
                  <a:gd name="T122" fmla="*/ 155 w 218"/>
                  <a:gd name="T123"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8" h="201">
                    <a:moveTo>
                      <a:pt x="0" y="0"/>
                    </a:moveTo>
                    <a:lnTo>
                      <a:pt x="1" y="0"/>
                    </a:lnTo>
                    <a:lnTo>
                      <a:pt x="3" y="0"/>
                    </a:lnTo>
                    <a:lnTo>
                      <a:pt x="4" y="0"/>
                    </a:lnTo>
                    <a:lnTo>
                      <a:pt x="6" y="0"/>
                    </a:lnTo>
                    <a:lnTo>
                      <a:pt x="8" y="0"/>
                    </a:lnTo>
                    <a:lnTo>
                      <a:pt x="9" y="0"/>
                    </a:lnTo>
                    <a:lnTo>
                      <a:pt x="8" y="0"/>
                    </a:lnTo>
                    <a:lnTo>
                      <a:pt x="9" y="0"/>
                    </a:lnTo>
                    <a:lnTo>
                      <a:pt x="9" y="1"/>
                    </a:lnTo>
                    <a:lnTo>
                      <a:pt x="11" y="1"/>
                    </a:lnTo>
                    <a:lnTo>
                      <a:pt x="12" y="1"/>
                    </a:lnTo>
                    <a:lnTo>
                      <a:pt x="12" y="0"/>
                    </a:lnTo>
                    <a:lnTo>
                      <a:pt x="14" y="0"/>
                    </a:lnTo>
                    <a:lnTo>
                      <a:pt x="14" y="1"/>
                    </a:lnTo>
                    <a:lnTo>
                      <a:pt x="15" y="1"/>
                    </a:lnTo>
                    <a:lnTo>
                      <a:pt x="15" y="3"/>
                    </a:lnTo>
                    <a:lnTo>
                      <a:pt x="15" y="4"/>
                    </a:lnTo>
                    <a:lnTo>
                      <a:pt x="15" y="6"/>
                    </a:lnTo>
                    <a:lnTo>
                      <a:pt x="17" y="6"/>
                    </a:lnTo>
                    <a:lnTo>
                      <a:pt x="17" y="7"/>
                    </a:lnTo>
                    <a:lnTo>
                      <a:pt x="19" y="7"/>
                    </a:lnTo>
                    <a:lnTo>
                      <a:pt x="17" y="7"/>
                    </a:lnTo>
                    <a:lnTo>
                      <a:pt x="19" y="7"/>
                    </a:lnTo>
                    <a:lnTo>
                      <a:pt x="19" y="9"/>
                    </a:lnTo>
                    <a:lnTo>
                      <a:pt x="20" y="9"/>
                    </a:lnTo>
                    <a:lnTo>
                      <a:pt x="22" y="9"/>
                    </a:lnTo>
                    <a:lnTo>
                      <a:pt x="22" y="11"/>
                    </a:lnTo>
                    <a:lnTo>
                      <a:pt x="23" y="11"/>
                    </a:lnTo>
                    <a:lnTo>
                      <a:pt x="23" y="9"/>
                    </a:lnTo>
                    <a:lnTo>
                      <a:pt x="25" y="9"/>
                    </a:lnTo>
                    <a:lnTo>
                      <a:pt x="25" y="11"/>
                    </a:lnTo>
                    <a:lnTo>
                      <a:pt x="27" y="11"/>
                    </a:lnTo>
                    <a:lnTo>
                      <a:pt x="28" y="11"/>
                    </a:lnTo>
                    <a:lnTo>
                      <a:pt x="30" y="11"/>
                    </a:lnTo>
                    <a:lnTo>
                      <a:pt x="31" y="11"/>
                    </a:lnTo>
                    <a:lnTo>
                      <a:pt x="33" y="11"/>
                    </a:lnTo>
                    <a:lnTo>
                      <a:pt x="34" y="11"/>
                    </a:lnTo>
                    <a:lnTo>
                      <a:pt x="34" y="12"/>
                    </a:lnTo>
                    <a:lnTo>
                      <a:pt x="36" y="12"/>
                    </a:lnTo>
                    <a:lnTo>
                      <a:pt x="36" y="14"/>
                    </a:lnTo>
                    <a:lnTo>
                      <a:pt x="38" y="14"/>
                    </a:lnTo>
                    <a:lnTo>
                      <a:pt x="39" y="14"/>
                    </a:lnTo>
                    <a:lnTo>
                      <a:pt x="39" y="15"/>
                    </a:lnTo>
                    <a:lnTo>
                      <a:pt x="41" y="15"/>
                    </a:lnTo>
                    <a:lnTo>
                      <a:pt x="41" y="17"/>
                    </a:lnTo>
                    <a:lnTo>
                      <a:pt x="42" y="17"/>
                    </a:lnTo>
                    <a:lnTo>
                      <a:pt x="42" y="19"/>
                    </a:lnTo>
                    <a:lnTo>
                      <a:pt x="44" y="19"/>
                    </a:lnTo>
                    <a:lnTo>
                      <a:pt x="44" y="20"/>
                    </a:lnTo>
                    <a:lnTo>
                      <a:pt x="46" y="20"/>
                    </a:lnTo>
                    <a:lnTo>
                      <a:pt x="46" y="22"/>
                    </a:lnTo>
                    <a:lnTo>
                      <a:pt x="47" y="22"/>
                    </a:lnTo>
                    <a:lnTo>
                      <a:pt x="47" y="23"/>
                    </a:lnTo>
                    <a:lnTo>
                      <a:pt x="49" y="23"/>
                    </a:lnTo>
                    <a:lnTo>
                      <a:pt x="49" y="25"/>
                    </a:lnTo>
                    <a:lnTo>
                      <a:pt x="50" y="25"/>
                    </a:lnTo>
                    <a:lnTo>
                      <a:pt x="50" y="27"/>
                    </a:lnTo>
                    <a:lnTo>
                      <a:pt x="50" y="28"/>
                    </a:lnTo>
                    <a:lnTo>
                      <a:pt x="50" y="30"/>
                    </a:lnTo>
                    <a:lnTo>
                      <a:pt x="50" y="31"/>
                    </a:lnTo>
                    <a:lnTo>
                      <a:pt x="52" y="31"/>
                    </a:lnTo>
                    <a:lnTo>
                      <a:pt x="52" y="30"/>
                    </a:lnTo>
                    <a:lnTo>
                      <a:pt x="53" y="30"/>
                    </a:lnTo>
                    <a:lnTo>
                      <a:pt x="53" y="31"/>
                    </a:lnTo>
                    <a:lnTo>
                      <a:pt x="55" y="31"/>
                    </a:lnTo>
                    <a:lnTo>
                      <a:pt x="55" y="33"/>
                    </a:lnTo>
                    <a:lnTo>
                      <a:pt x="55" y="34"/>
                    </a:lnTo>
                    <a:lnTo>
                      <a:pt x="55" y="36"/>
                    </a:lnTo>
                    <a:lnTo>
                      <a:pt x="57" y="36"/>
                    </a:lnTo>
                    <a:lnTo>
                      <a:pt x="57" y="38"/>
                    </a:lnTo>
                    <a:lnTo>
                      <a:pt x="55" y="38"/>
                    </a:lnTo>
                    <a:lnTo>
                      <a:pt x="55" y="39"/>
                    </a:lnTo>
                    <a:lnTo>
                      <a:pt x="53" y="39"/>
                    </a:lnTo>
                    <a:lnTo>
                      <a:pt x="55" y="39"/>
                    </a:lnTo>
                    <a:lnTo>
                      <a:pt x="57" y="39"/>
                    </a:lnTo>
                    <a:lnTo>
                      <a:pt x="58" y="39"/>
                    </a:lnTo>
                    <a:lnTo>
                      <a:pt x="58" y="38"/>
                    </a:lnTo>
                    <a:lnTo>
                      <a:pt x="60" y="38"/>
                    </a:lnTo>
                    <a:lnTo>
                      <a:pt x="60" y="36"/>
                    </a:lnTo>
                    <a:lnTo>
                      <a:pt x="60" y="38"/>
                    </a:lnTo>
                    <a:lnTo>
                      <a:pt x="60" y="39"/>
                    </a:lnTo>
                    <a:lnTo>
                      <a:pt x="61" y="39"/>
                    </a:lnTo>
                    <a:lnTo>
                      <a:pt x="60" y="39"/>
                    </a:lnTo>
                    <a:lnTo>
                      <a:pt x="60" y="41"/>
                    </a:lnTo>
                    <a:lnTo>
                      <a:pt x="60" y="42"/>
                    </a:lnTo>
                    <a:lnTo>
                      <a:pt x="60" y="44"/>
                    </a:lnTo>
                    <a:lnTo>
                      <a:pt x="61" y="44"/>
                    </a:lnTo>
                    <a:lnTo>
                      <a:pt x="61" y="42"/>
                    </a:lnTo>
                    <a:lnTo>
                      <a:pt x="61" y="44"/>
                    </a:lnTo>
                    <a:lnTo>
                      <a:pt x="61" y="46"/>
                    </a:lnTo>
                    <a:lnTo>
                      <a:pt x="63" y="46"/>
                    </a:lnTo>
                    <a:lnTo>
                      <a:pt x="65" y="46"/>
                    </a:lnTo>
                    <a:lnTo>
                      <a:pt x="65" y="47"/>
                    </a:lnTo>
                    <a:lnTo>
                      <a:pt x="65" y="49"/>
                    </a:lnTo>
                    <a:lnTo>
                      <a:pt x="65" y="50"/>
                    </a:lnTo>
                    <a:lnTo>
                      <a:pt x="63" y="50"/>
                    </a:lnTo>
                    <a:lnTo>
                      <a:pt x="63" y="52"/>
                    </a:lnTo>
                    <a:lnTo>
                      <a:pt x="61" y="52"/>
                    </a:lnTo>
                    <a:lnTo>
                      <a:pt x="61" y="53"/>
                    </a:lnTo>
                    <a:lnTo>
                      <a:pt x="61" y="55"/>
                    </a:lnTo>
                    <a:lnTo>
                      <a:pt x="61" y="57"/>
                    </a:lnTo>
                    <a:lnTo>
                      <a:pt x="61" y="58"/>
                    </a:lnTo>
                    <a:lnTo>
                      <a:pt x="63" y="58"/>
                    </a:lnTo>
                    <a:lnTo>
                      <a:pt x="63" y="57"/>
                    </a:lnTo>
                    <a:lnTo>
                      <a:pt x="63" y="58"/>
                    </a:lnTo>
                    <a:lnTo>
                      <a:pt x="65" y="58"/>
                    </a:lnTo>
                    <a:lnTo>
                      <a:pt x="66" y="58"/>
                    </a:lnTo>
                    <a:lnTo>
                      <a:pt x="66" y="60"/>
                    </a:lnTo>
                    <a:lnTo>
                      <a:pt x="66" y="61"/>
                    </a:lnTo>
                    <a:lnTo>
                      <a:pt x="68" y="61"/>
                    </a:lnTo>
                    <a:lnTo>
                      <a:pt x="68" y="63"/>
                    </a:lnTo>
                    <a:lnTo>
                      <a:pt x="68" y="65"/>
                    </a:lnTo>
                    <a:lnTo>
                      <a:pt x="66" y="65"/>
                    </a:lnTo>
                    <a:lnTo>
                      <a:pt x="66" y="66"/>
                    </a:lnTo>
                    <a:lnTo>
                      <a:pt x="66" y="68"/>
                    </a:lnTo>
                    <a:lnTo>
                      <a:pt x="65" y="68"/>
                    </a:lnTo>
                    <a:lnTo>
                      <a:pt x="65" y="69"/>
                    </a:lnTo>
                    <a:lnTo>
                      <a:pt x="65" y="71"/>
                    </a:lnTo>
                    <a:lnTo>
                      <a:pt x="63" y="71"/>
                    </a:lnTo>
                    <a:lnTo>
                      <a:pt x="63" y="72"/>
                    </a:lnTo>
                    <a:lnTo>
                      <a:pt x="63" y="71"/>
                    </a:lnTo>
                    <a:lnTo>
                      <a:pt x="65" y="71"/>
                    </a:lnTo>
                    <a:lnTo>
                      <a:pt x="65" y="72"/>
                    </a:lnTo>
                    <a:lnTo>
                      <a:pt x="66" y="72"/>
                    </a:lnTo>
                    <a:lnTo>
                      <a:pt x="68" y="72"/>
                    </a:lnTo>
                    <a:lnTo>
                      <a:pt x="68" y="74"/>
                    </a:lnTo>
                    <a:lnTo>
                      <a:pt x="69" y="74"/>
                    </a:lnTo>
                    <a:lnTo>
                      <a:pt x="68" y="74"/>
                    </a:lnTo>
                    <a:lnTo>
                      <a:pt x="68" y="72"/>
                    </a:lnTo>
                    <a:lnTo>
                      <a:pt x="68" y="71"/>
                    </a:lnTo>
                    <a:lnTo>
                      <a:pt x="68" y="69"/>
                    </a:lnTo>
                    <a:lnTo>
                      <a:pt x="68" y="71"/>
                    </a:lnTo>
                    <a:lnTo>
                      <a:pt x="69" y="71"/>
                    </a:lnTo>
                    <a:lnTo>
                      <a:pt x="69" y="69"/>
                    </a:lnTo>
                    <a:lnTo>
                      <a:pt x="69" y="68"/>
                    </a:lnTo>
                    <a:lnTo>
                      <a:pt x="69" y="66"/>
                    </a:lnTo>
                    <a:lnTo>
                      <a:pt x="69" y="65"/>
                    </a:lnTo>
                    <a:lnTo>
                      <a:pt x="71" y="65"/>
                    </a:lnTo>
                    <a:lnTo>
                      <a:pt x="71" y="63"/>
                    </a:lnTo>
                    <a:lnTo>
                      <a:pt x="71" y="61"/>
                    </a:lnTo>
                    <a:lnTo>
                      <a:pt x="71" y="60"/>
                    </a:lnTo>
                    <a:lnTo>
                      <a:pt x="69" y="60"/>
                    </a:lnTo>
                    <a:lnTo>
                      <a:pt x="68" y="60"/>
                    </a:lnTo>
                    <a:lnTo>
                      <a:pt x="68" y="58"/>
                    </a:lnTo>
                    <a:lnTo>
                      <a:pt x="68" y="57"/>
                    </a:lnTo>
                    <a:lnTo>
                      <a:pt x="66" y="57"/>
                    </a:lnTo>
                    <a:lnTo>
                      <a:pt x="66" y="55"/>
                    </a:lnTo>
                    <a:lnTo>
                      <a:pt x="65" y="55"/>
                    </a:lnTo>
                    <a:lnTo>
                      <a:pt x="65" y="53"/>
                    </a:lnTo>
                    <a:lnTo>
                      <a:pt x="65" y="52"/>
                    </a:lnTo>
                    <a:lnTo>
                      <a:pt x="66" y="52"/>
                    </a:lnTo>
                    <a:lnTo>
                      <a:pt x="66" y="50"/>
                    </a:lnTo>
                    <a:lnTo>
                      <a:pt x="66" y="49"/>
                    </a:lnTo>
                    <a:lnTo>
                      <a:pt x="68" y="49"/>
                    </a:lnTo>
                    <a:lnTo>
                      <a:pt x="68" y="47"/>
                    </a:lnTo>
                    <a:lnTo>
                      <a:pt x="68" y="46"/>
                    </a:lnTo>
                    <a:lnTo>
                      <a:pt x="69" y="46"/>
                    </a:lnTo>
                    <a:lnTo>
                      <a:pt x="71" y="46"/>
                    </a:lnTo>
                    <a:lnTo>
                      <a:pt x="71" y="47"/>
                    </a:lnTo>
                    <a:lnTo>
                      <a:pt x="73" y="47"/>
                    </a:lnTo>
                    <a:lnTo>
                      <a:pt x="74" y="47"/>
                    </a:lnTo>
                    <a:lnTo>
                      <a:pt x="74" y="49"/>
                    </a:lnTo>
                    <a:lnTo>
                      <a:pt x="76" y="49"/>
                    </a:lnTo>
                    <a:lnTo>
                      <a:pt x="77" y="49"/>
                    </a:lnTo>
                    <a:lnTo>
                      <a:pt x="77" y="50"/>
                    </a:lnTo>
                    <a:lnTo>
                      <a:pt x="79" y="50"/>
                    </a:lnTo>
                    <a:lnTo>
                      <a:pt x="80" y="50"/>
                    </a:lnTo>
                    <a:lnTo>
                      <a:pt x="80" y="52"/>
                    </a:lnTo>
                    <a:lnTo>
                      <a:pt x="82" y="52"/>
                    </a:lnTo>
                    <a:lnTo>
                      <a:pt x="84" y="52"/>
                    </a:lnTo>
                    <a:lnTo>
                      <a:pt x="85" y="52"/>
                    </a:lnTo>
                    <a:lnTo>
                      <a:pt x="85" y="53"/>
                    </a:lnTo>
                    <a:lnTo>
                      <a:pt x="87" y="53"/>
                    </a:lnTo>
                    <a:lnTo>
                      <a:pt x="88" y="53"/>
                    </a:lnTo>
                    <a:lnTo>
                      <a:pt x="90" y="53"/>
                    </a:lnTo>
                    <a:lnTo>
                      <a:pt x="90" y="55"/>
                    </a:lnTo>
                    <a:lnTo>
                      <a:pt x="92" y="55"/>
                    </a:lnTo>
                    <a:lnTo>
                      <a:pt x="93" y="55"/>
                    </a:lnTo>
                    <a:lnTo>
                      <a:pt x="93" y="57"/>
                    </a:lnTo>
                    <a:lnTo>
                      <a:pt x="95" y="57"/>
                    </a:lnTo>
                    <a:lnTo>
                      <a:pt x="96" y="57"/>
                    </a:lnTo>
                    <a:lnTo>
                      <a:pt x="96" y="58"/>
                    </a:lnTo>
                    <a:lnTo>
                      <a:pt x="98" y="58"/>
                    </a:lnTo>
                    <a:lnTo>
                      <a:pt x="99" y="58"/>
                    </a:lnTo>
                    <a:lnTo>
                      <a:pt x="101" y="58"/>
                    </a:lnTo>
                    <a:lnTo>
                      <a:pt x="101" y="60"/>
                    </a:lnTo>
                    <a:lnTo>
                      <a:pt x="103" y="60"/>
                    </a:lnTo>
                    <a:lnTo>
                      <a:pt x="104" y="60"/>
                    </a:lnTo>
                    <a:lnTo>
                      <a:pt x="106" y="60"/>
                    </a:lnTo>
                    <a:lnTo>
                      <a:pt x="107" y="60"/>
                    </a:lnTo>
                    <a:lnTo>
                      <a:pt x="107" y="61"/>
                    </a:lnTo>
                    <a:lnTo>
                      <a:pt x="109" y="61"/>
                    </a:lnTo>
                    <a:lnTo>
                      <a:pt x="109" y="60"/>
                    </a:lnTo>
                    <a:lnTo>
                      <a:pt x="109" y="61"/>
                    </a:lnTo>
                    <a:lnTo>
                      <a:pt x="111" y="61"/>
                    </a:lnTo>
                    <a:lnTo>
                      <a:pt x="112" y="61"/>
                    </a:lnTo>
                    <a:lnTo>
                      <a:pt x="112" y="63"/>
                    </a:lnTo>
                    <a:lnTo>
                      <a:pt x="114" y="63"/>
                    </a:lnTo>
                    <a:lnTo>
                      <a:pt x="115" y="63"/>
                    </a:lnTo>
                    <a:lnTo>
                      <a:pt x="115" y="65"/>
                    </a:lnTo>
                    <a:lnTo>
                      <a:pt x="117" y="65"/>
                    </a:lnTo>
                    <a:lnTo>
                      <a:pt x="117" y="66"/>
                    </a:lnTo>
                    <a:lnTo>
                      <a:pt x="118" y="66"/>
                    </a:lnTo>
                    <a:lnTo>
                      <a:pt x="118" y="68"/>
                    </a:lnTo>
                    <a:lnTo>
                      <a:pt x="117" y="68"/>
                    </a:lnTo>
                    <a:lnTo>
                      <a:pt x="117" y="69"/>
                    </a:lnTo>
                    <a:lnTo>
                      <a:pt x="118" y="69"/>
                    </a:lnTo>
                    <a:lnTo>
                      <a:pt x="117" y="69"/>
                    </a:lnTo>
                    <a:lnTo>
                      <a:pt x="117" y="71"/>
                    </a:lnTo>
                    <a:lnTo>
                      <a:pt x="117" y="72"/>
                    </a:lnTo>
                    <a:lnTo>
                      <a:pt x="115" y="72"/>
                    </a:lnTo>
                    <a:lnTo>
                      <a:pt x="114" y="72"/>
                    </a:lnTo>
                    <a:lnTo>
                      <a:pt x="114" y="74"/>
                    </a:lnTo>
                    <a:lnTo>
                      <a:pt x="114" y="76"/>
                    </a:lnTo>
                    <a:lnTo>
                      <a:pt x="114" y="77"/>
                    </a:lnTo>
                    <a:lnTo>
                      <a:pt x="114" y="79"/>
                    </a:lnTo>
                    <a:lnTo>
                      <a:pt x="114" y="80"/>
                    </a:lnTo>
                    <a:lnTo>
                      <a:pt x="114" y="82"/>
                    </a:lnTo>
                    <a:lnTo>
                      <a:pt x="115" y="82"/>
                    </a:lnTo>
                    <a:lnTo>
                      <a:pt x="115" y="84"/>
                    </a:lnTo>
                    <a:lnTo>
                      <a:pt x="115" y="85"/>
                    </a:lnTo>
                    <a:lnTo>
                      <a:pt x="115" y="87"/>
                    </a:lnTo>
                    <a:lnTo>
                      <a:pt x="115" y="88"/>
                    </a:lnTo>
                    <a:lnTo>
                      <a:pt x="115" y="90"/>
                    </a:lnTo>
                    <a:lnTo>
                      <a:pt x="114" y="90"/>
                    </a:lnTo>
                    <a:lnTo>
                      <a:pt x="112" y="90"/>
                    </a:lnTo>
                    <a:lnTo>
                      <a:pt x="112" y="88"/>
                    </a:lnTo>
                    <a:lnTo>
                      <a:pt x="112" y="90"/>
                    </a:lnTo>
                    <a:lnTo>
                      <a:pt x="111" y="90"/>
                    </a:lnTo>
                    <a:lnTo>
                      <a:pt x="111" y="91"/>
                    </a:lnTo>
                    <a:lnTo>
                      <a:pt x="109" y="91"/>
                    </a:lnTo>
                    <a:lnTo>
                      <a:pt x="111" y="91"/>
                    </a:lnTo>
                    <a:lnTo>
                      <a:pt x="109" y="91"/>
                    </a:lnTo>
                    <a:lnTo>
                      <a:pt x="109" y="93"/>
                    </a:lnTo>
                    <a:lnTo>
                      <a:pt x="109" y="95"/>
                    </a:lnTo>
                    <a:lnTo>
                      <a:pt x="109" y="96"/>
                    </a:lnTo>
                    <a:lnTo>
                      <a:pt x="111" y="96"/>
                    </a:lnTo>
                    <a:lnTo>
                      <a:pt x="109" y="96"/>
                    </a:lnTo>
                    <a:lnTo>
                      <a:pt x="111" y="96"/>
                    </a:lnTo>
                    <a:lnTo>
                      <a:pt x="111" y="98"/>
                    </a:lnTo>
                    <a:lnTo>
                      <a:pt x="112" y="98"/>
                    </a:lnTo>
                    <a:lnTo>
                      <a:pt x="114" y="98"/>
                    </a:lnTo>
                    <a:lnTo>
                      <a:pt x="114" y="96"/>
                    </a:lnTo>
                    <a:lnTo>
                      <a:pt x="115" y="96"/>
                    </a:lnTo>
                    <a:lnTo>
                      <a:pt x="117" y="96"/>
                    </a:lnTo>
                    <a:lnTo>
                      <a:pt x="117" y="95"/>
                    </a:lnTo>
                    <a:lnTo>
                      <a:pt x="117" y="93"/>
                    </a:lnTo>
                    <a:lnTo>
                      <a:pt x="115" y="93"/>
                    </a:lnTo>
                    <a:lnTo>
                      <a:pt x="115" y="91"/>
                    </a:lnTo>
                    <a:lnTo>
                      <a:pt x="117" y="91"/>
                    </a:lnTo>
                    <a:lnTo>
                      <a:pt x="117" y="93"/>
                    </a:lnTo>
                    <a:lnTo>
                      <a:pt x="118" y="93"/>
                    </a:lnTo>
                    <a:lnTo>
                      <a:pt x="120" y="93"/>
                    </a:lnTo>
                    <a:lnTo>
                      <a:pt x="122" y="93"/>
                    </a:lnTo>
                    <a:lnTo>
                      <a:pt x="122" y="95"/>
                    </a:lnTo>
                    <a:lnTo>
                      <a:pt x="120" y="95"/>
                    </a:lnTo>
                    <a:lnTo>
                      <a:pt x="122" y="95"/>
                    </a:lnTo>
                    <a:lnTo>
                      <a:pt x="122" y="96"/>
                    </a:lnTo>
                    <a:lnTo>
                      <a:pt x="122" y="98"/>
                    </a:lnTo>
                    <a:lnTo>
                      <a:pt x="123" y="98"/>
                    </a:lnTo>
                    <a:lnTo>
                      <a:pt x="125" y="98"/>
                    </a:lnTo>
                    <a:lnTo>
                      <a:pt x="125" y="99"/>
                    </a:lnTo>
                    <a:lnTo>
                      <a:pt x="125" y="98"/>
                    </a:lnTo>
                    <a:lnTo>
                      <a:pt x="125" y="96"/>
                    </a:lnTo>
                    <a:lnTo>
                      <a:pt x="123" y="96"/>
                    </a:lnTo>
                    <a:lnTo>
                      <a:pt x="123" y="95"/>
                    </a:lnTo>
                    <a:lnTo>
                      <a:pt x="122" y="95"/>
                    </a:lnTo>
                    <a:lnTo>
                      <a:pt x="123" y="95"/>
                    </a:lnTo>
                    <a:lnTo>
                      <a:pt x="122" y="95"/>
                    </a:lnTo>
                    <a:lnTo>
                      <a:pt x="122" y="93"/>
                    </a:lnTo>
                    <a:lnTo>
                      <a:pt x="122" y="91"/>
                    </a:lnTo>
                    <a:lnTo>
                      <a:pt x="122" y="93"/>
                    </a:lnTo>
                    <a:lnTo>
                      <a:pt x="123" y="93"/>
                    </a:lnTo>
                    <a:lnTo>
                      <a:pt x="123" y="91"/>
                    </a:lnTo>
                    <a:lnTo>
                      <a:pt x="125" y="91"/>
                    </a:lnTo>
                    <a:lnTo>
                      <a:pt x="125" y="90"/>
                    </a:lnTo>
                    <a:lnTo>
                      <a:pt x="126" y="90"/>
                    </a:lnTo>
                    <a:lnTo>
                      <a:pt x="128" y="90"/>
                    </a:lnTo>
                    <a:lnTo>
                      <a:pt x="130" y="90"/>
                    </a:lnTo>
                    <a:lnTo>
                      <a:pt x="130" y="88"/>
                    </a:lnTo>
                    <a:lnTo>
                      <a:pt x="131" y="88"/>
                    </a:lnTo>
                    <a:lnTo>
                      <a:pt x="133" y="88"/>
                    </a:lnTo>
                    <a:lnTo>
                      <a:pt x="134" y="88"/>
                    </a:lnTo>
                    <a:lnTo>
                      <a:pt x="136" y="88"/>
                    </a:lnTo>
                    <a:lnTo>
                      <a:pt x="134" y="88"/>
                    </a:lnTo>
                    <a:lnTo>
                      <a:pt x="134" y="90"/>
                    </a:lnTo>
                    <a:lnTo>
                      <a:pt x="134" y="91"/>
                    </a:lnTo>
                    <a:lnTo>
                      <a:pt x="136" y="91"/>
                    </a:lnTo>
                    <a:lnTo>
                      <a:pt x="136" y="93"/>
                    </a:lnTo>
                    <a:lnTo>
                      <a:pt x="137" y="93"/>
                    </a:lnTo>
                    <a:lnTo>
                      <a:pt x="139" y="93"/>
                    </a:lnTo>
                    <a:lnTo>
                      <a:pt x="141" y="93"/>
                    </a:lnTo>
                    <a:lnTo>
                      <a:pt x="141" y="95"/>
                    </a:lnTo>
                    <a:lnTo>
                      <a:pt x="142" y="95"/>
                    </a:lnTo>
                    <a:lnTo>
                      <a:pt x="142" y="96"/>
                    </a:lnTo>
                    <a:lnTo>
                      <a:pt x="144" y="96"/>
                    </a:lnTo>
                    <a:lnTo>
                      <a:pt x="144" y="98"/>
                    </a:lnTo>
                    <a:lnTo>
                      <a:pt x="144" y="99"/>
                    </a:lnTo>
                    <a:lnTo>
                      <a:pt x="144" y="101"/>
                    </a:lnTo>
                    <a:lnTo>
                      <a:pt x="145" y="101"/>
                    </a:lnTo>
                    <a:lnTo>
                      <a:pt x="145" y="103"/>
                    </a:lnTo>
                    <a:lnTo>
                      <a:pt x="147" y="103"/>
                    </a:lnTo>
                    <a:lnTo>
                      <a:pt x="147" y="104"/>
                    </a:lnTo>
                    <a:lnTo>
                      <a:pt x="147" y="106"/>
                    </a:lnTo>
                    <a:lnTo>
                      <a:pt x="147" y="104"/>
                    </a:lnTo>
                    <a:lnTo>
                      <a:pt x="149" y="104"/>
                    </a:lnTo>
                    <a:lnTo>
                      <a:pt x="147" y="104"/>
                    </a:lnTo>
                    <a:lnTo>
                      <a:pt x="149" y="104"/>
                    </a:lnTo>
                    <a:lnTo>
                      <a:pt x="149" y="103"/>
                    </a:lnTo>
                    <a:lnTo>
                      <a:pt x="147" y="103"/>
                    </a:lnTo>
                    <a:lnTo>
                      <a:pt x="147" y="101"/>
                    </a:lnTo>
                    <a:lnTo>
                      <a:pt x="145" y="101"/>
                    </a:lnTo>
                    <a:lnTo>
                      <a:pt x="144" y="101"/>
                    </a:lnTo>
                    <a:lnTo>
                      <a:pt x="144" y="99"/>
                    </a:lnTo>
                    <a:lnTo>
                      <a:pt x="144" y="98"/>
                    </a:lnTo>
                    <a:lnTo>
                      <a:pt x="145" y="98"/>
                    </a:lnTo>
                    <a:lnTo>
                      <a:pt x="145" y="96"/>
                    </a:lnTo>
                    <a:lnTo>
                      <a:pt x="144" y="96"/>
                    </a:lnTo>
                    <a:lnTo>
                      <a:pt x="144" y="95"/>
                    </a:lnTo>
                    <a:lnTo>
                      <a:pt x="145" y="95"/>
                    </a:lnTo>
                    <a:lnTo>
                      <a:pt x="147" y="95"/>
                    </a:lnTo>
                    <a:lnTo>
                      <a:pt x="149" y="95"/>
                    </a:lnTo>
                    <a:lnTo>
                      <a:pt x="150" y="95"/>
                    </a:lnTo>
                    <a:lnTo>
                      <a:pt x="150" y="96"/>
                    </a:lnTo>
                    <a:lnTo>
                      <a:pt x="152" y="96"/>
                    </a:lnTo>
                    <a:lnTo>
                      <a:pt x="153" y="96"/>
                    </a:lnTo>
                    <a:lnTo>
                      <a:pt x="153" y="98"/>
                    </a:lnTo>
                    <a:lnTo>
                      <a:pt x="155" y="98"/>
                    </a:lnTo>
                    <a:lnTo>
                      <a:pt x="155" y="96"/>
                    </a:lnTo>
                    <a:lnTo>
                      <a:pt x="155" y="95"/>
                    </a:lnTo>
                    <a:lnTo>
                      <a:pt x="153" y="95"/>
                    </a:lnTo>
                    <a:lnTo>
                      <a:pt x="155" y="95"/>
                    </a:lnTo>
                    <a:lnTo>
                      <a:pt x="156" y="95"/>
                    </a:lnTo>
                    <a:lnTo>
                      <a:pt x="156" y="93"/>
                    </a:lnTo>
                    <a:lnTo>
                      <a:pt x="155" y="93"/>
                    </a:lnTo>
                    <a:lnTo>
                      <a:pt x="155" y="91"/>
                    </a:lnTo>
                    <a:lnTo>
                      <a:pt x="153" y="91"/>
                    </a:lnTo>
                    <a:lnTo>
                      <a:pt x="152" y="91"/>
                    </a:lnTo>
                    <a:lnTo>
                      <a:pt x="150" y="91"/>
                    </a:lnTo>
                    <a:lnTo>
                      <a:pt x="150" y="90"/>
                    </a:lnTo>
                    <a:lnTo>
                      <a:pt x="149" y="90"/>
                    </a:lnTo>
                    <a:lnTo>
                      <a:pt x="149" y="88"/>
                    </a:lnTo>
                    <a:lnTo>
                      <a:pt x="149" y="87"/>
                    </a:lnTo>
                    <a:lnTo>
                      <a:pt x="147" y="87"/>
                    </a:lnTo>
                    <a:lnTo>
                      <a:pt x="145" y="87"/>
                    </a:lnTo>
                    <a:lnTo>
                      <a:pt x="144" y="87"/>
                    </a:lnTo>
                    <a:lnTo>
                      <a:pt x="142" y="87"/>
                    </a:lnTo>
                    <a:lnTo>
                      <a:pt x="142" y="88"/>
                    </a:lnTo>
                    <a:lnTo>
                      <a:pt x="142" y="87"/>
                    </a:lnTo>
                    <a:lnTo>
                      <a:pt x="142" y="88"/>
                    </a:lnTo>
                    <a:lnTo>
                      <a:pt x="141" y="88"/>
                    </a:lnTo>
                    <a:lnTo>
                      <a:pt x="139" y="88"/>
                    </a:lnTo>
                    <a:lnTo>
                      <a:pt x="139" y="90"/>
                    </a:lnTo>
                    <a:lnTo>
                      <a:pt x="137" y="90"/>
                    </a:lnTo>
                    <a:lnTo>
                      <a:pt x="137" y="91"/>
                    </a:lnTo>
                    <a:lnTo>
                      <a:pt x="136" y="91"/>
                    </a:lnTo>
                    <a:lnTo>
                      <a:pt x="136" y="90"/>
                    </a:lnTo>
                    <a:lnTo>
                      <a:pt x="137" y="90"/>
                    </a:lnTo>
                    <a:lnTo>
                      <a:pt x="137" y="88"/>
                    </a:lnTo>
                    <a:lnTo>
                      <a:pt x="137" y="87"/>
                    </a:lnTo>
                    <a:lnTo>
                      <a:pt x="137" y="85"/>
                    </a:lnTo>
                    <a:lnTo>
                      <a:pt x="139" y="85"/>
                    </a:lnTo>
                    <a:lnTo>
                      <a:pt x="139" y="84"/>
                    </a:lnTo>
                    <a:lnTo>
                      <a:pt x="139" y="82"/>
                    </a:lnTo>
                    <a:lnTo>
                      <a:pt x="141" y="82"/>
                    </a:lnTo>
                    <a:lnTo>
                      <a:pt x="142" y="82"/>
                    </a:lnTo>
                    <a:lnTo>
                      <a:pt x="142" y="80"/>
                    </a:lnTo>
                    <a:lnTo>
                      <a:pt x="144" y="80"/>
                    </a:lnTo>
                    <a:lnTo>
                      <a:pt x="144" y="79"/>
                    </a:lnTo>
                    <a:lnTo>
                      <a:pt x="145" y="79"/>
                    </a:lnTo>
                    <a:lnTo>
                      <a:pt x="145" y="77"/>
                    </a:lnTo>
                    <a:lnTo>
                      <a:pt x="147" y="77"/>
                    </a:lnTo>
                    <a:lnTo>
                      <a:pt x="147" y="76"/>
                    </a:lnTo>
                    <a:lnTo>
                      <a:pt x="147" y="74"/>
                    </a:lnTo>
                    <a:lnTo>
                      <a:pt x="149" y="74"/>
                    </a:lnTo>
                    <a:lnTo>
                      <a:pt x="149" y="72"/>
                    </a:lnTo>
                    <a:lnTo>
                      <a:pt x="150" y="72"/>
                    </a:lnTo>
                    <a:lnTo>
                      <a:pt x="150" y="74"/>
                    </a:lnTo>
                    <a:lnTo>
                      <a:pt x="150" y="76"/>
                    </a:lnTo>
                    <a:lnTo>
                      <a:pt x="150" y="77"/>
                    </a:lnTo>
                    <a:lnTo>
                      <a:pt x="150" y="79"/>
                    </a:lnTo>
                    <a:lnTo>
                      <a:pt x="150" y="80"/>
                    </a:lnTo>
                    <a:lnTo>
                      <a:pt x="150" y="82"/>
                    </a:lnTo>
                    <a:lnTo>
                      <a:pt x="152" y="82"/>
                    </a:lnTo>
                    <a:lnTo>
                      <a:pt x="152" y="84"/>
                    </a:lnTo>
                    <a:lnTo>
                      <a:pt x="152" y="85"/>
                    </a:lnTo>
                    <a:lnTo>
                      <a:pt x="153" y="85"/>
                    </a:lnTo>
                    <a:lnTo>
                      <a:pt x="153" y="87"/>
                    </a:lnTo>
                    <a:lnTo>
                      <a:pt x="155" y="87"/>
                    </a:lnTo>
                    <a:lnTo>
                      <a:pt x="155" y="88"/>
                    </a:lnTo>
                    <a:lnTo>
                      <a:pt x="156" y="88"/>
                    </a:lnTo>
                    <a:lnTo>
                      <a:pt x="156" y="90"/>
                    </a:lnTo>
                    <a:lnTo>
                      <a:pt x="158" y="90"/>
                    </a:lnTo>
                    <a:lnTo>
                      <a:pt x="158" y="91"/>
                    </a:lnTo>
                    <a:lnTo>
                      <a:pt x="160" y="91"/>
                    </a:lnTo>
                    <a:lnTo>
                      <a:pt x="161" y="91"/>
                    </a:lnTo>
                    <a:lnTo>
                      <a:pt x="163" y="91"/>
                    </a:lnTo>
                    <a:lnTo>
                      <a:pt x="163" y="93"/>
                    </a:lnTo>
                    <a:lnTo>
                      <a:pt x="164" y="93"/>
                    </a:lnTo>
                    <a:lnTo>
                      <a:pt x="166" y="93"/>
                    </a:lnTo>
                    <a:lnTo>
                      <a:pt x="168" y="93"/>
                    </a:lnTo>
                    <a:lnTo>
                      <a:pt x="168" y="95"/>
                    </a:lnTo>
                    <a:lnTo>
                      <a:pt x="169" y="95"/>
                    </a:lnTo>
                    <a:lnTo>
                      <a:pt x="169" y="96"/>
                    </a:lnTo>
                    <a:lnTo>
                      <a:pt x="169" y="98"/>
                    </a:lnTo>
                    <a:lnTo>
                      <a:pt x="171" y="98"/>
                    </a:lnTo>
                    <a:lnTo>
                      <a:pt x="171" y="99"/>
                    </a:lnTo>
                    <a:lnTo>
                      <a:pt x="171" y="101"/>
                    </a:lnTo>
                    <a:lnTo>
                      <a:pt x="172" y="101"/>
                    </a:lnTo>
                    <a:lnTo>
                      <a:pt x="172" y="103"/>
                    </a:lnTo>
                    <a:lnTo>
                      <a:pt x="172" y="104"/>
                    </a:lnTo>
                    <a:lnTo>
                      <a:pt x="174" y="104"/>
                    </a:lnTo>
                    <a:lnTo>
                      <a:pt x="174" y="106"/>
                    </a:lnTo>
                    <a:lnTo>
                      <a:pt x="174" y="107"/>
                    </a:lnTo>
                    <a:lnTo>
                      <a:pt x="174" y="109"/>
                    </a:lnTo>
                    <a:lnTo>
                      <a:pt x="175" y="109"/>
                    </a:lnTo>
                    <a:lnTo>
                      <a:pt x="175" y="110"/>
                    </a:lnTo>
                    <a:lnTo>
                      <a:pt x="175" y="112"/>
                    </a:lnTo>
                    <a:lnTo>
                      <a:pt x="175" y="114"/>
                    </a:lnTo>
                    <a:lnTo>
                      <a:pt x="177" y="114"/>
                    </a:lnTo>
                    <a:lnTo>
                      <a:pt x="177" y="115"/>
                    </a:lnTo>
                    <a:lnTo>
                      <a:pt x="177" y="117"/>
                    </a:lnTo>
                    <a:lnTo>
                      <a:pt x="177" y="118"/>
                    </a:lnTo>
                    <a:lnTo>
                      <a:pt x="179" y="118"/>
                    </a:lnTo>
                    <a:lnTo>
                      <a:pt x="179" y="120"/>
                    </a:lnTo>
                    <a:lnTo>
                      <a:pt x="179" y="122"/>
                    </a:lnTo>
                    <a:lnTo>
                      <a:pt x="180" y="122"/>
                    </a:lnTo>
                    <a:lnTo>
                      <a:pt x="182" y="122"/>
                    </a:lnTo>
                    <a:lnTo>
                      <a:pt x="182" y="123"/>
                    </a:lnTo>
                    <a:lnTo>
                      <a:pt x="183" y="123"/>
                    </a:lnTo>
                    <a:lnTo>
                      <a:pt x="183" y="122"/>
                    </a:lnTo>
                    <a:lnTo>
                      <a:pt x="185" y="122"/>
                    </a:lnTo>
                    <a:lnTo>
                      <a:pt x="187" y="122"/>
                    </a:lnTo>
                    <a:lnTo>
                      <a:pt x="188" y="122"/>
                    </a:lnTo>
                    <a:lnTo>
                      <a:pt x="190" y="122"/>
                    </a:lnTo>
                    <a:lnTo>
                      <a:pt x="191" y="122"/>
                    </a:lnTo>
                    <a:lnTo>
                      <a:pt x="193" y="122"/>
                    </a:lnTo>
                    <a:lnTo>
                      <a:pt x="193" y="123"/>
                    </a:lnTo>
                    <a:lnTo>
                      <a:pt x="194" y="123"/>
                    </a:lnTo>
                    <a:lnTo>
                      <a:pt x="196" y="123"/>
                    </a:lnTo>
                    <a:lnTo>
                      <a:pt x="198" y="123"/>
                    </a:lnTo>
                    <a:lnTo>
                      <a:pt x="199" y="123"/>
                    </a:lnTo>
                    <a:lnTo>
                      <a:pt x="199" y="125"/>
                    </a:lnTo>
                    <a:lnTo>
                      <a:pt x="199" y="126"/>
                    </a:lnTo>
                    <a:lnTo>
                      <a:pt x="199" y="125"/>
                    </a:lnTo>
                    <a:lnTo>
                      <a:pt x="201" y="125"/>
                    </a:lnTo>
                    <a:lnTo>
                      <a:pt x="202" y="125"/>
                    </a:lnTo>
                    <a:lnTo>
                      <a:pt x="202" y="123"/>
                    </a:lnTo>
                    <a:lnTo>
                      <a:pt x="204" y="123"/>
                    </a:lnTo>
                    <a:lnTo>
                      <a:pt x="206" y="123"/>
                    </a:lnTo>
                    <a:lnTo>
                      <a:pt x="206" y="122"/>
                    </a:lnTo>
                    <a:lnTo>
                      <a:pt x="207" y="122"/>
                    </a:lnTo>
                    <a:lnTo>
                      <a:pt x="207" y="120"/>
                    </a:lnTo>
                    <a:lnTo>
                      <a:pt x="207" y="118"/>
                    </a:lnTo>
                    <a:lnTo>
                      <a:pt x="207" y="117"/>
                    </a:lnTo>
                    <a:lnTo>
                      <a:pt x="207" y="115"/>
                    </a:lnTo>
                    <a:lnTo>
                      <a:pt x="206" y="115"/>
                    </a:lnTo>
                    <a:lnTo>
                      <a:pt x="206" y="114"/>
                    </a:lnTo>
                    <a:lnTo>
                      <a:pt x="207" y="114"/>
                    </a:lnTo>
                    <a:lnTo>
                      <a:pt x="207" y="112"/>
                    </a:lnTo>
                    <a:lnTo>
                      <a:pt x="206" y="112"/>
                    </a:lnTo>
                    <a:lnTo>
                      <a:pt x="206" y="114"/>
                    </a:lnTo>
                    <a:lnTo>
                      <a:pt x="206" y="112"/>
                    </a:lnTo>
                    <a:lnTo>
                      <a:pt x="204" y="112"/>
                    </a:lnTo>
                    <a:lnTo>
                      <a:pt x="202" y="112"/>
                    </a:lnTo>
                    <a:lnTo>
                      <a:pt x="202" y="114"/>
                    </a:lnTo>
                    <a:lnTo>
                      <a:pt x="202" y="112"/>
                    </a:lnTo>
                    <a:lnTo>
                      <a:pt x="202" y="110"/>
                    </a:lnTo>
                    <a:lnTo>
                      <a:pt x="201" y="110"/>
                    </a:lnTo>
                    <a:lnTo>
                      <a:pt x="199" y="110"/>
                    </a:lnTo>
                    <a:lnTo>
                      <a:pt x="199" y="112"/>
                    </a:lnTo>
                    <a:lnTo>
                      <a:pt x="198" y="112"/>
                    </a:lnTo>
                    <a:lnTo>
                      <a:pt x="198" y="110"/>
                    </a:lnTo>
                    <a:lnTo>
                      <a:pt x="199" y="110"/>
                    </a:lnTo>
                    <a:lnTo>
                      <a:pt x="199" y="109"/>
                    </a:lnTo>
                    <a:lnTo>
                      <a:pt x="201" y="109"/>
                    </a:lnTo>
                    <a:lnTo>
                      <a:pt x="201" y="107"/>
                    </a:lnTo>
                    <a:lnTo>
                      <a:pt x="201" y="106"/>
                    </a:lnTo>
                    <a:lnTo>
                      <a:pt x="202" y="106"/>
                    </a:lnTo>
                    <a:lnTo>
                      <a:pt x="202" y="104"/>
                    </a:lnTo>
                    <a:lnTo>
                      <a:pt x="202" y="103"/>
                    </a:lnTo>
                    <a:lnTo>
                      <a:pt x="204" y="103"/>
                    </a:lnTo>
                    <a:lnTo>
                      <a:pt x="206" y="103"/>
                    </a:lnTo>
                    <a:lnTo>
                      <a:pt x="206" y="104"/>
                    </a:lnTo>
                    <a:lnTo>
                      <a:pt x="207" y="104"/>
                    </a:lnTo>
                    <a:lnTo>
                      <a:pt x="207" y="106"/>
                    </a:lnTo>
                    <a:lnTo>
                      <a:pt x="209" y="106"/>
                    </a:lnTo>
                    <a:lnTo>
                      <a:pt x="209" y="107"/>
                    </a:lnTo>
                    <a:lnTo>
                      <a:pt x="210" y="107"/>
                    </a:lnTo>
                    <a:lnTo>
                      <a:pt x="210" y="109"/>
                    </a:lnTo>
                    <a:lnTo>
                      <a:pt x="212" y="109"/>
                    </a:lnTo>
                    <a:lnTo>
                      <a:pt x="212" y="110"/>
                    </a:lnTo>
                    <a:lnTo>
                      <a:pt x="212" y="112"/>
                    </a:lnTo>
                    <a:lnTo>
                      <a:pt x="212" y="114"/>
                    </a:lnTo>
                    <a:lnTo>
                      <a:pt x="213" y="114"/>
                    </a:lnTo>
                    <a:lnTo>
                      <a:pt x="213" y="115"/>
                    </a:lnTo>
                    <a:lnTo>
                      <a:pt x="213" y="117"/>
                    </a:lnTo>
                    <a:lnTo>
                      <a:pt x="215" y="117"/>
                    </a:lnTo>
                    <a:lnTo>
                      <a:pt x="217" y="117"/>
                    </a:lnTo>
                    <a:lnTo>
                      <a:pt x="217" y="118"/>
                    </a:lnTo>
                    <a:lnTo>
                      <a:pt x="218" y="118"/>
                    </a:lnTo>
                    <a:lnTo>
                      <a:pt x="218" y="120"/>
                    </a:lnTo>
                    <a:lnTo>
                      <a:pt x="218" y="122"/>
                    </a:lnTo>
                    <a:lnTo>
                      <a:pt x="218" y="123"/>
                    </a:lnTo>
                    <a:lnTo>
                      <a:pt x="217" y="123"/>
                    </a:lnTo>
                    <a:lnTo>
                      <a:pt x="217" y="125"/>
                    </a:lnTo>
                    <a:lnTo>
                      <a:pt x="215" y="125"/>
                    </a:lnTo>
                    <a:lnTo>
                      <a:pt x="215" y="126"/>
                    </a:lnTo>
                    <a:lnTo>
                      <a:pt x="213" y="126"/>
                    </a:lnTo>
                    <a:lnTo>
                      <a:pt x="212" y="126"/>
                    </a:lnTo>
                    <a:lnTo>
                      <a:pt x="212" y="128"/>
                    </a:lnTo>
                    <a:lnTo>
                      <a:pt x="210" y="128"/>
                    </a:lnTo>
                    <a:lnTo>
                      <a:pt x="209" y="128"/>
                    </a:lnTo>
                    <a:lnTo>
                      <a:pt x="209" y="129"/>
                    </a:lnTo>
                    <a:lnTo>
                      <a:pt x="207" y="129"/>
                    </a:lnTo>
                    <a:lnTo>
                      <a:pt x="207" y="131"/>
                    </a:lnTo>
                    <a:lnTo>
                      <a:pt x="206" y="131"/>
                    </a:lnTo>
                    <a:lnTo>
                      <a:pt x="206" y="133"/>
                    </a:lnTo>
                    <a:lnTo>
                      <a:pt x="204" y="133"/>
                    </a:lnTo>
                    <a:lnTo>
                      <a:pt x="202" y="133"/>
                    </a:lnTo>
                    <a:lnTo>
                      <a:pt x="202" y="134"/>
                    </a:lnTo>
                    <a:lnTo>
                      <a:pt x="201" y="134"/>
                    </a:lnTo>
                    <a:lnTo>
                      <a:pt x="199" y="134"/>
                    </a:lnTo>
                    <a:lnTo>
                      <a:pt x="199" y="136"/>
                    </a:lnTo>
                    <a:lnTo>
                      <a:pt x="198" y="136"/>
                    </a:lnTo>
                    <a:lnTo>
                      <a:pt x="196" y="136"/>
                    </a:lnTo>
                    <a:lnTo>
                      <a:pt x="196" y="137"/>
                    </a:lnTo>
                    <a:lnTo>
                      <a:pt x="196" y="136"/>
                    </a:lnTo>
                    <a:lnTo>
                      <a:pt x="194" y="136"/>
                    </a:lnTo>
                    <a:lnTo>
                      <a:pt x="193" y="136"/>
                    </a:lnTo>
                    <a:lnTo>
                      <a:pt x="191" y="136"/>
                    </a:lnTo>
                    <a:lnTo>
                      <a:pt x="191" y="137"/>
                    </a:lnTo>
                    <a:lnTo>
                      <a:pt x="190" y="137"/>
                    </a:lnTo>
                    <a:lnTo>
                      <a:pt x="190" y="139"/>
                    </a:lnTo>
                    <a:lnTo>
                      <a:pt x="188" y="139"/>
                    </a:lnTo>
                    <a:lnTo>
                      <a:pt x="188" y="141"/>
                    </a:lnTo>
                    <a:lnTo>
                      <a:pt x="188" y="139"/>
                    </a:lnTo>
                    <a:lnTo>
                      <a:pt x="190" y="139"/>
                    </a:lnTo>
                    <a:lnTo>
                      <a:pt x="190" y="137"/>
                    </a:lnTo>
                    <a:lnTo>
                      <a:pt x="191" y="137"/>
                    </a:lnTo>
                    <a:lnTo>
                      <a:pt x="193" y="137"/>
                    </a:lnTo>
                    <a:lnTo>
                      <a:pt x="193" y="136"/>
                    </a:lnTo>
                    <a:lnTo>
                      <a:pt x="193" y="137"/>
                    </a:lnTo>
                    <a:lnTo>
                      <a:pt x="193" y="136"/>
                    </a:lnTo>
                    <a:lnTo>
                      <a:pt x="194" y="136"/>
                    </a:lnTo>
                    <a:lnTo>
                      <a:pt x="194" y="137"/>
                    </a:lnTo>
                    <a:lnTo>
                      <a:pt x="196" y="137"/>
                    </a:lnTo>
                    <a:lnTo>
                      <a:pt x="198" y="137"/>
                    </a:lnTo>
                    <a:lnTo>
                      <a:pt x="198" y="136"/>
                    </a:lnTo>
                    <a:lnTo>
                      <a:pt x="198" y="137"/>
                    </a:lnTo>
                    <a:lnTo>
                      <a:pt x="198" y="139"/>
                    </a:lnTo>
                    <a:lnTo>
                      <a:pt x="196" y="139"/>
                    </a:lnTo>
                    <a:lnTo>
                      <a:pt x="196" y="141"/>
                    </a:lnTo>
                    <a:lnTo>
                      <a:pt x="194" y="141"/>
                    </a:lnTo>
                    <a:lnTo>
                      <a:pt x="194" y="142"/>
                    </a:lnTo>
                    <a:lnTo>
                      <a:pt x="194" y="144"/>
                    </a:lnTo>
                    <a:lnTo>
                      <a:pt x="193" y="144"/>
                    </a:lnTo>
                    <a:lnTo>
                      <a:pt x="193" y="145"/>
                    </a:lnTo>
                    <a:lnTo>
                      <a:pt x="194" y="145"/>
                    </a:lnTo>
                    <a:lnTo>
                      <a:pt x="196" y="145"/>
                    </a:lnTo>
                    <a:lnTo>
                      <a:pt x="198" y="145"/>
                    </a:lnTo>
                    <a:lnTo>
                      <a:pt x="196" y="145"/>
                    </a:lnTo>
                    <a:lnTo>
                      <a:pt x="196" y="147"/>
                    </a:lnTo>
                    <a:lnTo>
                      <a:pt x="194" y="147"/>
                    </a:lnTo>
                    <a:lnTo>
                      <a:pt x="196" y="147"/>
                    </a:lnTo>
                    <a:lnTo>
                      <a:pt x="194" y="147"/>
                    </a:lnTo>
                    <a:lnTo>
                      <a:pt x="196" y="147"/>
                    </a:lnTo>
                    <a:lnTo>
                      <a:pt x="194" y="147"/>
                    </a:lnTo>
                    <a:lnTo>
                      <a:pt x="196" y="147"/>
                    </a:lnTo>
                    <a:lnTo>
                      <a:pt x="196" y="148"/>
                    </a:lnTo>
                    <a:lnTo>
                      <a:pt x="196" y="150"/>
                    </a:lnTo>
                    <a:lnTo>
                      <a:pt x="198" y="150"/>
                    </a:lnTo>
                    <a:lnTo>
                      <a:pt x="196" y="150"/>
                    </a:lnTo>
                    <a:lnTo>
                      <a:pt x="194" y="150"/>
                    </a:lnTo>
                    <a:lnTo>
                      <a:pt x="194" y="152"/>
                    </a:lnTo>
                    <a:lnTo>
                      <a:pt x="193" y="152"/>
                    </a:lnTo>
                    <a:lnTo>
                      <a:pt x="191" y="152"/>
                    </a:lnTo>
                    <a:lnTo>
                      <a:pt x="193" y="152"/>
                    </a:lnTo>
                    <a:lnTo>
                      <a:pt x="194" y="152"/>
                    </a:lnTo>
                    <a:lnTo>
                      <a:pt x="194" y="150"/>
                    </a:lnTo>
                    <a:lnTo>
                      <a:pt x="196" y="150"/>
                    </a:lnTo>
                    <a:lnTo>
                      <a:pt x="196" y="152"/>
                    </a:lnTo>
                    <a:lnTo>
                      <a:pt x="198" y="152"/>
                    </a:lnTo>
                    <a:lnTo>
                      <a:pt x="199" y="152"/>
                    </a:lnTo>
                    <a:lnTo>
                      <a:pt x="201" y="152"/>
                    </a:lnTo>
                    <a:lnTo>
                      <a:pt x="201" y="153"/>
                    </a:lnTo>
                    <a:lnTo>
                      <a:pt x="201" y="152"/>
                    </a:lnTo>
                    <a:lnTo>
                      <a:pt x="199" y="152"/>
                    </a:lnTo>
                    <a:lnTo>
                      <a:pt x="198" y="152"/>
                    </a:lnTo>
                    <a:lnTo>
                      <a:pt x="198" y="150"/>
                    </a:lnTo>
                    <a:lnTo>
                      <a:pt x="198" y="148"/>
                    </a:lnTo>
                    <a:lnTo>
                      <a:pt x="199" y="148"/>
                    </a:lnTo>
                    <a:lnTo>
                      <a:pt x="199" y="147"/>
                    </a:lnTo>
                    <a:lnTo>
                      <a:pt x="201" y="147"/>
                    </a:lnTo>
                    <a:lnTo>
                      <a:pt x="202" y="147"/>
                    </a:lnTo>
                    <a:lnTo>
                      <a:pt x="204" y="147"/>
                    </a:lnTo>
                    <a:lnTo>
                      <a:pt x="206" y="147"/>
                    </a:lnTo>
                    <a:lnTo>
                      <a:pt x="207" y="147"/>
                    </a:lnTo>
                    <a:lnTo>
                      <a:pt x="207" y="145"/>
                    </a:lnTo>
                    <a:lnTo>
                      <a:pt x="209" y="145"/>
                    </a:lnTo>
                    <a:lnTo>
                      <a:pt x="210" y="145"/>
                    </a:lnTo>
                    <a:lnTo>
                      <a:pt x="210" y="147"/>
                    </a:lnTo>
                    <a:lnTo>
                      <a:pt x="210" y="148"/>
                    </a:lnTo>
                    <a:lnTo>
                      <a:pt x="210" y="150"/>
                    </a:lnTo>
                    <a:lnTo>
                      <a:pt x="210" y="152"/>
                    </a:lnTo>
                    <a:lnTo>
                      <a:pt x="209" y="152"/>
                    </a:lnTo>
                    <a:lnTo>
                      <a:pt x="207" y="152"/>
                    </a:lnTo>
                    <a:lnTo>
                      <a:pt x="207" y="150"/>
                    </a:lnTo>
                    <a:lnTo>
                      <a:pt x="206" y="150"/>
                    </a:lnTo>
                    <a:lnTo>
                      <a:pt x="206" y="152"/>
                    </a:lnTo>
                    <a:lnTo>
                      <a:pt x="206" y="153"/>
                    </a:lnTo>
                    <a:lnTo>
                      <a:pt x="204" y="153"/>
                    </a:lnTo>
                    <a:lnTo>
                      <a:pt x="202" y="153"/>
                    </a:lnTo>
                    <a:lnTo>
                      <a:pt x="202" y="155"/>
                    </a:lnTo>
                    <a:lnTo>
                      <a:pt x="201" y="155"/>
                    </a:lnTo>
                    <a:lnTo>
                      <a:pt x="201" y="156"/>
                    </a:lnTo>
                    <a:lnTo>
                      <a:pt x="201" y="155"/>
                    </a:lnTo>
                    <a:lnTo>
                      <a:pt x="199" y="155"/>
                    </a:lnTo>
                    <a:lnTo>
                      <a:pt x="198" y="155"/>
                    </a:lnTo>
                    <a:lnTo>
                      <a:pt x="198" y="156"/>
                    </a:lnTo>
                    <a:lnTo>
                      <a:pt x="198" y="155"/>
                    </a:lnTo>
                    <a:lnTo>
                      <a:pt x="199" y="155"/>
                    </a:lnTo>
                    <a:lnTo>
                      <a:pt x="199" y="156"/>
                    </a:lnTo>
                    <a:lnTo>
                      <a:pt x="201" y="156"/>
                    </a:lnTo>
                    <a:lnTo>
                      <a:pt x="202" y="156"/>
                    </a:lnTo>
                    <a:lnTo>
                      <a:pt x="202" y="155"/>
                    </a:lnTo>
                    <a:lnTo>
                      <a:pt x="202" y="153"/>
                    </a:lnTo>
                    <a:lnTo>
                      <a:pt x="204" y="153"/>
                    </a:lnTo>
                    <a:lnTo>
                      <a:pt x="206" y="153"/>
                    </a:lnTo>
                    <a:lnTo>
                      <a:pt x="206" y="155"/>
                    </a:lnTo>
                    <a:lnTo>
                      <a:pt x="206" y="153"/>
                    </a:lnTo>
                    <a:lnTo>
                      <a:pt x="206" y="152"/>
                    </a:lnTo>
                    <a:lnTo>
                      <a:pt x="207" y="152"/>
                    </a:lnTo>
                    <a:lnTo>
                      <a:pt x="209" y="152"/>
                    </a:lnTo>
                    <a:lnTo>
                      <a:pt x="210" y="152"/>
                    </a:lnTo>
                    <a:lnTo>
                      <a:pt x="212" y="152"/>
                    </a:lnTo>
                    <a:lnTo>
                      <a:pt x="212" y="153"/>
                    </a:lnTo>
                    <a:lnTo>
                      <a:pt x="212" y="155"/>
                    </a:lnTo>
                    <a:lnTo>
                      <a:pt x="212" y="156"/>
                    </a:lnTo>
                    <a:lnTo>
                      <a:pt x="213" y="156"/>
                    </a:lnTo>
                    <a:lnTo>
                      <a:pt x="213" y="158"/>
                    </a:lnTo>
                    <a:lnTo>
                      <a:pt x="212" y="158"/>
                    </a:lnTo>
                    <a:lnTo>
                      <a:pt x="212" y="156"/>
                    </a:lnTo>
                    <a:lnTo>
                      <a:pt x="212" y="158"/>
                    </a:lnTo>
                    <a:lnTo>
                      <a:pt x="213" y="158"/>
                    </a:lnTo>
                    <a:lnTo>
                      <a:pt x="213" y="160"/>
                    </a:lnTo>
                    <a:lnTo>
                      <a:pt x="215" y="160"/>
                    </a:lnTo>
                    <a:lnTo>
                      <a:pt x="213" y="161"/>
                    </a:lnTo>
                    <a:lnTo>
                      <a:pt x="210" y="164"/>
                    </a:lnTo>
                    <a:lnTo>
                      <a:pt x="207" y="169"/>
                    </a:lnTo>
                    <a:lnTo>
                      <a:pt x="202" y="174"/>
                    </a:lnTo>
                    <a:lnTo>
                      <a:pt x="201" y="174"/>
                    </a:lnTo>
                    <a:lnTo>
                      <a:pt x="199" y="175"/>
                    </a:lnTo>
                    <a:lnTo>
                      <a:pt x="198" y="177"/>
                    </a:lnTo>
                    <a:lnTo>
                      <a:pt x="196" y="177"/>
                    </a:lnTo>
                    <a:lnTo>
                      <a:pt x="196" y="179"/>
                    </a:lnTo>
                    <a:lnTo>
                      <a:pt x="194" y="180"/>
                    </a:lnTo>
                    <a:lnTo>
                      <a:pt x="194" y="183"/>
                    </a:lnTo>
                    <a:lnTo>
                      <a:pt x="193" y="185"/>
                    </a:lnTo>
                    <a:lnTo>
                      <a:pt x="193" y="188"/>
                    </a:lnTo>
                    <a:lnTo>
                      <a:pt x="191" y="188"/>
                    </a:lnTo>
                    <a:lnTo>
                      <a:pt x="190" y="190"/>
                    </a:lnTo>
                    <a:lnTo>
                      <a:pt x="183" y="193"/>
                    </a:lnTo>
                    <a:lnTo>
                      <a:pt x="182" y="193"/>
                    </a:lnTo>
                    <a:lnTo>
                      <a:pt x="182" y="194"/>
                    </a:lnTo>
                    <a:lnTo>
                      <a:pt x="182" y="193"/>
                    </a:lnTo>
                    <a:lnTo>
                      <a:pt x="180" y="193"/>
                    </a:lnTo>
                    <a:lnTo>
                      <a:pt x="179" y="193"/>
                    </a:lnTo>
                    <a:lnTo>
                      <a:pt x="177" y="193"/>
                    </a:lnTo>
                    <a:lnTo>
                      <a:pt x="175" y="193"/>
                    </a:lnTo>
                    <a:lnTo>
                      <a:pt x="174" y="193"/>
                    </a:lnTo>
                    <a:lnTo>
                      <a:pt x="172" y="193"/>
                    </a:lnTo>
                    <a:lnTo>
                      <a:pt x="171" y="194"/>
                    </a:lnTo>
                    <a:lnTo>
                      <a:pt x="169" y="194"/>
                    </a:lnTo>
                    <a:lnTo>
                      <a:pt x="168" y="194"/>
                    </a:lnTo>
                    <a:lnTo>
                      <a:pt x="166" y="194"/>
                    </a:lnTo>
                    <a:lnTo>
                      <a:pt x="164" y="194"/>
                    </a:lnTo>
                    <a:lnTo>
                      <a:pt x="164" y="196"/>
                    </a:lnTo>
                    <a:lnTo>
                      <a:pt x="158" y="199"/>
                    </a:lnTo>
                    <a:lnTo>
                      <a:pt x="156" y="199"/>
                    </a:lnTo>
                    <a:lnTo>
                      <a:pt x="155" y="201"/>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81" name="Freeform 161"/>
              <p:cNvSpPr>
                <a:spLocks/>
              </p:cNvSpPr>
              <p:nvPr/>
            </p:nvSpPr>
            <p:spPr bwMode="auto">
              <a:xfrm>
                <a:off x="5069" y="1771"/>
                <a:ext cx="3" cy="0"/>
              </a:xfrm>
              <a:custGeom>
                <a:avLst/>
                <a:gdLst>
                  <a:gd name="T0" fmla="*/ 3 w 3"/>
                  <a:gd name="T1" fmla="*/ 1 w 3"/>
                  <a:gd name="T2" fmla="*/ 0 w 3"/>
                  <a:gd name="T3" fmla="*/ 1 w 3"/>
                  <a:gd name="T4" fmla="*/ 3 w 3"/>
                </a:gdLst>
                <a:ahLst/>
                <a:cxnLst>
                  <a:cxn ang="0">
                    <a:pos x="T0" y="0"/>
                  </a:cxn>
                  <a:cxn ang="0">
                    <a:pos x="T1" y="0"/>
                  </a:cxn>
                  <a:cxn ang="0">
                    <a:pos x="T2" y="0"/>
                  </a:cxn>
                  <a:cxn ang="0">
                    <a:pos x="T3" y="0"/>
                  </a:cxn>
                  <a:cxn ang="0">
                    <a:pos x="T4" y="0"/>
                  </a:cxn>
                </a:cxnLst>
                <a:rect l="0" t="0" r="r" b="b"/>
                <a:pathLst>
                  <a:path w="3">
                    <a:moveTo>
                      <a:pt x="3" y="0"/>
                    </a:moveTo>
                    <a:lnTo>
                      <a:pt x="1" y="0"/>
                    </a:lnTo>
                    <a:lnTo>
                      <a:pt x="0" y="0"/>
                    </a:lnTo>
                    <a:lnTo>
                      <a:pt x="1" y="0"/>
                    </a:lnTo>
                    <a:lnTo>
                      <a:pt x="3"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82" name="Freeform 162"/>
              <p:cNvSpPr>
                <a:spLocks/>
              </p:cNvSpPr>
              <p:nvPr/>
            </p:nvSpPr>
            <p:spPr bwMode="auto">
              <a:xfrm>
                <a:off x="5218" y="1796"/>
                <a:ext cx="79" cy="200"/>
              </a:xfrm>
              <a:custGeom>
                <a:avLst/>
                <a:gdLst>
                  <a:gd name="T0" fmla="*/ 3 w 79"/>
                  <a:gd name="T1" fmla="*/ 163 h 200"/>
                  <a:gd name="T2" fmla="*/ 8 w 79"/>
                  <a:gd name="T3" fmla="*/ 149 h 200"/>
                  <a:gd name="T4" fmla="*/ 16 w 79"/>
                  <a:gd name="T5" fmla="*/ 154 h 200"/>
                  <a:gd name="T6" fmla="*/ 8 w 79"/>
                  <a:gd name="T7" fmla="*/ 140 h 200"/>
                  <a:gd name="T8" fmla="*/ 20 w 79"/>
                  <a:gd name="T9" fmla="*/ 137 h 200"/>
                  <a:gd name="T10" fmla="*/ 17 w 79"/>
                  <a:gd name="T11" fmla="*/ 130 h 200"/>
                  <a:gd name="T12" fmla="*/ 31 w 79"/>
                  <a:gd name="T13" fmla="*/ 125 h 200"/>
                  <a:gd name="T14" fmla="*/ 36 w 79"/>
                  <a:gd name="T15" fmla="*/ 124 h 200"/>
                  <a:gd name="T16" fmla="*/ 23 w 79"/>
                  <a:gd name="T17" fmla="*/ 118 h 200"/>
                  <a:gd name="T18" fmla="*/ 9 w 79"/>
                  <a:gd name="T19" fmla="*/ 113 h 200"/>
                  <a:gd name="T20" fmla="*/ 9 w 79"/>
                  <a:gd name="T21" fmla="*/ 113 h 200"/>
                  <a:gd name="T22" fmla="*/ 27 w 79"/>
                  <a:gd name="T23" fmla="*/ 114 h 200"/>
                  <a:gd name="T24" fmla="*/ 35 w 79"/>
                  <a:gd name="T25" fmla="*/ 110 h 200"/>
                  <a:gd name="T26" fmla="*/ 33 w 79"/>
                  <a:gd name="T27" fmla="*/ 102 h 200"/>
                  <a:gd name="T28" fmla="*/ 31 w 79"/>
                  <a:gd name="T29" fmla="*/ 97 h 200"/>
                  <a:gd name="T30" fmla="*/ 25 w 79"/>
                  <a:gd name="T31" fmla="*/ 94 h 200"/>
                  <a:gd name="T32" fmla="*/ 22 w 79"/>
                  <a:gd name="T33" fmla="*/ 84 h 200"/>
                  <a:gd name="T34" fmla="*/ 22 w 79"/>
                  <a:gd name="T35" fmla="*/ 72 h 200"/>
                  <a:gd name="T36" fmla="*/ 31 w 79"/>
                  <a:gd name="T37" fmla="*/ 68 h 200"/>
                  <a:gd name="T38" fmla="*/ 25 w 79"/>
                  <a:gd name="T39" fmla="*/ 65 h 200"/>
                  <a:gd name="T40" fmla="*/ 16 w 79"/>
                  <a:gd name="T41" fmla="*/ 59 h 200"/>
                  <a:gd name="T42" fmla="*/ 20 w 79"/>
                  <a:gd name="T43" fmla="*/ 51 h 200"/>
                  <a:gd name="T44" fmla="*/ 17 w 79"/>
                  <a:gd name="T45" fmla="*/ 38 h 200"/>
                  <a:gd name="T46" fmla="*/ 19 w 79"/>
                  <a:gd name="T47" fmla="*/ 34 h 200"/>
                  <a:gd name="T48" fmla="*/ 14 w 79"/>
                  <a:gd name="T49" fmla="*/ 32 h 200"/>
                  <a:gd name="T50" fmla="*/ 12 w 79"/>
                  <a:gd name="T51" fmla="*/ 24 h 200"/>
                  <a:gd name="T52" fmla="*/ 14 w 79"/>
                  <a:gd name="T53" fmla="*/ 13 h 200"/>
                  <a:gd name="T54" fmla="*/ 17 w 79"/>
                  <a:gd name="T55" fmla="*/ 0 h 200"/>
                  <a:gd name="T56" fmla="*/ 20 w 79"/>
                  <a:gd name="T57" fmla="*/ 10 h 200"/>
                  <a:gd name="T58" fmla="*/ 22 w 79"/>
                  <a:gd name="T59" fmla="*/ 8 h 200"/>
                  <a:gd name="T60" fmla="*/ 23 w 79"/>
                  <a:gd name="T61" fmla="*/ 13 h 200"/>
                  <a:gd name="T62" fmla="*/ 27 w 79"/>
                  <a:gd name="T63" fmla="*/ 13 h 200"/>
                  <a:gd name="T64" fmla="*/ 39 w 79"/>
                  <a:gd name="T65" fmla="*/ 19 h 200"/>
                  <a:gd name="T66" fmla="*/ 52 w 79"/>
                  <a:gd name="T67" fmla="*/ 29 h 200"/>
                  <a:gd name="T68" fmla="*/ 60 w 79"/>
                  <a:gd name="T69" fmla="*/ 40 h 200"/>
                  <a:gd name="T70" fmla="*/ 60 w 79"/>
                  <a:gd name="T71" fmla="*/ 34 h 200"/>
                  <a:gd name="T72" fmla="*/ 63 w 79"/>
                  <a:gd name="T73" fmla="*/ 24 h 200"/>
                  <a:gd name="T74" fmla="*/ 68 w 79"/>
                  <a:gd name="T75" fmla="*/ 19 h 200"/>
                  <a:gd name="T76" fmla="*/ 69 w 79"/>
                  <a:gd name="T77" fmla="*/ 30 h 200"/>
                  <a:gd name="T78" fmla="*/ 71 w 79"/>
                  <a:gd name="T79" fmla="*/ 19 h 200"/>
                  <a:gd name="T80" fmla="*/ 77 w 79"/>
                  <a:gd name="T81" fmla="*/ 13 h 200"/>
                  <a:gd name="T82" fmla="*/ 77 w 79"/>
                  <a:gd name="T83" fmla="*/ 29 h 200"/>
                  <a:gd name="T84" fmla="*/ 77 w 79"/>
                  <a:gd name="T85" fmla="*/ 51 h 200"/>
                  <a:gd name="T86" fmla="*/ 68 w 79"/>
                  <a:gd name="T87" fmla="*/ 51 h 200"/>
                  <a:gd name="T88" fmla="*/ 66 w 79"/>
                  <a:gd name="T89" fmla="*/ 68 h 200"/>
                  <a:gd name="T90" fmla="*/ 65 w 79"/>
                  <a:gd name="T91" fmla="*/ 83 h 200"/>
                  <a:gd name="T92" fmla="*/ 68 w 79"/>
                  <a:gd name="T93" fmla="*/ 92 h 200"/>
                  <a:gd name="T94" fmla="*/ 76 w 79"/>
                  <a:gd name="T95" fmla="*/ 87 h 200"/>
                  <a:gd name="T96" fmla="*/ 73 w 79"/>
                  <a:gd name="T97" fmla="*/ 103 h 200"/>
                  <a:gd name="T98" fmla="*/ 68 w 79"/>
                  <a:gd name="T99" fmla="*/ 124 h 200"/>
                  <a:gd name="T100" fmla="*/ 65 w 79"/>
                  <a:gd name="T101" fmla="*/ 133 h 200"/>
                  <a:gd name="T102" fmla="*/ 61 w 79"/>
                  <a:gd name="T103" fmla="*/ 146 h 200"/>
                  <a:gd name="T104" fmla="*/ 55 w 79"/>
                  <a:gd name="T105" fmla="*/ 159 h 200"/>
                  <a:gd name="T106" fmla="*/ 54 w 79"/>
                  <a:gd name="T107" fmla="*/ 167 h 200"/>
                  <a:gd name="T108" fmla="*/ 44 w 79"/>
                  <a:gd name="T109" fmla="*/ 176 h 200"/>
                  <a:gd name="T110" fmla="*/ 50 w 79"/>
                  <a:gd name="T111" fmla="*/ 170 h 200"/>
                  <a:gd name="T112" fmla="*/ 47 w 79"/>
                  <a:gd name="T113" fmla="*/ 179 h 200"/>
                  <a:gd name="T114" fmla="*/ 35 w 79"/>
                  <a:gd name="T115" fmla="*/ 192 h 200"/>
                  <a:gd name="T116" fmla="*/ 30 w 79"/>
                  <a:gd name="T117" fmla="*/ 200 h 200"/>
                  <a:gd name="T118" fmla="*/ 33 w 79"/>
                  <a:gd name="T119" fmla="*/ 190 h 200"/>
                  <a:gd name="T120" fmla="*/ 25 w 79"/>
                  <a:gd name="T121" fmla="*/ 186 h 200"/>
                  <a:gd name="T122" fmla="*/ 20 w 79"/>
                  <a:gd name="T123" fmla="*/ 190 h 200"/>
                  <a:gd name="T124" fmla="*/ 1 w 79"/>
                  <a:gd name="T125" fmla="*/ 1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 h="200">
                    <a:moveTo>
                      <a:pt x="0" y="181"/>
                    </a:moveTo>
                    <a:lnTo>
                      <a:pt x="0" y="179"/>
                    </a:lnTo>
                    <a:lnTo>
                      <a:pt x="0" y="178"/>
                    </a:lnTo>
                    <a:lnTo>
                      <a:pt x="0" y="176"/>
                    </a:lnTo>
                    <a:lnTo>
                      <a:pt x="0" y="175"/>
                    </a:lnTo>
                    <a:lnTo>
                      <a:pt x="0" y="173"/>
                    </a:lnTo>
                    <a:lnTo>
                      <a:pt x="1" y="173"/>
                    </a:lnTo>
                    <a:lnTo>
                      <a:pt x="1" y="171"/>
                    </a:lnTo>
                    <a:lnTo>
                      <a:pt x="3" y="171"/>
                    </a:lnTo>
                    <a:lnTo>
                      <a:pt x="3" y="170"/>
                    </a:lnTo>
                    <a:lnTo>
                      <a:pt x="3" y="168"/>
                    </a:lnTo>
                    <a:lnTo>
                      <a:pt x="3" y="167"/>
                    </a:lnTo>
                    <a:lnTo>
                      <a:pt x="1" y="167"/>
                    </a:lnTo>
                    <a:lnTo>
                      <a:pt x="1" y="165"/>
                    </a:lnTo>
                    <a:lnTo>
                      <a:pt x="3" y="165"/>
                    </a:lnTo>
                    <a:lnTo>
                      <a:pt x="3" y="163"/>
                    </a:lnTo>
                    <a:lnTo>
                      <a:pt x="3" y="162"/>
                    </a:lnTo>
                    <a:lnTo>
                      <a:pt x="4" y="162"/>
                    </a:lnTo>
                    <a:lnTo>
                      <a:pt x="4" y="160"/>
                    </a:lnTo>
                    <a:lnTo>
                      <a:pt x="3" y="160"/>
                    </a:lnTo>
                    <a:lnTo>
                      <a:pt x="3" y="159"/>
                    </a:lnTo>
                    <a:lnTo>
                      <a:pt x="3" y="157"/>
                    </a:lnTo>
                    <a:lnTo>
                      <a:pt x="3" y="156"/>
                    </a:lnTo>
                    <a:lnTo>
                      <a:pt x="4" y="156"/>
                    </a:lnTo>
                    <a:lnTo>
                      <a:pt x="4" y="154"/>
                    </a:lnTo>
                    <a:lnTo>
                      <a:pt x="6" y="154"/>
                    </a:lnTo>
                    <a:lnTo>
                      <a:pt x="6" y="152"/>
                    </a:lnTo>
                    <a:lnTo>
                      <a:pt x="6" y="151"/>
                    </a:lnTo>
                    <a:lnTo>
                      <a:pt x="8" y="151"/>
                    </a:lnTo>
                    <a:lnTo>
                      <a:pt x="8" y="149"/>
                    </a:lnTo>
                    <a:lnTo>
                      <a:pt x="6" y="149"/>
                    </a:lnTo>
                    <a:lnTo>
                      <a:pt x="8" y="149"/>
                    </a:lnTo>
                    <a:lnTo>
                      <a:pt x="8" y="151"/>
                    </a:lnTo>
                    <a:lnTo>
                      <a:pt x="8" y="152"/>
                    </a:lnTo>
                    <a:lnTo>
                      <a:pt x="9" y="152"/>
                    </a:lnTo>
                    <a:lnTo>
                      <a:pt x="9" y="154"/>
                    </a:lnTo>
                    <a:lnTo>
                      <a:pt x="9" y="156"/>
                    </a:lnTo>
                    <a:lnTo>
                      <a:pt x="11" y="156"/>
                    </a:lnTo>
                    <a:lnTo>
                      <a:pt x="11" y="154"/>
                    </a:lnTo>
                    <a:lnTo>
                      <a:pt x="12" y="154"/>
                    </a:lnTo>
                    <a:lnTo>
                      <a:pt x="12" y="156"/>
                    </a:lnTo>
                    <a:lnTo>
                      <a:pt x="14" y="156"/>
                    </a:lnTo>
                    <a:lnTo>
                      <a:pt x="14" y="154"/>
                    </a:lnTo>
                    <a:lnTo>
                      <a:pt x="16" y="154"/>
                    </a:lnTo>
                    <a:lnTo>
                      <a:pt x="16" y="156"/>
                    </a:lnTo>
                    <a:lnTo>
                      <a:pt x="17" y="156"/>
                    </a:lnTo>
                    <a:lnTo>
                      <a:pt x="16" y="156"/>
                    </a:lnTo>
                    <a:lnTo>
                      <a:pt x="16" y="154"/>
                    </a:lnTo>
                    <a:lnTo>
                      <a:pt x="16" y="152"/>
                    </a:lnTo>
                    <a:lnTo>
                      <a:pt x="16" y="151"/>
                    </a:lnTo>
                    <a:lnTo>
                      <a:pt x="14" y="151"/>
                    </a:lnTo>
                    <a:lnTo>
                      <a:pt x="14" y="149"/>
                    </a:lnTo>
                    <a:lnTo>
                      <a:pt x="12" y="149"/>
                    </a:lnTo>
                    <a:lnTo>
                      <a:pt x="12" y="148"/>
                    </a:lnTo>
                    <a:lnTo>
                      <a:pt x="12" y="146"/>
                    </a:lnTo>
                    <a:lnTo>
                      <a:pt x="11" y="146"/>
                    </a:lnTo>
                    <a:lnTo>
                      <a:pt x="11" y="144"/>
                    </a:lnTo>
                    <a:lnTo>
                      <a:pt x="12" y="144"/>
                    </a:lnTo>
                    <a:lnTo>
                      <a:pt x="11" y="144"/>
                    </a:lnTo>
                    <a:lnTo>
                      <a:pt x="11" y="143"/>
                    </a:lnTo>
                    <a:lnTo>
                      <a:pt x="9" y="143"/>
                    </a:lnTo>
                    <a:lnTo>
                      <a:pt x="9" y="141"/>
                    </a:lnTo>
                    <a:lnTo>
                      <a:pt x="8" y="141"/>
                    </a:lnTo>
                    <a:lnTo>
                      <a:pt x="8" y="140"/>
                    </a:lnTo>
                    <a:lnTo>
                      <a:pt x="6" y="140"/>
                    </a:lnTo>
                    <a:lnTo>
                      <a:pt x="8" y="140"/>
                    </a:lnTo>
                    <a:lnTo>
                      <a:pt x="8" y="138"/>
                    </a:lnTo>
                    <a:lnTo>
                      <a:pt x="9" y="138"/>
                    </a:lnTo>
                    <a:lnTo>
                      <a:pt x="11" y="138"/>
                    </a:lnTo>
                    <a:lnTo>
                      <a:pt x="12" y="138"/>
                    </a:lnTo>
                    <a:lnTo>
                      <a:pt x="12" y="140"/>
                    </a:lnTo>
                    <a:lnTo>
                      <a:pt x="14" y="140"/>
                    </a:lnTo>
                    <a:lnTo>
                      <a:pt x="16" y="140"/>
                    </a:lnTo>
                    <a:lnTo>
                      <a:pt x="17" y="140"/>
                    </a:lnTo>
                    <a:lnTo>
                      <a:pt x="17" y="138"/>
                    </a:lnTo>
                    <a:lnTo>
                      <a:pt x="19" y="138"/>
                    </a:lnTo>
                    <a:lnTo>
                      <a:pt x="19" y="137"/>
                    </a:lnTo>
                    <a:lnTo>
                      <a:pt x="19" y="135"/>
                    </a:lnTo>
                    <a:lnTo>
                      <a:pt x="19" y="137"/>
                    </a:lnTo>
                    <a:lnTo>
                      <a:pt x="20" y="137"/>
                    </a:lnTo>
                    <a:lnTo>
                      <a:pt x="19" y="137"/>
                    </a:lnTo>
                    <a:lnTo>
                      <a:pt x="20" y="137"/>
                    </a:lnTo>
                    <a:lnTo>
                      <a:pt x="20" y="138"/>
                    </a:lnTo>
                    <a:lnTo>
                      <a:pt x="20" y="137"/>
                    </a:lnTo>
                    <a:lnTo>
                      <a:pt x="22" y="137"/>
                    </a:lnTo>
                    <a:lnTo>
                      <a:pt x="23" y="137"/>
                    </a:lnTo>
                    <a:lnTo>
                      <a:pt x="23" y="138"/>
                    </a:lnTo>
                    <a:lnTo>
                      <a:pt x="23" y="137"/>
                    </a:lnTo>
                    <a:lnTo>
                      <a:pt x="22" y="137"/>
                    </a:lnTo>
                    <a:lnTo>
                      <a:pt x="20" y="137"/>
                    </a:lnTo>
                    <a:lnTo>
                      <a:pt x="20" y="135"/>
                    </a:lnTo>
                    <a:lnTo>
                      <a:pt x="19" y="135"/>
                    </a:lnTo>
                    <a:lnTo>
                      <a:pt x="19" y="133"/>
                    </a:lnTo>
                    <a:lnTo>
                      <a:pt x="19" y="132"/>
                    </a:lnTo>
                    <a:lnTo>
                      <a:pt x="19" y="130"/>
                    </a:lnTo>
                    <a:lnTo>
                      <a:pt x="17" y="130"/>
                    </a:lnTo>
                    <a:lnTo>
                      <a:pt x="17" y="129"/>
                    </a:lnTo>
                    <a:lnTo>
                      <a:pt x="17" y="127"/>
                    </a:lnTo>
                    <a:lnTo>
                      <a:pt x="19" y="127"/>
                    </a:lnTo>
                    <a:lnTo>
                      <a:pt x="20" y="127"/>
                    </a:lnTo>
                    <a:lnTo>
                      <a:pt x="20" y="129"/>
                    </a:lnTo>
                    <a:lnTo>
                      <a:pt x="22" y="129"/>
                    </a:lnTo>
                    <a:lnTo>
                      <a:pt x="23" y="129"/>
                    </a:lnTo>
                    <a:lnTo>
                      <a:pt x="25" y="129"/>
                    </a:lnTo>
                    <a:lnTo>
                      <a:pt x="25" y="127"/>
                    </a:lnTo>
                    <a:lnTo>
                      <a:pt x="27" y="127"/>
                    </a:lnTo>
                    <a:lnTo>
                      <a:pt x="28" y="127"/>
                    </a:lnTo>
                    <a:lnTo>
                      <a:pt x="28" y="125"/>
                    </a:lnTo>
                    <a:lnTo>
                      <a:pt x="30" y="125"/>
                    </a:lnTo>
                    <a:lnTo>
                      <a:pt x="30" y="124"/>
                    </a:lnTo>
                    <a:lnTo>
                      <a:pt x="31" y="124"/>
                    </a:lnTo>
                    <a:lnTo>
                      <a:pt x="31" y="125"/>
                    </a:lnTo>
                    <a:lnTo>
                      <a:pt x="33" y="125"/>
                    </a:lnTo>
                    <a:lnTo>
                      <a:pt x="35" y="125"/>
                    </a:lnTo>
                    <a:lnTo>
                      <a:pt x="35" y="127"/>
                    </a:lnTo>
                    <a:lnTo>
                      <a:pt x="36" y="127"/>
                    </a:lnTo>
                    <a:lnTo>
                      <a:pt x="38" y="127"/>
                    </a:lnTo>
                    <a:lnTo>
                      <a:pt x="38" y="129"/>
                    </a:lnTo>
                    <a:lnTo>
                      <a:pt x="39" y="129"/>
                    </a:lnTo>
                    <a:lnTo>
                      <a:pt x="39" y="127"/>
                    </a:lnTo>
                    <a:lnTo>
                      <a:pt x="38" y="127"/>
                    </a:lnTo>
                    <a:lnTo>
                      <a:pt x="38" y="125"/>
                    </a:lnTo>
                    <a:lnTo>
                      <a:pt x="39" y="125"/>
                    </a:lnTo>
                    <a:lnTo>
                      <a:pt x="38" y="125"/>
                    </a:lnTo>
                    <a:lnTo>
                      <a:pt x="38" y="124"/>
                    </a:lnTo>
                    <a:lnTo>
                      <a:pt x="39" y="124"/>
                    </a:lnTo>
                    <a:lnTo>
                      <a:pt x="38" y="124"/>
                    </a:lnTo>
                    <a:lnTo>
                      <a:pt x="36" y="124"/>
                    </a:lnTo>
                    <a:lnTo>
                      <a:pt x="36" y="122"/>
                    </a:lnTo>
                    <a:lnTo>
                      <a:pt x="35" y="122"/>
                    </a:lnTo>
                    <a:lnTo>
                      <a:pt x="35" y="124"/>
                    </a:lnTo>
                    <a:lnTo>
                      <a:pt x="33" y="124"/>
                    </a:lnTo>
                    <a:lnTo>
                      <a:pt x="33" y="122"/>
                    </a:lnTo>
                    <a:lnTo>
                      <a:pt x="31" y="122"/>
                    </a:lnTo>
                    <a:lnTo>
                      <a:pt x="30" y="122"/>
                    </a:lnTo>
                    <a:lnTo>
                      <a:pt x="30" y="121"/>
                    </a:lnTo>
                    <a:lnTo>
                      <a:pt x="28" y="121"/>
                    </a:lnTo>
                    <a:lnTo>
                      <a:pt x="28" y="122"/>
                    </a:lnTo>
                    <a:lnTo>
                      <a:pt x="28" y="121"/>
                    </a:lnTo>
                    <a:lnTo>
                      <a:pt x="27" y="121"/>
                    </a:lnTo>
                    <a:lnTo>
                      <a:pt x="27" y="119"/>
                    </a:lnTo>
                    <a:lnTo>
                      <a:pt x="25" y="119"/>
                    </a:lnTo>
                    <a:lnTo>
                      <a:pt x="23" y="119"/>
                    </a:lnTo>
                    <a:lnTo>
                      <a:pt x="23" y="118"/>
                    </a:lnTo>
                    <a:lnTo>
                      <a:pt x="23" y="116"/>
                    </a:lnTo>
                    <a:lnTo>
                      <a:pt x="22" y="116"/>
                    </a:lnTo>
                    <a:lnTo>
                      <a:pt x="20" y="116"/>
                    </a:lnTo>
                    <a:lnTo>
                      <a:pt x="19" y="116"/>
                    </a:lnTo>
                    <a:lnTo>
                      <a:pt x="17" y="116"/>
                    </a:lnTo>
                    <a:lnTo>
                      <a:pt x="16" y="116"/>
                    </a:lnTo>
                    <a:lnTo>
                      <a:pt x="16" y="118"/>
                    </a:lnTo>
                    <a:lnTo>
                      <a:pt x="14" y="118"/>
                    </a:lnTo>
                    <a:lnTo>
                      <a:pt x="12" y="118"/>
                    </a:lnTo>
                    <a:lnTo>
                      <a:pt x="12" y="116"/>
                    </a:lnTo>
                    <a:lnTo>
                      <a:pt x="12" y="114"/>
                    </a:lnTo>
                    <a:lnTo>
                      <a:pt x="12" y="116"/>
                    </a:lnTo>
                    <a:lnTo>
                      <a:pt x="11" y="116"/>
                    </a:lnTo>
                    <a:lnTo>
                      <a:pt x="11" y="114"/>
                    </a:lnTo>
                    <a:lnTo>
                      <a:pt x="9" y="114"/>
                    </a:lnTo>
                    <a:lnTo>
                      <a:pt x="9" y="113"/>
                    </a:lnTo>
                    <a:lnTo>
                      <a:pt x="8" y="113"/>
                    </a:lnTo>
                    <a:lnTo>
                      <a:pt x="6" y="113"/>
                    </a:lnTo>
                    <a:lnTo>
                      <a:pt x="6" y="111"/>
                    </a:lnTo>
                    <a:lnTo>
                      <a:pt x="4" y="111"/>
                    </a:lnTo>
                    <a:lnTo>
                      <a:pt x="4" y="110"/>
                    </a:lnTo>
                    <a:lnTo>
                      <a:pt x="4" y="108"/>
                    </a:lnTo>
                    <a:lnTo>
                      <a:pt x="4" y="106"/>
                    </a:lnTo>
                    <a:lnTo>
                      <a:pt x="6" y="106"/>
                    </a:lnTo>
                    <a:lnTo>
                      <a:pt x="8" y="106"/>
                    </a:lnTo>
                    <a:lnTo>
                      <a:pt x="8" y="108"/>
                    </a:lnTo>
                    <a:lnTo>
                      <a:pt x="9" y="108"/>
                    </a:lnTo>
                    <a:lnTo>
                      <a:pt x="9" y="110"/>
                    </a:lnTo>
                    <a:lnTo>
                      <a:pt x="11" y="110"/>
                    </a:lnTo>
                    <a:lnTo>
                      <a:pt x="9" y="110"/>
                    </a:lnTo>
                    <a:lnTo>
                      <a:pt x="9" y="111"/>
                    </a:lnTo>
                    <a:lnTo>
                      <a:pt x="9" y="113"/>
                    </a:lnTo>
                    <a:lnTo>
                      <a:pt x="11" y="113"/>
                    </a:lnTo>
                    <a:lnTo>
                      <a:pt x="11" y="114"/>
                    </a:lnTo>
                    <a:lnTo>
                      <a:pt x="12" y="114"/>
                    </a:lnTo>
                    <a:lnTo>
                      <a:pt x="14" y="114"/>
                    </a:lnTo>
                    <a:lnTo>
                      <a:pt x="16" y="114"/>
                    </a:lnTo>
                    <a:lnTo>
                      <a:pt x="17" y="114"/>
                    </a:lnTo>
                    <a:lnTo>
                      <a:pt x="17" y="113"/>
                    </a:lnTo>
                    <a:lnTo>
                      <a:pt x="17" y="111"/>
                    </a:lnTo>
                    <a:lnTo>
                      <a:pt x="19" y="111"/>
                    </a:lnTo>
                    <a:lnTo>
                      <a:pt x="19" y="113"/>
                    </a:lnTo>
                    <a:lnTo>
                      <a:pt x="20" y="113"/>
                    </a:lnTo>
                    <a:lnTo>
                      <a:pt x="22" y="113"/>
                    </a:lnTo>
                    <a:lnTo>
                      <a:pt x="23" y="113"/>
                    </a:lnTo>
                    <a:lnTo>
                      <a:pt x="25" y="113"/>
                    </a:lnTo>
                    <a:lnTo>
                      <a:pt x="27" y="113"/>
                    </a:lnTo>
                    <a:lnTo>
                      <a:pt x="27" y="114"/>
                    </a:lnTo>
                    <a:lnTo>
                      <a:pt x="28" y="114"/>
                    </a:lnTo>
                    <a:lnTo>
                      <a:pt x="28" y="113"/>
                    </a:lnTo>
                    <a:lnTo>
                      <a:pt x="30" y="113"/>
                    </a:lnTo>
                    <a:lnTo>
                      <a:pt x="30" y="111"/>
                    </a:lnTo>
                    <a:lnTo>
                      <a:pt x="28" y="111"/>
                    </a:lnTo>
                    <a:lnTo>
                      <a:pt x="30" y="111"/>
                    </a:lnTo>
                    <a:lnTo>
                      <a:pt x="30" y="110"/>
                    </a:lnTo>
                    <a:lnTo>
                      <a:pt x="30" y="111"/>
                    </a:lnTo>
                    <a:lnTo>
                      <a:pt x="30" y="110"/>
                    </a:lnTo>
                    <a:lnTo>
                      <a:pt x="30" y="111"/>
                    </a:lnTo>
                    <a:lnTo>
                      <a:pt x="31" y="111"/>
                    </a:lnTo>
                    <a:lnTo>
                      <a:pt x="31" y="113"/>
                    </a:lnTo>
                    <a:lnTo>
                      <a:pt x="33" y="113"/>
                    </a:lnTo>
                    <a:lnTo>
                      <a:pt x="35" y="113"/>
                    </a:lnTo>
                    <a:lnTo>
                      <a:pt x="35" y="111"/>
                    </a:lnTo>
                    <a:lnTo>
                      <a:pt x="35" y="110"/>
                    </a:lnTo>
                    <a:lnTo>
                      <a:pt x="33" y="110"/>
                    </a:lnTo>
                    <a:lnTo>
                      <a:pt x="35" y="110"/>
                    </a:lnTo>
                    <a:lnTo>
                      <a:pt x="35" y="108"/>
                    </a:lnTo>
                    <a:lnTo>
                      <a:pt x="35" y="106"/>
                    </a:lnTo>
                    <a:lnTo>
                      <a:pt x="33" y="106"/>
                    </a:lnTo>
                    <a:lnTo>
                      <a:pt x="35" y="106"/>
                    </a:lnTo>
                    <a:lnTo>
                      <a:pt x="35" y="105"/>
                    </a:lnTo>
                    <a:lnTo>
                      <a:pt x="36" y="105"/>
                    </a:lnTo>
                    <a:lnTo>
                      <a:pt x="38" y="105"/>
                    </a:lnTo>
                    <a:lnTo>
                      <a:pt x="38" y="103"/>
                    </a:lnTo>
                    <a:lnTo>
                      <a:pt x="36" y="103"/>
                    </a:lnTo>
                    <a:lnTo>
                      <a:pt x="36" y="102"/>
                    </a:lnTo>
                    <a:lnTo>
                      <a:pt x="35" y="102"/>
                    </a:lnTo>
                    <a:lnTo>
                      <a:pt x="35" y="103"/>
                    </a:lnTo>
                    <a:lnTo>
                      <a:pt x="33" y="103"/>
                    </a:lnTo>
                    <a:lnTo>
                      <a:pt x="33" y="102"/>
                    </a:lnTo>
                    <a:lnTo>
                      <a:pt x="35" y="102"/>
                    </a:lnTo>
                    <a:lnTo>
                      <a:pt x="35" y="100"/>
                    </a:lnTo>
                    <a:lnTo>
                      <a:pt x="35" y="99"/>
                    </a:lnTo>
                    <a:lnTo>
                      <a:pt x="36" y="99"/>
                    </a:lnTo>
                    <a:lnTo>
                      <a:pt x="36" y="97"/>
                    </a:lnTo>
                    <a:lnTo>
                      <a:pt x="36" y="95"/>
                    </a:lnTo>
                    <a:lnTo>
                      <a:pt x="35" y="95"/>
                    </a:lnTo>
                    <a:lnTo>
                      <a:pt x="33" y="95"/>
                    </a:lnTo>
                    <a:lnTo>
                      <a:pt x="35" y="95"/>
                    </a:lnTo>
                    <a:lnTo>
                      <a:pt x="35" y="94"/>
                    </a:lnTo>
                    <a:lnTo>
                      <a:pt x="36" y="94"/>
                    </a:lnTo>
                    <a:lnTo>
                      <a:pt x="35" y="94"/>
                    </a:lnTo>
                    <a:lnTo>
                      <a:pt x="33" y="94"/>
                    </a:lnTo>
                    <a:lnTo>
                      <a:pt x="33" y="95"/>
                    </a:lnTo>
                    <a:lnTo>
                      <a:pt x="33" y="97"/>
                    </a:lnTo>
                    <a:lnTo>
                      <a:pt x="31" y="97"/>
                    </a:lnTo>
                    <a:lnTo>
                      <a:pt x="31" y="99"/>
                    </a:lnTo>
                    <a:lnTo>
                      <a:pt x="30" y="99"/>
                    </a:lnTo>
                    <a:lnTo>
                      <a:pt x="30" y="100"/>
                    </a:lnTo>
                    <a:lnTo>
                      <a:pt x="28" y="100"/>
                    </a:lnTo>
                    <a:lnTo>
                      <a:pt x="28" y="102"/>
                    </a:lnTo>
                    <a:lnTo>
                      <a:pt x="27" y="102"/>
                    </a:lnTo>
                    <a:lnTo>
                      <a:pt x="25" y="102"/>
                    </a:lnTo>
                    <a:lnTo>
                      <a:pt x="25" y="100"/>
                    </a:lnTo>
                    <a:lnTo>
                      <a:pt x="27" y="100"/>
                    </a:lnTo>
                    <a:lnTo>
                      <a:pt x="27" y="99"/>
                    </a:lnTo>
                    <a:lnTo>
                      <a:pt x="27" y="97"/>
                    </a:lnTo>
                    <a:lnTo>
                      <a:pt x="27" y="95"/>
                    </a:lnTo>
                    <a:lnTo>
                      <a:pt x="27" y="94"/>
                    </a:lnTo>
                    <a:lnTo>
                      <a:pt x="25" y="94"/>
                    </a:lnTo>
                    <a:lnTo>
                      <a:pt x="25" y="95"/>
                    </a:lnTo>
                    <a:lnTo>
                      <a:pt x="25" y="94"/>
                    </a:lnTo>
                    <a:lnTo>
                      <a:pt x="23" y="94"/>
                    </a:lnTo>
                    <a:lnTo>
                      <a:pt x="23" y="92"/>
                    </a:lnTo>
                    <a:lnTo>
                      <a:pt x="22" y="92"/>
                    </a:lnTo>
                    <a:lnTo>
                      <a:pt x="20" y="92"/>
                    </a:lnTo>
                    <a:lnTo>
                      <a:pt x="20" y="91"/>
                    </a:lnTo>
                    <a:lnTo>
                      <a:pt x="19" y="91"/>
                    </a:lnTo>
                    <a:lnTo>
                      <a:pt x="20" y="91"/>
                    </a:lnTo>
                    <a:lnTo>
                      <a:pt x="19" y="91"/>
                    </a:lnTo>
                    <a:lnTo>
                      <a:pt x="17" y="91"/>
                    </a:lnTo>
                    <a:lnTo>
                      <a:pt x="17" y="89"/>
                    </a:lnTo>
                    <a:lnTo>
                      <a:pt x="17" y="87"/>
                    </a:lnTo>
                    <a:lnTo>
                      <a:pt x="17" y="86"/>
                    </a:lnTo>
                    <a:lnTo>
                      <a:pt x="17" y="84"/>
                    </a:lnTo>
                    <a:lnTo>
                      <a:pt x="19" y="84"/>
                    </a:lnTo>
                    <a:lnTo>
                      <a:pt x="20" y="84"/>
                    </a:lnTo>
                    <a:lnTo>
                      <a:pt x="22" y="84"/>
                    </a:lnTo>
                    <a:lnTo>
                      <a:pt x="22" y="83"/>
                    </a:lnTo>
                    <a:lnTo>
                      <a:pt x="20" y="83"/>
                    </a:lnTo>
                    <a:lnTo>
                      <a:pt x="19" y="83"/>
                    </a:lnTo>
                    <a:lnTo>
                      <a:pt x="20" y="83"/>
                    </a:lnTo>
                    <a:lnTo>
                      <a:pt x="20" y="81"/>
                    </a:lnTo>
                    <a:lnTo>
                      <a:pt x="19" y="81"/>
                    </a:lnTo>
                    <a:lnTo>
                      <a:pt x="19" y="80"/>
                    </a:lnTo>
                    <a:lnTo>
                      <a:pt x="17" y="80"/>
                    </a:lnTo>
                    <a:lnTo>
                      <a:pt x="17" y="78"/>
                    </a:lnTo>
                    <a:lnTo>
                      <a:pt x="19" y="78"/>
                    </a:lnTo>
                    <a:lnTo>
                      <a:pt x="19" y="76"/>
                    </a:lnTo>
                    <a:lnTo>
                      <a:pt x="20" y="76"/>
                    </a:lnTo>
                    <a:lnTo>
                      <a:pt x="20" y="75"/>
                    </a:lnTo>
                    <a:lnTo>
                      <a:pt x="20" y="73"/>
                    </a:lnTo>
                    <a:lnTo>
                      <a:pt x="20" y="72"/>
                    </a:lnTo>
                    <a:lnTo>
                      <a:pt x="22" y="72"/>
                    </a:lnTo>
                    <a:lnTo>
                      <a:pt x="22" y="70"/>
                    </a:lnTo>
                    <a:lnTo>
                      <a:pt x="22" y="68"/>
                    </a:lnTo>
                    <a:lnTo>
                      <a:pt x="23" y="68"/>
                    </a:lnTo>
                    <a:lnTo>
                      <a:pt x="23" y="70"/>
                    </a:lnTo>
                    <a:lnTo>
                      <a:pt x="23" y="68"/>
                    </a:lnTo>
                    <a:lnTo>
                      <a:pt x="25" y="68"/>
                    </a:lnTo>
                    <a:lnTo>
                      <a:pt x="27" y="68"/>
                    </a:lnTo>
                    <a:lnTo>
                      <a:pt x="27" y="70"/>
                    </a:lnTo>
                    <a:lnTo>
                      <a:pt x="25" y="70"/>
                    </a:lnTo>
                    <a:lnTo>
                      <a:pt x="27" y="70"/>
                    </a:lnTo>
                    <a:lnTo>
                      <a:pt x="28" y="70"/>
                    </a:lnTo>
                    <a:lnTo>
                      <a:pt x="28" y="68"/>
                    </a:lnTo>
                    <a:lnTo>
                      <a:pt x="28" y="70"/>
                    </a:lnTo>
                    <a:lnTo>
                      <a:pt x="30" y="70"/>
                    </a:lnTo>
                    <a:lnTo>
                      <a:pt x="30" y="68"/>
                    </a:lnTo>
                    <a:lnTo>
                      <a:pt x="31" y="68"/>
                    </a:lnTo>
                    <a:lnTo>
                      <a:pt x="31" y="70"/>
                    </a:lnTo>
                    <a:lnTo>
                      <a:pt x="33" y="70"/>
                    </a:lnTo>
                    <a:lnTo>
                      <a:pt x="35" y="70"/>
                    </a:lnTo>
                    <a:lnTo>
                      <a:pt x="33" y="70"/>
                    </a:lnTo>
                    <a:lnTo>
                      <a:pt x="31" y="70"/>
                    </a:lnTo>
                    <a:lnTo>
                      <a:pt x="31" y="68"/>
                    </a:lnTo>
                    <a:lnTo>
                      <a:pt x="30" y="68"/>
                    </a:lnTo>
                    <a:lnTo>
                      <a:pt x="28" y="68"/>
                    </a:lnTo>
                    <a:lnTo>
                      <a:pt x="28" y="67"/>
                    </a:lnTo>
                    <a:lnTo>
                      <a:pt x="27" y="67"/>
                    </a:lnTo>
                    <a:lnTo>
                      <a:pt x="27" y="65"/>
                    </a:lnTo>
                    <a:lnTo>
                      <a:pt x="28" y="65"/>
                    </a:lnTo>
                    <a:lnTo>
                      <a:pt x="27" y="65"/>
                    </a:lnTo>
                    <a:lnTo>
                      <a:pt x="27" y="64"/>
                    </a:lnTo>
                    <a:lnTo>
                      <a:pt x="25" y="64"/>
                    </a:lnTo>
                    <a:lnTo>
                      <a:pt x="25" y="65"/>
                    </a:lnTo>
                    <a:lnTo>
                      <a:pt x="23" y="65"/>
                    </a:lnTo>
                    <a:lnTo>
                      <a:pt x="23" y="64"/>
                    </a:lnTo>
                    <a:lnTo>
                      <a:pt x="22" y="64"/>
                    </a:lnTo>
                    <a:lnTo>
                      <a:pt x="22" y="62"/>
                    </a:lnTo>
                    <a:lnTo>
                      <a:pt x="20" y="62"/>
                    </a:lnTo>
                    <a:lnTo>
                      <a:pt x="20" y="64"/>
                    </a:lnTo>
                    <a:lnTo>
                      <a:pt x="20" y="62"/>
                    </a:lnTo>
                    <a:lnTo>
                      <a:pt x="19" y="62"/>
                    </a:lnTo>
                    <a:lnTo>
                      <a:pt x="17" y="62"/>
                    </a:lnTo>
                    <a:lnTo>
                      <a:pt x="16" y="62"/>
                    </a:lnTo>
                    <a:lnTo>
                      <a:pt x="16" y="61"/>
                    </a:lnTo>
                    <a:lnTo>
                      <a:pt x="14" y="61"/>
                    </a:lnTo>
                    <a:lnTo>
                      <a:pt x="12" y="61"/>
                    </a:lnTo>
                    <a:lnTo>
                      <a:pt x="12" y="59"/>
                    </a:lnTo>
                    <a:lnTo>
                      <a:pt x="14" y="59"/>
                    </a:lnTo>
                    <a:lnTo>
                      <a:pt x="16" y="59"/>
                    </a:lnTo>
                    <a:lnTo>
                      <a:pt x="16" y="57"/>
                    </a:lnTo>
                    <a:lnTo>
                      <a:pt x="16" y="56"/>
                    </a:lnTo>
                    <a:lnTo>
                      <a:pt x="17" y="56"/>
                    </a:lnTo>
                    <a:lnTo>
                      <a:pt x="17" y="57"/>
                    </a:lnTo>
                    <a:lnTo>
                      <a:pt x="19" y="57"/>
                    </a:lnTo>
                    <a:lnTo>
                      <a:pt x="19" y="56"/>
                    </a:lnTo>
                    <a:lnTo>
                      <a:pt x="20" y="56"/>
                    </a:lnTo>
                    <a:lnTo>
                      <a:pt x="20" y="54"/>
                    </a:lnTo>
                    <a:lnTo>
                      <a:pt x="19" y="54"/>
                    </a:lnTo>
                    <a:lnTo>
                      <a:pt x="20" y="54"/>
                    </a:lnTo>
                    <a:lnTo>
                      <a:pt x="19" y="54"/>
                    </a:lnTo>
                    <a:lnTo>
                      <a:pt x="20" y="54"/>
                    </a:lnTo>
                    <a:lnTo>
                      <a:pt x="19" y="54"/>
                    </a:lnTo>
                    <a:lnTo>
                      <a:pt x="20" y="54"/>
                    </a:lnTo>
                    <a:lnTo>
                      <a:pt x="20" y="53"/>
                    </a:lnTo>
                    <a:lnTo>
                      <a:pt x="20" y="51"/>
                    </a:lnTo>
                    <a:lnTo>
                      <a:pt x="20" y="49"/>
                    </a:lnTo>
                    <a:lnTo>
                      <a:pt x="19" y="49"/>
                    </a:lnTo>
                    <a:lnTo>
                      <a:pt x="19" y="48"/>
                    </a:lnTo>
                    <a:lnTo>
                      <a:pt x="17" y="48"/>
                    </a:lnTo>
                    <a:lnTo>
                      <a:pt x="16" y="48"/>
                    </a:lnTo>
                    <a:lnTo>
                      <a:pt x="16" y="46"/>
                    </a:lnTo>
                    <a:lnTo>
                      <a:pt x="16" y="45"/>
                    </a:lnTo>
                    <a:lnTo>
                      <a:pt x="14" y="45"/>
                    </a:lnTo>
                    <a:lnTo>
                      <a:pt x="16" y="45"/>
                    </a:lnTo>
                    <a:lnTo>
                      <a:pt x="16" y="43"/>
                    </a:lnTo>
                    <a:lnTo>
                      <a:pt x="14" y="43"/>
                    </a:lnTo>
                    <a:lnTo>
                      <a:pt x="14" y="42"/>
                    </a:lnTo>
                    <a:lnTo>
                      <a:pt x="14" y="40"/>
                    </a:lnTo>
                    <a:lnTo>
                      <a:pt x="16" y="40"/>
                    </a:lnTo>
                    <a:lnTo>
                      <a:pt x="16" y="38"/>
                    </a:lnTo>
                    <a:lnTo>
                      <a:pt x="17" y="38"/>
                    </a:lnTo>
                    <a:lnTo>
                      <a:pt x="17" y="40"/>
                    </a:lnTo>
                    <a:lnTo>
                      <a:pt x="19" y="40"/>
                    </a:lnTo>
                    <a:lnTo>
                      <a:pt x="19" y="38"/>
                    </a:lnTo>
                    <a:lnTo>
                      <a:pt x="20" y="38"/>
                    </a:lnTo>
                    <a:lnTo>
                      <a:pt x="20" y="37"/>
                    </a:lnTo>
                    <a:lnTo>
                      <a:pt x="22" y="37"/>
                    </a:lnTo>
                    <a:lnTo>
                      <a:pt x="22" y="38"/>
                    </a:lnTo>
                    <a:lnTo>
                      <a:pt x="22" y="40"/>
                    </a:lnTo>
                    <a:lnTo>
                      <a:pt x="22" y="38"/>
                    </a:lnTo>
                    <a:lnTo>
                      <a:pt x="23" y="38"/>
                    </a:lnTo>
                    <a:lnTo>
                      <a:pt x="22" y="38"/>
                    </a:lnTo>
                    <a:lnTo>
                      <a:pt x="22" y="37"/>
                    </a:lnTo>
                    <a:lnTo>
                      <a:pt x="20" y="37"/>
                    </a:lnTo>
                    <a:lnTo>
                      <a:pt x="20" y="35"/>
                    </a:lnTo>
                    <a:lnTo>
                      <a:pt x="20" y="34"/>
                    </a:lnTo>
                    <a:lnTo>
                      <a:pt x="19" y="34"/>
                    </a:lnTo>
                    <a:lnTo>
                      <a:pt x="19" y="35"/>
                    </a:lnTo>
                    <a:lnTo>
                      <a:pt x="19" y="34"/>
                    </a:lnTo>
                    <a:lnTo>
                      <a:pt x="17" y="34"/>
                    </a:lnTo>
                    <a:lnTo>
                      <a:pt x="17" y="32"/>
                    </a:lnTo>
                    <a:lnTo>
                      <a:pt x="19" y="32"/>
                    </a:lnTo>
                    <a:lnTo>
                      <a:pt x="17" y="32"/>
                    </a:lnTo>
                    <a:lnTo>
                      <a:pt x="17" y="30"/>
                    </a:lnTo>
                    <a:lnTo>
                      <a:pt x="17" y="29"/>
                    </a:lnTo>
                    <a:lnTo>
                      <a:pt x="16" y="29"/>
                    </a:lnTo>
                    <a:lnTo>
                      <a:pt x="16" y="30"/>
                    </a:lnTo>
                    <a:lnTo>
                      <a:pt x="17" y="30"/>
                    </a:lnTo>
                    <a:lnTo>
                      <a:pt x="17" y="32"/>
                    </a:lnTo>
                    <a:lnTo>
                      <a:pt x="16" y="32"/>
                    </a:lnTo>
                    <a:lnTo>
                      <a:pt x="16" y="30"/>
                    </a:lnTo>
                    <a:lnTo>
                      <a:pt x="14" y="30"/>
                    </a:lnTo>
                    <a:lnTo>
                      <a:pt x="14" y="32"/>
                    </a:lnTo>
                    <a:lnTo>
                      <a:pt x="12" y="32"/>
                    </a:lnTo>
                    <a:lnTo>
                      <a:pt x="14" y="32"/>
                    </a:lnTo>
                    <a:lnTo>
                      <a:pt x="12" y="32"/>
                    </a:lnTo>
                    <a:lnTo>
                      <a:pt x="12" y="30"/>
                    </a:lnTo>
                    <a:lnTo>
                      <a:pt x="14" y="30"/>
                    </a:lnTo>
                    <a:lnTo>
                      <a:pt x="12" y="30"/>
                    </a:lnTo>
                    <a:lnTo>
                      <a:pt x="14" y="30"/>
                    </a:lnTo>
                    <a:lnTo>
                      <a:pt x="12" y="30"/>
                    </a:lnTo>
                    <a:lnTo>
                      <a:pt x="12" y="29"/>
                    </a:lnTo>
                    <a:lnTo>
                      <a:pt x="12" y="27"/>
                    </a:lnTo>
                    <a:lnTo>
                      <a:pt x="12" y="26"/>
                    </a:lnTo>
                    <a:lnTo>
                      <a:pt x="14" y="26"/>
                    </a:lnTo>
                    <a:lnTo>
                      <a:pt x="14" y="24"/>
                    </a:lnTo>
                    <a:lnTo>
                      <a:pt x="12" y="24"/>
                    </a:lnTo>
                    <a:lnTo>
                      <a:pt x="14" y="24"/>
                    </a:lnTo>
                    <a:lnTo>
                      <a:pt x="12" y="24"/>
                    </a:lnTo>
                    <a:lnTo>
                      <a:pt x="12" y="23"/>
                    </a:lnTo>
                    <a:lnTo>
                      <a:pt x="14" y="23"/>
                    </a:lnTo>
                    <a:lnTo>
                      <a:pt x="12" y="23"/>
                    </a:lnTo>
                    <a:lnTo>
                      <a:pt x="14" y="23"/>
                    </a:lnTo>
                    <a:lnTo>
                      <a:pt x="14" y="21"/>
                    </a:lnTo>
                    <a:lnTo>
                      <a:pt x="14" y="19"/>
                    </a:lnTo>
                    <a:lnTo>
                      <a:pt x="14" y="18"/>
                    </a:lnTo>
                    <a:lnTo>
                      <a:pt x="14" y="16"/>
                    </a:lnTo>
                    <a:lnTo>
                      <a:pt x="14" y="18"/>
                    </a:lnTo>
                    <a:lnTo>
                      <a:pt x="14" y="16"/>
                    </a:lnTo>
                    <a:lnTo>
                      <a:pt x="12" y="16"/>
                    </a:lnTo>
                    <a:lnTo>
                      <a:pt x="12" y="15"/>
                    </a:lnTo>
                    <a:lnTo>
                      <a:pt x="12" y="13"/>
                    </a:lnTo>
                    <a:lnTo>
                      <a:pt x="14" y="13"/>
                    </a:lnTo>
                    <a:lnTo>
                      <a:pt x="14" y="15"/>
                    </a:lnTo>
                    <a:lnTo>
                      <a:pt x="14" y="13"/>
                    </a:lnTo>
                    <a:lnTo>
                      <a:pt x="14" y="15"/>
                    </a:lnTo>
                    <a:lnTo>
                      <a:pt x="14" y="13"/>
                    </a:lnTo>
                    <a:lnTo>
                      <a:pt x="16" y="13"/>
                    </a:lnTo>
                    <a:lnTo>
                      <a:pt x="16" y="11"/>
                    </a:lnTo>
                    <a:lnTo>
                      <a:pt x="16" y="10"/>
                    </a:lnTo>
                    <a:lnTo>
                      <a:pt x="16" y="8"/>
                    </a:lnTo>
                    <a:lnTo>
                      <a:pt x="14" y="8"/>
                    </a:lnTo>
                    <a:lnTo>
                      <a:pt x="14" y="7"/>
                    </a:lnTo>
                    <a:lnTo>
                      <a:pt x="14" y="5"/>
                    </a:lnTo>
                    <a:lnTo>
                      <a:pt x="14" y="4"/>
                    </a:lnTo>
                    <a:lnTo>
                      <a:pt x="16" y="4"/>
                    </a:lnTo>
                    <a:lnTo>
                      <a:pt x="16" y="2"/>
                    </a:lnTo>
                    <a:lnTo>
                      <a:pt x="16" y="0"/>
                    </a:lnTo>
                    <a:lnTo>
                      <a:pt x="14" y="0"/>
                    </a:lnTo>
                    <a:lnTo>
                      <a:pt x="16" y="0"/>
                    </a:lnTo>
                    <a:lnTo>
                      <a:pt x="17" y="0"/>
                    </a:lnTo>
                    <a:lnTo>
                      <a:pt x="19" y="0"/>
                    </a:lnTo>
                    <a:lnTo>
                      <a:pt x="19" y="2"/>
                    </a:lnTo>
                    <a:lnTo>
                      <a:pt x="17" y="2"/>
                    </a:lnTo>
                    <a:lnTo>
                      <a:pt x="17" y="0"/>
                    </a:lnTo>
                    <a:lnTo>
                      <a:pt x="17" y="2"/>
                    </a:lnTo>
                    <a:lnTo>
                      <a:pt x="16" y="2"/>
                    </a:lnTo>
                    <a:lnTo>
                      <a:pt x="17" y="2"/>
                    </a:lnTo>
                    <a:lnTo>
                      <a:pt x="16" y="2"/>
                    </a:lnTo>
                    <a:lnTo>
                      <a:pt x="17" y="2"/>
                    </a:lnTo>
                    <a:lnTo>
                      <a:pt x="17" y="4"/>
                    </a:lnTo>
                    <a:lnTo>
                      <a:pt x="17" y="5"/>
                    </a:lnTo>
                    <a:lnTo>
                      <a:pt x="17" y="7"/>
                    </a:lnTo>
                    <a:lnTo>
                      <a:pt x="17" y="8"/>
                    </a:lnTo>
                    <a:lnTo>
                      <a:pt x="19" y="8"/>
                    </a:lnTo>
                    <a:lnTo>
                      <a:pt x="19" y="10"/>
                    </a:lnTo>
                    <a:lnTo>
                      <a:pt x="20" y="10"/>
                    </a:lnTo>
                    <a:lnTo>
                      <a:pt x="19" y="10"/>
                    </a:lnTo>
                    <a:lnTo>
                      <a:pt x="20" y="10"/>
                    </a:lnTo>
                    <a:lnTo>
                      <a:pt x="19" y="10"/>
                    </a:lnTo>
                    <a:lnTo>
                      <a:pt x="20" y="10"/>
                    </a:lnTo>
                    <a:lnTo>
                      <a:pt x="20" y="11"/>
                    </a:lnTo>
                    <a:lnTo>
                      <a:pt x="20" y="10"/>
                    </a:lnTo>
                    <a:lnTo>
                      <a:pt x="19" y="10"/>
                    </a:lnTo>
                    <a:lnTo>
                      <a:pt x="20" y="10"/>
                    </a:lnTo>
                    <a:lnTo>
                      <a:pt x="19" y="10"/>
                    </a:lnTo>
                    <a:lnTo>
                      <a:pt x="19" y="8"/>
                    </a:lnTo>
                    <a:lnTo>
                      <a:pt x="20" y="8"/>
                    </a:lnTo>
                    <a:lnTo>
                      <a:pt x="19" y="8"/>
                    </a:lnTo>
                    <a:lnTo>
                      <a:pt x="20" y="8"/>
                    </a:lnTo>
                    <a:lnTo>
                      <a:pt x="22" y="8"/>
                    </a:lnTo>
                    <a:lnTo>
                      <a:pt x="22" y="10"/>
                    </a:lnTo>
                    <a:lnTo>
                      <a:pt x="22" y="8"/>
                    </a:lnTo>
                    <a:lnTo>
                      <a:pt x="22" y="10"/>
                    </a:lnTo>
                    <a:lnTo>
                      <a:pt x="23" y="10"/>
                    </a:lnTo>
                    <a:lnTo>
                      <a:pt x="22" y="10"/>
                    </a:lnTo>
                    <a:lnTo>
                      <a:pt x="22" y="11"/>
                    </a:lnTo>
                    <a:lnTo>
                      <a:pt x="23" y="11"/>
                    </a:lnTo>
                    <a:lnTo>
                      <a:pt x="22" y="11"/>
                    </a:lnTo>
                    <a:lnTo>
                      <a:pt x="22" y="13"/>
                    </a:lnTo>
                    <a:lnTo>
                      <a:pt x="22" y="11"/>
                    </a:lnTo>
                    <a:lnTo>
                      <a:pt x="22" y="13"/>
                    </a:lnTo>
                    <a:lnTo>
                      <a:pt x="22" y="15"/>
                    </a:lnTo>
                    <a:lnTo>
                      <a:pt x="23" y="15"/>
                    </a:lnTo>
                    <a:lnTo>
                      <a:pt x="23" y="13"/>
                    </a:lnTo>
                    <a:lnTo>
                      <a:pt x="25" y="13"/>
                    </a:lnTo>
                    <a:lnTo>
                      <a:pt x="23" y="13"/>
                    </a:lnTo>
                    <a:lnTo>
                      <a:pt x="25" y="13"/>
                    </a:lnTo>
                    <a:lnTo>
                      <a:pt x="23" y="13"/>
                    </a:lnTo>
                    <a:lnTo>
                      <a:pt x="25" y="13"/>
                    </a:lnTo>
                    <a:lnTo>
                      <a:pt x="25" y="15"/>
                    </a:lnTo>
                    <a:lnTo>
                      <a:pt x="25" y="13"/>
                    </a:lnTo>
                    <a:lnTo>
                      <a:pt x="25" y="15"/>
                    </a:lnTo>
                    <a:lnTo>
                      <a:pt x="25" y="13"/>
                    </a:lnTo>
                    <a:lnTo>
                      <a:pt x="25" y="11"/>
                    </a:lnTo>
                    <a:lnTo>
                      <a:pt x="27" y="11"/>
                    </a:lnTo>
                    <a:lnTo>
                      <a:pt x="27" y="10"/>
                    </a:lnTo>
                    <a:lnTo>
                      <a:pt x="28" y="10"/>
                    </a:lnTo>
                    <a:lnTo>
                      <a:pt x="27" y="10"/>
                    </a:lnTo>
                    <a:lnTo>
                      <a:pt x="28" y="10"/>
                    </a:lnTo>
                    <a:lnTo>
                      <a:pt x="27" y="10"/>
                    </a:lnTo>
                    <a:lnTo>
                      <a:pt x="27" y="11"/>
                    </a:lnTo>
                    <a:lnTo>
                      <a:pt x="28" y="11"/>
                    </a:lnTo>
                    <a:lnTo>
                      <a:pt x="27" y="11"/>
                    </a:lnTo>
                    <a:lnTo>
                      <a:pt x="27" y="13"/>
                    </a:lnTo>
                    <a:lnTo>
                      <a:pt x="28" y="13"/>
                    </a:lnTo>
                    <a:lnTo>
                      <a:pt x="27" y="13"/>
                    </a:lnTo>
                    <a:lnTo>
                      <a:pt x="27" y="15"/>
                    </a:lnTo>
                    <a:lnTo>
                      <a:pt x="27" y="16"/>
                    </a:lnTo>
                    <a:lnTo>
                      <a:pt x="28" y="16"/>
                    </a:lnTo>
                    <a:lnTo>
                      <a:pt x="30" y="16"/>
                    </a:lnTo>
                    <a:lnTo>
                      <a:pt x="30" y="15"/>
                    </a:lnTo>
                    <a:lnTo>
                      <a:pt x="31" y="15"/>
                    </a:lnTo>
                    <a:lnTo>
                      <a:pt x="33" y="15"/>
                    </a:lnTo>
                    <a:lnTo>
                      <a:pt x="35" y="15"/>
                    </a:lnTo>
                    <a:lnTo>
                      <a:pt x="36" y="15"/>
                    </a:lnTo>
                    <a:lnTo>
                      <a:pt x="36" y="16"/>
                    </a:lnTo>
                    <a:lnTo>
                      <a:pt x="38" y="16"/>
                    </a:lnTo>
                    <a:lnTo>
                      <a:pt x="38" y="18"/>
                    </a:lnTo>
                    <a:lnTo>
                      <a:pt x="39" y="18"/>
                    </a:lnTo>
                    <a:lnTo>
                      <a:pt x="39" y="19"/>
                    </a:lnTo>
                    <a:lnTo>
                      <a:pt x="41" y="19"/>
                    </a:lnTo>
                    <a:lnTo>
                      <a:pt x="41" y="21"/>
                    </a:lnTo>
                    <a:lnTo>
                      <a:pt x="42" y="21"/>
                    </a:lnTo>
                    <a:lnTo>
                      <a:pt x="42" y="23"/>
                    </a:lnTo>
                    <a:lnTo>
                      <a:pt x="44" y="23"/>
                    </a:lnTo>
                    <a:lnTo>
                      <a:pt x="46" y="23"/>
                    </a:lnTo>
                    <a:lnTo>
                      <a:pt x="47" y="23"/>
                    </a:lnTo>
                    <a:lnTo>
                      <a:pt x="47" y="21"/>
                    </a:lnTo>
                    <a:lnTo>
                      <a:pt x="49" y="21"/>
                    </a:lnTo>
                    <a:lnTo>
                      <a:pt x="50" y="21"/>
                    </a:lnTo>
                    <a:lnTo>
                      <a:pt x="50" y="23"/>
                    </a:lnTo>
                    <a:lnTo>
                      <a:pt x="50" y="24"/>
                    </a:lnTo>
                    <a:lnTo>
                      <a:pt x="50" y="26"/>
                    </a:lnTo>
                    <a:lnTo>
                      <a:pt x="52" y="26"/>
                    </a:lnTo>
                    <a:lnTo>
                      <a:pt x="52" y="27"/>
                    </a:lnTo>
                    <a:lnTo>
                      <a:pt x="52" y="29"/>
                    </a:lnTo>
                    <a:lnTo>
                      <a:pt x="54" y="29"/>
                    </a:lnTo>
                    <a:lnTo>
                      <a:pt x="54" y="30"/>
                    </a:lnTo>
                    <a:lnTo>
                      <a:pt x="54" y="32"/>
                    </a:lnTo>
                    <a:lnTo>
                      <a:pt x="55" y="32"/>
                    </a:lnTo>
                    <a:lnTo>
                      <a:pt x="54" y="32"/>
                    </a:lnTo>
                    <a:lnTo>
                      <a:pt x="55" y="32"/>
                    </a:lnTo>
                    <a:lnTo>
                      <a:pt x="55" y="34"/>
                    </a:lnTo>
                    <a:lnTo>
                      <a:pt x="57" y="34"/>
                    </a:lnTo>
                    <a:lnTo>
                      <a:pt x="58" y="34"/>
                    </a:lnTo>
                    <a:lnTo>
                      <a:pt x="58" y="35"/>
                    </a:lnTo>
                    <a:lnTo>
                      <a:pt x="60" y="35"/>
                    </a:lnTo>
                    <a:lnTo>
                      <a:pt x="58" y="35"/>
                    </a:lnTo>
                    <a:lnTo>
                      <a:pt x="58" y="37"/>
                    </a:lnTo>
                    <a:lnTo>
                      <a:pt x="58" y="38"/>
                    </a:lnTo>
                    <a:lnTo>
                      <a:pt x="58" y="40"/>
                    </a:lnTo>
                    <a:lnTo>
                      <a:pt x="60" y="40"/>
                    </a:lnTo>
                    <a:lnTo>
                      <a:pt x="61" y="40"/>
                    </a:lnTo>
                    <a:lnTo>
                      <a:pt x="61" y="42"/>
                    </a:lnTo>
                    <a:lnTo>
                      <a:pt x="61" y="40"/>
                    </a:lnTo>
                    <a:lnTo>
                      <a:pt x="61" y="42"/>
                    </a:lnTo>
                    <a:lnTo>
                      <a:pt x="63" y="42"/>
                    </a:lnTo>
                    <a:lnTo>
                      <a:pt x="63" y="40"/>
                    </a:lnTo>
                    <a:lnTo>
                      <a:pt x="63" y="42"/>
                    </a:lnTo>
                    <a:lnTo>
                      <a:pt x="65" y="42"/>
                    </a:lnTo>
                    <a:lnTo>
                      <a:pt x="65" y="40"/>
                    </a:lnTo>
                    <a:lnTo>
                      <a:pt x="63" y="40"/>
                    </a:lnTo>
                    <a:lnTo>
                      <a:pt x="61" y="40"/>
                    </a:lnTo>
                    <a:lnTo>
                      <a:pt x="61" y="38"/>
                    </a:lnTo>
                    <a:lnTo>
                      <a:pt x="60" y="38"/>
                    </a:lnTo>
                    <a:lnTo>
                      <a:pt x="60" y="37"/>
                    </a:lnTo>
                    <a:lnTo>
                      <a:pt x="60" y="35"/>
                    </a:lnTo>
                    <a:lnTo>
                      <a:pt x="60" y="34"/>
                    </a:lnTo>
                    <a:lnTo>
                      <a:pt x="60" y="32"/>
                    </a:lnTo>
                    <a:lnTo>
                      <a:pt x="60" y="30"/>
                    </a:lnTo>
                    <a:lnTo>
                      <a:pt x="61" y="30"/>
                    </a:lnTo>
                    <a:lnTo>
                      <a:pt x="60" y="30"/>
                    </a:lnTo>
                    <a:lnTo>
                      <a:pt x="60" y="29"/>
                    </a:lnTo>
                    <a:lnTo>
                      <a:pt x="58" y="29"/>
                    </a:lnTo>
                    <a:lnTo>
                      <a:pt x="58" y="27"/>
                    </a:lnTo>
                    <a:lnTo>
                      <a:pt x="58" y="26"/>
                    </a:lnTo>
                    <a:lnTo>
                      <a:pt x="58" y="24"/>
                    </a:lnTo>
                    <a:lnTo>
                      <a:pt x="58" y="23"/>
                    </a:lnTo>
                    <a:lnTo>
                      <a:pt x="60" y="23"/>
                    </a:lnTo>
                    <a:lnTo>
                      <a:pt x="60" y="21"/>
                    </a:lnTo>
                    <a:lnTo>
                      <a:pt x="60" y="23"/>
                    </a:lnTo>
                    <a:lnTo>
                      <a:pt x="61" y="23"/>
                    </a:lnTo>
                    <a:lnTo>
                      <a:pt x="63" y="23"/>
                    </a:lnTo>
                    <a:lnTo>
                      <a:pt x="63" y="24"/>
                    </a:lnTo>
                    <a:lnTo>
                      <a:pt x="65" y="24"/>
                    </a:lnTo>
                    <a:lnTo>
                      <a:pt x="66" y="24"/>
                    </a:lnTo>
                    <a:lnTo>
                      <a:pt x="65" y="24"/>
                    </a:lnTo>
                    <a:lnTo>
                      <a:pt x="65" y="23"/>
                    </a:lnTo>
                    <a:lnTo>
                      <a:pt x="66" y="23"/>
                    </a:lnTo>
                    <a:lnTo>
                      <a:pt x="66" y="21"/>
                    </a:lnTo>
                    <a:lnTo>
                      <a:pt x="68" y="21"/>
                    </a:lnTo>
                    <a:lnTo>
                      <a:pt x="68" y="19"/>
                    </a:lnTo>
                    <a:lnTo>
                      <a:pt x="68" y="18"/>
                    </a:lnTo>
                    <a:lnTo>
                      <a:pt x="66" y="18"/>
                    </a:lnTo>
                    <a:lnTo>
                      <a:pt x="66" y="16"/>
                    </a:lnTo>
                    <a:lnTo>
                      <a:pt x="68" y="16"/>
                    </a:lnTo>
                    <a:lnTo>
                      <a:pt x="69" y="16"/>
                    </a:lnTo>
                    <a:lnTo>
                      <a:pt x="69" y="18"/>
                    </a:lnTo>
                    <a:lnTo>
                      <a:pt x="69" y="19"/>
                    </a:lnTo>
                    <a:lnTo>
                      <a:pt x="68" y="19"/>
                    </a:lnTo>
                    <a:lnTo>
                      <a:pt x="69" y="19"/>
                    </a:lnTo>
                    <a:lnTo>
                      <a:pt x="68" y="19"/>
                    </a:lnTo>
                    <a:lnTo>
                      <a:pt x="68" y="21"/>
                    </a:lnTo>
                    <a:lnTo>
                      <a:pt x="68" y="23"/>
                    </a:lnTo>
                    <a:lnTo>
                      <a:pt x="69" y="23"/>
                    </a:lnTo>
                    <a:lnTo>
                      <a:pt x="69" y="24"/>
                    </a:lnTo>
                    <a:lnTo>
                      <a:pt x="69" y="26"/>
                    </a:lnTo>
                    <a:lnTo>
                      <a:pt x="69" y="27"/>
                    </a:lnTo>
                    <a:lnTo>
                      <a:pt x="68" y="27"/>
                    </a:lnTo>
                    <a:lnTo>
                      <a:pt x="68" y="29"/>
                    </a:lnTo>
                    <a:lnTo>
                      <a:pt x="66" y="29"/>
                    </a:lnTo>
                    <a:lnTo>
                      <a:pt x="66" y="30"/>
                    </a:lnTo>
                    <a:lnTo>
                      <a:pt x="68" y="30"/>
                    </a:lnTo>
                    <a:lnTo>
                      <a:pt x="68" y="29"/>
                    </a:lnTo>
                    <a:lnTo>
                      <a:pt x="69" y="29"/>
                    </a:lnTo>
                    <a:lnTo>
                      <a:pt x="69" y="30"/>
                    </a:lnTo>
                    <a:lnTo>
                      <a:pt x="69" y="29"/>
                    </a:lnTo>
                    <a:lnTo>
                      <a:pt x="71" y="29"/>
                    </a:lnTo>
                    <a:lnTo>
                      <a:pt x="71" y="30"/>
                    </a:lnTo>
                    <a:lnTo>
                      <a:pt x="71" y="29"/>
                    </a:lnTo>
                    <a:lnTo>
                      <a:pt x="71" y="27"/>
                    </a:lnTo>
                    <a:lnTo>
                      <a:pt x="71" y="26"/>
                    </a:lnTo>
                    <a:lnTo>
                      <a:pt x="71" y="24"/>
                    </a:lnTo>
                    <a:lnTo>
                      <a:pt x="71" y="23"/>
                    </a:lnTo>
                    <a:lnTo>
                      <a:pt x="71" y="21"/>
                    </a:lnTo>
                    <a:lnTo>
                      <a:pt x="69" y="21"/>
                    </a:lnTo>
                    <a:lnTo>
                      <a:pt x="71" y="21"/>
                    </a:lnTo>
                    <a:lnTo>
                      <a:pt x="71" y="19"/>
                    </a:lnTo>
                    <a:lnTo>
                      <a:pt x="71" y="21"/>
                    </a:lnTo>
                    <a:lnTo>
                      <a:pt x="71" y="19"/>
                    </a:lnTo>
                    <a:lnTo>
                      <a:pt x="73" y="19"/>
                    </a:lnTo>
                    <a:lnTo>
                      <a:pt x="71" y="19"/>
                    </a:lnTo>
                    <a:lnTo>
                      <a:pt x="73" y="19"/>
                    </a:lnTo>
                    <a:lnTo>
                      <a:pt x="73" y="18"/>
                    </a:lnTo>
                    <a:lnTo>
                      <a:pt x="73" y="16"/>
                    </a:lnTo>
                    <a:lnTo>
                      <a:pt x="74" y="16"/>
                    </a:lnTo>
                    <a:lnTo>
                      <a:pt x="74" y="15"/>
                    </a:lnTo>
                    <a:lnTo>
                      <a:pt x="74" y="16"/>
                    </a:lnTo>
                    <a:lnTo>
                      <a:pt x="74" y="15"/>
                    </a:lnTo>
                    <a:lnTo>
                      <a:pt x="74" y="13"/>
                    </a:lnTo>
                    <a:lnTo>
                      <a:pt x="74" y="11"/>
                    </a:lnTo>
                    <a:lnTo>
                      <a:pt x="74" y="10"/>
                    </a:lnTo>
                    <a:lnTo>
                      <a:pt x="74" y="8"/>
                    </a:lnTo>
                    <a:lnTo>
                      <a:pt x="76" y="8"/>
                    </a:lnTo>
                    <a:lnTo>
                      <a:pt x="76" y="10"/>
                    </a:lnTo>
                    <a:lnTo>
                      <a:pt x="77" y="10"/>
                    </a:lnTo>
                    <a:lnTo>
                      <a:pt x="77" y="11"/>
                    </a:lnTo>
                    <a:lnTo>
                      <a:pt x="77" y="13"/>
                    </a:lnTo>
                    <a:lnTo>
                      <a:pt x="79" y="13"/>
                    </a:lnTo>
                    <a:lnTo>
                      <a:pt x="79" y="15"/>
                    </a:lnTo>
                    <a:lnTo>
                      <a:pt x="79" y="16"/>
                    </a:lnTo>
                    <a:lnTo>
                      <a:pt x="79" y="18"/>
                    </a:lnTo>
                    <a:lnTo>
                      <a:pt x="77" y="18"/>
                    </a:lnTo>
                    <a:lnTo>
                      <a:pt x="79" y="18"/>
                    </a:lnTo>
                    <a:lnTo>
                      <a:pt x="79" y="19"/>
                    </a:lnTo>
                    <a:lnTo>
                      <a:pt x="79" y="21"/>
                    </a:lnTo>
                    <a:lnTo>
                      <a:pt x="79" y="23"/>
                    </a:lnTo>
                    <a:lnTo>
                      <a:pt x="79" y="24"/>
                    </a:lnTo>
                    <a:lnTo>
                      <a:pt x="77" y="24"/>
                    </a:lnTo>
                    <a:lnTo>
                      <a:pt x="77" y="26"/>
                    </a:lnTo>
                    <a:lnTo>
                      <a:pt x="77" y="27"/>
                    </a:lnTo>
                    <a:lnTo>
                      <a:pt x="77" y="29"/>
                    </a:lnTo>
                    <a:lnTo>
                      <a:pt x="79" y="29"/>
                    </a:lnTo>
                    <a:lnTo>
                      <a:pt x="77" y="29"/>
                    </a:lnTo>
                    <a:lnTo>
                      <a:pt x="77" y="30"/>
                    </a:lnTo>
                    <a:lnTo>
                      <a:pt x="79" y="30"/>
                    </a:lnTo>
                    <a:lnTo>
                      <a:pt x="79" y="32"/>
                    </a:lnTo>
                    <a:lnTo>
                      <a:pt x="79" y="34"/>
                    </a:lnTo>
                    <a:lnTo>
                      <a:pt x="79" y="35"/>
                    </a:lnTo>
                    <a:lnTo>
                      <a:pt x="79" y="37"/>
                    </a:lnTo>
                    <a:lnTo>
                      <a:pt x="79" y="38"/>
                    </a:lnTo>
                    <a:lnTo>
                      <a:pt x="79" y="40"/>
                    </a:lnTo>
                    <a:lnTo>
                      <a:pt x="79" y="42"/>
                    </a:lnTo>
                    <a:lnTo>
                      <a:pt x="79" y="43"/>
                    </a:lnTo>
                    <a:lnTo>
                      <a:pt x="79" y="45"/>
                    </a:lnTo>
                    <a:lnTo>
                      <a:pt x="79" y="46"/>
                    </a:lnTo>
                    <a:lnTo>
                      <a:pt x="77" y="46"/>
                    </a:lnTo>
                    <a:lnTo>
                      <a:pt x="77" y="48"/>
                    </a:lnTo>
                    <a:lnTo>
                      <a:pt x="77" y="49"/>
                    </a:lnTo>
                    <a:lnTo>
                      <a:pt x="77" y="51"/>
                    </a:lnTo>
                    <a:lnTo>
                      <a:pt x="77" y="53"/>
                    </a:lnTo>
                    <a:lnTo>
                      <a:pt x="76" y="53"/>
                    </a:lnTo>
                    <a:lnTo>
                      <a:pt x="76" y="54"/>
                    </a:lnTo>
                    <a:lnTo>
                      <a:pt x="76" y="53"/>
                    </a:lnTo>
                    <a:lnTo>
                      <a:pt x="76" y="54"/>
                    </a:lnTo>
                    <a:lnTo>
                      <a:pt x="74" y="54"/>
                    </a:lnTo>
                    <a:lnTo>
                      <a:pt x="74" y="53"/>
                    </a:lnTo>
                    <a:lnTo>
                      <a:pt x="73" y="53"/>
                    </a:lnTo>
                    <a:lnTo>
                      <a:pt x="73" y="51"/>
                    </a:lnTo>
                    <a:lnTo>
                      <a:pt x="71" y="51"/>
                    </a:lnTo>
                    <a:lnTo>
                      <a:pt x="69" y="51"/>
                    </a:lnTo>
                    <a:lnTo>
                      <a:pt x="69" y="49"/>
                    </a:lnTo>
                    <a:lnTo>
                      <a:pt x="69" y="48"/>
                    </a:lnTo>
                    <a:lnTo>
                      <a:pt x="69" y="49"/>
                    </a:lnTo>
                    <a:lnTo>
                      <a:pt x="68" y="49"/>
                    </a:lnTo>
                    <a:lnTo>
                      <a:pt x="68" y="51"/>
                    </a:lnTo>
                    <a:lnTo>
                      <a:pt x="66" y="51"/>
                    </a:lnTo>
                    <a:lnTo>
                      <a:pt x="66" y="53"/>
                    </a:lnTo>
                    <a:lnTo>
                      <a:pt x="68" y="53"/>
                    </a:lnTo>
                    <a:lnTo>
                      <a:pt x="68" y="54"/>
                    </a:lnTo>
                    <a:lnTo>
                      <a:pt x="68" y="56"/>
                    </a:lnTo>
                    <a:lnTo>
                      <a:pt x="66" y="56"/>
                    </a:lnTo>
                    <a:lnTo>
                      <a:pt x="66" y="57"/>
                    </a:lnTo>
                    <a:lnTo>
                      <a:pt x="66" y="59"/>
                    </a:lnTo>
                    <a:lnTo>
                      <a:pt x="66" y="61"/>
                    </a:lnTo>
                    <a:lnTo>
                      <a:pt x="66" y="62"/>
                    </a:lnTo>
                    <a:lnTo>
                      <a:pt x="66" y="64"/>
                    </a:lnTo>
                    <a:lnTo>
                      <a:pt x="65" y="64"/>
                    </a:lnTo>
                    <a:lnTo>
                      <a:pt x="65" y="65"/>
                    </a:lnTo>
                    <a:lnTo>
                      <a:pt x="65" y="67"/>
                    </a:lnTo>
                    <a:lnTo>
                      <a:pt x="65" y="68"/>
                    </a:lnTo>
                    <a:lnTo>
                      <a:pt x="66" y="68"/>
                    </a:lnTo>
                    <a:lnTo>
                      <a:pt x="65" y="68"/>
                    </a:lnTo>
                    <a:lnTo>
                      <a:pt x="66" y="68"/>
                    </a:lnTo>
                    <a:lnTo>
                      <a:pt x="66" y="70"/>
                    </a:lnTo>
                    <a:lnTo>
                      <a:pt x="65" y="70"/>
                    </a:lnTo>
                    <a:lnTo>
                      <a:pt x="65" y="72"/>
                    </a:lnTo>
                    <a:lnTo>
                      <a:pt x="66" y="72"/>
                    </a:lnTo>
                    <a:lnTo>
                      <a:pt x="66" y="73"/>
                    </a:lnTo>
                    <a:lnTo>
                      <a:pt x="66" y="75"/>
                    </a:lnTo>
                    <a:lnTo>
                      <a:pt x="65" y="75"/>
                    </a:lnTo>
                    <a:lnTo>
                      <a:pt x="65" y="76"/>
                    </a:lnTo>
                    <a:lnTo>
                      <a:pt x="65" y="78"/>
                    </a:lnTo>
                    <a:lnTo>
                      <a:pt x="63" y="78"/>
                    </a:lnTo>
                    <a:lnTo>
                      <a:pt x="63" y="80"/>
                    </a:lnTo>
                    <a:lnTo>
                      <a:pt x="63" y="81"/>
                    </a:lnTo>
                    <a:lnTo>
                      <a:pt x="65" y="81"/>
                    </a:lnTo>
                    <a:lnTo>
                      <a:pt x="65" y="83"/>
                    </a:lnTo>
                    <a:lnTo>
                      <a:pt x="63" y="83"/>
                    </a:lnTo>
                    <a:lnTo>
                      <a:pt x="63" y="84"/>
                    </a:lnTo>
                    <a:lnTo>
                      <a:pt x="65" y="84"/>
                    </a:lnTo>
                    <a:lnTo>
                      <a:pt x="65" y="86"/>
                    </a:lnTo>
                    <a:lnTo>
                      <a:pt x="65" y="87"/>
                    </a:lnTo>
                    <a:lnTo>
                      <a:pt x="63" y="87"/>
                    </a:lnTo>
                    <a:lnTo>
                      <a:pt x="63" y="89"/>
                    </a:lnTo>
                    <a:lnTo>
                      <a:pt x="61" y="89"/>
                    </a:lnTo>
                    <a:lnTo>
                      <a:pt x="63" y="89"/>
                    </a:lnTo>
                    <a:lnTo>
                      <a:pt x="61" y="89"/>
                    </a:lnTo>
                    <a:lnTo>
                      <a:pt x="63" y="89"/>
                    </a:lnTo>
                    <a:lnTo>
                      <a:pt x="63" y="91"/>
                    </a:lnTo>
                    <a:lnTo>
                      <a:pt x="63" y="92"/>
                    </a:lnTo>
                    <a:lnTo>
                      <a:pt x="65" y="92"/>
                    </a:lnTo>
                    <a:lnTo>
                      <a:pt x="66" y="92"/>
                    </a:lnTo>
                    <a:lnTo>
                      <a:pt x="68" y="92"/>
                    </a:lnTo>
                    <a:lnTo>
                      <a:pt x="68" y="91"/>
                    </a:lnTo>
                    <a:lnTo>
                      <a:pt x="68" y="89"/>
                    </a:lnTo>
                    <a:lnTo>
                      <a:pt x="68" y="87"/>
                    </a:lnTo>
                    <a:lnTo>
                      <a:pt x="68" y="86"/>
                    </a:lnTo>
                    <a:lnTo>
                      <a:pt x="69" y="86"/>
                    </a:lnTo>
                    <a:lnTo>
                      <a:pt x="69" y="84"/>
                    </a:lnTo>
                    <a:lnTo>
                      <a:pt x="69" y="83"/>
                    </a:lnTo>
                    <a:lnTo>
                      <a:pt x="69" y="81"/>
                    </a:lnTo>
                    <a:lnTo>
                      <a:pt x="71" y="81"/>
                    </a:lnTo>
                    <a:lnTo>
                      <a:pt x="73" y="81"/>
                    </a:lnTo>
                    <a:lnTo>
                      <a:pt x="73" y="83"/>
                    </a:lnTo>
                    <a:lnTo>
                      <a:pt x="74" y="83"/>
                    </a:lnTo>
                    <a:lnTo>
                      <a:pt x="76" y="83"/>
                    </a:lnTo>
                    <a:lnTo>
                      <a:pt x="76" y="84"/>
                    </a:lnTo>
                    <a:lnTo>
                      <a:pt x="76" y="86"/>
                    </a:lnTo>
                    <a:lnTo>
                      <a:pt x="76" y="87"/>
                    </a:lnTo>
                    <a:lnTo>
                      <a:pt x="74" y="87"/>
                    </a:lnTo>
                    <a:lnTo>
                      <a:pt x="74" y="89"/>
                    </a:lnTo>
                    <a:lnTo>
                      <a:pt x="74" y="91"/>
                    </a:lnTo>
                    <a:lnTo>
                      <a:pt x="74" y="92"/>
                    </a:lnTo>
                    <a:lnTo>
                      <a:pt x="74" y="94"/>
                    </a:lnTo>
                    <a:lnTo>
                      <a:pt x="73" y="94"/>
                    </a:lnTo>
                    <a:lnTo>
                      <a:pt x="73" y="95"/>
                    </a:lnTo>
                    <a:lnTo>
                      <a:pt x="74" y="95"/>
                    </a:lnTo>
                    <a:lnTo>
                      <a:pt x="73" y="95"/>
                    </a:lnTo>
                    <a:lnTo>
                      <a:pt x="73" y="97"/>
                    </a:lnTo>
                    <a:lnTo>
                      <a:pt x="73" y="99"/>
                    </a:lnTo>
                    <a:lnTo>
                      <a:pt x="73" y="100"/>
                    </a:lnTo>
                    <a:lnTo>
                      <a:pt x="73" y="102"/>
                    </a:lnTo>
                    <a:lnTo>
                      <a:pt x="71" y="102"/>
                    </a:lnTo>
                    <a:lnTo>
                      <a:pt x="71" y="103"/>
                    </a:lnTo>
                    <a:lnTo>
                      <a:pt x="73" y="103"/>
                    </a:lnTo>
                    <a:lnTo>
                      <a:pt x="73" y="105"/>
                    </a:lnTo>
                    <a:lnTo>
                      <a:pt x="73" y="106"/>
                    </a:lnTo>
                    <a:lnTo>
                      <a:pt x="73" y="108"/>
                    </a:lnTo>
                    <a:lnTo>
                      <a:pt x="73" y="110"/>
                    </a:lnTo>
                    <a:lnTo>
                      <a:pt x="71" y="110"/>
                    </a:lnTo>
                    <a:lnTo>
                      <a:pt x="71" y="111"/>
                    </a:lnTo>
                    <a:lnTo>
                      <a:pt x="71" y="113"/>
                    </a:lnTo>
                    <a:lnTo>
                      <a:pt x="71" y="114"/>
                    </a:lnTo>
                    <a:lnTo>
                      <a:pt x="71" y="116"/>
                    </a:lnTo>
                    <a:lnTo>
                      <a:pt x="69" y="116"/>
                    </a:lnTo>
                    <a:lnTo>
                      <a:pt x="69" y="118"/>
                    </a:lnTo>
                    <a:lnTo>
                      <a:pt x="69" y="119"/>
                    </a:lnTo>
                    <a:lnTo>
                      <a:pt x="69" y="121"/>
                    </a:lnTo>
                    <a:lnTo>
                      <a:pt x="69" y="122"/>
                    </a:lnTo>
                    <a:lnTo>
                      <a:pt x="68" y="122"/>
                    </a:lnTo>
                    <a:lnTo>
                      <a:pt x="68" y="124"/>
                    </a:lnTo>
                    <a:lnTo>
                      <a:pt x="68" y="125"/>
                    </a:lnTo>
                    <a:lnTo>
                      <a:pt x="68" y="127"/>
                    </a:lnTo>
                    <a:lnTo>
                      <a:pt x="68" y="129"/>
                    </a:lnTo>
                    <a:lnTo>
                      <a:pt x="66" y="129"/>
                    </a:lnTo>
                    <a:lnTo>
                      <a:pt x="66" y="130"/>
                    </a:lnTo>
                    <a:lnTo>
                      <a:pt x="65" y="130"/>
                    </a:lnTo>
                    <a:lnTo>
                      <a:pt x="63" y="130"/>
                    </a:lnTo>
                    <a:lnTo>
                      <a:pt x="63" y="129"/>
                    </a:lnTo>
                    <a:lnTo>
                      <a:pt x="63" y="130"/>
                    </a:lnTo>
                    <a:lnTo>
                      <a:pt x="63" y="132"/>
                    </a:lnTo>
                    <a:lnTo>
                      <a:pt x="65" y="132"/>
                    </a:lnTo>
                    <a:lnTo>
                      <a:pt x="66" y="132"/>
                    </a:lnTo>
                    <a:lnTo>
                      <a:pt x="66" y="133"/>
                    </a:lnTo>
                    <a:lnTo>
                      <a:pt x="66" y="135"/>
                    </a:lnTo>
                    <a:lnTo>
                      <a:pt x="65" y="135"/>
                    </a:lnTo>
                    <a:lnTo>
                      <a:pt x="65" y="133"/>
                    </a:lnTo>
                    <a:lnTo>
                      <a:pt x="63" y="133"/>
                    </a:lnTo>
                    <a:lnTo>
                      <a:pt x="63" y="135"/>
                    </a:lnTo>
                    <a:lnTo>
                      <a:pt x="63" y="137"/>
                    </a:lnTo>
                    <a:lnTo>
                      <a:pt x="63" y="135"/>
                    </a:lnTo>
                    <a:lnTo>
                      <a:pt x="65" y="135"/>
                    </a:lnTo>
                    <a:lnTo>
                      <a:pt x="66" y="135"/>
                    </a:lnTo>
                    <a:lnTo>
                      <a:pt x="66" y="137"/>
                    </a:lnTo>
                    <a:lnTo>
                      <a:pt x="65" y="137"/>
                    </a:lnTo>
                    <a:lnTo>
                      <a:pt x="65" y="138"/>
                    </a:lnTo>
                    <a:lnTo>
                      <a:pt x="65" y="140"/>
                    </a:lnTo>
                    <a:lnTo>
                      <a:pt x="63" y="140"/>
                    </a:lnTo>
                    <a:lnTo>
                      <a:pt x="63" y="141"/>
                    </a:lnTo>
                    <a:lnTo>
                      <a:pt x="63" y="143"/>
                    </a:lnTo>
                    <a:lnTo>
                      <a:pt x="63" y="144"/>
                    </a:lnTo>
                    <a:lnTo>
                      <a:pt x="61" y="144"/>
                    </a:lnTo>
                    <a:lnTo>
                      <a:pt x="61" y="146"/>
                    </a:lnTo>
                    <a:lnTo>
                      <a:pt x="61" y="148"/>
                    </a:lnTo>
                    <a:lnTo>
                      <a:pt x="60" y="148"/>
                    </a:lnTo>
                    <a:lnTo>
                      <a:pt x="60" y="149"/>
                    </a:lnTo>
                    <a:lnTo>
                      <a:pt x="60" y="151"/>
                    </a:lnTo>
                    <a:lnTo>
                      <a:pt x="58" y="151"/>
                    </a:lnTo>
                    <a:lnTo>
                      <a:pt x="60" y="151"/>
                    </a:lnTo>
                    <a:lnTo>
                      <a:pt x="58" y="151"/>
                    </a:lnTo>
                    <a:lnTo>
                      <a:pt x="58" y="152"/>
                    </a:lnTo>
                    <a:lnTo>
                      <a:pt x="58" y="154"/>
                    </a:lnTo>
                    <a:lnTo>
                      <a:pt x="57" y="154"/>
                    </a:lnTo>
                    <a:lnTo>
                      <a:pt x="55" y="154"/>
                    </a:lnTo>
                    <a:lnTo>
                      <a:pt x="55" y="152"/>
                    </a:lnTo>
                    <a:lnTo>
                      <a:pt x="55" y="154"/>
                    </a:lnTo>
                    <a:lnTo>
                      <a:pt x="55" y="156"/>
                    </a:lnTo>
                    <a:lnTo>
                      <a:pt x="55" y="157"/>
                    </a:lnTo>
                    <a:lnTo>
                      <a:pt x="55" y="159"/>
                    </a:lnTo>
                    <a:lnTo>
                      <a:pt x="57" y="159"/>
                    </a:lnTo>
                    <a:lnTo>
                      <a:pt x="58" y="159"/>
                    </a:lnTo>
                    <a:lnTo>
                      <a:pt x="57" y="159"/>
                    </a:lnTo>
                    <a:lnTo>
                      <a:pt x="57" y="160"/>
                    </a:lnTo>
                    <a:lnTo>
                      <a:pt x="57" y="162"/>
                    </a:lnTo>
                    <a:lnTo>
                      <a:pt x="57" y="163"/>
                    </a:lnTo>
                    <a:lnTo>
                      <a:pt x="57" y="162"/>
                    </a:lnTo>
                    <a:lnTo>
                      <a:pt x="57" y="163"/>
                    </a:lnTo>
                    <a:lnTo>
                      <a:pt x="57" y="165"/>
                    </a:lnTo>
                    <a:lnTo>
                      <a:pt x="57" y="163"/>
                    </a:lnTo>
                    <a:lnTo>
                      <a:pt x="57" y="165"/>
                    </a:lnTo>
                    <a:lnTo>
                      <a:pt x="55" y="165"/>
                    </a:lnTo>
                    <a:lnTo>
                      <a:pt x="55" y="167"/>
                    </a:lnTo>
                    <a:lnTo>
                      <a:pt x="57" y="167"/>
                    </a:lnTo>
                    <a:lnTo>
                      <a:pt x="55" y="167"/>
                    </a:lnTo>
                    <a:lnTo>
                      <a:pt x="54" y="167"/>
                    </a:lnTo>
                    <a:lnTo>
                      <a:pt x="54" y="165"/>
                    </a:lnTo>
                    <a:lnTo>
                      <a:pt x="52" y="165"/>
                    </a:lnTo>
                    <a:lnTo>
                      <a:pt x="52" y="167"/>
                    </a:lnTo>
                    <a:lnTo>
                      <a:pt x="52" y="168"/>
                    </a:lnTo>
                    <a:lnTo>
                      <a:pt x="50" y="168"/>
                    </a:lnTo>
                    <a:lnTo>
                      <a:pt x="50" y="170"/>
                    </a:lnTo>
                    <a:lnTo>
                      <a:pt x="49" y="170"/>
                    </a:lnTo>
                    <a:lnTo>
                      <a:pt x="49" y="171"/>
                    </a:lnTo>
                    <a:lnTo>
                      <a:pt x="47" y="171"/>
                    </a:lnTo>
                    <a:lnTo>
                      <a:pt x="47" y="173"/>
                    </a:lnTo>
                    <a:lnTo>
                      <a:pt x="46" y="173"/>
                    </a:lnTo>
                    <a:lnTo>
                      <a:pt x="46" y="175"/>
                    </a:lnTo>
                    <a:lnTo>
                      <a:pt x="44" y="175"/>
                    </a:lnTo>
                    <a:lnTo>
                      <a:pt x="46" y="175"/>
                    </a:lnTo>
                    <a:lnTo>
                      <a:pt x="46" y="176"/>
                    </a:lnTo>
                    <a:lnTo>
                      <a:pt x="44" y="176"/>
                    </a:lnTo>
                    <a:lnTo>
                      <a:pt x="44" y="178"/>
                    </a:lnTo>
                    <a:lnTo>
                      <a:pt x="42" y="178"/>
                    </a:lnTo>
                    <a:lnTo>
                      <a:pt x="42" y="179"/>
                    </a:lnTo>
                    <a:lnTo>
                      <a:pt x="41" y="179"/>
                    </a:lnTo>
                    <a:lnTo>
                      <a:pt x="42" y="179"/>
                    </a:lnTo>
                    <a:lnTo>
                      <a:pt x="42" y="178"/>
                    </a:lnTo>
                    <a:lnTo>
                      <a:pt x="44" y="178"/>
                    </a:lnTo>
                    <a:lnTo>
                      <a:pt x="44" y="176"/>
                    </a:lnTo>
                    <a:lnTo>
                      <a:pt x="46" y="176"/>
                    </a:lnTo>
                    <a:lnTo>
                      <a:pt x="46" y="175"/>
                    </a:lnTo>
                    <a:lnTo>
                      <a:pt x="46" y="173"/>
                    </a:lnTo>
                    <a:lnTo>
                      <a:pt x="47" y="173"/>
                    </a:lnTo>
                    <a:lnTo>
                      <a:pt x="49" y="173"/>
                    </a:lnTo>
                    <a:lnTo>
                      <a:pt x="49" y="171"/>
                    </a:lnTo>
                    <a:lnTo>
                      <a:pt x="50" y="171"/>
                    </a:lnTo>
                    <a:lnTo>
                      <a:pt x="50" y="170"/>
                    </a:lnTo>
                    <a:lnTo>
                      <a:pt x="52" y="170"/>
                    </a:lnTo>
                    <a:lnTo>
                      <a:pt x="52" y="168"/>
                    </a:lnTo>
                    <a:lnTo>
                      <a:pt x="52" y="170"/>
                    </a:lnTo>
                    <a:lnTo>
                      <a:pt x="52" y="171"/>
                    </a:lnTo>
                    <a:lnTo>
                      <a:pt x="54" y="171"/>
                    </a:lnTo>
                    <a:lnTo>
                      <a:pt x="54" y="173"/>
                    </a:lnTo>
                    <a:lnTo>
                      <a:pt x="52" y="173"/>
                    </a:lnTo>
                    <a:lnTo>
                      <a:pt x="52" y="171"/>
                    </a:lnTo>
                    <a:lnTo>
                      <a:pt x="52" y="173"/>
                    </a:lnTo>
                    <a:lnTo>
                      <a:pt x="52" y="175"/>
                    </a:lnTo>
                    <a:lnTo>
                      <a:pt x="52" y="176"/>
                    </a:lnTo>
                    <a:lnTo>
                      <a:pt x="50" y="176"/>
                    </a:lnTo>
                    <a:lnTo>
                      <a:pt x="50" y="178"/>
                    </a:lnTo>
                    <a:lnTo>
                      <a:pt x="49" y="178"/>
                    </a:lnTo>
                    <a:lnTo>
                      <a:pt x="49" y="179"/>
                    </a:lnTo>
                    <a:lnTo>
                      <a:pt x="47" y="179"/>
                    </a:lnTo>
                    <a:lnTo>
                      <a:pt x="47" y="181"/>
                    </a:lnTo>
                    <a:lnTo>
                      <a:pt x="47" y="182"/>
                    </a:lnTo>
                    <a:lnTo>
                      <a:pt x="46" y="182"/>
                    </a:lnTo>
                    <a:lnTo>
                      <a:pt x="46" y="184"/>
                    </a:lnTo>
                    <a:lnTo>
                      <a:pt x="44" y="184"/>
                    </a:lnTo>
                    <a:lnTo>
                      <a:pt x="44" y="186"/>
                    </a:lnTo>
                    <a:lnTo>
                      <a:pt x="42" y="186"/>
                    </a:lnTo>
                    <a:lnTo>
                      <a:pt x="42" y="187"/>
                    </a:lnTo>
                    <a:lnTo>
                      <a:pt x="41" y="187"/>
                    </a:lnTo>
                    <a:lnTo>
                      <a:pt x="41" y="189"/>
                    </a:lnTo>
                    <a:lnTo>
                      <a:pt x="39" y="189"/>
                    </a:lnTo>
                    <a:lnTo>
                      <a:pt x="38" y="189"/>
                    </a:lnTo>
                    <a:lnTo>
                      <a:pt x="36" y="189"/>
                    </a:lnTo>
                    <a:lnTo>
                      <a:pt x="36" y="190"/>
                    </a:lnTo>
                    <a:lnTo>
                      <a:pt x="36" y="192"/>
                    </a:lnTo>
                    <a:lnTo>
                      <a:pt x="35" y="192"/>
                    </a:lnTo>
                    <a:lnTo>
                      <a:pt x="35" y="194"/>
                    </a:lnTo>
                    <a:lnTo>
                      <a:pt x="35" y="192"/>
                    </a:lnTo>
                    <a:lnTo>
                      <a:pt x="35" y="194"/>
                    </a:lnTo>
                    <a:lnTo>
                      <a:pt x="35" y="192"/>
                    </a:lnTo>
                    <a:lnTo>
                      <a:pt x="33" y="192"/>
                    </a:lnTo>
                    <a:lnTo>
                      <a:pt x="33" y="194"/>
                    </a:lnTo>
                    <a:lnTo>
                      <a:pt x="33" y="195"/>
                    </a:lnTo>
                    <a:lnTo>
                      <a:pt x="31" y="195"/>
                    </a:lnTo>
                    <a:lnTo>
                      <a:pt x="31" y="194"/>
                    </a:lnTo>
                    <a:lnTo>
                      <a:pt x="31" y="195"/>
                    </a:lnTo>
                    <a:lnTo>
                      <a:pt x="30" y="195"/>
                    </a:lnTo>
                    <a:lnTo>
                      <a:pt x="31" y="195"/>
                    </a:lnTo>
                    <a:lnTo>
                      <a:pt x="31" y="197"/>
                    </a:lnTo>
                    <a:lnTo>
                      <a:pt x="31" y="198"/>
                    </a:lnTo>
                    <a:lnTo>
                      <a:pt x="31" y="200"/>
                    </a:lnTo>
                    <a:lnTo>
                      <a:pt x="30" y="200"/>
                    </a:lnTo>
                    <a:lnTo>
                      <a:pt x="30" y="198"/>
                    </a:lnTo>
                    <a:lnTo>
                      <a:pt x="28" y="198"/>
                    </a:lnTo>
                    <a:lnTo>
                      <a:pt x="30" y="198"/>
                    </a:lnTo>
                    <a:lnTo>
                      <a:pt x="28" y="198"/>
                    </a:lnTo>
                    <a:lnTo>
                      <a:pt x="28" y="197"/>
                    </a:lnTo>
                    <a:lnTo>
                      <a:pt x="28" y="195"/>
                    </a:lnTo>
                    <a:lnTo>
                      <a:pt x="28" y="194"/>
                    </a:lnTo>
                    <a:lnTo>
                      <a:pt x="28" y="192"/>
                    </a:lnTo>
                    <a:lnTo>
                      <a:pt x="30" y="192"/>
                    </a:lnTo>
                    <a:lnTo>
                      <a:pt x="31" y="192"/>
                    </a:lnTo>
                    <a:lnTo>
                      <a:pt x="30" y="192"/>
                    </a:lnTo>
                    <a:lnTo>
                      <a:pt x="30" y="190"/>
                    </a:lnTo>
                    <a:lnTo>
                      <a:pt x="31" y="190"/>
                    </a:lnTo>
                    <a:lnTo>
                      <a:pt x="31" y="189"/>
                    </a:lnTo>
                    <a:lnTo>
                      <a:pt x="31" y="190"/>
                    </a:lnTo>
                    <a:lnTo>
                      <a:pt x="33" y="190"/>
                    </a:lnTo>
                    <a:lnTo>
                      <a:pt x="31" y="190"/>
                    </a:lnTo>
                    <a:lnTo>
                      <a:pt x="31" y="189"/>
                    </a:lnTo>
                    <a:lnTo>
                      <a:pt x="30" y="189"/>
                    </a:lnTo>
                    <a:lnTo>
                      <a:pt x="30" y="190"/>
                    </a:lnTo>
                    <a:lnTo>
                      <a:pt x="30" y="189"/>
                    </a:lnTo>
                    <a:lnTo>
                      <a:pt x="31" y="189"/>
                    </a:lnTo>
                    <a:lnTo>
                      <a:pt x="30" y="189"/>
                    </a:lnTo>
                    <a:lnTo>
                      <a:pt x="30" y="187"/>
                    </a:lnTo>
                    <a:lnTo>
                      <a:pt x="28" y="187"/>
                    </a:lnTo>
                    <a:lnTo>
                      <a:pt x="28" y="186"/>
                    </a:lnTo>
                    <a:lnTo>
                      <a:pt x="27" y="186"/>
                    </a:lnTo>
                    <a:lnTo>
                      <a:pt x="27" y="187"/>
                    </a:lnTo>
                    <a:lnTo>
                      <a:pt x="27" y="189"/>
                    </a:lnTo>
                    <a:lnTo>
                      <a:pt x="27" y="187"/>
                    </a:lnTo>
                    <a:lnTo>
                      <a:pt x="27" y="186"/>
                    </a:lnTo>
                    <a:lnTo>
                      <a:pt x="25" y="186"/>
                    </a:lnTo>
                    <a:lnTo>
                      <a:pt x="25" y="187"/>
                    </a:lnTo>
                    <a:lnTo>
                      <a:pt x="23" y="187"/>
                    </a:lnTo>
                    <a:lnTo>
                      <a:pt x="22" y="187"/>
                    </a:lnTo>
                    <a:lnTo>
                      <a:pt x="23" y="187"/>
                    </a:lnTo>
                    <a:lnTo>
                      <a:pt x="23" y="189"/>
                    </a:lnTo>
                    <a:lnTo>
                      <a:pt x="25" y="189"/>
                    </a:lnTo>
                    <a:lnTo>
                      <a:pt x="25" y="190"/>
                    </a:lnTo>
                    <a:lnTo>
                      <a:pt x="27" y="190"/>
                    </a:lnTo>
                    <a:lnTo>
                      <a:pt x="27" y="192"/>
                    </a:lnTo>
                    <a:lnTo>
                      <a:pt x="25" y="192"/>
                    </a:lnTo>
                    <a:lnTo>
                      <a:pt x="25" y="194"/>
                    </a:lnTo>
                    <a:lnTo>
                      <a:pt x="23" y="194"/>
                    </a:lnTo>
                    <a:lnTo>
                      <a:pt x="22" y="194"/>
                    </a:lnTo>
                    <a:lnTo>
                      <a:pt x="22" y="192"/>
                    </a:lnTo>
                    <a:lnTo>
                      <a:pt x="22" y="190"/>
                    </a:lnTo>
                    <a:lnTo>
                      <a:pt x="20" y="190"/>
                    </a:lnTo>
                    <a:lnTo>
                      <a:pt x="19" y="190"/>
                    </a:lnTo>
                    <a:lnTo>
                      <a:pt x="19" y="189"/>
                    </a:lnTo>
                    <a:lnTo>
                      <a:pt x="17" y="189"/>
                    </a:lnTo>
                    <a:lnTo>
                      <a:pt x="17" y="187"/>
                    </a:lnTo>
                    <a:lnTo>
                      <a:pt x="16" y="187"/>
                    </a:lnTo>
                    <a:lnTo>
                      <a:pt x="16" y="186"/>
                    </a:lnTo>
                    <a:lnTo>
                      <a:pt x="14" y="186"/>
                    </a:lnTo>
                    <a:lnTo>
                      <a:pt x="12" y="186"/>
                    </a:lnTo>
                    <a:lnTo>
                      <a:pt x="11" y="186"/>
                    </a:lnTo>
                    <a:lnTo>
                      <a:pt x="9" y="186"/>
                    </a:lnTo>
                    <a:lnTo>
                      <a:pt x="8" y="186"/>
                    </a:lnTo>
                    <a:lnTo>
                      <a:pt x="8" y="187"/>
                    </a:lnTo>
                    <a:lnTo>
                      <a:pt x="6" y="187"/>
                    </a:lnTo>
                    <a:lnTo>
                      <a:pt x="4" y="187"/>
                    </a:lnTo>
                    <a:lnTo>
                      <a:pt x="3" y="187"/>
                    </a:lnTo>
                    <a:lnTo>
                      <a:pt x="1" y="187"/>
                    </a:lnTo>
                    <a:lnTo>
                      <a:pt x="1" y="186"/>
                    </a:lnTo>
                    <a:lnTo>
                      <a:pt x="1" y="184"/>
                    </a:lnTo>
                    <a:lnTo>
                      <a:pt x="0" y="184"/>
                    </a:lnTo>
                    <a:lnTo>
                      <a:pt x="0" y="182"/>
                    </a:lnTo>
                    <a:lnTo>
                      <a:pt x="0" y="181"/>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83" name="Freeform 163"/>
              <p:cNvSpPr>
                <a:spLocks/>
              </p:cNvSpPr>
              <p:nvPr/>
            </p:nvSpPr>
            <p:spPr bwMode="auto">
              <a:xfrm>
                <a:off x="5230" y="1803"/>
                <a:ext cx="4" cy="3"/>
              </a:xfrm>
              <a:custGeom>
                <a:avLst/>
                <a:gdLst>
                  <a:gd name="T0" fmla="*/ 4 w 4"/>
                  <a:gd name="T1" fmla="*/ 1 h 3"/>
                  <a:gd name="T2" fmla="*/ 2 w 4"/>
                  <a:gd name="T3" fmla="*/ 1 h 3"/>
                  <a:gd name="T4" fmla="*/ 2 w 4"/>
                  <a:gd name="T5" fmla="*/ 3 h 3"/>
                  <a:gd name="T6" fmla="*/ 2 w 4"/>
                  <a:gd name="T7" fmla="*/ 1 h 3"/>
                  <a:gd name="T8" fmla="*/ 0 w 4"/>
                  <a:gd name="T9" fmla="*/ 1 h 3"/>
                  <a:gd name="T10" fmla="*/ 0 w 4"/>
                  <a:gd name="T11" fmla="*/ 0 h 3"/>
                  <a:gd name="T12" fmla="*/ 2 w 4"/>
                  <a:gd name="T13" fmla="*/ 0 h 3"/>
                  <a:gd name="T14" fmla="*/ 2 w 4"/>
                  <a:gd name="T15" fmla="*/ 1 h 3"/>
                  <a:gd name="T16" fmla="*/ 4 w 4"/>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4" y="1"/>
                    </a:moveTo>
                    <a:lnTo>
                      <a:pt x="2" y="1"/>
                    </a:lnTo>
                    <a:lnTo>
                      <a:pt x="2" y="3"/>
                    </a:lnTo>
                    <a:lnTo>
                      <a:pt x="2" y="1"/>
                    </a:lnTo>
                    <a:lnTo>
                      <a:pt x="0" y="1"/>
                    </a:lnTo>
                    <a:lnTo>
                      <a:pt x="0" y="0"/>
                    </a:lnTo>
                    <a:lnTo>
                      <a:pt x="2" y="0"/>
                    </a:lnTo>
                    <a:lnTo>
                      <a:pt x="2" y="1"/>
                    </a:lnTo>
                    <a:lnTo>
                      <a:pt x="4" y="1"/>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84" name="Freeform 164"/>
              <p:cNvSpPr>
                <a:spLocks/>
              </p:cNvSpPr>
              <p:nvPr/>
            </p:nvSpPr>
            <p:spPr bwMode="auto">
              <a:xfrm>
                <a:off x="5272" y="1819"/>
                <a:ext cx="3" cy="3"/>
              </a:xfrm>
              <a:custGeom>
                <a:avLst/>
                <a:gdLst>
                  <a:gd name="T0" fmla="*/ 1 w 3"/>
                  <a:gd name="T1" fmla="*/ 0 h 3"/>
                  <a:gd name="T2" fmla="*/ 3 w 3"/>
                  <a:gd name="T3" fmla="*/ 0 h 3"/>
                  <a:gd name="T4" fmla="*/ 3 w 3"/>
                  <a:gd name="T5" fmla="*/ 1 h 3"/>
                  <a:gd name="T6" fmla="*/ 1 w 3"/>
                  <a:gd name="T7" fmla="*/ 1 h 3"/>
                  <a:gd name="T8" fmla="*/ 1 w 3"/>
                  <a:gd name="T9" fmla="*/ 3 h 3"/>
                  <a:gd name="T10" fmla="*/ 0 w 3"/>
                  <a:gd name="T11" fmla="*/ 3 h 3"/>
                  <a:gd name="T12" fmla="*/ 0 w 3"/>
                  <a:gd name="T13" fmla="*/ 1 h 3"/>
                  <a:gd name="T14" fmla="*/ 0 w 3"/>
                  <a:gd name="T15" fmla="*/ 0 h 3"/>
                  <a:gd name="T16" fmla="*/ 1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1" y="0"/>
                    </a:moveTo>
                    <a:lnTo>
                      <a:pt x="3" y="0"/>
                    </a:lnTo>
                    <a:lnTo>
                      <a:pt x="3" y="1"/>
                    </a:lnTo>
                    <a:lnTo>
                      <a:pt x="1" y="1"/>
                    </a:lnTo>
                    <a:lnTo>
                      <a:pt x="1" y="3"/>
                    </a:lnTo>
                    <a:lnTo>
                      <a:pt x="0" y="3"/>
                    </a:lnTo>
                    <a:lnTo>
                      <a:pt x="0" y="1"/>
                    </a:lnTo>
                    <a:lnTo>
                      <a:pt x="0" y="0"/>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85" name="Rectangle 165"/>
              <p:cNvSpPr>
                <a:spLocks noChangeArrowheads="1"/>
              </p:cNvSpPr>
              <p:nvPr/>
            </p:nvSpPr>
            <p:spPr bwMode="auto">
              <a:xfrm>
                <a:off x="5273" y="1822"/>
                <a:ext cx="2" cy="1"/>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86" name="Freeform 166"/>
              <p:cNvSpPr>
                <a:spLocks/>
              </p:cNvSpPr>
              <p:nvPr/>
            </p:nvSpPr>
            <p:spPr bwMode="auto">
              <a:xfrm>
                <a:off x="5273" y="1825"/>
                <a:ext cx="2" cy="1"/>
              </a:xfrm>
              <a:custGeom>
                <a:avLst/>
                <a:gdLst>
                  <a:gd name="T0" fmla="*/ 0 w 2"/>
                  <a:gd name="T1" fmla="*/ 0 h 1"/>
                  <a:gd name="T2" fmla="*/ 2 w 2"/>
                  <a:gd name="T3" fmla="*/ 0 h 1"/>
                  <a:gd name="T4" fmla="*/ 0 w 2"/>
                  <a:gd name="T5" fmla="*/ 0 h 1"/>
                  <a:gd name="T6" fmla="*/ 0 w 2"/>
                  <a:gd name="T7" fmla="*/ 1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lnTo>
                      <a:pt x="2" y="0"/>
                    </a:lnTo>
                    <a:lnTo>
                      <a:pt x="0" y="0"/>
                    </a:lnTo>
                    <a:lnTo>
                      <a:pt x="0" y="1"/>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87" name="Freeform 167"/>
              <p:cNvSpPr>
                <a:spLocks/>
              </p:cNvSpPr>
              <p:nvPr/>
            </p:nvSpPr>
            <p:spPr bwMode="auto">
              <a:xfrm>
                <a:off x="5275" y="1825"/>
                <a:ext cx="1" cy="3"/>
              </a:xfrm>
              <a:custGeom>
                <a:avLst/>
                <a:gdLst>
                  <a:gd name="T0" fmla="*/ 0 w 1"/>
                  <a:gd name="T1" fmla="*/ 0 h 3"/>
                  <a:gd name="T2" fmla="*/ 0 w 1"/>
                  <a:gd name="T3" fmla="*/ 1 h 3"/>
                  <a:gd name="T4" fmla="*/ 1 w 1"/>
                  <a:gd name="T5" fmla="*/ 1 h 3"/>
                  <a:gd name="T6" fmla="*/ 1 w 1"/>
                  <a:gd name="T7" fmla="*/ 3 h 3"/>
                  <a:gd name="T8" fmla="*/ 0 w 1"/>
                  <a:gd name="T9" fmla="*/ 3 h 3"/>
                  <a:gd name="T10" fmla="*/ 0 w 1"/>
                  <a:gd name="T11" fmla="*/ 1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lnTo>
                      <a:pt x="0" y="1"/>
                    </a:lnTo>
                    <a:lnTo>
                      <a:pt x="1" y="1"/>
                    </a:lnTo>
                    <a:lnTo>
                      <a:pt x="1" y="3"/>
                    </a:lnTo>
                    <a:lnTo>
                      <a:pt x="0" y="3"/>
                    </a:lnTo>
                    <a:lnTo>
                      <a:pt x="0" y="1"/>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88" name="Freeform 168"/>
              <p:cNvSpPr>
                <a:spLocks/>
              </p:cNvSpPr>
              <p:nvPr/>
            </p:nvSpPr>
            <p:spPr bwMode="auto">
              <a:xfrm>
                <a:off x="5059" y="1826"/>
                <a:ext cx="11" cy="13"/>
              </a:xfrm>
              <a:custGeom>
                <a:avLst/>
                <a:gdLst>
                  <a:gd name="T0" fmla="*/ 10 w 11"/>
                  <a:gd name="T1" fmla="*/ 0 h 13"/>
                  <a:gd name="T2" fmla="*/ 10 w 11"/>
                  <a:gd name="T3" fmla="*/ 2 h 13"/>
                  <a:gd name="T4" fmla="*/ 11 w 11"/>
                  <a:gd name="T5" fmla="*/ 2 h 13"/>
                  <a:gd name="T6" fmla="*/ 11 w 11"/>
                  <a:gd name="T7" fmla="*/ 4 h 13"/>
                  <a:gd name="T8" fmla="*/ 11 w 11"/>
                  <a:gd name="T9" fmla="*/ 5 h 13"/>
                  <a:gd name="T10" fmla="*/ 10 w 11"/>
                  <a:gd name="T11" fmla="*/ 5 h 13"/>
                  <a:gd name="T12" fmla="*/ 10 w 11"/>
                  <a:gd name="T13" fmla="*/ 7 h 13"/>
                  <a:gd name="T14" fmla="*/ 10 w 11"/>
                  <a:gd name="T15" fmla="*/ 8 h 13"/>
                  <a:gd name="T16" fmla="*/ 10 w 11"/>
                  <a:gd name="T17" fmla="*/ 10 h 13"/>
                  <a:gd name="T18" fmla="*/ 10 w 11"/>
                  <a:gd name="T19" fmla="*/ 12 h 13"/>
                  <a:gd name="T20" fmla="*/ 10 w 11"/>
                  <a:gd name="T21" fmla="*/ 13 h 13"/>
                  <a:gd name="T22" fmla="*/ 8 w 11"/>
                  <a:gd name="T23" fmla="*/ 13 h 13"/>
                  <a:gd name="T24" fmla="*/ 7 w 11"/>
                  <a:gd name="T25" fmla="*/ 13 h 13"/>
                  <a:gd name="T26" fmla="*/ 5 w 11"/>
                  <a:gd name="T27" fmla="*/ 13 h 13"/>
                  <a:gd name="T28" fmla="*/ 5 w 11"/>
                  <a:gd name="T29" fmla="*/ 12 h 13"/>
                  <a:gd name="T30" fmla="*/ 7 w 11"/>
                  <a:gd name="T31" fmla="*/ 12 h 13"/>
                  <a:gd name="T32" fmla="*/ 7 w 11"/>
                  <a:gd name="T33" fmla="*/ 10 h 13"/>
                  <a:gd name="T34" fmla="*/ 7 w 11"/>
                  <a:gd name="T35" fmla="*/ 8 h 13"/>
                  <a:gd name="T36" fmla="*/ 8 w 11"/>
                  <a:gd name="T37" fmla="*/ 8 h 13"/>
                  <a:gd name="T38" fmla="*/ 7 w 11"/>
                  <a:gd name="T39" fmla="*/ 8 h 13"/>
                  <a:gd name="T40" fmla="*/ 7 w 11"/>
                  <a:gd name="T41" fmla="*/ 7 h 13"/>
                  <a:gd name="T42" fmla="*/ 7 w 11"/>
                  <a:gd name="T43" fmla="*/ 8 h 13"/>
                  <a:gd name="T44" fmla="*/ 5 w 11"/>
                  <a:gd name="T45" fmla="*/ 8 h 13"/>
                  <a:gd name="T46" fmla="*/ 3 w 11"/>
                  <a:gd name="T47" fmla="*/ 8 h 13"/>
                  <a:gd name="T48" fmla="*/ 2 w 11"/>
                  <a:gd name="T49" fmla="*/ 8 h 13"/>
                  <a:gd name="T50" fmla="*/ 2 w 11"/>
                  <a:gd name="T51" fmla="*/ 7 h 13"/>
                  <a:gd name="T52" fmla="*/ 2 w 11"/>
                  <a:gd name="T53" fmla="*/ 5 h 13"/>
                  <a:gd name="T54" fmla="*/ 2 w 11"/>
                  <a:gd name="T55" fmla="*/ 7 h 13"/>
                  <a:gd name="T56" fmla="*/ 2 w 11"/>
                  <a:gd name="T57" fmla="*/ 5 h 13"/>
                  <a:gd name="T58" fmla="*/ 0 w 11"/>
                  <a:gd name="T59" fmla="*/ 5 h 13"/>
                  <a:gd name="T60" fmla="*/ 2 w 11"/>
                  <a:gd name="T61" fmla="*/ 5 h 13"/>
                  <a:gd name="T62" fmla="*/ 0 w 11"/>
                  <a:gd name="T63" fmla="*/ 5 h 13"/>
                  <a:gd name="T64" fmla="*/ 0 w 11"/>
                  <a:gd name="T65" fmla="*/ 4 h 13"/>
                  <a:gd name="T66" fmla="*/ 2 w 11"/>
                  <a:gd name="T67" fmla="*/ 4 h 13"/>
                  <a:gd name="T68" fmla="*/ 2 w 11"/>
                  <a:gd name="T69" fmla="*/ 2 h 13"/>
                  <a:gd name="T70" fmla="*/ 3 w 11"/>
                  <a:gd name="T71" fmla="*/ 2 h 13"/>
                  <a:gd name="T72" fmla="*/ 5 w 11"/>
                  <a:gd name="T73" fmla="*/ 2 h 13"/>
                  <a:gd name="T74" fmla="*/ 5 w 11"/>
                  <a:gd name="T75" fmla="*/ 4 h 13"/>
                  <a:gd name="T76" fmla="*/ 7 w 11"/>
                  <a:gd name="T77" fmla="*/ 4 h 13"/>
                  <a:gd name="T78" fmla="*/ 8 w 11"/>
                  <a:gd name="T79" fmla="*/ 4 h 13"/>
                  <a:gd name="T80" fmla="*/ 8 w 11"/>
                  <a:gd name="T81" fmla="*/ 2 h 13"/>
                  <a:gd name="T82" fmla="*/ 10 w 11"/>
                  <a:gd name="T83" fmla="*/ 2 h 13"/>
                  <a:gd name="T84" fmla="*/ 10 w 11"/>
                  <a:gd name="T8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 h="13">
                    <a:moveTo>
                      <a:pt x="10" y="0"/>
                    </a:moveTo>
                    <a:lnTo>
                      <a:pt x="10" y="2"/>
                    </a:lnTo>
                    <a:lnTo>
                      <a:pt x="11" y="2"/>
                    </a:lnTo>
                    <a:lnTo>
                      <a:pt x="11" y="4"/>
                    </a:lnTo>
                    <a:lnTo>
                      <a:pt x="11" y="5"/>
                    </a:lnTo>
                    <a:lnTo>
                      <a:pt x="10" y="5"/>
                    </a:lnTo>
                    <a:lnTo>
                      <a:pt x="10" y="7"/>
                    </a:lnTo>
                    <a:lnTo>
                      <a:pt x="10" y="8"/>
                    </a:lnTo>
                    <a:lnTo>
                      <a:pt x="10" y="10"/>
                    </a:lnTo>
                    <a:lnTo>
                      <a:pt x="10" y="12"/>
                    </a:lnTo>
                    <a:lnTo>
                      <a:pt x="10" y="13"/>
                    </a:lnTo>
                    <a:lnTo>
                      <a:pt x="8" y="13"/>
                    </a:lnTo>
                    <a:lnTo>
                      <a:pt x="7" y="13"/>
                    </a:lnTo>
                    <a:lnTo>
                      <a:pt x="5" y="13"/>
                    </a:lnTo>
                    <a:lnTo>
                      <a:pt x="5" y="12"/>
                    </a:lnTo>
                    <a:lnTo>
                      <a:pt x="7" y="12"/>
                    </a:lnTo>
                    <a:lnTo>
                      <a:pt x="7" y="10"/>
                    </a:lnTo>
                    <a:lnTo>
                      <a:pt x="7" y="8"/>
                    </a:lnTo>
                    <a:lnTo>
                      <a:pt x="8" y="8"/>
                    </a:lnTo>
                    <a:lnTo>
                      <a:pt x="7" y="8"/>
                    </a:lnTo>
                    <a:lnTo>
                      <a:pt x="7" y="7"/>
                    </a:lnTo>
                    <a:lnTo>
                      <a:pt x="7" y="8"/>
                    </a:lnTo>
                    <a:lnTo>
                      <a:pt x="5" y="8"/>
                    </a:lnTo>
                    <a:lnTo>
                      <a:pt x="3" y="8"/>
                    </a:lnTo>
                    <a:lnTo>
                      <a:pt x="2" y="8"/>
                    </a:lnTo>
                    <a:lnTo>
                      <a:pt x="2" y="7"/>
                    </a:lnTo>
                    <a:lnTo>
                      <a:pt x="2" y="5"/>
                    </a:lnTo>
                    <a:lnTo>
                      <a:pt x="2" y="7"/>
                    </a:lnTo>
                    <a:lnTo>
                      <a:pt x="2" y="5"/>
                    </a:lnTo>
                    <a:lnTo>
                      <a:pt x="0" y="5"/>
                    </a:lnTo>
                    <a:lnTo>
                      <a:pt x="2" y="5"/>
                    </a:lnTo>
                    <a:lnTo>
                      <a:pt x="0" y="5"/>
                    </a:lnTo>
                    <a:lnTo>
                      <a:pt x="0" y="4"/>
                    </a:lnTo>
                    <a:lnTo>
                      <a:pt x="2" y="4"/>
                    </a:lnTo>
                    <a:lnTo>
                      <a:pt x="2" y="2"/>
                    </a:lnTo>
                    <a:lnTo>
                      <a:pt x="3" y="2"/>
                    </a:lnTo>
                    <a:lnTo>
                      <a:pt x="5" y="2"/>
                    </a:lnTo>
                    <a:lnTo>
                      <a:pt x="5" y="4"/>
                    </a:lnTo>
                    <a:lnTo>
                      <a:pt x="7" y="4"/>
                    </a:lnTo>
                    <a:lnTo>
                      <a:pt x="8" y="4"/>
                    </a:lnTo>
                    <a:lnTo>
                      <a:pt x="8" y="2"/>
                    </a:lnTo>
                    <a:lnTo>
                      <a:pt x="10" y="2"/>
                    </a:lnTo>
                    <a:lnTo>
                      <a:pt x="1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89" name="Freeform 169"/>
              <p:cNvSpPr>
                <a:spLocks/>
              </p:cNvSpPr>
              <p:nvPr/>
            </p:nvSpPr>
            <p:spPr bwMode="auto">
              <a:xfrm>
                <a:off x="5226" y="1830"/>
                <a:ext cx="8" cy="14"/>
              </a:xfrm>
              <a:custGeom>
                <a:avLst/>
                <a:gdLst>
                  <a:gd name="T0" fmla="*/ 4 w 8"/>
                  <a:gd name="T1" fmla="*/ 0 h 14"/>
                  <a:gd name="T2" fmla="*/ 6 w 8"/>
                  <a:gd name="T3" fmla="*/ 0 h 14"/>
                  <a:gd name="T4" fmla="*/ 6 w 8"/>
                  <a:gd name="T5" fmla="*/ 1 h 14"/>
                  <a:gd name="T6" fmla="*/ 6 w 8"/>
                  <a:gd name="T7" fmla="*/ 0 h 14"/>
                  <a:gd name="T8" fmla="*/ 6 w 8"/>
                  <a:gd name="T9" fmla="*/ 1 h 14"/>
                  <a:gd name="T10" fmla="*/ 8 w 8"/>
                  <a:gd name="T11" fmla="*/ 1 h 14"/>
                  <a:gd name="T12" fmla="*/ 6 w 8"/>
                  <a:gd name="T13" fmla="*/ 1 h 14"/>
                  <a:gd name="T14" fmla="*/ 8 w 8"/>
                  <a:gd name="T15" fmla="*/ 1 h 14"/>
                  <a:gd name="T16" fmla="*/ 6 w 8"/>
                  <a:gd name="T17" fmla="*/ 1 h 14"/>
                  <a:gd name="T18" fmla="*/ 6 w 8"/>
                  <a:gd name="T19" fmla="*/ 3 h 14"/>
                  <a:gd name="T20" fmla="*/ 4 w 8"/>
                  <a:gd name="T21" fmla="*/ 3 h 14"/>
                  <a:gd name="T22" fmla="*/ 4 w 8"/>
                  <a:gd name="T23" fmla="*/ 4 h 14"/>
                  <a:gd name="T24" fmla="*/ 4 w 8"/>
                  <a:gd name="T25" fmla="*/ 6 h 14"/>
                  <a:gd name="T26" fmla="*/ 4 w 8"/>
                  <a:gd name="T27" fmla="*/ 8 h 14"/>
                  <a:gd name="T28" fmla="*/ 3 w 8"/>
                  <a:gd name="T29" fmla="*/ 8 h 14"/>
                  <a:gd name="T30" fmla="*/ 3 w 8"/>
                  <a:gd name="T31" fmla="*/ 9 h 14"/>
                  <a:gd name="T32" fmla="*/ 3 w 8"/>
                  <a:gd name="T33" fmla="*/ 11 h 14"/>
                  <a:gd name="T34" fmla="*/ 3 w 8"/>
                  <a:gd name="T35" fmla="*/ 12 h 14"/>
                  <a:gd name="T36" fmla="*/ 3 w 8"/>
                  <a:gd name="T37" fmla="*/ 14 h 14"/>
                  <a:gd name="T38" fmla="*/ 1 w 8"/>
                  <a:gd name="T39" fmla="*/ 14 h 14"/>
                  <a:gd name="T40" fmla="*/ 1 w 8"/>
                  <a:gd name="T41" fmla="*/ 12 h 14"/>
                  <a:gd name="T42" fmla="*/ 1 w 8"/>
                  <a:gd name="T43" fmla="*/ 11 h 14"/>
                  <a:gd name="T44" fmla="*/ 0 w 8"/>
                  <a:gd name="T45" fmla="*/ 11 h 14"/>
                  <a:gd name="T46" fmla="*/ 0 w 8"/>
                  <a:gd name="T47" fmla="*/ 9 h 14"/>
                  <a:gd name="T48" fmla="*/ 0 w 8"/>
                  <a:gd name="T49" fmla="*/ 8 h 14"/>
                  <a:gd name="T50" fmla="*/ 0 w 8"/>
                  <a:gd name="T51" fmla="*/ 6 h 14"/>
                  <a:gd name="T52" fmla="*/ 1 w 8"/>
                  <a:gd name="T53" fmla="*/ 6 h 14"/>
                  <a:gd name="T54" fmla="*/ 1 w 8"/>
                  <a:gd name="T55" fmla="*/ 4 h 14"/>
                  <a:gd name="T56" fmla="*/ 1 w 8"/>
                  <a:gd name="T57" fmla="*/ 3 h 14"/>
                  <a:gd name="T58" fmla="*/ 3 w 8"/>
                  <a:gd name="T59" fmla="*/ 3 h 14"/>
                  <a:gd name="T60" fmla="*/ 3 w 8"/>
                  <a:gd name="T61" fmla="*/ 1 h 14"/>
                  <a:gd name="T62" fmla="*/ 3 w 8"/>
                  <a:gd name="T63" fmla="*/ 0 h 14"/>
                  <a:gd name="T64" fmla="*/ 4 w 8"/>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14">
                    <a:moveTo>
                      <a:pt x="4" y="0"/>
                    </a:moveTo>
                    <a:lnTo>
                      <a:pt x="6" y="0"/>
                    </a:lnTo>
                    <a:lnTo>
                      <a:pt x="6" y="1"/>
                    </a:lnTo>
                    <a:lnTo>
                      <a:pt x="6" y="0"/>
                    </a:lnTo>
                    <a:lnTo>
                      <a:pt x="6" y="1"/>
                    </a:lnTo>
                    <a:lnTo>
                      <a:pt x="8" y="1"/>
                    </a:lnTo>
                    <a:lnTo>
                      <a:pt x="6" y="1"/>
                    </a:lnTo>
                    <a:lnTo>
                      <a:pt x="8" y="1"/>
                    </a:lnTo>
                    <a:lnTo>
                      <a:pt x="6" y="1"/>
                    </a:lnTo>
                    <a:lnTo>
                      <a:pt x="6" y="3"/>
                    </a:lnTo>
                    <a:lnTo>
                      <a:pt x="4" y="3"/>
                    </a:lnTo>
                    <a:lnTo>
                      <a:pt x="4" y="4"/>
                    </a:lnTo>
                    <a:lnTo>
                      <a:pt x="4" y="6"/>
                    </a:lnTo>
                    <a:lnTo>
                      <a:pt x="4" y="8"/>
                    </a:lnTo>
                    <a:lnTo>
                      <a:pt x="3" y="8"/>
                    </a:lnTo>
                    <a:lnTo>
                      <a:pt x="3" y="9"/>
                    </a:lnTo>
                    <a:lnTo>
                      <a:pt x="3" y="11"/>
                    </a:lnTo>
                    <a:lnTo>
                      <a:pt x="3" y="12"/>
                    </a:lnTo>
                    <a:lnTo>
                      <a:pt x="3" y="14"/>
                    </a:lnTo>
                    <a:lnTo>
                      <a:pt x="1" y="14"/>
                    </a:lnTo>
                    <a:lnTo>
                      <a:pt x="1" y="12"/>
                    </a:lnTo>
                    <a:lnTo>
                      <a:pt x="1" y="11"/>
                    </a:lnTo>
                    <a:lnTo>
                      <a:pt x="0" y="11"/>
                    </a:lnTo>
                    <a:lnTo>
                      <a:pt x="0" y="9"/>
                    </a:lnTo>
                    <a:lnTo>
                      <a:pt x="0" y="8"/>
                    </a:lnTo>
                    <a:lnTo>
                      <a:pt x="0" y="6"/>
                    </a:lnTo>
                    <a:lnTo>
                      <a:pt x="1" y="6"/>
                    </a:lnTo>
                    <a:lnTo>
                      <a:pt x="1" y="4"/>
                    </a:lnTo>
                    <a:lnTo>
                      <a:pt x="1" y="3"/>
                    </a:lnTo>
                    <a:lnTo>
                      <a:pt x="3" y="3"/>
                    </a:lnTo>
                    <a:lnTo>
                      <a:pt x="3" y="1"/>
                    </a:lnTo>
                    <a:lnTo>
                      <a:pt x="3" y="0"/>
                    </a:lnTo>
                    <a:lnTo>
                      <a:pt x="4"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90" name="Freeform 170"/>
              <p:cNvSpPr>
                <a:spLocks/>
              </p:cNvSpPr>
              <p:nvPr/>
            </p:nvSpPr>
            <p:spPr bwMode="auto">
              <a:xfrm>
                <a:off x="5062" y="1842"/>
                <a:ext cx="5" cy="8"/>
              </a:xfrm>
              <a:custGeom>
                <a:avLst/>
                <a:gdLst>
                  <a:gd name="T0" fmla="*/ 4 w 5"/>
                  <a:gd name="T1" fmla="*/ 0 h 8"/>
                  <a:gd name="T2" fmla="*/ 5 w 5"/>
                  <a:gd name="T3" fmla="*/ 0 h 8"/>
                  <a:gd name="T4" fmla="*/ 5 w 5"/>
                  <a:gd name="T5" fmla="*/ 2 h 8"/>
                  <a:gd name="T6" fmla="*/ 5 w 5"/>
                  <a:gd name="T7" fmla="*/ 3 h 8"/>
                  <a:gd name="T8" fmla="*/ 4 w 5"/>
                  <a:gd name="T9" fmla="*/ 3 h 8"/>
                  <a:gd name="T10" fmla="*/ 4 w 5"/>
                  <a:gd name="T11" fmla="*/ 5 h 8"/>
                  <a:gd name="T12" fmla="*/ 4 w 5"/>
                  <a:gd name="T13" fmla="*/ 7 h 8"/>
                  <a:gd name="T14" fmla="*/ 4 w 5"/>
                  <a:gd name="T15" fmla="*/ 8 h 8"/>
                  <a:gd name="T16" fmla="*/ 4 w 5"/>
                  <a:gd name="T17" fmla="*/ 7 h 8"/>
                  <a:gd name="T18" fmla="*/ 4 w 5"/>
                  <a:gd name="T19" fmla="*/ 8 h 8"/>
                  <a:gd name="T20" fmla="*/ 4 w 5"/>
                  <a:gd name="T21" fmla="*/ 7 h 8"/>
                  <a:gd name="T22" fmla="*/ 2 w 5"/>
                  <a:gd name="T23" fmla="*/ 7 h 8"/>
                  <a:gd name="T24" fmla="*/ 2 w 5"/>
                  <a:gd name="T25" fmla="*/ 5 h 8"/>
                  <a:gd name="T26" fmla="*/ 2 w 5"/>
                  <a:gd name="T27" fmla="*/ 3 h 8"/>
                  <a:gd name="T28" fmla="*/ 2 w 5"/>
                  <a:gd name="T29" fmla="*/ 2 h 8"/>
                  <a:gd name="T30" fmla="*/ 0 w 5"/>
                  <a:gd name="T31" fmla="*/ 2 h 8"/>
                  <a:gd name="T32" fmla="*/ 0 w 5"/>
                  <a:gd name="T33" fmla="*/ 0 h 8"/>
                  <a:gd name="T34" fmla="*/ 2 w 5"/>
                  <a:gd name="T35" fmla="*/ 0 h 8"/>
                  <a:gd name="T36" fmla="*/ 4 w 5"/>
                  <a:gd name="T3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8">
                    <a:moveTo>
                      <a:pt x="4" y="0"/>
                    </a:moveTo>
                    <a:lnTo>
                      <a:pt x="5" y="0"/>
                    </a:lnTo>
                    <a:lnTo>
                      <a:pt x="5" y="2"/>
                    </a:lnTo>
                    <a:lnTo>
                      <a:pt x="5" y="3"/>
                    </a:lnTo>
                    <a:lnTo>
                      <a:pt x="4" y="3"/>
                    </a:lnTo>
                    <a:lnTo>
                      <a:pt x="4" y="5"/>
                    </a:lnTo>
                    <a:lnTo>
                      <a:pt x="4" y="7"/>
                    </a:lnTo>
                    <a:lnTo>
                      <a:pt x="4" y="8"/>
                    </a:lnTo>
                    <a:lnTo>
                      <a:pt x="4" y="7"/>
                    </a:lnTo>
                    <a:lnTo>
                      <a:pt x="4" y="8"/>
                    </a:lnTo>
                    <a:lnTo>
                      <a:pt x="4" y="7"/>
                    </a:lnTo>
                    <a:lnTo>
                      <a:pt x="2" y="7"/>
                    </a:lnTo>
                    <a:lnTo>
                      <a:pt x="2" y="5"/>
                    </a:lnTo>
                    <a:lnTo>
                      <a:pt x="2" y="3"/>
                    </a:lnTo>
                    <a:lnTo>
                      <a:pt x="2" y="2"/>
                    </a:lnTo>
                    <a:lnTo>
                      <a:pt x="0" y="2"/>
                    </a:lnTo>
                    <a:lnTo>
                      <a:pt x="0" y="0"/>
                    </a:lnTo>
                    <a:lnTo>
                      <a:pt x="2" y="0"/>
                    </a:lnTo>
                    <a:lnTo>
                      <a:pt x="4"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91" name="Freeform 171"/>
              <p:cNvSpPr>
                <a:spLocks/>
              </p:cNvSpPr>
              <p:nvPr/>
            </p:nvSpPr>
            <p:spPr bwMode="auto">
              <a:xfrm>
                <a:off x="5218" y="1844"/>
                <a:ext cx="11" cy="28"/>
              </a:xfrm>
              <a:custGeom>
                <a:avLst/>
                <a:gdLst>
                  <a:gd name="T0" fmla="*/ 4 w 11"/>
                  <a:gd name="T1" fmla="*/ 6 h 28"/>
                  <a:gd name="T2" fmla="*/ 6 w 11"/>
                  <a:gd name="T3" fmla="*/ 6 h 28"/>
                  <a:gd name="T4" fmla="*/ 6 w 11"/>
                  <a:gd name="T5" fmla="*/ 5 h 28"/>
                  <a:gd name="T6" fmla="*/ 8 w 11"/>
                  <a:gd name="T7" fmla="*/ 5 h 28"/>
                  <a:gd name="T8" fmla="*/ 8 w 11"/>
                  <a:gd name="T9" fmla="*/ 3 h 28"/>
                  <a:gd name="T10" fmla="*/ 8 w 11"/>
                  <a:gd name="T11" fmla="*/ 1 h 28"/>
                  <a:gd name="T12" fmla="*/ 8 w 11"/>
                  <a:gd name="T13" fmla="*/ 0 h 28"/>
                  <a:gd name="T14" fmla="*/ 9 w 11"/>
                  <a:gd name="T15" fmla="*/ 0 h 28"/>
                  <a:gd name="T16" fmla="*/ 11 w 11"/>
                  <a:gd name="T17" fmla="*/ 0 h 28"/>
                  <a:gd name="T18" fmla="*/ 11 w 11"/>
                  <a:gd name="T19" fmla="*/ 1 h 28"/>
                  <a:gd name="T20" fmla="*/ 9 w 11"/>
                  <a:gd name="T21" fmla="*/ 1 h 28"/>
                  <a:gd name="T22" fmla="*/ 11 w 11"/>
                  <a:gd name="T23" fmla="*/ 1 h 28"/>
                  <a:gd name="T24" fmla="*/ 9 w 11"/>
                  <a:gd name="T25" fmla="*/ 1 h 28"/>
                  <a:gd name="T26" fmla="*/ 9 w 11"/>
                  <a:gd name="T27" fmla="*/ 3 h 28"/>
                  <a:gd name="T28" fmla="*/ 9 w 11"/>
                  <a:gd name="T29" fmla="*/ 5 h 28"/>
                  <a:gd name="T30" fmla="*/ 8 w 11"/>
                  <a:gd name="T31" fmla="*/ 5 h 28"/>
                  <a:gd name="T32" fmla="*/ 8 w 11"/>
                  <a:gd name="T33" fmla="*/ 6 h 28"/>
                  <a:gd name="T34" fmla="*/ 9 w 11"/>
                  <a:gd name="T35" fmla="*/ 6 h 28"/>
                  <a:gd name="T36" fmla="*/ 8 w 11"/>
                  <a:gd name="T37" fmla="*/ 6 h 28"/>
                  <a:gd name="T38" fmla="*/ 8 w 11"/>
                  <a:gd name="T39" fmla="*/ 8 h 28"/>
                  <a:gd name="T40" fmla="*/ 8 w 11"/>
                  <a:gd name="T41" fmla="*/ 9 h 28"/>
                  <a:gd name="T42" fmla="*/ 8 w 11"/>
                  <a:gd name="T43" fmla="*/ 11 h 28"/>
                  <a:gd name="T44" fmla="*/ 8 w 11"/>
                  <a:gd name="T45" fmla="*/ 13 h 28"/>
                  <a:gd name="T46" fmla="*/ 6 w 11"/>
                  <a:gd name="T47" fmla="*/ 13 h 28"/>
                  <a:gd name="T48" fmla="*/ 6 w 11"/>
                  <a:gd name="T49" fmla="*/ 14 h 28"/>
                  <a:gd name="T50" fmla="*/ 6 w 11"/>
                  <a:gd name="T51" fmla="*/ 16 h 28"/>
                  <a:gd name="T52" fmla="*/ 6 w 11"/>
                  <a:gd name="T53" fmla="*/ 17 h 28"/>
                  <a:gd name="T54" fmla="*/ 4 w 11"/>
                  <a:gd name="T55" fmla="*/ 17 h 28"/>
                  <a:gd name="T56" fmla="*/ 4 w 11"/>
                  <a:gd name="T57" fmla="*/ 19 h 28"/>
                  <a:gd name="T58" fmla="*/ 4 w 11"/>
                  <a:gd name="T59" fmla="*/ 20 h 28"/>
                  <a:gd name="T60" fmla="*/ 4 w 11"/>
                  <a:gd name="T61" fmla="*/ 22 h 28"/>
                  <a:gd name="T62" fmla="*/ 4 w 11"/>
                  <a:gd name="T63" fmla="*/ 24 h 28"/>
                  <a:gd name="T64" fmla="*/ 4 w 11"/>
                  <a:gd name="T65" fmla="*/ 25 h 28"/>
                  <a:gd name="T66" fmla="*/ 4 w 11"/>
                  <a:gd name="T67" fmla="*/ 27 h 28"/>
                  <a:gd name="T68" fmla="*/ 3 w 11"/>
                  <a:gd name="T69" fmla="*/ 27 h 28"/>
                  <a:gd name="T70" fmla="*/ 1 w 11"/>
                  <a:gd name="T71" fmla="*/ 27 h 28"/>
                  <a:gd name="T72" fmla="*/ 1 w 11"/>
                  <a:gd name="T73" fmla="*/ 28 h 28"/>
                  <a:gd name="T74" fmla="*/ 0 w 11"/>
                  <a:gd name="T75" fmla="*/ 28 h 28"/>
                  <a:gd name="T76" fmla="*/ 1 w 11"/>
                  <a:gd name="T77" fmla="*/ 28 h 28"/>
                  <a:gd name="T78" fmla="*/ 1 w 11"/>
                  <a:gd name="T79" fmla="*/ 27 h 28"/>
                  <a:gd name="T80" fmla="*/ 0 w 11"/>
                  <a:gd name="T81" fmla="*/ 27 h 28"/>
                  <a:gd name="T82" fmla="*/ 1 w 11"/>
                  <a:gd name="T83" fmla="*/ 27 h 28"/>
                  <a:gd name="T84" fmla="*/ 1 w 11"/>
                  <a:gd name="T85" fmla="*/ 25 h 28"/>
                  <a:gd name="T86" fmla="*/ 0 w 11"/>
                  <a:gd name="T87" fmla="*/ 25 h 28"/>
                  <a:gd name="T88" fmla="*/ 0 w 11"/>
                  <a:gd name="T89" fmla="*/ 24 h 28"/>
                  <a:gd name="T90" fmla="*/ 1 w 11"/>
                  <a:gd name="T91" fmla="*/ 24 h 28"/>
                  <a:gd name="T92" fmla="*/ 1 w 11"/>
                  <a:gd name="T93" fmla="*/ 22 h 28"/>
                  <a:gd name="T94" fmla="*/ 1 w 11"/>
                  <a:gd name="T95" fmla="*/ 20 h 28"/>
                  <a:gd name="T96" fmla="*/ 1 w 11"/>
                  <a:gd name="T97" fmla="*/ 19 h 28"/>
                  <a:gd name="T98" fmla="*/ 3 w 11"/>
                  <a:gd name="T99" fmla="*/ 19 h 28"/>
                  <a:gd name="T100" fmla="*/ 3 w 11"/>
                  <a:gd name="T101" fmla="*/ 17 h 28"/>
                  <a:gd name="T102" fmla="*/ 3 w 11"/>
                  <a:gd name="T103" fmla="*/ 16 h 28"/>
                  <a:gd name="T104" fmla="*/ 3 w 11"/>
                  <a:gd name="T105" fmla="*/ 14 h 28"/>
                  <a:gd name="T106" fmla="*/ 3 w 11"/>
                  <a:gd name="T107" fmla="*/ 13 h 28"/>
                  <a:gd name="T108" fmla="*/ 3 w 11"/>
                  <a:gd name="T109" fmla="*/ 11 h 28"/>
                  <a:gd name="T110" fmla="*/ 4 w 11"/>
                  <a:gd name="T111" fmla="*/ 11 h 28"/>
                  <a:gd name="T112" fmla="*/ 4 w 11"/>
                  <a:gd name="T113" fmla="*/ 9 h 28"/>
                  <a:gd name="T114" fmla="*/ 4 w 11"/>
                  <a:gd name="T115" fmla="*/ 8 h 28"/>
                  <a:gd name="T116" fmla="*/ 4 w 11"/>
                  <a:gd name="T11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 h="28">
                    <a:moveTo>
                      <a:pt x="4" y="6"/>
                    </a:moveTo>
                    <a:lnTo>
                      <a:pt x="6" y="6"/>
                    </a:lnTo>
                    <a:lnTo>
                      <a:pt x="6" y="5"/>
                    </a:lnTo>
                    <a:lnTo>
                      <a:pt x="8" y="5"/>
                    </a:lnTo>
                    <a:lnTo>
                      <a:pt x="8" y="3"/>
                    </a:lnTo>
                    <a:lnTo>
                      <a:pt x="8" y="1"/>
                    </a:lnTo>
                    <a:lnTo>
                      <a:pt x="8" y="0"/>
                    </a:lnTo>
                    <a:lnTo>
                      <a:pt x="9" y="0"/>
                    </a:lnTo>
                    <a:lnTo>
                      <a:pt x="11" y="0"/>
                    </a:lnTo>
                    <a:lnTo>
                      <a:pt x="11" y="1"/>
                    </a:lnTo>
                    <a:lnTo>
                      <a:pt x="9" y="1"/>
                    </a:lnTo>
                    <a:lnTo>
                      <a:pt x="11" y="1"/>
                    </a:lnTo>
                    <a:lnTo>
                      <a:pt x="9" y="1"/>
                    </a:lnTo>
                    <a:lnTo>
                      <a:pt x="9" y="3"/>
                    </a:lnTo>
                    <a:lnTo>
                      <a:pt x="9" y="5"/>
                    </a:lnTo>
                    <a:lnTo>
                      <a:pt x="8" y="5"/>
                    </a:lnTo>
                    <a:lnTo>
                      <a:pt x="8" y="6"/>
                    </a:lnTo>
                    <a:lnTo>
                      <a:pt x="9" y="6"/>
                    </a:lnTo>
                    <a:lnTo>
                      <a:pt x="8" y="6"/>
                    </a:lnTo>
                    <a:lnTo>
                      <a:pt x="8" y="8"/>
                    </a:lnTo>
                    <a:lnTo>
                      <a:pt x="8" y="9"/>
                    </a:lnTo>
                    <a:lnTo>
                      <a:pt x="8" y="11"/>
                    </a:lnTo>
                    <a:lnTo>
                      <a:pt x="8" y="13"/>
                    </a:lnTo>
                    <a:lnTo>
                      <a:pt x="6" y="13"/>
                    </a:lnTo>
                    <a:lnTo>
                      <a:pt x="6" y="14"/>
                    </a:lnTo>
                    <a:lnTo>
                      <a:pt x="6" y="16"/>
                    </a:lnTo>
                    <a:lnTo>
                      <a:pt x="6" y="17"/>
                    </a:lnTo>
                    <a:lnTo>
                      <a:pt x="4" y="17"/>
                    </a:lnTo>
                    <a:lnTo>
                      <a:pt x="4" y="19"/>
                    </a:lnTo>
                    <a:lnTo>
                      <a:pt x="4" y="20"/>
                    </a:lnTo>
                    <a:lnTo>
                      <a:pt x="4" y="22"/>
                    </a:lnTo>
                    <a:lnTo>
                      <a:pt x="4" y="24"/>
                    </a:lnTo>
                    <a:lnTo>
                      <a:pt x="4" y="25"/>
                    </a:lnTo>
                    <a:lnTo>
                      <a:pt x="4" y="27"/>
                    </a:lnTo>
                    <a:lnTo>
                      <a:pt x="3" y="27"/>
                    </a:lnTo>
                    <a:lnTo>
                      <a:pt x="1" y="27"/>
                    </a:lnTo>
                    <a:lnTo>
                      <a:pt x="1" y="28"/>
                    </a:lnTo>
                    <a:lnTo>
                      <a:pt x="0" y="28"/>
                    </a:lnTo>
                    <a:lnTo>
                      <a:pt x="1" y="28"/>
                    </a:lnTo>
                    <a:lnTo>
                      <a:pt x="1" y="27"/>
                    </a:lnTo>
                    <a:lnTo>
                      <a:pt x="0" y="27"/>
                    </a:lnTo>
                    <a:lnTo>
                      <a:pt x="1" y="27"/>
                    </a:lnTo>
                    <a:lnTo>
                      <a:pt x="1" y="25"/>
                    </a:lnTo>
                    <a:lnTo>
                      <a:pt x="0" y="25"/>
                    </a:lnTo>
                    <a:lnTo>
                      <a:pt x="0" y="24"/>
                    </a:lnTo>
                    <a:lnTo>
                      <a:pt x="1" y="24"/>
                    </a:lnTo>
                    <a:lnTo>
                      <a:pt x="1" y="22"/>
                    </a:lnTo>
                    <a:lnTo>
                      <a:pt x="1" y="20"/>
                    </a:lnTo>
                    <a:lnTo>
                      <a:pt x="1" y="19"/>
                    </a:lnTo>
                    <a:lnTo>
                      <a:pt x="3" y="19"/>
                    </a:lnTo>
                    <a:lnTo>
                      <a:pt x="3" y="17"/>
                    </a:lnTo>
                    <a:lnTo>
                      <a:pt x="3" y="16"/>
                    </a:lnTo>
                    <a:lnTo>
                      <a:pt x="3" y="14"/>
                    </a:lnTo>
                    <a:lnTo>
                      <a:pt x="3" y="13"/>
                    </a:lnTo>
                    <a:lnTo>
                      <a:pt x="3" y="11"/>
                    </a:lnTo>
                    <a:lnTo>
                      <a:pt x="4" y="11"/>
                    </a:lnTo>
                    <a:lnTo>
                      <a:pt x="4" y="9"/>
                    </a:lnTo>
                    <a:lnTo>
                      <a:pt x="4" y="8"/>
                    </a:lnTo>
                    <a:lnTo>
                      <a:pt x="4" y="6"/>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92" name="Freeform 172"/>
              <p:cNvSpPr>
                <a:spLocks/>
              </p:cNvSpPr>
              <p:nvPr/>
            </p:nvSpPr>
            <p:spPr bwMode="auto">
              <a:xfrm>
                <a:off x="5283" y="1853"/>
                <a:ext cx="12" cy="24"/>
              </a:xfrm>
              <a:custGeom>
                <a:avLst/>
                <a:gdLst>
                  <a:gd name="T0" fmla="*/ 9 w 12"/>
                  <a:gd name="T1" fmla="*/ 0 h 24"/>
                  <a:gd name="T2" fmla="*/ 9 w 12"/>
                  <a:gd name="T3" fmla="*/ 2 h 24"/>
                  <a:gd name="T4" fmla="*/ 9 w 12"/>
                  <a:gd name="T5" fmla="*/ 4 h 24"/>
                  <a:gd name="T6" fmla="*/ 9 w 12"/>
                  <a:gd name="T7" fmla="*/ 5 h 24"/>
                  <a:gd name="T8" fmla="*/ 8 w 12"/>
                  <a:gd name="T9" fmla="*/ 5 h 24"/>
                  <a:gd name="T10" fmla="*/ 8 w 12"/>
                  <a:gd name="T11" fmla="*/ 7 h 24"/>
                  <a:gd name="T12" fmla="*/ 9 w 12"/>
                  <a:gd name="T13" fmla="*/ 7 h 24"/>
                  <a:gd name="T14" fmla="*/ 9 w 12"/>
                  <a:gd name="T15" fmla="*/ 8 h 24"/>
                  <a:gd name="T16" fmla="*/ 9 w 12"/>
                  <a:gd name="T17" fmla="*/ 10 h 24"/>
                  <a:gd name="T18" fmla="*/ 11 w 12"/>
                  <a:gd name="T19" fmla="*/ 10 h 24"/>
                  <a:gd name="T20" fmla="*/ 12 w 12"/>
                  <a:gd name="T21" fmla="*/ 10 h 24"/>
                  <a:gd name="T22" fmla="*/ 12 w 12"/>
                  <a:gd name="T23" fmla="*/ 11 h 24"/>
                  <a:gd name="T24" fmla="*/ 12 w 12"/>
                  <a:gd name="T25" fmla="*/ 13 h 24"/>
                  <a:gd name="T26" fmla="*/ 12 w 12"/>
                  <a:gd name="T27" fmla="*/ 15 h 24"/>
                  <a:gd name="T28" fmla="*/ 12 w 12"/>
                  <a:gd name="T29" fmla="*/ 16 h 24"/>
                  <a:gd name="T30" fmla="*/ 11 w 12"/>
                  <a:gd name="T31" fmla="*/ 16 h 24"/>
                  <a:gd name="T32" fmla="*/ 11 w 12"/>
                  <a:gd name="T33" fmla="*/ 18 h 24"/>
                  <a:gd name="T34" fmla="*/ 11 w 12"/>
                  <a:gd name="T35" fmla="*/ 19 h 24"/>
                  <a:gd name="T36" fmla="*/ 11 w 12"/>
                  <a:gd name="T37" fmla="*/ 21 h 24"/>
                  <a:gd name="T38" fmla="*/ 11 w 12"/>
                  <a:gd name="T39" fmla="*/ 23 h 24"/>
                  <a:gd name="T40" fmla="*/ 9 w 12"/>
                  <a:gd name="T41" fmla="*/ 23 h 24"/>
                  <a:gd name="T42" fmla="*/ 9 w 12"/>
                  <a:gd name="T43" fmla="*/ 24 h 24"/>
                  <a:gd name="T44" fmla="*/ 8 w 12"/>
                  <a:gd name="T45" fmla="*/ 24 h 24"/>
                  <a:gd name="T46" fmla="*/ 6 w 12"/>
                  <a:gd name="T47" fmla="*/ 24 h 24"/>
                  <a:gd name="T48" fmla="*/ 6 w 12"/>
                  <a:gd name="T49" fmla="*/ 23 h 24"/>
                  <a:gd name="T50" fmla="*/ 4 w 12"/>
                  <a:gd name="T51" fmla="*/ 23 h 24"/>
                  <a:gd name="T52" fmla="*/ 3 w 12"/>
                  <a:gd name="T53" fmla="*/ 23 h 24"/>
                  <a:gd name="T54" fmla="*/ 1 w 12"/>
                  <a:gd name="T55" fmla="*/ 23 h 24"/>
                  <a:gd name="T56" fmla="*/ 0 w 12"/>
                  <a:gd name="T57" fmla="*/ 23 h 24"/>
                  <a:gd name="T58" fmla="*/ 1 w 12"/>
                  <a:gd name="T59" fmla="*/ 23 h 24"/>
                  <a:gd name="T60" fmla="*/ 1 w 12"/>
                  <a:gd name="T61" fmla="*/ 21 h 24"/>
                  <a:gd name="T62" fmla="*/ 1 w 12"/>
                  <a:gd name="T63" fmla="*/ 19 h 24"/>
                  <a:gd name="T64" fmla="*/ 3 w 12"/>
                  <a:gd name="T65" fmla="*/ 19 h 24"/>
                  <a:gd name="T66" fmla="*/ 4 w 12"/>
                  <a:gd name="T67" fmla="*/ 19 h 24"/>
                  <a:gd name="T68" fmla="*/ 4 w 12"/>
                  <a:gd name="T69" fmla="*/ 18 h 24"/>
                  <a:gd name="T70" fmla="*/ 4 w 12"/>
                  <a:gd name="T71" fmla="*/ 16 h 24"/>
                  <a:gd name="T72" fmla="*/ 6 w 12"/>
                  <a:gd name="T73" fmla="*/ 16 h 24"/>
                  <a:gd name="T74" fmla="*/ 6 w 12"/>
                  <a:gd name="T75" fmla="*/ 15 h 24"/>
                  <a:gd name="T76" fmla="*/ 8 w 12"/>
                  <a:gd name="T77" fmla="*/ 15 h 24"/>
                  <a:gd name="T78" fmla="*/ 8 w 12"/>
                  <a:gd name="T79" fmla="*/ 13 h 24"/>
                  <a:gd name="T80" fmla="*/ 8 w 12"/>
                  <a:gd name="T81" fmla="*/ 11 h 24"/>
                  <a:gd name="T82" fmla="*/ 6 w 12"/>
                  <a:gd name="T83" fmla="*/ 11 h 24"/>
                  <a:gd name="T84" fmla="*/ 6 w 12"/>
                  <a:gd name="T85" fmla="*/ 10 h 24"/>
                  <a:gd name="T86" fmla="*/ 6 w 12"/>
                  <a:gd name="T87" fmla="*/ 8 h 24"/>
                  <a:gd name="T88" fmla="*/ 8 w 12"/>
                  <a:gd name="T89" fmla="*/ 8 h 24"/>
                  <a:gd name="T90" fmla="*/ 6 w 12"/>
                  <a:gd name="T91" fmla="*/ 8 h 24"/>
                  <a:gd name="T92" fmla="*/ 6 w 12"/>
                  <a:gd name="T93" fmla="*/ 10 h 24"/>
                  <a:gd name="T94" fmla="*/ 4 w 12"/>
                  <a:gd name="T95" fmla="*/ 10 h 24"/>
                  <a:gd name="T96" fmla="*/ 4 w 12"/>
                  <a:gd name="T97" fmla="*/ 8 h 24"/>
                  <a:gd name="T98" fmla="*/ 4 w 12"/>
                  <a:gd name="T99" fmla="*/ 7 h 24"/>
                  <a:gd name="T100" fmla="*/ 6 w 12"/>
                  <a:gd name="T101" fmla="*/ 7 h 24"/>
                  <a:gd name="T102" fmla="*/ 6 w 12"/>
                  <a:gd name="T103" fmla="*/ 5 h 24"/>
                  <a:gd name="T104" fmla="*/ 8 w 12"/>
                  <a:gd name="T105" fmla="*/ 5 h 24"/>
                  <a:gd name="T106" fmla="*/ 8 w 12"/>
                  <a:gd name="T107" fmla="*/ 4 h 24"/>
                  <a:gd name="T108" fmla="*/ 8 w 12"/>
                  <a:gd name="T109" fmla="*/ 2 h 24"/>
                  <a:gd name="T110" fmla="*/ 9 w 12"/>
                  <a:gd name="T111" fmla="*/ 2 h 24"/>
                  <a:gd name="T112" fmla="*/ 9 w 12"/>
                  <a:gd name="T11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 h="24">
                    <a:moveTo>
                      <a:pt x="9" y="0"/>
                    </a:moveTo>
                    <a:lnTo>
                      <a:pt x="9" y="2"/>
                    </a:lnTo>
                    <a:lnTo>
                      <a:pt x="9" y="4"/>
                    </a:lnTo>
                    <a:lnTo>
                      <a:pt x="9" y="5"/>
                    </a:lnTo>
                    <a:lnTo>
                      <a:pt x="8" y="5"/>
                    </a:lnTo>
                    <a:lnTo>
                      <a:pt x="8" y="7"/>
                    </a:lnTo>
                    <a:lnTo>
                      <a:pt x="9" y="7"/>
                    </a:lnTo>
                    <a:lnTo>
                      <a:pt x="9" y="8"/>
                    </a:lnTo>
                    <a:lnTo>
                      <a:pt x="9" y="10"/>
                    </a:lnTo>
                    <a:lnTo>
                      <a:pt x="11" y="10"/>
                    </a:lnTo>
                    <a:lnTo>
                      <a:pt x="12" y="10"/>
                    </a:lnTo>
                    <a:lnTo>
                      <a:pt x="12" y="11"/>
                    </a:lnTo>
                    <a:lnTo>
                      <a:pt x="12" y="13"/>
                    </a:lnTo>
                    <a:lnTo>
                      <a:pt x="12" y="15"/>
                    </a:lnTo>
                    <a:lnTo>
                      <a:pt x="12" y="16"/>
                    </a:lnTo>
                    <a:lnTo>
                      <a:pt x="11" y="16"/>
                    </a:lnTo>
                    <a:lnTo>
                      <a:pt x="11" y="18"/>
                    </a:lnTo>
                    <a:lnTo>
                      <a:pt x="11" y="19"/>
                    </a:lnTo>
                    <a:lnTo>
                      <a:pt x="11" y="21"/>
                    </a:lnTo>
                    <a:lnTo>
                      <a:pt x="11" y="23"/>
                    </a:lnTo>
                    <a:lnTo>
                      <a:pt x="9" y="23"/>
                    </a:lnTo>
                    <a:lnTo>
                      <a:pt x="9" y="24"/>
                    </a:lnTo>
                    <a:lnTo>
                      <a:pt x="8" y="24"/>
                    </a:lnTo>
                    <a:lnTo>
                      <a:pt x="6" y="24"/>
                    </a:lnTo>
                    <a:lnTo>
                      <a:pt x="6" y="23"/>
                    </a:lnTo>
                    <a:lnTo>
                      <a:pt x="4" y="23"/>
                    </a:lnTo>
                    <a:lnTo>
                      <a:pt x="3" y="23"/>
                    </a:lnTo>
                    <a:lnTo>
                      <a:pt x="1" y="23"/>
                    </a:lnTo>
                    <a:lnTo>
                      <a:pt x="0" y="23"/>
                    </a:lnTo>
                    <a:lnTo>
                      <a:pt x="1" y="23"/>
                    </a:lnTo>
                    <a:lnTo>
                      <a:pt x="1" y="21"/>
                    </a:lnTo>
                    <a:lnTo>
                      <a:pt x="1" y="19"/>
                    </a:lnTo>
                    <a:lnTo>
                      <a:pt x="3" y="19"/>
                    </a:lnTo>
                    <a:lnTo>
                      <a:pt x="4" y="19"/>
                    </a:lnTo>
                    <a:lnTo>
                      <a:pt x="4" y="18"/>
                    </a:lnTo>
                    <a:lnTo>
                      <a:pt x="4" y="16"/>
                    </a:lnTo>
                    <a:lnTo>
                      <a:pt x="6" y="16"/>
                    </a:lnTo>
                    <a:lnTo>
                      <a:pt x="6" y="15"/>
                    </a:lnTo>
                    <a:lnTo>
                      <a:pt x="8" y="15"/>
                    </a:lnTo>
                    <a:lnTo>
                      <a:pt x="8" y="13"/>
                    </a:lnTo>
                    <a:lnTo>
                      <a:pt x="8" y="11"/>
                    </a:lnTo>
                    <a:lnTo>
                      <a:pt x="6" y="11"/>
                    </a:lnTo>
                    <a:lnTo>
                      <a:pt x="6" y="10"/>
                    </a:lnTo>
                    <a:lnTo>
                      <a:pt x="6" y="8"/>
                    </a:lnTo>
                    <a:lnTo>
                      <a:pt x="8" y="8"/>
                    </a:lnTo>
                    <a:lnTo>
                      <a:pt x="6" y="8"/>
                    </a:lnTo>
                    <a:lnTo>
                      <a:pt x="6" y="10"/>
                    </a:lnTo>
                    <a:lnTo>
                      <a:pt x="4" y="10"/>
                    </a:lnTo>
                    <a:lnTo>
                      <a:pt x="4" y="8"/>
                    </a:lnTo>
                    <a:lnTo>
                      <a:pt x="4" y="7"/>
                    </a:lnTo>
                    <a:lnTo>
                      <a:pt x="6" y="7"/>
                    </a:lnTo>
                    <a:lnTo>
                      <a:pt x="6" y="5"/>
                    </a:lnTo>
                    <a:lnTo>
                      <a:pt x="8" y="5"/>
                    </a:lnTo>
                    <a:lnTo>
                      <a:pt x="8" y="4"/>
                    </a:lnTo>
                    <a:lnTo>
                      <a:pt x="8" y="2"/>
                    </a:lnTo>
                    <a:lnTo>
                      <a:pt x="9" y="2"/>
                    </a:lnTo>
                    <a:lnTo>
                      <a:pt x="9"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93" name="Freeform 173"/>
              <p:cNvSpPr>
                <a:spLocks/>
              </p:cNvSpPr>
              <p:nvPr/>
            </p:nvSpPr>
            <p:spPr bwMode="auto">
              <a:xfrm>
                <a:off x="5289" y="1855"/>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94" name="Freeform 174"/>
              <p:cNvSpPr>
                <a:spLocks/>
              </p:cNvSpPr>
              <p:nvPr/>
            </p:nvSpPr>
            <p:spPr bwMode="auto">
              <a:xfrm>
                <a:off x="5045" y="1858"/>
                <a:ext cx="3" cy="2"/>
              </a:xfrm>
              <a:custGeom>
                <a:avLst/>
                <a:gdLst>
                  <a:gd name="T0" fmla="*/ 3 w 3"/>
                  <a:gd name="T1" fmla="*/ 0 h 2"/>
                  <a:gd name="T2" fmla="*/ 3 w 3"/>
                  <a:gd name="T3" fmla="*/ 2 h 2"/>
                  <a:gd name="T4" fmla="*/ 2 w 3"/>
                  <a:gd name="T5" fmla="*/ 2 h 2"/>
                  <a:gd name="T6" fmla="*/ 0 w 3"/>
                  <a:gd name="T7" fmla="*/ 2 h 2"/>
                  <a:gd name="T8" fmla="*/ 2 w 3"/>
                  <a:gd name="T9" fmla="*/ 2 h 2"/>
                  <a:gd name="T10" fmla="*/ 2 w 3"/>
                  <a:gd name="T11" fmla="*/ 0 h 2"/>
                  <a:gd name="T12" fmla="*/ 3 w 3"/>
                  <a:gd name="T13" fmla="*/ 0 h 2"/>
                  <a:gd name="T14" fmla="*/ 2 w 3"/>
                  <a:gd name="T15" fmla="*/ 0 h 2"/>
                  <a:gd name="T16" fmla="*/ 3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3" y="0"/>
                    </a:moveTo>
                    <a:lnTo>
                      <a:pt x="3" y="2"/>
                    </a:lnTo>
                    <a:lnTo>
                      <a:pt x="2" y="2"/>
                    </a:lnTo>
                    <a:lnTo>
                      <a:pt x="0" y="2"/>
                    </a:lnTo>
                    <a:lnTo>
                      <a:pt x="2" y="2"/>
                    </a:lnTo>
                    <a:lnTo>
                      <a:pt x="2" y="0"/>
                    </a:lnTo>
                    <a:lnTo>
                      <a:pt x="3" y="0"/>
                    </a:lnTo>
                    <a:lnTo>
                      <a:pt x="2" y="0"/>
                    </a:lnTo>
                    <a:lnTo>
                      <a:pt x="3"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95" name="Freeform 175"/>
              <p:cNvSpPr>
                <a:spLocks/>
              </p:cNvSpPr>
              <p:nvPr/>
            </p:nvSpPr>
            <p:spPr bwMode="auto">
              <a:xfrm>
                <a:off x="5066" y="1869"/>
                <a:ext cx="1" cy="2"/>
              </a:xfrm>
              <a:custGeom>
                <a:avLst/>
                <a:gdLst>
                  <a:gd name="T0" fmla="*/ 0 w 1"/>
                  <a:gd name="T1" fmla="*/ 0 h 2"/>
                  <a:gd name="T2" fmla="*/ 1 w 1"/>
                  <a:gd name="T3" fmla="*/ 0 h 2"/>
                  <a:gd name="T4" fmla="*/ 1 w 1"/>
                  <a:gd name="T5" fmla="*/ 2 h 2"/>
                  <a:gd name="T6" fmla="*/ 0 w 1"/>
                  <a:gd name="T7" fmla="*/ 2 h 2"/>
                  <a:gd name="T8" fmla="*/ 0 w 1"/>
                  <a:gd name="T9" fmla="*/ 0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2"/>
                    </a:lnTo>
                    <a:lnTo>
                      <a:pt x="0" y="2"/>
                    </a:lnTo>
                    <a:lnTo>
                      <a:pt x="0" y="0"/>
                    </a:ln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96" name="Freeform 176"/>
              <p:cNvSpPr>
                <a:spLocks/>
              </p:cNvSpPr>
              <p:nvPr/>
            </p:nvSpPr>
            <p:spPr bwMode="auto">
              <a:xfrm>
                <a:off x="5061" y="1871"/>
                <a:ext cx="6" cy="12"/>
              </a:xfrm>
              <a:custGeom>
                <a:avLst/>
                <a:gdLst>
                  <a:gd name="T0" fmla="*/ 5 w 6"/>
                  <a:gd name="T1" fmla="*/ 0 h 12"/>
                  <a:gd name="T2" fmla="*/ 6 w 6"/>
                  <a:gd name="T3" fmla="*/ 0 h 12"/>
                  <a:gd name="T4" fmla="*/ 6 w 6"/>
                  <a:gd name="T5" fmla="*/ 1 h 12"/>
                  <a:gd name="T6" fmla="*/ 5 w 6"/>
                  <a:gd name="T7" fmla="*/ 1 h 12"/>
                  <a:gd name="T8" fmla="*/ 5 w 6"/>
                  <a:gd name="T9" fmla="*/ 0 h 12"/>
                  <a:gd name="T10" fmla="*/ 5 w 6"/>
                  <a:gd name="T11" fmla="*/ 1 h 12"/>
                  <a:gd name="T12" fmla="*/ 5 w 6"/>
                  <a:gd name="T13" fmla="*/ 3 h 12"/>
                  <a:gd name="T14" fmla="*/ 5 w 6"/>
                  <a:gd name="T15" fmla="*/ 5 h 12"/>
                  <a:gd name="T16" fmla="*/ 5 w 6"/>
                  <a:gd name="T17" fmla="*/ 6 h 12"/>
                  <a:gd name="T18" fmla="*/ 5 w 6"/>
                  <a:gd name="T19" fmla="*/ 8 h 12"/>
                  <a:gd name="T20" fmla="*/ 5 w 6"/>
                  <a:gd name="T21" fmla="*/ 9 h 12"/>
                  <a:gd name="T22" fmla="*/ 5 w 6"/>
                  <a:gd name="T23" fmla="*/ 11 h 12"/>
                  <a:gd name="T24" fmla="*/ 6 w 6"/>
                  <a:gd name="T25" fmla="*/ 11 h 12"/>
                  <a:gd name="T26" fmla="*/ 5 w 6"/>
                  <a:gd name="T27" fmla="*/ 11 h 12"/>
                  <a:gd name="T28" fmla="*/ 6 w 6"/>
                  <a:gd name="T29" fmla="*/ 11 h 12"/>
                  <a:gd name="T30" fmla="*/ 6 w 6"/>
                  <a:gd name="T31" fmla="*/ 12 h 12"/>
                  <a:gd name="T32" fmla="*/ 5 w 6"/>
                  <a:gd name="T33" fmla="*/ 12 h 12"/>
                  <a:gd name="T34" fmla="*/ 3 w 6"/>
                  <a:gd name="T35" fmla="*/ 12 h 12"/>
                  <a:gd name="T36" fmla="*/ 1 w 6"/>
                  <a:gd name="T37" fmla="*/ 12 h 12"/>
                  <a:gd name="T38" fmla="*/ 1 w 6"/>
                  <a:gd name="T39" fmla="*/ 11 h 12"/>
                  <a:gd name="T40" fmla="*/ 1 w 6"/>
                  <a:gd name="T41" fmla="*/ 9 h 12"/>
                  <a:gd name="T42" fmla="*/ 1 w 6"/>
                  <a:gd name="T43" fmla="*/ 8 h 12"/>
                  <a:gd name="T44" fmla="*/ 0 w 6"/>
                  <a:gd name="T45" fmla="*/ 8 h 12"/>
                  <a:gd name="T46" fmla="*/ 1 w 6"/>
                  <a:gd name="T47" fmla="*/ 8 h 12"/>
                  <a:gd name="T48" fmla="*/ 1 w 6"/>
                  <a:gd name="T49" fmla="*/ 6 h 12"/>
                  <a:gd name="T50" fmla="*/ 0 w 6"/>
                  <a:gd name="T51" fmla="*/ 6 h 12"/>
                  <a:gd name="T52" fmla="*/ 0 w 6"/>
                  <a:gd name="T53" fmla="*/ 5 h 12"/>
                  <a:gd name="T54" fmla="*/ 0 w 6"/>
                  <a:gd name="T55" fmla="*/ 3 h 12"/>
                  <a:gd name="T56" fmla="*/ 1 w 6"/>
                  <a:gd name="T57" fmla="*/ 3 h 12"/>
                  <a:gd name="T58" fmla="*/ 1 w 6"/>
                  <a:gd name="T59" fmla="*/ 1 h 12"/>
                  <a:gd name="T60" fmla="*/ 3 w 6"/>
                  <a:gd name="T61" fmla="*/ 1 h 12"/>
                  <a:gd name="T62" fmla="*/ 5 w 6"/>
                  <a:gd name="T63" fmla="*/ 1 h 12"/>
                  <a:gd name="T64" fmla="*/ 5 w 6"/>
                  <a:gd name="T6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2">
                    <a:moveTo>
                      <a:pt x="5" y="0"/>
                    </a:moveTo>
                    <a:lnTo>
                      <a:pt x="6" y="0"/>
                    </a:lnTo>
                    <a:lnTo>
                      <a:pt x="6" y="1"/>
                    </a:lnTo>
                    <a:lnTo>
                      <a:pt x="5" y="1"/>
                    </a:lnTo>
                    <a:lnTo>
                      <a:pt x="5" y="0"/>
                    </a:lnTo>
                    <a:lnTo>
                      <a:pt x="5" y="1"/>
                    </a:lnTo>
                    <a:lnTo>
                      <a:pt x="5" y="3"/>
                    </a:lnTo>
                    <a:lnTo>
                      <a:pt x="5" y="5"/>
                    </a:lnTo>
                    <a:lnTo>
                      <a:pt x="5" y="6"/>
                    </a:lnTo>
                    <a:lnTo>
                      <a:pt x="5" y="8"/>
                    </a:lnTo>
                    <a:lnTo>
                      <a:pt x="5" y="9"/>
                    </a:lnTo>
                    <a:lnTo>
                      <a:pt x="5" y="11"/>
                    </a:lnTo>
                    <a:lnTo>
                      <a:pt x="6" y="11"/>
                    </a:lnTo>
                    <a:lnTo>
                      <a:pt x="5" y="11"/>
                    </a:lnTo>
                    <a:lnTo>
                      <a:pt x="6" y="11"/>
                    </a:lnTo>
                    <a:lnTo>
                      <a:pt x="6" y="12"/>
                    </a:lnTo>
                    <a:lnTo>
                      <a:pt x="5" y="12"/>
                    </a:lnTo>
                    <a:lnTo>
                      <a:pt x="3" y="12"/>
                    </a:lnTo>
                    <a:lnTo>
                      <a:pt x="1" y="12"/>
                    </a:lnTo>
                    <a:lnTo>
                      <a:pt x="1" y="11"/>
                    </a:lnTo>
                    <a:lnTo>
                      <a:pt x="1" y="9"/>
                    </a:lnTo>
                    <a:lnTo>
                      <a:pt x="1" y="8"/>
                    </a:lnTo>
                    <a:lnTo>
                      <a:pt x="0" y="8"/>
                    </a:lnTo>
                    <a:lnTo>
                      <a:pt x="1" y="8"/>
                    </a:lnTo>
                    <a:lnTo>
                      <a:pt x="1" y="6"/>
                    </a:lnTo>
                    <a:lnTo>
                      <a:pt x="0" y="6"/>
                    </a:lnTo>
                    <a:lnTo>
                      <a:pt x="0" y="5"/>
                    </a:lnTo>
                    <a:lnTo>
                      <a:pt x="0" y="3"/>
                    </a:lnTo>
                    <a:lnTo>
                      <a:pt x="1" y="3"/>
                    </a:lnTo>
                    <a:lnTo>
                      <a:pt x="1" y="1"/>
                    </a:lnTo>
                    <a:lnTo>
                      <a:pt x="3" y="1"/>
                    </a:lnTo>
                    <a:lnTo>
                      <a:pt x="5" y="1"/>
                    </a:lnTo>
                    <a:lnTo>
                      <a:pt x="5"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97" name="Rectangle 177"/>
              <p:cNvSpPr>
                <a:spLocks noChangeArrowheads="1"/>
              </p:cNvSpPr>
              <p:nvPr/>
            </p:nvSpPr>
            <p:spPr bwMode="auto">
              <a:xfrm>
                <a:off x="5219" y="1872"/>
                <a:ext cx="2" cy="2"/>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98" name="Freeform 178"/>
              <p:cNvSpPr>
                <a:spLocks/>
              </p:cNvSpPr>
              <p:nvPr/>
            </p:nvSpPr>
            <p:spPr bwMode="auto">
              <a:xfrm>
                <a:off x="5216" y="1872"/>
                <a:ext cx="6" cy="11"/>
              </a:xfrm>
              <a:custGeom>
                <a:avLst/>
                <a:gdLst>
                  <a:gd name="T0" fmla="*/ 2 w 6"/>
                  <a:gd name="T1" fmla="*/ 0 h 11"/>
                  <a:gd name="T2" fmla="*/ 3 w 6"/>
                  <a:gd name="T3" fmla="*/ 0 h 11"/>
                  <a:gd name="T4" fmla="*/ 3 w 6"/>
                  <a:gd name="T5" fmla="*/ 2 h 11"/>
                  <a:gd name="T6" fmla="*/ 3 w 6"/>
                  <a:gd name="T7" fmla="*/ 4 h 11"/>
                  <a:gd name="T8" fmla="*/ 3 w 6"/>
                  <a:gd name="T9" fmla="*/ 5 h 11"/>
                  <a:gd name="T10" fmla="*/ 3 w 6"/>
                  <a:gd name="T11" fmla="*/ 7 h 11"/>
                  <a:gd name="T12" fmla="*/ 5 w 6"/>
                  <a:gd name="T13" fmla="*/ 7 h 11"/>
                  <a:gd name="T14" fmla="*/ 6 w 6"/>
                  <a:gd name="T15" fmla="*/ 7 h 11"/>
                  <a:gd name="T16" fmla="*/ 5 w 6"/>
                  <a:gd name="T17" fmla="*/ 7 h 11"/>
                  <a:gd name="T18" fmla="*/ 5 w 6"/>
                  <a:gd name="T19" fmla="*/ 8 h 11"/>
                  <a:gd name="T20" fmla="*/ 3 w 6"/>
                  <a:gd name="T21" fmla="*/ 8 h 11"/>
                  <a:gd name="T22" fmla="*/ 3 w 6"/>
                  <a:gd name="T23" fmla="*/ 10 h 11"/>
                  <a:gd name="T24" fmla="*/ 2 w 6"/>
                  <a:gd name="T25" fmla="*/ 10 h 11"/>
                  <a:gd name="T26" fmla="*/ 2 w 6"/>
                  <a:gd name="T27" fmla="*/ 11 h 11"/>
                  <a:gd name="T28" fmla="*/ 2 w 6"/>
                  <a:gd name="T29" fmla="*/ 10 h 11"/>
                  <a:gd name="T30" fmla="*/ 2 w 6"/>
                  <a:gd name="T31" fmla="*/ 8 h 11"/>
                  <a:gd name="T32" fmla="*/ 3 w 6"/>
                  <a:gd name="T33" fmla="*/ 8 h 11"/>
                  <a:gd name="T34" fmla="*/ 3 w 6"/>
                  <a:gd name="T35" fmla="*/ 7 h 11"/>
                  <a:gd name="T36" fmla="*/ 2 w 6"/>
                  <a:gd name="T37" fmla="*/ 7 h 11"/>
                  <a:gd name="T38" fmla="*/ 2 w 6"/>
                  <a:gd name="T39" fmla="*/ 5 h 11"/>
                  <a:gd name="T40" fmla="*/ 2 w 6"/>
                  <a:gd name="T41" fmla="*/ 4 h 11"/>
                  <a:gd name="T42" fmla="*/ 0 w 6"/>
                  <a:gd name="T43" fmla="*/ 4 h 11"/>
                  <a:gd name="T44" fmla="*/ 2 w 6"/>
                  <a:gd name="T45" fmla="*/ 4 h 11"/>
                  <a:gd name="T46" fmla="*/ 2 w 6"/>
                  <a:gd name="T47" fmla="*/ 2 h 11"/>
                  <a:gd name="T48" fmla="*/ 2 w 6"/>
                  <a:gd name="T4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11">
                    <a:moveTo>
                      <a:pt x="2" y="0"/>
                    </a:moveTo>
                    <a:lnTo>
                      <a:pt x="3" y="0"/>
                    </a:lnTo>
                    <a:lnTo>
                      <a:pt x="3" y="2"/>
                    </a:lnTo>
                    <a:lnTo>
                      <a:pt x="3" y="4"/>
                    </a:lnTo>
                    <a:lnTo>
                      <a:pt x="3" y="5"/>
                    </a:lnTo>
                    <a:lnTo>
                      <a:pt x="3" y="7"/>
                    </a:lnTo>
                    <a:lnTo>
                      <a:pt x="5" y="7"/>
                    </a:lnTo>
                    <a:lnTo>
                      <a:pt x="6" y="7"/>
                    </a:lnTo>
                    <a:lnTo>
                      <a:pt x="5" y="7"/>
                    </a:lnTo>
                    <a:lnTo>
                      <a:pt x="5" y="8"/>
                    </a:lnTo>
                    <a:lnTo>
                      <a:pt x="3" y="8"/>
                    </a:lnTo>
                    <a:lnTo>
                      <a:pt x="3" y="10"/>
                    </a:lnTo>
                    <a:lnTo>
                      <a:pt x="2" y="10"/>
                    </a:lnTo>
                    <a:lnTo>
                      <a:pt x="2" y="11"/>
                    </a:lnTo>
                    <a:lnTo>
                      <a:pt x="2" y="10"/>
                    </a:lnTo>
                    <a:lnTo>
                      <a:pt x="2" y="8"/>
                    </a:lnTo>
                    <a:lnTo>
                      <a:pt x="3" y="8"/>
                    </a:lnTo>
                    <a:lnTo>
                      <a:pt x="3" y="7"/>
                    </a:lnTo>
                    <a:lnTo>
                      <a:pt x="2" y="7"/>
                    </a:lnTo>
                    <a:lnTo>
                      <a:pt x="2" y="5"/>
                    </a:lnTo>
                    <a:lnTo>
                      <a:pt x="2" y="4"/>
                    </a:lnTo>
                    <a:lnTo>
                      <a:pt x="0" y="4"/>
                    </a:lnTo>
                    <a:lnTo>
                      <a:pt x="2" y="4"/>
                    </a:lnTo>
                    <a:lnTo>
                      <a:pt x="2" y="2"/>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99" name="Freeform 179"/>
              <p:cNvSpPr>
                <a:spLocks/>
              </p:cNvSpPr>
              <p:nvPr/>
            </p:nvSpPr>
            <p:spPr bwMode="auto">
              <a:xfrm>
                <a:off x="5284" y="1877"/>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00" name="Freeform 180"/>
              <p:cNvSpPr>
                <a:spLocks/>
              </p:cNvSpPr>
              <p:nvPr/>
            </p:nvSpPr>
            <p:spPr bwMode="auto">
              <a:xfrm>
                <a:off x="5227" y="1879"/>
                <a:ext cx="2"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01" name="Freeform 181"/>
              <p:cNvSpPr>
                <a:spLocks/>
              </p:cNvSpPr>
              <p:nvPr/>
            </p:nvSpPr>
            <p:spPr bwMode="auto">
              <a:xfrm>
                <a:off x="5226" y="1885"/>
                <a:ext cx="4" cy="5"/>
              </a:xfrm>
              <a:custGeom>
                <a:avLst/>
                <a:gdLst>
                  <a:gd name="T0" fmla="*/ 1 w 4"/>
                  <a:gd name="T1" fmla="*/ 0 h 5"/>
                  <a:gd name="T2" fmla="*/ 3 w 4"/>
                  <a:gd name="T3" fmla="*/ 0 h 5"/>
                  <a:gd name="T4" fmla="*/ 3 w 4"/>
                  <a:gd name="T5" fmla="*/ 2 h 5"/>
                  <a:gd name="T6" fmla="*/ 4 w 4"/>
                  <a:gd name="T7" fmla="*/ 2 h 5"/>
                  <a:gd name="T8" fmla="*/ 3 w 4"/>
                  <a:gd name="T9" fmla="*/ 2 h 5"/>
                  <a:gd name="T10" fmla="*/ 1 w 4"/>
                  <a:gd name="T11" fmla="*/ 2 h 5"/>
                  <a:gd name="T12" fmla="*/ 1 w 4"/>
                  <a:gd name="T13" fmla="*/ 3 h 5"/>
                  <a:gd name="T14" fmla="*/ 1 w 4"/>
                  <a:gd name="T15" fmla="*/ 5 h 5"/>
                  <a:gd name="T16" fmla="*/ 0 w 4"/>
                  <a:gd name="T17" fmla="*/ 5 h 5"/>
                  <a:gd name="T18" fmla="*/ 0 w 4"/>
                  <a:gd name="T19" fmla="*/ 3 h 5"/>
                  <a:gd name="T20" fmla="*/ 0 w 4"/>
                  <a:gd name="T21" fmla="*/ 2 h 5"/>
                  <a:gd name="T22" fmla="*/ 1 w 4"/>
                  <a:gd name="T23" fmla="*/ 2 h 5"/>
                  <a:gd name="T24" fmla="*/ 0 w 4"/>
                  <a:gd name="T25" fmla="*/ 2 h 5"/>
                  <a:gd name="T26" fmla="*/ 1 w 4"/>
                  <a:gd name="T27" fmla="*/ 2 h 5"/>
                  <a:gd name="T28" fmla="*/ 1 w 4"/>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5">
                    <a:moveTo>
                      <a:pt x="1" y="0"/>
                    </a:moveTo>
                    <a:lnTo>
                      <a:pt x="3" y="0"/>
                    </a:lnTo>
                    <a:lnTo>
                      <a:pt x="3" y="2"/>
                    </a:lnTo>
                    <a:lnTo>
                      <a:pt x="4" y="2"/>
                    </a:lnTo>
                    <a:lnTo>
                      <a:pt x="3" y="2"/>
                    </a:lnTo>
                    <a:lnTo>
                      <a:pt x="1" y="2"/>
                    </a:lnTo>
                    <a:lnTo>
                      <a:pt x="1" y="3"/>
                    </a:lnTo>
                    <a:lnTo>
                      <a:pt x="1" y="5"/>
                    </a:lnTo>
                    <a:lnTo>
                      <a:pt x="0" y="5"/>
                    </a:lnTo>
                    <a:lnTo>
                      <a:pt x="0" y="3"/>
                    </a:lnTo>
                    <a:lnTo>
                      <a:pt x="0" y="2"/>
                    </a:lnTo>
                    <a:lnTo>
                      <a:pt x="1" y="2"/>
                    </a:lnTo>
                    <a:lnTo>
                      <a:pt x="0" y="2"/>
                    </a:lnTo>
                    <a:lnTo>
                      <a:pt x="1" y="2"/>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02" name="Freeform 182"/>
              <p:cNvSpPr>
                <a:spLocks/>
              </p:cNvSpPr>
              <p:nvPr/>
            </p:nvSpPr>
            <p:spPr bwMode="auto">
              <a:xfrm>
                <a:off x="5219" y="1885"/>
                <a:ext cx="3" cy="6"/>
              </a:xfrm>
              <a:custGeom>
                <a:avLst/>
                <a:gdLst>
                  <a:gd name="T0" fmla="*/ 3 w 3"/>
                  <a:gd name="T1" fmla="*/ 0 h 6"/>
                  <a:gd name="T2" fmla="*/ 3 w 3"/>
                  <a:gd name="T3" fmla="*/ 2 h 6"/>
                  <a:gd name="T4" fmla="*/ 2 w 3"/>
                  <a:gd name="T5" fmla="*/ 2 h 6"/>
                  <a:gd name="T6" fmla="*/ 2 w 3"/>
                  <a:gd name="T7" fmla="*/ 3 h 6"/>
                  <a:gd name="T8" fmla="*/ 2 w 3"/>
                  <a:gd name="T9" fmla="*/ 5 h 6"/>
                  <a:gd name="T10" fmla="*/ 2 w 3"/>
                  <a:gd name="T11" fmla="*/ 6 h 6"/>
                  <a:gd name="T12" fmla="*/ 0 w 3"/>
                  <a:gd name="T13" fmla="*/ 6 h 6"/>
                  <a:gd name="T14" fmla="*/ 0 w 3"/>
                  <a:gd name="T15" fmla="*/ 5 h 6"/>
                  <a:gd name="T16" fmla="*/ 0 w 3"/>
                  <a:gd name="T17" fmla="*/ 3 h 6"/>
                  <a:gd name="T18" fmla="*/ 0 w 3"/>
                  <a:gd name="T19" fmla="*/ 2 h 6"/>
                  <a:gd name="T20" fmla="*/ 2 w 3"/>
                  <a:gd name="T21" fmla="*/ 2 h 6"/>
                  <a:gd name="T22" fmla="*/ 2 w 3"/>
                  <a:gd name="T23" fmla="*/ 0 h 6"/>
                  <a:gd name="T24" fmla="*/ 3 w 3"/>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6">
                    <a:moveTo>
                      <a:pt x="3" y="0"/>
                    </a:moveTo>
                    <a:lnTo>
                      <a:pt x="3" y="2"/>
                    </a:lnTo>
                    <a:lnTo>
                      <a:pt x="2" y="2"/>
                    </a:lnTo>
                    <a:lnTo>
                      <a:pt x="2" y="3"/>
                    </a:lnTo>
                    <a:lnTo>
                      <a:pt x="2" y="5"/>
                    </a:lnTo>
                    <a:lnTo>
                      <a:pt x="2" y="6"/>
                    </a:lnTo>
                    <a:lnTo>
                      <a:pt x="0" y="6"/>
                    </a:lnTo>
                    <a:lnTo>
                      <a:pt x="0" y="5"/>
                    </a:lnTo>
                    <a:lnTo>
                      <a:pt x="0" y="3"/>
                    </a:lnTo>
                    <a:lnTo>
                      <a:pt x="0" y="2"/>
                    </a:lnTo>
                    <a:lnTo>
                      <a:pt x="2" y="2"/>
                    </a:lnTo>
                    <a:lnTo>
                      <a:pt x="2" y="0"/>
                    </a:lnTo>
                    <a:lnTo>
                      <a:pt x="3"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03" name="Freeform 183"/>
              <p:cNvSpPr>
                <a:spLocks/>
              </p:cNvSpPr>
              <p:nvPr/>
            </p:nvSpPr>
            <p:spPr bwMode="auto">
              <a:xfrm>
                <a:off x="5230" y="1885"/>
                <a:ext cx="4" cy="2"/>
              </a:xfrm>
              <a:custGeom>
                <a:avLst/>
                <a:gdLst>
                  <a:gd name="T0" fmla="*/ 4 w 4"/>
                  <a:gd name="T1" fmla="*/ 0 h 2"/>
                  <a:gd name="T2" fmla="*/ 4 w 4"/>
                  <a:gd name="T3" fmla="*/ 2 h 2"/>
                  <a:gd name="T4" fmla="*/ 2 w 4"/>
                  <a:gd name="T5" fmla="*/ 2 h 2"/>
                  <a:gd name="T6" fmla="*/ 0 w 4"/>
                  <a:gd name="T7" fmla="*/ 2 h 2"/>
                  <a:gd name="T8" fmla="*/ 0 w 4"/>
                  <a:gd name="T9" fmla="*/ 0 h 2"/>
                  <a:gd name="T10" fmla="*/ 2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2"/>
                    </a:lnTo>
                    <a:lnTo>
                      <a:pt x="2" y="2"/>
                    </a:lnTo>
                    <a:lnTo>
                      <a:pt x="0" y="2"/>
                    </a:lnTo>
                    <a:lnTo>
                      <a:pt x="0" y="0"/>
                    </a:lnTo>
                    <a:lnTo>
                      <a:pt x="2" y="0"/>
                    </a:lnTo>
                    <a:lnTo>
                      <a:pt x="4"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04" name="Freeform 184"/>
              <p:cNvSpPr>
                <a:spLocks/>
              </p:cNvSpPr>
              <p:nvPr/>
            </p:nvSpPr>
            <p:spPr bwMode="auto">
              <a:xfrm>
                <a:off x="5211" y="1890"/>
                <a:ext cx="5" cy="1"/>
              </a:xfrm>
              <a:custGeom>
                <a:avLst/>
                <a:gdLst>
                  <a:gd name="T0" fmla="*/ 5 w 5"/>
                  <a:gd name="T1" fmla="*/ 0 h 1"/>
                  <a:gd name="T2" fmla="*/ 4 w 5"/>
                  <a:gd name="T3" fmla="*/ 0 h 1"/>
                  <a:gd name="T4" fmla="*/ 2 w 5"/>
                  <a:gd name="T5" fmla="*/ 0 h 1"/>
                  <a:gd name="T6" fmla="*/ 2 w 5"/>
                  <a:gd name="T7" fmla="*/ 1 h 1"/>
                  <a:gd name="T8" fmla="*/ 0 w 5"/>
                  <a:gd name="T9" fmla="*/ 1 h 1"/>
                  <a:gd name="T10" fmla="*/ 0 w 5"/>
                  <a:gd name="T11" fmla="*/ 0 h 1"/>
                  <a:gd name="T12" fmla="*/ 2 w 5"/>
                  <a:gd name="T13" fmla="*/ 0 h 1"/>
                  <a:gd name="T14" fmla="*/ 4 w 5"/>
                  <a:gd name="T15" fmla="*/ 0 h 1"/>
                  <a:gd name="T16" fmla="*/ 5 w 5"/>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
                    <a:moveTo>
                      <a:pt x="5" y="0"/>
                    </a:moveTo>
                    <a:lnTo>
                      <a:pt x="4" y="0"/>
                    </a:lnTo>
                    <a:lnTo>
                      <a:pt x="2" y="0"/>
                    </a:lnTo>
                    <a:lnTo>
                      <a:pt x="2" y="1"/>
                    </a:lnTo>
                    <a:lnTo>
                      <a:pt x="0" y="1"/>
                    </a:lnTo>
                    <a:lnTo>
                      <a:pt x="0" y="0"/>
                    </a:lnTo>
                    <a:lnTo>
                      <a:pt x="2" y="0"/>
                    </a:lnTo>
                    <a:lnTo>
                      <a:pt x="4" y="0"/>
                    </a:lnTo>
                    <a:lnTo>
                      <a:pt x="5"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05" name="Freeform 185"/>
              <p:cNvSpPr>
                <a:spLocks/>
              </p:cNvSpPr>
              <p:nvPr/>
            </p:nvSpPr>
            <p:spPr bwMode="auto">
              <a:xfrm>
                <a:off x="5208" y="1891"/>
                <a:ext cx="3" cy="2"/>
              </a:xfrm>
              <a:custGeom>
                <a:avLst/>
                <a:gdLst>
                  <a:gd name="T0" fmla="*/ 2 w 3"/>
                  <a:gd name="T1" fmla="*/ 2 h 2"/>
                  <a:gd name="T2" fmla="*/ 0 w 3"/>
                  <a:gd name="T3" fmla="*/ 2 h 2"/>
                  <a:gd name="T4" fmla="*/ 2 w 3"/>
                  <a:gd name="T5" fmla="*/ 2 h 2"/>
                  <a:gd name="T6" fmla="*/ 2 w 3"/>
                  <a:gd name="T7" fmla="*/ 0 h 2"/>
                  <a:gd name="T8" fmla="*/ 3 w 3"/>
                  <a:gd name="T9" fmla="*/ 0 h 2"/>
                  <a:gd name="T10" fmla="*/ 2 w 3"/>
                  <a:gd name="T11" fmla="*/ 0 h 2"/>
                  <a:gd name="T12" fmla="*/ 2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2"/>
                    </a:moveTo>
                    <a:lnTo>
                      <a:pt x="0" y="2"/>
                    </a:lnTo>
                    <a:lnTo>
                      <a:pt x="2" y="2"/>
                    </a:lnTo>
                    <a:lnTo>
                      <a:pt x="2" y="0"/>
                    </a:lnTo>
                    <a:lnTo>
                      <a:pt x="3" y="0"/>
                    </a:lnTo>
                    <a:lnTo>
                      <a:pt x="2" y="0"/>
                    </a:lnTo>
                    <a:lnTo>
                      <a:pt x="2" y="2"/>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06" name="Rectangle 186"/>
              <p:cNvSpPr>
                <a:spLocks noChangeArrowheads="1"/>
              </p:cNvSpPr>
              <p:nvPr/>
            </p:nvSpPr>
            <p:spPr bwMode="auto">
              <a:xfrm>
                <a:off x="5240" y="1893"/>
                <a:ext cx="1" cy="2"/>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07" name="Freeform 187"/>
              <p:cNvSpPr>
                <a:spLocks/>
              </p:cNvSpPr>
              <p:nvPr/>
            </p:nvSpPr>
            <p:spPr bwMode="auto">
              <a:xfrm>
                <a:off x="5218" y="1893"/>
                <a:ext cx="1" cy="2"/>
              </a:xfrm>
              <a:custGeom>
                <a:avLst/>
                <a:gdLst>
                  <a:gd name="T0" fmla="*/ 1 w 1"/>
                  <a:gd name="T1" fmla="*/ 0 h 2"/>
                  <a:gd name="T2" fmla="*/ 1 w 1"/>
                  <a:gd name="T3" fmla="*/ 2 h 2"/>
                  <a:gd name="T4" fmla="*/ 1 w 1"/>
                  <a:gd name="T5" fmla="*/ 0 h 2"/>
                  <a:gd name="T6" fmla="*/ 0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lnTo>
                      <a:pt x="1" y="2"/>
                    </a:lnTo>
                    <a:lnTo>
                      <a:pt x="1" y="0"/>
                    </a:lnTo>
                    <a:lnTo>
                      <a:pt x="0" y="0"/>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08" name="Freeform 188"/>
              <p:cNvSpPr>
                <a:spLocks/>
              </p:cNvSpPr>
              <p:nvPr/>
            </p:nvSpPr>
            <p:spPr bwMode="auto">
              <a:xfrm>
                <a:off x="5053" y="1896"/>
                <a:ext cx="9" cy="14"/>
              </a:xfrm>
              <a:custGeom>
                <a:avLst/>
                <a:gdLst>
                  <a:gd name="T0" fmla="*/ 8 w 9"/>
                  <a:gd name="T1" fmla="*/ 0 h 14"/>
                  <a:gd name="T2" fmla="*/ 8 w 9"/>
                  <a:gd name="T3" fmla="*/ 2 h 14"/>
                  <a:gd name="T4" fmla="*/ 9 w 9"/>
                  <a:gd name="T5" fmla="*/ 2 h 14"/>
                  <a:gd name="T6" fmla="*/ 8 w 9"/>
                  <a:gd name="T7" fmla="*/ 2 h 14"/>
                  <a:gd name="T8" fmla="*/ 8 w 9"/>
                  <a:gd name="T9" fmla="*/ 3 h 14"/>
                  <a:gd name="T10" fmla="*/ 8 w 9"/>
                  <a:gd name="T11" fmla="*/ 5 h 14"/>
                  <a:gd name="T12" fmla="*/ 6 w 9"/>
                  <a:gd name="T13" fmla="*/ 5 h 14"/>
                  <a:gd name="T14" fmla="*/ 6 w 9"/>
                  <a:gd name="T15" fmla="*/ 6 h 14"/>
                  <a:gd name="T16" fmla="*/ 6 w 9"/>
                  <a:gd name="T17" fmla="*/ 8 h 14"/>
                  <a:gd name="T18" fmla="*/ 5 w 9"/>
                  <a:gd name="T19" fmla="*/ 8 h 14"/>
                  <a:gd name="T20" fmla="*/ 5 w 9"/>
                  <a:gd name="T21" fmla="*/ 10 h 14"/>
                  <a:gd name="T22" fmla="*/ 5 w 9"/>
                  <a:gd name="T23" fmla="*/ 11 h 14"/>
                  <a:gd name="T24" fmla="*/ 3 w 9"/>
                  <a:gd name="T25" fmla="*/ 11 h 14"/>
                  <a:gd name="T26" fmla="*/ 3 w 9"/>
                  <a:gd name="T27" fmla="*/ 13 h 14"/>
                  <a:gd name="T28" fmla="*/ 3 w 9"/>
                  <a:gd name="T29" fmla="*/ 11 h 14"/>
                  <a:gd name="T30" fmla="*/ 3 w 9"/>
                  <a:gd name="T31" fmla="*/ 13 h 14"/>
                  <a:gd name="T32" fmla="*/ 2 w 9"/>
                  <a:gd name="T33" fmla="*/ 13 h 14"/>
                  <a:gd name="T34" fmla="*/ 2 w 9"/>
                  <a:gd name="T35" fmla="*/ 14 h 14"/>
                  <a:gd name="T36" fmla="*/ 2 w 9"/>
                  <a:gd name="T37" fmla="*/ 13 h 14"/>
                  <a:gd name="T38" fmla="*/ 0 w 9"/>
                  <a:gd name="T39" fmla="*/ 13 h 14"/>
                  <a:gd name="T40" fmla="*/ 2 w 9"/>
                  <a:gd name="T41" fmla="*/ 13 h 14"/>
                  <a:gd name="T42" fmla="*/ 2 w 9"/>
                  <a:gd name="T43" fmla="*/ 11 h 14"/>
                  <a:gd name="T44" fmla="*/ 3 w 9"/>
                  <a:gd name="T45" fmla="*/ 11 h 14"/>
                  <a:gd name="T46" fmla="*/ 3 w 9"/>
                  <a:gd name="T47" fmla="*/ 10 h 14"/>
                  <a:gd name="T48" fmla="*/ 3 w 9"/>
                  <a:gd name="T49" fmla="*/ 8 h 14"/>
                  <a:gd name="T50" fmla="*/ 5 w 9"/>
                  <a:gd name="T51" fmla="*/ 8 h 14"/>
                  <a:gd name="T52" fmla="*/ 3 w 9"/>
                  <a:gd name="T53" fmla="*/ 8 h 14"/>
                  <a:gd name="T54" fmla="*/ 5 w 9"/>
                  <a:gd name="T55" fmla="*/ 8 h 14"/>
                  <a:gd name="T56" fmla="*/ 5 w 9"/>
                  <a:gd name="T57" fmla="*/ 6 h 14"/>
                  <a:gd name="T58" fmla="*/ 5 w 9"/>
                  <a:gd name="T59" fmla="*/ 5 h 14"/>
                  <a:gd name="T60" fmla="*/ 5 w 9"/>
                  <a:gd name="T61" fmla="*/ 3 h 14"/>
                  <a:gd name="T62" fmla="*/ 6 w 9"/>
                  <a:gd name="T63" fmla="*/ 3 h 14"/>
                  <a:gd name="T64" fmla="*/ 8 w 9"/>
                  <a:gd name="T65" fmla="*/ 3 h 14"/>
                  <a:gd name="T66" fmla="*/ 8 w 9"/>
                  <a:gd name="T67" fmla="*/ 2 h 14"/>
                  <a:gd name="T68" fmla="*/ 8 w 9"/>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 h="14">
                    <a:moveTo>
                      <a:pt x="8" y="0"/>
                    </a:moveTo>
                    <a:lnTo>
                      <a:pt x="8" y="2"/>
                    </a:lnTo>
                    <a:lnTo>
                      <a:pt x="9" y="2"/>
                    </a:lnTo>
                    <a:lnTo>
                      <a:pt x="8" y="2"/>
                    </a:lnTo>
                    <a:lnTo>
                      <a:pt x="8" y="3"/>
                    </a:lnTo>
                    <a:lnTo>
                      <a:pt x="8" y="5"/>
                    </a:lnTo>
                    <a:lnTo>
                      <a:pt x="6" y="5"/>
                    </a:lnTo>
                    <a:lnTo>
                      <a:pt x="6" y="6"/>
                    </a:lnTo>
                    <a:lnTo>
                      <a:pt x="6" y="8"/>
                    </a:lnTo>
                    <a:lnTo>
                      <a:pt x="5" y="8"/>
                    </a:lnTo>
                    <a:lnTo>
                      <a:pt x="5" y="10"/>
                    </a:lnTo>
                    <a:lnTo>
                      <a:pt x="5" y="11"/>
                    </a:lnTo>
                    <a:lnTo>
                      <a:pt x="3" y="11"/>
                    </a:lnTo>
                    <a:lnTo>
                      <a:pt x="3" y="13"/>
                    </a:lnTo>
                    <a:lnTo>
                      <a:pt x="3" y="11"/>
                    </a:lnTo>
                    <a:lnTo>
                      <a:pt x="3" y="13"/>
                    </a:lnTo>
                    <a:lnTo>
                      <a:pt x="2" y="13"/>
                    </a:lnTo>
                    <a:lnTo>
                      <a:pt x="2" y="14"/>
                    </a:lnTo>
                    <a:lnTo>
                      <a:pt x="2" y="13"/>
                    </a:lnTo>
                    <a:lnTo>
                      <a:pt x="0" y="13"/>
                    </a:lnTo>
                    <a:lnTo>
                      <a:pt x="2" y="13"/>
                    </a:lnTo>
                    <a:lnTo>
                      <a:pt x="2" y="11"/>
                    </a:lnTo>
                    <a:lnTo>
                      <a:pt x="3" y="11"/>
                    </a:lnTo>
                    <a:lnTo>
                      <a:pt x="3" y="10"/>
                    </a:lnTo>
                    <a:lnTo>
                      <a:pt x="3" y="8"/>
                    </a:lnTo>
                    <a:lnTo>
                      <a:pt x="5" y="8"/>
                    </a:lnTo>
                    <a:lnTo>
                      <a:pt x="3" y="8"/>
                    </a:lnTo>
                    <a:lnTo>
                      <a:pt x="5" y="8"/>
                    </a:lnTo>
                    <a:lnTo>
                      <a:pt x="5" y="6"/>
                    </a:lnTo>
                    <a:lnTo>
                      <a:pt x="5" y="5"/>
                    </a:lnTo>
                    <a:lnTo>
                      <a:pt x="5" y="3"/>
                    </a:lnTo>
                    <a:lnTo>
                      <a:pt x="6" y="3"/>
                    </a:lnTo>
                    <a:lnTo>
                      <a:pt x="8" y="3"/>
                    </a:lnTo>
                    <a:lnTo>
                      <a:pt x="8" y="2"/>
                    </a:lnTo>
                    <a:lnTo>
                      <a:pt x="8"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09" name="Rectangle 189"/>
              <p:cNvSpPr>
                <a:spLocks noChangeArrowheads="1"/>
              </p:cNvSpPr>
              <p:nvPr/>
            </p:nvSpPr>
            <p:spPr bwMode="auto">
              <a:xfrm>
                <a:off x="5055" y="1910"/>
                <a:ext cx="1" cy="2"/>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10" name="Rectangle 190"/>
              <p:cNvSpPr>
                <a:spLocks noChangeArrowheads="1"/>
              </p:cNvSpPr>
              <p:nvPr/>
            </p:nvSpPr>
            <p:spPr bwMode="auto">
              <a:xfrm>
                <a:off x="5055" y="1912"/>
                <a:ext cx="1" cy="2"/>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11" name="Freeform 191"/>
              <p:cNvSpPr>
                <a:spLocks/>
              </p:cNvSpPr>
              <p:nvPr/>
            </p:nvSpPr>
            <p:spPr bwMode="auto">
              <a:xfrm>
                <a:off x="5042" y="1912"/>
                <a:ext cx="1" cy="3"/>
              </a:xfrm>
              <a:custGeom>
                <a:avLst/>
                <a:gdLst>
                  <a:gd name="T0" fmla="*/ 0 w 1"/>
                  <a:gd name="T1" fmla="*/ 0 h 3"/>
                  <a:gd name="T2" fmla="*/ 1 w 1"/>
                  <a:gd name="T3" fmla="*/ 0 h 3"/>
                  <a:gd name="T4" fmla="*/ 1 w 1"/>
                  <a:gd name="T5" fmla="*/ 2 h 3"/>
                  <a:gd name="T6" fmla="*/ 1 w 1"/>
                  <a:gd name="T7" fmla="*/ 3 h 3"/>
                  <a:gd name="T8" fmla="*/ 1 w 1"/>
                  <a:gd name="T9" fmla="*/ 2 h 3"/>
                  <a:gd name="T10" fmla="*/ 0 w 1"/>
                  <a:gd name="T11" fmla="*/ 2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lnTo>
                      <a:pt x="1" y="0"/>
                    </a:lnTo>
                    <a:lnTo>
                      <a:pt x="1" y="2"/>
                    </a:lnTo>
                    <a:lnTo>
                      <a:pt x="1" y="3"/>
                    </a:lnTo>
                    <a:lnTo>
                      <a:pt x="1" y="2"/>
                    </a:ln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12" name="Freeform 192"/>
              <p:cNvSpPr>
                <a:spLocks/>
              </p:cNvSpPr>
              <p:nvPr/>
            </p:nvSpPr>
            <p:spPr bwMode="auto">
              <a:xfrm>
                <a:off x="5043" y="1912"/>
                <a:ext cx="4" cy="5"/>
              </a:xfrm>
              <a:custGeom>
                <a:avLst/>
                <a:gdLst>
                  <a:gd name="T0" fmla="*/ 4 w 4"/>
                  <a:gd name="T1" fmla="*/ 0 h 5"/>
                  <a:gd name="T2" fmla="*/ 4 w 4"/>
                  <a:gd name="T3" fmla="*/ 2 h 5"/>
                  <a:gd name="T4" fmla="*/ 2 w 4"/>
                  <a:gd name="T5" fmla="*/ 2 h 5"/>
                  <a:gd name="T6" fmla="*/ 4 w 4"/>
                  <a:gd name="T7" fmla="*/ 2 h 5"/>
                  <a:gd name="T8" fmla="*/ 4 w 4"/>
                  <a:gd name="T9" fmla="*/ 3 h 5"/>
                  <a:gd name="T10" fmla="*/ 2 w 4"/>
                  <a:gd name="T11" fmla="*/ 3 h 5"/>
                  <a:gd name="T12" fmla="*/ 4 w 4"/>
                  <a:gd name="T13" fmla="*/ 3 h 5"/>
                  <a:gd name="T14" fmla="*/ 2 w 4"/>
                  <a:gd name="T15" fmla="*/ 3 h 5"/>
                  <a:gd name="T16" fmla="*/ 2 w 4"/>
                  <a:gd name="T17" fmla="*/ 5 h 5"/>
                  <a:gd name="T18" fmla="*/ 2 w 4"/>
                  <a:gd name="T19" fmla="*/ 3 h 5"/>
                  <a:gd name="T20" fmla="*/ 2 w 4"/>
                  <a:gd name="T21" fmla="*/ 2 h 5"/>
                  <a:gd name="T22" fmla="*/ 0 w 4"/>
                  <a:gd name="T23" fmla="*/ 2 h 5"/>
                  <a:gd name="T24" fmla="*/ 2 w 4"/>
                  <a:gd name="T25" fmla="*/ 2 h 5"/>
                  <a:gd name="T26" fmla="*/ 2 w 4"/>
                  <a:gd name="T27" fmla="*/ 0 h 5"/>
                  <a:gd name="T28" fmla="*/ 4 w 4"/>
                  <a:gd name="T29" fmla="*/ 0 h 5"/>
                  <a:gd name="T30" fmla="*/ 4 w 4"/>
                  <a:gd name="T31" fmla="*/ 2 h 5"/>
                  <a:gd name="T32" fmla="*/ 4 w 4"/>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5">
                    <a:moveTo>
                      <a:pt x="4" y="0"/>
                    </a:moveTo>
                    <a:lnTo>
                      <a:pt x="4" y="2"/>
                    </a:lnTo>
                    <a:lnTo>
                      <a:pt x="2" y="2"/>
                    </a:lnTo>
                    <a:lnTo>
                      <a:pt x="4" y="2"/>
                    </a:lnTo>
                    <a:lnTo>
                      <a:pt x="4" y="3"/>
                    </a:lnTo>
                    <a:lnTo>
                      <a:pt x="2" y="3"/>
                    </a:lnTo>
                    <a:lnTo>
                      <a:pt x="4" y="3"/>
                    </a:lnTo>
                    <a:lnTo>
                      <a:pt x="2" y="3"/>
                    </a:lnTo>
                    <a:lnTo>
                      <a:pt x="2" y="5"/>
                    </a:lnTo>
                    <a:lnTo>
                      <a:pt x="2" y="3"/>
                    </a:lnTo>
                    <a:lnTo>
                      <a:pt x="2" y="2"/>
                    </a:lnTo>
                    <a:lnTo>
                      <a:pt x="0" y="2"/>
                    </a:lnTo>
                    <a:lnTo>
                      <a:pt x="2" y="2"/>
                    </a:lnTo>
                    <a:lnTo>
                      <a:pt x="2" y="0"/>
                    </a:lnTo>
                    <a:lnTo>
                      <a:pt x="4" y="0"/>
                    </a:lnTo>
                    <a:lnTo>
                      <a:pt x="4" y="2"/>
                    </a:lnTo>
                    <a:lnTo>
                      <a:pt x="4"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13" name="Freeform 193"/>
              <p:cNvSpPr>
                <a:spLocks/>
              </p:cNvSpPr>
              <p:nvPr/>
            </p:nvSpPr>
            <p:spPr bwMode="auto">
              <a:xfrm>
                <a:off x="5042" y="1917"/>
                <a:ext cx="3" cy="1"/>
              </a:xfrm>
              <a:custGeom>
                <a:avLst/>
                <a:gdLst>
                  <a:gd name="T0" fmla="*/ 1 w 3"/>
                  <a:gd name="T1" fmla="*/ 0 h 1"/>
                  <a:gd name="T2" fmla="*/ 3 w 3"/>
                  <a:gd name="T3" fmla="*/ 0 h 1"/>
                  <a:gd name="T4" fmla="*/ 1 w 3"/>
                  <a:gd name="T5" fmla="*/ 0 h 1"/>
                  <a:gd name="T6" fmla="*/ 1 w 3"/>
                  <a:gd name="T7" fmla="*/ 1 h 1"/>
                  <a:gd name="T8" fmla="*/ 0 w 3"/>
                  <a:gd name="T9" fmla="*/ 1 h 1"/>
                  <a:gd name="T10" fmla="*/ 1 w 3"/>
                  <a:gd name="T11" fmla="*/ 1 h 1"/>
                  <a:gd name="T12" fmla="*/ 1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1" y="0"/>
                    </a:moveTo>
                    <a:lnTo>
                      <a:pt x="3" y="0"/>
                    </a:lnTo>
                    <a:lnTo>
                      <a:pt x="1" y="0"/>
                    </a:lnTo>
                    <a:lnTo>
                      <a:pt x="1" y="1"/>
                    </a:lnTo>
                    <a:lnTo>
                      <a:pt x="0" y="1"/>
                    </a:lnTo>
                    <a:lnTo>
                      <a:pt x="1" y="1"/>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14" name="Freeform 194"/>
              <p:cNvSpPr>
                <a:spLocks/>
              </p:cNvSpPr>
              <p:nvPr/>
            </p:nvSpPr>
            <p:spPr bwMode="auto">
              <a:xfrm>
                <a:off x="5205" y="1918"/>
                <a:ext cx="6" cy="5"/>
              </a:xfrm>
              <a:custGeom>
                <a:avLst/>
                <a:gdLst>
                  <a:gd name="T0" fmla="*/ 5 w 6"/>
                  <a:gd name="T1" fmla="*/ 0 h 5"/>
                  <a:gd name="T2" fmla="*/ 6 w 6"/>
                  <a:gd name="T3" fmla="*/ 0 h 5"/>
                  <a:gd name="T4" fmla="*/ 6 w 6"/>
                  <a:gd name="T5" fmla="*/ 2 h 5"/>
                  <a:gd name="T6" fmla="*/ 5 w 6"/>
                  <a:gd name="T7" fmla="*/ 2 h 5"/>
                  <a:gd name="T8" fmla="*/ 5 w 6"/>
                  <a:gd name="T9" fmla="*/ 3 h 5"/>
                  <a:gd name="T10" fmla="*/ 3 w 6"/>
                  <a:gd name="T11" fmla="*/ 3 h 5"/>
                  <a:gd name="T12" fmla="*/ 3 w 6"/>
                  <a:gd name="T13" fmla="*/ 2 h 5"/>
                  <a:gd name="T14" fmla="*/ 3 w 6"/>
                  <a:gd name="T15" fmla="*/ 3 h 5"/>
                  <a:gd name="T16" fmla="*/ 2 w 6"/>
                  <a:gd name="T17" fmla="*/ 3 h 5"/>
                  <a:gd name="T18" fmla="*/ 2 w 6"/>
                  <a:gd name="T19" fmla="*/ 5 h 5"/>
                  <a:gd name="T20" fmla="*/ 0 w 6"/>
                  <a:gd name="T21" fmla="*/ 5 h 5"/>
                  <a:gd name="T22" fmla="*/ 2 w 6"/>
                  <a:gd name="T23" fmla="*/ 5 h 5"/>
                  <a:gd name="T24" fmla="*/ 2 w 6"/>
                  <a:gd name="T25" fmla="*/ 3 h 5"/>
                  <a:gd name="T26" fmla="*/ 2 w 6"/>
                  <a:gd name="T27" fmla="*/ 2 h 5"/>
                  <a:gd name="T28" fmla="*/ 3 w 6"/>
                  <a:gd name="T29" fmla="*/ 2 h 5"/>
                  <a:gd name="T30" fmla="*/ 3 w 6"/>
                  <a:gd name="T31" fmla="*/ 0 h 5"/>
                  <a:gd name="T32" fmla="*/ 5 w 6"/>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5">
                    <a:moveTo>
                      <a:pt x="5" y="0"/>
                    </a:moveTo>
                    <a:lnTo>
                      <a:pt x="6" y="0"/>
                    </a:lnTo>
                    <a:lnTo>
                      <a:pt x="6" y="2"/>
                    </a:lnTo>
                    <a:lnTo>
                      <a:pt x="5" y="2"/>
                    </a:lnTo>
                    <a:lnTo>
                      <a:pt x="5" y="3"/>
                    </a:lnTo>
                    <a:lnTo>
                      <a:pt x="3" y="3"/>
                    </a:lnTo>
                    <a:lnTo>
                      <a:pt x="3" y="2"/>
                    </a:lnTo>
                    <a:lnTo>
                      <a:pt x="3" y="3"/>
                    </a:lnTo>
                    <a:lnTo>
                      <a:pt x="2" y="3"/>
                    </a:lnTo>
                    <a:lnTo>
                      <a:pt x="2" y="5"/>
                    </a:lnTo>
                    <a:lnTo>
                      <a:pt x="0" y="5"/>
                    </a:lnTo>
                    <a:lnTo>
                      <a:pt x="2" y="5"/>
                    </a:lnTo>
                    <a:lnTo>
                      <a:pt x="2" y="3"/>
                    </a:lnTo>
                    <a:lnTo>
                      <a:pt x="2" y="2"/>
                    </a:lnTo>
                    <a:lnTo>
                      <a:pt x="3" y="2"/>
                    </a:lnTo>
                    <a:lnTo>
                      <a:pt x="3" y="0"/>
                    </a:lnTo>
                    <a:lnTo>
                      <a:pt x="5"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15" name="Freeform 195"/>
              <p:cNvSpPr>
                <a:spLocks/>
              </p:cNvSpPr>
              <p:nvPr/>
            </p:nvSpPr>
            <p:spPr bwMode="auto">
              <a:xfrm>
                <a:off x="5040" y="1920"/>
                <a:ext cx="2"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16" name="Freeform 196"/>
              <p:cNvSpPr>
                <a:spLocks/>
              </p:cNvSpPr>
              <p:nvPr/>
            </p:nvSpPr>
            <p:spPr bwMode="auto">
              <a:xfrm>
                <a:off x="5202" y="1958"/>
                <a:ext cx="1" cy="1"/>
              </a:xfrm>
              <a:custGeom>
                <a:avLst/>
                <a:gdLst>
                  <a:gd name="T0" fmla="*/ 0 w 1"/>
                  <a:gd name="T1" fmla="*/ 0 h 1"/>
                  <a:gd name="T2" fmla="*/ 0 w 1"/>
                  <a:gd name="T3" fmla="*/ 1 h 1"/>
                  <a:gd name="T4" fmla="*/ 1 w 1"/>
                  <a:gd name="T5" fmla="*/ 1 h 1"/>
                  <a:gd name="T6" fmla="*/ 0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1"/>
                    </a:lnTo>
                    <a:lnTo>
                      <a:pt x="1" y="1"/>
                    </a:lnTo>
                    <a:lnTo>
                      <a:pt x="0" y="1"/>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17" name="Freeform 197"/>
              <p:cNvSpPr>
                <a:spLocks/>
              </p:cNvSpPr>
              <p:nvPr/>
            </p:nvSpPr>
            <p:spPr bwMode="auto">
              <a:xfrm>
                <a:off x="5200" y="1961"/>
                <a:ext cx="2" cy="2"/>
              </a:xfrm>
              <a:custGeom>
                <a:avLst/>
                <a:gdLst>
                  <a:gd name="T0" fmla="*/ 2 w 2"/>
                  <a:gd name="T1" fmla="*/ 0 h 2"/>
                  <a:gd name="T2" fmla="*/ 2 w 2"/>
                  <a:gd name="T3" fmla="*/ 2 h 2"/>
                  <a:gd name="T4" fmla="*/ 0 w 2"/>
                  <a:gd name="T5" fmla="*/ 2 h 2"/>
                  <a:gd name="T6" fmla="*/ 0 w 2"/>
                  <a:gd name="T7" fmla="*/ 0 h 2"/>
                  <a:gd name="T8" fmla="*/ 2 w 2"/>
                  <a:gd name="T9" fmla="*/ 0 h 2"/>
                  <a:gd name="T10" fmla="*/ 0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0" y="2"/>
                    </a:lnTo>
                    <a:lnTo>
                      <a:pt x="0" y="0"/>
                    </a:lnTo>
                    <a:lnTo>
                      <a:pt x="2" y="0"/>
                    </a:lnTo>
                    <a:lnTo>
                      <a:pt x="0" y="0"/>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18" name="Freeform 198"/>
              <p:cNvSpPr>
                <a:spLocks/>
              </p:cNvSpPr>
              <p:nvPr/>
            </p:nvSpPr>
            <p:spPr bwMode="auto">
              <a:xfrm>
                <a:off x="5208" y="1961"/>
                <a:ext cx="10" cy="6"/>
              </a:xfrm>
              <a:custGeom>
                <a:avLst/>
                <a:gdLst>
                  <a:gd name="T0" fmla="*/ 5 w 10"/>
                  <a:gd name="T1" fmla="*/ 0 h 6"/>
                  <a:gd name="T2" fmla="*/ 5 w 10"/>
                  <a:gd name="T3" fmla="*/ 2 h 6"/>
                  <a:gd name="T4" fmla="*/ 7 w 10"/>
                  <a:gd name="T5" fmla="*/ 2 h 6"/>
                  <a:gd name="T6" fmla="*/ 7 w 10"/>
                  <a:gd name="T7" fmla="*/ 3 h 6"/>
                  <a:gd name="T8" fmla="*/ 8 w 10"/>
                  <a:gd name="T9" fmla="*/ 3 h 6"/>
                  <a:gd name="T10" fmla="*/ 10 w 10"/>
                  <a:gd name="T11" fmla="*/ 3 h 6"/>
                  <a:gd name="T12" fmla="*/ 10 w 10"/>
                  <a:gd name="T13" fmla="*/ 5 h 6"/>
                  <a:gd name="T14" fmla="*/ 10 w 10"/>
                  <a:gd name="T15" fmla="*/ 6 h 6"/>
                  <a:gd name="T16" fmla="*/ 8 w 10"/>
                  <a:gd name="T17" fmla="*/ 6 h 6"/>
                  <a:gd name="T18" fmla="*/ 7 w 10"/>
                  <a:gd name="T19" fmla="*/ 6 h 6"/>
                  <a:gd name="T20" fmla="*/ 5 w 10"/>
                  <a:gd name="T21" fmla="*/ 6 h 6"/>
                  <a:gd name="T22" fmla="*/ 5 w 10"/>
                  <a:gd name="T23" fmla="*/ 5 h 6"/>
                  <a:gd name="T24" fmla="*/ 5 w 10"/>
                  <a:gd name="T25" fmla="*/ 3 h 6"/>
                  <a:gd name="T26" fmla="*/ 3 w 10"/>
                  <a:gd name="T27" fmla="*/ 3 h 6"/>
                  <a:gd name="T28" fmla="*/ 2 w 10"/>
                  <a:gd name="T29" fmla="*/ 3 h 6"/>
                  <a:gd name="T30" fmla="*/ 0 w 10"/>
                  <a:gd name="T31" fmla="*/ 3 h 6"/>
                  <a:gd name="T32" fmla="*/ 0 w 10"/>
                  <a:gd name="T33" fmla="*/ 2 h 6"/>
                  <a:gd name="T34" fmla="*/ 2 w 10"/>
                  <a:gd name="T35" fmla="*/ 2 h 6"/>
                  <a:gd name="T36" fmla="*/ 3 w 10"/>
                  <a:gd name="T37" fmla="*/ 2 h 6"/>
                  <a:gd name="T38" fmla="*/ 3 w 10"/>
                  <a:gd name="T39" fmla="*/ 0 h 6"/>
                  <a:gd name="T40" fmla="*/ 5 w 10"/>
                  <a:gd name="T4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6">
                    <a:moveTo>
                      <a:pt x="5" y="0"/>
                    </a:moveTo>
                    <a:lnTo>
                      <a:pt x="5" y="2"/>
                    </a:lnTo>
                    <a:lnTo>
                      <a:pt x="7" y="2"/>
                    </a:lnTo>
                    <a:lnTo>
                      <a:pt x="7" y="3"/>
                    </a:lnTo>
                    <a:lnTo>
                      <a:pt x="8" y="3"/>
                    </a:lnTo>
                    <a:lnTo>
                      <a:pt x="10" y="3"/>
                    </a:lnTo>
                    <a:lnTo>
                      <a:pt x="10" y="5"/>
                    </a:lnTo>
                    <a:lnTo>
                      <a:pt x="10" y="6"/>
                    </a:lnTo>
                    <a:lnTo>
                      <a:pt x="8" y="6"/>
                    </a:lnTo>
                    <a:lnTo>
                      <a:pt x="7" y="6"/>
                    </a:lnTo>
                    <a:lnTo>
                      <a:pt x="5" y="6"/>
                    </a:lnTo>
                    <a:lnTo>
                      <a:pt x="5" y="5"/>
                    </a:lnTo>
                    <a:lnTo>
                      <a:pt x="5" y="3"/>
                    </a:lnTo>
                    <a:lnTo>
                      <a:pt x="3" y="3"/>
                    </a:lnTo>
                    <a:lnTo>
                      <a:pt x="2" y="3"/>
                    </a:lnTo>
                    <a:lnTo>
                      <a:pt x="0" y="3"/>
                    </a:lnTo>
                    <a:lnTo>
                      <a:pt x="0" y="2"/>
                    </a:lnTo>
                    <a:lnTo>
                      <a:pt x="2" y="2"/>
                    </a:lnTo>
                    <a:lnTo>
                      <a:pt x="3" y="2"/>
                    </a:lnTo>
                    <a:lnTo>
                      <a:pt x="3" y="0"/>
                    </a:lnTo>
                    <a:lnTo>
                      <a:pt x="5"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19" name="Freeform 199"/>
              <p:cNvSpPr>
                <a:spLocks/>
              </p:cNvSpPr>
              <p:nvPr/>
            </p:nvSpPr>
            <p:spPr bwMode="auto">
              <a:xfrm>
                <a:off x="5196" y="1971"/>
                <a:ext cx="3" cy="4"/>
              </a:xfrm>
              <a:custGeom>
                <a:avLst/>
                <a:gdLst>
                  <a:gd name="T0" fmla="*/ 0 w 3"/>
                  <a:gd name="T1" fmla="*/ 0 h 4"/>
                  <a:gd name="T2" fmla="*/ 1 w 3"/>
                  <a:gd name="T3" fmla="*/ 0 h 4"/>
                  <a:gd name="T4" fmla="*/ 1 w 3"/>
                  <a:gd name="T5" fmla="*/ 1 h 4"/>
                  <a:gd name="T6" fmla="*/ 3 w 3"/>
                  <a:gd name="T7" fmla="*/ 1 h 4"/>
                  <a:gd name="T8" fmla="*/ 3 w 3"/>
                  <a:gd name="T9" fmla="*/ 3 h 4"/>
                  <a:gd name="T10" fmla="*/ 1 w 3"/>
                  <a:gd name="T11" fmla="*/ 3 h 4"/>
                  <a:gd name="T12" fmla="*/ 1 w 3"/>
                  <a:gd name="T13" fmla="*/ 4 h 4"/>
                  <a:gd name="T14" fmla="*/ 1 w 3"/>
                  <a:gd name="T15" fmla="*/ 3 h 4"/>
                  <a:gd name="T16" fmla="*/ 0 w 3"/>
                  <a:gd name="T17" fmla="*/ 3 h 4"/>
                  <a:gd name="T18" fmla="*/ 0 w 3"/>
                  <a:gd name="T19" fmla="*/ 1 h 4"/>
                  <a:gd name="T20" fmla="*/ 0 w 3"/>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0" y="0"/>
                    </a:moveTo>
                    <a:lnTo>
                      <a:pt x="1" y="0"/>
                    </a:lnTo>
                    <a:lnTo>
                      <a:pt x="1" y="1"/>
                    </a:lnTo>
                    <a:lnTo>
                      <a:pt x="3" y="1"/>
                    </a:lnTo>
                    <a:lnTo>
                      <a:pt x="3" y="3"/>
                    </a:lnTo>
                    <a:lnTo>
                      <a:pt x="1" y="3"/>
                    </a:lnTo>
                    <a:lnTo>
                      <a:pt x="1" y="4"/>
                    </a:lnTo>
                    <a:lnTo>
                      <a:pt x="1" y="3"/>
                    </a:lnTo>
                    <a:lnTo>
                      <a:pt x="0" y="3"/>
                    </a:lnTo>
                    <a:lnTo>
                      <a:pt x="0" y="1"/>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20" name="Freeform 200"/>
              <p:cNvSpPr>
                <a:spLocks/>
              </p:cNvSpPr>
              <p:nvPr/>
            </p:nvSpPr>
            <p:spPr bwMode="auto">
              <a:xfrm>
                <a:off x="5197" y="1975"/>
                <a:ext cx="33" cy="24"/>
              </a:xfrm>
              <a:custGeom>
                <a:avLst/>
                <a:gdLst>
                  <a:gd name="T0" fmla="*/ 21 w 33"/>
                  <a:gd name="T1" fmla="*/ 21 h 24"/>
                  <a:gd name="T2" fmla="*/ 21 w 33"/>
                  <a:gd name="T3" fmla="*/ 18 h 24"/>
                  <a:gd name="T4" fmla="*/ 18 w 33"/>
                  <a:gd name="T5" fmla="*/ 18 h 24"/>
                  <a:gd name="T6" fmla="*/ 16 w 33"/>
                  <a:gd name="T7" fmla="*/ 19 h 24"/>
                  <a:gd name="T8" fmla="*/ 14 w 33"/>
                  <a:gd name="T9" fmla="*/ 18 h 24"/>
                  <a:gd name="T10" fmla="*/ 16 w 33"/>
                  <a:gd name="T11" fmla="*/ 16 h 24"/>
                  <a:gd name="T12" fmla="*/ 14 w 33"/>
                  <a:gd name="T13" fmla="*/ 15 h 24"/>
                  <a:gd name="T14" fmla="*/ 13 w 33"/>
                  <a:gd name="T15" fmla="*/ 16 h 24"/>
                  <a:gd name="T16" fmla="*/ 11 w 33"/>
                  <a:gd name="T17" fmla="*/ 15 h 24"/>
                  <a:gd name="T18" fmla="*/ 10 w 33"/>
                  <a:gd name="T19" fmla="*/ 13 h 24"/>
                  <a:gd name="T20" fmla="*/ 10 w 33"/>
                  <a:gd name="T21" fmla="*/ 13 h 24"/>
                  <a:gd name="T22" fmla="*/ 11 w 33"/>
                  <a:gd name="T23" fmla="*/ 11 h 24"/>
                  <a:gd name="T24" fmla="*/ 10 w 33"/>
                  <a:gd name="T25" fmla="*/ 10 h 24"/>
                  <a:gd name="T26" fmla="*/ 8 w 33"/>
                  <a:gd name="T27" fmla="*/ 8 h 24"/>
                  <a:gd name="T28" fmla="*/ 6 w 33"/>
                  <a:gd name="T29" fmla="*/ 10 h 24"/>
                  <a:gd name="T30" fmla="*/ 6 w 33"/>
                  <a:gd name="T31" fmla="*/ 7 h 24"/>
                  <a:gd name="T32" fmla="*/ 5 w 33"/>
                  <a:gd name="T33" fmla="*/ 5 h 24"/>
                  <a:gd name="T34" fmla="*/ 3 w 33"/>
                  <a:gd name="T35" fmla="*/ 3 h 24"/>
                  <a:gd name="T36" fmla="*/ 2 w 33"/>
                  <a:gd name="T37" fmla="*/ 2 h 24"/>
                  <a:gd name="T38" fmla="*/ 0 w 33"/>
                  <a:gd name="T39" fmla="*/ 0 h 24"/>
                  <a:gd name="T40" fmla="*/ 3 w 33"/>
                  <a:gd name="T41" fmla="*/ 0 h 24"/>
                  <a:gd name="T42" fmla="*/ 6 w 33"/>
                  <a:gd name="T43" fmla="*/ 0 h 24"/>
                  <a:gd name="T44" fmla="*/ 8 w 33"/>
                  <a:gd name="T45" fmla="*/ 2 h 24"/>
                  <a:gd name="T46" fmla="*/ 8 w 33"/>
                  <a:gd name="T47" fmla="*/ 2 h 24"/>
                  <a:gd name="T48" fmla="*/ 6 w 33"/>
                  <a:gd name="T49" fmla="*/ 0 h 24"/>
                  <a:gd name="T50" fmla="*/ 10 w 33"/>
                  <a:gd name="T51" fmla="*/ 0 h 24"/>
                  <a:gd name="T52" fmla="*/ 10 w 33"/>
                  <a:gd name="T53" fmla="*/ 0 h 24"/>
                  <a:gd name="T54" fmla="*/ 11 w 33"/>
                  <a:gd name="T55" fmla="*/ 2 h 24"/>
                  <a:gd name="T56" fmla="*/ 13 w 33"/>
                  <a:gd name="T57" fmla="*/ 3 h 24"/>
                  <a:gd name="T58" fmla="*/ 13 w 33"/>
                  <a:gd name="T59" fmla="*/ 7 h 24"/>
                  <a:gd name="T60" fmla="*/ 11 w 33"/>
                  <a:gd name="T61" fmla="*/ 8 h 24"/>
                  <a:gd name="T62" fmla="*/ 13 w 33"/>
                  <a:gd name="T63" fmla="*/ 7 h 24"/>
                  <a:gd name="T64" fmla="*/ 16 w 33"/>
                  <a:gd name="T65" fmla="*/ 7 h 24"/>
                  <a:gd name="T66" fmla="*/ 16 w 33"/>
                  <a:gd name="T67" fmla="*/ 7 h 24"/>
                  <a:gd name="T68" fmla="*/ 16 w 33"/>
                  <a:gd name="T69" fmla="*/ 10 h 24"/>
                  <a:gd name="T70" fmla="*/ 14 w 33"/>
                  <a:gd name="T71" fmla="*/ 11 h 24"/>
                  <a:gd name="T72" fmla="*/ 16 w 33"/>
                  <a:gd name="T73" fmla="*/ 13 h 24"/>
                  <a:gd name="T74" fmla="*/ 18 w 33"/>
                  <a:gd name="T75" fmla="*/ 11 h 24"/>
                  <a:gd name="T76" fmla="*/ 19 w 33"/>
                  <a:gd name="T77" fmla="*/ 10 h 24"/>
                  <a:gd name="T78" fmla="*/ 21 w 33"/>
                  <a:gd name="T79" fmla="*/ 11 h 24"/>
                  <a:gd name="T80" fmla="*/ 21 w 33"/>
                  <a:gd name="T81" fmla="*/ 11 h 24"/>
                  <a:gd name="T82" fmla="*/ 22 w 33"/>
                  <a:gd name="T83" fmla="*/ 13 h 24"/>
                  <a:gd name="T84" fmla="*/ 24 w 33"/>
                  <a:gd name="T85" fmla="*/ 11 h 24"/>
                  <a:gd name="T86" fmla="*/ 25 w 33"/>
                  <a:gd name="T87" fmla="*/ 13 h 24"/>
                  <a:gd name="T88" fmla="*/ 29 w 33"/>
                  <a:gd name="T89" fmla="*/ 13 h 24"/>
                  <a:gd name="T90" fmla="*/ 30 w 33"/>
                  <a:gd name="T91" fmla="*/ 15 h 24"/>
                  <a:gd name="T92" fmla="*/ 32 w 33"/>
                  <a:gd name="T93" fmla="*/ 16 h 24"/>
                  <a:gd name="T94" fmla="*/ 33 w 33"/>
                  <a:gd name="T95" fmla="*/ 18 h 24"/>
                  <a:gd name="T96" fmla="*/ 33 w 33"/>
                  <a:gd name="T97" fmla="*/ 18 h 24"/>
                  <a:gd name="T98" fmla="*/ 32 w 33"/>
                  <a:gd name="T99" fmla="*/ 19 h 24"/>
                  <a:gd name="T100" fmla="*/ 30 w 33"/>
                  <a:gd name="T101" fmla="*/ 18 h 24"/>
                  <a:gd name="T102" fmla="*/ 29 w 33"/>
                  <a:gd name="T103" fmla="*/ 16 h 24"/>
                  <a:gd name="T104" fmla="*/ 27 w 33"/>
                  <a:gd name="T105" fmla="*/ 18 h 24"/>
                  <a:gd name="T106" fmla="*/ 27 w 33"/>
                  <a:gd name="T107" fmla="*/ 21 h 24"/>
                  <a:gd name="T108" fmla="*/ 27 w 33"/>
                  <a:gd name="T109" fmla="*/ 24 h 24"/>
                  <a:gd name="T110" fmla="*/ 24 w 33"/>
                  <a:gd name="T111" fmla="*/ 24 h 24"/>
                  <a:gd name="T112" fmla="*/ 22 w 33"/>
                  <a:gd name="T113"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 h="24">
                    <a:moveTo>
                      <a:pt x="21" y="23"/>
                    </a:moveTo>
                    <a:lnTo>
                      <a:pt x="21" y="21"/>
                    </a:lnTo>
                    <a:lnTo>
                      <a:pt x="21" y="19"/>
                    </a:lnTo>
                    <a:lnTo>
                      <a:pt x="21" y="18"/>
                    </a:lnTo>
                    <a:lnTo>
                      <a:pt x="19" y="18"/>
                    </a:lnTo>
                    <a:lnTo>
                      <a:pt x="18" y="18"/>
                    </a:lnTo>
                    <a:lnTo>
                      <a:pt x="16" y="18"/>
                    </a:lnTo>
                    <a:lnTo>
                      <a:pt x="16" y="19"/>
                    </a:lnTo>
                    <a:lnTo>
                      <a:pt x="16" y="18"/>
                    </a:lnTo>
                    <a:lnTo>
                      <a:pt x="14" y="18"/>
                    </a:lnTo>
                    <a:lnTo>
                      <a:pt x="16" y="18"/>
                    </a:lnTo>
                    <a:lnTo>
                      <a:pt x="16" y="16"/>
                    </a:lnTo>
                    <a:lnTo>
                      <a:pt x="14" y="16"/>
                    </a:lnTo>
                    <a:lnTo>
                      <a:pt x="14" y="15"/>
                    </a:lnTo>
                    <a:lnTo>
                      <a:pt x="13" y="15"/>
                    </a:lnTo>
                    <a:lnTo>
                      <a:pt x="13" y="16"/>
                    </a:lnTo>
                    <a:lnTo>
                      <a:pt x="11" y="16"/>
                    </a:lnTo>
                    <a:lnTo>
                      <a:pt x="11" y="15"/>
                    </a:lnTo>
                    <a:lnTo>
                      <a:pt x="11" y="13"/>
                    </a:lnTo>
                    <a:lnTo>
                      <a:pt x="10" y="13"/>
                    </a:lnTo>
                    <a:lnTo>
                      <a:pt x="11" y="13"/>
                    </a:lnTo>
                    <a:lnTo>
                      <a:pt x="10" y="13"/>
                    </a:lnTo>
                    <a:lnTo>
                      <a:pt x="10" y="11"/>
                    </a:lnTo>
                    <a:lnTo>
                      <a:pt x="11" y="11"/>
                    </a:lnTo>
                    <a:lnTo>
                      <a:pt x="10" y="11"/>
                    </a:lnTo>
                    <a:lnTo>
                      <a:pt x="10" y="10"/>
                    </a:lnTo>
                    <a:lnTo>
                      <a:pt x="10" y="8"/>
                    </a:lnTo>
                    <a:lnTo>
                      <a:pt x="8" y="8"/>
                    </a:lnTo>
                    <a:lnTo>
                      <a:pt x="8" y="10"/>
                    </a:lnTo>
                    <a:lnTo>
                      <a:pt x="6" y="10"/>
                    </a:lnTo>
                    <a:lnTo>
                      <a:pt x="6" y="8"/>
                    </a:lnTo>
                    <a:lnTo>
                      <a:pt x="6" y="7"/>
                    </a:lnTo>
                    <a:lnTo>
                      <a:pt x="6" y="5"/>
                    </a:lnTo>
                    <a:lnTo>
                      <a:pt x="5" y="5"/>
                    </a:lnTo>
                    <a:lnTo>
                      <a:pt x="5" y="3"/>
                    </a:lnTo>
                    <a:lnTo>
                      <a:pt x="3" y="3"/>
                    </a:lnTo>
                    <a:lnTo>
                      <a:pt x="2" y="3"/>
                    </a:lnTo>
                    <a:lnTo>
                      <a:pt x="2" y="2"/>
                    </a:lnTo>
                    <a:lnTo>
                      <a:pt x="0" y="2"/>
                    </a:lnTo>
                    <a:lnTo>
                      <a:pt x="0" y="0"/>
                    </a:lnTo>
                    <a:lnTo>
                      <a:pt x="2" y="0"/>
                    </a:lnTo>
                    <a:lnTo>
                      <a:pt x="3" y="0"/>
                    </a:lnTo>
                    <a:lnTo>
                      <a:pt x="5" y="0"/>
                    </a:lnTo>
                    <a:lnTo>
                      <a:pt x="6" y="0"/>
                    </a:lnTo>
                    <a:lnTo>
                      <a:pt x="6" y="2"/>
                    </a:lnTo>
                    <a:lnTo>
                      <a:pt x="8" y="2"/>
                    </a:lnTo>
                    <a:lnTo>
                      <a:pt x="6" y="2"/>
                    </a:lnTo>
                    <a:lnTo>
                      <a:pt x="8" y="2"/>
                    </a:lnTo>
                    <a:lnTo>
                      <a:pt x="8" y="0"/>
                    </a:lnTo>
                    <a:lnTo>
                      <a:pt x="6" y="0"/>
                    </a:lnTo>
                    <a:lnTo>
                      <a:pt x="8" y="0"/>
                    </a:lnTo>
                    <a:lnTo>
                      <a:pt x="10" y="0"/>
                    </a:lnTo>
                    <a:lnTo>
                      <a:pt x="10" y="2"/>
                    </a:lnTo>
                    <a:lnTo>
                      <a:pt x="10" y="0"/>
                    </a:lnTo>
                    <a:lnTo>
                      <a:pt x="11" y="0"/>
                    </a:lnTo>
                    <a:lnTo>
                      <a:pt x="11" y="2"/>
                    </a:lnTo>
                    <a:lnTo>
                      <a:pt x="11" y="3"/>
                    </a:lnTo>
                    <a:lnTo>
                      <a:pt x="13" y="3"/>
                    </a:lnTo>
                    <a:lnTo>
                      <a:pt x="13" y="5"/>
                    </a:lnTo>
                    <a:lnTo>
                      <a:pt x="13" y="7"/>
                    </a:lnTo>
                    <a:lnTo>
                      <a:pt x="11" y="7"/>
                    </a:lnTo>
                    <a:lnTo>
                      <a:pt x="11" y="8"/>
                    </a:lnTo>
                    <a:lnTo>
                      <a:pt x="13" y="8"/>
                    </a:lnTo>
                    <a:lnTo>
                      <a:pt x="13" y="7"/>
                    </a:lnTo>
                    <a:lnTo>
                      <a:pt x="14" y="7"/>
                    </a:lnTo>
                    <a:lnTo>
                      <a:pt x="16" y="7"/>
                    </a:lnTo>
                    <a:lnTo>
                      <a:pt x="16" y="5"/>
                    </a:lnTo>
                    <a:lnTo>
                      <a:pt x="16" y="7"/>
                    </a:lnTo>
                    <a:lnTo>
                      <a:pt x="16" y="8"/>
                    </a:lnTo>
                    <a:lnTo>
                      <a:pt x="16" y="10"/>
                    </a:lnTo>
                    <a:lnTo>
                      <a:pt x="14" y="10"/>
                    </a:lnTo>
                    <a:lnTo>
                      <a:pt x="14" y="11"/>
                    </a:lnTo>
                    <a:lnTo>
                      <a:pt x="16" y="11"/>
                    </a:lnTo>
                    <a:lnTo>
                      <a:pt x="16" y="13"/>
                    </a:lnTo>
                    <a:lnTo>
                      <a:pt x="18" y="13"/>
                    </a:lnTo>
                    <a:lnTo>
                      <a:pt x="18" y="11"/>
                    </a:lnTo>
                    <a:lnTo>
                      <a:pt x="18" y="10"/>
                    </a:lnTo>
                    <a:lnTo>
                      <a:pt x="19" y="10"/>
                    </a:lnTo>
                    <a:lnTo>
                      <a:pt x="19" y="11"/>
                    </a:lnTo>
                    <a:lnTo>
                      <a:pt x="21" y="11"/>
                    </a:lnTo>
                    <a:lnTo>
                      <a:pt x="21" y="13"/>
                    </a:lnTo>
                    <a:lnTo>
                      <a:pt x="21" y="11"/>
                    </a:lnTo>
                    <a:lnTo>
                      <a:pt x="22" y="11"/>
                    </a:lnTo>
                    <a:lnTo>
                      <a:pt x="22" y="13"/>
                    </a:lnTo>
                    <a:lnTo>
                      <a:pt x="22" y="11"/>
                    </a:lnTo>
                    <a:lnTo>
                      <a:pt x="24" y="11"/>
                    </a:lnTo>
                    <a:lnTo>
                      <a:pt x="25" y="11"/>
                    </a:lnTo>
                    <a:lnTo>
                      <a:pt x="25" y="13"/>
                    </a:lnTo>
                    <a:lnTo>
                      <a:pt x="27" y="13"/>
                    </a:lnTo>
                    <a:lnTo>
                      <a:pt x="29" y="13"/>
                    </a:lnTo>
                    <a:lnTo>
                      <a:pt x="30" y="13"/>
                    </a:lnTo>
                    <a:lnTo>
                      <a:pt x="30" y="15"/>
                    </a:lnTo>
                    <a:lnTo>
                      <a:pt x="32" y="15"/>
                    </a:lnTo>
                    <a:lnTo>
                      <a:pt x="32" y="16"/>
                    </a:lnTo>
                    <a:lnTo>
                      <a:pt x="32" y="18"/>
                    </a:lnTo>
                    <a:lnTo>
                      <a:pt x="33" y="18"/>
                    </a:lnTo>
                    <a:lnTo>
                      <a:pt x="32" y="18"/>
                    </a:lnTo>
                    <a:lnTo>
                      <a:pt x="33" y="18"/>
                    </a:lnTo>
                    <a:lnTo>
                      <a:pt x="33" y="19"/>
                    </a:lnTo>
                    <a:lnTo>
                      <a:pt x="32" y="19"/>
                    </a:lnTo>
                    <a:lnTo>
                      <a:pt x="32" y="18"/>
                    </a:lnTo>
                    <a:lnTo>
                      <a:pt x="30" y="18"/>
                    </a:lnTo>
                    <a:lnTo>
                      <a:pt x="30" y="16"/>
                    </a:lnTo>
                    <a:lnTo>
                      <a:pt x="29" y="16"/>
                    </a:lnTo>
                    <a:lnTo>
                      <a:pt x="29" y="18"/>
                    </a:lnTo>
                    <a:lnTo>
                      <a:pt x="27" y="18"/>
                    </a:lnTo>
                    <a:lnTo>
                      <a:pt x="27" y="19"/>
                    </a:lnTo>
                    <a:lnTo>
                      <a:pt x="27" y="21"/>
                    </a:lnTo>
                    <a:lnTo>
                      <a:pt x="27" y="23"/>
                    </a:lnTo>
                    <a:lnTo>
                      <a:pt x="27" y="24"/>
                    </a:lnTo>
                    <a:lnTo>
                      <a:pt x="25" y="24"/>
                    </a:lnTo>
                    <a:lnTo>
                      <a:pt x="24" y="24"/>
                    </a:lnTo>
                    <a:lnTo>
                      <a:pt x="24" y="23"/>
                    </a:lnTo>
                    <a:lnTo>
                      <a:pt x="22" y="23"/>
                    </a:lnTo>
                    <a:lnTo>
                      <a:pt x="21" y="23"/>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21" name="Rectangle 201"/>
              <p:cNvSpPr>
                <a:spLocks noChangeArrowheads="1"/>
              </p:cNvSpPr>
              <p:nvPr/>
            </p:nvSpPr>
            <p:spPr bwMode="auto">
              <a:xfrm>
                <a:off x="5229" y="1994"/>
                <a:ext cx="1" cy="2"/>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22" name="Freeform 202"/>
              <p:cNvSpPr>
                <a:spLocks/>
              </p:cNvSpPr>
              <p:nvPr/>
            </p:nvSpPr>
            <p:spPr bwMode="auto">
              <a:xfrm>
                <a:off x="5072" y="2077"/>
                <a:ext cx="130" cy="245"/>
              </a:xfrm>
              <a:custGeom>
                <a:avLst/>
                <a:gdLst>
                  <a:gd name="T0" fmla="*/ 60 w 130"/>
                  <a:gd name="T1" fmla="*/ 74 h 245"/>
                  <a:gd name="T2" fmla="*/ 65 w 130"/>
                  <a:gd name="T3" fmla="*/ 90 h 245"/>
                  <a:gd name="T4" fmla="*/ 73 w 130"/>
                  <a:gd name="T5" fmla="*/ 103 h 245"/>
                  <a:gd name="T6" fmla="*/ 79 w 130"/>
                  <a:gd name="T7" fmla="*/ 114 h 245"/>
                  <a:gd name="T8" fmla="*/ 79 w 130"/>
                  <a:gd name="T9" fmla="*/ 136 h 245"/>
                  <a:gd name="T10" fmla="*/ 78 w 130"/>
                  <a:gd name="T11" fmla="*/ 149 h 245"/>
                  <a:gd name="T12" fmla="*/ 76 w 130"/>
                  <a:gd name="T13" fmla="*/ 152 h 245"/>
                  <a:gd name="T14" fmla="*/ 86 w 130"/>
                  <a:gd name="T15" fmla="*/ 147 h 245"/>
                  <a:gd name="T16" fmla="*/ 92 w 130"/>
                  <a:gd name="T17" fmla="*/ 149 h 245"/>
                  <a:gd name="T18" fmla="*/ 100 w 130"/>
                  <a:gd name="T19" fmla="*/ 152 h 245"/>
                  <a:gd name="T20" fmla="*/ 105 w 130"/>
                  <a:gd name="T21" fmla="*/ 149 h 245"/>
                  <a:gd name="T22" fmla="*/ 101 w 130"/>
                  <a:gd name="T23" fmla="*/ 138 h 245"/>
                  <a:gd name="T24" fmla="*/ 108 w 130"/>
                  <a:gd name="T25" fmla="*/ 133 h 245"/>
                  <a:gd name="T26" fmla="*/ 112 w 130"/>
                  <a:gd name="T27" fmla="*/ 149 h 245"/>
                  <a:gd name="T28" fmla="*/ 114 w 130"/>
                  <a:gd name="T29" fmla="*/ 168 h 245"/>
                  <a:gd name="T30" fmla="*/ 116 w 130"/>
                  <a:gd name="T31" fmla="*/ 187 h 245"/>
                  <a:gd name="T32" fmla="*/ 122 w 130"/>
                  <a:gd name="T33" fmla="*/ 201 h 245"/>
                  <a:gd name="T34" fmla="*/ 130 w 130"/>
                  <a:gd name="T35" fmla="*/ 214 h 245"/>
                  <a:gd name="T36" fmla="*/ 125 w 130"/>
                  <a:gd name="T37" fmla="*/ 229 h 245"/>
                  <a:gd name="T38" fmla="*/ 116 w 130"/>
                  <a:gd name="T39" fmla="*/ 240 h 245"/>
                  <a:gd name="T40" fmla="*/ 101 w 130"/>
                  <a:gd name="T41" fmla="*/ 244 h 245"/>
                  <a:gd name="T42" fmla="*/ 92 w 130"/>
                  <a:gd name="T43" fmla="*/ 236 h 245"/>
                  <a:gd name="T44" fmla="*/ 84 w 130"/>
                  <a:gd name="T45" fmla="*/ 223 h 245"/>
                  <a:gd name="T46" fmla="*/ 79 w 130"/>
                  <a:gd name="T47" fmla="*/ 207 h 245"/>
                  <a:gd name="T48" fmla="*/ 74 w 130"/>
                  <a:gd name="T49" fmla="*/ 195 h 245"/>
                  <a:gd name="T50" fmla="*/ 68 w 130"/>
                  <a:gd name="T51" fmla="*/ 190 h 245"/>
                  <a:gd name="T52" fmla="*/ 73 w 130"/>
                  <a:gd name="T53" fmla="*/ 196 h 245"/>
                  <a:gd name="T54" fmla="*/ 74 w 130"/>
                  <a:gd name="T55" fmla="*/ 212 h 245"/>
                  <a:gd name="T56" fmla="*/ 73 w 130"/>
                  <a:gd name="T57" fmla="*/ 218 h 245"/>
                  <a:gd name="T58" fmla="*/ 65 w 130"/>
                  <a:gd name="T59" fmla="*/ 206 h 245"/>
                  <a:gd name="T60" fmla="*/ 60 w 130"/>
                  <a:gd name="T61" fmla="*/ 196 h 245"/>
                  <a:gd name="T62" fmla="*/ 52 w 130"/>
                  <a:gd name="T63" fmla="*/ 183 h 245"/>
                  <a:gd name="T64" fmla="*/ 44 w 130"/>
                  <a:gd name="T65" fmla="*/ 171 h 245"/>
                  <a:gd name="T66" fmla="*/ 40 w 130"/>
                  <a:gd name="T67" fmla="*/ 177 h 245"/>
                  <a:gd name="T68" fmla="*/ 33 w 130"/>
                  <a:gd name="T69" fmla="*/ 172 h 245"/>
                  <a:gd name="T70" fmla="*/ 36 w 130"/>
                  <a:gd name="T71" fmla="*/ 187 h 245"/>
                  <a:gd name="T72" fmla="*/ 36 w 130"/>
                  <a:gd name="T73" fmla="*/ 195 h 245"/>
                  <a:gd name="T74" fmla="*/ 24 w 130"/>
                  <a:gd name="T75" fmla="*/ 187 h 245"/>
                  <a:gd name="T76" fmla="*/ 19 w 130"/>
                  <a:gd name="T77" fmla="*/ 177 h 245"/>
                  <a:gd name="T78" fmla="*/ 9 w 130"/>
                  <a:gd name="T79" fmla="*/ 166 h 245"/>
                  <a:gd name="T80" fmla="*/ 6 w 130"/>
                  <a:gd name="T81" fmla="*/ 155 h 245"/>
                  <a:gd name="T82" fmla="*/ 2 w 130"/>
                  <a:gd name="T83" fmla="*/ 142 h 245"/>
                  <a:gd name="T84" fmla="*/ 6 w 130"/>
                  <a:gd name="T85" fmla="*/ 136 h 245"/>
                  <a:gd name="T86" fmla="*/ 9 w 130"/>
                  <a:gd name="T87" fmla="*/ 125 h 245"/>
                  <a:gd name="T88" fmla="*/ 6 w 130"/>
                  <a:gd name="T89" fmla="*/ 107 h 245"/>
                  <a:gd name="T90" fmla="*/ 2 w 130"/>
                  <a:gd name="T91" fmla="*/ 92 h 245"/>
                  <a:gd name="T92" fmla="*/ 0 w 130"/>
                  <a:gd name="T93" fmla="*/ 71 h 245"/>
                  <a:gd name="T94" fmla="*/ 3 w 130"/>
                  <a:gd name="T95" fmla="*/ 57 h 245"/>
                  <a:gd name="T96" fmla="*/ 6 w 130"/>
                  <a:gd name="T97" fmla="*/ 65 h 245"/>
                  <a:gd name="T98" fmla="*/ 9 w 130"/>
                  <a:gd name="T99" fmla="*/ 60 h 245"/>
                  <a:gd name="T100" fmla="*/ 21 w 130"/>
                  <a:gd name="T101" fmla="*/ 50 h 245"/>
                  <a:gd name="T102" fmla="*/ 32 w 130"/>
                  <a:gd name="T103" fmla="*/ 41 h 245"/>
                  <a:gd name="T104" fmla="*/ 33 w 130"/>
                  <a:gd name="T105" fmla="*/ 31 h 245"/>
                  <a:gd name="T106" fmla="*/ 35 w 130"/>
                  <a:gd name="T107" fmla="*/ 16 h 245"/>
                  <a:gd name="T108" fmla="*/ 36 w 130"/>
                  <a:gd name="T109" fmla="*/ 0 h 245"/>
                  <a:gd name="T110" fmla="*/ 47 w 130"/>
                  <a:gd name="T111" fmla="*/ 9 h 245"/>
                  <a:gd name="T112" fmla="*/ 54 w 130"/>
                  <a:gd name="T113" fmla="*/ 20 h 245"/>
                  <a:gd name="T114" fmla="*/ 57 w 130"/>
                  <a:gd name="T115" fmla="*/ 35 h 245"/>
                  <a:gd name="T116" fmla="*/ 55 w 130"/>
                  <a:gd name="T117" fmla="*/ 5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245">
                    <a:moveTo>
                      <a:pt x="55" y="58"/>
                    </a:moveTo>
                    <a:lnTo>
                      <a:pt x="55" y="61"/>
                    </a:lnTo>
                    <a:lnTo>
                      <a:pt x="55" y="63"/>
                    </a:lnTo>
                    <a:lnTo>
                      <a:pt x="57" y="63"/>
                    </a:lnTo>
                    <a:lnTo>
                      <a:pt x="57" y="65"/>
                    </a:lnTo>
                    <a:lnTo>
                      <a:pt x="57" y="66"/>
                    </a:lnTo>
                    <a:lnTo>
                      <a:pt x="57" y="68"/>
                    </a:lnTo>
                    <a:lnTo>
                      <a:pt x="59" y="68"/>
                    </a:lnTo>
                    <a:lnTo>
                      <a:pt x="59" y="69"/>
                    </a:lnTo>
                    <a:lnTo>
                      <a:pt x="59" y="71"/>
                    </a:lnTo>
                    <a:lnTo>
                      <a:pt x="59" y="73"/>
                    </a:lnTo>
                    <a:lnTo>
                      <a:pt x="60" y="73"/>
                    </a:lnTo>
                    <a:lnTo>
                      <a:pt x="60" y="74"/>
                    </a:lnTo>
                    <a:lnTo>
                      <a:pt x="60" y="76"/>
                    </a:lnTo>
                    <a:lnTo>
                      <a:pt x="60" y="77"/>
                    </a:lnTo>
                    <a:lnTo>
                      <a:pt x="60" y="79"/>
                    </a:lnTo>
                    <a:lnTo>
                      <a:pt x="62" y="79"/>
                    </a:lnTo>
                    <a:lnTo>
                      <a:pt x="62" y="80"/>
                    </a:lnTo>
                    <a:lnTo>
                      <a:pt x="62" y="82"/>
                    </a:lnTo>
                    <a:lnTo>
                      <a:pt x="63" y="82"/>
                    </a:lnTo>
                    <a:lnTo>
                      <a:pt x="63" y="84"/>
                    </a:lnTo>
                    <a:lnTo>
                      <a:pt x="63" y="85"/>
                    </a:lnTo>
                    <a:lnTo>
                      <a:pt x="63" y="87"/>
                    </a:lnTo>
                    <a:lnTo>
                      <a:pt x="63" y="88"/>
                    </a:lnTo>
                    <a:lnTo>
                      <a:pt x="65" y="88"/>
                    </a:lnTo>
                    <a:lnTo>
                      <a:pt x="65" y="90"/>
                    </a:lnTo>
                    <a:lnTo>
                      <a:pt x="66" y="90"/>
                    </a:lnTo>
                    <a:lnTo>
                      <a:pt x="66" y="92"/>
                    </a:lnTo>
                    <a:lnTo>
                      <a:pt x="68" y="92"/>
                    </a:lnTo>
                    <a:lnTo>
                      <a:pt x="68" y="93"/>
                    </a:lnTo>
                    <a:lnTo>
                      <a:pt x="68" y="95"/>
                    </a:lnTo>
                    <a:lnTo>
                      <a:pt x="70" y="95"/>
                    </a:lnTo>
                    <a:lnTo>
                      <a:pt x="71" y="95"/>
                    </a:lnTo>
                    <a:lnTo>
                      <a:pt x="71" y="96"/>
                    </a:lnTo>
                    <a:lnTo>
                      <a:pt x="71" y="98"/>
                    </a:lnTo>
                    <a:lnTo>
                      <a:pt x="73" y="98"/>
                    </a:lnTo>
                    <a:lnTo>
                      <a:pt x="73" y="100"/>
                    </a:lnTo>
                    <a:lnTo>
                      <a:pt x="73" y="101"/>
                    </a:lnTo>
                    <a:lnTo>
                      <a:pt x="73" y="103"/>
                    </a:lnTo>
                    <a:lnTo>
                      <a:pt x="73" y="104"/>
                    </a:lnTo>
                    <a:lnTo>
                      <a:pt x="73" y="106"/>
                    </a:lnTo>
                    <a:lnTo>
                      <a:pt x="74" y="106"/>
                    </a:lnTo>
                    <a:lnTo>
                      <a:pt x="74" y="107"/>
                    </a:lnTo>
                    <a:lnTo>
                      <a:pt x="76" y="107"/>
                    </a:lnTo>
                    <a:lnTo>
                      <a:pt x="78" y="107"/>
                    </a:lnTo>
                    <a:lnTo>
                      <a:pt x="78" y="109"/>
                    </a:lnTo>
                    <a:lnTo>
                      <a:pt x="79" y="109"/>
                    </a:lnTo>
                    <a:lnTo>
                      <a:pt x="81" y="109"/>
                    </a:lnTo>
                    <a:lnTo>
                      <a:pt x="81" y="111"/>
                    </a:lnTo>
                    <a:lnTo>
                      <a:pt x="81" y="112"/>
                    </a:lnTo>
                    <a:lnTo>
                      <a:pt x="81" y="114"/>
                    </a:lnTo>
                    <a:lnTo>
                      <a:pt x="79" y="114"/>
                    </a:lnTo>
                    <a:lnTo>
                      <a:pt x="79" y="115"/>
                    </a:lnTo>
                    <a:lnTo>
                      <a:pt x="79" y="117"/>
                    </a:lnTo>
                    <a:lnTo>
                      <a:pt x="79" y="119"/>
                    </a:lnTo>
                    <a:lnTo>
                      <a:pt x="79" y="120"/>
                    </a:lnTo>
                    <a:lnTo>
                      <a:pt x="79" y="122"/>
                    </a:lnTo>
                    <a:lnTo>
                      <a:pt x="79" y="123"/>
                    </a:lnTo>
                    <a:lnTo>
                      <a:pt x="79" y="125"/>
                    </a:lnTo>
                    <a:lnTo>
                      <a:pt x="79" y="126"/>
                    </a:lnTo>
                    <a:lnTo>
                      <a:pt x="79" y="128"/>
                    </a:lnTo>
                    <a:lnTo>
                      <a:pt x="79" y="131"/>
                    </a:lnTo>
                    <a:lnTo>
                      <a:pt x="79" y="133"/>
                    </a:lnTo>
                    <a:lnTo>
                      <a:pt x="79" y="134"/>
                    </a:lnTo>
                    <a:lnTo>
                      <a:pt x="79" y="136"/>
                    </a:lnTo>
                    <a:lnTo>
                      <a:pt x="81" y="136"/>
                    </a:lnTo>
                    <a:lnTo>
                      <a:pt x="81" y="138"/>
                    </a:lnTo>
                    <a:lnTo>
                      <a:pt x="82" y="138"/>
                    </a:lnTo>
                    <a:lnTo>
                      <a:pt x="82" y="139"/>
                    </a:lnTo>
                    <a:lnTo>
                      <a:pt x="82" y="141"/>
                    </a:lnTo>
                    <a:lnTo>
                      <a:pt x="82" y="142"/>
                    </a:lnTo>
                    <a:lnTo>
                      <a:pt x="82" y="144"/>
                    </a:lnTo>
                    <a:lnTo>
                      <a:pt x="82" y="145"/>
                    </a:lnTo>
                    <a:lnTo>
                      <a:pt x="81" y="145"/>
                    </a:lnTo>
                    <a:lnTo>
                      <a:pt x="79" y="145"/>
                    </a:lnTo>
                    <a:lnTo>
                      <a:pt x="79" y="147"/>
                    </a:lnTo>
                    <a:lnTo>
                      <a:pt x="78" y="147"/>
                    </a:lnTo>
                    <a:lnTo>
                      <a:pt x="78" y="149"/>
                    </a:lnTo>
                    <a:lnTo>
                      <a:pt x="76" y="149"/>
                    </a:lnTo>
                    <a:lnTo>
                      <a:pt x="76" y="150"/>
                    </a:lnTo>
                    <a:lnTo>
                      <a:pt x="74" y="150"/>
                    </a:lnTo>
                    <a:lnTo>
                      <a:pt x="74" y="152"/>
                    </a:lnTo>
                    <a:lnTo>
                      <a:pt x="74" y="150"/>
                    </a:lnTo>
                    <a:lnTo>
                      <a:pt x="76" y="150"/>
                    </a:lnTo>
                    <a:lnTo>
                      <a:pt x="76" y="152"/>
                    </a:lnTo>
                    <a:lnTo>
                      <a:pt x="76" y="150"/>
                    </a:lnTo>
                    <a:lnTo>
                      <a:pt x="78" y="150"/>
                    </a:lnTo>
                    <a:lnTo>
                      <a:pt x="76" y="150"/>
                    </a:lnTo>
                    <a:lnTo>
                      <a:pt x="76" y="152"/>
                    </a:lnTo>
                    <a:lnTo>
                      <a:pt x="78" y="152"/>
                    </a:lnTo>
                    <a:lnTo>
                      <a:pt x="76" y="152"/>
                    </a:lnTo>
                    <a:lnTo>
                      <a:pt x="78" y="152"/>
                    </a:lnTo>
                    <a:lnTo>
                      <a:pt x="78" y="150"/>
                    </a:lnTo>
                    <a:lnTo>
                      <a:pt x="79" y="150"/>
                    </a:lnTo>
                    <a:lnTo>
                      <a:pt x="81" y="150"/>
                    </a:lnTo>
                    <a:lnTo>
                      <a:pt x="81" y="149"/>
                    </a:lnTo>
                    <a:lnTo>
                      <a:pt x="81" y="150"/>
                    </a:lnTo>
                    <a:lnTo>
                      <a:pt x="81" y="152"/>
                    </a:lnTo>
                    <a:lnTo>
                      <a:pt x="81" y="150"/>
                    </a:lnTo>
                    <a:lnTo>
                      <a:pt x="82" y="150"/>
                    </a:lnTo>
                    <a:lnTo>
                      <a:pt x="82" y="149"/>
                    </a:lnTo>
                    <a:lnTo>
                      <a:pt x="84" y="149"/>
                    </a:lnTo>
                    <a:lnTo>
                      <a:pt x="84" y="147"/>
                    </a:lnTo>
                    <a:lnTo>
                      <a:pt x="86" y="147"/>
                    </a:lnTo>
                    <a:lnTo>
                      <a:pt x="86" y="149"/>
                    </a:lnTo>
                    <a:lnTo>
                      <a:pt x="86" y="150"/>
                    </a:lnTo>
                    <a:lnTo>
                      <a:pt x="87" y="150"/>
                    </a:lnTo>
                    <a:lnTo>
                      <a:pt x="87" y="152"/>
                    </a:lnTo>
                    <a:lnTo>
                      <a:pt x="87" y="153"/>
                    </a:lnTo>
                    <a:lnTo>
                      <a:pt x="89" y="153"/>
                    </a:lnTo>
                    <a:lnTo>
                      <a:pt x="89" y="155"/>
                    </a:lnTo>
                    <a:lnTo>
                      <a:pt x="89" y="153"/>
                    </a:lnTo>
                    <a:lnTo>
                      <a:pt x="89" y="152"/>
                    </a:lnTo>
                    <a:lnTo>
                      <a:pt x="90" y="152"/>
                    </a:lnTo>
                    <a:lnTo>
                      <a:pt x="90" y="150"/>
                    </a:lnTo>
                    <a:lnTo>
                      <a:pt x="90" y="149"/>
                    </a:lnTo>
                    <a:lnTo>
                      <a:pt x="92" y="149"/>
                    </a:lnTo>
                    <a:lnTo>
                      <a:pt x="93" y="149"/>
                    </a:lnTo>
                    <a:lnTo>
                      <a:pt x="93" y="147"/>
                    </a:lnTo>
                    <a:lnTo>
                      <a:pt x="93" y="145"/>
                    </a:lnTo>
                    <a:lnTo>
                      <a:pt x="95" y="145"/>
                    </a:lnTo>
                    <a:lnTo>
                      <a:pt x="95" y="147"/>
                    </a:lnTo>
                    <a:lnTo>
                      <a:pt x="97" y="147"/>
                    </a:lnTo>
                    <a:lnTo>
                      <a:pt x="97" y="149"/>
                    </a:lnTo>
                    <a:lnTo>
                      <a:pt x="95" y="149"/>
                    </a:lnTo>
                    <a:lnTo>
                      <a:pt x="95" y="150"/>
                    </a:lnTo>
                    <a:lnTo>
                      <a:pt x="97" y="150"/>
                    </a:lnTo>
                    <a:lnTo>
                      <a:pt x="98" y="150"/>
                    </a:lnTo>
                    <a:lnTo>
                      <a:pt x="98" y="152"/>
                    </a:lnTo>
                    <a:lnTo>
                      <a:pt x="100" y="152"/>
                    </a:lnTo>
                    <a:lnTo>
                      <a:pt x="100" y="153"/>
                    </a:lnTo>
                    <a:lnTo>
                      <a:pt x="100" y="152"/>
                    </a:lnTo>
                    <a:lnTo>
                      <a:pt x="100" y="150"/>
                    </a:lnTo>
                    <a:lnTo>
                      <a:pt x="100" y="149"/>
                    </a:lnTo>
                    <a:lnTo>
                      <a:pt x="101" y="149"/>
                    </a:lnTo>
                    <a:lnTo>
                      <a:pt x="101" y="150"/>
                    </a:lnTo>
                    <a:lnTo>
                      <a:pt x="103" y="150"/>
                    </a:lnTo>
                    <a:lnTo>
                      <a:pt x="103" y="152"/>
                    </a:lnTo>
                    <a:lnTo>
                      <a:pt x="105" y="152"/>
                    </a:lnTo>
                    <a:lnTo>
                      <a:pt x="105" y="153"/>
                    </a:lnTo>
                    <a:lnTo>
                      <a:pt x="105" y="152"/>
                    </a:lnTo>
                    <a:lnTo>
                      <a:pt x="105" y="150"/>
                    </a:lnTo>
                    <a:lnTo>
                      <a:pt x="105" y="149"/>
                    </a:lnTo>
                    <a:lnTo>
                      <a:pt x="106" y="149"/>
                    </a:lnTo>
                    <a:lnTo>
                      <a:pt x="106" y="147"/>
                    </a:lnTo>
                    <a:lnTo>
                      <a:pt x="105" y="147"/>
                    </a:lnTo>
                    <a:lnTo>
                      <a:pt x="105" y="145"/>
                    </a:lnTo>
                    <a:lnTo>
                      <a:pt x="103" y="145"/>
                    </a:lnTo>
                    <a:lnTo>
                      <a:pt x="103" y="144"/>
                    </a:lnTo>
                    <a:lnTo>
                      <a:pt x="105" y="144"/>
                    </a:lnTo>
                    <a:lnTo>
                      <a:pt x="105" y="142"/>
                    </a:lnTo>
                    <a:lnTo>
                      <a:pt x="103" y="142"/>
                    </a:lnTo>
                    <a:lnTo>
                      <a:pt x="103" y="141"/>
                    </a:lnTo>
                    <a:lnTo>
                      <a:pt x="103" y="139"/>
                    </a:lnTo>
                    <a:lnTo>
                      <a:pt x="103" y="138"/>
                    </a:lnTo>
                    <a:lnTo>
                      <a:pt x="101" y="138"/>
                    </a:lnTo>
                    <a:lnTo>
                      <a:pt x="100" y="138"/>
                    </a:lnTo>
                    <a:lnTo>
                      <a:pt x="100" y="136"/>
                    </a:lnTo>
                    <a:lnTo>
                      <a:pt x="100" y="134"/>
                    </a:lnTo>
                    <a:lnTo>
                      <a:pt x="100" y="133"/>
                    </a:lnTo>
                    <a:lnTo>
                      <a:pt x="100" y="131"/>
                    </a:lnTo>
                    <a:lnTo>
                      <a:pt x="100" y="130"/>
                    </a:lnTo>
                    <a:lnTo>
                      <a:pt x="101" y="130"/>
                    </a:lnTo>
                    <a:lnTo>
                      <a:pt x="103" y="130"/>
                    </a:lnTo>
                    <a:lnTo>
                      <a:pt x="105" y="130"/>
                    </a:lnTo>
                    <a:lnTo>
                      <a:pt x="106" y="130"/>
                    </a:lnTo>
                    <a:lnTo>
                      <a:pt x="106" y="131"/>
                    </a:lnTo>
                    <a:lnTo>
                      <a:pt x="106" y="133"/>
                    </a:lnTo>
                    <a:lnTo>
                      <a:pt x="108" y="133"/>
                    </a:lnTo>
                    <a:lnTo>
                      <a:pt x="108" y="134"/>
                    </a:lnTo>
                    <a:lnTo>
                      <a:pt x="108" y="136"/>
                    </a:lnTo>
                    <a:lnTo>
                      <a:pt x="108" y="138"/>
                    </a:lnTo>
                    <a:lnTo>
                      <a:pt x="109" y="138"/>
                    </a:lnTo>
                    <a:lnTo>
                      <a:pt x="109" y="139"/>
                    </a:lnTo>
                    <a:lnTo>
                      <a:pt x="109" y="141"/>
                    </a:lnTo>
                    <a:lnTo>
                      <a:pt x="111" y="141"/>
                    </a:lnTo>
                    <a:lnTo>
                      <a:pt x="111" y="142"/>
                    </a:lnTo>
                    <a:lnTo>
                      <a:pt x="111" y="144"/>
                    </a:lnTo>
                    <a:lnTo>
                      <a:pt x="112" y="144"/>
                    </a:lnTo>
                    <a:lnTo>
                      <a:pt x="112" y="145"/>
                    </a:lnTo>
                    <a:lnTo>
                      <a:pt x="112" y="147"/>
                    </a:lnTo>
                    <a:lnTo>
                      <a:pt x="112" y="149"/>
                    </a:lnTo>
                    <a:lnTo>
                      <a:pt x="114" y="149"/>
                    </a:lnTo>
                    <a:lnTo>
                      <a:pt x="114" y="150"/>
                    </a:lnTo>
                    <a:lnTo>
                      <a:pt x="114" y="152"/>
                    </a:lnTo>
                    <a:lnTo>
                      <a:pt x="114" y="153"/>
                    </a:lnTo>
                    <a:lnTo>
                      <a:pt x="114" y="155"/>
                    </a:lnTo>
                    <a:lnTo>
                      <a:pt x="114" y="157"/>
                    </a:lnTo>
                    <a:lnTo>
                      <a:pt x="114" y="158"/>
                    </a:lnTo>
                    <a:lnTo>
                      <a:pt x="114" y="160"/>
                    </a:lnTo>
                    <a:lnTo>
                      <a:pt x="114" y="161"/>
                    </a:lnTo>
                    <a:lnTo>
                      <a:pt x="114" y="163"/>
                    </a:lnTo>
                    <a:lnTo>
                      <a:pt x="114" y="164"/>
                    </a:lnTo>
                    <a:lnTo>
                      <a:pt x="114" y="166"/>
                    </a:lnTo>
                    <a:lnTo>
                      <a:pt x="114" y="168"/>
                    </a:lnTo>
                    <a:lnTo>
                      <a:pt x="114" y="169"/>
                    </a:lnTo>
                    <a:lnTo>
                      <a:pt x="114" y="171"/>
                    </a:lnTo>
                    <a:lnTo>
                      <a:pt x="114" y="172"/>
                    </a:lnTo>
                    <a:lnTo>
                      <a:pt x="114" y="174"/>
                    </a:lnTo>
                    <a:lnTo>
                      <a:pt x="114" y="176"/>
                    </a:lnTo>
                    <a:lnTo>
                      <a:pt x="114" y="177"/>
                    </a:lnTo>
                    <a:lnTo>
                      <a:pt x="114" y="179"/>
                    </a:lnTo>
                    <a:lnTo>
                      <a:pt x="114" y="180"/>
                    </a:lnTo>
                    <a:lnTo>
                      <a:pt x="116" y="180"/>
                    </a:lnTo>
                    <a:lnTo>
                      <a:pt x="116" y="182"/>
                    </a:lnTo>
                    <a:lnTo>
                      <a:pt x="116" y="183"/>
                    </a:lnTo>
                    <a:lnTo>
                      <a:pt x="116" y="185"/>
                    </a:lnTo>
                    <a:lnTo>
                      <a:pt x="116" y="187"/>
                    </a:lnTo>
                    <a:lnTo>
                      <a:pt x="117" y="187"/>
                    </a:lnTo>
                    <a:lnTo>
                      <a:pt x="117" y="188"/>
                    </a:lnTo>
                    <a:lnTo>
                      <a:pt x="117" y="190"/>
                    </a:lnTo>
                    <a:lnTo>
                      <a:pt x="117" y="191"/>
                    </a:lnTo>
                    <a:lnTo>
                      <a:pt x="119" y="191"/>
                    </a:lnTo>
                    <a:lnTo>
                      <a:pt x="119" y="193"/>
                    </a:lnTo>
                    <a:lnTo>
                      <a:pt x="119" y="195"/>
                    </a:lnTo>
                    <a:lnTo>
                      <a:pt x="119" y="196"/>
                    </a:lnTo>
                    <a:lnTo>
                      <a:pt x="120" y="196"/>
                    </a:lnTo>
                    <a:lnTo>
                      <a:pt x="120" y="198"/>
                    </a:lnTo>
                    <a:lnTo>
                      <a:pt x="120" y="199"/>
                    </a:lnTo>
                    <a:lnTo>
                      <a:pt x="122" y="199"/>
                    </a:lnTo>
                    <a:lnTo>
                      <a:pt x="122" y="201"/>
                    </a:lnTo>
                    <a:lnTo>
                      <a:pt x="122" y="202"/>
                    </a:lnTo>
                    <a:lnTo>
                      <a:pt x="124" y="202"/>
                    </a:lnTo>
                    <a:lnTo>
                      <a:pt x="124" y="204"/>
                    </a:lnTo>
                    <a:lnTo>
                      <a:pt x="124" y="206"/>
                    </a:lnTo>
                    <a:lnTo>
                      <a:pt x="125" y="206"/>
                    </a:lnTo>
                    <a:lnTo>
                      <a:pt x="125" y="207"/>
                    </a:lnTo>
                    <a:lnTo>
                      <a:pt x="125" y="209"/>
                    </a:lnTo>
                    <a:lnTo>
                      <a:pt x="127" y="209"/>
                    </a:lnTo>
                    <a:lnTo>
                      <a:pt x="127" y="210"/>
                    </a:lnTo>
                    <a:lnTo>
                      <a:pt x="127" y="212"/>
                    </a:lnTo>
                    <a:lnTo>
                      <a:pt x="128" y="212"/>
                    </a:lnTo>
                    <a:lnTo>
                      <a:pt x="128" y="214"/>
                    </a:lnTo>
                    <a:lnTo>
                      <a:pt x="130" y="214"/>
                    </a:lnTo>
                    <a:lnTo>
                      <a:pt x="130" y="215"/>
                    </a:lnTo>
                    <a:lnTo>
                      <a:pt x="128" y="215"/>
                    </a:lnTo>
                    <a:lnTo>
                      <a:pt x="128" y="217"/>
                    </a:lnTo>
                    <a:lnTo>
                      <a:pt x="128" y="218"/>
                    </a:lnTo>
                    <a:lnTo>
                      <a:pt x="128" y="220"/>
                    </a:lnTo>
                    <a:lnTo>
                      <a:pt x="128" y="221"/>
                    </a:lnTo>
                    <a:lnTo>
                      <a:pt x="127" y="221"/>
                    </a:lnTo>
                    <a:lnTo>
                      <a:pt x="127" y="223"/>
                    </a:lnTo>
                    <a:lnTo>
                      <a:pt x="127" y="225"/>
                    </a:lnTo>
                    <a:lnTo>
                      <a:pt x="125" y="225"/>
                    </a:lnTo>
                    <a:lnTo>
                      <a:pt x="125" y="226"/>
                    </a:lnTo>
                    <a:lnTo>
                      <a:pt x="125" y="228"/>
                    </a:lnTo>
                    <a:lnTo>
                      <a:pt x="125" y="229"/>
                    </a:lnTo>
                    <a:lnTo>
                      <a:pt x="125" y="231"/>
                    </a:lnTo>
                    <a:lnTo>
                      <a:pt x="124" y="231"/>
                    </a:lnTo>
                    <a:lnTo>
                      <a:pt x="124" y="233"/>
                    </a:lnTo>
                    <a:lnTo>
                      <a:pt x="122" y="233"/>
                    </a:lnTo>
                    <a:lnTo>
                      <a:pt x="122" y="234"/>
                    </a:lnTo>
                    <a:lnTo>
                      <a:pt x="120" y="234"/>
                    </a:lnTo>
                    <a:lnTo>
                      <a:pt x="120" y="236"/>
                    </a:lnTo>
                    <a:lnTo>
                      <a:pt x="119" y="236"/>
                    </a:lnTo>
                    <a:lnTo>
                      <a:pt x="119" y="237"/>
                    </a:lnTo>
                    <a:lnTo>
                      <a:pt x="117" y="237"/>
                    </a:lnTo>
                    <a:lnTo>
                      <a:pt x="117" y="239"/>
                    </a:lnTo>
                    <a:lnTo>
                      <a:pt x="116" y="239"/>
                    </a:lnTo>
                    <a:lnTo>
                      <a:pt x="116" y="240"/>
                    </a:lnTo>
                    <a:lnTo>
                      <a:pt x="114" y="240"/>
                    </a:lnTo>
                    <a:lnTo>
                      <a:pt x="114" y="242"/>
                    </a:lnTo>
                    <a:lnTo>
                      <a:pt x="112" y="242"/>
                    </a:lnTo>
                    <a:lnTo>
                      <a:pt x="111" y="242"/>
                    </a:lnTo>
                    <a:lnTo>
                      <a:pt x="111" y="244"/>
                    </a:lnTo>
                    <a:lnTo>
                      <a:pt x="109" y="244"/>
                    </a:lnTo>
                    <a:lnTo>
                      <a:pt x="108" y="244"/>
                    </a:lnTo>
                    <a:lnTo>
                      <a:pt x="108" y="245"/>
                    </a:lnTo>
                    <a:lnTo>
                      <a:pt x="106" y="245"/>
                    </a:lnTo>
                    <a:lnTo>
                      <a:pt x="105" y="245"/>
                    </a:lnTo>
                    <a:lnTo>
                      <a:pt x="103" y="245"/>
                    </a:lnTo>
                    <a:lnTo>
                      <a:pt x="103" y="244"/>
                    </a:lnTo>
                    <a:lnTo>
                      <a:pt x="101" y="244"/>
                    </a:lnTo>
                    <a:lnTo>
                      <a:pt x="101" y="245"/>
                    </a:lnTo>
                    <a:lnTo>
                      <a:pt x="101" y="244"/>
                    </a:lnTo>
                    <a:lnTo>
                      <a:pt x="100" y="244"/>
                    </a:lnTo>
                    <a:lnTo>
                      <a:pt x="98" y="244"/>
                    </a:lnTo>
                    <a:lnTo>
                      <a:pt x="98" y="242"/>
                    </a:lnTo>
                    <a:lnTo>
                      <a:pt x="97" y="242"/>
                    </a:lnTo>
                    <a:lnTo>
                      <a:pt x="97" y="240"/>
                    </a:lnTo>
                    <a:lnTo>
                      <a:pt x="97" y="239"/>
                    </a:lnTo>
                    <a:lnTo>
                      <a:pt x="95" y="239"/>
                    </a:lnTo>
                    <a:lnTo>
                      <a:pt x="95" y="237"/>
                    </a:lnTo>
                    <a:lnTo>
                      <a:pt x="93" y="237"/>
                    </a:lnTo>
                    <a:lnTo>
                      <a:pt x="92" y="237"/>
                    </a:lnTo>
                    <a:lnTo>
                      <a:pt x="92" y="236"/>
                    </a:lnTo>
                    <a:lnTo>
                      <a:pt x="92" y="234"/>
                    </a:lnTo>
                    <a:lnTo>
                      <a:pt x="90" y="234"/>
                    </a:lnTo>
                    <a:lnTo>
                      <a:pt x="90" y="233"/>
                    </a:lnTo>
                    <a:lnTo>
                      <a:pt x="90" y="231"/>
                    </a:lnTo>
                    <a:lnTo>
                      <a:pt x="89" y="231"/>
                    </a:lnTo>
                    <a:lnTo>
                      <a:pt x="89" y="229"/>
                    </a:lnTo>
                    <a:lnTo>
                      <a:pt x="89" y="228"/>
                    </a:lnTo>
                    <a:lnTo>
                      <a:pt x="89" y="226"/>
                    </a:lnTo>
                    <a:lnTo>
                      <a:pt x="89" y="225"/>
                    </a:lnTo>
                    <a:lnTo>
                      <a:pt x="87" y="225"/>
                    </a:lnTo>
                    <a:lnTo>
                      <a:pt x="87" y="223"/>
                    </a:lnTo>
                    <a:lnTo>
                      <a:pt x="86" y="223"/>
                    </a:lnTo>
                    <a:lnTo>
                      <a:pt x="84" y="223"/>
                    </a:lnTo>
                    <a:lnTo>
                      <a:pt x="84" y="221"/>
                    </a:lnTo>
                    <a:lnTo>
                      <a:pt x="84" y="220"/>
                    </a:lnTo>
                    <a:lnTo>
                      <a:pt x="84" y="218"/>
                    </a:lnTo>
                    <a:lnTo>
                      <a:pt x="82" y="218"/>
                    </a:lnTo>
                    <a:lnTo>
                      <a:pt x="82" y="217"/>
                    </a:lnTo>
                    <a:lnTo>
                      <a:pt x="82" y="215"/>
                    </a:lnTo>
                    <a:lnTo>
                      <a:pt x="82" y="214"/>
                    </a:lnTo>
                    <a:lnTo>
                      <a:pt x="81" y="214"/>
                    </a:lnTo>
                    <a:lnTo>
                      <a:pt x="81" y="212"/>
                    </a:lnTo>
                    <a:lnTo>
                      <a:pt x="81" y="210"/>
                    </a:lnTo>
                    <a:lnTo>
                      <a:pt x="81" y="209"/>
                    </a:lnTo>
                    <a:lnTo>
                      <a:pt x="79" y="209"/>
                    </a:lnTo>
                    <a:lnTo>
                      <a:pt x="79" y="207"/>
                    </a:lnTo>
                    <a:lnTo>
                      <a:pt x="81" y="207"/>
                    </a:lnTo>
                    <a:lnTo>
                      <a:pt x="81" y="206"/>
                    </a:lnTo>
                    <a:lnTo>
                      <a:pt x="81" y="204"/>
                    </a:lnTo>
                    <a:lnTo>
                      <a:pt x="81" y="202"/>
                    </a:lnTo>
                    <a:lnTo>
                      <a:pt x="79" y="202"/>
                    </a:lnTo>
                    <a:lnTo>
                      <a:pt x="79" y="201"/>
                    </a:lnTo>
                    <a:lnTo>
                      <a:pt x="79" y="199"/>
                    </a:lnTo>
                    <a:lnTo>
                      <a:pt x="78" y="199"/>
                    </a:lnTo>
                    <a:lnTo>
                      <a:pt x="78" y="198"/>
                    </a:lnTo>
                    <a:lnTo>
                      <a:pt x="76" y="198"/>
                    </a:lnTo>
                    <a:lnTo>
                      <a:pt x="76" y="196"/>
                    </a:lnTo>
                    <a:lnTo>
                      <a:pt x="74" y="196"/>
                    </a:lnTo>
                    <a:lnTo>
                      <a:pt x="74" y="195"/>
                    </a:lnTo>
                    <a:lnTo>
                      <a:pt x="74" y="193"/>
                    </a:lnTo>
                    <a:lnTo>
                      <a:pt x="74" y="191"/>
                    </a:lnTo>
                    <a:lnTo>
                      <a:pt x="73" y="191"/>
                    </a:lnTo>
                    <a:lnTo>
                      <a:pt x="73" y="190"/>
                    </a:lnTo>
                    <a:lnTo>
                      <a:pt x="73" y="191"/>
                    </a:lnTo>
                    <a:lnTo>
                      <a:pt x="73" y="193"/>
                    </a:lnTo>
                    <a:lnTo>
                      <a:pt x="71" y="193"/>
                    </a:lnTo>
                    <a:lnTo>
                      <a:pt x="71" y="195"/>
                    </a:lnTo>
                    <a:lnTo>
                      <a:pt x="71" y="193"/>
                    </a:lnTo>
                    <a:lnTo>
                      <a:pt x="70" y="193"/>
                    </a:lnTo>
                    <a:lnTo>
                      <a:pt x="68" y="193"/>
                    </a:lnTo>
                    <a:lnTo>
                      <a:pt x="68" y="191"/>
                    </a:lnTo>
                    <a:lnTo>
                      <a:pt x="68" y="190"/>
                    </a:lnTo>
                    <a:lnTo>
                      <a:pt x="66" y="190"/>
                    </a:lnTo>
                    <a:lnTo>
                      <a:pt x="66" y="191"/>
                    </a:lnTo>
                    <a:lnTo>
                      <a:pt x="66" y="190"/>
                    </a:lnTo>
                    <a:lnTo>
                      <a:pt x="66" y="191"/>
                    </a:lnTo>
                    <a:lnTo>
                      <a:pt x="68" y="191"/>
                    </a:lnTo>
                    <a:lnTo>
                      <a:pt x="68" y="193"/>
                    </a:lnTo>
                    <a:lnTo>
                      <a:pt x="70" y="193"/>
                    </a:lnTo>
                    <a:lnTo>
                      <a:pt x="70" y="195"/>
                    </a:lnTo>
                    <a:lnTo>
                      <a:pt x="71" y="195"/>
                    </a:lnTo>
                    <a:lnTo>
                      <a:pt x="71" y="196"/>
                    </a:lnTo>
                    <a:lnTo>
                      <a:pt x="73" y="196"/>
                    </a:lnTo>
                    <a:lnTo>
                      <a:pt x="71" y="196"/>
                    </a:lnTo>
                    <a:lnTo>
                      <a:pt x="73" y="196"/>
                    </a:lnTo>
                    <a:lnTo>
                      <a:pt x="73" y="198"/>
                    </a:lnTo>
                    <a:lnTo>
                      <a:pt x="73" y="199"/>
                    </a:lnTo>
                    <a:lnTo>
                      <a:pt x="74" y="199"/>
                    </a:lnTo>
                    <a:lnTo>
                      <a:pt x="74" y="201"/>
                    </a:lnTo>
                    <a:lnTo>
                      <a:pt x="76" y="201"/>
                    </a:lnTo>
                    <a:lnTo>
                      <a:pt x="76" y="202"/>
                    </a:lnTo>
                    <a:lnTo>
                      <a:pt x="76" y="204"/>
                    </a:lnTo>
                    <a:lnTo>
                      <a:pt x="76" y="206"/>
                    </a:lnTo>
                    <a:lnTo>
                      <a:pt x="76" y="207"/>
                    </a:lnTo>
                    <a:lnTo>
                      <a:pt x="76" y="209"/>
                    </a:lnTo>
                    <a:lnTo>
                      <a:pt x="76" y="210"/>
                    </a:lnTo>
                    <a:lnTo>
                      <a:pt x="74" y="210"/>
                    </a:lnTo>
                    <a:lnTo>
                      <a:pt x="74" y="212"/>
                    </a:lnTo>
                    <a:lnTo>
                      <a:pt x="74" y="214"/>
                    </a:lnTo>
                    <a:lnTo>
                      <a:pt x="74" y="215"/>
                    </a:lnTo>
                    <a:lnTo>
                      <a:pt x="74" y="217"/>
                    </a:lnTo>
                    <a:lnTo>
                      <a:pt x="76" y="217"/>
                    </a:lnTo>
                    <a:lnTo>
                      <a:pt x="76" y="218"/>
                    </a:lnTo>
                    <a:lnTo>
                      <a:pt x="76" y="220"/>
                    </a:lnTo>
                    <a:lnTo>
                      <a:pt x="76" y="221"/>
                    </a:lnTo>
                    <a:lnTo>
                      <a:pt x="76" y="223"/>
                    </a:lnTo>
                    <a:lnTo>
                      <a:pt x="74" y="223"/>
                    </a:lnTo>
                    <a:lnTo>
                      <a:pt x="74" y="221"/>
                    </a:lnTo>
                    <a:lnTo>
                      <a:pt x="74" y="220"/>
                    </a:lnTo>
                    <a:lnTo>
                      <a:pt x="74" y="218"/>
                    </a:lnTo>
                    <a:lnTo>
                      <a:pt x="73" y="218"/>
                    </a:lnTo>
                    <a:lnTo>
                      <a:pt x="73" y="217"/>
                    </a:lnTo>
                    <a:lnTo>
                      <a:pt x="73" y="215"/>
                    </a:lnTo>
                    <a:lnTo>
                      <a:pt x="71" y="215"/>
                    </a:lnTo>
                    <a:lnTo>
                      <a:pt x="71" y="214"/>
                    </a:lnTo>
                    <a:lnTo>
                      <a:pt x="71" y="212"/>
                    </a:lnTo>
                    <a:lnTo>
                      <a:pt x="71" y="210"/>
                    </a:lnTo>
                    <a:lnTo>
                      <a:pt x="70" y="210"/>
                    </a:lnTo>
                    <a:lnTo>
                      <a:pt x="70" y="209"/>
                    </a:lnTo>
                    <a:lnTo>
                      <a:pt x="68" y="209"/>
                    </a:lnTo>
                    <a:lnTo>
                      <a:pt x="66" y="209"/>
                    </a:lnTo>
                    <a:lnTo>
                      <a:pt x="66" y="207"/>
                    </a:lnTo>
                    <a:lnTo>
                      <a:pt x="65" y="207"/>
                    </a:lnTo>
                    <a:lnTo>
                      <a:pt x="65" y="206"/>
                    </a:lnTo>
                    <a:lnTo>
                      <a:pt x="65" y="204"/>
                    </a:lnTo>
                    <a:lnTo>
                      <a:pt x="66" y="204"/>
                    </a:lnTo>
                    <a:lnTo>
                      <a:pt x="66" y="202"/>
                    </a:lnTo>
                    <a:lnTo>
                      <a:pt x="66" y="201"/>
                    </a:lnTo>
                    <a:lnTo>
                      <a:pt x="65" y="201"/>
                    </a:lnTo>
                    <a:lnTo>
                      <a:pt x="65" y="199"/>
                    </a:lnTo>
                    <a:lnTo>
                      <a:pt x="63" y="199"/>
                    </a:lnTo>
                    <a:lnTo>
                      <a:pt x="63" y="198"/>
                    </a:lnTo>
                    <a:lnTo>
                      <a:pt x="63" y="196"/>
                    </a:lnTo>
                    <a:lnTo>
                      <a:pt x="63" y="198"/>
                    </a:lnTo>
                    <a:lnTo>
                      <a:pt x="62" y="198"/>
                    </a:lnTo>
                    <a:lnTo>
                      <a:pt x="62" y="196"/>
                    </a:lnTo>
                    <a:lnTo>
                      <a:pt x="60" y="196"/>
                    </a:lnTo>
                    <a:lnTo>
                      <a:pt x="60" y="195"/>
                    </a:lnTo>
                    <a:lnTo>
                      <a:pt x="60" y="193"/>
                    </a:lnTo>
                    <a:lnTo>
                      <a:pt x="60" y="191"/>
                    </a:lnTo>
                    <a:lnTo>
                      <a:pt x="59" y="191"/>
                    </a:lnTo>
                    <a:lnTo>
                      <a:pt x="59" y="190"/>
                    </a:lnTo>
                    <a:lnTo>
                      <a:pt x="57" y="190"/>
                    </a:lnTo>
                    <a:lnTo>
                      <a:pt x="55" y="190"/>
                    </a:lnTo>
                    <a:lnTo>
                      <a:pt x="54" y="190"/>
                    </a:lnTo>
                    <a:lnTo>
                      <a:pt x="54" y="188"/>
                    </a:lnTo>
                    <a:lnTo>
                      <a:pt x="52" y="188"/>
                    </a:lnTo>
                    <a:lnTo>
                      <a:pt x="52" y="187"/>
                    </a:lnTo>
                    <a:lnTo>
                      <a:pt x="52" y="185"/>
                    </a:lnTo>
                    <a:lnTo>
                      <a:pt x="52" y="183"/>
                    </a:lnTo>
                    <a:lnTo>
                      <a:pt x="51" y="183"/>
                    </a:lnTo>
                    <a:lnTo>
                      <a:pt x="51" y="182"/>
                    </a:lnTo>
                    <a:lnTo>
                      <a:pt x="51" y="180"/>
                    </a:lnTo>
                    <a:lnTo>
                      <a:pt x="51" y="179"/>
                    </a:lnTo>
                    <a:lnTo>
                      <a:pt x="49" y="179"/>
                    </a:lnTo>
                    <a:lnTo>
                      <a:pt x="49" y="177"/>
                    </a:lnTo>
                    <a:lnTo>
                      <a:pt x="49" y="176"/>
                    </a:lnTo>
                    <a:lnTo>
                      <a:pt x="49" y="174"/>
                    </a:lnTo>
                    <a:lnTo>
                      <a:pt x="47" y="174"/>
                    </a:lnTo>
                    <a:lnTo>
                      <a:pt x="47" y="172"/>
                    </a:lnTo>
                    <a:lnTo>
                      <a:pt x="46" y="172"/>
                    </a:lnTo>
                    <a:lnTo>
                      <a:pt x="44" y="172"/>
                    </a:lnTo>
                    <a:lnTo>
                      <a:pt x="44" y="171"/>
                    </a:lnTo>
                    <a:lnTo>
                      <a:pt x="43" y="171"/>
                    </a:lnTo>
                    <a:lnTo>
                      <a:pt x="43" y="169"/>
                    </a:lnTo>
                    <a:lnTo>
                      <a:pt x="41" y="169"/>
                    </a:lnTo>
                    <a:lnTo>
                      <a:pt x="41" y="168"/>
                    </a:lnTo>
                    <a:lnTo>
                      <a:pt x="40" y="168"/>
                    </a:lnTo>
                    <a:lnTo>
                      <a:pt x="40" y="169"/>
                    </a:lnTo>
                    <a:lnTo>
                      <a:pt x="38" y="169"/>
                    </a:lnTo>
                    <a:lnTo>
                      <a:pt x="38" y="171"/>
                    </a:lnTo>
                    <a:lnTo>
                      <a:pt x="38" y="172"/>
                    </a:lnTo>
                    <a:lnTo>
                      <a:pt x="40" y="172"/>
                    </a:lnTo>
                    <a:lnTo>
                      <a:pt x="40" y="174"/>
                    </a:lnTo>
                    <a:lnTo>
                      <a:pt x="40" y="176"/>
                    </a:lnTo>
                    <a:lnTo>
                      <a:pt x="40" y="177"/>
                    </a:lnTo>
                    <a:lnTo>
                      <a:pt x="40" y="179"/>
                    </a:lnTo>
                    <a:lnTo>
                      <a:pt x="41" y="179"/>
                    </a:lnTo>
                    <a:lnTo>
                      <a:pt x="40" y="179"/>
                    </a:lnTo>
                    <a:lnTo>
                      <a:pt x="38" y="179"/>
                    </a:lnTo>
                    <a:lnTo>
                      <a:pt x="40" y="179"/>
                    </a:lnTo>
                    <a:lnTo>
                      <a:pt x="38" y="179"/>
                    </a:lnTo>
                    <a:lnTo>
                      <a:pt x="38" y="177"/>
                    </a:lnTo>
                    <a:lnTo>
                      <a:pt x="38" y="176"/>
                    </a:lnTo>
                    <a:lnTo>
                      <a:pt x="36" y="176"/>
                    </a:lnTo>
                    <a:lnTo>
                      <a:pt x="36" y="174"/>
                    </a:lnTo>
                    <a:lnTo>
                      <a:pt x="35" y="174"/>
                    </a:lnTo>
                    <a:lnTo>
                      <a:pt x="33" y="174"/>
                    </a:lnTo>
                    <a:lnTo>
                      <a:pt x="33" y="172"/>
                    </a:lnTo>
                    <a:lnTo>
                      <a:pt x="32" y="172"/>
                    </a:lnTo>
                    <a:lnTo>
                      <a:pt x="32" y="174"/>
                    </a:lnTo>
                    <a:lnTo>
                      <a:pt x="32" y="176"/>
                    </a:lnTo>
                    <a:lnTo>
                      <a:pt x="32" y="177"/>
                    </a:lnTo>
                    <a:lnTo>
                      <a:pt x="33" y="177"/>
                    </a:lnTo>
                    <a:lnTo>
                      <a:pt x="33" y="179"/>
                    </a:lnTo>
                    <a:lnTo>
                      <a:pt x="33" y="180"/>
                    </a:lnTo>
                    <a:lnTo>
                      <a:pt x="33" y="182"/>
                    </a:lnTo>
                    <a:lnTo>
                      <a:pt x="35" y="182"/>
                    </a:lnTo>
                    <a:lnTo>
                      <a:pt x="35" y="183"/>
                    </a:lnTo>
                    <a:lnTo>
                      <a:pt x="36" y="183"/>
                    </a:lnTo>
                    <a:lnTo>
                      <a:pt x="36" y="185"/>
                    </a:lnTo>
                    <a:lnTo>
                      <a:pt x="36" y="187"/>
                    </a:lnTo>
                    <a:lnTo>
                      <a:pt x="36" y="188"/>
                    </a:lnTo>
                    <a:lnTo>
                      <a:pt x="38" y="188"/>
                    </a:lnTo>
                    <a:lnTo>
                      <a:pt x="36" y="188"/>
                    </a:lnTo>
                    <a:lnTo>
                      <a:pt x="36" y="190"/>
                    </a:lnTo>
                    <a:lnTo>
                      <a:pt x="38" y="190"/>
                    </a:lnTo>
                    <a:lnTo>
                      <a:pt x="36" y="190"/>
                    </a:lnTo>
                    <a:lnTo>
                      <a:pt x="38" y="190"/>
                    </a:lnTo>
                    <a:lnTo>
                      <a:pt x="38" y="191"/>
                    </a:lnTo>
                    <a:lnTo>
                      <a:pt x="36" y="191"/>
                    </a:lnTo>
                    <a:lnTo>
                      <a:pt x="38" y="191"/>
                    </a:lnTo>
                    <a:lnTo>
                      <a:pt x="38" y="193"/>
                    </a:lnTo>
                    <a:lnTo>
                      <a:pt x="38" y="195"/>
                    </a:lnTo>
                    <a:lnTo>
                      <a:pt x="36" y="195"/>
                    </a:lnTo>
                    <a:lnTo>
                      <a:pt x="36" y="193"/>
                    </a:lnTo>
                    <a:lnTo>
                      <a:pt x="35" y="193"/>
                    </a:lnTo>
                    <a:lnTo>
                      <a:pt x="33" y="193"/>
                    </a:lnTo>
                    <a:lnTo>
                      <a:pt x="32" y="193"/>
                    </a:lnTo>
                    <a:lnTo>
                      <a:pt x="30" y="193"/>
                    </a:lnTo>
                    <a:lnTo>
                      <a:pt x="28" y="193"/>
                    </a:lnTo>
                    <a:lnTo>
                      <a:pt x="28" y="191"/>
                    </a:lnTo>
                    <a:lnTo>
                      <a:pt x="27" y="191"/>
                    </a:lnTo>
                    <a:lnTo>
                      <a:pt x="27" y="190"/>
                    </a:lnTo>
                    <a:lnTo>
                      <a:pt x="25" y="190"/>
                    </a:lnTo>
                    <a:lnTo>
                      <a:pt x="25" y="188"/>
                    </a:lnTo>
                    <a:lnTo>
                      <a:pt x="25" y="187"/>
                    </a:lnTo>
                    <a:lnTo>
                      <a:pt x="24" y="187"/>
                    </a:lnTo>
                    <a:lnTo>
                      <a:pt x="25" y="187"/>
                    </a:lnTo>
                    <a:lnTo>
                      <a:pt x="24" y="187"/>
                    </a:lnTo>
                    <a:lnTo>
                      <a:pt x="24" y="185"/>
                    </a:lnTo>
                    <a:lnTo>
                      <a:pt x="24" y="183"/>
                    </a:lnTo>
                    <a:lnTo>
                      <a:pt x="22" y="183"/>
                    </a:lnTo>
                    <a:lnTo>
                      <a:pt x="22" y="182"/>
                    </a:lnTo>
                    <a:lnTo>
                      <a:pt x="22" y="180"/>
                    </a:lnTo>
                    <a:lnTo>
                      <a:pt x="21" y="180"/>
                    </a:lnTo>
                    <a:lnTo>
                      <a:pt x="21" y="179"/>
                    </a:lnTo>
                    <a:lnTo>
                      <a:pt x="21" y="180"/>
                    </a:lnTo>
                    <a:lnTo>
                      <a:pt x="21" y="179"/>
                    </a:lnTo>
                    <a:lnTo>
                      <a:pt x="19" y="179"/>
                    </a:lnTo>
                    <a:lnTo>
                      <a:pt x="19" y="177"/>
                    </a:lnTo>
                    <a:lnTo>
                      <a:pt x="17" y="177"/>
                    </a:lnTo>
                    <a:lnTo>
                      <a:pt x="17" y="176"/>
                    </a:lnTo>
                    <a:lnTo>
                      <a:pt x="16" y="176"/>
                    </a:lnTo>
                    <a:lnTo>
                      <a:pt x="16" y="174"/>
                    </a:lnTo>
                    <a:lnTo>
                      <a:pt x="14" y="174"/>
                    </a:lnTo>
                    <a:lnTo>
                      <a:pt x="14" y="172"/>
                    </a:lnTo>
                    <a:lnTo>
                      <a:pt x="13" y="172"/>
                    </a:lnTo>
                    <a:lnTo>
                      <a:pt x="11" y="172"/>
                    </a:lnTo>
                    <a:lnTo>
                      <a:pt x="9" y="172"/>
                    </a:lnTo>
                    <a:lnTo>
                      <a:pt x="9" y="171"/>
                    </a:lnTo>
                    <a:lnTo>
                      <a:pt x="9" y="169"/>
                    </a:lnTo>
                    <a:lnTo>
                      <a:pt x="9" y="168"/>
                    </a:lnTo>
                    <a:lnTo>
                      <a:pt x="9" y="166"/>
                    </a:lnTo>
                    <a:lnTo>
                      <a:pt x="8" y="166"/>
                    </a:lnTo>
                    <a:lnTo>
                      <a:pt x="8" y="164"/>
                    </a:lnTo>
                    <a:lnTo>
                      <a:pt x="6" y="164"/>
                    </a:lnTo>
                    <a:lnTo>
                      <a:pt x="6" y="163"/>
                    </a:lnTo>
                    <a:lnTo>
                      <a:pt x="5" y="163"/>
                    </a:lnTo>
                    <a:lnTo>
                      <a:pt x="5" y="161"/>
                    </a:lnTo>
                    <a:lnTo>
                      <a:pt x="5" y="160"/>
                    </a:lnTo>
                    <a:lnTo>
                      <a:pt x="6" y="160"/>
                    </a:lnTo>
                    <a:lnTo>
                      <a:pt x="6" y="158"/>
                    </a:lnTo>
                    <a:lnTo>
                      <a:pt x="6" y="157"/>
                    </a:lnTo>
                    <a:lnTo>
                      <a:pt x="5" y="157"/>
                    </a:lnTo>
                    <a:lnTo>
                      <a:pt x="6" y="157"/>
                    </a:lnTo>
                    <a:lnTo>
                      <a:pt x="6" y="155"/>
                    </a:lnTo>
                    <a:lnTo>
                      <a:pt x="8" y="155"/>
                    </a:lnTo>
                    <a:lnTo>
                      <a:pt x="8" y="153"/>
                    </a:lnTo>
                    <a:lnTo>
                      <a:pt x="8" y="152"/>
                    </a:lnTo>
                    <a:lnTo>
                      <a:pt x="8" y="150"/>
                    </a:lnTo>
                    <a:lnTo>
                      <a:pt x="6" y="150"/>
                    </a:lnTo>
                    <a:lnTo>
                      <a:pt x="6" y="149"/>
                    </a:lnTo>
                    <a:lnTo>
                      <a:pt x="5" y="149"/>
                    </a:lnTo>
                    <a:lnTo>
                      <a:pt x="5" y="147"/>
                    </a:lnTo>
                    <a:lnTo>
                      <a:pt x="3" y="147"/>
                    </a:lnTo>
                    <a:lnTo>
                      <a:pt x="3" y="145"/>
                    </a:lnTo>
                    <a:lnTo>
                      <a:pt x="2" y="145"/>
                    </a:lnTo>
                    <a:lnTo>
                      <a:pt x="2" y="144"/>
                    </a:lnTo>
                    <a:lnTo>
                      <a:pt x="2" y="142"/>
                    </a:lnTo>
                    <a:lnTo>
                      <a:pt x="0" y="142"/>
                    </a:lnTo>
                    <a:lnTo>
                      <a:pt x="2" y="142"/>
                    </a:lnTo>
                    <a:lnTo>
                      <a:pt x="2" y="141"/>
                    </a:lnTo>
                    <a:lnTo>
                      <a:pt x="3" y="141"/>
                    </a:lnTo>
                    <a:lnTo>
                      <a:pt x="3" y="139"/>
                    </a:lnTo>
                    <a:lnTo>
                      <a:pt x="5" y="139"/>
                    </a:lnTo>
                    <a:lnTo>
                      <a:pt x="5" y="141"/>
                    </a:lnTo>
                    <a:lnTo>
                      <a:pt x="6" y="141"/>
                    </a:lnTo>
                    <a:lnTo>
                      <a:pt x="6" y="139"/>
                    </a:lnTo>
                    <a:lnTo>
                      <a:pt x="5" y="139"/>
                    </a:lnTo>
                    <a:lnTo>
                      <a:pt x="5" y="138"/>
                    </a:lnTo>
                    <a:lnTo>
                      <a:pt x="6" y="138"/>
                    </a:lnTo>
                    <a:lnTo>
                      <a:pt x="6" y="136"/>
                    </a:lnTo>
                    <a:lnTo>
                      <a:pt x="8" y="136"/>
                    </a:lnTo>
                    <a:lnTo>
                      <a:pt x="8" y="134"/>
                    </a:lnTo>
                    <a:lnTo>
                      <a:pt x="9" y="134"/>
                    </a:lnTo>
                    <a:lnTo>
                      <a:pt x="9" y="133"/>
                    </a:lnTo>
                    <a:lnTo>
                      <a:pt x="9" y="134"/>
                    </a:lnTo>
                    <a:lnTo>
                      <a:pt x="9" y="133"/>
                    </a:lnTo>
                    <a:lnTo>
                      <a:pt x="9" y="131"/>
                    </a:lnTo>
                    <a:lnTo>
                      <a:pt x="9" y="130"/>
                    </a:lnTo>
                    <a:lnTo>
                      <a:pt x="9" y="128"/>
                    </a:lnTo>
                    <a:lnTo>
                      <a:pt x="8" y="128"/>
                    </a:lnTo>
                    <a:lnTo>
                      <a:pt x="9" y="128"/>
                    </a:lnTo>
                    <a:lnTo>
                      <a:pt x="9" y="126"/>
                    </a:lnTo>
                    <a:lnTo>
                      <a:pt x="9" y="125"/>
                    </a:lnTo>
                    <a:lnTo>
                      <a:pt x="9" y="123"/>
                    </a:lnTo>
                    <a:lnTo>
                      <a:pt x="9" y="122"/>
                    </a:lnTo>
                    <a:lnTo>
                      <a:pt x="9" y="120"/>
                    </a:lnTo>
                    <a:lnTo>
                      <a:pt x="9" y="119"/>
                    </a:lnTo>
                    <a:lnTo>
                      <a:pt x="9" y="117"/>
                    </a:lnTo>
                    <a:lnTo>
                      <a:pt x="9" y="115"/>
                    </a:lnTo>
                    <a:lnTo>
                      <a:pt x="9" y="114"/>
                    </a:lnTo>
                    <a:lnTo>
                      <a:pt x="8" y="114"/>
                    </a:lnTo>
                    <a:lnTo>
                      <a:pt x="8" y="112"/>
                    </a:lnTo>
                    <a:lnTo>
                      <a:pt x="8" y="111"/>
                    </a:lnTo>
                    <a:lnTo>
                      <a:pt x="6" y="111"/>
                    </a:lnTo>
                    <a:lnTo>
                      <a:pt x="6" y="109"/>
                    </a:lnTo>
                    <a:lnTo>
                      <a:pt x="6" y="107"/>
                    </a:lnTo>
                    <a:lnTo>
                      <a:pt x="6" y="106"/>
                    </a:lnTo>
                    <a:lnTo>
                      <a:pt x="6" y="104"/>
                    </a:lnTo>
                    <a:lnTo>
                      <a:pt x="6" y="103"/>
                    </a:lnTo>
                    <a:lnTo>
                      <a:pt x="6" y="101"/>
                    </a:lnTo>
                    <a:lnTo>
                      <a:pt x="5" y="101"/>
                    </a:lnTo>
                    <a:lnTo>
                      <a:pt x="5" y="100"/>
                    </a:lnTo>
                    <a:lnTo>
                      <a:pt x="5" y="98"/>
                    </a:lnTo>
                    <a:lnTo>
                      <a:pt x="3" y="98"/>
                    </a:lnTo>
                    <a:lnTo>
                      <a:pt x="3" y="96"/>
                    </a:lnTo>
                    <a:lnTo>
                      <a:pt x="3" y="95"/>
                    </a:lnTo>
                    <a:lnTo>
                      <a:pt x="3" y="93"/>
                    </a:lnTo>
                    <a:lnTo>
                      <a:pt x="2" y="93"/>
                    </a:lnTo>
                    <a:lnTo>
                      <a:pt x="2" y="92"/>
                    </a:lnTo>
                    <a:lnTo>
                      <a:pt x="2" y="90"/>
                    </a:lnTo>
                    <a:lnTo>
                      <a:pt x="2" y="88"/>
                    </a:lnTo>
                    <a:lnTo>
                      <a:pt x="0" y="88"/>
                    </a:lnTo>
                    <a:lnTo>
                      <a:pt x="0" y="87"/>
                    </a:lnTo>
                    <a:lnTo>
                      <a:pt x="0" y="85"/>
                    </a:lnTo>
                    <a:lnTo>
                      <a:pt x="0" y="84"/>
                    </a:lnTo>
                    <a:lnTo>
                      <a:pt x="0" y="82"/>
                    </a:lnTo>
                    <a:lnTo>
                      <a:pt x="0" y="80"/>
                    </a:lnTo>
                    <a:lnTo>
                      <a:pt x="0" y="77"/>
                    </a:lnTo>
                    <a:lnTo>
                      <a:pt x="0" y="76"/>
                    </a:lnTo>
                    <a:lnTo>
                      <a:pt x="0" y="74"/>
                    </a:lnTo>
                    <a:lnTo>
                      <a:pt x="0" y="73"/>
                    </a:lnTo>
                    <a:lnTo>
                      <a:pt x="0" y="71"/>
                    </a:lnTo>
                    <a:lnTo>
                      <a:pt x="0" y="69"/>
                    </a:lnTo>
                    <a:lnTo>
                      <a:pt x="2" y="69"/>
                    </a:lnTo>
                    <a:lnTo>
                      <a:pt x="2" y="68"/>
                    </a:lnTo>
                    <a:lnTo>
                      <a:pt x="2" y="66"/>
                    </a:lnTo>
                    <a:lnTo>
                      <a:pt x="2" y="65"/>
                    </a:lnTo>
                    <a:lnTo>
                      <a:pt x="0" y="65"/>
                    </a:lnTo>
                    <a:lnTo>
                      <a:pt x="0" y="63"/>
                    </a:lnTo>
                    <a:lnTo>
                      <a:pt x="0" y="61"/>
                    </a:lnTo>
                    <a:lnTo>
                      <a:pt x="0" y="60"/>
                    </a:lnTo>
                    <a:lnTo>
                      <a:pt x="0" y="58"/>
                    </a:lnTo>
                    <a:lnTo>
                      <a:pt x="2" y="58"/>
                    </a:lnTo>
                    <a:lnTo>
                      <a:pt x="2" y="57"/>
                    </a:lnTo>
                    <a:lnTo>
                      <a:pt x="3" y="57"/>
                    </a:lnTo>
                    <a:lnTo>
                      <a:pt x="3" y="55"/>
                    </a:lnTo>
                    <a:lnTo>
                      <a:pt x="5" y="55"/>
                    </a:lnTo>
                    <a:lnTo>
                      <a:pt x="5" y="57"/>
                    </a:lnTo>
                    <a:lnTo>
                      <a:pt x="5" y="55"/>
                    </a:lnTo>
                    <a:lnTo>
                      <a:pt x="6" y="55"/>
                    </a:lnTo>
                    <a:lnTo>
                      <a:pt x="6" y="57"/>
                    </a:lnTo>
                    <a:lnTo>
                      <a:pt x="6" y="58"/>
                    </a:lnTo>
                    <a:lnTo>
                      <a:pt x="6" y="60"/>
                    </a:lnTo>
                    <a:lnTo>
                      <a:pt x="5" y="60"/>
                    </a:lnTo>
                    <a:lnTo>
                      <a:pt x="5" y="61"/>
                    </a:lnTo>
                    <a:lnTo>
                      <a:pt x="6" y="61"/>
                    </a:lnTo>
                    <a:lnTo>
                      <a:pt x="6" y="63"/>
                    </a:lnTo>
                    <a:lnTo>
                      <a:pt x="6" y="65"/>
                    </a:lnTo>
                    <a:lnTo>
                      <a:pt x="6" y="66"/>
                    </a:lnTo>
                    <a:lnTo>
                      <a:pt x="6" y="68"/>
                    </a:lnTo>
                    <a:lnTo>
                      <a:pt x="8" y="68"/>
                    </a:lnTo>
                    <a:lnTo>
                      <a:pt x="8" y="69"/>
                    </a:lnTo>
                    <a:lnTo>
                      <a:pt x="9" y="69"/>
                    </a:lnTo>
                    <a:lnTo>
                      <a:pt x="9" y="68"/>
                    </a:lnTo>
                    <a:lnTo>
                      <a:pt x="8" y="68"/>
                    </a:lnTo>
                    <a:lnTo>
                      <a:pt x="8" y="66"/>
                    </a:lnTo>
                    <a:lnTo>
                      <a:pt x="8" y="65"/>
                    </a:lnTo>
                    <a:lnTo>
                      <a:pt x="8" y="63"/>
                    </a:lnTo>
                    <a:lnTo>
                      <a:pt x="9" y="63"/>
                    </a:lnTo>
                    <a:lnTo>
                      <a:pt x="9" y="61"/>
                    </a:lnTo>
                    <a:lnTo>
                      <a:pt x="9" y="60"/>
                    </a:lnTo>
                    <a:lnTo>
                      <a:pt x="11" y="60"/>
                    </a:lnTo>
                    <a:lnTo>
                      <a:pt x="13" y="60"/>
                    </a:lnTo>
                    <a:lnTo>
                      <a:pt x="13" y="58"/>
                    </a:lnTo>
                    <a:lnTo>
                      <a:pt x="13" y="57"/>
                    </a:lnTo>
                    <a:lnTo>
                      <a:pt x="13" y="55"/>
                    </a:lnTo>
                    <a:lnTo>
                      <a:pt x="13" y="54"/>
                    </a:lnTo>
                    <a:lnTo>
                      <a:pt x="14" y="54"/>
                    </a:lnTo>
                    <a:lnTo>
                      <a:pt x="14" y="52"/>
                    </a:lnTo>
                    <a:lnTo>
                      <a:pt x="16" y="52"/>
                    </a:lnTo>
                    <a:lnTo>
                      <a:pt x="16" y="50"/>
                    </a:lnTo>
                    <a:lnTo>
                      <a:pt x="17" y="50"/>
                    </a:lnTo>
                    <a:lnTo>
                      <a:pt x="19" y="50"/>
                    </a:lnTo>
                    <a:lnTo>
                      <a:pt x="21" y="50"/>
                    </a:lnTo>
                    <a:lnTo>
                      <a:pt x="21" y="49"/>
                    </a:lnTo>
                    <a:lnTo>
                      <a:pt x="22" y="49"/>
                    </a:lnTo>
                    <a:lnTo>
                      <a:pt x="24" y="49"/>
                    </a:lnTo>
                    <a:lnTo>
                      <a:pt x="24" y="47"/>
                    </a:lnTo>
                    <a:lnTo>
                      <a:pt x="25" y="47"/>
                    </a:lnTo>
                    <a:lnTo>
                      <a:pt x="27" y="47"/>
                    </a:lnTo>
                    <a:lnTo>
                      <a:pt x="28" y="47"/>
                    </a:lnTo>
                    <a:lnTo>
                      <a:pt x="28" y="46"/>
                    </a:lnTo>
                    <a:lnTo>
                      <a:pt x="30" y="46"/>
                    </a:lnTo>
                    <a:lnTo>
                      <a:pt x="30" y="44"/>
                    </a:lnTo>
                    <a:lnTo>
                      <a:pt x="30" y="42"/>
                    </a:lnTo>
                    <a:lnTo>
                      <a:pt x="30" y="41"/>
                    </a:lnTo>
                    <a:lnTo>
                      <a:pt x="32" y="41"/>
                    </a:lnTo>
                    <a:lnTo>
                      <a:pt x="32" y="39"/>
                    </a:lnTo>
                    <a:lnTo>
                      <a:pt x="32" y="38"/>
                    </a:lnTo>
                    <a:lnTo>
                      <a:pt x="32" y="36"/>
                    </a:lnTo>
                    <a:lnTo>
                      <a:pt x="32" y="35"/>
                    </a:lnTo>
                    <a:lnTo>
                      <a:pt x="33" y="35"/>
                    </a:lnTo>
                    <a:lnTo>
                      <a:pt x="33" y="33"/>
                    </a:lnTo>
                    <a:lnTo>
                      <a:pt x="33" y="35"/>
                    </a:lnTo>
                    <a:lnTo>
                      <a:pt x="33" y="33"/>
                    </a:lnTo>
                    <a:lnTo>
                      <a:pt x="33" y="31"/>
                    </a:lnTo>
                    <a:lnTo>
                      <a:pt x="35" y="31"/>
                    </a:lnTo>
                    <a:lnTo>
                      <a:pt x="35" y="30"/>
                    </a:lnTo>
                    <a:lnTo>
                      <a:pt x="33" y="30"/>
                    </a:lnTo>
                    <a:lnTo>
                      <a:pt x="33" y="31"/>
                    </a:lnTo>
                    <a:lnTo>
                      <a:pt x="33" y="30"/>
                    </a:lnTo>
                    <a:lnTo>
                      <a:pt x="35" y="30"/>
                    </a:lnTo>
                    <a:lnTo>
                      <a:pt x="35" y="28"/>
                    </a:lnTo>
                    <a:lnTo>
                      <a:pt x="35" y="27"/>
                    </a:lnTo>
                    <a:lnTo>
                      <a:pt x="35" y="25"/>
                    </a:lnTo>
                    <a:lnTo>
                      <a:pt x="35" y="23"/>
                    </a:lnTo>
                    <a:lnTo>
                      <a:pt x="36" y="23"/>
                    </a:lnTo>
                    <a:lnTo>
                      <a:pt x="36" y="22"/>
                    </a:lnTo>
                    <a:lnTo>
                      <a:pt x="36" y="20"/>
                    </a:lnTo>
                    <a:lnTo>
                      <a:pt x="36" y="19"/>
                    </a:lnTo>
                    <a:lnTo>
                      <a:pt x="35" y="19"/>
                    </a:lnTo>
                    <a:lnTo>
                      <a:pt x="35" y="17"/>
                    </a:lnTo>
                    <a:lnTo>
                      <a:pt x="35" y="16"/>
                    </a:lnTo>
                    <a:lnTo>
                      <a:pt x="35" y="14"/>
                    </a:lnTo>
                    <a:lnTo>
                      <a:pt x="35" y="12"/>
                    </a:lnTo>
                    <a:lnTo>
                      <a:pt x="35" y="11"/>
                    </a:lnTo>
                    <a:lnTo>
                      <a:pt x="33" y="11"/>
                    </a:lnTo>
                    <a:lnTo>
                      <a:pt x="33" y="9"/>
                    </a:lnTo>
                    <a:lnTo>
                      <a:pt x="35" y="9"/>
                    </a:lnTo>
                    <a:lnTo>
                      <a:pt x="35" y="8"/>
                    </a:lnTo>
                    <a:lnTo>
                      <a:pt x="35" y="6"/>
                    </a:lnTo>
                    <a:lnTo>
                      <a:pt x="35" y="4"/>
                    </a:lnTo>
                    <a:lnTo>
                      <a:pt x="35" y="3"/>
                    </a:lnTo>
                    <a:lnTo>
                      <a:pt x="35" y="1"/>
                    </a:lnTo>
                    <a:lnTo>
                      <a:pt x="35" y="0"/>
                    </a:lnTo>
                    <a:lnTo>
                      <a:pt x="36" y="0"/>
                    </a:lnTo>
                    <a:lnTo>
                      <a:pt x="38" y="0"/>
                    </a:lnTo>
                    <a:lnTo>
                      <a:pt x="40" y="0"/>
                    </a:lnTo>
                    <a:lnTo>
                      <a:pt x="41" y="0"/>
                    </a:lnTo>
                    <a:lnTo>
                      <a:pt x="41" y="1"/>
                    </a:lnTo>
                    <a:lnTo>
                      <a:pt x="43" y="1"/>
                    </a:lnTo>
                    <a:lnTo>
                      <a:pt x="43" y="3"/>
                    </a:lnTo>
                    <a:lnTo>
                      <a:pt x="43" y="4"/>
                    </a:lnTo>
                    <a:lnTo>
                      <a:pt x="44" y="4"/>
                    </a:lnTo>
                    <a:lnTo>
                      <a:pt x="44" y="6"/>
                    </a:lnTo>
                    <a:lnTo>
                      <a:pt x="46" y="6"/>
                    </a:lnTo>
                    <a:lnTo>
                      <a:pt x="46" y="8"/>
                    </a:lnTo>
                    <a:lnTo>
                      <a:pt x="47" y="8"/>
                    </a:lnTo>
                    <a:lnTo>
                      <a:pt x="47" y="9"/>
                    </a:lnTo>
                    <a:lnTo>
                      <a:pt x="47" y="11"/>
                    </a:lnTo>
                    <a:lnTo>
                      <a:pt x="49" y="11"/>
                    </a:lnTo>
                    <a:lnTo>
                      <a:pt x="49" y="12"/>
                    </a:lnTo>
                    <a:lnTo>
                      <a:pt x="51" y="12"/>
                    </a:lnTo>
                    <a:lnTo>
                      <a:pt x="51" y="14"/>
                    </a:lnTo>
                    <a:lnTo>
                      <a:pt x="52" y="14"/>
                    </a:lnTo>
                    <a:lnTo>
                      <a:pt x="52" y="16"/>
                    </a:lnTo>
                    <a:lnTo>
                      <a:pt x="52" y="17"/>
                    </a:lnTo>
                    <a:lnTo>
                      <a:pt x="54" y="17"/>
                    </a:lnTo>
                    <a:lnTo>
                      <a:pt x="54" y="19"/>
                    </a:lnTo>
                    <a:lnTo>
                      <a:pt x="54" y="20"/>
                    </a:lnTo>
                    <a:lnTo>
                      <a:pt x="55" y="20"/>
                    </a:lnTo>
                    <a:lnTo>
                      <a:pt x="54" y="20"/>
                    </a:lnTo>
                    <a:lnTo>
                      <a:pt x="55" y="20"/>
                    </a:lnTo>
                    <a:lnTo>
                      <a:pt x="55" y="22"/>
                    </a:lnTo>
                    <a:lnTo>
                      <a:pt x="55" y="23"/>
                    </a:lnTo>
                    <a:lnTo>
                      <a:pt x="57" y="23"/>
                    </a:lnTo>
                    <a:lnTo>
                      <a:pt x="57" y="25"/>
                    </a:lnTo>
                    <a:lnTo>
                      <a:pt x="55" y="25"/>
                    </a:lnTo>
                    <a:lnTo>
                      <a:pt x="57" y="25"/>
                    </a:lnTo>
                    <a:lnTo>
                      <a:pt x="57" y="27"/>
                    </a:lnTo>
                    <a:lnTo>
                      <a:pt x="57" y="28"/>
                    </a:lnTo>
                    <a:lnTo>
                      <a:pt x="57" y="30"/>
                    </a:lnTo>
                    <a:lnTo>
                      <a:pt x="57" y="31"/>
                    </a:lnTo>
                    <a:lnTo>
                      <a:pt x="57" y="33"/>
                    </a:lnTo>
                    <a:lnTo>
                      <a:pt x="57" y="35"/>
                    </a:lnTo>
                    <a:lnTo>
                      <a:pt x="57" y="36"/>
                    </a:lnTo>
                    <a:lnTo>
                      <a:pt x="57" y="38"/>
                    </a:lnTo>
                    <a:lnTo>
                      <a:pt x="57" y="39"/>
                    </a:lnTo>
                    <a:lnTo>
                      <a:pt x="57" y="41"/>
                    </a:lnTo>
                    <a:lnTo>
                      <a:pt x="55" y="41"/>
                    </a:lnTo>
                    <a:lnTo>
                      <a:pt x="55" y="42"/>
                    </a:lnTo>
                    <a:lnTo>
                      <a:pt x="55" y="44"/>
                    </a:lnTo>
                    <a:lnTo>
                      <a:pt x="55" y="46"/>
                    </a:lnTo>
                    <a:lnTo>
                      <a:pt x="55" y="47"/>
                    </a:lnTo>
                    <a:lnTo>
                      <a:pt x="55" y="49"/>
                    </a:lnTo>
                    <a:lnTo>
                      <a:pt x="55" y="52"/>
                    </a:lnTo>
                    <a:lnTo>
                      <a:pt x="55" y="54"/>
                    </a:lnTo>
                    <a:lnTo>
                      <a:pt x="55" y="55"/>
                    </a:lnTo>
                    <a:lnTo>
                      <a:pt x="55" y="57"/>
                    </a:lnTo>
                    <a:lnTo>
                      <a:pt x="55" y="58"/>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23" name="Freeform 203"/>
              <p:cNvSpPr>
                <a:spLocks/>
              </p:cNvSpPr>
              <p:nvPr/>
            </p:nvSpPr>
            <p:spPr bwMode="auto">
              <a:xfrm>
                <a:off x="5081" y="2086"/>
                <a:ext cx="12" cy="35"/>
              </a:xfrm>
              <a:custGeom>
                <a:avLst/>
                <a:gdLst>
                  <a:gd name="T0" fmla="*/ 0 w 12"/>
                  <a:gd name="T1" fmla="*/ 24 h 35"/>
                  <a:gd name="T2" fmla="*/ 2 w 12"/>
                  <a:gd name="T3" fmla="*/ 22 h 35"/>
                  <a:gd name="T4" fmla="*/ 0 w 12"/>
                  <a:gd name="T5" fmla="*/ 21 h 35"/>
                  <a:gd name="T6" fmla="*/ 2 w 12"/>
                  <a:gd name="T7" fmla="*/ 19 h 35"/>
                  <a:gd name="T8" fmla="*/ 2 w 12"/>
                  <a:gd name="T9" fmla="*/ 16 h 35"/>
                  <a:gd name="T10" fmla="*/ 2 w 12"/>
                  <a:gd name="T11" fmla="*/ 13 h 35"/>
                  <a:gd name="T12" fmla="*/ 2 w 12"/>
                  <a:gd name="T13" fmla="*/ 10 h 35"/>
                  <a:gd name="T14" fmla="*/ 2 w 12"/>
                  <a:gd name="T15" fmla="*/ 7 h 35"/>
                  <a:gd name="T16" fmla="*/ 2 w 12"/>
                  <a:gd name="T17" fmla="*/ 3 h 35"/>
                  <a:gd name="T18" fmla="*/ 2 w 12"/>
                  <a:gd name="T19" fmla="*/ 0 h 35"/>
                  <a:gd name="T20" fmla="*/ 4 w 12"/>
                  <a:gd name="T21" fmla="*/ 2 h 35"/>
                  <a:gd name="T22" fmla="*/ 4 w 12"/>
                  <a:gd name="T23" fmla="*/ 5 h 35"/>
                  <a:gd name="T24" fmla="*/ 5 w 12"/>
                  <a:gd name="T25" fmla="*/ 7 h 35"/>
                  <a:gd name="T26" fmla="*/ 5 w 12"/>
                  <a:gd name="T27" fmla="*/ 10 h 35"/>
                  <a:gd name="T28" fmla="*/ 5 w 12"/>
                  <a:gd name="T29" fmla="*/ 13 h 35"/>
                  <a:gd name="T30" fmla="*/ 5 w 12"/>
                  <a:gd name="T31" fmla="*/ 16 h 35"/>
                  <a:gd name="T32" fmla="*/ 7 w 12"/>
                  <a:gd name="T33" fmla="*/ 18 h 35"/>
                  <a:gd name="T34" fmla="*/ 8 w 12"/>
                  <a:gd name="T35" fmla="*/ 16 h 35"/>
                  <a:gd name="T36" fmla="*/ 10 w 12"/>
                  <a:gd name="T37" fmla="*/ 14 h 35"/>
                  <a:gd name="T38" fmla="*/ 10 w 12"/>
                  <a:gd name="T39" fmla="*/ 14 h 35"/>
                  <a:gd name="T40" fmla="*/ 10 w 12"/>
                  <a:gd name="T41" fmla="*/ 14 h 35"/>
                  <a:gd name="T42" fmla="*/ 10 w 12"/>
                  <a:gd name="T43" fmla="*/ 18 h 35"/>
                  <a:gd name="T44" fmla="*/ 10 w 12"/>
                  <a:gd name="T45" fmla="*/ 21 h 35"/>
                  <a:gd name="T46" fmla="*/ 10 w 12"/>
                  <a:gd name="T47" fmla="*/ 21 h 35"/>
                  <a:gd name="T48" fmla="*/ 10 w 12"/>
                  <a:gd name="T49" fmla="*/ 21 h 35"/>
                  <a:gd name="T50" fmla="*/ 8 w 12"/>
                  <a:gd name="T51" fmla="*/ 22 h 35"/>
                  <a:gd name="T52" fmla="*/ 7 w 12"/>
                  <a:gd name="T53" fmla="*/ 21 h 35"/>
                  <a:gd name="T54" fmla="*/ 7 w 12"/>
                  <a:gd name="T55" fmla="*/ 24 h 35"/>
                  <a:gd name="T56" fmla="*/ 7 w 12"/>
                  <a:gd name="T57" fmla="*/ 27 h 35"/>
                  <a:gd name="T58" fmla="*/ 8 w 12"/>
                  <a:gd name="T59" fmla="*/ 29 h 35"/>
                  <a:gd name="T60" fmla="*/ 8 w 12"/>
                  <a:gd name="T61" fmla="*/ 32 h 35"/>
                  <a:gd name="T62" fmla="*/ 7 w 12"/>
                  <a:gd name="T63" fmla="*/ 33 h 35"/>
                  <a:gd name="T64" fmla="*/ 5 w 12"/>
                  <a:gd name="T65" fmla="*/ 35 h 35"/>
                  <a:gd name="T66" fmla="*/ 2 w 12"/>
                  <a:gd name="T67" fmla="*/ 35 h 35"/>
                  <a:gd name="T68" fmla="*/ 0 w 12"/>
                  <a:gd name="T69" fmla="*/ 33 h 35"/>
                  <a:gd name="T70" fmla="*/ 0 w 12"/>
                  <a:gd name="T71" fmla="*/ 30 h 35"/>
                  <a:gd name="T72" fmla="*/ 0 w 12"/>
                  <a:gd name="T73"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 h="35">
                    <a:moveTo>
                      <a:pt x="0" y="26"/>
                    </a:moveTo>
                    <a:lnTo>
                      <a:pt x="0" y="24"/>
                    </a:lnTo>
                    <a:lnTo>
                      <a:pt x="0" y="22"/>
                    </a:lnTo>
                    <a:lnTo>
                      <a:pt x="2" y="22"/>
                    </a:lnTo>
                    <a:lnTo>
                      <a:pt x="0" y="22"/>
                    </a:lnTo>
                    <a:lnTo>
                      <a:pt x="0" y="21"/>
                    </a:lnTo>
                    <a:lnTo>
                      <a:pt x="2" y="21"/>
                    </a:lnTo>
                    <a:lnTo>
                      <a:pt x="2" y="19"/>
                    </a:lnTo>
                    <a:lnTo>
                      <a:pt x="2" y="18"/>
                    </a:lnTo>
                    <a:lnTo>
                      <a:pt x="2" y="16"/>
                    </a:lnTo>
                    <a:lnTo>
                      <a:pt x="2" y="14"/>
                    </a:lnTo>
                    <a:lnTo>
                      <a:pt x="2" y="13"/>
                    </a:lnTo>
                    <a:lnTo>
                      <a:pt x="2" y="11"/>
                    </a:lnTo>
                    <a:lnTo>
                      <a:pt x="2" y="10"/>
                    </a:lnTo>
                    <a:lnTo>
                      <a:pt x="2" y="8"/>
                    </a:lnTo>
                    <a:lnTo>
                      <a:pt x="2" y="7"/>
                    </a:lnTo>
                    <a:lnTo>
                      <a:pt x="2" y="5"/>
                    </a:lnTo>
                    <a:lnTo>
                      <a:pt x="2" y="3"/>
                    </a:lnTo>
                    <a:lnTo>
                      <a:pt x="2" y="2"/>
                    </a:lnTo>
                    <a:lnTo>
                      <a:pt x="2" y="0"/>
                    </a:lnTo>
                    <a:lnTo>
                      <a:pt x="4" y="0"/>
                    </a:lnTo>
                    <a:lnTo>
                      <a:pt x="4" y="2"/>
                    </a:lnTo>
                    <a:lnTo>
                      <a:pt x="4" y="3"/>
                    </a:lnTo>
                    <a:lnTo>
                      <a:pt x="4" y="5"/>
                    </a:lnTo>
                    <a:lnTo>
                      <a:pt x="5" y="5"/>
                    </a:lnTo>
                    <a:lnTo>
                      <a:pt x="5" y="7"/>
                    </a:lnTo>
                    <a:lnTo>
                      <a:pt x="5" y="8"/>
                    </a:lnTo>
                    <a:lnTo>
                      <a:pt x="5" y="10"/>
                    </a:lnTo>
                    <a:lnTo>
                      <a:pt x="5" y="11"/>
                    </a:lnTo>
                    <a:lnTo>
                      <a:pt x="5" y="13"/>
                    </a:lnTo>
                    <a:lnTo>
                      <a:pt x="5" y="14"/>
                    </a:lnTo>
                    <a:lnTo>
                      <a:pt x="5" y="16"/>
                    </a:lnTo>
                    <a:lnTo>
                      <a:pt x="7" y="16"/>
                    </a:lnTo>
                    <a:lnTo>
                      <a:pt x="7" y="18"/>
                    </a:lnTo>
                    <a:lnTo>
                      <a:pt x="8" y="18"/>
                    </a:lnTo>
                    <a:lnTo>
                      <a:pt x="8" y="16"/>
                    </a:lnTo>
                    <a:lnTo>
                      <a:pt x="10" y="16"/>
                    </a:lnTo>
                    <a:lnTo>
                      <a:pt x="10" y="14"/>
                    </a:lnTo>
                    <a:lnTo>
                      <a:pt x="10" y="13"/>
                    </a:lnTo>
                    <a:lnTo>
                      <a:pt x="10" y="14"/>
                    </a:lnTo>
                    <a:lnTo>
                      <a:pt x="12" y="14"/>
                    </a:lnTo>
                    <a:lnTo>
                      <a:pt x="10" y="14"/>
                    </a:lnTo>
                    <a:lnTo>
                      <a:pt x="10" y="16"/>
                    </a:lnTo>
                    <a:lnTo>
                      <a:pt x="10" y="18"/>
                    </a:lnTo>
                    <a:lnTo>
                      <a:pt x="10" y="19"/>
                    </a:lnTo>
                    <a:lnTo>
                      <a:pt x="10" y="21"/>
                    </a:lnTo>
                    <a:lnTo>
                      <a:pt x="8" y="21"/>
                    </a:lnTo>
                    <a:lnTo>
                      <a:pt x="10" y="21"/>
                    </a:lnTo>
                    <a:lnTo>
                      <a:pt x="8" y="21"/>
                    </a:lnTo>
                    <a:lnTo>
                      <a:pt x="10" y="21"/>
                    </a:lnTo>
                    <a:lnTo>
                      <a:pt x="8" y="21"/>
                    </a:lnTo>
                    <a:lnTo>
                      <a:pt x="8" y="22"/>
                    </a:lnTo>
                    <a:lnTo>
                      <a:pt x="7" y="22"/>
                    </a:lnTo>
                    <a:lnTo>
                      <a:pt x="7" y="21"/>
                    </a:lnTo>
                    <a:lnTo>
                      <a:pt x="7" y="22"/>
                    </a:lnTo>
                    <a:lnTo>
                      <a:pt x="7" y="24"/>
                    </a:lnTo>
                    <a:lnTo>
                      <a:pt x="7" y="26"/>
                    </a:lnTo>
                    <a:lnTo>
                      <a:pt x="7" y="27"/>
                    </a:lnTo>
                    <a:lnTo>
                      <a:pt x="8" y="27"/>
                    </a:lnTo>
                    <a:lnTo>
                      <a:pt x="8" y="29"/>
                    </a:lnTo>
                    <a:lnTo>
                      <a:pt x="8" y="30"/>
                    </a:lnTo>
                    <a:lnTo>
                      <a:pt x="8" y="32"/>
                    </a:lnTo>
                    <a:lnTo>
                      <a:pt x="8" y="33"/>
                    </a:lnTo>
                    <a:lnTo>
                      <a:pt x="7" y="33"/>
                    </a:lnTo>
                    <a:lnTo>
                      <a:pt x="7" y="35"/>
                    </a:lnTo>
                    <a:lnTo>
                      <a:pt x="5" y="35"/>
                    </a:lnTo>
                    <a:lnTo>
                      <a:pt x="4" y="35"/>
                    </a:lnTo>
                    <a:lnTo>
                      <a:pt x="2" y="35"/>
                    </a:lnTo>
                    <a:lnTo>
                      <a:pt x="0" y="35"/>
                    </a:lnTo>
                    <a:lnTo>
                      <a:pt x="0" y="33"/>
                    </a:lnTo>
                    <a:lnTo>
                      <a:pt x="0" y="32"/>
                    </a:lnTo>
                    <a:lnTo>
                      <a:pt x="0" y="30"/>
                    </a:lnTo>
                    <a:lnTo>
                      <a:pt x="0" y="29"/>
                    </a:lnTo>
                    <a:lnTo>
                      <a:pt x="0" y="27"/>
                    </a:lnTo>
                    <a:lnTo>
                      <a:pt x="0" y="26"/>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24" name="Freeform 204"/>
              <p:cNvSpPr>
                <a:spLocks/>
              </p:cNvSpPr>
              <p:nvPr/>
            </p:nvSpPr>
            <p:spPr bwMode="auto">
              <a:xfrm>
                <a:off x="5104" y="2089"/>
                <a:ext cx="1"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grpSp>
        <p:grpSp>
          <p:nvGrpSpPr>
            <p:cNvPr id="7" name="Group 406"/>
            <p:cNvGrpSpPr>
              <a:grpSpLocks/>
            </p:cNvGrpSpPr>
            <p:nvPr/>
          </p:nvGrpSpPr>
          <p:grpSpPr bwMode="auto">
            <a:xfrm>
              <a:off x="491" y="423"/>
              <a:ext cx="6490" cy="3790"/>
              <a:chOff x="491" y="423"/>
              <a:chExt cx="6490" cy="3790"/>
            </a:xfrm>
          </p:grpSpPr>
          <p:sp>
            <p:nvSpPr>
              <p:cNvPr id="25" name="Freeform 206"/>
              <p:cNvSpPr>
                <a:spLocks/>
              </p:cNvSpPr>
              <p:nvPr/>
            </p:nvSpPr>
            <p:spPr bwMode="auto">
              <a:xfrm>
                <a:off x="5104" y="2091"/>
                <a:ext cx="1" cy="3"/>
              </a:xfrm>
              <a:custGeom>
                <a:avLst/>
                <a:gdLst>
                  <a:gd name="T0" fmla="*/ 1 w 1"/>
                  <a:gd name="T1" fmla="*/ 0 h 3"/>
                  <a:gd name="T2" fmla="*/ 1 w 1"/>
                  <a:gd name="T3" fmla="*/ 2 h 3"/>
                  <a:gd name="T4" fmla="*/ 1 w 1"/>
                  <a:gd name="T5" fmla="*/ 3 h 3"/>
                  <a:gd name="T6" fmla="*/ 0 w 1"/>
                  <a:gd name="T7" fmla="*/ 3 h 3"/>
                  <a:gd name="T8" fmla="*/ 0 w 1"/>
                  <a:gd name="T9" fmla="*/ 2 h 3"/>
                  <a:gd name="T10" fmla="*/ 0 w 1"/>
                  <a:gd name="T11" fmla="*/ 0 h 3"/>
                  <a:gd name="T12" fmla="*/ 1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1" y="0"/>
                    </a:moveTo>
                    <a:lnTo>
                      <a:pt x="1" y="2"/>
                    </a:lnTo>
                    <a:lnTo>
                      <a:pt x="1" y="3"/>
                    </a:lnTo>
                    <a:lnTo>
                      <a:pt x="0" y="3"/>
                    </a:lnTo>
                    <a:lnTo>
                      <a:pt x="0" y="2"/>
                    </a:lnTo>
                    <a:lnTo>
                      <a:pt x="0" y="0"/>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6" name="Freeform 207"/>
              <p:cNvSpPr>
                <a:spLocks/>
              </p:cNvSpPr>
              <p:nvPr/>
            </p:nvSpPr>
            <p:spPr bwMode="auto">
              <a:xfrm>
                <a:off x="5102" y="2094"/>
                <a:ext cx="3" cy="3"/>
              </a:xfrm>
              <a:custGeom>
                <a:avLst/>
                <a:gdLst>
                  <a:gd name="T0" fmla="*/ 2 w 3"/>
                  <a:gd name="T1" fmla="*/ 0 h 3"/>
                  <a:gd name="T2" fmla="*/ 2 w 3"/>
                  <a:gd name="T3" fmla="*/ 2 h 3"/>
                  <a:gd name="T4" fmla="*/ 3 w 3"/>
                  <a:gd name="T5" fmla="*/ 2 h 3"/>
                  <a:gd name="T6" fmla="*/ 3 w 3"/>
                  <a:gd name="T7" fmla="*/ 3 h 3"/>
                  <a:gd name="T8" fmla="*/ 2 w 3"/>
                  <a:gd name="T9" fmla="*/ 3 h 3"/>
                  <a:gd name="T10" fmla="*/ 0 w 3"/>
                  <a:gd name="T11" fmla="*/ 3 h 3"/>
                  <a:gd name="T12" fmla="*/ 0 w 3"/>
                  <a:gd name="T13" fmla="*/ 2 h 3"/>
                  <a:gd name="T14" fmla="*/ 0 w 3"/>
                  <a:gd name="T15" fmla="*/ 3 h 3"/>
                  <a:gd name="T16" fmla="*/ 0 w 3"/>
                  <a:gd name="T17" fmla="*/ 2 h 3"/>
                  <a:gd name="T18" fmla="*/ 2 w 3"/>
                  <a:gd name="T19" fmla="*/ 2 h 3"/>
                  <a:gd name="T20" fmla="*/ 2 w 3"/>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2" y="0"/>
                    </a:moveTo>
                    <a:lnTo>
                      <a:pt x="2" y="2"/>
                    </a:lnTo>
                    <a:lnTo>
                      <a:pt x="3" y="2"/>
                    </a:lnTo>
                    <a:lnTo>
                      <a:pt x="3" y="3"/>
                    </a:lnTo>
                    <a:lnTo>
                      <a:pt x="2" y="3"/>
                    </a:lnTo>
                    <a:lnTo>
                      <a:pt x="0" y="3"/>
                    </a:lnTo>
                    <a:lnTo>
                      <a:pt x="0" y="2"/>
                    </a:lnTo>
                    <a:lnTo>
                      <a:pt x="0" y="3"/>
                    </a:lnTo>
                    <a:lnTo>
                      <a:pt x="0" y="2"/>
                    </a:lnTo>
                    <a:lnTo>
                      <a:pt x="2" y="2"/>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7" name="Freeform 208"/>
              <p:cNvSpPr>
                <a:spLocks/>
              </p:cNvSpPr>
              <p:nvPr/>
            </p:nvSpPr>
            <p:spPr bwMode="auto">
              <a:xfrm>
                <a:off x="5093" y="2105"/>
                <a:ext cx="3" cy="7"/>
              </a:xfrm>
              <a:custGeom>
                <a:avLst/>
                <a:gdLst>
                  <a:gd name="T0" fmla="*/ 3 w 3"/>
                  <a:gd name="T1" fmla="*/ 0 h 7"/>
                  <a:gd name="T2" fmla="*/ 3 w 3"/>
                  <a:gd name="T3" fmla="*/ 2 h 7"/>
                  <a:gd name="T4" fmla="*/ 3 w 3"/>
                  <a:gd name="T5" fmla="*/ 3 h 7"/>
                  <a:gd name="T6" fmla="*/ 1 w 3"/>
                  <a:gd name="T7" fmla="*/ 3 h 7"/>
                  <a:gd name="T8" fmla="*/ 1 w 3"/>
                  <a:gd name="T9" fmla="*/ 5 h 7"/>
                  <a:gd name="T10" fmla="*/ 1 w 3"/>
                  <a:gd name="T11" fmla="*/ 7 h 7"/>
                  <a:gd name="T12" fmla="*/ 0 w 3"/>
                  <a:gd name="T13" fmla="*/ 7 h 7"/>
                  <a:gd name="T14" fmla="*/ 0 w 3"/>
                  <a:gd name="T15" fmla="*/ 5 h 7"/>
                  <a:gd name="T16" fmla="*/ 0 w 3"/>
                  <a:gd name="T17" fmla="*/ 3 h 7"/>
                  <a:gd name="T18" fmla="*/ 1 w 3"/>
                  <a:gd name="T19" fmla="*/ 3 h 7"/>
                  <a:gd name="T20" fmla="*/ 1 w 3"/>
                  <a:gd name="T21" fmla="*/ 2 h 7"/>
                  <a:gd name="T22" fmla="*/ 1 w 3"/>
                  <a:gd name="T23" fmla="*/ 0 h 7"/>
                  <a:gd name="T24" fmla="*/ 3 w 3"/>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7">
                    <a:moveTo>
                      <a:pt x="3" y="0"/>
                    </a:moveTo>
                    <a:lnTo>
                      <a:pt x="3" y="2"/>
                    </a:lnTo>
                    <a:lnTo>
                      <a:pt x="3" y="3"/>
                    </a:lnTo>
                    <a:lnTo>
                      <a:pt x="1" y="3"/>
                    </a:lnTo>
                    <a:lnTo>
                      <a:pt x="1" y="5"/>
                    </a:lnTo>
                    <a:lnTo>
                      <a:pt x="1" y="7"/>
                    </a:lnTo>
                    <a:lnTo>
                      <a:pt x="0" y="7"/>
                    </a:lnTo>
                    <a:lnTo>
                      <a:pt x="0" y="5"/>
                    </a:lnTo>
                    <a:lnTo>
                      <a:pt x="0" y="3"/>
                    </a:lnTo>
                    <a:lnTo>
                      <a:pt x="1" y="3"/>
                    </a:lnTo>
                    <a:lnTo>
                      <a:pt x="1" y="2"/>
                    </a:lnTo>
                    <a:lnTo>
                      <a:pt x="1" y="0"/>
                    </a:lnTo>
                    <a:lnTo>
                      <a:pt x="3"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8" name="Freeform 209"/>
              <p:cNvSpPr>
                <a:spLocks/>
              </p:cNvSpPr>
              <p:nvPr/>
            </p:nvSpPr>
            <p:spPr bwMode="auto">
              <a:xfrm>
                <a:off x="5137" y="2107"/>
                <a:ext cx="0" cy="1"/>
              </a:xfrm>
              <a:custGeom>
                <a:avLst/>
                <a:gdLst>
                  <a:gd name="T0" fmla="*/ 0 h 1"/>
                  <a:gd name="T1" fmla="*/ 1 h 1"/>
                  <a:gd name="T2" fmla="*/ 0 h 1"/>
                </a:gdLst>
                <a:ahLst/>
                <a:cxnLst>
                  <a:cxn ang="0">
                    <a:pos x="0" y="T0"/>
                  </a:cxn>
                  <a:cxn ang="0">
                    <a:pos x="0" y="T1"/>
                  </a:cxn>
                  <a:cxn ang="0">
                    <a:pos x="0" y="T2"/>
                  </a:cxn>
                </a:cxnLst>
                <a:rect l="0" t="0" r="r" b="b"/>
                <a:pathLst>
                  <a:path h="1">
                    <a:moveTo>
                      <a:pt x="0" y="0"/>
                    </a:moveTo>
                    <a:lnTo>
                      <a:pt x="0" y="1"/>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9" name="Freeform 210"/>
              <p:cNvSpPr>
                <a:spLocks/>
              </p:cNvSpPr>
              <p:nvPr/>
            </p:nvSpPr>
            <p:spPr bwMode="auto">
              <a:xfrm>
                <a:off x="5089" y="2119"/>
                <a:ext cx="2"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0" name="Freeform 211"/>
              <p:cNvSpPr>
                <a:spLocks/>
              </p:cNvSpPr>
              <p:nvPr/>
            </p:nvSpPr>
            <p:spPr bwMode="auto">
              <a:xfrm>
                <a:off x="5080" y="2124"/>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1" name="Freeform 212"/>
              <p:cNvSpPr>
                <a:spLocks/>
              </p:cNvSpPr>
              <p:nvPr/>
            </p:nvSpPr>
            <p:spPr bwMode="auto">
              <a:xfrm>
                <a:off x="5078" y="2137"/>
                <a:ext cx="2" cy="1"/>
              </a:xfrm>
              <a:custGeom>
                <a:avLst/>
                <a:gdLst>
                  <a:gd name="T0" fmla="*/ 0 w 2"/>
                  <a:gd name="T1" fmla="*/ 0 h 1"/>
                  <a:gd name="T2" fmla="*/ 0 w 2"/>
                  <a:gd name="T3" fmla="*/ 1 h 1"/>
                  <a:gd name="T4" fmla="*/ 2 w 2"/>
                  <a:gd name="T5" fmla="*/ 1 h 1"/>
                  <a:gd name="T6" fmla="*/ 0 w 2"/>
                  <a:gd name="T7" fmla="*/ 1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lnTo>
                      <a:pt x="0" y="1"/>
                    </a:lnTo>
                    <a:lnTo>
                      <a:pt x="2" y="1"/>
                    </a:lnTo>
                    <a:lnTo>
                      <a:pt x="0" y="1"/>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2" name="Freeform 213"/>
              <p:cNvSpPr>
                <a:spLocks/>
              </p:cNvSpPr>
              <p:nvPr/>
            </p:nvSpPr>
            <p:spPr bwMode="auto">
              <a:xfrm>
                <a:off x="5066" y="2205"/>
                <a:ext cx="1" cy="2"/>
              </a:xfrm>
              <a:custGeom>
                <a:avLst/>
                <a:gdLst>
                  <a:gd name="T0" fmla="*/ 0 w 1"/>
                  <a:gd name="T1" fmla="*/ 0 h 2"/>
                  <a:gd name="T2" fmla="*/ 1 w 1"/>
                  <a:gd name="T3" fmla="*/ 0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1" y="0"/>
                    </a:lnTo>
                    <a:lnTo>
                      <a:pt x="1" y="2"/>
                    </a:lnTo>
                    <a:lnTo>
                      <a:pt x="1" y="0"/>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3" name="Freeform 214"/>
              <p:cNvSpPr>
                <a:spLocks/>
              </p:cNvSpPr>
              <p:nvPr/>
            </p:nvSpPr>
            <p:spPr bwMode="auto">
              <a:xfrm>
                <a:off x="5074" y="2207"/>
                <a:ext cx="3" cy="1"/>
              </a:xfrm>
              <a:custGeom>
                <a:avLst/>
                <a:gdLst>
                  <a:gd name="T0" fmla="*/ 0 w 3"/>
                  <a:gd name="T1" fmla="*/ 0 h 1"/>
                  <a:gd name="T2" fmla="*/ 1 w 3"/>
                  <a:gd name="T3" fmla="*/ 0 h 1"/>
                  <a:gd name="T4" fmla="*/ 1 w 3"/>
                  <a:gd name="T5" fmla="*/ 1 h 1"/>
                  <a:gd name="T6" fmla="*/ 3 w 3"/>
                  <a:gd name="T7" fmla="*/ 1 h 1"/>
                  <a:gd name="T8" fmla="*/ 1 w 3"/>
                  <a:gd name="T9" fmla="*/ 1 h 1"/>
                  <a:gd name="T10" fmla="*/ 0 w 3"/>
                  <a:gd name="T11" fmla="*/ 1 h 1"/>
                  <a:gd name="T12" fmla="*/ 0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0"/>
                    </a:moveTo>
                    <a:lnTo>
                      <a:pt x="1" y="0"/>
                    </a:lnTo>
                    <a:lnTo>
                      <a:pt x="1" y="1"/>
                    </a:lnTo>
                    <a:lnTo>
                      <a:pt x="3" y="1"/>
                    </a:lnTo>
                    <a:lnTo>
                      <a:pt x="1" y="1"/>
                    </a:lnTo>
                    <a:lnTo>
                      <a:pt x="0" y="1"/>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4" name="Freeform 215"/>
              <p:cNvSpPr>
                <a:spLocks/>
              </p:cNvSpPr>
              <p:nvPr/>
            </p:nvSpPr>
            <p:spPr bwMode="auto">
              <a:xfrm>
                <a:off x="5053" y="2215"/>
                <a:ext cx="3" cy="3"/>
              </a:xfrm>
              <a:custGeom>
                <a:avLst/>
                <a:gdLst>
                  <a:gd name="T0" fmla="*/ 3 w 3"/>
                  <a:gd name="T1" fmla="*/ 0 h 3"/>
                  <a:gd name="T2" fmla="*/ 3 w 3"/>
                  <a:gd name="T3" fmla="*/ 1 h 3"/>
                  <a:gd name="T4" fmla="*/ 2 w 3"/>
                  <a:gd name="T5" fmla="*/ 1 h 3"/>
                  <a:gd name="T6" fmla="*/ 2 w 3"/>
                  <a:gd name="T7" fmla="*/ 3 h 3"/>
                  <a:gd name="T8" fmla="*/ 0 w 3"/>
                  <a:gd name="T9" fmla="*/ 3 h 3"/>
                  <a:gd name="T10" fmla="*/ 0 w 3"/>
                  <a:gd name="T11" fmla="*/ 1 h 3"/>
                  <a:gd name="T12" fmla="*/ 2 w 3"/>
                  <a:gd name="T13" fmla="*/ 1 h 3"/>
                  <a:gd name="T14" fmla="*/ 2 w 3"/>
                  <a:gd name="T15" fmla="*/ 0 h 3"/>
                  <a:gd name="T16" fmla="*/ 3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3" y="0"/>
                    </a:moveTo>
                    <a:lnTo>
                      <a:pt x="3" y="1"/>
                    </a:lnTo>
                    <a:lnTo>
                      <a:pt x="2" y="1"/>
                    </a:lnTo>
                    <a:lnTo>
                      <a:pt x="2" y="3"/>
                    </a:lnTo>
                    <a:lnTo>
                      <a:pt x="0" y="3"/>
                    </a:lnTo>
                    <a:lnTo>
                      <a:pt x="0" y="1"/>
                    </a:lnTo>
                    <a:lnTo>
                      <a:pt x="2" y="1"/>
                    </a:lnTo>
                    <a:lnTo>
                      <a:pt x="2" y="0"/>
                    </a:lnTo>
                    <a:lnTo>
                      <a:pt x="3"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5" name="Freeform 216"/>
              <p:cNvSpPr>
                <a:spLocks/>
              </p:cNvSpPr>
              <p:nvPr/>
            </p:nvSpPr>
            <p:spPr bwMode="auto">
              <a:xfrm>
                <a:off x="5053" y="2227"/>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6" name="Freeform 217"/>
              <p:cNvSpPr>
                <a:spLocks/>
              </p:cNvSpPr>
              <p:nvPr/>
            </p:nvSpPr>
            <p:spPr bwMode="auto">
              <a:xfrm>
                <a:off x="5069" y="2256"/>
                <a:ext cx="1" cy="3"/>
              </a:xfrm>
              <a:custGeom>
                <a:avLst/>
                <a:gdLst>
                  <a:gd name="T0" fmla="*/ 1 w 1"/>
                  <a:gd name="T1" fmla="*/ 0 h 3"/>
                  <a:gd name="T2" fmla="*/ 1 w 1"/>
                  <a:gd name="T3" fmla="*/ 1 h 3"/>
                  <a:gd name="T4" fmla="*/ 1 w 1"/>
                  <a:gd name="T5" fmla="*/ 3 h 3"/>
                  <a:gd name="T6" fmla="*/ 1 w 1"/>
                  <a:gd name="T7" fmla="*/ 1 h 3"/>
                  <a:gd name="T8" fmla="*/ 0 w 1"/>
                  <a:gd name="T9" fmla="*/ 1 h 3"/>
                  <a:gd name="T10" fmla="*/ 0 w 1"/>
                  <a:gd name="T11" fmla="*/ 0 h 3"/>
                  <a:gd name="T12" fmla="*/ 1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1" y="0"/>
                    </a:moveTo>
                    <a:lnTo>
                      <a:pt x="1" y="1"/>
                    </a:lnTo>
                    <a:lnTo>
                      <a:pt x="1" y="3"/>
                    </a:lnTo>
                    <a:lnTo>
                      <a:pt x="1" y="1"/>
                    </a:lnTo>
                    <a:lnTo>
                      <a:pt x="0" y="1"/>
                    </a:lnTo>
                    <a:lnTo>
                      <a:pt x="0" y="0"/>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7" name="Freeform 218"/>
              <p:cNvSpPr>
                <a:spLocks/>
              </p:cNvSpPr>
              <p:nvPr/>
            </p:nvSpPr>
            <p:spPr bwMode="auto">
              <a:xfrm>
                <a:off x="5083" y="2259"/>
                <a:ext cx="2"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8" name="Freeform 219"/>
              <p:cNvSpPr>
                <a:spLocks/>
              </p:cNvSpPr>
              <p:nvPr/>
            </p:nvSpPr>
            <p:spPr bwMode="auto">
              <a:xfrm>
                <a:off x="5085" y="2262"/>
                <a:ext cx="1" cy="2"/>
              </a:xfrm>
              <a:custGeom>
                <a:avLst/>
                <a:gdLst>
                  <a:gd name="T0" fmla="*/ 1 w 1"/>
                  <a:gd name="T1" fmla="*/ 0 h 2"/>
                  <a:gd name="T2" fmla="*/ 1 w 1"/>
                  <a:gd name="T3" fmla="*/ 2 h 2"/>
                  <a:gd name="T4" fmla="*/ 1 w 1"/>
                  <a:gd name="T5" fmla="*/ 0 h 2"/>
                  <a:gd name="T6" fmla="*/ 0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lnTo>
                      <a:pt x="1" y="2"/>
                    </a:lnTo>
                    <a:lnTo>
                      <a:pt x="1" y="0"/>
                    </a:lnTo>
                    <a:lnTo>
                      <a:pt x="0" y="0"/>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39" name="Freeform 220"/>
              <p:cNvSpPr>
                <a:spLocks/>
              </p:cNvSpPr>
              <p:nvPr/>
            </p:nvSpPr>
            <p:spPr bwMode="auto">
              <a:xfrm>
                <a:off x="5115" y="2267"/>
                <a:ext cx="1" cy="1"/>
              </a:xfrm>
              <a:custGeom>
                <a:avLst/>
                <a:gdLst>
                  <a:gd name="T0" fmla="*/ 0 w 1"/>
                  <a:gd name="T1" fmla="*/ 0 h 1"/>
                  <a:gd name="T2" fmla="*/ 0 w 1"/>
                  <a:gd name="T3" fmla="*/ 1 h 1"/>
                  <a:gd name="T4" fmla="*/ 1 w 1"/>
                  <a:gd name="T5" fmla="*/ 1 h 1"/>
                  <a:gd name="T6" fmla="*/ 0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1"/>
                    </a:lnTo>
                    <a:lnTo>
                      <a:pt x="1" y="1"/>
                    </a:lnTo>
                    <a:lnTo>
                      <a:pt x="0" y="1"/>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0" name="Freeform 221"/>
              <p:cNvSpPr>
                <a:spLocks/>
              </p:cNvSpPr>
              <p:nvPr/>
            </p:nvSpPr>
            <p:spPr bwMode="auto">
              <a:xfrm>
                <a:off x="5119" y="2276"/>
                <a:ext cx="4" cy="3"/>
              </a:xfrm>
              <a:custGeom>
                <a:avLst/>
                <a:gdLst>
                  <a:gd name="T0" fmla="*/ 2 w 4"/>
                  <a:gd name="T1" fmla="*/ 0 h 3"/>
                  <a:gd name="T2" fmla="*/ 2 w 4"/>
                  <a:gd name="T3" fmla="*/ 2 h 3"/>
                  <a:gd name="T4" fmla="*/ 4 w 4"/>
                  <a:gd name="T5" fmla="*/ 2 h 3"/>
                  <a:gd name="T6" fmla="*/ 4 w 4"/>
                  <a:gd name="T7" fmla="*/ 3 h 3"/>
                  <a:gd name="T8" fmla="*/ 2 w 4"/>
                  <a:gd name="T9" fmla="*/ 3 h 3"/>
                  <a:gd name="T10" fmla="*/ 2 w 4"/>
                  <a:gd name="T11" fmla="*/ 2 h 3"/>
                  <a:gd name="T12" fmla="*/ 0 w 4"/>
                  <a:gd name="T13" fmla="*/ 2 h 3"/>
                  <a:gd name="T14" fmla="*/ 0 w 4"/>
                  <a:gd name="T15" fmla="*/ 0 h 3"/>
                  <a:gd name="T16" fmla="*/ 2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2" y="0"/>
                    </a:moveTo>
                    <a:lnTo>
                      <a:pt x="2" y="2"/>
                    </a:lnTo>
                    <a:lnTo>
                      <a:pt x="4" y="2"/>
                    </a:lnTo>
                    <a:lnTo>
                      <a:pt x="4" y="3"/>
                    </a:lnTo>
                    <a:lnTo>
                      <a:pt x="2" y="3"/>
                    </a:lnTo>
                    <a:lnTo>
                      <a:pt x="2" y="2"/>
                    </a:lnTo>
                    <a:lnTo>
                      <a:pt x="0" y="2"/>
                    </a:lnTo>
                    <a:lnTo>
                      <a:pt x="0" y="0"/>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1" name="Freeform 222"/>
              <p:cNvSpPr>
                <a:spLocks/>
              </p:cNvSpPr>
              <p:nvPr/>
            </p:nvSpPr>
            <p:spPr bwMode="auto">
              <a:xfrm>
                <a:off x="5112" y="2279"/>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2" name="Freeform 223"/>
              <p:cNvSpPr>
                <a:spLocks/>
              </p:cNvSpPr>
              <p:nvPr/>
            </p:nvSpPr>
            <p:spPr bwMode="auto">
              <a:xfrm>
                <a:off x="5126" y="2281"/>
                <a:ext cx="3" cy="3"/>
              </a:xfrm>
              <a:custGeom>
                <a:avLst/>
                <a:gdLst>
                  <a:gd name="T0" fmla="*/ 0 w 3"/>
                  <a:gd name="T1" fmla="*/ 0 h 3"/>
                  <a:gd name="T2" fmla="*/ 1 w 3"/>
                  <a:gd name="T3" fmla="*/ 0 h 3"/>
                  <a:gd name="T4" fmla="*/ 1 w 3"/>
                  <a:gd name="T5" fmla="*/ 2 h 3"/>
                  <a:gd name="T6" fmla="*/ 3 w 3"/>
                  <a:gd name="T7" fmla="*/ 2 h 3"/>
                  <a:gd name="T8" fmla="*/ 3 w 3"/>
                  <a:gd name="T9" fmla="*/ 3 h 3"/>
                  <a:gd name="T10" fmla="*/ 1 w 3"/>
                  <a:gd name="T11" fmla="*/ 3 h 3"/>
                  <a:gd name="T12" fmla="*/ 0 w 3"/>
                  <a:gd name="T13" fmla="*/ 3 h 3"/>
                  <a:gd name="T14" fmla="*/ 0 w 3"/>
                  <a:gd name="T15" fmla="*/ 2 h 3"/>
                  <a:gd name="T16" fmla="*/ 0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0"/>
                    </a:moveTo>
                    <a:lnTo>
                      <a:pt x="1" y="0"/>
                    </a:lnTo>
                    <a:lnTo>
                      <a:pt x="1" y="2"/>
                    </a:lnTo>
                    <a:lnTo>
                      <a:pt x="3" y="2"/>
                    </a:lnTo>
                    <a:lnTo>
                      <a:pt x="3" y="3"/>
                    </a:lnTo>
                    <a:lnTo>
                      <a:pt x="1" y="3"/>
                    </a:lnTo>
                    <a:lnTo>
                      <a:pt x="0" y="3"/>
                    </a:ln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3" name="Freeform 224"/>
              <p:cNvSpPr>
                <a:spLocks/>
              </p:cNvSpPr>
              <p:nvPr/>
            </p:nvSpPr>
            <p:spPr bwMode="auto">
              <a:xfrm>
                <a:off x="5112" y="2281"/>
                <a:ext cx="1" cy="2"/>
              </a:xfrm>
              <a:custGeom>
                <a:avLst/>
                <a:gdLst>
                  <a:gd name="T0" fmla="*/ 0 w 1"/>
                  <a:gd name="T1" fmla="*/ 0 h 2"/>
                  <a:gd name="T2" fmla="*/ 1 w 1"/>
                  <a:gd name="T3" fmla="*/ 0 h 2"/>
                  <a:gd name="T4" fmla="*/ 1 w 1"/>
                  <a:gd name="T5" fmla="*/ 2 h 2"/>
                  <a:gd name="T6" fmla="*/ 1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1" y="0"/>
                    </a:lnTo>
                    <a:lnTo>
                      <a:pt x="1" y="2"/>
                    </a:lnTo>
                    <a:lnTo>
                      <a:pt x="1" y="0"/>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4" name="Freeform 225"/>
              <p:cNvSpPr>
                <a:spLocks/>
              </p:cNvSpPr>
              <p:nvPr/>
            </p:nvSpPr>
            <p:spPr bwMode="auto">
              <a:xfrm>
                <a:off x="5105" y="2284"/>
                <a:ext cx="2" cy="2"/>
              </a:xfrm>
              <a:custGeom>
                <a:avLst/>
                <a:gdLst>
                  <a:gd name="T0" fmla="*/ 2 w 2"/>
                  <a:gd name="T1" fmla="*/ 0 h 2"/>
                  <a:gd name="T2" fmla="*/ 2 w 2"/>
                  <a:gd name="T3" fmla="*/ 2 h 2"/>
                  <a:gd name="T4" fmla="*/ 0 w 2"/>
                  <a:gd name="T5" fmla="*/ 2 h 2"/>
                  <a:gd name="T6" fmla="*/ 0 w 2"/>
                  <a:gd name="T7" fmla="*/ 0 h 2"/>
                  <a:gd name="T8" fmla="*/ 2 w 2"/>
                  <a:gd name="T9" fmla="*/ 0 h 2"/>
                  <a:gd name="T10" fmla="*/ 0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0" y="2"/>
                    </a:lnTo>
                    <a:lnTo>
                      <a:pt x="0" y="0"/>
                    </a:lnTo>
                    <a:lnTo>
                      <a:pt x="2" y="0"/>
                    </a:lnTo>
                    <a:lnTo>
                      <a:pt x="0" y="0"/>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5" name="Freeform 226"/>
              <p:cNvSpPr>
                <a:spLocks/>
              </p:cNvSpPr>
              <p:nvPr/>
            </p:nvSpPr>
            <p:spPr bwMode="auto">
              <a:xfrm>
                <a:off x="5104" y="2287"/>
                <a:ext cx="4" cy="5"/>
              </a:xfrm>
              <a:custGeom>
                <a:avLst/>
                <a:gdLst>
                  <a:gd name="T0" fmla="*/ 1 w 4"/>
                  <a:gd name="T1" fmla="*/ 0 h 5"/>
                  <a:gd name="T2" fmla="*/ 3 w 4"/>
                  <a:gd name="T3" fmla="*/ 0 h 5"/>
                  <a:gd name="T4" fmla="*/ 3 w 4"/>
                  <a:gd name="T5" fmla="*/ 2 h 5"/>
                  <a:gd name="T6" fmla="*/ 3 w 4"/>
                  <a:gd name="T7" fmla="*/ 4 h 5"/>
                  <a:gd name="T8" fmla="*/ 4 w 4"/>
                  <a:gd name="T9" fmla="*/ 4 h 5"/>
                  <a:gd name="T10" fmla="*/ 4 w 4"/>
                  <a:gd name="T11" fmla="*/ 5 h 5"/>
                  <a:gd name="T12" fmla="*/ 3 w 4"/>
                  <a:gd name="T13" fmla="*/ 5 h 5"/>
                  <a:gd name="T14" fmla="*/ 3 w 4"/>
                  <a:gd name="T15" fmla="*/ 4 h 5"/>
                  <a:gd name="T16" fmla="*/ 1 w 4"/>
                  <a:gd name="T17" fmla="*/ 4 h 5"/>
                  <a:gd name="T18" fmla="*/ 1 w 4"/>
                  <a:gd name="T19" fmla="*/ 2 h 5"/>
                  <a:gd name="T20" fmla="*/ 0 w 4"/>
                  <a:gd name="T21" fmla="*/ 2 h 5"/>
                  <a:gd name="T22" fmla="*/ 0 w 4"/>
                  <a:gd name="T23" fmla="*/ 0 h 5"/>
                  <a:gd name="T24" fmla="*/ 1 w 4"/>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5">
                    <a:moveTo>
                      <a:pt x="1" y="0"/>
                    </a:moveTo>
                    <a:lnTo>
                      <a:pt x="3" y="0"/>
                    </a:lnTo>
                    <a:lnTo>
                      <a:pt x="3" y="2"/>
                    </a:lnTo>
                    <a:lnTo>
                      <a:pt x="3" y="4"/>
                    </a:lnTo>
                    <a:lnTo>
                      <a:pt x="4" y="4"/>
                    </a:lnTo>
                    <a:lnTo>
                      <a:pt x="4" y="5"/>
                    </a:lnTo>
                    <a:lnTo>
                      <a:pt x="3" y="5"/>
                    </a:lnTo>
                    <a:lnTo>
                      <a:pt x="3" y="4"/>
                    </a:lnTo>
                    <a:lnTo>
                      <a:pt x="1" y="4"/>
                    </a:lnTo>
                    <a:lnTo>
                      <a:pt x="1" y="2"/>
                    </a:lnTo>
                    <a:lnTo>
                      <a:pt x="0" y="2"/>
                    </a:lnTo>
                    <a:lnTo>
                      <a:pt x="0" y="0"/>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6" name="Rectangle 227"/>
              <p:cNvSpPr>
                <a:spLocks noChangeArrowheads="1"/>
              </p:cNvSpPr>
              <p:nvPr/>
            </p:nvSpPr>
            <p:spPr bwMode="auto">
              <a:xfrm>
                <a:off x="4964" y="2292"/>
                <a:ext cx="2" cy="2"/>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7" name="Freeform 228"/>
              <p:cNvSpPr>
                <a:spLocks/>
              </p:cNvSpPr>
              <p:nvPr/>
            </p:nvSpPr>
            <p:spPr bwMode="auto">
              <a:xfrm>
                <a:off x="5119" y="2302"/>
                <a:ext cx="5" cy="8"/>
              </a:xfrm>
              <a:custGeom>
                <a:avLst/>
                <a:gdLst>
                  <a:gd name="T0" fmla="*/ 2 w 5"/>
                  <a:gd name="T1" fmla="*/ 0 h 8"/>
                  <a:gd name="T2" fmla="*/ 4 w 5"/>
                  <a:gd name="T3" fmla="*/ 0 h 8"/>
                  <a:gd name="T4" fmla="*/ 4 w 5"/>
                  <a:gd name="T5" fmla="*/ 1 h 8"/>
                  <a:gd name="T6" fmla="*/ 4 w 5"/>
                  <a:gd name="T7" fmla="*/ 4 h 8"/>
                  <a:gd name="T8" fmla="*/ 5 w 5"/>
                  <a:gd name="T9" fmla="*/ 4 h 8"/>
                  <a:gd name="T10" fmla="*/ 5 w 5"/>
                  <a:gd name="T11" fmla="*/ 6 h 8"/>
                  <a:gd name="T12" fmla="*/ 5 w 5"/>
                  <a:gd name="T13" fmla="*/ 8 h 8"/>
                  <a:gd name="T14" fmla="*/ 4 w 5"/>
                  <a:gd name="T15" fmla="*/ 8 h 8"/>
                  <a:gd name="T16" fmla="*/ 4 w 5"/>
                  <a:gd name="T17" fmla="*/ 6 h 8"/>
                  <a:gd name="T18" fmla="*/ 4 w 5"/>
                  <a:gd name="T19" fmla="*/ 4 h 8"/>
                  <a:gd name="T20" fmla="*/ 4 w 5"/>
                  <a:gd name="T21" fmla="*/ 6 h 8"/>
                  <a:gd name="T22" fmla="*/ 2 w 5"/>
                  <a:gd name="T23" fmla="*/ 6 h 8"/>
                  <a:gd name="T24" fmla="*/ 2 w 5"/>
                  <a:gd name="T25" fmla="*/ 4 h 8"/>
                  <a:gd name="T26" fmla="*/ 2 w 5"/>
                  <a:gd name="T27" fmla="*/ 3 h 8"/>
                  <a:gd name="T28" fmla="*/ 0 w 5"/>
                  <a:gd name="T29" fmla="*/ 3 h 8"/>
                  <a:gd name="T30" fmla="*/ 0 w 5"/>
                  <a:gd name="T31" fmla="*/ 1 h 8"/>
                  <a:gd name="T32" fmla="*/ 0 w 5"/>
                  <a:gd name="T33" fmla="*/ 0 h 8"/>
                  <a:gd name="T34" fmla="*/ 2 w 5"/>
                  <a:gd name="T3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0"/>
                    </a:moveTo>
                    <a:lnTo>
                      <a:pt x="4" y="0"/>
                    </a:lnTo>
                    <a:lnTo>
                      <a:pt x="4" y="1"/>
                    </a:lnTo>
                    <a:lnTo>
                      <a:pt x="4" y="4"/>
                    </a:lnTo>
                    <a:lnTo>
                      <a:pt x="5" y="4"/>
                    </a:lnTo>
                    <a:lnTo>
                      <a:pt x="5" y="6"/>
                    </a:lnTo>
                    <a:lnTo>
                      <a:pt x="5" y="8"/>
                    </a:lnTo>
                    <a:lnTo>
                      <a:pt x="4" y="8"/>
                    </a:lnTo>
                    <a:lnTo>
                      <a:pt x="4" y="6"/>
                    </a:lnTo>
                    <a:lnTo>
                      <a:pt x="4" y="4"/>
                    </a:lnTo>
                    <a:lnTo>
                      <a:pt x="4" y="6"/>
                    </a:lnTo>
                    <a:lnTo>
                      <a:pt x="2" y="6"/>
                    </a:lnTo>
                    <a:lnTo>
                      <a:pt x="2" y="4"/>
                    </a:lnTo>
                    <a:lnTo>
                      <a:pt x="2" y="3"/>
                    </a:lnTo>
                    <a:lnTo>
                      <a:pt x="0" y="3"/>
                    </a:lnTo>
                    <a:lnTo>
                      <a:pt x="0" y="1"/>
                    </a:lnTo>
                    <a:lnTo>
                      <a:pt x="0" y="0"/>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8" name="Freeform 229"/>
              <p:cNvSpPr>
                <a:spLocks/>
              </p:cNvSpPr>
              <p:nvPr/>
            </p:nvSpPr>
            <p:spPr bwMode="auto">
              <a:xfrm>
                <a:off x="5004" y="2317"/>
                <a:ext cx="3" cy="2"/>
              </a:xfrm>
              <a:custGeom>
                <a:avLst/>
                <a:gdLst>
                  <a:gd name="T0" fmla="*/ 0 w 3"/>
                  <a:gd name="T1" fmla="*/ 0 h 2"/>
                  <a:gd name="T2" fmla="*/ 1 w 3"/>
                  <a:gd name="T3" fmla="*/ 0 h 2"/>
                  <a:gd name="T4" fmla="*/ 3 w 3"/>
                  <a:gd name="T5" fmla="*/ 0 h 2"/>
                  <a:gd name="T6" fmla="*/ 1 w 3"/>
                  <a:gd name="T7" fmla="*/ 0 h 2"/>
                  <a:gd name="T8" fmla="*/ 1 w 3"/>
                  <a:gd name="T9" fmla="*/ 2 h 2"/>
                  <a:gd name="T10" fmla="*/ 0 w 3"/>
                  <a:gd name="T11" fmla="*/ 2 h 2"/>
                  <a:gd name="T12" fmla="*/ 0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0"/>
                    </a:moveTo>
                    <a:lnTo>
                      <a:pt x="1" y="0"/>
                    </a:lnTo>
                    <a:lnTo>
                      <a:pt x="3" y="0"/>
                    </a:lnTo>
                    <a:lnTo>
                      <a:pt x="1" y="0"/>
                    </a:lnTo>
                    <a:lnTo>
                      <a:pt x="1" y="2"/>
                    </a:ln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9" name="Freeform 230"/>
              <p:cNvSpPr>
                <a:spLocks/>
              </p:cNvSpPr>
              <p:nvPr/>
            </p:nvSpPr>
            <p:spPr bwMode="auto">
              <a:xfrm>
                <a:off x="5012" y="2317"/>
                <a:ext cx="3" cy="5"/>
              </a:xfrm>
              <a:custGeom>
                <a:avLst/>
                <a:gdLst>
                  <a:gd name="T0" fmla="*/ 1 w 3"/>
                  <a:gd name="T1" fmla="*/ 0 h 5"/>
                  <a:gd name="T2" fmla="*/ 3 w 3"/>
                  <a:gd name="T3" fmla="*/ 0 h 5"/>
                  <a:gd name="T4" fmla="*/ 3 w 3"/>
                  <a:gd name="T5" fmla="*/ 2 h 5"/>
                  <a:gd name="T6" fmla="*/ 3 w 3"/>
                  <a:gd name="T7" fmla="*/ 4 h 5"/>
                  <a:gd name="T8" fmla="*/ 3 w 3"/>
                  <a:gd name="T9" fmla="*/ 5 h 5"/>
                  <a:gd name="T10" fmla="*/ 1 w 3"/>
                  <a:gd name="T11" fmla="*/ 5 h 5"/>
                  <a:gd name="T12" fmla="*/ 1 w 3"/>
                  <a:gd name="T13" fmla="*/ 4 h 5"/>
                  <a:gd name="T14" fmla="*/ 0 w 3"/>
                  <a:gd name="T15" fmla="*/ 4 h 5"/>
                  <a:gd name="T16" fmla="*/ 0 w 3"/>
                  <a:gd name="T17" fmla="*/ 2 h 5"/>
                  <a:gd name="T18" fmla="*/ 1 w 3"/>
                  <a:gd name="T19" fmla="*/ 2 h 5"/>
                  <a:gd name="T20" fmla="*/ 1 w 3"/>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5">
                    <a:moveTo>
                      <a:pt x="1" y="0"/>
                    </a:moveTo>
                    <a:lnTo>
                      <a:pt x="3" y="0"/>
                    </a:lnTo>
                    <a:lnTo>
                      <a:pt x="3" y="2"/>
                    </a:lnTo>
                    <a:lnTo>
                      <a:pt x="3" y="4"/>
                    </a:lnTo>
                    <a:lnTo>
                      <a:pt x="3" y="5"/>
                    </a:lnTo>
                    <a:lnTo>
                      <a:pt x="1" y="5"/>
                    </a:lnTo>
                    <a:lnTo>
                      <a:pt x="1" y="4"/>
                    </a:lnTo>
                    <a:lnTo>
                      <a:pt x="0" y="4"/>
                    </a:lnTo>
                    <a:lnTo>
                      <a:pt x="0" y="2"/>
                    </a:lnTo>
                    <a:lnTo>
                      <a:pt x="1" y="2"/>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50" name="Freeform 231"/>
              <p:cNvSpPr>
                <a:spLocks/>
              </p:cNvSpPr>
              <p:nvPr/>
            </p:nvSpPr>
            <p:spPr bwMode="auto">
              <a:xfrm>
                <a:off x="5007" y="2319"/>
                <a:ext cx="2" cy="2"/>
              </a:xfrm>
              <a:custGeom>
                <a:avLst/>
                <a:gdLst>
                  <a:gd name="T0" fmla="*/ 2 w 2"/>
                  <a:gd name="T1" fmla="*/ 0 h 2"/>
                  <a:gd name="T2" fmla="*/ 2 w 2"/>
                  <a:gd name="T3" fmla="*/ 2 h 2"/>
                  <a:gd name="T4" fmla="*/ 0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2" y="2"/>
                    </a:lnTo>
                    <a:lnTo>
                      <a:pt x="0" y="2"/>
                    </a:lnTo>
                    <a:lnTo>
                      <a:pt x="2" y="2"/>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51" name="Rectangle 232"/>
              <p:cNvSpPr>
                <a:spLocks noChangeArrowheads="1"/>
              </p:cNvSpPr>
              <p:nvPr/>
            </p:nvSpPr>
            <p:spPr bwMode="auto">
              <a:xfrm>
                <a:off x="5012" y="2321"/>
                <a:ext cx="1" cy="1"/>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52" name="Freeform 233"/>
              <p:cNvSpPr>
                <a:spLocks/>
              </p:cNvSpPr>
              <p:nvPr/>
            </p:nvSpPr>
            <p:spPr bwMode="auto">
              <a:xfrm>
                <a:off x="5093" y="2378"/>
                <a:ext cx="3" cy="4"/>
              </a:xfrm>
              <a:custGeom>
                <a:avLst/>
                <a:gdLst>
                  <a:gd name="T0" fmla="*/ 1 w 3"/>
                  <a:gd name="T1" fmla="*/ 0 h 4"/>
                  <a:gd name="T2" fmla="*/ 1 w 3"/>
                  <a:gd name="T3" fmla="*/ 1 h 4"/>
                  <a:gd name="T4" fmla="*/ 1 w 3"/>
                  <a:gd name="T5" fmla="*/ 3 h 4"/>
                  <a:gd name="T6" fmla="*/ 3 w 3"/>
                  <a:gd name="T7" fmla="*/ 3 h 4"/>
                  <a:gd name="T8" fmla="*/ 3 w 3"/>
                  <a:gd name="T9" fmla="*/ 4 h 4"/>
                  <a:gd name="T10" fmla="*/ 1 w 3"/>
                  <a:gd name="T11" fmla="*/ 4 h 4"/>
                  <a:gd name="T12" fmla="*/ 1 w 3"/>
                  <a:gd name="T13" fmla="*/ 3 h 4"/>
                  <a:gd name="T14" fmla="*/ 0 w 3"/>
                  <a:gd name="T15" fmla="*/ 3 h 4"/>
                  <a:gd name="T16" fmla="*/ 0 w 3"/>
                  <a:gd name="T17" fmla="*/ 1 h 4"/>
                  <a:gd name="T18" fmla="*/ 0 w 3"/>
                  <a:gd name="T19" fmla="*/ 0 h 4"/>
                  <a:gd name="T20" fmla="*/ 1 w 3"/>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1" y="0"/>
                    </a:moveTo>
                    <a:lnTo>
                      <a:pt x="1" y="1"/>
                    </a:lnTo>
                    <a:lnTo>
                      <a:pt x="1" y="3"/>
                    </a:lnTo>
                    <a:lnTo>
                      <a:pt x="3" y="3"/>
                    </a:lnTo>
                    <a:lnTo>
                      <a:pt x="3" y="4"/>
                    </a:lnTo>
                    <a:lnTo>
                      <a:pt x="1" y="4"/>
                    </a:lnTo>
                    <a:lnTo>
                      <a:pt x="1" y="3"/>
                    </a:lnTo>
                    <a:lnTo>
                      <a:pt x="0" y="3"/>
                    </a:lnTo>
                    <a:lnTo>
                      <a:pt x="0" y="1"/>
                    </a:lnTo>
                    <a:lnTo>
                      <a:pt x="0" y="0"/>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53" name="Freeform 234"/>
              <p:cNvSpPr>
                <a:spLocks/>
              </p:cNvSpPr>
              <p:nvPr/>
            </p:nvSpPr>
            <p:spPr bwMode="auto">
              <a:xfrm>
                <a:off x="5089" y="2386"/>
                <a:ext cx="2"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54" name="Freeform 235"/>
              <p:cNvSpPr>
                <a:spLocks/>
              </p:cNvSpPr>
              <p:nvPr/>
            </p:nvSpPr>
            <p:spPr bwMode="auto">
              <a:xfrm>
                <a:off x="5096" y="2390"/>
                <a:ext cx="6" cy="7"/>
              </a:xfrm>
              <a:custGeom>
                <a:avLst/>
                <a:gdLst>
                  <a:gd name="T0" fmla="*/ 1 w 6"/>
                  <a:gd name="T1" fmla="*/ 0 h 7"/>
                  <a:gd name="T2" fmla="*/ 1 w 6"/>
                  <a:gd name="T3" fmla="*/ 2 h 7"/>
                  <a:gd name="T4" fmla="*/ 3 w 6"/>
                  <a:gd name="T5" fmla="*/ 2 h 7"/>
                  <a:gd name="T6" fmla="*/ 3 w 6"/>
                  <a:gd name="T7" fmla="*/ 4 h 7"/>
                  <a:gd name="T8" fmla="*/ 4 w 6"/>
                  <a:gd name="T9" fmla="*/ 4 h 7"/>
                  <a:gd name="T10" fmla="*/ 4 w 6"/>
                  <a:gd name="T11" fmla="*/ 5 h 7"/>
                  <a:gd name="T12" fmla="*/ 6 w 6"/>
                  <a:gd name="T13" fmla="*/ 5 h 7"/>
                  <a:gd name="T14" fmla="*/ 6 w 6"/>
                  <a:gd name="T15" fmla="*/ 7 h 7"/>
                  <a:gd name="T16" fmla="*/ 4 w 6"/>
                  <a:gd name="T17" fmla="*/ 7 h 7"/>
                  <a:gd name="T18" fmla="*/ 4 w 6"/>
                  <a:gd name="T19" fmla="*/ 5 h 7"/>
                  <a:gd name="T20" fmla="*/ 3 w 6"/>
                  <a:gd name="T21" fmla="*/ 5 h 7"/>
                  <a:gd name="T22" fmla="*/ 3 w 6"/>
                  <a:gd name="T23" fmla="*/ 4 h 7"/>
                  <a:gd name="T24" fmla="*/ 1 w 6"/>
                  <a:gd name="T25" fmla="*/ 4 h 7"/>
                  <a:gd name="T26" fmla="*/ 1 w 6"/>
                  <a:gd name="T27" fmla="*/ 2 h 7"/>
                  <a:gd name="T28" fmla="*/ 0 w 6"/>
                  <a:gd name="T29" fmla="*/ 2 h 7"/>
                  <a:gd name="T30" fmla="*/ 0 w 6"/>
                  <a:gd name="T31" fmla="*/ 0 h 7"/>
                  <a:gd name="T32" fmla="*/ 1 w 6"/>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7">
                    <a:moveTo>
                      <a:pt x="1" y="0"/>
                    </a:moveTo>
                    <a:lnTo>
                      <a:pt x="1" y="2"/>
                    </a:lnTo>
                    <a:lnTo>
                      <a:pt x="3" y="2"/>
                    </a:lnTo>
                    <a:lnTo>
                      <a:pt x="3" y="4"/>
                    </a:lnTo>
                    <a:lnTo>
                      <a:pt x="4" y="4"/>
                    </a:lnTo>
                    <a:lnTo>
                      <a:pt x="4" y="5"/>
                    </a:lnTo>
                    <a:lnTo>
                      <a:pt x="6" y="5"/>
                    </a:lnTo>
                    <a:lnTo>
                      <a:pt x="6" y="7"/>
                    </a:lnTo>
                    <a:lnTo>
                      <a:pt x="4" y="7"/>
                    </a:lnTo>
                    <a:lnTo>
                      <a:pt x="4" y="5"/>
                    </a:lnTo>
                    <a:lnTo>
                      <a:pt x="3" y="5"/>
                    </a:lnTo>
                    <a:lnTo>
                      <a:pt x="3" y="4"/>
                    </a:lnTo>
                    <a:lnTo>
                      <a:pt x="1" y="4"/>
                    </a:lnTo>
                    <a:lnTo>
                      <a:pt x="1" y="2"/>
                    </a:lnTo>
                    <a:lnTo>
                      <a:pt x="0" y="2"/>
                    </a:lnTo>
                    <a:lnTo>
                      <a:pt x="0" y="0"/>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55" name="Rectangle 236"/>
              <p:cNvSpPr>
                <a:spLocks noChangeArrowheads="1"/>
              </p:cNvSpPr>
              <p:nvPr/>
            </p:nvSpPr>
            <p:spPr bwMode="auto">
              <a:xfrm>
                <a:off x="5119" y="2425"/>
                <a:ext cx="2" cy="2"/>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56" name="Freeform 237"/>
              <p:cNvSpPr>
                <a:spLocks/>
              </p:cNvSpPr>
              <p:nvPr/>
            </p:nvSpPr>
            <p:spPr bwMode="auto">
              <a:xfrm>
                <a:off x="5142" y="2430"/>
                <a:ext cx="1" cy="3"/>
              </a:xfrm>
              <a:custGeom>
                <a:avLst/>
                <a:gdLst>
                  <a:gd name="T0" fmla="*/ 0 w 1"/>
                  <a:gd name="T1" fmla="*/ 0 h 3"/>
                  <a:gd name="T2" fmla="*/ 1 w 1"/>
                  <a:gd name="T3" fmla="*/ 0 h 3"/>
                  <a:gd name="T4" fmla="*/ 1 w 1"/>
                  <a:gd name="T5" fmla="*/ 2 h 3"/>
                  <a:gd name="T6" fmla="*/ 1 w 1"/>
                  <a:gd name="T7" fmla="*/ 3 h 3"/>
                  <a:gd name="T8" fmla="*/ 0 w 1"/>
                  <a:gd name="T9" fmla="*/ 3 h 3"/>
                  <a:gd name="T10" fmla="*/ 0 w 1"/>
                  <a:gd name="T11" fmla="*/ 2 h 3"/>
                  <a:gd name="T12" fmla="*/ 0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0"/>
                    </a:moveTo>
                    <a:lnTo>
                      <a:pt x="1" y="0"/>
                    </a:lnTo>
                    <a:lnTo>
                      <a:pt x="1" y="2"/>
                    </a:lnTo>
                    <a:lnTo>
                      <a:pt x="1" y="3"/>
                    </a:lnTo>
                    <a:lnTo>
                      <a:pt x="0" y="3"/>
                    </a:ln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57" name="Freeform 238"/>
              <p:cNvSpPr>
                <a:spLocks/>
              </p:cNvSpPr>
              <p:nvPr/>
            </p:nvSpPr>
            <p:spPr bwMode="auto">
              <a:xfrm>
                <a:off x="5126" y="2432"/>
                <a:ext cx="3" cy="3"/>
              </a:xfrm>
              <a:custGeom>
                <a:avLst/>
                <a:gdLst>
                  <a:gd name="T0" fmla="*/ 1 w 3"/>
                  <a:gd name="T1" fmla="*/ 0 h 3"/>
                  <a:gd name="T2" fmla="*/ 1 w 3"/>
                  <a:gd name="T3" fmla="*/ 1 h 3"/>
                  <a:gd name="T4" fmla="*/ 3 w 3"/>
                  <a:gd name="T5" fmla="*/ 1 h 3"/>
                  <a:gd name="T6" fmla="*/ 1 w 3"/>
                  <a:gd name="T7" fmla="*/ 1 h 3"/>
                  <a:gd name="T8" fmla="*/ 1 w 3"/>
                  <a:gd name="T9" fmla="*/ 3 h 3"/>
                  <a:gd name="T10" fmla="*/ 1 w 3"/>
                  <a:gd name="T11" fmla="*/ 1 h 3"/>
                  <a:gd name="T12" fmla="*/ 0 w 3"/>
                  <a:gd name="T13" fmla="*/ 1 h 3"/>
                  <a:gd name="T14" fmla="*/ 0 w 3"/>
                  <a:gd name="T15" fmla="*/ 0 h 3"/>
                  <a:gd name="T16" fmla="*/ 1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1" y="0"/>
                    </a:moveTo>
                    <a:lnTo>
                      <a:pt x="1" y="1"/>
                    </a:lnTo>
                    <a:lnTo>
                      <a:pt x="3" y="1"/>
                    </a:lnTo>
                    <a:lnTo>
                      <a:pt x="1" y="1"/>
                    </a:lnTo>
                    <a:lnTo>
                      <a:pt x="1" y="3"/>
                    </a:lnTo>
                    <a:lnTo>
                      <a:pt x="1" y="1"/>
                    </a:lnTo>
                    <a:lnTo>
                      <a:pt x="0" y="1"/>
                    </a:lnTo>
                    <a:lnTo>
                      <a:pt x="0" y="0"/>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58" name="Freeform 239"/>
              <p:cNvSpPr>
                <a:spLocks/>
              </p:cNvSpPr>
              <p:nvPr/>
            </p:nvSpPr>
            <p:spPr bwMode="auto">
              <a:xfrm>
                <a:off x="5140" y="2433"/>
                <a:ext cx="2" cy="3"/>
              </a:xfrm>
              <a:custGeom>
                <a:avLst/>
                <a:gdLst>
                  <a:gd name="T0" fmla="*/ 0 w 2"/>
                  <a:gd name="T1" fmla="*/ 0 h 3"/>
                  <a:gd name="T2" fmla="*/ 2 w 2"/>
                  <a:gd name="T3" fmla="*/ 0 h 3"/>
                  <a:gd name="T4" fmla="*/ 2 w 2"/>
                  <a:gd name="T5" fmla="*/ 2 h 3"/>
                  <a:gd name="T6" fmla="*/ 0 w 2"/>
                  <a:gd name="T7" fmla="*/ 2 h 3"/>
                  <a:gd name="T8" fmla="*/ 0 w 2"/>
                  <a:gd name="T9" fmla="*/ 3 h 3"/>
                  <a:gd name="T10" fmla="*/ 0 w 2"/>
                  <a:gd name="T11" fmla="*/ 2 h 3"/>
                  <a:gd name="T12" fmla="*/ 0 w 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0"/>
                    </a:moveTo>
                    <a:lnTo>
                      <a:pt x="2" y="0"/>
                    </a:lnTo>
                    <a:lnTo>
                      <a:pt x="2" y="2"/>
                    </a:lnTo>
                    <a:lnTo>
                      <a:pt x="0" y="2"/>
                    </a:lnTo>
                    <a:lnTo>
                      <a:pt x="0" y="3"/>
                    </a:ln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59" name="Freeform 240"/>
              <p:cNvSpPr>
                <a:spLocks/>
              </p:cNvSpPr>
              <p:nvPr/>
            </p:nvSpPr>
            <p:spPr bwMode="auto">
              <a:xfrm>
                <a:off x="5313" y="2460"/>
                <a:ext cx="1" cy="2"/>
              </a:xfrm>
              <a:custGeom>
                <a:avLst/>
                <a:gdLst>
                  <a:gd name="T0" fmla="*/ 1 w 1"/>
                  <a:gd name="T1" fmla="*/ 0 h 2"/>
                  <a:gd name="T2" fmla="*/ 1 w 1"/>
                  <a:gd name="T3" fmla="*/ 2 h 2"/>
                  <a:gd name="T4" fmla="*/ 1 w 1"/>
                  <a:gd name="T5" fmla="*/ 0 h 2"/>
                  <a:gd name="T6" fmla="*/ 0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lnTo>
                      <a:pt x="1" y="2"/>
                    </a:lnTo>
                    <a:lnTo>
                      <a:pt x="1" y="0"/>
                    </a:lnTo>
                    <a:lnTo>
                      <a:pt x="0" y="0"/>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60" name="Freeform 241"/>
              <p:cNvSpPr>
                <a:spLocks/>
              </p:cNvSpPr>
              <p:nvPr/>
            </p:nvSpPr>
            <p:spPr bwMode="auto">
              <a:xfrm>
                <a:off x="5181" y="2539"/>
                <a:ext cx="2"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61" name="Freeform 242"/>
              <p:cNvSpPr>
                <a:spLocks/>
              </p:cNvSpPr>
              <p:nvPr/>
            </p:nvSpPr>
            <p:spPr bwMode="auto">
              <a:xfrm>
                <a:off x="5173" y="2552"/>
                <a:ext cx="4" cy="2"/>
              </a:xfrm>
              <a:custGeom>
                <a:avLst/>
                <a:gdLst>
                  <a:gd name="T0" fmla="*/ 0 w 4"/>
                  <a:gd name="T1" fmla="*/ 0 h 2"/>
                  <a:gd name="T2" fmla="*/ 0 w 4"/>
                  <a:gd name="T3" fmla="*/ 2 h 2"/>
                  <a:gd name="T4" fmla="*/ 2 w 4"/>
                  <a:gd name="T5" fmla="*/ 2 h 2"/>
                  <a:gd name="T6" fmla="*/ 2 w 4"/>
                  <a:gd name="T7" fmla="*/ 0 h 2"/>
                  <a:gd name="T8" fmla="*/ 2 w 4"/>
                  <a:gd name="T9" fmla="*/ 2 h 2"/>
                  <a:gd name="T10" fmla="*/ 4 w 4"/>
                  <a:gd name="T11" fmla="*/ 2 h 2"/>
                  <a:gd name="T12" fmla="*/ 2 w 4"/>
                  <a:gd name="T13" fmla="*/ 2 h 2"/>
                  <a:gd name="T14" fmla="*/ 0 w 4"/>
                  <a:gd name="T15" fmla="*/ 2 h 2"/>
                  <a:gd name="T16" fmla="*/ 0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0" y="0"/>
                    </a:moveTo>
                    <a:lnTo>
                      <a:pt x="0" y="2"/>
                    </a:lnTo>
                    <a:lnTo>
                      <a:pt x="2" y="2"/>
                    </a:lnTo>
                    <a:lnTo>
                      <a:pt x="2" y="0"/>
                    </a:lnTo>
                    <a:lnTo>
                      <a:pt x="2" y="2"/>
                    </a:lnTo>
                    <a:lnTo>
                      <a:pt x="4" y="2"/>
                    </a:lnTo>
                    <a:lnTo>
                      <a:pt x="2" y="2"/>
                    </a:ln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62" name="Freeform 243"/>
              <p:cNvSpPr>
                <a:spLocks/>
              </p:cNvSpPr>
              <p:nvPr/>
            </p:nvSpPr>
            <p:spPr bwMode="auto">
              <a:xfrm>
                <a:off x="5169" y="2576"/>
                <a:ext cx="1"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63" name="Freeform 244"/>
              <p:cNvSpPr>
                <a:spLocks/>
              </p:cNvSpPr>
              <p:nvPr/>
            </p:nvSpPr>
            <p:spPr bwMode="auto">
              <a:xfrm>
                <a:off x="5137" y="2582"/>
                <a:ext cx="1" cy="2"/>
              </a:xfrm>
              <a:custGeom>
                <a:avLst/>
                <a:gdLst>
                  <a:gd name="T0" fmla="*/ 1 w 1"/>
                  <a:gd name="T1" fmla="*/ 0 h 2"/>
                  <a:gd name="T2" fmla="*/ 1 w 1"/>
                  <a:gd name="T3" fmla="*/ 2 h 2"/>
                  <a:gd name="T4" fmla="*/ 1 w 1"/>
                  <a:gd name="T5" fmla="*/ 0 h 2"/>
                  <a:gd name="T6" fmla="*/ 0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lnTo>
                      <a:pt x="1" y="2"/>
                    </a:lnTo>
                    <a:lnTo>
                      <a:pt x="1" y="0"/>
                    </a:lnTo>
                    <a:lnTo>
                      <a:pt x="0" y="0"/>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64" name="Freeform 245"/>
              <p:cNvSpPr>
                <a:spLocks/>
              </p:cNvSpPr>
              <p:nvPr/>
            </p:nvSpPr>
            <p:spPr bwMode="auto">
              <a:xfrm>
                <a:off x="5127" y="2595"/>
                <a:ext cx="4" cy="3"/>
              </a:xfrm>
              <a:custGeom>
                <a:avLst/>
                <a:gdLst>
                  <a:gd name="T0" fmla="*/ 2 w 4"/>
                  <a:gd name="T1" fmla="*/ 0 h 3"/>
                  <a:gd name="T2" fmla="*/ 2 w 4"/>
                  <a:gd name="T3" fmla="*/ 1 h 3"/>
                  <a:gd name="T4" fmla="*/ 4 w 4"/>
                  <a:gd name="T5" fmla="*/ 1 h 3"/>
                  <a:gd name="T6" fmla="*/ 4 w 4"/>
                  <a:gd name="T7" fmla="*/ 3 h 3"/>
                  <a:gd name="T8" fmla="*/ 2 w 4"/>
                  <a:gd name="T9" fmla="*/ 3 h 3"/>
                  <a:gd name="T10" fmla="*/ 0 w 4"/>
                  <a:gd name="T11" fmla="*/ 3 h 3"/>
                  <a:gd name="T12" fmla="*/ 0 w 4"/>
                  <a:gd name="T13" fmla="*/ 1 h 3"/>
                  <a:gd name="T14" fmla="*/ 2 w 4"/>
                  <a:gd name="T15" fmla="*/ 1 h 3"/>
                  <a:gd name="T16" fmla="*/ 2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2" y="0"/>
                    </a:moveTo>
                    <a:lnTo>
                      <a:pt x="2" y="1"/>
                    </a:lnTo>
                    <a:lnTo>
                      <a:pt x="4" y="1"/>
                    </a:lnTo>
                    <a:lnTo>
                      <a:pt x="4" y="3"/>
                    </a:lnTo>
                    <a:lnTo>
                      <a:pt x="2" y="3"/>
                    </a:lnTo>
                    <a:lnTo>
                      <a:pt x="0" y="3"/>
                    </a:lnTo>
                    <a:lnTo>
                      <a:pt x="0" y="1"/>
                    </a:lnTo>
                    <a:lnTo>
                      <a:pt x="2" y="1"/>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65" name="Freeform 246"/>
              <p:cNvSpPr>
                <a:spLocks/>
              </p:cNvSpPr>
              <p:nvPr/>
            </p:nvSpPr>
            <p:spPr bwMode="auto">
              <a:xfrm>
                <a:off x="5126" y="2595"/>
                <a:ext cx="1" cy="3"/>
              </a:xfrm>
              <a:custGeom>
                <a:avLst/>
                <a:gdLst>
                  <a:gd name="T0" fmla="*/ 1 w 1"/>
                  <a:gd name="T1" fmla="*/ 3 h 3"/>
                  <a:gd name="T2" fmla="*/ 1 w 1"/>
                  <a:gd name="T3" fmla="*/ 1 h 3"/>
                  <a:gd name="T4" fmla="*/ 0 w 1"/>
                  <a:gd name="T5" fmla="*/ 1 h 3"/>
                  <a:gd name="T6" fmla="*/ 1 w 1"/>
                  <a:gd name="T7" fmla="*/ 1 h 3"/>
                  <a:gd name="T8" fmla="*/ 1 w 1"/>
                  <a:gd name="T9" fmla="*/ 0 h 3"/>
                  <a:gd name="T10" fmla="*/ 1 w 1"/>
                  <a:gd name="T11" fmla="*/ 1 h 3"/>
                  <a:gd name="T12" fmla="*/ 1 w 1"/>
                  <a:gd name="T13" fmla="*/ 3 h 3"/>
                  <a:gd name="T14" fmla="*/ 0 w 1"/>
                  <a:gd name="T15" fmla="*/ 3 h 3"/>
                  <a:gd name="T16" fmla="*/ 1 w 1"/>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1" y="3"/>
                    </a:moveTo>
                    <a:lnTo>
                      <a:pt x="1" y="1"/>
                    </a:lnTo>
                    <a:lnTo>
                      <a:pt x="0" y="1"/>
                    </a:lnTo>
                    <a:lnTo>
                      <a:pt x="1" y="1"/>
                    </a:lnTo>
                    <a:lnTo>
                      <a:pt x="1" y="0"/>
                    </a:lnTo>
                    <a:lnTo>
                      <a:pt x="1" y="1"/>
                    </a:lnTo>
                    <a:lnTo>
                      <a:pt x="1" y="3"/>
                    </a:lnTo>
                    <a:lnTo>
                      <a:pt x="0" y="3"/>
                    </a:lnTo>
                    <a:lnTo>
                      <a:pt x="1" y="3"/>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66" name="Rectangle 247"/>
              <p:cNvSpPr>
                <a:spLocks noChangeArrowheads="1"/>
              </p:cNvSpPr>
              <p:nvPr/>
            </p:nvSpPr>
            <p:spPr bwMode="auto">
              <a:xfrm>
                <a:off x="5167" y="2599"/>
                <a:ext cx="2" cy="2"/>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67" name="Freeform 248"/>
              <p:cNvSpPr>
                <a:spLocks/>
              </p:cNvSpPr>
              <p:nvPr/>
            </p:nvSpPr>
            <p:spPr bwMode="auto">
              <a:xfrm>
                <a:off x="5134" y="2620"/>
                <a:ext cx="14" cy="10"/>
              </a:xfrm>
              <a:custGeom>
                <a:avLst/>
                <a:gdLst>
                  <a:gd name="T0" fmla="*/ 11 w 14"/>
                  <a:gd name="T1" fmla="*/ 0 h 10"/>
                  <a:gd name="T2" fmla="*/ 11 w 14"/>
                  <a:gd name="T3" fmla="*/ 2 h 10"/>
                  <a:gd name="T4" fmla="*/ 12 w 14"/>
                  <a:gd name="T5" fmla="*/ 2 h 10"/>
                  <a:gd name="T6" fmla="*/ 12 w 14"/>
                  <a:gd name="T7" fmla="*/ 3 h 10"/>
                  <a:gd name="T8" fmla="*/ 12 w 14"/>
                  <a:gd name="T9" fmla="*/ 5 h 10"/>
                  <a:gd name="T10" fmla="*/ 12 w 14"/>
                  <a:gd name="T11" fmla="*/ 3 h 10"/>
                  <a:gd name="T12" fmla="*/ 12 w 14"/>
                  <a:gd name="T13" fmla="*/ 5 h 10"/>
                  <a:gd name="T14" fmla="*/ 14 w 14"/>
                  <a:gd name="T15" fmla="*/ 5 h 10"/>
                  <a:gd name="T16" fmla="*/ 14 w 14"/>
                  <a:gd name="T17" fmla="*/ 6 h 10"/>
                  <a:gd name="T18" fmla="*/ 14 w 14"/>
                  <a:gd name="T19" fmla="*/ 8 h 10"/>
                  <a:gd name="T20" fmla="*/ 14 w 14"/>
                  <a:gd name="T21" fmla="*/ 10 h 10"/>
                  <a:gd name="T22" fmla="*/ 12 w 14"/>
                  <a:gd name="T23" fmla="*/ 10 h 10"/>
                  <a:gd name="T24" fmla="*/ 12 w 14"/>
                  <a:gd name="T25" fmla="*/ 8 h 10"/>
                  <a:gd name="T26" fmla="*/ 11 w 14"/>
                  <a:gd name="T27" fmla="*/ 8 h 10"/>
                  <a:gd name="T28" fmla="*/ 11 w 14"/>
                  <a:gd name="T29" fmla="*/ 10 h 10"/>
                  <a:gd name="T30" fmla="*/ 9 w 14"/>
                  <a:gd name="T31" fmla="*/ 10 h 10"/>
                  <a:gd name="T32" fmla="*/ 9 w 14"/>
                  <a:gd name="T33" fmla="*/ 8 h 10"/>
                  <a:gd name="T34" fmla="*/ 8 w 14"/>
                  <a:gd name="T35" fmla="*/ 8 h 10"/>
                  <a:gd name="T36" fmla="*/ 9 w 14"/>
                  <a:gd name="T37" fmla="*/ 8 h 10"/>
                  <a:gd name="T38" fmla="*/ 8 w 14"/>
                  <a:gd name="T39" fmla="*/ 8 h 10"/>
                  <a:gd name="T40" fmla="*/ 8 w 14"/>
                  <a:gd name="T41" fmla="*/ 6 h 10"/>
                  <a:gd name="T42" fmla="*/ 6 w 14"/>
                  <a:gd name="T43" fmla="*/ 6 h 10"/>
                  <a:gd name="T44" fmla="*/ 6 w 14"/>
                  <a:gd name="T45" fmla="*/ 8 h 10"/>
                  <a:gd name="T46" fmla="*/ 4 w 14"/>
                  <a:gd name="T47" fmla="*/ 8 h 10"/>
                  <a:gd name="T48" fmla="*/ 4 w 14"/>
                  <a:gd name="T49" fmla="*/ 6 h 10"/>
                  <a:gd name="T50" fmla="*/ 3 w 14"/>
                  <a:gd name="T51" fmla="*/ 6 h 10"/>
                  <a:gd name="T52" fmla="*/ 1 w 14"/>
                  <a:gd name="T53" fmla="*/ 6 h 10"/>
                  <a:gd name="T54" fmla="*/ 0 w 14"/>
                  <a:gd name="T55" fmla="*/ 6 h 10"/>
                  <a:gd name="T56" fmla="*/ 0 w 14"/>
                  <a:gd name="T57" fmla="*/ 5 h 10"/>
                  <a:gd name="T58" fmla="*/ 1 w 14"/>
                  <a:gd name="T59" fmla="*/ 5 h 10"/>
                  <a:gd name="T60" fmla="*/ 3 w 14"/>
                  <a:gd name="T61" fmla="*/ 5 h 10"/>
                  <a:gd name="T62" fmla="*/ 3 w 14"/>
                  <a:gd name="T63" fmla="*/ 3 h 10"/>
                  <a:gd name="T64" fmla="*/ 4 w 14"/>
                  <a:gd name="T65" fmla="*/ 3 h 10"/>
                  <a:gd name="T66" fmla="*/ 6 w 14"/>
                  <a:gd name="T67" fmla="*/ 3 h 10"/>
                  <a:gd name="T68" fmla="*/ 6 w 14"/>
                  <a:gd name="T69" fmla="*/ 2 h 10"/>
                  <a:gd name="T70" fmla="*/ 8 w 14"/>
                  <a:gd name="T71" fmla="*/ 2 h 10"/>
                  <a:gd name="T72" fmla="*/ 8 w 14"/>
                  <a:gd name="T73" fmla="*/ 0 h 10"/>
                  <a:gd name="T74" fmla="*/ 9 w 14"/>
                  <a:gd name="T75" fmla="*/ 0 h 10"/>
                  <a:gd name="T76" fmla="*/ 9 w 14"/>
                  <a:gd name="T77" fmla="*/ 2 h 10"/>
                  <a:gd name="T78" fmla="*/ 11 w 14"/>
                  <a:gd name="T79" fmla="*/ 2 h 10"/>
                  <a:gd name="T80" fmla="*/ 11 w 14"/>
                  <a:gd name="T8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10">
                    <a:moveTo>
                      <a:pt x="11" y="0"/>
                    </a:moveTo>
                    <a:lnTo>
                      <a:pt x="11" y="2"/>
                    </a:lnTo>
                    <a:lnTo>
                      <a:pt x="12" y="2"/>
                    </a:lnTo>
                    <a:lnTo>
                      <a:pt x="12" y="3"/>
                    </a:lnTo>
                    <a:lnTo>
                      <a:pt x="12" y="5"/>
                    </a:lnTo>
                    <a:lnTo>
                      <a:pt x="12" y="3"/>
                    </a:lnTo>
                    <a:lnTo>
                      <a:pt x="12" y="5"/>
                    </a:lnTo>
                    <a:lnTo>
                      <a:pt x="14" y="5"/>
                    </a:lnTo>
                    <a:lnTo>
                      <a:pt x="14" y="6"/>
                    </a:lnTo>
                    <a:lnTo>
                      <a:pt x="14" y="8"/>
                    </a:lnTo>
                    <a:lnTo>
                      <a:pt x="14" y="10"/>
                    </a:lnTo>
                    <a:lnTo>
                      <a:pt x="12" y="10"/>
                    </a:lnTo>
                    <a:lnTo>
                      <a:pt x="12" y="8"/>
                    </a:lnTo>
                    <a:lnTo>
                      <a:pt x="11" y="8"/>
                    </a:lnTo>
                    <a:lnTo>
                      <a:pt x="11" y="10"/>
                    </a:lnTo>
                    <a:lnTo>
                      <a:pt x="9" y="10"/>
                    </a:lnTo>
                    <a:lnTo>
                      <a:pt x="9" y="8"/>
                    </a:lnTo>
                    <a:lnTo>
                      <a:pt x="8" y="8"/>
                    </a:lnTo>
                    <a:lnTo>
                      <a:pt x="9" y="8"/>
                    </a:lnTo>
                    <a:lnTo>
                      <a:pt x="8" y="8"/>
                    </a:lnTo>
                    <a:lnTo>
                      <a:pt x="8" y="6"/>
                    </a:lnTo>
                    <a:lnTo>
                      <a:pt x="6" y="6"/>
                    </a:lnTo>
                    <a:lnTo>
                      <a:pt x="6" y="8"/>
                    </a:lnTo>
                    <a:lnTo>
                      <a:pt x="4" y="8"/>
                    </a:lnTo>
                    <a:lnTo>
                      <a:pt x="4" y="6"/>
                    </a:lnTo>
                    <a:lnTo>
                      <a:pt x="3" y="6"/>
                    </a:lnTo>
                    <a:lnTo>
                      <a:pt x="1" y="6"/>
                    </a:lnTo>
                    <a:lnTo>
                      <a:pt x="0" y="6"/>
                    </a:lnTo>
                    <a:lnTo>
                      <a:pt x="0" y="5"/>
                    </a:lnTo>
                    <a:lnTo>
                      <a:pt x="1" y="5"/>
                    </a:lnTo>
                    <a:lnTo>
                      <a:pt x="3" y="5"/>
                    </a:lnTo>
                    <a:lnTo>
                      <a:pt x="3" y="3"/>
                    </a:lnTo>
                    <a:lnTo>
                      <a:pt x="4" y="3"/>
                    </a:lnTo>
                    <a:lnTo>
                      <a:pt x="6" y="3"/>
                    </a:lnTo>
                    <a:lnTo>
                      <a:pt x="6" y="2"/>
                    </a:lnTo>
                    <a:lnTo>
                      <a:pt x="8" y="2"/>
                    </a:lnTo>
                    <a:lnTo>
                      <a:pt x="8" y="0"/>
                    </a:lnTo>
                    <a:lnTo>
                      <a:pt x="9" y="0"/>
                    </a:lnTo>
                    <a:lnTo>
                      <a:pt x="9" y="2"/>
                    </a:lnTo>
                    <a:lnTo>
                      <a:pt x="11" y="2"/>
                    </a:lnTo>
                    <a:lnTo>
                      <a:pt x="1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68" name="Freeform 249"/>
              <p:cNvSpPr>
                <a:spLocks/>
              </p:cNvSpPr>
              <p:nvPr/>
            </p:nvSpPr>
            <p:spPr bwMode="auto">
              <a:xfrm>
                <a:off x="5153" y="2623"/>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69" name="Freeform 250"/>
              <p:cNvSpPr>
                <a:spLocks/>
              </p:cNvSpPr>
              <p:nvPr/>
            </p:nvSpPr>
            <p:spPr bwMode="auto">
              <a:xfrm>
                <a:off x="5123" y="2625"/>
                <a:ext cx="1" cy="1"/>
              </a:xfrm>
              <a:custGeom>
                <a:avLst/>
                <a:gdLst>
                  <a:gd name="T0" fmla="*/ 0 w 1"/>
                  <a:gd name="T1" fmla="*/ 0 h 1"/>
                  <a:gd name="T2" fmla="*/ 1 w 1"/>
                  <a:gd name="T3" fmla="*/ 0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1" y="0"/>
                    </a:lnTo>
                    <a:lnTo>
                      <a:pt x="1" y="1"/>
                    </a:lnTo>
                    <a:lnTo>
                      <a:pt x="1" y="0"/>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70" name="Freeform 251"/>
              <p:cNvSpPr>
                <a:spLocks/>
              </p:cNvSpPr>
              <p:nvPr/>
            </p:nvSpPr>
            <p:spPr bwMode="auto">
              <a:xfrm>
                <a:off x="5145" y="2658"/>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71" name="Freeform 252"/>
              <p:cNvSpPr>
                <a:spLocks/>
              </p:cNvSpPr>
              <p:nvPr/>
            </p:nvSpPr>
            <p:spPr bwMode="auto">
              <a:xfrm>
                <a:off x="5138" y="2664"/>
                <a:ext cx="5" cy="7"/>
              </a:xfrm>
              <a:custGeom>
                <a:avLst/>
                <a:gdLst>
                  <a:gd name="T0" fmla="*/ 4 w 5"/>
                  <a:gd name="T1" fmla="*/ 0 h 7"/>
                  <a:gd name="T2" fmla="*/ 4 w 5"/>
                  <a:gd name="T3" fmla="*/ 2 h 7"/>
                  <a:gd name="T4" fmla="*/ 5 w 5"/>
                  <a:gd name="T5" fmla="*/ 2 h 7"/>
                  <a:gd name="T6" fmla="*/ 5 w 5"/>
                  <a:gd name="T7" fmla="*/ 4 h 7"/>
                  <a:gd name="T8" fmla="*/ 5 w 5"/>
                  <a:gd name="T9" fmla="*/ 5 h 7"/>
                  <a:gd name="T10" fmla="*/ 5 w 5"/>
                  <a:gd name="T11" fmla="*/ 7 h 7"/>
                  <a:gd name="T12" fmla="*/ 4 w 5"/>
                  <a:gd name="T13" fmla="*/ 7 h 7"/>
                  <a:gd name="T14" fmla="*/ 2 w 5"/>
                  <a:gd name="T15" fmla="*/ 7 h 7"/>
                  <a:gd name="T16" fmla="*/ 2 w 5"/>
                  <a:gd name="T17" fmla="*/ 5 h 7"/>
                  <a:gd name="T18" fmla="*/ 0 w 5"/>
                  <a:gd name="T19" fmla="*/ 5 h 7"/>
                  <a:gd name="T20" fmla="*/ 0 w 5"/>
                  <a:gd name="T21" fmla="*/ 4 h 7"/>
                  <a:gd name="T22" fmla="*/ 0 w 5"/>
                  <a:gd name="T23" fmla="*/ 2 h 7"/>
                  <a:gd name="T24" fmla="*/ 2 w 5"/>
                  <a:gd name="T25" fmla="*/ 2 h 7"/>
                  <a:gd name="T26" fmla="*/ 2 w 5"/>
                  <a:gd name="T27" fmla="*/ 0 h 7"/>
                  <a:gd name="T28" fmla="*/ 4 w 5"/>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7">
                    <a:moveTo>
                      <a:pt x="4" y="0"/>
                    </a:moveTo>
                    <a:lnTo>
                      <a:pt x="4" y="2"/>
                    </a:lnTo>
                    <a:lnTo>
                      <a:pt x="5" y="2"/>
                    </a:lnTo>
                    <a:lnTo>
                      <a:pt x="5" y="4"/>
                    </a:lnTo>
                    <a:lnTo>
                      <a:pt x="5" y="5"/>
                    </a:lnTo>
                    <a:lnTo>
                      <a:pt x="5" y="7"/>
                    </a:lnTo>
                    <a:lnTo>
                      <a:pt x="4" y="7"/>
                    </a:lnTo>
                    <a:lnTo>
                      <a:pt x="2" y="7"/>
                    </a:lnTo>
                    <a:lnTo>
                      <a:pt x="2" y="5"/>
                    </a:lnTo>
                    <a:lnTo>
                      <a:pt x="0" y="5"/>
                    </a:lnTo>
                    <a:lnTo>
                      <a:pt x="0" y="4"/>
                    </a:lnTo>
                    <a:lnTo>
                      <a:pt x="0" y="2"/>
                    </a:lnTo>
                    <a:lnTo>
                      <a:pt x="2" y="2"/>
                    </a:lnTo>
                    <a:lnTo>
                      <a:pt x="2" y="0"/>
                    </a:lnTo>
                    <a:lnTo>
                      <a:pt x="4"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72" name="Rectangle 253"/>
              <p:cNvSpPr>
                <a:spLocks noChangeArrowheads="1"/>
              </p:cNvSpPr>
              <p:nvPr/>
            </p:nvSpPr>
            <p:spPr bwMode="auto">
              <a:xfrm>
                <a:off x="5234" y="2691"/>
                <a:ext cx="1" cy="2"/>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73" name="Freeform 254"/>
              <p:cNvSpPr>
                <a:spLocks/>
              </p:cNvSpPr>
              <p:nvPr/>
            </p:nvSpPr>
            <p:spPr bwMode="auto">
              <a:xfrm>
                <a:off x="5203" y="2699"/>
                <a:ext cx="105" cy="116"/>
              </a:xfrm>
              <a:custGeom>
                <a:avLst/>
                <a:gdLst>
                  <a:gd name="T0" fmla="*/ 91 w 105"/>
                  <a:gd name="T1" fmla="*/ 65 h 116"/>
                  <a:gd name="T2" fmla="*/ 86 w 105"/>
                  <a:gd name="T3" fmla="*/ 70 h 116"/>
                  <a:gd name="T4" fmla="*/ 88 w 105"/>
                  <a:gd name="T5" fmla="*/ 78 h 116"/>
                  <a:gd name="T6" fmla="*/ 84 w 105"/>
                  <a:gd name="T7" fmla="*/ 84 h 116"/>
                  <a:gd name="T8" fmla="*/ 80 w 105"/>
                  <a:gd name="T9" fmla="*/ 89 h 116"/>
                  <a:gd name="T10" fmla="*/ 75 w 105"/>
                  <a:gd name="T11" fmla="*/ 91 h 116"/>
                  <a:gd name="T12" fmla="*/ 70 w 105"/>
                  <a:gd name="T13" fmla="*/ 89 h 116"/>
                  <a:gd name="T14" fmla="*/ 64 w 105"/>
                  <a:gd name="T15" fmla="*/ 86 h 116"/>
                  <a:gd name="T16" fmla="*/ 57 w 105"/>
                  <a:gd name="T17" fmla="*/ 89 h 116"/>
                  <a:gd name="T18" fmla="*/ 53 w 105"/>
                  <a:gd name="T19" fmla="*/ 94 h 116"/>
                  <a:gd name="T20" fmla="*/ 48 w 105"/>
                  <a:gd name="T21" fmla="*/ 98 h 116"/>
                  <a:gd name="T22" fmla="*/ 50 w 105"/>
                  <a:gd name="T23" fmla="*/ 103 h 116"/>
                  <a:gd name="T24" fmla="*/ 53 w 105"/>
                  <a:gd name="T25" fmla="*/ 110 h 116"/>
                  <a:gd name="T26" fmla="*/ 45 w 105"/>
                  <a:gd name="T27" fmla="*/ 111 h 116"/>
                  <a:gd name="T28" fmla="*/ 38 w 105"/>
                  <a:gd name="T29" fmla="*/ 114 h 116"/>
                  <a:gd name="T30" fmla="*/ 31 w 105"/>
                  <a:gd name="T31" fmla="*/ 116 h 116"/>
                  <a:gd name="T32" fmla="*/ 24 w 105"/>
                  <a:gd name="T33" fmla="*/ 116 h 116"/>
                  <a:gd name="T34" fmla="*/ 21 w 105"/>
                  <a:gd name="T35" fmla="*/ 116 h 116"/>
                  <a:gd name="T36" fmla="*/ 15 w 105"/>
                  <a:gd name="T37" fmla="*/ 113 h 116"/>
                  <a:gd name="T38" fmla="*/ 8 w 105"/>
                  <a:gd name="T39" fmla="*/ 110 h 116"/>
                  <a:gd name="T40" fmla="*/ 5 w 105"/>
                  <a:gd name="T41" fmla="*/ 103 h 116"/>
                  <a:gd name="T42" fmla="*/ 0 w 105"/>
                  <a:gd name="T43" fmla="*/ 98 h 116"/>
                  <a:gd name="T44" fmla="*/ 5 w 105"/>
                  <a:gd name="T45" fmla="*/ 100 h 116"/>
                  <a:gd name="T46" fmla="*/ 10 w 105"/>
                  <a:gd name="T47" fmla="*/ 95 h 116"/>
                  <a:gd name="T48" fmla="*/ 16 w 105"/>
                  <a:gd name="T49" fmla="*/ 92 h 116"/>
                  <a:gd name="T50" fmla="*/ 23 w 105"/>
                  <a:gd name="T51" fmla="*/ 89 h 116"/>
                  <a:gd name="T52" fmla="*/ 27 w 105"/>
                  <a:gd name="T53" fmla="*/ 84 h 116"/>
                  <a:gd name="T54" fmla="*/ 32 w 105"/>
                  <a:gd name="T55" fmla="*/ 79 h 116"/>
                  <a:gd name="T56" fmla="*/ 35 w 105"/>
                  <a:gd name="T57" fmla="*/ 73 h 116"/>
                  <a:gd name="T58" fmla="*/ 40 w 105"/>
                  <a:gd name="T59" fmla="*/ 68 h 116"/>
                  <a:gd name="T60" fmla="*/ 42 w 105"/>
                  <a:gd name="T61" fmla="*/ 64 h 116"/>
                  <a:gd name="T62" fmla="*/ 38 w 105"/>
                  <a:gd name="T63" fmla="*/ 64 h 116"/>
                  <a:gd name="T64" fmla="*/ 38 w 105"/>
                  <a:gd name="T65" fmla="*/ 60 h 116"/>
                  <a:gd name="T66" fmla="*/ 45 w 105"/>
                  <a:gd name="T67" fmla="*/ 57 h 116"/>
                  <a:gd name="T68" fmla="*/ 54 w 105"/>
                  <a:gd name="T69" fmla="*/ 57 h 116"/>
                  <a:gd name="T70" fmla="*/ 61 w 105"/>
                  <a:gd name="T71" fmla="*/ 54 h 116"/>
                  <a:gd name="T72" fmla="*/ 67 w 105"/>
                  <a:gd name="T73" fmla="*/ 51 h 116"/>
                  <a:gd name="T74" fmla="*/ 73 w 105"/>
                  <a:gd name="T75" fmla="*/ 48 h 116"/>
                  <a:gd name="T76" fmla="*/ 73 w 105"/>
                  <a:gd name="T77" fmla="*/ 48 h 116"/>
                  <a:gd name="T78" fmla="*/ 72 w 105"/>
                  <a:gd name="T79" fmla="*/ 46 h 116"/>
                  <a:gd name="T80" fmla="*/ 64 w 105"/>
                  <a:gd name="T81" fmla="*/ 48 h 116"/>
                  <a:gd name="T82" fmla="*/ 61 w 105"/>
                  <a:gd name="T83" fmla="*/ 48 h 116"/>
                  <a:gd name="T84" fmla="*/ 64 w 105"/>
                  <a:gd name="T85" fmla="*/ 45 h 116"/>
                  <a:gd name="T86" fmla="*/ 70 w 105"/>
                  <a:gd name="T87" fmla="*/ 41 h 116"/>
                  <a:gd name="T88" fmla="*/ 72 w 105"/>
                  <a:gd name="T89" fmla="*/ 37 h 116"/>
                  <a:gd name="T90" fmla="*/ 80 w 105"/>
                  <a:gd name="T91" fmla="*/ 35 h 116"/>
                  <a:gd name="T92" fmla="*/ 83 w 105"/>
                  <a:gd name="T93" fmla="*/ 35 h 116"/>
                  <a:gd name="T94" fmla="*/ 84 w 105"/>
                  <a:gd name="T95" fmla="*/ 30 h 116"/>
                  <a:gd name="T96" fmla="*/ 88 w 105"/>
                  <a:gd name="T97" fmla="*/ 24 h 116"/>
                  <a:gd name="T98" fmla="*/ 91 w 105"/>
                  <a:gd name="T99" fmla="*/ 18 h 116"/>
                  <a:gd name="T100" fmla="*/ 92 w 105"/>
                  <a:gd name="T101" fmla="*/ 13 h 116"/>
                  <a:gd name="T102" fmla="*/ 99 w 105"/>
                  <a:gd name="T103" fmla="*/ 10 h 116"/>
                  <a:gd name="T104" fmla="*/ 100 w 105"/>
                  <a:gd name="T105" fmla="*/ 2 h 116"/>
                  <a:gd name="T106" fmla="*/ 105 w 105"/>
                  <a:gd name="T107" fmla="*/ 3 h 116"/>
                  <a:gd name="T108" fmla="*/ 105 w 105"/>
                  <a:gd name="T109" fmla="*/ 13 h 116"/>
                  <a:gd name="T110" fmla="*/ 103 w 105"/>
                  <a:gd name="T111" fmla="*/ 18 h 116"/>
                  <a:gd name="T112" fmla="*/ 103 w 105"/>
                  <a:gd name="T113" fmla="*/ 27 h 116"/>
                  <a:gd name="T114" fmla="*/ 102 w 105"/>
                  <a:gd name="T115" fmla="*/ 35 h 116"/>
                  <a:gd name="T116" fmla="*/ 100 w 105"/>
                  <a:gd name="T117" fmla="*/ 43 h 116"/>
                  <a:gd name="T118" fmla="*/ 97 w 105"/>
                  <a:gd name="T119" fmla="*/ 49 h 116"/>
                  <a:gd name="T120" fmla="*/ 95 w 105"/>
                  <a:gd name="T121" fmla="*/ 5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116">
                    <a:moveTo>
                      <a:pt x="94" y="60"/>
                    </a:moveTo>
                    <a:lnTo>
                      <a:pt x="92" y="60"/>
                    </a:lnTo>
                    <a:lnTo>
                      <a:pt x="92" y="62"/>
                    </a:lnTo>
                    <a:lnTo>
                      <a:pt x="92" y="64"/>
                    </a:lnTo>
                    <a:lnTo>
                      <a:pt x="91" y="64"/>
                    </a:lnTo>
                    <a:lnTo>
                      <a:pt x="91" y="65"/>
                    </a:lnTo>
                    <a:lnTo>
                      <a:pt x="89" y="65"/>
                    </a:lnTo>
                    <a:lnTo>
                      <a:pt x="89" y="67"/>
                    </a:lnTo>
                    <a:lnTo>
                      <a:pt x="88" y="67"/>
                    </a:lnTo>
                    <a:lnTo>
                      <a:pt x="86" y="67"/>
                    </a:lnTo>
                    <a:lnTo>
                      <a:pt x="86" y="68"/>
                    </a:lnTo>
                    <a:lnTo>
                      <a:pt x="86" y="70"/>
                    </a:lnTo>
                    <a:lnTo>
                      <a:pt x="86" y="72"/>
                    </a:lnTo>
                    <a:lnTo>
                      <a:pt x="86" y="73"/>
                    </a:lnTo>
                    <a:lnTo>
                      <a:pt x="88" y="73"/>
                    </a:lnTo>
                    <a:lnTo>
                      <a:pt x="88" y="75"/>
                    </a:lnTo>
                    <a:lnTo>
                      <a:pt x="88" y="76"/>
                    </a:lnTo>
                    <a:lnTo>
                      <a:pt x="88" y="78"/>
                    </a:lnTo>
                    <a:lnTo>
                      <a:pt x="86" y="78"/>
                    </a:lnTo>
                    <a:lnTo>
                      <a:pt x="86" y="79"/>
                    </a:lnTo>
                    <a:lnTo>
                      <a:pt x="86" y="81"/>
                    </a:lnTo>
                    <a:lnTo>
                      <a:pt x="84" y="81"/>
                    </a:lnTo>
                    <a:lnTo>
                      <a:pt x="84" y="83"/>
                    </a:lnTo>
                    <a:lnTo>
                      <a:pt x="84" y="84"/>
                    </a:lnTo>
                    <a:lnTo>
                      <a:pt x="83" y="84"/>
                    </a:lnTo>
                    <a:lnTo>
                      <a:pt x="83" y="86"/>
                    </a:lnTo>
                    <a:lnTo>
                      <a:pt x="83" y="87"/>
                    </a:lnTo>
                    <a:lnTo>
                      <a:pt x="81" y="87"/>
                    </a:lnTo>
                    <a:lnTo>
                      <a:pt x="81" y="89"/>
                    </a:lnTo>
                    <a:lnTo>
                      <a:pt x="80" y="89"/>
                    </a:lnTo>
                    <a:lnTo>
                      <a:pt x="80" y="91"/>
                    </a:lnTo>
                    <a:lnTo>
                      <a:pt x="78" y="91"/>
                    </a:lnTo>
                    <a:lnTo>
                      <a:pt x="78" y="89"/>
                    </a:lnTo>
                    <a:lnTo>
                      <a:pt x="78" y="91"/>
                    </a:lnTo>
                    <a:lnTo>
                      <a:pt x="76" y="91"/>
                    </a:lnTo>
                    <a:lnTo>
                      <a:pt x="75" y="91"/>
                    </a:lnTo>
                    <a:lnTo>
                      <a:pt x="75" y="92"/>
                    </a:lnTo>
                    <a:lnTo>
                      <a:pt x="75" y="91"/>
                    </a:lnTo>
                    <a:lnTo>
                      <a:pt x="73" y="91"/>
                    </a:lnTo>
                    <a:lnTo>
                      <a:pt x="72" y="91"/>
                    </a:lnTo>
                    <a:lnTo>
                      <a:pt x="72" y="89"/>
                    </a:lnTo>
                    <a:lnTo>
                      <a:pt x="70" y="89"/>
                    </a:lnTo>
                    <a:lnTo>
                      <a:pt x="70" y="87"/>
                    </a:lnTo>
                    <a:lnTo>
                      <a:pt x="69" y="87"/>
                    </a:lnTo>
                    <a:lnTo>
                      <a:pt x="69" y="86"/>
                    </a:lnTo>
                    <a:lnTo>
                      <a:pt x="67" y="86"/>
                    </a:lnTo>
                    <a:lnTo>
                      <a:pt x="65" y="86"/>
                    </a:lnTo>
                    <a:lnTo>
                      <a:pt x="64" y="86"/>
                    </a:lnTo>
                    <a:lnTo>
                      <a:pt x="64" y="87"/>
                    </a:lnTo>
                    <a:lnTo>
                      <a:pt x="62" y="87"/>
                    </a:lnTo>
                    <a:lnTo>
                      <a:pt x="61" y="87"/>
                    </a:lnTo>
                    <a:lnTo>
                      <a:pt x="59" y="87"/>
                    </a:lnTo>
                    <a:lnTo>
                      <a:pt x="59" y="89"/>
                    </a:lnTo>
                    <a:lnTo>
                      <a:pt x="57" y="89"/>
                    </a:lnTo>
                    <a:lnTo>
                      <a:pt x="57" y="91"/>
                    </a:lnTo>
                    <a:lnTo>
                      <a:pt x="56" y="91"/>
                    </a:lnTo>
                    <a:lnTo>
                      <a:pt x="54" y="91"/>
                    </a:lnTo>
                    <a:lnTo>
                      <a:pt x="54" y="92"/>
                    </a:lnTo>
                    <a:lnTo>
                      <a:pt x="53" y="92"/>
                    </a:lnTo>
                    <a:lnTo>
                      <a:pt x="53" y="94"/>
                    </a:lnTo>
                    <a:lnTo>
                      <a:pt x="53" y="95"/>
                    </a:lnTo>
                    <a:lnTo>
                      <a:pt x="51" y="95"/>
                    </a:lnTo>
                    <a:lnTo>
                      <a:pt x="50" y="95"/>
                    </a:lnTo>
                    <a:lnTo>
                      <a:pt x="50" y="97"/>
                    </a:lnTo>
                    <a:lnTo>
                      <a:pt x="48" y="97"/>
                    </a:lnTo>
                    <a:lnTo>
                      <a:pt x="48" y="98"/>
                    </a:lnTo>
                    <a:lnTo>
                      <a:pt x="48" y="100"/>
                    </a:lnTo>
                    <a:lnTo>
                      <a:pt x="46" y="100"/>
                    </a:lnTo>
                    <a:lnTo>
                      <a:pt x="46" y="102"/>
                    </a:lnTo>
                    <a:lnTo>
                      <a:pt x="48" y="102"/>
                    </a:lnTo>
                    <a:lnTo>
                      <a:pt x="48" y="103"/>
                    </a:lnTo>
                    <a:lnTo>
                      <a:pt x="50" y="103"/>
                    </a:lnTo>
                    <a:lnTo>
                      <a:pt x="51" y="103"/>
                    </a:lnTo>
                    <a:lnTo>
                      <a:pt x="51" y="105"/>
                    </a:lnTo>
                    <a:lnTo>
                      <a:pt x="53" y="105"/>
                    </a:lnTo>
                    <a:lnTo>
                      <a:pt x="53" y="106"/>
                    </a:lnTo>
                    <a:lnTo>
                      <a:pt x="53" y="108"/>
                    </a:lnTo>
                    <a:lnTo>
                      <a:pt x="53" y="110"/>
                    </a:lnTo>
                    <a:lnTo>
                      <a:pt x="51" y="110"/>
                    </a:lnTo>
                    <a:lnTo>
                      <a:pt x="51" y="111"/>
                    </a:lnTo>
                    <a:lnTo>
                      <a:pt x="50" y="111"/>
                    </a:lnTo>
                    <a:lnTo>
                      <a:pt x="48" y="111"/>
                    </a:lnTo>
                    <a:lnTo>
                      <a:pt x="46" y="111"/>
                    </a:lnTo>
                    <a:lnTo>
                      <a:pt x="45" y="111"/>
                    </a:lnTo>
                    <a:lnTo>
                      <a:pt x="45" y="113"/>
                    </a:lnTo>
                    <a:lnTo>
                      <a:pt x="43" y="113"/>
                    </a:lnTo>
                    <a:lnTo>
                      <a:pt x="42" y="113"/>
                    </a:lnTo>
                    <a:lnTo>
                      <a:pt x="40" y="113"/>
                    </a:lnTo>
                    <a:lnTo>
                      <a:pt x="40" y="114"/>
                    </a:lnTo>
                    <a:lnTo>
                      <a:pt x="38" y="114"/>
                    </a:lnTo>
                    <a:lnTo>
                      <a:pt x="37" y="114"/>
                    </a:lnTo>
                    <a:lnTo>
                      <a:pt x="37" y="116"/>
                    </a:lnTo>
                    <a:lnTo>
                      <a:pt x="35" y="116"/>
                    </a:lnTo>
                    <a:lnTo>
                      <a:pt x="34" y="116"/>
                    </a:lnTo>
                    <a:lnTo>
                      <a:pt x="32" y="116"/>
                    </a:lnTo>
                    <a:lnTo>
                      <a:pt x="31" y="116"/>
                    </a:lnTo>
                    <a:lnTo>
                      <a:pt x="29" y="116"/>
                    </a:lnTo>
                    <a:lnTo>
                      <a:pt x="27" y="116"/>
                    </a:lnTo>
                    <a:lnTo>
                      <a:pt x="26" y="116"/>
                    </a:lnTo>
                    <a:lnTo>
                      <a:pt x="24" y="116"/>
                    </a:lnTo>
                    <a:lnTo>
                      <a:pt x="24" y="114"/>
                    </a:lnTo>
                    <a:lnTo>
                      <a:pt x="24" y="116"/>
                    </a:lnTo>
                    <a:lnTo>
                      <a:pt x="24" y="114"/>
                    </a:lnTo>
                    <a:lnTo>
                      <a:pt x="23" y="114"/>
                    </a:lnTo>
                    <a:lnTo>
                      <a:pt x="23" y="116"/>
                    </a:lnTo>
                    <a:lnTo>
                      <a:pt x="21" y="116"/>
                    </a:lnTo>
                    <a:lnTo>
                      <a:pt x="21" y="114"/>
                    </a:lnTo>
                    <a:lnTo>
                      <a:pt x="21" y="116"/>
                    </a:lnTo>
                    <a:lnTo>
                      <a:pt x="19" y="116"/>
                    </a:lnTo>
                    <a:lnTo>
                      <a:pt x="18" y="116"/>
                    </a:lnTo>
                    <a:lnTo>
                      <a:pt x="18" y="114"/>
                    </a:lnTo>
                    <a:lnTo>
                      <a:pt x="16" y="114"/>
                    </a:lnTo>
                    <a:lnTo>
                      <a:pt x="15" y="114"/>
                    </a:lnTo>
                    <a:lnTo>
                      <a:pt x="15" y="113"/>
                    </a:lnTo>
                    <a:lnTo>
                      <a:pt x="13" y="113"/>
                    </a:lnTo>
                    <a:lnTo>
                      <a:pt x="12" y="113"/>
                    </a:lnTo>
                    <a:lnTo>
                      <a:pt x="12" y="111"/>
                    </a:lnTo>
                    <a:lnTo>
                      <a:pt x="10" y="111"/>
                    </a:lnTo>
                    <a:lnTo>
                      <a:pt x="10" y="110"/>
                    </a:lnTo>
                    <a:lnTo>
                      <a:pt x="8" y="110"/>
                    </a:lnTo>
                    <a:lnTo>
                      <a:pt x="8" y="108"/>
                    </a:lnTo>
                    <a:lnTo>
                      <a:pt x="8" y="106"/>
                    </a:lnTo>
                    <a:lnTo>
                      <a:pt x="7" y="106"/>
                    </a:lnTo>
                    <a:lnTo>
                      <a:pt x="7" y="105"/>
                    </a:lnTo>
                    <a:lnTo>
                      <a:pt x="5" y="105"/>
                    </a:lnTo>
                    <a:lnTo>
                      <a:pt x="5" y="103"/>
                    </a:lnTo>
                    <a:lnTo>
                      <a:pt x="4" y="103"/>
                    </a:lnTo>
                    <a:lnTo>
                      <a:pt x="4" y="102"/>
                    </a:lnTo>
                    <a:lnTo>
                      <a:pt x="2" y="102"/>
                    </a:lnTo>
                    <a:lnTo>
                      <a:pt x="0" y="102"/>
                    </a:lnTo>
                    <a:lnTo>
                      <a:pt x="0" y="100"/>
                    </a:lnTo>
                    <a:lnTo>
                      <a:pt x="0" y="98"/>
                    </a:lnTo>
                    <a:lnTo>
                      <a:pt x="2" y="98"/>
                    </a:lnTo>
                    <a:lnTo>
                      <a:pt x="2" y="100"/>
                    </a:lnTo>
                    <a:lnTo>
                      <a:pt x="4" y="100"/>
                    </a:lnTo>
                    <a:lnTo>
                      <a:pt x="4" y="98"/>
                    </a:lnTo>
                    <a:lnTo>
                      <a:pt x="4" y="100"/>
                    </a:lnTo>
                    <a:lnTo>
                      <a:pt x="5" y="100"/>
                    </a:lnTo>
                    <a:lnTo>
                      <a:pt x="7" y="100"/>
                    </a:lnTo>
                    <a:lnTo>
                      <a:pt x="8" y="100"/>
                    </a:lnTo>
                    <a:lnTo>
                      <a:pt x="8" y="98"/>
                    </a:lnTo>
                    <a:lnTo>
                      <a:pt x="8" y="97"/>
                    </a:lnTo>
                    <a:lnTo>
                      <a:pt x="10" y="97"/>
                    </a:lnTo>
                    <a:lnTo>
                      <a:pt x="10" y="95"/>
                    </a:lnTo>
                    <a:lnTo>
                      <a:pt x="12" y="95"/>
                    </a:lnTo>
                    <a:lnTo>
                      <a:pt x="12" y="94"/>
                    </a:lnTo>
                    <a:lnTo>
                      <a:pt x="13" y="94"/>
                    </a:lnTo>
                    <a:lnTo>
                      <a:pt x="15" y="94"/>
                    </a:lnTo>
                    <a:lnTo>
                      <a:pt x="16" y="94"/>
                    </a:lnTo>
                    <a:lnTo>
                      <a:pt x="16" y="92"/>
                    </a:lnTo>
                    <a:lnTo>
                      <a:pt x="18" y="92"/>
                    </a:lnTo>
                    <a:lnTo>
                      <a:pt x="19" y="92"/>
                    </a:lnTo>
                    <a:lnTo>
                      <a:pt x="19" y="91"/>
                    </a:lnTo>
                    <a:lnTo>
                      <a:pt x="21" y="91"/>
                    </a:lnTo>
                    <a:lnTo>
                      <a:pt x="23" y="91"/>
                    </a:lnTo>
                    <a:lnTo>
                      <a:pt x="23" y="89"/>
                    </a:lnTo>
                    <a:lnTo>
                      <a:pt x="24" y="89"/>
                    </a:lnTo>
                    <a:lnTo>
                      <a:pt x="24" y="87"/>
                    </a:lnTo>
                    <a:lnTo>
                      <a:pt x="26" y="87"/>
                    </a:lnTo>
                    <a:lnTo>
                      <a:pt x="26" y="86"/>
                    </a:lnTo>
                    <a:lnTo>
                      <a:pt x="27" y="86"/>
                    </a:lnTo>
                    <a:lnTo>
                      <a:pt x="27" y="84"/>
                    </a:lnTo>
                    <a:lnTo>
                      <a:pt x="27" y="83"/>
                    </a:lnTo>
                    <a:lnTo>
                      <a:pt x="29" y="83"/>
                    </a:lnTo>
                    <a:lnTo>
                      <a:pt x="29" y="81"/>
                    </a:lnTo>
                    <a:lnTo>
                      <a:pt x="31" y="81"/>
                    </a:lnTo>
                    <a:lnTo>
                      <a:pt x="31" y="79"/>
                    </a:lnTo>
                    <a:lnTo>
                      <a:pt x="32" y="79"/>
                    </a:lnTo>
                    <a:lnTo>
                      <a:pt x="32" y="78"/>
                    </a:lnTo>
                    <a:lnTo>
                      <a:pt x="34" y="78"/>
                    </a:lnTo>
                    <a:lnTo>
                      <a:pt x="34" y="76"/>
                    </a:lnTo>
                    <a:lnTo>
                      <a:pt x="34" y="75"/>
                    </a:lnTo>
                    <a:lnTo>
                      <a:pt x="35" y="75"/>
                    </a:lnTo>
                    <a:lnTo>
                      <a:pt x="35" y="73"/>
                    </a:lnTo>
                    <a:lnTo>
                      <a:pt x="35" y="72"/>
                    </a:lnTo>
                    <a:lnTo>
                      <a:pt x="37" y="72"/>
                    </a:lnTo>
                    <a:lnTo>
                      <a:pt x="38" y="72"/>
                    </a:lnTo>
                    <a:lnTo>
                      <a:pt x="38" y="70"/>
                    </a:lnTo>
                    <a:lnTo>
                      <a:pt x="40" y="70"/>
                    </a:lnTo>
                    <a:lnTo>
                      <a:pt x="40" y="68"/>
                    </a:lnTo>
                    <a:lnTo>
                      <a:pt x="42" y="68"/>
                    </a:lnTo>
                    <a:lnTo>
                      <a:pt x="42" y="67"/>
                    </a:lnTo>
                    <a:lnTo>
                      <a:pt x="42" y="65"/>
                    </a:lnTo>
                    <a:lnTo>
                      <a:pt x="43" y="65"/>
                    </a:lnTo>
                    <a:lnTo>
                      <a:pt x="42" y="65"/>
                    </a:lnTo>
                    <a:lnTo>
                      <a:pt x="42" y="64"/>
                    </a:lnTo>
                    <a:lnTo>
                      <a:pt x="42" y="62"/>
                    </a:lnTo>
                    <a:lnTo>
                      <a:pt x="42" y="64"/>
                    </a:lnTo>
                    <a:lnTo>
                      <a:pt x="40" y="64"/>
                    </a:lnTo>
                    <a:lnTo>
                      <a:pt x="40" y="65"/>
                    </a:lnTo>
                    <a:lnTo>
                      <a:pt x="38" y="65"/>
                    </a:lnTo>
                    <a:lnTo>
                      <a:pt x="38" y="64"/>
                    </a:lnTo>
                    <a:lnTo>
                      <a:pt x="38" y="62"/>
                    </a:lnTo>
                    <a:lnTo>
                      <a:pt x="38" y="60"/>
                    </a:lnTo>
                    <a:lnTo>
                      <a:pt x="40" y="60"/>
                    </a:lnTo>
                    <a:lnTo>
                      <a:pt x="38" y="60"/>
                    </a:lnTo>
                    <a:lnTo>
                      <a:pt x="40" y="60"/>
                    </a:lnTo>
                    <a:lnTo>
                      <a:pt x="38" y="60"/>
                    </a:lnTo>
                    <a:lnTo>
                      <a:pt x="38" y="59"/>
                    </a:lnTo>
                    <a:lnTo>
                      <a:pt x="40" y="59"/>
                    </a:lnTo>
                    <a:lnTo>
                      <a:pt x="40" y="57"/>
                    </a:lnTo>
                    <a:lnTo>
                      <a:pt x="42" y="57"/>
                    </a:lnTo>
                    <a:lnTo>
                      <a:pt x="43" y="57"/>
                    </a:lnTo>
                    <a:lnTo>
                      <a:pt x="45" y="57"/>
                    </a:lnTo>
                    <a:lnTo>
                      <a:pt x="46" y="57"/>
                    </a:lnTo>
                    <a:lnTo>
                      <a:pt x="48" y="57"/>
                    </a:lnTo>
                    <a:lnTo>
                      <a:pt x="50" y="57"/>
                    </a:lnTo>
                    <a:lnTo>
                      <a:pt x="51" y="57"/>
                    </a:lnTo>
                    <a:lnTo>
                      <a:pt x="53" y="57"/>
                    </a:lnTo>
                    <a:lnTo>
                      <a:pt x="54" y="57"/>
                    </a:lnTo>
                    <a:lnTo>
                      <a:pt x="56" y="57"/>
                    </a:lnTo>
                    <a:lnTo>
                      <a:pt x="56" y="56"/>
                    </a:lnTo>
                    <a:lnTo>
                      <a:pt x="57" y="56"/>
                    </a:lnTo>
                    <a:lnTo>
                      <a:pt x="59" y="56"/>
                    </a:lnTo>
                    <a:lnTo>
                      <a:pt x="59" y="54"/>
                    </a:lnTo>
                    <a:lnTo>
                      <a:pt x="61" y="54"/>
                    </a:lnTo>
                    <a:lnTo>
                      <a:pt x="62" y="54"/>
                    </a:lnTo>
                    <a:lnTo>
                      <a:pt x="64" y="54"/>
                    </a:lnTo>
                    <a:lnTo>
                      <a:pt x="64" y="53"/>
                    </a:lnTo>
                    <a:lnTo>
                      <a:pt x="65" y="53"/>
                    </a:lnTo>
                    <a:lnTo>
                      <a:pt x="67" y="53"/>
                    </a:lnTo>
                    <a:lnTo>
                      <a:pt x="67" y="51"/>
                    </a:lnTo>
                    <a:lnTo>
                      <a:pt x="69" y="51"/>
                    </a:lnTo>
                    <a:lnTo>
                      <a:pt x="69" y="49"/>
                    </a:lnTo>
                    <a:lnTo>
                      <a:pt x="70" y="49"/>
                    </a:lnTo>
                    <a:lnTo>
                      <a:pt x="72" y="49"/>
                    </a:lnTo>
                    <a:lnTo>
                      <a:pt x="73" y="49"/>
                    </a:lnTo>
                    <a:lnTo>
                      <a:pt x="73" y="48"/>
                    </a:lnTo>
                    <a:lnTo>
                      <a:pt x="75" y="48"/>
                    </a:lnTo>
                    <a:lnTo>
                      <a:pt x="75" y="49"/>
                    </a:lnTo>
                    <a:lnTo>
                      <a:pt x="75" y="48"/>
                    </a:lnTo>
                    <a:lnTo>
                      <a:pt x="73" y="48"/>
                    </a:lnTo>
                    <a:lnTo>
                      <a:pt x="73" y="49"/>
                    </a:lnTo>
                    <a:lnTo>
                      <a:pt x="73" y="48"/>
                    </a:lnTo>
                    <a:lnTo>
                      <a:pt x="73" y="46"/>
                    </a:lnTo>
                    <a:lnTo>
                      <a:pt x="73" y="45"/>
                    </a:lnTo>
                    <a:lnTo>
                      <a:pt x="75" y="45"/>
                    </a:lnTo>
                    <a:lnTo>
                      <a:pt x="73" y="45"/>
                    </a:lnTo>
                    <a:lnTo>
                      <a:pt x="73" y="46"/>
                    </a:lnTo>
                    <a:lnTo>
                      <a:pt x="72" y="46"/>
                    </a:lnTo>
                    <a:lnTo>
                      <a:pt x="72" y="48"/>
                    </a:lnTo>
                    <a:lnTo>
                      <a:pt x="70" y="48"/>
                    </a:lnTo>
                    <a:lnTo>
                      <a:pt x="69" y="48"/>
                    </a:lnTo>
                    <a:lnTo>
                      <a:pt x="67" y="48"/>
                    </a:lnTo>
                    <a:lnTo>
                      <a:pt x="65" y="48"/>
                    </a:lnTo>
                    <a:lnTo>
                      <a:pt x="64" y="48"/>
                    </a:lnTo>
                    <a:lnTo>
                      <a:pt x="65" y="48"/>
                    </a:lnTo>
                    <a:lnTo>
                      <a:pt x="65" y="46"/>
                    </a:lnTo>
                    <a:lnTo>
                      <a:pt x="64" y="46"/>
                    </a:lnTo>
                    <a:lnTo>
                      <a:pt x="62" y="46"/>
                    </a:lnTo>
                    <a:lnTo>
                      <a:pt x="62" y="48"/>
                    </a:lnTo>
                    <a:lnTo>
                      <a:pt x="61" y="48"/>
                    </a:lnTo>
                    <a:lnTo>
                      <a:pt x="59" y="48"/>
                    </a:lnTo>
                    <a:lnTo>
                      <a:pt x="61" y="48"/>
                    </a:lnTo>
                    <a:lnTo>
                      <a:pt x="61" y="46"/>
                    </a:lnTo>
                    <a:lnTo>
                      <a:pt x="62" y="46"/>
                    </a:lnTo>
                    <a:lnTo>
                      <a:pt x="62" y="45"/>
                    </a:lnTo>
                    <a:lnTo>
                      <a:pt x="64" y="45"/>
                    </a:lnTo>
                    <a:lnTo>
                      <a:pt x="65" y="45"/>
                    </a:lnTo>
                    <a:lnTo>
                      <a:pt x="65" y="43"/>
                    </a:lnTo>
                    <a:lnTo>
                      <a:pt x="67" y="43"/>
                    </a:lnTo>
                    <a:lnTo>
                      <a:pt x="69" y="43"/>
                    </a:lnTo>
                    <a:lnTo>
                      <a:pt x="69" y="41"/>
                    </a:lnTo>
                    <a:lnTo>
                      <a:pt x="70" y="41"/>
                    </a:lnTo>
                    <a:lnTo>
                      <a:pt x="70" y="40"/>
                    </a:lnTo>
                    <a:lnTo>
                      <a:pt x="70" y="38"/>
                    </a:lnTo>
                    <a:lnTo>
                      <a:pt x="69" y="38"/>
                    </a:lnTo>
                    <a:lnTo>
                      <a:pt x="70" y="38"/>
                    </a:lnTo>
                    <a:lnTo>
                      <a:pt x="72" y="38"/>
                    </a:lnTo>
                    <a:lnTo>
                      <a:pt x="72" y="37"/>
                    </a:lnTo>
                    <a:lnTo>
                      <a:pt x="73" y="37"/>
                    </a:lnTo>
                    <a:lnTo>
                      <a:pt x="75" y="37"/>
                    </a:lnTo>
                    <a:lnTo>
                      <a:pt x="76" y="37"/>
                    </a:lnTo>
                    <a:lnTo>
                      <a:pt x="76" y="35"/>
                    </a:lnTo>
                    <a:lnTo>
                      <a:pt x="78" y="35"/>
                    </a:lnTo>
                    <a:lnTo>
                      <a:pt x="80" y="35"/>
                    </a:lnTo>
                    <a:lnTo>
                      <a:pt x="81" y="35"/>
                    </a:lnTo>
                    <a:lnTo>
                      <a:pt x="81" y="37"/>
                    </a:lnTo>
                    <a:lnTo>
                      <a:pt x="81" y="35"/>
                    </a:lnTo>
                    <a:lnTo>
                      <a:pt x="81" y="37"/>
                    </a:lnTo>
                    <a:lnTo>
                      <a:pt x="83" y="37"/>
                    </a:lnTo>
                    <a:lnTo>
                      <a:pt x="83" y="35"/>
                    </a:lnTo>
                    <a:lnTo>
                      <a:pt x="81" y="35"/>
                    </a:lnTo>
                    <a:lnTo>
                      <a:pt x="81" y="34"/>
                    </a:lnTo>
                    <a:lnTo>
                      <a:pt x="83" y="34"/>
                    </a:lnTo>
                    <a:lnTo>
                      <a:pt x="83" y="32"/>
                    </a:lnTo>
                    <a:lnTo>
                      <a:pt x="83" y="30"/>
                    </a:lnTo>
                    <a:lnTo>
                      <a:pt x="84" y="30"/>
                    </a:lnTo>
                    <a:lnTo>
                      <a:pt x="84" y="29"/>
                    </a:lnTo>
                    <a:lnTo>
                      <a:pt x="84" y="27"/>
                    </a:lnTo>
                    <a:lnTo>
                      <a:pt x="84" y="26"/>
                    </a:lnTo>
                    <a:lnTo>
                      <a:pt x="86" y="26"/>
                    </a:lnTo>
                    <a:lnTo>
                      <a:pt x="86" y="24"/>
                    </a:lnTo>
                    <a:lnTo>
                      <a:pt x="88" y="24"/>
                    </a:lnTo>
                    <a:lnTo>
                      <a:pt x="89" y="24"/>
                    </a:lnTo>
                    <a:lnTo>
                      <a:pt x="89" y="22"/>
                    </a:lnTo>
                    <a:lnTo>
                      <a:pt x="89" y="21"/>
                    </a:lnTo>
                    <a:lnTo>
                      <a:pt x="91" y="21"/>
                    </a:lnTo>
                    <a:lnTo>
                      <a:pt x="91" y="19"/>
                    </a:lnTo>
                    <a:lnTo>
                      <a:pt x="91" y="18"/>
                    </a:lnTo>
                    <a:lnTo>
                      <a:pt x="92" y="18"/>
                    </a:lnTo>
                    <a:lnTo>
                      <a:pt x="92" y="16"/>
                    </a:lnTo>
                    <a:lnTo>
                      <a:pt x="91" y="16"/>
                    </a:lnTo>
                    <a:lnTo>
                      <a:pt x="91" y="14"/>
                    </a:lnTo>
                    <a:lnTo>
                      <a:pt x="92" y="14"/>
                    </a:lnTo>
                    <a:lnTo>
                      <a:pt x="92" y="13"/>
                    </a:lnTo>
                    <a:lnTo>
                      <a:pt x="94" y="13"/>
                    </a:lnTo>
                    <a:lnTo>
                      <a:pt x="94" y="11"/>
                    </a:lnTo>
                    <a:lnTo>
                      <a:pt x="95" y="11"/>
                    </a:lnTo>
                    <a:lnTo>
                      <a:pt x="95" y="10"/>
                    </a:lnTo>
                    <a:lnTo>
                      <a:pt x="97" y="10"/>
                    </a:lnTo>
                    <a:lnTo>
                      <a:pt x="99" y="10"/>
                    </a:lnTo>
                    <a:lnTo>
                      <a:pt x="99" y="8"/>
                    </a:lnTo>
                    <a:lnTo>
                      <a:pt x="99" y="7"/>
                    </a:lnTo>
                    <a:lnTo>
                      <a:pt x="99" y="5"/>
                    </a:lnTo>
                    <a:lnTo>
                      <a:pt x="100" y="5"/>
                    </a:lnTo>
                    <a:lnTo>
                      <a:pt x="100" y="3"/>
                    </a:lnTo>
                    <a:lnTo>
                      <a:pt x="100" y="2"/>
                    </a:lnTo>
                    <a:lnTo>
                      <a:pt x="100" y="0"/>
                    </a:lnTo>
                    <a:lnTo>
                      <a:pt x="102" y="0"/>
                    </a:lnTo>
                    <a:lnTo>
                      <a:pt x="103" y="0"/>
                    </a:lnTo>
                    <a:lnTo>
                      <a:pt x="105" y="0"/>
                    </a:lnTo>
                    <a:lnTo>
                      <a:pt x="105" y="2"/>
                    </a:lnTo>
                    <a:lnTo>
                      <a:pt x="105" y="3"/>
                    </a:lnTo>
                    <a:lnTo>
                      <a:pt x="105" y="5"/>
                    </a:lnTo>
                    <a:lnTo>
                      <a:pt x="105" y="7"/>
                    </a:lnTo>
                    <a:lnTo>
                      <a:pt x="105" y="8"/>
                    </a:lnTo>
                    <a:lnTo>
                      <a:pt x="105" y="10"/>
                    </a:lnTo>
                    <a:lnTo>
                      <a:pt x="105" y="11"/>
                    </a:lnTo>
                    <a:lnTo>
                      <a:pt x="105" y="13"/>
                    </a:lnTo>
                    <a:lnTo>
                      <a:pt x="105" y="14"/>
                    </a:lnTo>
                    <a:lnTo>
                      <a:pt x="105" y="16"/>
                    </a:lnTo>
                    <a:lnTo>
                      <a:pt x="103" y="16"/>
                    </a:lnTo>
                    <a:lnTo>
                      <a:pt x="105" y="16"/>
                    </a:lnTo>
                    <a:lnTo>
                      <a:pt x="103" y="16"/>
                    </a:lnTo>
                    <a:lnTo>
                      <a:pt x="103" y="18"/>
                    </a:lnTo>
                    <a:lnTo>
                      <a:pt x="103" y="19"/>
                    </a:lnTo>
                    <a:lnTo>
                      <a:pt x="103" y="21"/>
                    </a:lnTo>
                    <a:lnTo>
                      <a:pt x="103" y="22"/>
                    </a:lnTo>
                    <a:lnTo>
                      <a:pt x="103" y="24"/>
                    </a:lnTo>
                    <a:lnTo>
                      <a:pt x="103" y="26"/>
                    </a:lnTo>
                    <a:lnTo>
                      <a:pt x="103" y="27"/>
                    </a:lnTo>
                    <a:lnTo>
                      <a:pt x="103" y="29"/>
                    </a:lnTo>
                    <a:lnTo>
                      <a:pt x="102" y="29"/>
                    </a:lnTo>
                    <a:lnTo>
                      <a:pt x="102" y="30"/>
                    </a:lnTo>
                    <a:lnTo>
                      <a:pt x="102" y="32"/>
                    </a:lnTo>
                    <a:lnTo>
                      <a:pt x="102" y="34"/>
                    </a:lnTo>
                    <a:lnTo>
                      <a:pt x="102" y="35"/>
                    </a:lnTo>
                    <a:lnTo>
                      <a:pt x="102" y="37"/>
                    </a:lnTo>
                    <a:lnTo>
                      <a:pt x="100" y="37"/>
                    </a:lnTo>
                    <a:lnTo>
                      <a:pt x="100" y="38"/>
                    </a:lnTo>
                    <a:lnTo>
                      <a:pt x="100" y="40"/>
                    </a:lnTo>
                    <a:lnTo>
                      <a:pt x="100" y="41"/>
                    </a:lnTo>
                    <a:lnTo>
                      <a:pt x="100" y="43"/>
                    </a:lnTo>
                    <a:lnTo>
                      <a:pt x="99" y="43"/>
                    </a:lnTo>
                    <a:lnTo>
                      <a:pt x="99" y="45"/>
                    </a:lnTo>
                    <a:lnTo>
                      <a:pt x="99" y="46"/>
                    </a:lnTo>
                    <a:lnTo>
                      <a:pt x="99" y="48"/>
                    </a:lnTo>
                    <a:lnTo>
                      <a:pt x="97" y="48"/>
                    </a:lnTo>
                    <a:lnTo>
                      <a:pt x="97" y="49"/>
                    </a:lnTo>
                    <a:lnTo>
                      <a:pt x="97" y="51"/>
                    </a:lnTo>
                    <a:lnTo>
                      <a:pt x="97" y="53"/>
                    </a:lnTo>
                    <a:lnTo>
                      <a:pt x="97" y="54"/>
                    </a:lnTo>
                    <a:lnTo>
                      <a:pt x="95" y="54"/>
                    </a:lnTo>
                    <a:lnTo>
                      <a:pt x="95" y="56"/>
                    </a:lnTo>
                    <a:lnTo>
                      <a:pt x="95" y="57"/>
                    </a:lnTo>
                    <a:lnTo>
                      <a:pt x="94" y="57"/>
                    </a:lnTo>
                    <a:lnTo>
                      <a:pt x="94" y="59"/>
                    </a:lnTo>
                    <a:lnTo>
                      <a:pt x="94" y="6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74" name="Freeform 255"/>
              <p:cNvSpPr>
                <a:spLocks/>
              </p:cNvSpPr>
              <p:nvPr/>
            </p:nvSpPr>
            <p:spPr bwMode="auto">
              <a:xfrm>
                <a:off x="5298" y="2706"/>
                <a:ext cx="2" cy="3"/>
              </a:xfrm>
              <a:custGeom>
                <a:avLst/>
                <a:gdLst>
                  <a:gd name="T0" fmla="*/ 2 w 2"/>
                  <a:gd name="T1" fmla="*/ 0 h 3"/>
                  <a:gd name="T2" fmla="*/ 2 w 2"/>
                  <a:gd name="T3" fmla="*/ 1 h 3"/>
                  <a:gd name="T4" fmla="*/ 0 w 2"/>
                  <a:gd name="T5" fmla="*/ 1 h 3"/>
                  <a:gd name="T6" fmla="*/ 0 w 2"/>
                  <a:gd name="T7" fmla="*/ 3 h 3"/>
                  <a:gd name="T8" fmla="*/ 0 w 2"/>
                  <a:gd name="T9" fmla="*/ 1 h 3"/>
                  <a:gd name="T10" fmla="*/ 0 w 2"/>
                  <a:gd name="T11" fmla="*/ 3 h 3"/>
                  <a:gd name="T12" fmla="*/ 0 w 2"/>
                  <a:gd name="T13" fmla="*/ 1 h 3"/>
                  <a:gd name="T14" fmla="*/ 0 w 2"/>
                  <a:gd name="T15" fmla="*/ 0 h 3"/>
                  <a:gd name="T16" fmla="*/ 2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2" y="0"/>
                    </a:moveTo>
                    <a:lnTo>
                      <a:pt x="2" y="1"/>
                    </a:lnTo>
                    <a:lnTo>
                      <a:pt x="0" y="1"/>
                    </a:lnTo>
                    <a:lnTo>
                      <a:pt x="0" y="3"/>
                    </a:lnTo>
                    <a:lnTo>
                      <a:pt x="0" y="1"/>
                    </a:lnTo>
                    <a:lnTo>
                      <a:pt x="0" y="3"/>
                    </a:lnTo>
                    <a:lnTo>
                      <a:pt x="0" y="1"/>
                    </a:lnTo>
                    <a:lnTo>
                      <a:pt x="0" y="0"/>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75" name="Freeform 256"/>
              <p:cNvSpPr>
                <a:spLocks/>
              </p:cNvSpPr>
              <p:nvPr/>
            </p:nvSpPr>
            <p:spPr bwMode="auto">
              <a:xfrm>
                <a:off x="5283" y="2731"/>
                <a:ext cx="1" cy="2"/>
              </a:xfrm>
              <a:custGeom>
                <a:avLst/>
                <a:gdLst>
                  <a:gd name="T0" fmla="*/ 1 w 1"/>
                  <a:gd name="T1" fmla="*/ 0 h 2"/>
                  <a:gd name="T2" fmla="*/ 1 w 1"/>
                  <a:gd name="T3" fmla="*/ 2 h 2"/>
                  <a:gd name="T4" fmla="*/ 0 w 1"/>
                  <a:gd name="T5" fmla="*/ 2 h 2"/>
                  <a:gd name="T6" fmla="*/ 1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lnTo>
                      <a:pt x="1" y="2"/>
                    </a:lnTo>
                    <a:lnTo>
                      <a:pt x="0" y="2"/>
                    </a:lnTo>
                    <a:lnTo>
                      <a:pt x="1" y="2"/>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76" name="Freeform 257"/>
              <p:cNvSpPr>
                <a:spLocks/>
              </p:cNvSpPr>
              <p:nvPr/>
            </p:nvSpPr>
            <p:spPr bwMode="auto">
              <a:xfrm>
                <a:off x="5273" y="2793"/>
                <a:ext cx="6" cy="4"/>
              </a:xfrm>
              <a:custGeom>
                <a:avLst/>
                <a:gdLst>
                  <a:gd name="T0" fmla="*/ 5 w 6"/>
                  <a:gd name="T1" fmla="*/ 0 h 4"/>
                  <a:gd name="T2" fmla="*/ 5 w 6"/>
                  <a:gd name="T3" fmla="*/ 1 h 4"/>
                  <a:gd name="T4" fmla="*/ 5 w 6"/>
                  <a:gd name="T5" fmla="*/ 3 h 4"/>
                  <a:gd name="T6" fmla="*/ 6 w 6"/>
                  <a:gd name="T7" fmla="*/ 3 h 4"/>
                  <a:gd name="T8" fmla="*/ 5 w 6"/>
                  <a:gd name="T9" fmla="*/ 3 h 4"/>
                  <a:gd name="T10" fmla="*/ 5 w 6"/>
                  <a:gd name="T11" fmla="*/ 4 h 4"/>
                  <a:gd name="T12" fmla="*/ 3 w 6"/>
                  <a:gd name="T13" fmla="*/ 4 h 4"/>
                  <a:gd name="T14" fmla="*/ 2 w 6"/>
                  <a:gd name="T15" fmla="*/ 4 h 4"/>
                  <a:gd name="T16" fmla="*/ 0 w 6"/>
                  <a:gd name="T17" fmla="*/ 4 h 4"/>
                  <a:gd name="T18" fmla="*/ 0 w 6"/>
                  <a:gd name="T19" fmla="*/ 3 h 4"/>
                  <a:gd name="T20" fmla="*/ 0 w 6"/>
                  <a:gd name="T21" fmla="*/ 1 h 4"/>
                  <a:gd name="T22" fmla="*/ 2 w 6"/>
                  <a:gd name="T23" fmla="*/ 1 h 4"/>
                  <a:gd name="T24" fmla="*/ 2 w 6"/>
                  <a:gd name="T25" fmla="*/ 3 h 4"/>
                  <a:gd name="T26" fmla="*/ 2 w 6"/>
                  <a:gd name="T27" fmla="*/ 4 h 4"/>
                  <a:gd name="T28" fmla="*/ 2 w 6"/>
                  <a:gd name="T29" fmla="*/ 3 h 4"/>
                  <a:gd name="T30" fmla="*/ 3 w 6"/>
                  <a:gd name="T31" fmla="*/ 3 h 4"/>
                  <a:gd name="T32" fmla="*/ 3 w 6"/>
                  <a:gd name="T33" fmla="*/ 1 h 4"/>
                  <a:gd name="T34" fmla="*/ 3 w 6"/>
                  <a:gd name="T35" fmla="*/ 0 h 4"/>
                  <a:gd name="T36" fmla="*/ 5 w 6"/>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4">
                    <a:moveTo>
                      <a:pt x="5" y="0"/>
                    </a:moveTo>
                    <a:lnTo>
                      <a:pt x="5" y="1"/>
                    </a:lnTo>
                    <a:lnTo>
                      <a:pt x="5" y="3"/>
                    </a:lnTo>
                    <a:lnTo>
                      <a:pt x="6" y="3"/>
                    </a:lnTo>
                    <a:lnTo>
                      <a:pt x="5" y="3"/>
                    </a:lnTo>
                    <a:lnTo>
                      <a:pt x="5" y="4"/>
                    </a:lnTo>
                    <a:lnTo>
                      <a:pt x="3" y="4"/>
                    </a:lnTo>
                    <a:lnTo>
                      <a:pt x="2" y="4"/>
                    </a:lnTo>
                    <a:lnTo>
                      <a:pt x="0" y="4"/>
                    </a:lnTo>
                    <a:lnTo>
                      <a:pt x="0" y="3"/>
                    </a:lnTo>
                    <a:lnTo>
                      <a:pt x="0" y="1"/>
                    </a:lnTo>
                    <a:lnTo>
                      <a:pt x="2" y="1"/>
                    </a:lnTo>
                    <a:lnTo>
                      <a:pt x="2" y="3"/>
                    </a:lnTo>
                    <a:lnTo>
                      <a:pt x="2" y="4"/>
                    </a:lnTo>
                    <a:lnTo>
                      <a:pt x="2" y="3"/>
                    </a:lnTo>
                    <a:lnTo>
                      <a:pt x="3" y="3"/>
                    </a:lnTo>
                    <a:lnTo>
                      <a:pt x="3" y="1"/>
                    </a:lnTo>
                    <a:lnTo>
                      <a:pt x="3" y="0"/>
                    </a:lnTo>
                    <a:lnTo>
                      <a:pt x="5"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77" name="Freeform 258"/>
              <p:cNvSpPr>
                <a:spLocks/>
              </p:cNvSpPr>
              <p:nvPr/>
            </p:nvSpPr>
            <p:spPr bwMode="auto">
              <a:xfrm>
                <a:off x="5177" y="2797"/>
                <a:ext cx="9" cy="2"/>
              </a:xfrm>
              <a:custGeom>
                <a:avLst/>
                <a:gdLst>
                  <a:gd name="T0" fmla="*/ 3 w 9"/>
                  <a:gd name="T1" fmla="*/ 0 h 2"/>
                  <a:gd name="T2" fmla="*/ 4 w 9"/>
                  <a:gd name="T3" fmla="*/ 0 h 2"/>
                  <a:gd name="T4" fmla="*/ 6 w 9"/>
                  <a:gd name="T5" fmla="*/ 0 h 2"/>
                  <a:gd name="T6" fmla="*/ 6 w 9"/>
                  <a:gd name="T7" fmla="*/ 2 h 2"/>
                  <a:gd name="T8" fmla="*/ 7 w 9"/>
                  <a:gd name="T9" fmla="*/ 2 h 2"/>
                  <a:gd name="T10" fmla="*/ 9 w 9"/>
                  <a:gd name="T11" fmla="*/ 2 h 2"/>
                  <a:gd name="T12" fmla="*/ 7 w 9"/>
                  <a:gd name="T13" fmla="*/ 2 h 2"/>
                  <a:gd name="T14" fmla="*/ 6 w 9"/>
                  <a:gd name="T15" fmla="*/ 2 h 2"/>
                  <a:gd name="T16" fmla="*/ 4 w 9"/>
                  <a:gd name="T17" fmla="*/ 2 h 2"/>
                  <a:gd name="T18" fmla="*/ 3 w 9"/>
                  <a:gd name="T19" fmla="*/ 2 h 2"/>
                  <a:gd name="T20" fmla="*/ 3 w 9"/>
                  <a:gd name="T21" fmla="*/ 0 h 2"/>
                  <a:gd name="T22" fmla="*/ 1 w 9"/>
                  <a:gd name="T23" fmla="*/ 0 h 2"/>
                  <a:gd name="T24" fmla="*/ 0 w 9"/>
                  <a:gd name="T25" fmla="*/ 0 h 2"/>
                  <a:gd name="T26" fmla="*/ 1 w 9"/>
                  <a:gd name="T27" fmla="*/ 0 h 2"/>
                  <a:gd name="T28" fmla="*/ 3 w 9"/>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2">
                    <a:moveTo>
                      <a:pt x="3" y="0"/>
                    </a:moveTo>
                    <a:lnTo>
                      <a:pt x="4" y="0"/>
                    </a:lnTo>
                    <a:lnTo>
                      <a:pt x="6" y="0"/>
                    </a:lnTo>
                    <a:lnTo>
                      <a:pt x="6" y="2"/>
                    </a:lnTo>
                    <a:lnTo>
                      <a:pt x="7" y="2"/>
                    </a:lnTo>
                    <a:lnTo>
                      <a:pt x="9" y="2"/>
                    </a:lnTo>
                    <a:lnTo>
                      <a:pt x="7" y="2"/>
                    </a:lnTo>
                    <a:lnTo>
                      <a:pt x="6" y="2"/>
                    </a:lnTo>
                    <a:lnTo>
                      <a:pt x="4" y="2"/>
                    </a:lnTo>
                    <a:lnTo>
                      <a:pt x="3" y="2"/>
                    </a:lnTo>
                    <a:lnTo>
                      <a:pt x="3" y="0"/>
                    </a:lnTo>
                    <a:lnTo>
                      <a:pt x="1" y="0"/>
                    </a:lnTo>
                    <a:lnTo>
                      <a:pt x="0" y="0"/>
                    </a:lnTo>
                    <a:lnTo>
                      <a:pt x="1" y="0"/>
                    </a:lnTo>
                    <a:lnTo>
                      <a:pt x="3"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78" name="Freeform 259"/>
              <p:cNvSpPr>
                <a:spLocks/>
              </p:cNvSpPr>
              <p:nvPr/>
            </p:nvSpPr>
            <p:spPr bwMode="auto">
              <a:xfrm>
                <a:off x="5207" y="2797"/>
                <a:ext cx="1" cy="2"/>
              </a:xfrm>
              <a:custGeom>
                <a:avLst/>
                <a:gdLst>
                  <a:gd name="T0" fmla="*/ 1 w 1"/>
                  <a:gd name="T1" fmla="*/ 0 h 2"/>
                  <a:gd name="T2" fmla="*/ 1 w 1"/>
                  <a:gd name="T3" fmla="*/ 2 h 2"/>
                  <a:gd name="T4" fmla="*/ 1 w 1"/>
                  <a:gd name="T5" fmla="*/ 0 h 2"/>
                  <a:gd name="T6" fmla="*/ 0 w 1"/>
                  <a:gd name="T7" fmla="*/ 0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lnTo>
                      <a:pt x="1" y="2"/>
                    </a:lnTo>
                    <a:lnTo>
                      <a:pt x="1" y="0"/>
                    </a:lnTo>
                    <a:lnTo>
                      <a:pt x="0" y="0"/>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79" name="Freeform 260"/>
              <p:cNvSpPr>
                <a:spLocks/>
              </p:cNvSpPr>
              <p:nvPr/>
            </p:nvSpPr>
            <p:spPr bwMode="auto">
              <a:xfrm>
                <a:off x="5256" y="2804"/>
                <a:ext cx="20" cy="24"/>
              </a:xfrm>
              <a:custGeom>
                <a:avLst/>
                <a:gdLst>
                  <a:gd name="T0" fmla="*/ 17 w 20"/>
                  <a:gd name="T1" fmla="*/ 1 h 24"/>
                  <a:gd name="T2" fmla="*/ 16 w 20"/>
                  <a:gd name="T3" fmla="*/ 3 h 24"/>
                  <a:gd name="T4" fmla="*/ 17 w 20"/>
                  <a:gd name="T5" fmla="*/ 1 h 24"/>
                  <a:gd name="T6" fmla="*/ 17 w 20"/>
                  <a:gd name="T7" fmla="*/ 1 h 24"/>
                  <a:gd name="T8" fmla="*/ 19 w 20"/>
                  <a:gd name="T9" fmla="*/ 0 h 24"/>
                  <a:gd name="T10" fmla="*/ 20 w 20"/>
                  <a:gd name="T11" fmla="*/ 1 h 24"/>
                  <a:gd name="T12" fmla="*/ 20 w 20"/>
                  <a:gd name="T13" fmla="*/ 5 h 24"/>
                  <a:gd name="T14" fmla="*/ 19 w 20"/>
                  <a:gd name="T15" fmla="*/ 6 h 24"/>
                  <a:gd name="T16" fmla="*/ 19 w 20"/>
                  <a:gd name="T17" fmla="*/ 9 h 24"/>
                  <a:gd name="T18" fmla="*/ 17 w 20"/>
                  <a:gd name="T19" fmla="*/ 11 h 24"/>
                  <a:gd name="T20" fmla="*/ 16 w 20"/>
                  <a:gd name="T21" fmla="*/ 12 h 24"/>
                  <a:gd name="T22" fmla="*/ 14 w 20"/>
                  <a:gd name="T23" fmla="*/ 14 h 24"/>
                  <a:gd name="T24" fmla="*/ 12 w 20"/>
                  <a:gd name="T25" fmla="*/ 16 h 24"/>
                  <a:gd name="T26" fmla="*/ 11 w 20"/>
                  <a:gd name="T27" fmla="*/ 17 h 24"/>
                  <a:gd name="T28" fmla="*/ 12 w 20"/>
                  <a:gd name="T29" fmla="*/ 19 h 24"/>
                  <a:gd name="T30" fmla="*/ 11 w 20"/>
                  <a:gd name="T31" fmla="*/ 20 h 24"/>
                  <a:gd name="T32" fmla="*/ 9 w 20"/>
                  <a:gd name="T33" fmla="*/ 22 h 24"/>
                  <a:gd name="T34" fmla="*/ 8 w 20"/>
                  <a:gd name="T35" fmla="*/ 20 h 24"/>
                  <a:gd name="T36" fmla="*/ 8 w 20"/>
                  <a:gd name="T37" fmla="*/ 20 h 24"/>
                  <a:gd name="T38" fmla="*/ 6 w 20"/>
                  <a:gd name="T39" fmla="*/ 22 h 24"/>
                  <a:gd name="T40" fmla="*/ 4 w 20"/>
                  <a:gd name="T41" fmla="*/ 24 h 24"/>
                  <a:gd name="T42" fmla="*/ 3 w 20"/>
                  <a:gd name="T43" fmla="*/ 22 h 24"/>
                  <a:gd name="T44" fmla="*/ 1 w 20"/>
                  <a:gd name="T45" fmla="*/ 20 h 24"/>
                  <a:gd name="T46" fmla="*/ 1 w 20"/>
                  <a:gd name="T47" fmla="*/ 17 h 24"/>
                  <a:gd name="T48" fmla="*/ 0 w 20"/>
                  <a:gd name="T49" fmla="*/ 19 h 24"/>
                  <a:gd name="T50" fmla="*/ 1 w 20"/>
                  <a:gd name="T51" fmla="*/ 17 h 24"/>
                  <a:gd name="T52" fmla="*/ 3 w 20"/>
                  <a:gd name="T53" fmla="*/ 19 h 24"/>
                  <a:gd name="T54" fmla="*/ 3 w 20"/>
                  <a:gd name="T55" fmla="*/ 16 h 24"/>
                  <a:gd name="T56" fmla="*/ 3 w 20"/>
                  <a:gd name="T57" fmla="*/ 12 h 24"/>
                  <a:gd name="T58" fmla="*/ 3 w 20"/>
                  <a:gd name="T59" fmla="*/ 9 h 24"/>
                  <a:gd name="T60" fmla="*/ 4 w 20"/>
                  <a:gd name="T61" fmla="*/ 8 h 24"/>
                  <a:gd name="T62" fmla="*/ 6 w 20"/>
                  <a:gd name="T63" fmla="*/ 6 h 24"/>
                  <a:gd name="T64" fmla="*/ 8 w 20"/>
                  <a:gd name="T65" fmla="*/ 5 h 24"/>
                  <a:gd name="T66" fmla="*/ 9 w 20"/>
                  <a:gd name="T67" fmla="*/ 6 h 24"/>
                  <a:gd name="T68" fmla="*/ 11 w 20"/>
                  <a:gd name="T69" fmla="*/ 8 h 24"/>
                  <a:gd name="T70" fmla="*/ 11 w 20"/>
                  <a:gd name="T71" fmla="*/ 8 h 24"/>
                  <a:gd name="T72" fmla="*/ 14 w 20"/>
                  <a:gd name="T73" fmla="*/ 8 h 24"/>
                  <a:gd name="T74" fmla="*/ 16 w 20"/>
                  <a:gd name="T75" fmla="*/ 6 h 24"/>
                  <a:gd name="T76" fmla="*/ 16 w 20"/>
                  <a:gd name="T77" fmla="*/ 3 h 24"/>
                  <a:gd name="T78" fmla="*/ 16 w 20"/>
                  <a:gd name="T7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24">
                    <a:moveTo>
                      <a:pt x="17" y="0"/>
                    </a:moveTo>
                    <a:lnTo>
                      <a:pt x="17" y="1"/>
                    </a:lnTo>
                    <a:lnTo>
                      <a:pt x="17" y="3"/>
                    </a:lnTo>
                    <a:lnTo>
                      <a:pt x="16" y="3"/>
                    </a:lnTo>
                    <a:lnTo>
                      <a:pt x="17" y="3"/>
                    </a:lnTo>
                    <a:lnTo>
                      <a:pt x="17" y="1"/>
                    </a:lnTo>
                    <a:lnTo>
                      <a:pt x="17" y="3"/>
                    </a:lnTo>
                    <a:lnTo>
                      <a:pt x="17" y="1"/>
                    </a:lnTo>
                    <a:lnTo>
                      <a:pt x="17" y="0"/>
                    </a:lnTo>
                    <a:lnTo>
                      <a:pt x="19" y="0"/>
                    </a:lnTo>
                    <a:lnTo>
                      <a:pt x="19" y="1"/>
                    </a:lnTo>
                    <a:lnTo>
                      <a:pt x="20" y="1"/>
                    </a:lnTo>
                    <a:lnTo>
                      <a:pt x="20" y="3"/>
                    </a:lnTo>
                    <a:lnTo>
                      <a:pt x="20" y="5"/>
                    </a:lnTo>
                    <a:lnTo>
                      <a:pt x="20" y="6"/>
                    </a:lnTo>
                    <a:lnTo>
                      <a:pt x="19" y="6"/>
                    </a:lnTo>
                    <a:lnTo>
                      <a:pt x="19" y="8"/>
                    </a:lnTo>
                    <a:lnTo>
                      <a:pt x="19" y="9"/>
                    </a:lnTo>
                    <a:lnTo>
                      <a:pt x="17" y="9"/>
                    </a:lnTo>
                    <a:lnTo>
                      <a:pt x="17" y="11"/>
                    </a:lnTo>
                    <a:lnTo>
                      <a:pt x="16" y="11"/>
                    </a:lnTo>
                    <a:lnTo>
                      <a:pt x="16" y="12"/>
                    </a:lnTo>
                    <a:lnTo>
                      <a:pt x="14" y="12"/>
                    </a:lnTo>
                    <a:lnTo>
                      <a:pt x="14" y="14"/>
                    </a:lnTo>
                    <a:lnTo>
                      <a:pt x="14" y="16"/>
                    </a:lnTo>
                    <a:lnTo>
                      <a:pt x="12" y="16"/>
                    </a:lnTo>
                    <a:lnTo>
                      <a:pt x="12" y="17"/>
                    </a:lnTo>
                    <a:lnTo>
                      <a:pt x="11" y="17"/>
                    </a:lnTo>
                    <a:lnTo>
                      <a:pt x="12" y="17"/>
                    </a:lnTo>
                    <a:lnTo>
                      <a:pt x="12" y="19"/>
                    </a:lnTo>
                    <a:lnTo>
                      <a:pt x="11" y="19"/>
                    </a:lnTo>
                    <a:lnTo>
                      <a:pt x="11" y="20"/>
                    </a:lnTo>
                    <a:lnTo>
                      <a:pt x="9" y="20"/>
                    </a:lnTo>
                    <a:lnTo>
                      <a:pt x="9" y="22"/>
                    </a:lnTo>
                    <a:lnTo>
                      <a:pt x="9" y="20"/>
                    </a:lnTo>
                    <a:lnTo>
                      <a:pt x="8" y="20"/>
                    </a:lnTo>
                    <a:lnTo>
                      <a:pt x="8" y="22"/>
                    </a:lnTo>
                    <a:lnTo>
                      <a:pt x="8" y="20"/>
                    </a:lnTo>
                    <a:lnTo>
                      <a:pt x="8" y="22"/>
                    </a:lnTo>
                    <a:lnTo>
                      <a:pt x="6" y="22"/>
                    </a:lnTo>
                    <a:lnTo>
                      <a:pt x="6" y="24"/>
                    </a:lnTo>
                    <a:lnTo>
                      <a:pt x="4" y="24"/>
                    </a:lnTo>
                    <a:lnTo>
                      <a:pt x="4" y="22"/>
                    </a:lnTo>
                    <a:lnTo>
                      <a:pt x="3" y="22"/>
                    </a:lnTo>
                    <a:lnTo>
                      <a:pt x="3" y="20"/>
                    </a:lnTo>
                    <a:lnTo>
                      <a:pt x="1" y="20"/>
                    </a:lnTo>
                    <a:lnTo>
                      <a:pt x="1" y="19"/>
                    </a:lnTo>
                    <a:lnTo>
                      <a:pt x="1" y="17"/>
                    </a:lnTo>
                    <a:lnTo>
                      <a:pt x="0" y="17"/>
                    </a:lnTo>
                    <a:lnTo>
                      <a:pt x="0" y="19"/>
                    </a:lnTo>
                    <a:lnTo>
                      <a:pt x="0" y="17"/>
                    </a:lnTo>
                    <a:lnTo>
                      <a:pt x="1" y="17"/>
                    </a:lnTo>
                    <a:lnTo>
                      <a:pt x="1" y="19"/>
                    </a:lnTo>
                    <a:lnTo>
                      <a:pt x="3" y="19"/>
                    </a:lnTo>
                    <a:lnTo>
                      <a:pt x="3" y="17"/>
                    </a:lnTo>
                    <a:lnTo>
                      <a:pt x="3" y="16"/>
                    </a:lnTo>
                    <a:lnTo>
                      <a:pt x="3" y="14"/>
                    </a:lnTo>
                    <a:lnTo>
                      <a:pt x="3" y="12"/>
                    </a:lnTo>
                    <a:lnTo>
                      <a:pt x="3" y="11"/>
                    </a:lnTo>
                    <a:lnTo>
                      <a:pt x="3" y="9"/>
                    </a:lnTo>
                    <a:lnTo>
                      <a:pt x="4" y="9"/>
                    </a:lnTo>
                    <a:lnTo>
                      <a:pt x="4" y="8"/>
                    </a:lnTo>
                    <a:lnTo>
                      <a:pt x="6" y="8"/>
                    </a:lnTo>
                    <a:lnTo>
                      <a:pt x="6" y="6"/>
                    </a:lnTo>
                    <a:lnTo>
                      <a:pt x="6" y="5"/>
                    </a:lnTo>
                    <a:lnTo>
                      <a:pt x="8" y="5"/>
                    </a:lnTo>
                    <a:lnTo>
                      <a:pt x="8" y="6"/>
                    </a:lnTo>
                    <a:lnTo>
                      <a:pt x="9" y="6"/>
                    </a:lnTo>
                    <a:lnTo>
                      <a:pt x="9" y="8"/>
                    </a:lnTo>
                    <a:lnTo>
                      <a:pt x="11" y="8"/>
                    </a:lnTo>
                    <a:lnTo>
                      <a:pt x="11" y="9"/>
                    </a:lnTo>
                    <a:lnTo>
                      <a:pt x="11" y="8"/>
                    </a:lnTo>
                    <a:lnTo>
                      <a:pt x="12" y="8"/>
                    </a:lnTo>
                    <a:lnTo>
                      <a:pt x="14" y="8"/>
                    </a:lnTo>
                    <a:lnTo>
                      <a:pt x="14" y="6"/>
                    </a:lnTo>
                    <a:lnTo>
                      <a:pt x="16" y="6"/>
                    </a:lnTo>
                    <a:lnTo>
                      <a:pt x="16" y="5"/>
                    </a:lnTo>
                    <a:lnTo>
                      <a:pt x="16" y="3"/>
                    </a:lnTo>
                    <a:lnTo>
                      <a:pt x="16" y="1"/>
                    </a:lnTo>
                    <a:lnTo>
                      <a:pt x="16" y="0"/>
                    </a:lnTo>
                    <a:lnTo>
                      <a:pt x="17"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80" name="Freeform 261"/>
              <p:cNvSpPr>
                <a:spLocks/>
              </p:cNvSpPr>
              <p:nvPr/>
            </p:nvSpPr>
            <p:spPr bwMode="auto">
              <a:xfrm>
                <a:off x="5257" y="2807"/>
                <a:ext cx="5" cy="5"/>
              </a:xfrm>
              <a:custGeom>
                <a:avLst/>
                <a:gdLst>
                  <a:gd name="T0" fmla="*/ 2 w 5"/>
                  <a:gd name="T1" fmla="*/ 0 h 5"/>
                  <a:gd name="T2" fmla="*/ 3 w 5"/>
                  <a:gd name="T3" fmla="*/ 0 h 5"/>
                  <a:gd name="T4" fmla="*/ 5 w 5"/>
                  <a:gd name="T5" fmla="*/ 0 h 5"/>
                  <a:gd name="T6" fmla="*/ 5 w 5"/>
                  <a:gd name="T7" fmla="*/ 2 h 5"/>
                  <a:gd name="T8" fmla="*/ 3 w 5"/>
                  <a:gd name="T9" fmla="*/ 2 h 5"/>
                  <a:gd name="T10" fmla="*/ 3 w 5"/>
                  <a:gd name="T11" fmla="*/ 3 h 5"/>
                  <a:gd name="T12" fmla="*/ 3 w 5"/>
                  <a:gd name="T13" fmla="*/ 5 h 5"/>
                  <a:gd name="T14" fmla="*/ 2 w 5"/>
                  <a:gd name="T15" fmla="*/ 5 h 5"/>
                  <a:gd name="T16" fmla="*/ 0 w 5"/>
                  <a:gd name="T17" fmla="*/ 5 h 5"/>
                  <a:gd name="T18" fmla="*/ 0 w 5"/>
                  <a:gd name="T19" fmla="*/ 3 h 5"/>
                  <a:gd name="T20" fmla="*/ 0 w 5"/>
                  <a:gd name="T21" fmla="*/ 2 h 5"/>
                  <a:gd name="T22" fmla="*/ 2 w 5"/>
                  <a:gd name="T23" fmla="*/ 2 h 5"/>
                  <a:gd name="T24" fmla="*/ 2 w 5"/>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2" y="0"/>
                    </a:moveTo>
                    <a:lnTo>
                      <a:pt x="3" y="0"/>
                    </a:lnTo>
                    <a:lnTo>
                      <a:pt x="5" y="0"/>
                    </a:lnTo>
                    <a:lnTo>
                      <a:pt x="5" y="2"/>
                    </a:lnTo>
                    <a:lnTo>
                      <a:pt x="3" y="2"/>
                    </a:lnTo>
                    <a:lnTo>
                      <a:pt x="3" y="3"/>
                    </a:lnTo>
                    <a:lnTo>
                      <a:pt x="3" y="5"/>
                    </a:lnTo>
                    <a:lnTo>
                      <a:pt x="2" y="5"/>
                    </a:lnTo>
                    <a:lnTo>
                      <a:pt x="0" y="5"/>
                    </a:lnTo>
                    <a:lnTo>
                      <a:pt x="0" y="3"/>
                    </a:lnTo>
                    <a:lnTo>
                      <a:pt x="0" y="2"/>
                    </a:lnTo>
                    <a:lnTo>
                      <a:pt x="2" y="2"/>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81" name="Freeform 262"/>
              <p:cNvSpPr>
                <a:spLocks/>
              </p:cNvSpPr>
              <p:nvPr/>
            </p:nvSpPr>
            <p:spPr bwMode="auto">
              <a:xfrm>
                <a:off x="5254" y="2809"/>
                <a:ext cx="2" cy="1"/>
              </a:xfrm>
              <a:custGeom>
                <a:avLst/>
                <a:gdLst>
                  <a:gd name="T0" fmla="*/ 2 w 2"/>
                  <a:gd name="T1" fmla="*/ 1 h 1"/>
                  <a:gd name="T2" fmla="*/ 0 w 2"/>
                  <a:gd name="T3" fmla="*/ 1 h 1"/>
                  <a:gd name="T4" fmla="*/ 2 w 2"/>
                  <a:gd name="T5" fmla="*/ 1 h 1"/>
                  <a:gd name="T6" fmla="*/ 2 w 2"/>
                  <a:gd name="T7" fmla="*/ 0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lnTo>
                      <a:pt x="0" y="1"/>
                    </a:lnTo>
                    <a:lnTo>
                      <a:pt x="2" y="1"/>
                    </a:lnTo>
                    <a:lnTo>
                      <a:pt x="2" y="0"/>
                    </a:lnTo>
                    <a:lnTo>
                      <a:pt x="2" y="1"/>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82" name="Freeform 263"/>
              <p:cNvSpPr>
                <a:spLocks/>
              </p:cNvSpPr>
              <p:nvPr/>
            </p:nvSpPr>
            <p:spPr bwMode="auto">
              <a:xfrm>
                <a:off x="5260" y="2828"/>
                <a:ext cx="2"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83" name="Freeform 264"/>
              <p:cNvSpPr>
                <a:spLocks/>
              </p:cNvSpPr>
              <p:nvPr/>
            </p:nvSpPr>
            <p:spPr bwMode="auto">
              <a:xfrm>
                <a:off x="5245" y="2831"/>
                <a:ext cx="9" cy="9"/>
              </a:xfrm>
              <a:custGeom>
                <a:avLst/>
                <a:gdLst>
                  <a:gd name="T0" fmla="*/ 0 w 9"/>
                  <a:gd name="T1" fmla="*/ 0 h 9"/>
                  <a:gd name="T2" fmla="*/ 0 w 9"/>
                  <a:gd name="T3" fmla="*/ 1 h 9"/>
                  <a:gd name="T4" fmla="*/ 1 w 9"/>
                  <a:gd name="T5" fmla="*/ 1 h 9"/>
                  <a:gd name="T6" fmla="*/ 3 w 9"/>
                  <a:gd name="T7" fmla="*/ 1 h 9"/>
                  <a:gd name="T8" fmla="*/ 4 w 9"/>
                  <a:gd name="T9" fmla="*/ 1 h 9"/>
                  <a:gd name="T10" fmla="*/ 6 w 9"/>
                  <a:gd name="T11" fmla="*/ 1 h 9"/>
                  <a:gd name="T12" fmla="*/ 8 w 9"/>
                  <a:gd name="T13" fmla="*/ 1 h 9"/>
                  <a:gd name="T14" fmla="*/ 9 w 9"/>
                  <a:gd name="T15" fmla="*/ 1 h 9"/>
                  <a:gd name="T16" fmla="*/ 9 w 9"/>
                  <a:gd name="T17" fmla="*/ 3 h 9"/>
                  <a:gd name="T18" fmla="*/ 9 w 9"/>
                  <a:gd name="T19" fmla="*/ 4 h 9"/>
                  <a:gd name="T20" fmla="*/ 8 w 9"/>
                  <a:gd name="T21" fmla="*/ 4 h 9"/>
                  <a:gd name="T22" fmla="*/ 6 w 9"/>
                  <a:gd name="T23" fmla="*/ 4 h 9"/>
                  <a:gd name="T24" fmla="*/ 6 w 9"/>
                  <a:gd name="T25" fmla="*/ 6 h 9"/>
                  <a:gd name="T26" fmla="*/ 4 w 9"/>
                  <a:gd name="T27" fmla="*/ 6 h 9"/>
                  <a:gd name="T28" fmla="*/ 4 w 9"/>
                  <a:gd name="T29" fmla="*/ 8 h 9"/>
                  <a:gd name="T30" fmla="*/ 3 w 9"/>
                  <a:gd name="T31" fmla="*/ 8 h 9"/>
                  <a:gd name="T32" fmla="*/ 3 w 9"/>
                  <a:gd name="T33" fmla="*/ 9 h 9"/>
                  <a:gd name="T34" fmla="*/ 1 w 9"/>
                  <a:gd name="T35" fmla="*/ 9 h 9"/>
                  <a:gd name="T36" fmla="*/ 1 w 9"/>
                  <a:gd name="T37" fmla="*/ 8 h 9"/>
                  <a:gd name="T38" fmla="*/ 1 w 9"/>
                  <a:gd name="T39" fmla="*/ 6 h 9"/>
                  <a:gd name="T40" fmla="*/ 0 w 9"/>
                  <a:gd name="T41" fmla="*/ 6 h 9"/>
                  <a:gd name="T42" fmla="*/ 0 w 9"/>
                  <a:gd name="T43" fmla="*/ 4 h 9"/>
                  <a:gd name="T44" fmla="*/ 0 w 9"/>
                  <a:gd name="T45" fmla="*/ 3 h 9"/>
                  <a:gd name="T46" fmla="*/ 1 w 9"/>
                  <a:gd name="T47" fmla="*/ 3 h 9"/>
                  <a:gd name="T48" fmla="*/ 0 w 9"/>
                  <a:gd name="T49" fmla="*/ 3 h 9"/>
                  <a:gd name="T50" fmla="*/ 0 w 9"/>
                  <a:gd name="T51" fmla="*/ 1 h 9"/>
                  <a:gd name="T52" fmla="*/ 0 w 9"/>
                  <a:gd name="T5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 h="9">
                    <a:moveTo>
                      <a:pt x="0" y="0"/>
                    </a:moveTo>
                    <a:lnTo>
                      <a:pt x="0" y="1"/>
                    </a:lnTo>
                    <a:lnTo>
                      <a:pt x="1" y="1"/>
                    </a:lnTo>
                    <a:lnTo>
                      <a:pt x="3" y="1"/>
                    </a:lnTo>
                    <a:lnTo>
                      <a:pt x="4" y="1"/>
                    </a:lnTo>
                    <a:lnTo>
                      <a:pt x="6" y="1"/>
                    </a:lnTo>
                    <a:lnTo>
                      <a:pt x="8" y="1"/>
                    </a:lnTo>
                    <a:lnTo>
                      <a:pt x="9" y="1"/>
                    </a:lnTo>
                    <a:lnTo>
                      <a:pt x="9" y="3"/>
                    </a:lnTo>
                    <a:lnTo>
                      <a:pt x="9" y="4"/>
                    </a:lnTo>
                    <a:lnTo>
                      <a:pt x="8" y="4"/>
                    </a:lnTo>
                    <a:lnTo>
                      <a:pt x="6" y="4"/>
                    </a:lnTo>
                    <a:lnTo>
                      <a:pt x="6" y="6"/>
                    </a:lnTo>
                    <a:lnTo>
                      <a:pt x="4" y="6"/>
                    </a:lnTo>
                    <a:lnTo>
                      <a:pt x="4" y="8"/>
                    </a:lnTo>
                    <a:lnTo>
                      <a:pt x="3" y="8"/>
                    </a:lnTo>
                    <a:lnTo>
                      <a:pt x="3" y="9"/>
                    </a:lnTo>
                    <a:lnTo>
                      <a:pt x="1" y="9"/>
                    </a:lnTo>
                    <a:lnTo>
                      <a:pt x="1" y="8"/>
                    </a:lnTo>
                    <a:lnTo>
                      <a:pt x="1" y="6"/>
                    </a:lnTo>
                    <a:lnTo>
                      <a:pt x="0" y="6"/>
                    </a:lnTo>
                    <a:lnTo>
                      <a:pt x="0" y="4"/>
                    </a:lnTo>
                    <a:lnTo>
                      <a:pt x="0" y="3"/>
                    </a:lnTo>
                    <a:lnTo>
                      <a:pt x="1" y="3"/>
                    </a:lnTo>
                    <a:lnTo>
                      <a:pt x="0" y="3"/>
                    </a:lnTo>
                    <a:lnTo>
                      <a:pt x="0" y="1"/>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84" name="Freeform 265"/>
              <p:cNvSpPr>
                <a:spLocks/>
              </p:cNvSpPr>
              <p:nvPr/>
            </p:nvSpPr>
            <p:spPr bwMode="auto">
              <a:xfrm>
                <a:off x="5203" y="2907"/>
                <a:ext cx="2"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85" name="Freeform 266"/>
              <p:cNvSpPr>
                <a:spLocks/>
              </p:cNvSpPr>
              <p:nvPr/>
            </p:nvSpPr>
            <p:spPr bwMode="auto">
              <a:xfrm>
                <a:off x="5124" y="2908"/>
                <a:ext cx="2"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86" name="Freeform 267"/>
              <p:cNvSpPr>
                <a:spLocks/>
              </p:cNvSpPr>
              <p:nvPr/>
            </p:nvSpPr>
            <p:spPr bwMode="auto">
              <a:xfrm>
                <a:off x="5124" y="2910"/>
                <a:ext cx="2" cy="3"/>
              </a:xfrm>
              <a:custGeom>
                <a:avLst/>
                <a:gdLst>
                  <a:gd name="T0" fmla="*/ 0 w 2"/>
                  <a:gd name="T1" fmla="*/ 0 h 3"/>
                  <a:gd name="T2" fmla="*/ 0 w 2"/>
                  <a:gd name="T3" fmla="*/ 1 h 3"/>
                  <a:gd name="T4" fmla="*/ 2 w 2"/>
                  <a:gd name="T5" fmla="*/ 1 h 3"/>
                  <a:gd name="T6" fmla="*/ 2 w 2"/>
                  <a:gd name="T7" fmla="*/ 3 h 3"/>
                  <a:gd name="T8" fmla="*/ 0 w 2"/>
                  <a:gd name="T9" fmla="*/ 3 h 3"/>
                  <a:gd name="T10" fmla="*/ 0 w 2"/>
                  <a:gd name="T11" fmla="*/ 1 h 3"/>
                  <a:gd name="T12" fmla="*/ 0 w 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0"/>
                    </a:moveTo>
                    <a:lnTo>
                      <a:pt x="0" y="1"/>
                    </a:lnTo>
                    <a:lnTo>
                      <a:pt x="2" y="1"/>
                    </a:lnTo>
                    <a:lnTo>
                      <a:pt x="2" y="3"/>
                    </a:lnTo>
                    <a:lnTo>
                      <a:pt x="0" y="3"/>
                    </a:lnTo>
                    <a:lnTo>
                      <a:pt x="0" y="1"/>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87" name="Freeform 268"/>
              <p:cNvSpPr>
                <a:spLocks/>
              </p:cNvSpPr>
              <p:nvPr/>
            </p:nvSpPr>
            <p:spPr bwMode="auto">
              <a:xfrm>
                <a:off x="5153" y="2915"/>
                <a:ext cx="1" cy="1"/>
              </a:xfrm>
              <a:custGeom>
                <a:avLst/>
                <a:gdLst>
                  <a:gd name="T0" fmla="*/ 0 w 1"/>
                  <a:gd name="T1" fmla="*/ 0 h 1"/>
                  <a:gd name="T2" fmla="*/ 1 w 1"/>
                  <a:gd name="T3" fmla="*/ 0 h 1"/>
                  <a:gd name="T4" fmla="*/ 0 w 1"/>
                  <a:gd name="T5" fmla="*/ 0 h 1"/>
                  <a:gd name="T6" fmla="*/ 1 w 1"/>
                  <a:gd name="T7" fmla="*/ 0 h 1"/>
                  <a:gd name="T8" fmla="*/ 1 w 1"/>
                  <a:gd name="T9" fmla="*/ 1 h 1"/>
                  <a:gd name="T10" fmla="*/ 0 w 1"/>
                  <a:gd name="T11" fmla="*/ 1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lnTo>
                      <a:pt x="1" y="0"/>
                    </a:lnTo>
                    <a:lnTo>
                      <a:pt x="0" y="0"/>
                    </a:lnTo>
                    <a:lnTo>
                      <a:pt x="1" y="0"/>
                    </a:lnTo>
                    <a:lnTo>
                      <a:pt x="1" y="1"/>
                    </a:lnTo>
                    <a:lnTo>
                      <a:pt x="0" y="1"/>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88" name="Rectangle 269"/>
              <p:cNvSpPr>
                <a:spLocks noChangeArrowheads="1"/>
              </p:cNvSpPr>
              <p:nvPr/>
            </p:nvSpPr>
            <p:spPr bwMode="auto">
              <a:xfrm>
                <a:off x="5199" y="2940"/>
                <a:ext cx="1" cy="2"/>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89" name="Freeform 270"/>
              <p:cNvSpPr>
                <a:spLocks/>
              </p:cNvSpPr>
              <p:nvPr/>
            </p:nvSpPr>
            <p:spPr bwMode="auto">
              <a:xfrm>
                <a:off x="5170" y="2981"/>
                <a:ext cx="13" cy="16"/>
              </a:xfrm>
              <a:custGeom>
                <a:avLst/>
                <a:gdLst>
                  <a:gd name="T0" fmla="*/ 0 w 13"/>
                  <a:gd name="T1" fmla="*/ 2 h 16"/>
                  <a:gd name="T2" fmla="*/ 2 w 13"/>
                  <a:gd name="T3" fmla="*/ 2 h 16"/>
                  <a:gd name="T4" fmla="*/ 0 w 13"/>
                  <a:gd name="T5" fmla="*/ 2 h 16"/>
                  <a:gd name="T6" fmla="*/ 2 w 13"/>
                  <a:gd name="T7" fmla="*/ 2 h 16"/>
                  <a:gd name="T8" fmla="*/ 2 w 13"/>
                  <a:gd name="T9" fmla="*/ 0 h 16"/>
                  <a:gd name="T10" fmla="*/ 3 w 13"/>
                  <a:gd name="T11" fmla="*/ 0 h 16"/>
                  <a:gd name="T12" fmla="*/ 5 w 13"/>
                  <a:gd name="T13" fmla="*/ 0 h 16"/>
                  <a:gd name="T14" fmla="*/ 5 w 13"/>
                  <a:gd name="T15" fmla="*/ 2 h 16"/>
                  <a:gd name="T16" fmla="*/ 7 w 13"/>
                  <a:gd name="T17" fmla="*/ 2 h 16"/>
                  <a:gd name="T18" fmla="*/ 7 w 13"/>
                  <a:gd name="T19" fmla="*/ 3 h 16"/>
                  <a:gd name="T20" fmla="*/ 8 w 13"/>
                  <a:gd name="T21" fmla="*/ 3 h 16"/>
                  <a:gd name="T22" fmla="*/ 8 w 13"/>
                  <a:gd name="T23" fmla="*/ 5 h 16"/>
                  <a:gd name="T24" fmla="*/ 10 w 13"/>
                  <a:gd name="T25" fmla="*/ 5 h 16"/>
                  <a:gd name="T26" fmla="*/ 10 w 13"/>
                  <a:gd name="T27" fmla="*/ 7 h 16"/>
                  <a:gd name="T28" fmla="*/ 11 w 13"/>
                  <a:gd name="T29" fmla="*/ 7 h 16"/>
                  <a:gd name="T30" fmla="*/ 11 w 13"/>
                  <a:gd name="T31" fmla="*/ 8 h 16"/>
                  <a:gd name="T32" fmla="*/ 11 w 13"/>
                  <a:gd name="T33" fmla="*/ 10 h 16"/>
                  <a:gd name="T34" fmla="*/ 11 w 13"/>
                  <a:gd name="T35" fmla="*/ 11 h 16"/>
                  <a:gd name="T36" fmla="*/ 11 w 13"/>
                  <a:gd name="T37" fmla="*/ 13 h 16"/>
                  <a:gd name="T38" fmla="*/ 11 w 13"/>
                  <a:gd name="T39" fmla="*/ 14 h 16"/>
                  <a:gd name="T40" fmla="*/ 13 w 13"/>
                  <a:gd name="T41" fmla="*/ 14 h 16"/>
                  <a:gd name="T42" fmla="*/ 13 w 13"/>
                  <a:gd name="T43" fmla="*/ 16 h 16"/>
                  <a:gd name="T44" fmla="*/ 11 w 13"/>
                  <a:gd name="T45" fmla="*/ 16 h 16"/>
                  <a:gd name="T46" fmla="*/ 11 w 13"/>
                  <a:gd name="T47" fmla="*/ 14 h 16"/>
                  <a:gd name="T48" fmla="*/ 11 w 13"/>
                  <a:gd name="T49" fmla="*/ 13 h 16"/>
                  <a:gd name="T50" fmla="*/ 10 w 13"/>
                  <a:gd name="T51" fmla="*/ 13 h 16"/>
                  <a:gd name="T52" fmla="*/ 10 w 13"/>
                  <a:gd name="T53" fmla="*/ 11 h 16"/>
                  <a:gd name="T54" fmla="*/ 10 w 13"/>
                  <a:gd name="T55" fmla="*/ 13 h 16"/>
                  <a:gd name="T56" fmla="*/ 8 w 13"/>
                  <a:gd name="T57" fmla="*/ 13 h 16"/>
                  <a:gd name="T58" fmla="*/ 8 w 13"/>
                  <a:gd name="T59" fmla="*/ 11 h 16"/>
                  <a:gd name="T60" fmla="*/ 7 w 13"/>
                  <a:gd name="T61" fmla="*/ 11 h 16"/>
                  <a:gd name="T62" fmla="*/ 7 w 13"/>
                  <a:gd name="T63" fmla="*/ 10 h 16"/>
                  <a:gd name="T64" fmla="*/ 5 w 13"/>
                  <a:gd name="T65" fmla="*/ 10 h 16"/>
                  <a:gd name="T66" fmla="*/ 5 w 13"/>
                  <a:gd name="T67" fmla="*/ 8 h 16"/>
                  <a:gd name="T68" fmla="*/ 5 w 13"/>
                  <a:gd name="T69" fmla="*/ 10 h 16"/>
                  <a:gd name="T70" fmla="*/ 3 w 13"/>
                  <a:gd name="T71" fmla="*/ 10 h 16"/>
                  <a:gd name="T72" fmla="*/ 3 w 13"/>
                  <a:gd name="T73" fmla="*/ 8 h 16"/>
                  <a:gd name="T74" fmla="*/ 3 w 13"/>
                  <a:gd name="T75" fmla="*/ 7 h 16"/>
                  <a:gd name="T76" fmla="*/ 2 w 13"/>
                  <a:gd name="T77" fmla="*/ 7 h 16"/>
                  <a:gd name="T78" fmla="*/ 2 w 13"/>
                  <a:gd name="T79" fmla="*/ 5 h 16"/>
                  <a:gd name="T80" fmla="*/ 2 w 13"/>
                  <a:gd name="T81" fmla="*/ 3 h 16"/>
                  <a:gd name="T82" fmla="*/ 2 w 13"/>
                  <a:gd name="T83" fmla="*/ 2 h 16"/>
                  <a:gd name="T84" fmla="*/ 0 w 13"/>
                  <a:gd name="T85"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 h="16">
                    <a:moveTo>
                      <a:pt x="0" y="2"/>
                    </a:moveTo>
                    <a:lnTo>
                      <a:pt x="2" y="2"/>
                    </a:lnTo>
                    <a:lnTo>
                      <a:pt x="0" y="2"/>
                    </a:lnTo>
                    <a:lnTo>
                      <a:pt x="2" y="2"/>
                    </a:lnTo>
                    <a:lnTo>
                      <a:pt x="2" y="0"/>
                    </a:lnTo>
                    <a:lnTo>
                      <a:pt x="3" y="0"/>
                    </a:lnTo>
                    <a:lnTo>
                      <a:pt x="5" y="0"/>
                    </a:lnTo>
                    <a:lnTo>
                      <a:pt x="5" y="2"/>
                    </a:lnTo>
                    <a:lnTo>
                      <a:pt x="7" y="2"/>
                    </a:lnTo>
                    <a:lnTo>
                      <a:pt x="7" y="3"/>
                    </a:lnTo>
                    <a:lnTo>
                      <a:pt x="8" y="3"/>
                    </a:lnTo>
                    <a:lnTo>
                      <a:pt x="8" y="5"/>
                    </a:lnTo>
                    <a:lnTo>
                      <a:pt x="10" y="5"/>
                    </a:lnTo>
                    <a:lnTo>
                      <a:pt x="10" y="7"/>
                    </a:lnTo>
                    <a:lnTo>
                      <a:pt x="11" y="7"/>
                    </a:lnTo>
                    <a:lnTo>
                      <a:pt x="11" y="8"/>
                    </a:lnTo>
                    <a:lnTo>
                      <a:pt x="11" y="10"/>
                    </a:lnTo>
                    <a:lnTo>
                      <a:pt x="11" y="11"/>
                    </a:lnTo>
                    <a:lnTo>
                      <a:pt x="11" y="13"/>
                    </a:lnTo>
                    <a:lnTo>
                      <a:pt x="11" y="14"/>
                    </a:lnTo>
                    <a:lnTo>
                      <a:pt x="13" y="14"/>
                    </a:lnTo>
                    <a:lnTo>
                      <a:pt x="13" y="16"/>
                    </a:lnTo>
                    <a:lnTo>
                      <a:pt x="11" y="16"/>
                    </a:lnTo>
                    <a:lnTo>
                      <a:pt x="11" y="14"/>
                    </a:lnTo>
                    <a:lnTo>
                      <a:pt x="11" y="13"/>
                    </a:lnTo>
                    <a:lnTo>
                      <a:pt x="10" y="13"/>
                    </a:lnTo>
                    <a:lnTo>
                      <a:pt x="10" y="11"/>
                    </a:lnTo>
                    <a:lnTo>
                      <a:pt x="10" y="13"/>
                    </a:lnTo>
                    <a:lnTo>
                      <a:pt x="8" y="13"/>
                    </a:lnTo>
                    <a:lnTo>
                      <a:pt x="8" y="11"/>
                    </a:lnTo>
                    <a:lnTo>
                      <a:pt x="7" y="11"/>
                    </a:lnTo>
                    <a:lnTo>
                      <a:pt x="7" y="10"/>
                    </a:lnTo>
                    <a:lnTo>
                      <a:pt x="5" y="10"/>
                    </a:lnTo>
                    <a:lnTo>
                      <a:pt x="5" y="8"/>
                    </a:lnTo>
                    <a:lnTo>
                      <a:pt x="5" y="10"/>
                    </a:lnTo>
                    <a:lnTo>
                      <a:pt x="3" y="10"/>
                    </a:lnTo>
                    <a:lnTo>
                      <a:pt x="3" y="8"/>
                    </a:lnTo>
                    <a:lnTo>
                      <a:pt x="3" y="7"/>
                    </a:lnTo>
                    <a:lnTo>
                      <a:pt x="2" y="7"/>
                    </a:lnTo>
                    <a:lnTo>
                      <a:pt x="2" y="5"/>
                    </a:lnTo>
                    <a:lnTo>
                      <a:pt x="2" y="3"/>
                    </a:lnTo>
                    <a:lnTo>
                      <a:pt x="2" y="2"/>
                    </a:lnTo>
                    <a:lnTo>
                      <a:pt x="0" y="2"/>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90" name="Rectangle 271"/>
              <p:cNvSpPr>
                <a:spLocks noChangeArrowheads="1"/>
              </p:cNvSpPr>
              <p:nvPr/>
            </p:nvSpPr>
            <p:spPr bwMode="auto">
              <a:xfrm>
                <a:off x="5183" y="2992"/>
                <a:ext cx="1" cy="2"/>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91" name="Freeform 272"/>
              <p:cNvSpPr>
                <a:spLocks/>
              </p:cNvSpPr>
              <p:nvPr/>
            </p:nvSpPr>
            <p:spPr bwMode="auto">
              <a:xfrm>
                <a:off x="5184" y="2992"/>
                <a:ext cx="4" cy="3"/>
              </a:xfrm>
              <a:custGeom>
                <a:avLst/>
                <a:gdLst>
                  <a:gd name="T0" fmla="*/ 4 w 4"/>
                  <a:gd name="T1" fmla="*/ 0 h 3"/>
                  <a:gd name="T2" fmla="*/ 4 w 4"/>
                  <a:gd name="T3" fmla="*/ 2 h 3"/>
                  <a:gd name="T4" fmla="*/ 4 w 4"/>
                  <a:gd name="T5" fmla="*/ 3 h 3"/>
                  <a:gd name="T6" fmla="*/ 2 w 4"/>
                  <a:gd name="T7" fmla="*/ 3 h 3"/>
                  <a:gd name="T8" fmla="*/ 0 w 4"/>
                  <a:gd name="T9" fmla="*/ 3 h 3"/>
                  <a:gd name="T10" fmla="*/ 2 w 4"/>
                  <a:gd name="T11" fmla="*/ 3 h 3"/>
                  <a:gd name="T12" fmla="*/ 2 w 4"/>
                  <a:gd name="T13" fmla="*/ 2 h 3"/>
                  <a:gd name="T14" fmla="*/ 4 w 4"/>
                  <a:gd name="T15" fmla="*/ 2 h 3"/>
                  <a:gd name="T16" fmla="*/ 4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4" y="0"/>
                    </a:moveTo>
                    <a:lnTo>
                      <a:pt x="4" y="2"/>
                    </a:lnTo>
                    <a:lnTo>
                      <a:pt x="4" y="3"/>
                    </a:lnTo>
                    <a:lnTo>
                      <a:pt x="2" y="3"/>
                    </a:lnTo>
                    <a:lnTo>
                      <a:pt x="0" y="3"/>
                    </a:lnTo>
                    <a:lnTo>
                      <a:pt x="2" y="3"/>
                    </a:lnTo>
                    <a:lnTo>
                      <a:pt x="2" y="2"/>
                    </a:lnTo>
                    <a:lnTo>
                      <a:pt x="4" y="2"/>
                    </a:lnTo>
                    <a:lnTo>
                      <a:pt x="4"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92" name="Freeform 273"/>
              <p:cNvSpPr>
                <a:spLocks/>
              </p:cNvSpPr>
              <p:nvPr/>
            </p:nvSpPr>
            <p:spPr bwMode="auto">
              <a:xfrm>
                <a:off x="5196" y="3000"/>
                <a:ext cx="3" cy="3"/>
              </a:xfrm>
              <a:custGeom>
                <a:avLst/>
                <a:gdLst>
                  <a:gd name="T0" fmla="*/ 1 w 3"/>
                  <a:gd name="T1" fmla="*/ 0 h 3"/>
                  <a:gd name="T2" fmla="*/ 3 w 3"/>
                  <a:gd name="T3" fmla="*/ 0 h 3"/>
                  <a:gd name="T4" fmla="*/ 1 w 3"/>
                  <a:gd name="T5" fmla="*/ 0 h 3"/>
                  <a:gd name="T6" fmla="*/ 1 w 3"/>
                  <a:gd name="T7" fmla="*/ 2 h 3"/>
                  <a:gd name="T8" fmla="*/ 1 w 3"/>
                  <a:gd name="T9" fmla="*/ 3 h 3"/>
                  <a:gd name="T10" fmla="*/ 0 w 3"/>
                  <a:gd name="T11" fmla="*/ 3 h 3"/>
                  <a:gd name="T12" fmla="*/ 0 w 3"/>
                  <a:gd name="T13" fmla="*/ 2 h 3"/>
                  <a:gd name="T14" fmla="*/ 1 w 3"/>
                  <a:gd name="T15" fmla="*/ 2 h 3"/>
                  <a:gd name="T16" fmla="*/ 1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1" y="0"/>
                    </a:moveTo>
                    <a:lnTo>
                      <a:pt x="3" y="0"/>
                    </a:lnTo>
                    <a:lnTo>
                      <a:pt x="1" y="0"/>
                    </a:lnTo>
                    <a:lnTo>
                      <a:pt x="1" y="2"/>
                    </a:lnTo>
                    <a:lnTo>
                      <a:pt x="1" y="3"/>
                    </a:lnTo>
                    <a:lnTo>
                      <a:pt x="0" y="3"/>
                    </a:lnTo>
                    <a:lnTo>
                      <a:pt x="0" y="2"/>
                    </a:lnTo>
                    <a:lnTo>
                      <a:pt x="1" y="2"/>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93" name="Freeform 274"/>
              <p:cNvSpPr>
                <a:spLocks/>
              </p:cNvSpPr>
              <p:nvPr/>
            </p:nvSpPr>
            <p:spPr bwMode="auto">
              <a:xfrm>
                <a:off x="5172" y="3124"/>
                <a:ext cx="17" cy="22"/>
              </a:xfrm>
              <a:custGeom>
                <a:avLst/>
                <a:gdLst>
                  <a:gd name="T0" fmla="*/ 14 w 17"/>
                  <a:gd name="T1" fmla="*/ 20 h 22"/>
                  <a:gd name="T2" fmla="*/ 14 w 17"/>
                  <a:gd name="T3" fmla="*/ 20 h 22"/>
                  <a:gd name="T4" fmla="*/ 12 w 17"/>
                  <a:gd name="T5" fmla="*/ 22 h 22"/>
                  <a:gd name="T6" fmla="*/ 9 w 17"/>
                  <a:gd name="T7" fmla="*/ 22 h 22"/>
                  <a:gd name="T8" fmla="*/ 8 w 17"/>
                  <a:gd name="T9" fmla="*/ 20 h 22"/>
                  <a:gd name="T10" fmla="*/ 8 w 17"/>
                  <a:gd name="T11" fmla="*/ 17 h 22"/>
                  <a:gd name="T12" fmla="*/ 6 w 17"/>
                  <a:gd name="T13" fmla="*/ 16 h 22"/>
                  <a:gd name="T14" fmla="*/ 5 w 17"/>
                  <a:gd name="T15" fmla="*/ 14 h 22"/>
                  <a:gd name="T16" fmla="*/ 5 w 17"/>
                  <a:gd name="T17" fmla="*/ 11 h 22"/>
                  <a:gd name="T18" fmla="*/ 3 w 17"/>
                  <a:gd name="T19" fmla="*/ 9 h 22"/>
                  <a:gd name="T20" fmla="*/ 1 w 17"/>
                  <a:gd name="T21" fmla="*/ 8 h 22"/>
                  <a:gd name="T22" fmla="*/ 0 w 17"/>
                  <a:gd name="T23" fmla="*/ 6 h 22"/>
                  <a:gd name="T24" fmla="*/ 1 w 17"/>
                  <a:gd name="T25" fmla="*/ 5 h 22"/>
                  <a:gd name="T26" fmla="*/ 3 w 17"/>
                  <a:gd name="T27" fmla="*/ 3 h 22"/>
                  <a:gd name="T28" fmla="*/ 5 w 17"/>
                  <a:gd name="T29" fmla="*/ 5 h 22"/>
                  <a:gd name="T30" fmla="*/ 6 w 17"/>
                  <a:gd name="T31" fmla="*/ 3 h 22"/>
                  <a:gd name="T32" fmla="*/ 6 w 17"/>
                  <a:gd name="T33" fmla="*/ 3 h 22"/>
                  <a:gd name="T34" fmla="*/ 9 w 17"/>
                  <a:gd name="T35" fmla="*/ 3 h 22"/>
                  <a:gd name="T36" fmla="*/ 11 w 17"/>
                  <a:gd name="T37" fmla="*/ 1 h 22"/>
                  <a:gd name="T38" fmla="*/ 12 w 17"/>
                  <a:gd name="T39" fmla="*/ 0 h 22"/>
                  <a:gd name="T40" fmla="*/ 14 w 17"/>
                  <a:gd name="T41" fmla="*/ 1 h 22"/>
                  <a:gd name="T42" fmla="*/ 14 w 17"/>
                  <a:gd name="T43" fmla="*/ 5 h 22"/>
                  <a:gd name="T44" fmla="*/ 12 w 17"/>
                  <a:gd name="T45" fmla="*/ 6 h 22"/>
                  <a:gd name="T46" fmla="*/ 12 w 17"/>
                  <a:gd name="T47" fmla="*/ 9 h 22"/>
                  <a:gd name="T48" fmla="*/ 11 w 17"/>
                  <a:gd name="T49" fmla="*/ 11 h 22"/>
                  <a:gd name="T50" fmla="*/ 12 w 17"/>
                  <a:gd name="T51" fmla="*/ 12 h 22"/>
                  <a:gd name="T52" fmla="*/ 14 w 17"/>
                  <a:gd name="T53" fmla="*/ 14 h 22"/>
                  <a:gd name="T54" fmla="*/ 16 w 17"/>
                  <a:gd name="T55" fmla="*/ 16 h 22"/>
                  <a:gd name="T56" fmla="*/ 17 w 17"/>
                  <a:gd name="T57" fmla="*/ 17 h 22"/>
                  <a:gd name="T58" fmla="*/ 16 w 17"/>
                  <a:gd name="T59" fmla="*/ 19 h 22"/>
                  <a:gd name="T60" fmla="*/ 14 w 17"/>
                  <a:gd name="T61" fmla="*/ 17 h 22"/>
                  <a:gd name="T62" fmla="*/ 14 w 17"/>
                  <a:gd name="T63"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22">
                    <a:moveTo>
                      <a:pt x="16" y="20"/>
                    </a:moveTo>
                    <a:lnTo>
                      <a:pt x="14" y="20"/>
                    </a:lnTo>
                    <a:lnTo>
                      <a:pt x="14" y="22"/>
                    </a:lnTo>
                    <a:lnTo>
                      <a:pt x="14" y="20"/>
                    </a:lnTo>
                    <a:lnTo>
                      <a:pt x="14" y="22"/>
                    </a:lnTo>
                    <a:lnTo>
                      <a:pt x="12" y="22"/>
                    </a:lnTo>
                    <a:lnTo>
                      <a:pt x="11" y="22"/>
                    </a:lnTo>
                    <a:lnTo>
                      <a:pt x="9" y="22"/>
                    </a:lnTo>
                    <a:lnTo>
                      <a:pt x="8" y="22"/>
                    </a:lnTo>
                    <a:lnTo>
                      <a:pt x="8" y="20"/>
                    </a:lnTo>
                    <a:lnTo>
                      <a:pt x="8" y="19"/>
                    </a:lnTo>
                    <a:lnTo>
                      <a:pt x="8" y="17"/>
                    </a:lnTo>
                    <a:lnTo>
                      <a:pt x="6" y="17"/>
                    </a:lnTo>
                    <a:lnTo>
                      <a:pt x="6" y="16"/>
                    </a:lnTo>
                    <a:lnTo>
                      <a:pt x="6" y="14"/>
                    </a:lnTo>
                    <a:lnTo>
                      <a:pt x="5" y="14"/>
                    </a:lnTo>
                    <a:lnTo>
                      <a:pt x="5" y="12"/>
                    </a:lnTo>
                    <a:lnTo>
                      <a:pt x="5" y="11"/>
                    </a:lnTo>
                    <a:lnTo>
                      <a:pt x="3" y="11"/>
                    </a:lnTo>
                    <a:lnTo>
                      <a:pt x="3" y="9"/>
                    </a:lnTo>
                    <a:lnTo>
                      <a:pt x="1" y="9"/>
                    </a:lnTo>
                    <a:lnTo>
                      <a:pt x="1" y="8"/>
                    </a:lnTo>
                    <a:lnTo>
                      <a:pt x="0" y="8"/>
                    </a:lnTo>
                    <a:lnTo>
                      <a:pt x="0" y="6"/>
                    </a:lnTo>
                    <a:lnTo>
                      <a:pt x="0" y="5"/>
                    </a:lnTo>
                    <a:lnTo>
                      <a:pt x="1" y="5"/>
                    </a:lnTo>
                    <a:lnTo>
                      <a:pt x="1" y="3"/>
                    </a:lnTo>
                    <a:lnTo>
                      <a:pt x="3" y="3"/>
                    </a:lnTo>
                    <a:lnTo>
                      <a:pt x="5" y="3"/>
                    </a:lnTo>
                    <a:lnTo>
                      <a:pt x="5" y="5"/>
                    </a:lnTo>
                    <a:lnTo>
                      <a:pt x="5" y="3"/>
                    </a:lnTo>
                    <a:lnTo>
                      <a:pt x="6" y="3"/>
                    </a:lnTo>
                    <a:lnTo>
                      <a:pt x="6" y="5"/>
                    </a:lnTo>
                    <a:lnTo>
                      <a:pt x="6" y="3"/>
                    </a:lnTo>
                    <a:lnTo>
                      <a:pt x="8" y="3"/>
                    </a:lnTo>
                    <a:lnTo>
                      <a:pt x="9" y="3"/>
                    </a:lnTo>
                    <a:lnTo>
                      <a:pt x="9" y="1"/>
                    </a:lnTo>
                    <a:lnTo>
                      <a:pt x="11" y="1"/>
                    </a:lnTo>
                    <a:lnTo>
                      <a:pt x="12" y="1"/>
                    </a:lnTo>
                    <a:lnTo>
                      <a:pt x="12" y="0"/>
                    </a:lnTo>
                    <a:lnTo>
                      <a:pt x="12" y="1"/>
                    </a:lnTo>
                    <a:lnTo>
                      <a:pt x="14" y="1"/>
                    </a:lnTo>
                    <a:lnTo>
                      <a:pt x="14" y="3"/>
                    </a:lnTo>
                    <a:lnTo>
                      <a:pt x="14" y="5"/>
                    </a:lnTo>
                    <a:lnTo>
                      <a:pt x="14" y="6"/>
                    </a:lnTo>
                    <a:lnTo>
                      <a:pt x="12" y="6"/>
                    </a:lnTo>
                    <a:lnTo>
                      <a:pt x="12" y="8"/>
                    </a:lnTo>
                    <a:lnTo>
                      <a:pt x="12" y="9"/>
                    </a:lnTo>
                    <a:lnTo>
                      <a:pt x="11" y="9"/>
                    </a:lnTo>
                    <a:lnTo>
                      <a:pt x="11" y="11"/>
                    </a:lnTo>
                    <a:lnTo>
                      <a:pt x="12" y="11"/>
                    </a:lnTo>
                    <a:lnTo>
                      <a:pt x="12" y="12"/>
                    </a:lnTo>
                    <a:lnTo>
                      <a:pt x="14" y="12"/>
                    </a:lnTo>
                    <a:lnTo>
                      <a:pt x="14" y="14"/>
                    </a:lnTo>
                    <a:lnTo>
                      <a:pt x="16" y="14"/>
                    </a:lnTo>
                    <a:lnTo>
                      <a:pt x="16" y="16"/>
                    </a:lnTo>
                    <a:lnTo>
                      <a:pt x="16" y="17"/>
                    </a:lnTo>
                    <a:lnTo>
                      <a:pt x="17" y="17"/>
                    </a:lnTo>
                    <a:lnTo>
                      <a:pt x="17" y="19"/>
                    </a:lnTo>
                    <a:lnTo>
                      <a:pt x="16" y="19"/>
                    </a:lnTo>
                    <a:lnTo>
                      <a:pt x="16" y="17"/>
                    </a:lnTo>
                    <a:lnTo>
                      <a:pt x="14" y="17"/>
                    </a:lnTo>
                    <a:lnTo>
                      <a:pt x="14" y="19"/>
                    </a:lnTo>
                    <a:lnTo>
                      <a:pt x="14" y="20"/>
                    </a:lnTo>
                    <a:lnTo>
                      <a:pt x="16" y="2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94" name="Freeform 275"/>
              <p:cNvSpPr>
                <a:spLocks/>
              </p:cNvSpPr>
              <p:nvPr/>
            </p:nvSpPr>
            <p:spPr bwMode="auto">
              <a:xfrm>
                <a:off x="5181" y="3155"/>
                <a:ext cx="5" cy="5"/>
              </a:xfrm>
              <a:custGeom>
                <a:avLst/>
                <a:gdLst>
                  <a:gd name="T0" fmla="*/ 3 w 5"/>
                  <a:gd name="T1" fmla="*/ 0 h 5"/>
                  <a:gd name="T2" fmla="*/ 5 w 5"/>
                  <a:gd name="T3" fmla="*/ 0 h 5"/>
                  <a:gd name="T4" fmla="*/ 5 w 5"/>
                  <a:gd name="T5" fmla="*/ 2 h 5"/>
                  <a:gd name="T6" fmla="*/ 5 w 5"/>
                  <a:gd name="T7" fmla="*/ 4 h 5"/>
                  <a:gd name="T8" fmla="*/ 5 w 5"/>
                  <a:gd name="T9" fmla="*/ 5 h 5"/>
                  <a:gd name="T10" fmla="*/ 3 w 5"/>
                  <a:gd name="T11" fmla="*/ 5 h 5"/>
                  <a:gd name="T12" fmla="*/ 2 w 5"/>
                  <a:gd name="T13" fmla="*/ 5 h 5"/>
                  <a:gd name="T14" fmla="*/ 0 w 5"/>
                  <a:gd name="T15" fmla="*/ 5 h 5"/>
                  <a:gd name="T16" fmla="*/ 0 w 5"/>
                  <a:gd name="T17" fmla="*/ 4 h 5"/>
                  <a:gd name="T18" fmla="*/ 2 w 5"/>
                  <a:gd name="T19" fmla="*/ 4 h 5"/>
                  <a:gd name="T20" fmla="*/ 0 w 5"/>
                  <a:gd name="T21" fmla="*/ 4 h 5"/>
                  <a:gd name="T22" fmla="*/ 2 w 5"/>
                  <a:gd name="T23" fmla="*/ 4 h 5"/>
                  <a:gd name="T24" fmla="*/ 2 w 5"/>
                  <a:gd name="T25" fmla="*/ 2 h 5"/>
                  <a:gd name="T26" fmla="*/ 3 w 5"/>
                  <a:gd name="T27" fmla="*/ 2 h 5"/>
                  <a:gd name="T28" fmla="*/ 3 w 5"/>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5">
                    <a:moveTo>
                      <a:pt x="3" y="0"/>
                    </a:moveTo>
                    <a:lnTo>
                      <a:pt x="5" y="0"/>
                    </a:lnTo>
                    <a:lnTo>
                      <a:pt x="5" y="2"/>
                    </a:lnTo>
                    <a:lnTo>
                      <a:pt x="5" y="4"/>
                    </a:lnTo>
                    <a:lnTo>
                      <a:pt x="5" y="5"/>
                    </a:lnTo>
                    <a:lnTo>
                      <a:pt x="3" y="5"/>
                    </a:lnTo>
                    <a:lnTo>
                      <a:pt x="2" y="5"/>
                    </a:lnTo>
                    <a:lnTo>
                      <a:pt x="0" y="5"/>
                    </a:lnTo>
                    <a:lnTo>
                      <a:pt x="0" y="4"/>
                    </a:lnTo>
                    <a:lnTo>
                      <a:pt x="2" y="4"/>
                    </a:lnTo>
                    <a:lnTo>
                      <a:pt x="0" y="4"/>
                    </a:lnTo>
                    <a:lnTo>
                      <a:pt x="2" y="4"/>
                    </a:lnTo>
                    <a:lnTo>
                      <a:pt x="2" y="2"/>
                    </a:lnTo>
                    <a:lnTo>
                      <a:pt x="3" y="2"/>
                    </a:lnTo>
                    <a:lnTo>
                      <a:pt x="3"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95" name="Rectangle 276"/>
              <p:cNvSpPr>
                <a:spLocks noChangeArrowheads="1"/>
              </p:cNvSpPr>
              <p:nvPr/>
            </p:nvSpPr>
            <p:spPr bwMode="auto">
              <a:xfrm>
                <a:off x="5175" y="3157"/>
                <a:ext cx="2" cy="2"/>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96" name="Freeform 277"/>
              <p:cNvSpPr>
                <a:spLocks/>
              </p:cNvSpPr>
              <p:nvPr/>
            </p:nvSpPr>
            <p:spPr bwMode="auto">
              <a:xfrm>
                <a:off x="5216" y="3163"/>
                <a:ext cx="0" cy="2"/>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97" name="Freeform 278"/>
              <p:cNvSpPr>
                <a:spLocks/>
              </p:cNvSpPr>
              <p:nvPr/>
            </p:nvSpPr>
            <p:spPr bwMode="auto">
              <a:xfrm>
                <a:off x="5215" y="3165"/>
                <a:ext cx="1" cy="2"/>
              </a:xfrm>
              <a:custGeom>
                <a:avLst/>
                <a:gdLst>
                  <a:gd name="T0" fmla="*/ 0 w 1"/>
                  <a:gd name="T1" fmla="*/ 0 h 2"/>
                  <a:gd name="T2" fmla="*/ 1 w 1"/>
                  <a:gd name="T3" fmla="*/ 0 h 2"/>
                  <a:gd name="T4" fmla="*/ 1 w 1"/>
                  <a:gd name="T5" fmla="*/ 2 h 2"/>
                  <a:gd name="T6" fmla="*/ 1 w 1"/>
                  <a:gd name="T7" fmla="*/ 0 h 2"/>
                  <a:gd name="T8" fmla="*/ 1 w 1"/>
                  <a:gd name="T9" fmla="*/ 2 h 2"/>
                  <a:gd name="T10" fmla="*/ 0 w 1"/>
                  <a:gd name="T11" fmla="*/ 2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1" y="0"/>
                    </a:lnTo>
                    <a:lnTo>
                      <a:pt x="1" y="2"/>
                    </a:lnTo>
                    <a:lnTo>
                      <a:pt x="1" y="0"/>
                    </a:lnTo>
                    <a:lnTo>
                      <a:pt x="1" y="2"/>
                    </a:lnTo>
                    <a:lnTo>
                      <a:pt x="0" y="2"/>
                    </a:lnTo>
                    <a:lnTo>
                      <a:pt x="0"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98" name="Rectangle 279"/>
              <p:cNvSpPr>
                <a:spLocks noChangeArrowheads="1"/>
              </p:cNvSpPr>
              <p:nvPr/>
            </p:nvSpPr>
            <p:spPr bwMode="auto">
              <a:xfrm>
                <a:off x="5215" y="3167"/>
                <a:ext cx="1" cy="1"/>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99" name="Freeform 280"/>
              <p:cNvSpPr>
                <a:spLocks/>
              </p:cNvSpPr>
              <p:nvPr/>
            </p:nvSpPr>
            <p:spPr bwMode="auto">
              <a:xfrm>
                <a:off x="5178" y="3168"/>
                <a:ext cx="3" cy="8"/>
              </a:xfrm>
              <a:custGeom>
                <a:avLst/>
                <a:gdLst>
                  <a:gd name="T0" fmla="*/ 3 w 3"/>
                  <a:gd name="T1" fmla="*/ 0 h 8"/>
                  <a:gd name="T2" fmla="*/ 3 w 3"/>
                  <a:gd name="T3" fmla="*/ 2 h 8"/>
                  <a:gd name="T4" fmla="*/ 3 w 3"/>
                  <a:gd name="T5" fmla="*/ 3 h 8"/>
                  <a:gd name="T6" fmla="*/ 2 w 3"/>
                  <a:gd name="T7" fmla="*/ 3 h 8"/>
                  <a:gd name="T8" fmla="*/ 2 w 3"/>
                  <a:gd name="T9" fmla="*/ 5 h 8"/>
                  <a:gd name="T10" fmla="*/ 2 w 3"/>
                  <a:gd name="T11" fmla="*/ 6 h 8"/>
                  <a:gd name="T12" fmla="*/ 0 w 3"/>
                  <a:gd name="T13" fmla="*/ 6 h 8"/>
                  <a:gd name="T14" fmla="*/ 0 w 3"/>
                  <a:gd name="T15" fmla="*/ 8 h 8"/>
                  <a:gd name="T16" fmla="*/ 0 w 3"/>
                  <a:gd name="T17" fmla="*/ 6 h 8"/>
                  <a:gd name="T18" fmla="*/ 0 w 3"/>
                  <a:gd name="T19" fmla="*/ 5 h 8"/>
                  <a:gd name="T20" fmla="*/ 0 w 3"/>
                  <a:gd name="T21" fmla="*/ 3 h 8"/>
                  <a:gd name="T22" fmla="*/ 2 w 3"/>
                  <a:gd name="T23" fmla="*/ 3 h 8"/>
                  <a:gd name="T24" fmla="*/ 2 w 3"/>
                  <a:gd name="T25" fmla="*/ 2 h 8"/>
                  <a:gd name="T26" fmla="*/ 3 w 3"/>
                  <a:gd name="T27" fmla="*/ 2 h 8"/>
                  <a:gd name="T28" fmla="*/ 3 w 3"/>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8">
                    <a:moveTo>
                      <a:pt x="3" y="0"/>
                    </a:moveTo>
                    <a:lnTo>
                      <a:pt x="3" y="2"/>
                    </a:lnTo>
                    <a:lnTo>
                      <a:pt x="3" y="3"/>
                    </a:lnTo>
                    <a:lnTo>
                      <a:pt x="2" y="3"/>
                    </a:lnTo>
                    <a:lnTo>
                      <a:pt x="2" y="5"/>
                    </a:lnTo>
                    <a:lnTo>
                      <a:pt x="2" y="6"/>
                    </a:lnTo>
                    <a:lnTo>
                      <a:pt x="0" y="6"/>
                    </a:lnTo>
                    <a:lnTo>
                      <a:pt x="0" y="8"/>
                    </a:lnTo>
                    <a:lnTo>
                      <a:pt x="0" y="6"/>
                    </a:lnTo>
                    <a:lnTo>
                      <a:pt x="0" y="5"/>
                    </a:lnTo>
                    <a:lnTo>
                      <a:pt x="0" y="3"/>
                    </a:lnTo>
                    <a:lnTo>
                      <a:pt x="2" y="3"/>
                    </a:lnTo>
                    <a:lnTo>
                      <a:pt x="2" y="2"/>
                    </a:lnTo>
                    <a:lnTo>
                      <a:pt x="3" y="2"/>
                    </a:lnTo>
                    <a:lnTo>
                      <a:pt x="3"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00" name="Freeform 281"/>
              <p:cNvSpPr>
                <a:spLocks/>
              </p:cNvSpPr>
              <p:nvPr/>
            </p:nvSpPr>
            <p:spPr bwMode="auto">
              <a:xfrm>
                <a:off x="5197" y="3171"/>
                <a:ext cx="3" cy="2"/>
              </a:xfrm>
              <a:custGeom>
                <a:avLst/>
                <a:gdLst>
                  <a:gd name="T0" fmla="*/ 2 w 3"/>
                  <a:gd name="T1" fmla="*/ 0 h 2"/>
                  <a:gd name="T2" fmla="*/ 3 w 3"/>
                  <a:gd name="T3" fmla="*/ 0 h 2"/>
                  <a:gd name="T4" fmla="*/ 3 w 3"/>
                  <a:gd name="T5" fmla="*/ 2 h 2"/>
                  <a:gd name="T6" fmla="*/ 2 w 3"/>
                  <a:gd name="T7" fmla="*/ 2 h 2"/>
                  <a:gd name="T8" fmla="*/ 2 w 3"/>
                  <a:gd name="T9" fmla="*/ 0 h 2"/>
                  <a:gd name="T10" fmla="*/ 0 w 3"/>
                  <a:gd name="T11" fmla="*/ 0 h 2"/>
                  <a:gd name="T12" fmla="*/ 2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0"/>
                    </a:moveTo>
                    <a:lnTo>
                      <a:pt x="3" y="0"/>
                    </a:lnTo>
                    <a:lnTo>
                      <a:pt x="3" y="2"/>
                    </a:lnTo>
                    <a:lnTo>
                      <a:pt x="2" y="2"/>
                    </a:lnTo>
                    <a:lnTo>
                      <a:pt x="2" y="0"/>
                    </a:lnTo>
                    <a:lnTo>
                      <a:pt x="0" y="0"/>
                    </a:lnTo>
                    <a:lnTo>
                      <a:pt x="2"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01" name="Freeform 282"/>
              <p:cNvSpPr>
                <a:spLocks/>
              </p:cNvSpPr>
              <p:nvPr/>
            </p:nvSpPr>
            <p:spPr bwMode="auto">
              <a:xfrm>
                <a:off x="5199" y="3273"/>
                <a:ext cx="1" cy="1"/>
              </a:xfrm>
              <a:custGeom>
                <a:avLst/>
                <a:gdLst>
                  <a:gd name="T0" fmla="*/ 1 w 1"/>
                  <a:gd name="T1" fmla="*/ 0 h 1"/>
                  <a:gd name="T2" fmla="*/ 1 w 1"/>
                  <a:gd name="T3" fmla="*/ 1 h 1"/>
                  <a:gd name="T4" fmla="*/ 1 w 1"/>
                  <a:gd name="T5" fmla="*/ 0 h 1"/>
                  <a:gd name="T6" fmla="*/ 0 w 1"/>
                  <a:gd name="T7" fmla="*/ 0 h 1"/>
                  <a:gd name="T8" fmla="*/ 1 w 1"/>
                  <a:gd name="T9" fmla="*/ 0 h 1"/>
                  <a:gd name="T10" fmla="*/ 0 w 1"/>
                  <a:gd name="T11" fmla="*/ 0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lnTo>
                      <a:pt x="1" y="1"/>
                    </a:lnTo>
                    <a:lnTo>
                      <a:pt x="1" y="0"/>
                    </a:lnTo>
                    <a:lnTo>
                      <a:pt x="0" y="0"/>
                    </a:lnTo>
                    <a:lnTo>
                      <a:pt x="1" y="0"/>
                    </a:lnTo>
                    <a:lnTo>
                      <a:pt x="0" y="0"/>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02" name="Rectangle 283"/>
              <p:cNvSpPr>
                <a:spLocks noChangeArrowheads="1"/>
              </p:cNvSpPr>
              <p:nvPr/>
            </p:nvSpPr>
            <p:spPr bwMode="auto">
              <a:xfrm>
                <a:off x="5249" y="3349"/>
                <a:ext cx="2" cy="1"/>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03" name="Rectangle 284"/>
              <p:cNvSpPr>
                <a:spLocks noChangeArrowheads="1"/>
              </p:cNvSpPr>
              <p:nvPr/>
            </p:nvSpPr>
            <p:spPr bwMode="auto">
              <a:xfrm>
                <a:off x="5257" y="3371"/>
                <a:ext cx="2" cy="1"/>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04" name="Rectangle 285"/>
              <p:cNvSpPr>
                <a:spLocks noChangeArrowheads="1"/>
              </p:cNvSpPr>
              <p:nvPr/>
            </p:nvSpPr>
            <p:spPr bwMode="auto">
              <a:xfrm>
                <a:off x="5259" y="3387"/>
                <a:ext cx="1" cy="1"/>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05" name="Freeform 286"/>
              <p:cNvSpPr>
                <a:spLocks/>
              </p:cNvSpPr>
              <p:nvPr/>
            </p:nvSpPr>
            <p:spPr bwMode="auto">
              <a:xfrm>
                <a:off x="5241" y="3472"/>
                <a:ext cx="2" cy="3"/>
              </a:xfrm>
              <a:custGeom>
                <a:avLst/>
                <a:gdLst>
                  <a:gd name="T0" fmla="*/ 0 w 2"/>
                  <a:gd name="T1" fmla="*/ 3 h 3"/>
                  <a:gd name="T2" fmla="*/ 0 w 2"/>
                  <a:gd name="T3" fmla="*/ 2 h 3"/>
                  <a:gd name="T4" fmla="*/ 2 w 2"/>
                  <a:gd name="T5" fmla="*/ 2 h 3"/>
                  <a:gd name="T6" fmla="*/ 2 w 2"/>
                  <a:gd name="T7" fmla="*/ 0 h 3"/>
                  <a:gd name="T8" fmla="*/ 2 w 2"/>
                  <a:gd name="T9" fmla="*/ 2 h 3"/>
                  <a:gd name="T10" fmla="*/ 2 w 2"/>
                  <a:gd name="T11" fmla="*/ 3 h 3"/>
                  <a:gd name="T12" fmla="*/ 0 w 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3"/>
                    </a:moveTo>
                    <a:lnTo>
                      <a:pt x="0" y="2"/>
                    </a:lnTo>
                    <a:lnTo>
                      <a:pt x="2" y="2"/>
                    </a:lnTo>
                    <a:lnTo>
                      <a:pt x="2" y="0"/>
                    </a:lnTo>
                    <a:lnTo>
                      <a:pt x="2" y="2"/>
                    </a:lnTo>
                    <a:lnTo>
                      <a:pt x="2" y="3"/>
                    </a:lnTo>
                    <a:lnTo>
                      <a:pt x="0" y="3"/>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06" name="Rectangle 287"/>
              <p:cNvSpPr>
                <a:spLocks noChangeArrowheads="1"/>
              </p:cNvSpPr>
              <p:nvPr/>
            </p:nvSpPr>
            <p:spPr bwMode="auto">
              <a:xfrm>
                <a:off x="5237" y="3480"/>
                <a:ext cx="1" cy="2"/>
              </a:xfrm>
              <a:prstGeom prst="rect">
                <a:avLst/>
              </a:prstGeom>
              <a:noFill/>
              <a:ln w="9525">
                <a:solidFill>
                  <a:srgbClr val="2673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07" name="Freeform 288"/>
              <p:cNvSpPr>
                <a:spLocks/>
              </p:cNvSpPr>
              <p:nvPr/>
            </p:nvSpPr>
            <p:spPr bwMode="auto">
              <a:xfrm>
                <a:off x="5235" y="3480"/>
                <a:ext cx="2" cy="3"/>
              </a:xfrm>
              <a:custGeom>
                <a:avLst/>
                <a:gdLst>
                  <a:gd name="T0" fmla="*/ 0 w 2"/>
                  <a:gd name="T1" fmla="*/ 2 h 3"/>
                  <a:gd name="T2" fmla="*/ 0 w 2"/>
                  <a:gd name="T3" fmla="*/ 3 h 3"/>
                  <a:gd name="T4" fmla="*/ 0 w 2"/>
                  <a:gd name="T5" fmla="*/ 2 h 3"/>
                  <a:gd name="T6" fmla="*/ 0 w 2"/>
                  <a:gd name="T7" fmla="*/ 0 h 3"/>
                  <a:gd name="T8" fmla="*/ 2 w 2"/>
                  <a:gd name="T9" fmla="*/ 0 h 3"/>
                  <a:gd name="T10" fmla="*/ 2 w 2"/>
                  <a:gd name="T11" fmla="*/ 2 h 3"/>
                  <a:gd name="T12" fmla="*/ 0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2"/>
                    </a:moveTo>
                    <a:lnTo>
                      <a:pt x="0" y="3"/>
                    </a:lnTo>
                    <a:lnTo>
                      <a:pt x="0" y="2"/>
                    </a:lnTo>
                    <a:lnTo>
                      <a:pt x="0" y="0"/>
                    </a:lnTo>
                    <a:lnTo>
                      <a:pt x="2" y="0"/>
                    </a:lnTo>
                    <a:lnTo>
                      <a:pt x="2" y="2"/>
                    </a:lnTo>
                    <a:lnTo>
                      <a:pt x="0" y="2"/>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08" name="Freeform 289"/>
              <p:cNvSpPr>
                <a:spLocks/>
              </p:cNvSpPr>
              <p:nvPr/>
            </p:nvSpPr>
            <p:spPr bwMode="auto">
              <a:xfrm>
                <a:off x="5438" y="3544"/>
                <a:ext cx="14" cy="11"/>
              </a:xfrm>
              <a:custGeom>
                <a:avLst/>
                <a:gdLst>
                  <a:gd name="T0" fmla="*/ 5 w 14"/>
                  <a:gd name="T1" fmla="*/ 0 h 11"/>
                  <a:gd name="T2" fmla="*/ 6 w 14"/>
                  <a:gd name="T3" fmla="*/ 0 h 11"/>
                  <a:gd name="T4" fmla="*/ 8 w 14"/>
                  <a:gd name="T5" fmla="*/ 0 h 11"/>
                  <a:gd name="T6" fmla="*/ 8 w 14"/>
                  <a:gd name="T7" fmla="*/ 1 h 11"/>
                  <a:gd name="T8" fmla="*/ 9 w 14"/>
                  <a:gd name="T9" fmla="*/ 1 h 11"/>
                  <a:gd name="T10" fmla="*/ 11 w 14"/>
                  <a:gd name="T11" fmla="*/ 1 h 11"/>
                  <a:gd name="T12" fmla="*/ 11 w 14"/>
                  <a:gd name="T13" fmla="*/ 3 h 11"/>
                  <a:gd name="T14" fmla="*/ 11 w 14"/>
                  <a:gd name="T15" fmla="*/ 4 h 11"/>
                  <a:gd name="T16" fmla="*/ 13 w 14"/>
                  <a:gd name="T17" fmla="*/ 4 h 11"/>
                  <a:gd name="T18" fmla="*/ 13 w 14"/>
                  <a:gd name="T19" fmla="*/ 6 h 11"/>
                  <a:gd name="T20" fmla="*/ 13 w 14"/>
                  <a:gd name="T21" fmla="*/ 7 h 11"/>
                  <a:gd name="T22" fmla="*/ 13 w 14"/>
                  <a:gd name="T23" fmla="*/ 9 h 11"/>
                  <a:gd name="T24" fmla="*/ 14 w 14"/>
                  <a:gd name="T25" fmla="*/ 9 h 11"/>
                  <a:gd name="T26" fmla="*/ 14 w 14"/>
                  <a:gd name="T27" fmla="*/ 11 h 11"/>
                  <a:gd name="T28" fmla="*/ 13 w 14"/>
                  <a:gd name="T29" fmla="*/ 11 h 11"/>
                  <a:gd name="T30" fmla="*/ 11 w 14"/>
                  <a:gd name="T31" fmla="*/ 11 h 11"/>
                  <a:gd name="T32" fmla="*/ 11 w 14"/>
                  <a:gd name="T33" fmla="*/ 9 h 11"/>
                  <a:gd name="T34" fmla="*/ 9 w 14"/>
                  <a:gd name="T35" fmla="*/ 9 h 11"/>
                  <a:gd name="T36" fmla="*/ 8 w 14"/>
                  <a:gd name="T37" fmla="*/ 9 h 11"/>
                  <a:gd name="T38" fmla="*/ 8 w 14"/>
                  <a:gd name="T39" fmla="*/ 7 h 11"/>
                  <a:gd name="T40" fmla="*/ 6 w 14"/>
                  <a:gd name="T41" fmla="*/ 7 h 11"/>
                  <a:gd name="T42" fmla="*/ 6 w 14"/>
                  <a:gd name="T43" fmla="*/ 6 h 11"/>
                  <a:gd name="T44" fmla="*/ 5 w 14"/>
                  <a:gd name="T45" fmla="*/ 6 h 11"/>
                  <a:gd name="T46" fmla="*/ 5 w 14"/>
                  <a:gd name="T47" fmla="*/ 4 h 11"/>
                  <a:gd name="T48" fmla="*/ 3 w 14"/>
                  <a:gd name="T49" fmla="*/ 4 h 11"/>
                  <a:gd name="T50" fmla="*/ 3 w 14"/>
                  <a:gd name="T51" fmla="*/ 3 h 11"/>
                  <a:gd name="T52" fmla="*/ 1 w 14"/>
                  <a:gd name="T53" fmla="*/ 3 h 11"/>
                  <a:gd name="T54" fmla="*/ 0 w 14"/>
                  <a:gd name="T55" fmla="*/ 3 h 11"/>
                  <a:gd name="T56" fmla="*/ 0 w 14"/>
                  <a:gd name="T57" fmla="*/ 4 h 11"/>
                  <a:gd name="T58" fmla="*/ 1 w 14"/>
                  <a:gd name="T59" fmla="*/ 4 h 11"/>
                  <a:gd name="T60" fmla="*/ 0 w 14"/>
                  <a:gd name="T61" fmla="*/ 4 h 11"/>
                  <a:gd name="T62" fmla="*/ 0 w 14"/>
                  <a:gd name="T63" fmla="*/ 3 h 11"/>
                  <a:gd name="T64" fmla="*/ 0 w 14"/>
                  <a:gd name="T65" fmla="*/ 1 h 11"/>
                  <a:gd name="T66" fmla="*/ 0 w 14"/>
                  <a:gd name="T67" fmla="*/ 0 h 11"/>
                  <a:gd name="T68" fmla="*/ 1 w 14"/>
                  <a:gd name="T69" fmla="*/ 0 h 11"/>
                  <a:gd name="T70" fmla="*/ 3 w 14"/>
                  <a:gd name="T71" fmla="*/ 0 h 11"/>
                  <a:gd name="T72" fmla="*/ 5 w 14"/>
                  <a:gd name="T7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11">
                    <a:moveTo>
                      <a:pt x="5" y="0"/>
                    </a:moveTo>
                    <a:lnTo>
                      <a:pt x="6" y="0"/>
                    </a:lnTo>
                    <a:lnTo>
                      <a:pt x="8" y="0"/>
                    </a:lnTo>
                    <a:lnTo>
                      <a:pt x="8" y="1"/>
                    </a:lnTo>
                    <a:lnTo>
                      <a:pt x="9" y="1"/>
                    </a:lnTo>
                    <a:lnTo>
                      <a:pt x="11" y="1"/>
                    </a:lnTo>
                    <a:lnTo>
                      <a:pt x="11" y="3"/>
                    </a:lnTo>
                    <a:lnTo>
                      <a:pt x="11" y="4"/>
                    </a:lnTo>
                    <a:lnTo>
                      <a:pt x="13" y="4"/>
                    </a:lnTo>
                    <a:lnTo>
                      <a:pt x="13" y="6"/>
                    </a:lnTo>
                    <a:lnTo>
                      <a:pt x="13" y="7"/>
                    </a:lnTo>
                    <a:lnTo>
                      <a:pt x="13" y="9"/>
                    </a:lnTo>
                    <a:lnTo>
                      <a:pt x="14" y="9"/>
                    </a:lnTo>
                    <a:lnTo>
                      <a:pt x="14" y="11"/>
                    </a:lnTo>
                    <a:lnTo>
                      <a:pt x="13" y="11"/>
                    </a:lnTo>
                    <a:lnTo>
                      <a:pt x="11" y="11"/>
                    </a:lnTo>
                    <a:lnTo>
                      <a:pt x="11" y="9"/>
                    </a:lnTo>
                    <a:lnTo>
                      <a:pt x="9" y="9"/>
                    </a:lnTo>
                    <a:lnTo>
                      <a:pt x="8" y="9"/>
                    </a:lnTo>
                    <a:lnTo>
                      <a:pt x="8" y="7"/>
                    </a:lnTo>
                    <a:lnTo>
                      <a:pt x="6" y="7"/>
                    </a:lnTo>
                    <a:lnTo>
                      <a:pt x="6" y="6"/>
                    </a:lnTo>
                    <a:lnTo>
                      <a:pt x="5" y="6"/>
                    </a:lnTo>
                    <a:lnTo>
                      <a:pt x="5" y="4"/>
                    </a:lnTo>
                    <a:lnTo>
                      <a:pt x="3" y="4"/>
                    </a:lnTo>
                    <a:lnTo>
                      <a:pt x="3" y="3"/>
                    </a:lnTo>
                    <a:lnTo>
                      <a:pt x="1" y="3"/>
                    </a:lnTo>
                    <a:lnTo>
                      <a:pt x="0" y="3"/>
                    </a:lnTo>
                    <a:lnTo>
                      <a:pt x="0" y="4"/>
                    </a:lnTo>
                    <a:lnTo>
                      <a:pt x="1" y="4"/>
                    </a:lnTo>
                    <a:lnTo>
                      <a:pt x="0" y="4"/>
                    </a:lnTo>
                    <a:lnTo>
                      <a:pt x="0" y="3"/>
                    </a:lnTo>
                    <a:lnTo>
                      <a:pt x="0" y="1"/>
                    </a:lnTo>
                    <a:lnTo>
                      <a:pt x="0" y="0"/>
                    </a:lnTo>
                    <a:lnTo>
                      <a:pt x="1" y="0"/>
                    </a:lnTo>
                    <a:lnTo>
                      <a:pt x="3" y="0"/>
                    </a:lnTo>
                    <a:lnTo>
                      <a:pt x="5"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09" name="Freeform 290"/>
              <p:cNvSpPr>
                <a:spLocks/>
              </p:cNvSpPr>
              <p:nvPr/>
            </p:nvSpPr>
            <p:spPr bwMode="auto">
              <a:xfrm>
                <a:off x="5457" y="3555"/>
                <a:ext cx="5" cy="8"/>
              </a:xfrm>
              <a:custGeom>
                <a:avLst/>
                <a:gdLst>
                  <a:gd name="T0" fmla="*/ 1 w 5"/>
                  <a:gd name="T1" fmla="*/ 0 h 8"/>
                  <a:gd name="T2" fmla="*/ 1 w 5"/>
                  <a:gd name="T3" fmla="*/ 1 h 8"/>
                  <a:gd name="T4" fmla="*/ 3 w 5"/>
                  <a:gd name="T5" fmla="*/ 1 h 8"/>
                  <a:gd name="T6" fmla="*/ 3 w 5"/>
                  <a:gd name="T7" fmla="*/ 3 h 8"/>
                  <a:gd name="T8" fmla="*/ 5 w 5"/>
                  <a:gd name="T9" fmla="*/ 3 h 8"/>
                  <a:gd name="T10" fmla="*/ 5 w 5"/>
                  <a:gd name="T11" fmla="*/ 4 h 8"/>
                  <a:gd name="T12" fmla="*/ 3 w 5"/>
                  <a:gd name="T13" fmla="*/ 4 h 8"/>
                  <a:gd name="T14" fmla="*/ 3 w 5"/>
                  <a:gd name="T15" fmla="*/ 6 h 8"/>
                  <a:gd name="T16" fmla="*/ 3 w 5"/>
                  <a:gd name="T17" fmla="*/ 4 h 8"/>
                  <a:gd name="T18" fmla="*/ 3 w 5"/>
                  <a:gd name="T19" fmla="*/ 6 h 8"/>
                  <a:gd name="T20" fmla="*/ 3 w 5"/>
                  <a:gd name="T21" fmla="*/ 8 h 8"/>
                  <a:gd name="T22" fmla="*/ 1 w 5"/>
                  <a:gd name="T23" fmla="*/ 8 h 8"/>
                  <a:gd name="T24" fmla="*/ 0 w 5"/>
                  <a:gd name="T25" fmla="*/ 8 h 8"/>
                  <a:gd name="T26" fmla="*/ 0 w 5"/>
                  <a:gd name="T27" fmla="*/ 6 h 8"/>
                  <a:gd name="T28" fmla="*/ 0 w 5"/>
                  <a:gd name="T29" fmla="*/ 4 h 8"/>
                  <a:gd name="T30" fmla="*/ 1 w 5"/>
                  <a:gd name="T31" fmla="*/ 4 h 8"/>
                  <a:gd name="T32" fmla="*/ 1 w 5"/>
                  <a:gd name="T33" fmla="*/ 3 h 8"/>
                  <a:gd name="T34" fmla="*/ 0 w 5"/>
                  <a:gd name="T35" fmla="*/ 3 h 8"/>
                  <a:gd name="T36" fmla="*/ 0 w 5"/>
                  <a:gd name="T37" fmla="*/ 1 h 8"/>
                  <a:gd name="T38" fmla="*/ 1 w 5"/>
                  <a:gd name="T39" fmla="*/ 1 h 8"/>
                  <a:gd name="T40" fmla="*/ 1 w 5"/>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 h="8">
                    <a:moveTo>
                      <a:pt x="1" y="0"/>
                    </a:moveTo>
                    <a:lnTo>
                      <a:pt x="1" y="1"/>
                    </a:lnTo>
                    <a:lnTo>
                      <a:pt x="3" y="1"/>
                    </a:lnTo>
                    <a:lnTo>
                      <a:pt x="3" y="3"/>
                    </a:lnTo>
                    <a:lnTo>
                      <a:pt x="5" y="3"/>
                    </a:lnTo>
                    <a:lnTo>
                      <a:pt x="5" y="4"/>
                    </a:lnTo>
                    <a:lnTo>
                      <a:pt x="3" y="4"/>
                    </a:lnTo>
                    <a:lnTo>
                      <a:pt x="3" y="6"/>
                    </a:lnTo>
                    <a:lnTo>
                      <a:pt x="3" y="4"/>
                    </a:lnTo>
                    <a:lnTo>
                      <a:pt x="3" y="6"/>
                    </a:lnTo>
                    <a:lnTo>
                      <a:pt x="3" y="8"/>
                    </a:lnTo>
                    <a:lnTo>
                      <a:pt x="1" y="8"/>
                    </a:lnTo>
                    <a:lnTo>
                      <a:pt x="0" y="8"/>
                    </a:lnTo>
                    <a:lnTo>
                      <a:pt x="0" y="6"/>
                    </a:lnTo>
                    <a:lnTo>
                      <a:pt x="0" y="4"/>
                    </a:lnTo>
                    <a:lnTo>
                      <a:pt x="1" y="4"/>
                    </a:lnTo>
                    <a:lnTo>
                      <a:pt x="1" y="3"/>
                    </a:lnTo>
                    <a:lnTo>
                      <a:pt x="0" y="3"/>
                    </a:lnTo>
                    <a:lnTo>
                      <a:pt x="0" y="1"/>
                    </a:lnTo>
                    <a:lnTo>
                      <a:pt x="1" y="1"/>
                    </a:lnTo>
                    <a:lnTo>
                      <a:pt x="1"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10" name="Freeform 291"/>
              <p:cNvSpPr>
                <a:spLocks/>
              </p:cNvSpPr>
              <p:nvPr/>
            </p:nvSpPr>
            <p:spPr bwMode="auto">
              <a:xfrm>
                <a:off x="5457" y="3591"/>
                <a:ext cx="17" cy="16"/>
              </a:xfrm>
              <a:custGeom>
                <a:avLst/>
                <a:gdLst>
                  <a:gd name="T0" fmla="*/ 17 w 17"/>
                  <a:gd name="T1" fmla="*/ 0 h 16"/>
                  <a:gd name="T2" fmla="*/ 17 w 17"/>
                  <a:gd name="T3" fmla="*/ 2 h 16"/>
                  <a:gd name="T4" fmla="*/ 17 w 17"/>
                  <a:gd name="T5" fmla="*/ 3 h 16"/>
                  <a:gd name="T6" fmla="*/ 17 w 17"/>
                  <a:gd name="T7" fmla="*/ 5 h 16"/>
                  <a:gd name="T8" fmla="*/ 17 w 17"/>
                  <a:gd name="T9" fmla="*/ 6 h 16"/>
                  <a:gd name="T10" fmla="*/ 17 w 17"/>
                  <a:gd name="T11" fmla="*/ 8 h 16"/>
                  <a:gd name="T12" fmla="*/ 17 w 17"/>
                  <a:gd name="T13" fmla="*/ 10 h 16"/>
                  <a:gd name="T14" fmla="*/ 17 w 17"/>
                  <a:gd name="T15" fmla="*/ 11 h 16"/>
                  <a:gd name="T16" fmla="*/ 16 w 17"/>
                  <a:gd name="T17" fmla="*/ 11 h 16"/>
                  <a:gd name="T18" fmla="*/ 14 w 17"/>
                  <a:gd name="T19" fmla="*/ 11 h 16"/>
                  <a:gd name="T20" fmla="*/ 14 w 17"/>
                  <a:gd name="T21" fmla="*/ 13 h 16"/>
                  <a:gd name="T22" fmla="*/ 14 w 17"/>
                  <a:gd name="T23" fmla="*/ 14 h 16"/>
                  <a:gd name="T24" fmla="*/ 13 w 17"/>
                  <a:gd name="T25" fmla="*/ 14 h 16"/>
                  <a:gd name="T26" fmla="*/ 13 w 17"/>
                  <a:gd name="T27" fmla="*/ 16 h 16"/>
                  <a:gd name="T28" fmla="*/ 13 w 17"/>
                  <a:gd name="T29" fmla="*/ 14 h 16"/>
                  <a:gd name="T30" fmla="*/ 13 w 17"/>
                  <a:gd name="T31" fmla="*/ 13 h 16"/>
                  <a:gd name="T32" fmla="*/ 11 w 17"/>
                  <a:gd name="T33" fmla="*/ 13 h 16"/>
                  <a:gd name="T34" fmla="*/ 9 w 17"/>
                  <a:gd name="T35" fmla="*/ 13 h 16"/>
                  <a:gd name="T36" fmla="*/ 8 w 17"/>
                  <a:gd name="T37" fmla="*/ 13 h 16"/>
                  <a:gd name="T38" fmla="*/ 6 w 17"/>
                  <a:gd name="T39" fmla="*/ 13 h 16"/>
                  <a:gd name="T40" fmla="*/ 6 w 17"/>
                  <a:gd name="T41" fmla="*/ 14 h 16"/>
                  <a:gd name="T42" fmla="*/ 5 w 17"/>
                  <a:gd name="T43" fmla="*/ 14 h 16"/>
                  <a:gd name="T44" fmla="*/ 5 w 17"/>
                  <a:gd name="T45" fmla="*/ 13 h 16"/>
                  <a:gd name="T46" fmla="*/ 5 w 17"/>
                  <a:gd name="T47" fmla="*/ 14 h 16"/>
                  <a:gd name="T48" fmla="*/ 3 w 17"/>
                  <a:gd name="T49" fmla="*/ 14 h 16"/>
                  <a:gd name="T50" fmla="*/ 1 w 17"/>
                  <a:gd name="T51" fmla="*/ 14 h 16"/>
                  <a:gd name="T52" fmla="*/ 0 w 17"/>
                  <a:gd name="T53" fmla="*/ 14 h 16"/>
                  <a:gd name="T54" fmla="*/ 0 w 17"/>
                  <a:gd name="T55" fmla="*/ 13 h 16"/>
                  <a:gd name="T56" fmla="*/ 1 w 17"/>
                  <a:gd name="T57" fmla="*/ 13 h 16"/>
                  <a:gd name="T58" fmla="*/ 1 w 17"/>
                  <a:gd name="T59" fmla="*/ 11 h 16"/>
                  <a:gd name="T60" fmla="*/ 3 w 17"/>
                  <a:gd name="T61" fmla="*/ 11 h 16"/>
                  <a:gd name="T62" fmla="*/ 3 w 17"/>
                  <a:gd name="T63" fmla="*/ 10 h 16"/>
                  <a:gd name="T64" fmla="*/ 5 w 17"/>
                  <a:gd name="T65" fmla="*/ 10 h 16"/>
                  <a:gd name="T66" fmla="*/ 5 w 17"/>
                  <a:gd name="T67" fmla="*/ 8 h 16"/>
                  <a:gd name="T68" fmla="*/ 6 w 17"/>
                  <a:gd name="T69" fmla="*/ 8 h 16"/>
                  <a:gd name="T70" fmla="*/ 6 w 17"/>
                  <a:gd name="T71" fmla="*/ 6 h 16"/>
                  <a:gd name="T72" fmla="*/ 8 w 17"/>
                  <a:gd name="T73" fmla="*/ 6 h 16"/>
                  <a:gd name="T74" fmla="*/ 8 w 17"/>
                  <a:gd name="T75" fmla="*/ 5 h 16"/>
                  <a:gd name="T76" fmla="*/ 9 w 17"/>
                  <a:gd name="T77" fmla="*/ 5 h 16"/>
                  <a:gd name="T78" fmla="*/ 11 w 17"/>
                  <a:gd name="T79" fmla="*/ 5 h 16"/>
                  <a:gd name="T80" fmla="*/ 11 w 17"/>
                  <a:gd name="T81" fmla="*/ 3 h 16"/>
                  <a:gd name="T82" fmla="*/ 13 w 17"/>
                  <a:gd name="T83" fmla="*/ 3 h 16"/>
                  <a:gd name="T84" fmla="*/ 14 w 17"/>
                  <a:gd name="T85" fmla="*/ 3 h 16"/>
                  <a:gd name="T86" fmla="*/ 14 w 17"/>
                  <a:gd name="T87" fmla="*/ 2 h 16"/>
                  <a:gd name="T88" fmla="*/ 16 w 17"/>
                  <a:gd name="T89" fmla="*/ 2 h 16"/>
                  <a:gd name="T90" fmla="*/ 17 w 17"/>
                  <a:gd name="T91" fmla="*/ 2 h 16"/>
                  <a:gd name="T92" fmla="*/ 17 w 17"/>
                  <a:gd name="T9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 h="16">
                    <a:moveTo>
                      <a:pt x="17" y="0"/>
                    </a:moveTo>
                    <a:lnTo>
                      <a:pt x="17" y="2"/>
                    </a:lnTo>
                    <a:lnTo>
                      <a:pt x="17" y="3"/>
                    </a:lnTo>
                    <a:lnTo>
                      <a:pt x="17" y="5"/>
                    </a:lnTo>
                    <a:lnTo>
                      <a:pt x="17" y="6"/>
                    </a:lnTo>
                    <a:lnTo>
                      <a:pt x="17" y="8"/>
                    </a:lnTo>
                    <a:lnTo>
                      <a:pt x="17" y="10"/>
                    </a:lnTo>
                    <a:lnTo>
                      <a:pt x="17" y="11"/>
                    </a:lnTo>
                    <a:lnTo>
                      <a:pt x="16" y="11"/>
                    </a:lnTo>
                    <a:lnTo>
                      <a:pt x="14" y="11"/>
                    </a:lnTo>
                    <a:lnTo>
                      <a:pt x="14" y="13"/>
                    </a:lnTo>
                    <a:lnTo>
                      <a:pt x="14" y="14"/>
                    </a:lnTo>
                    <a:lnTo>
                      <a:pt x="13" y="14"/>
                    </a:lnTo>
                    <a:lnTo>
                      <a:pt x="13" y="16"/>
                    </a:lnTo>
                    <a:lnTo>
                      <a:pt x="13" y="14"/>
                    </a:lnTo>
                    <a:lnTo>
                      <a:pt x="13" y="13"/>
                    </a:lnTo>
                    <a:lnTo>
                      <a:pt x="11" y="13"/>
                    </a:lnTo>
                    <a:lnTo>
                      <a:pt x="9" y="13"/>
                    </a:lnTo>
                    <a:lnTo>
                      <a:pt x="8" y="13"/>
                    </a:lnTo>
                    <a:lnTo>
                      <a:pt x="6" y="13"/>
                    </a:lnTo>
                    <a:lnTo>
                      <a:pt x="6" y="14"/>
                    </a:lnTo>
                    <a:lnTo>
                      <a:pt x="5" y="14"/>
                    </a:lnTo>
                    <a:lnTo>
                      <a:pt x="5" y="13"/>
                    </a:lnTo>
                    <a:lnTo>
                      <a:pt x="5" y="14"/>
                    </a:lnTo>
                    <a:lnTo>
                      <a:pt x="3" y="14"/>
                    </a:lnTo>
                    <a:lnTo>
                      <a:pt x="1" y="14"/>
                    </a:lnTo>
                    <a:lnTo>
                      <a:pt x="0" y="14"/>
                    </a:lnTo>
                    <a:lnTo>
                      <a:pt x="0" y="13"/>
                    </a:lnTo>
                    <a:lnTo>
                      <a:pt x="1" y="13"/>
                    </a:lnTo>
                    <a:lnTo>
                      <a:pt x="1" y="11"/>
                    </a:lnTo>
                    <a:lnTo>
                      <a:pt x="3" y="11"/>
                    </a:lnTo>
                    <a:lnTo>
                      <a:pt x="3" y="10"/>
                    </a:lnTo>
                    <a:lnTo>
                      <a:pt x="5" y="10"/>
                    </a:lnTo>
                    <a:lnTo>
                      <a:pt x="5" y="8"/>
                    </a:lnTo>
                    <a:lnTo>
                      <a:pt x="6" y="8"/>
                    </a:lnTo>
                    <a:lnTo>
                      <a:pt x="6" y="6"/>
                    </a:lnTo>
                    <a:lnTo>
                      <a:pt x="8" y="6"/>
                    </a:lnTo>
                    <a:lnTo>
                      <a:pt x="8" y="5"/>
                    </a:lnTo>
                    <a:lnTo>
                      <a:pt x="9" y="5"/>
                    </a:lnTo>
                    <a:lnTo>
                      <a:pt x="11" y="5"/>
                    </a:lnTo>
                    <a:lnTo>
                      <a:pt x="11" y="3"/>
                    </a:lnTo>
                    <a:lnTo>
                      <a:pt x="13" y="3"/>
                    </a:lnTo>
                    <a:lnTo>
                      <a:pt x="14" y="3"/>
                    </a:lnTo>
                    <a:lnTo>
                      <a:pt x="14" y="2"/>
                    </a:lnTo>
                    <a:lnTo>
                      <a:pt x="16" y="2"/>
                    </a:lnTo>
                    <a:lnTo>
                      <a:pt x="17" y="2"/>
                    </a:lnTo>
                    <a:lnTo>
                      <a:pt x="17"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11" name="Freeform 292"/>
              <p:cNvSpPr>
                <a:spLocks/>
              </p:cNvSpPr>
              <p:nvPr/>
            </p:nvSpPr>
            <p:spPr bwMode="auto">
              <a:xfrm>
                <a:off x="5460" y="3604"/>
                <a:ext cx="8" cy="6"/>
              </a:xfrm>
              <a:custGeom>
                <a:avLst/>
                <a:gdLst>
                  <a:gd name="T0" fmla="*/ 8 w 8"/>
                  <a:gd name="T1" fmla="*/ 0 h 6"/>
                  <a:gd name="T2" fmla="*/ 8 w 8"/>
                  <a:gd name="T3" fmla="*/ 1 h 6"/>
                  <a:gd name="T4" fmla="*/ 6 w 8"/>
                  <a:gd name="T5" fmla="*/ 1 h 6"/>
                  <a:gd name="T6" fmla="*/ 5 w 8"/>
                  <a:gd name="T7" fmla="*/ 1 h 6"/>
                  <a:gd name="T8" fmla="*/ 5 w 8"/>
                  <a:gd name="T9" fmla="*/ 3 h 6"/>
                  <a:gd name="T10" fmla="*/ 3 w 8"/>
                  <a:gd name="T11" fmla="*/ 3 h 6"/>
                  <a:gd name="T12" fmla="*/ 2 w 8"/>
                  <a:gd name="T13" fmla="*/ 3 h 6"/>
                  <a:gd name="T14" fmla="*/ 2 w 8"/>
                  <a:gd name="T15" fmla="*/ 4 h 6"/>
                  <a:gd name="T16" fmla="*/ 2 w 8"/>
                  <a:gd name="T17" fmla="*/ 6 h 6"/>
                  <a:gd name="T18" fmla="*/ 0 w 8"/>
                  <a:gd name="T19" fmla="*/ 6 h 6"/>
                  <a:gd name="T20" fmla="*/ 0 w 8"/>
                  <a:gd name="T21" fmla="*/ 4 h 6"/>
                  <a:gd name="T22" fmla="*/ 0 w 8"/>
                  <a:gd name="T23" fmla="*/ 3 h 6"/>
                  <a:gd name="T24" fmla="*/ 2 w 8"/>
                  <a:gd name="T25" fmla="*/ 3 h 6"/>
                  <a:gd name="T26" fmla="*/ 2 w 8"/>
                  <a:gd name="T27" fmla="*/ 1 h 6"/>
                  <a:gd name="T28" fmla="*/ 2 w 8"/>
                  <a:gd name="T29" fmla="*/ 3 h 6"/>
                  <a:gd name="T30" fmla="*/ 3 w 8"/>
                  <a:gd name="T31" fmla="*/ 3 h 6"/>
                  <a:gd name="T32" fmla="*/ 3 w 8"/>
                  <a:gd name="T33" fmla="*/ 1 h 6"/>
                  <a:gd name="T34" fmla="*/ 3 w 8"/>
                  <a:gd name="T35" fmla="*/ 0 h 6"/>
                  <a:gd name="T36" fmla="*/ 5 w 8"/>
                  <a:gd name="T37" fmla="*/ 0 h 6"/>
                  <a:gd name="T38" fmla="*/ 6 w 8"/>
                  <a:gd name="T39" fmla="*/ 0 h 6"/>
                  <a:gd name="T40" fmla="*/ 8 w 8"/>
                  <a:gd name="T4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6">
                    <a:moveTo>
                      <a:pt x="8" y="0"/>
                    </a:moveTo>
                    <a:lnTo>
                      <a:pt x="8" y="1"/>
                    </a:lnTo>
                    <a:lnTo>
                      <a:pt x="6" y="1"/>
                    </a:lnTo>
                    <a:lnTo>
                      <a:pt x="5" y="1"/>
                    </a:lnTo>
                    <a:lnTo>
                      <a:pt x="5" y="3"/>
                    </a:lnTo>
                    <a:lnTo>
                      <a:pt x="3" y="3"/>
                    </a:lnTo>
                    <a:lnTo>
                      <a:pt x="2" y="3"/>
                    </a:lnTo>
                    <a:lnTo>
                      <a:pt x="2" y="4"/>
                    </a:lnTo>
                    <a:lnTo>
                      <a:pt x="2" y="6"/>
                    </a:lnTo>
                    <a:lnTo>
                      <a:pt x="0" y="6"/>
                    </a:lnTo>
                    <a:lnTo>
                      <a:pt x="0" y="4"/>
                    </a:lnTo>
                    <a:lnTo>
                      <a:pt x="0" y="3"/>
                    </a:lnTo>
                    <a:lnTo>
                      <a:pt x="2" y="3"/>
                    </a:lnTo>
                    <a:lnTo>
                      <a:pt x="2" y="1"/>
                    </a:lnTo>
                    <a:lnTo>
                      <a:pt x="2" y="3"/>
                    </a:lnTo>
                    <a:lnTo>
                      <a:pt x="3" y="3"/>
                    </a:lnTo>
                    <a:lnTo>
                      <a:pt x="3" y="1"/>
                    </a:lnTo>
                    <a:lnTo>
                      <a:pt x="3" y="0"/>
                    </a:lnTo>
                    <a:lnTo>
                      <a:pt x="5" y="0"/>
                    </a:lnTo>
                    <a:lnTo>
                      <a:pt x="6" y="0"/>
                    </a:lnTo>
                    <a:lnTo>
                      <a:pt x="8" y="0"/>
                    </a:lnTo>
                  </a:path>
                </a:pathLst>
              </a:custGeom>
              <a:noFill/>
              <a:ln w="9525">
                <a:solidFill>
                  <a:srgbClr val="267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12" name="Freeform 293"/>
              <p:cNvSpPr>
                <a:spLocks/>
              </p:cNvSpPr>
              <p:nvPr/>
            </p:nvSpPr>
            <p:spPr bwMode="auto">
              <a:xfrm>
                <a:off x="4412" y="2466"/>
                <a:ext cx="211" cy="211"/>
              </a:xfrm>
              <a:custGeom>
                <a:avLst/>
                <a:gdLst>
                  <a:gd name="T0" fmla="*/ 133 w 133"/>
                  <a:gd name="T1" fmla="*/ 61 h 133"/>
                  <a:gd name="T2" fmla="*/ 132 w 133"/>
                  <a:gd name="T3" fmla="*/ 55 h 133"/>
                  <a:gd name="T4" fmla="*/ 131 w 133"/>
                  <a:gd name="T5" fmla="*/ 49 h 133"/>
                  <a:gd name="T6" fmla="*/ 129 w 133"/>
                  <a:gd name="T7" fmla="*/ 43 h 133"/>
                  <a:gd name="T8" fmla="*/ 126 w 133"/>
                  <a:gd name="T9" fmla="*/ 37 h 133"/>
                  <a:gd name="T10" fmla="*/ 123 w 133"/>
                  <a:gd name="T11" fmla="*/ 31 h 133"/>
                  <a:gd name="T12" fmla="*/ 118 w 133"/>
                  <a:gd name="T13" fmla="*/ 25 h 133"/>
                  <a:gd name="T14" fmla="*/ 113 w 133"/>
                  <a:gd name="T15" fmla="*/ 19 h 133"/>
                  <a:gd name="T16" fmla="*/ 107 w 133"/>
                  <a:gd name="T17" fmla="*/ 14 h 133"/>
                  <a:gd name="T18" fmla="*/ 101 w 133"/>
                  <a:gd name="T19" fmla="*/ 10 h 133"/>
                  <a:gd name="T20" fmla="*/ 95 w 133"/>
                  <a:gd name="T21" fmla="*/ 6 h 133"/>
                  <a:gd name="T22" fmla="*/ 89 w 133"/>
                  <a:gd name="T23" fmla="*/ 4 h 133"/>
                  <a:gd name="T24" fmla="*/ 83 w 133"/>
                  <a:gd name="T25" fmla="*/ 2 h 133"/>
                  <a:gd name="T26" fmla="*/ 77 w 133"/>
                  <a:gd name="T27" fmla="*/ 1 h 133"/>
                  <a:gd name="T28" fmla="*/ 71 w 133"/>
                  <a:gd name="T29" fmla="*/ 0 h 133"/>
                  <a:gd name="T30" fmla="*/ 65 w 133"/>
                  <a:gd name="T31" fmla="*/ 0 h 133"/>
                  <a:gd name="T32" fmla="*/ 59 w 133"/>
                  <a:gd name="T33" fmla="*/ 0 h 133"/>
                  <a:gd name="T34" fmla="*/ 53 w 133"/>
                  <a:gd name="T35" fmla="*/ 1 h 133"/>
                  <a:gd name="T36" fmla="*/ 47 w 133"/>
                  <a:gd name="T37" fmla="*/ 3 h 133"/>
                  <a:gd name="T38" fmla="*/ 41 w 133"/>
                  <a:gd name="T39" fmla="*/ 5 h 133"/>
                  <a:gd name="T40" fmla="*/ 35 w 133"/>
                  <a:gd name="T41" fmla="*/ 8 h 133"/>
                  <a:gd name="T42" fmla="*/ 29 w 133"/>
                  <a:gd name="T43" fmla="*/ 12 h 133"/>
                  <a:gd name="T44" fmla="*/ 23 w 133"/>
                  <a:gd name="T45" fmla="*/ 16 h 133"/>
                  <a:gd name="T46" fmla="*/ 17 w 133"/>
                  <a:gd name="T47" fmla="*/ 22 h 133"/>
                  <a:gd name="T48" fmla="*/ 12 w 133"/>
                  <a:gd name="T49" fmla="*/ 28 h 133"/>
                  <a:gd name="T50" fmla="*/ 8 w 133"/>
                  <a:gd name="T51" fmla="*/ 34 h 133"/>
                  <a:gd name="T52" fmla="*/ 6 w 133"/>
                  <a:gd name="T53" fmla="*/ 40 h 133"/>
                  <a:gd name="T54" fmla="*/ 3 w 133"/>
                  <a:gd name="T55" fmla="*/ 46 h 133"/>
                  <a:gd name="T56" fmla="*/ 2 w 133"/>
                  <a:gd name="T57" fmla="*/ 52 h 133"/>
                  <a:gd name="T58" fmla="*/ 1 w 133"/>
                  <a:gd name="T59" fmla="*/ 58 h 133"/>
                  <a:gd name="T60" fmla="*/ 0 w 133"/>
                  <a:gd name="T61" fmla="*/ 64 h 133"/>
                  <a:gd name="T62" fmla="*/ 0 w 133"/>
                  <a:gd name="T63" fmla="*/ 70 h 133"/>
                  <a:gd name="T64" fmla="*/ 1 w 133"/>
                  <a:gd name="T65" fmla="*/ 76 h 133"/>
                  <a:gd name="T66" fmla="*/ 2 w 133"/>
                  <a:gd name="T67" fmla="*/ 82 h 133"/>
                  <a:gd name="T68" fmla="*/ 4 w 133"/>
                  <a:gd name="T69" fmla="*/ 88 h 133"/>
                  <a:gd name="T70" fmla="*/ 6 w 133"/>
                  <a:gd name="T71" fmla="*/ 94 h 133"/>
                  <a:gd name="T72" fmla="*/ 9 w 133"/>
                  <a:gd name="T73" fmla="*/ 100 h 133"/>
                  <a:gd name="T74" fmla="*/ 13 w 133"/>
                  <a:gd name="T75" fmla="*/ 106 h 133"/>
                  <a:gd name="T76" fmla="*/ 18 w 133"/>
                  <a:gd name="T77" fmla="*/ 112 h 133"/>
                  <a:gd name="T78" fmla="*/ 24 w 133"/>
                  <a:gd name="T79" fmla="*/ 118 h 133"/>
                  <a:gd name="T80" fmla="*/ 30 w 133"/>
                  <a:gd name="T81" fmla="*/ 122 h 133"/>
                  <a:gd name="T82" fmla="*/ 36 w 133"/>
                  <a:gd name="T83" fmla="*/ 126 h 133"/>
                  <a:gd name="T84" fmla="*/ 42 w 133"/>
                  <a:gd name="T85" fmla="*/ 128 h 133"/>
                  <a:gd name="T86" fmla="*/ 48 w 133"/>
                  <a:gd name="T87" fmla="*/ 130 h 133"/>
                  <a:gd name="T88" fmla="*/ 54 w 133"/>
                  <a:gd name="T89" fmla="*/ 132 h 133"/>
                  <a:gd name="T90" fmla="*/ 60 w 133"/>
                  <a:gd name="T91" fmla="*/ 133 h 133"/>
                  <a:gd name="T92" fmla="*/ 66 w 133"/>
                  <a:gd name="T93" fmla="*/ 133 h 133"/>
                  <a:gd name="T94" fmla="*/ 72 w 133"/>
                  <a:gd name="T95" fmla="*/ 133 h 133"/>
                  <a:gd name="T96" fmla="*/ 78 w 133"/>
                  <a:gd name="T97" fmla="*/ 132 h 133"/>
                  <a:gd name="T98" fmla="*/ 84 w 133"/>
                  <a:gd name="T99" fmla="*/ 131 h 133"/>
                  <a:gd name="T100" fmla="*/ 90 w 133"/>
                  <a:gd name="T101" fmla="*/ 129 h 133"/>
                  <a:gd name="T102" fmla="*/ 96 w 133"/>
                  <a:gd name="T103" fmla="*/ 126 h 133"/>
                  <a:gd name="T104" fmla="*/ 102 w 133"/>
                  <a:gd name="T105" fmla="*/ 123 h 133"/>
                  <a:gd name="T106" fmla="*/ 108 w 133"/>
                  <a:gd name="T107" fmla="*/ 118 h 133"/>
                  <a:gd name="T108" fmla="*/ 114 w 133"/>
                  <a:gd name="T109" fmla="*/ 113 h 133"/>
                  <a:gd name="T110" fmla="*/ 119 w 133"/>
                  <a:gd name="T111" fmla="*/ 107 h 133"/>
                  <a:gd name="T112" fmla="*/ 123 w 133"/>
                  <a:gd name="T113" fmla="*/ 101 h 133"/>
                  <a:gd name="T114" fmla="*/ 127 w 133"/>
                  <a:gd name="T115" fmla="*/ 95 h 133"/>
                  <a:gd name="T116" fmla="*/ 129 w 133"/>
                  <a:gd name="T117" fmla="*/ 89 h 133"/>
                  <a:gd name="T118" fmla="*/ 131 w 133"/>
                  <a:gd name="T119" fmla="*/ 83 h 133"/>
                  <a:gd name="T120" fmla="*/ 132 w 133"/>
                  <a:gd name="T121" fmla="*/ 77 h 133"/>
                  <a:gd name="T122" fmla="*/ 133 w 133"/>
                  <a:gd name="T123" fmla="*/ 7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133">
                    <a:moveTo>
                      <a:pt x="133" y="66"/>
                    </a:moveTo>
                    <a:lnTo>
                      <a:pt x="133" y="65"/>
                    </a:lnTo>
                    <a:lnTo>
                      <a:pt x="133" y="64"/>
                    </a:lnTo>
                    <a:lnTo>
                      <a:pt x="133" y="63"/>
                    </a:lnTo>
                    <a:lnTo>
                      <a:pt x="133" y="62"/>
                    </a:lnTo>
                    <a:lnTo>
                      <a:pt x="133" y="61"/>
                    </a:lnTo>
                    <a:lnTo>
                      <a:pt x="133" y="60"/>
                    </a:lnTo>
                    <a:lnTo>
                      <a:pt x="133" y="59"/>
                    </a:lnTo>
                    <a:lnTo>
                      <a:pt x="132" y="58"/>
                    </a:lnTo>
                    <a:lnTo>
                      <a:pt x="132" y="57"/>
                    </a:lnTo>
                    <a:lnTo>
                      <a:pt x="132" y="56"/>
                    </a:lnTo>
                    <a:lnTo>
                      <a:pt x="132" y="55"/>
                    </a:lnTo>
                    <a:lnTo>
                      <a:pt x="132" y="54"/>
                    </a:lnTo>
                    <a:lnTo>
                      <a:pt x="132" y="53"/>
                    </a:lnTo>
                    <a:lnTo>
                      <a:pt x="131" y="52"/>
                    </a:lnTo>
                    <a:lnTo>
                      <a:pt x="131" y="51"/>
                    </a:lnTo>
                    <a:lnTo>
                      <a:pt x="131" y="50"/>
                    </a:lnTo>
                    <a:lnTo>
                      <a:pt x="131" y="49"/>
                    </a:lnTo>
                    <a:lnTo>
                      <a:pt x="130" y="48"/>
                    </a:lnTo>
                    <a:lnTo>
                      <a:pt x="130" y="47"/>
                    </a:lnTo>
                    <a:lnTo>
                      <a:pt x="130" y="46"/>
                    </a:lnTo>
                    <a:lnTo>
                      <a:pt x="129" y="45"/>
                    </a:lnTo>
                    <a:lnTo>
                      <a:pt x="129" y="44"/>
                    </a:lnTo>
                    <a:lnTo>
                      <a:pt x="129" y="43"/>
                    </a:lnTo>
                    <a:lnTo>
                      <a:pt x="128" y="42"/>
                    </a:lnTo>
                    <a:lnTo>
                      <a:pt x="128" y="41"/>
                    </a:lnTo>
                    <a:lnTo>
                      <a:pt x="127" y="40"/>
                    </a:lnTo>
                    <a:lnTo>
                      <a:pt x="127" y="39"/>
                    </a:lnTo>
                    <a:lnTo>
                      <a:pt x="127" y="38"/>
                    </a:lnTo>
                    <a:lnTo>
                      <a:pt x="126" y="37"/>
                    </a:lnTo>
                    <a:lnTo>
                      <a:pt x="126" y="36"/>
                    </a:lnTo>
                    <a:lnTo>
                      <a:pt x="125" y="35"/>
                    </a:lnTo>
                    <a:lnTo>
                      <a:pt x="125" y="34"/>
                    </a:lnTo>
                    <a:lnTo>
                      <a:pt x="124" y="33"/>
                    </a:lnTo>
                    <a:lnTo>
                      <a:pt x="123" y="32"/>
                    </a:lnTo>
                    <a:lnTo>
                      <a:pt x="123" y="31"/>
                    </a:lnTo>
                    <a:lnTo>
                      <a:pt x="122" y="30"/>
                    </a:lnTo>
                    <a:lnTo>
                      <a:pt x="121" y="29"/>
                    </a:lnTo>
                    <a:lnTo>
                      <a:pt x="121" y="28"/>
                    </a:lnTo>
                    <a:lnTo>
                      <a:pt x="120" y="27"/>
                    </a:lnTo>
                    <a:lnTo>
                      <a:pt x="119" y="26"/>
                    </a:lnTo>
                    <a:lnTo>
                      <a:pt x="118" y="25"/>
                    </a:lnTo>
                    <a:lnTo>
                      <a:pt x="118" y="24"/>
                    </a:lnTo>
                    <a:lnTo>
                      <a:pt x="117" y="23"/>
                    </a:lnTo>
                    <a:lnTo>
                      <a:pt x="116" y="22"/>
                    </a:lnTo>
                    <a:lnTo>
                      <a:pt x="115" y="21"/>
                    </a:lnTo>
                    <a:lnTo>
                      <a:pt x="114" y="20"/>
                    </a:lnTo>
                    <a:lnTo>
                      <a:pt x="113" y="19"/>
                    </a:lnTo>
                    <a:lnTo>
                      <a:pt x="112" y="18"/>
                    </a:lnTo>
                    <a:lnTo>
                      <a:pt x="111" y="17"/>
                    </a:lnTo>
                    <a:lnTo>
                      <a:pt x="110" y="16"/>
                    </a:lnTo>
                    <a:lnTo>
                      <a:pt x="109" y="15"/>
                    </a:lnTo>
                    <a:lnTo>
                      <a:pt x="108" y="15"/>
                    </a:lnTo>
                    <a:lnTo>
                      <a:pt x="107" y="14"/>
                    </a:lnTo>
                    <a:lnTo>
                      <a:pt x="106" y="13"/>
                    </a:lnTo>
                    <a:lnTo>
                      <a:pt x="105" y="12"/>
                    </a:lnTo>
                    <a:lnTo>
                      <a:pt x="104" y="12"/>
                    </a:lnTo>
                    <a:lnTo>
                      <a:pt x="103" y="11"/>
                    </a:lnTo>
                    <a:lnTo>
                      <a:pt x="102" y="10"/>
                    </a:lnTo>
                    <a:lnTo>
                      <a:pt x="101" y="10"/>
                    </a:lnTo>
                    <a:lnTo>
                      <a:pt x="100" y="9"/>
                    </a:lnTo>
                    <a:lnTo>
                      <a:pt x="99" y="8"/>
                    </a:lnTo>
                    <a:lnTo>
                      <a:pt x="98" y="8"/>
                    </a:lnTo>
                    <a:lnTo>
                      <a:pt x="97" y="7"/>
                    </a:lnTo>
                    <a:lnTo>
                      <a:pt x="96" y="7"/>
                    </a:lnTo>
                    <a:lnTo>
                      <a:pt x="95" y="6"/>
                    </a:lnTo>
                    <a:lnTo>
                      <a:pt x="94" y="6"/>
                    </a:lnTo>
                    <a:lnTo>
                      <a:pt x="93" y="6"/>
                    </a:lnTo>
                    <a:lnTo>
                      <a:pt x="92" y="5"/>
                    </a:lnTo>
                    <a:lnTo>
                      <a:pt x="91" y="5"/>
                    </a:lnTo>
                    <a:lnTo>
                      <a:pt x="90" y="4"/>
                    </a:lnTo>
                    <a:lnTo>
                      <a:pt x="89" y="4"/>
                    </a:lnTo>
                    <a:lnTo>
                      <a:pt x="88" y="4"/>
                    </a:lnTo>
                    <a:lnTo>
                      <a:pt x="87" y="3"/>
                    </a:lnTo>
                    <a:lnTo>
                      <a:pt x="86" y="3"/>
                    </a:lnTo>
                    <a:lnTo>
                      <a:pt x="85" y="3"/>
                    </a:lnTo>
                    <a:lnTo>
                      <a:pt x="84" y="2"/>
                    </a:lnTo>
                    <a:lnTo>
                      <a:pt x="83" y="2"/>
                    </a:lnTo>
                    <a:lnTo>
                      <a:pt x="82" y="2"/>
                    </a:lnTo>
                    <a:lnTo>
                      <a:pt x="81" y="2"/>
                    </a:lnTo>
                    <a:lnTo>
                      <a:pt x="80" y="1"/>
                    </a:lnTo>
                    <a:lnTo>
                      <a:pt x="79" y="1"/>
                    </a:lnTo>
                    <a:lnTo>
                      <a:pt x="78" y="1"/>
                    </a:lnTo>
                    <a:lnTo>
                      <a:pt x="77" y="1"/>
                    </a:lnTo>
                    <a:lnTo>
                      <a:pt x="76" y="1"/>
                    </a:lnTo>
                    <a:lnTo>
                      <a:pt x="75" y="1"/>
                    </a:lnTo>
                    <a:lnTo>
                      <a:pt x="74" y="0"/>
                    </a:lnTo>
                    <a:lnTo>
                      <a:pt x="73" y="0"/>
                    </a:lnTo>
                    <a:lnTo>
                      <a:pt x="72" y="0"/>
                    </a:lnTo>
                    <a:lnTo>
                      <a:pt x="71" y="0"/>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1"/>
                    </a:lnTo>
                    <a:lnTo>
                      <a:pt x="57" y="1"/>
                    </a:lnTo>
                    <a:lnTo>
                      <a:pt x="56" y="1"/>
                    </a:lnTo>
                    <a:lnTo>
                      <a:pt x="55" y="1"/>
                    </a:lnTo>
                    <a:lnTo>
                      <a:pt x="54" y="1"/>
                    </a:lnTo>
                    <a:lnTo>
                      <a:pt x="53" y="1"/>
                    </a:lnTo>
                    <a:lnTo>
                      <a:pt x="52" y="2"/>
                    </a:lnTo>
                    <a:lnTo>
                      <a:pt x="51" y="2"/>
                    </a:lnTo>
                    <a:lnTo>
                      <a:pt x="50" y="2"/>
                    </a:lnTo>
                    <a:lnTo>
                      <a:pt x="49" y="2"/>
                    </a:lnTo>
                    <a:lnTo>
                      <a:pt x="48" y="3"/>
                    </a:lnTo>
                    <a:lnTo>
                      <a:pt x="47" y="3"/>
                    </a:lnTo>
                    <a:lnTo>
                      <a:pt x="46" y="3"/>
                    </a:lnTo>
                    <a:lnTo>
                      <a:pt x="45" y="4"/>
                    </a:lnTo>
                    <a:lnTo>
                      <a:pt x="44" y="4"/>
                    </a:lnTo>
                    <a:lnTo>
                      <a:pt x="43" y="4"/>
                    </a:lnTo>
                    <a:lnTo>
                      <a:pt x="42" y="5"/>
                    </a:lnTo>
                    <a:lnTo>
                      <a:pt x="41" y="5"/>
                    </a:lnTo>
                    <a:lnTo>
                      <a:pt x="40" y="6"/>
                    </a:lnTo>
                    <a:lnTo>
                      <a:pt x="39" y="6"/>
                    </a:lnTo>
                    <a:lnTo>
                      <a:pt x="38" y="6"/>
                    </a:lnTo>
                    <a:lnTo>
                      <a:pt x="37" y="7"/>
                    </a:lnTo>
                    <a:lnTo>
                      <a:pt x="36" y="7"/>
                    </a:lnTo>
                    <a:lnTo>
                      <a:pt x="35" y="8"/>
                    </a:lnTo>
                    <a:lnTo>
                      <a:pt x="34" y="8"/>
                    </a:lnTo>
                    <a:lnTo>
                      <a:pt x="33" y="9"/>
                    </a:lnTo>
                    <a:lnTo>
                      <a:pt x="32" y="10"/>
                    </a:lnTo>
                    <a:lnTo>
                      <a:pt x="31" y="10"/>
                    </a:lnTo>
                    <a:lnTo>
                      <a:pt x="30" y="11"/>
                    </a:lnTo>
                    <a:lnTo>
                      <a:pt x="29" y="12"/>
                    </a:lnTo>
                    <a:lnTo>
                      <a:pt x="28" y="12"/>
                    </a:lnTo>
                    <a:lnTo>
                      <a:pt x="27" y="13"/>
                    </a:lnTo>
                    <a:lnTo>
                      <a:pt x="26" y="14"/>
                    </a:lnTo>
                    <a:lnTo>
                      <a:pt x="25" y="15"/>
                    </a:lnTo>
                    <a:lnTo>
                      <a:pt x="24" y="15"/>
                    </a:lnTo>
                    <a:lnTo>
                      <a:pt x="23" y="16"/>
                    </a:lnTo>
                    <a:lnTo>
                      <a:pt x="22" y="17"/>
                    </a:lnTo>
                    <a:lnTo>
                      <a:pt x="21" y="18"/>
                    </a:lnTo>
                    <a:lnTo>
                      <a:pt x="20" y="19"/>
                    </a:lnTo>
                    <a:lnTo>
                      <a:pt x="19" y="20"/>
                    </a:lnTo>
                    <a:lnTo>
                      <a:pt x="18" y="21"/>
                    </a:lnTo>
                    <a:lnTo>
                      <a:pt x="17" y="22"/>
                    </a:lnTo>
                    <a:lnTo>
                      <a:pt x="16" y="23"/>
                    </a:lnTo>
                    <a:lnTo>
                      <a:pt x="15" y="24"/>
                    </a:lnTo>
                    <a:lnTo>
                      <a:pt x="15" y="25"/>
                    </a:lnTo>
                    <a:lnTo>
                      <a:pt x="14" y="26"/>
                    </a:lnTo>
                    <a:lnTo>
                      <a:pt x="13" y="27"/>
                    </a:lnTo>
                    <a:lnTo>
                      <a:pt x="12" y="28"/>
                    </a:lnTo>
                    <a:lnTo>
                      <a:pt x="12" y="29"/>
                    </a:lnTo>
                    <a:lnTo>
                      <a:pt x="11" y="30"/>
                    </a:lnTo>
                    <a:lnTo>
                      <a:pt x="10" y="31"/>
                    </a:lnTo>
                    <a:lnTo>
                      <a:pt x="10" y="32"/>
                    </a:lnTo>
                    <a:lnTo>
                      <a:pt x="9" y="33"/>
                    </a:lnTo>
                    <a:lnTo>
                      <a:pt x="8" y="34"/>
                    </a:lnTo>
                    <a:lnTo>
                      <a:pt x="8" y="35"/>
                    </a:lnTo>
                    <a:lnTo>
                      <a:pt x="7" y="36"/>
                    </a:lnTo>
                    <a:lnTo>
                      <a:pt x="7" y="37"/>
                    </a:lnTo>
                    <a:lnTo>
                      <a:pt x="6" y="38"/>
                    </a:lnTo>
                    <a:lnTo>
                      <a:pt x="6" y="39"/>
                    </a:lnTo>
                    <a:lnTo>
                      <a:pt x="6" y="40"/>
                    </a:lnTo>
                    <a:lnTo>
                      <a:pt x="5" y="41"/>
                    </a:lnTo>
                    <a:lnTo>
                      <a:pt x="5" y="42"/>
                    </a:lnTo>
                    <a:lnTo>
                      <a:pt x="4" y="43"/>
                    </a:lnTo>
                    <a:lnTo>
                      <a:pt x="4" y="44"/>
                    </a:lnTo>
                    <a:lnTo>
                      <a:pt x="4" y="45"/>
                    </a:lnTo>
                    <a:lnTo>
                      <a:pt x="3" y="46"/>
                    </a:lnTo>
                    <a:lnTo>
                      <a:pt x="3" y="47"/>
                    </a:lnTo>
                    <a:lnTo>
                      <a:pt x="3" y="48"/>
                    </a:lnTo>
                    <a:lnTo>
                      <a:pt x="2" y="49"/>
                    </a:lnTo>
                    <a:lnTo>
                      <a:pt x="2" y="50"/>
                    </a:lnTo>
                    <a:lnTo>
                      <a:pt x="2" y="51"/>
                    </a:lnTo>
                    <a:lnTo>
                      <a:pt x="2" y="52"/>
                    </a:lnTo>
                    <a:lnTo>
                      <a:pt x="1" y="53"/>
                    </a:lnTo>
                    <a:lnTo>
                      <a:pt x="1" y="54"/>
                    </a:lnTo>
                    <a:lnTo>
                      <a:pt x="1" y="55"/>
                    </a:lnTo>
                    <a:lnTo>
                      <a:pt x="1" y="56"/>
                    </a:lnTo>
                    <a:lnTo>
                      <a:pt x="1" y="57"/>
                    </a:lnTo>
                    <a:lnTo>
                      <a:pt x="1"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0" y="71"/>
                    </a:lnTo>
                    <a:lnTo>
                      <a:pt x="0" y="72"/>
                    </a:lnTo>
                    <a:lnTo>
                      <a:pt x="0" y="73"/>
                    </a:lnTo>
                    <a:lnTo>
                      <a:pt x="0" y="74"/>
                    </a:lnTo>
                    <a:lnTo>
                      <a:pt x="1" y="75"/>
                    </a:lnTo>
                    <a:lnTo>
                      <a:pt x="1" y="76"/>
                    </a:lnTo>
                    <a:lnTo>
                      <a:pt x="1" y="77"/>
                    </a:lnTo>
                    <a:lnTo>
                      <a:pt x="1" y="78"/>
                    </a:lnTo>
                    <a:lnTo>
                      <a:pt x="1" y="79"/>
                    </a:lnTo>
                    <a:lnTo>
                      <a:pt x="1" y="80"/>
                    </a:lnTo>
                    <a:lnTo>
                      <a:pt x="2" y="81"/>
                    </a:lnTo>
                    <a:lnTo>
                      <a:pt x="2" y="82"/>
                    </a:lnTo>
                    <a:lnTo>
                      <a:pt x="2" y="83"/>
                    </a:lnTo>
                    <a:lnTo>
                      <a:pt x="2" y="84"/>
                    </a:lnTo>
                    <a:lnTo>
                      <a:pt x="3" y="85"/>
                    </a:lnTo>
                    <a:lnTo>
                      <a:pt x="3" y="86"/>
                    </a:lnTo>
                    <a:lnTo>
                      <a:pt x="3" y="87"/>
                    </a:lnTo>
                    <a:lnTo>
                      <a:pt x="4" y="88"/>
                    </a:lnTo>
                    <a:lnTo>
                      <a:pt x="4" y="89"/>
                    </a:lnTo>
                    <a:lnTo>
                      <a:pt x="4" y="90"/>
                    </a:lnTo>
                    <a:lnTo>
                      <a:pt x="5" y="91"/>
                    </a:lnTo>
                    <a:lnTo>
                      <a:pt x="5" y="92"/>
                    </a:lnTo>
                    <a:lnTo>
                      <a:pt x="6" y="93"/>
                    </a:lnTo>
                    <a:lnTo>
                      <a:pt x="6" y="94"/>
                    </a:lnTo>
                    <a:lnTo>
                      <a:pt x="6" y="95"/>
                    </a:lnTo>
                    <a:lnTo>
                      <a:pt x="7" y="96"/>
                    </a:lnTo>
                    <a:lnTo>
                      <a:pt x="7" y="97"/>
                    </a:lnTo>
                    <a:lnTo>
                      <a:pt x="8" y="98"/>
                    </a:lnTo>
                    <a:lnTo>
                      <a:pt x="8" y="99"/>
                    </a:lnTo>
                    <a:lnTo>
                      <a:pt x="9" y="100"/>
                    </a:lnTo>
                    <a:lnTo>
                      <a:pt x="10" y="101"/>
                    </a:lnTo>
                    <a:lnTo>
                      <a:pt x="10" y="102"/>
                    </a:lnTo>
                    <a:lnTo>
                      <a:pt x="11" y="103"/>
                    </a:lnTo>
                    <a:lnTo>
                      <a:pt x="12" y="104"/>
                    </a:lnTo>
                    <a:lnTo>
                      <a:pt x="12" y="105"/>
                    </a:lnTo>
                    <a:lnTo>
                      <a:pt x="13" y="106"/>
                    </a:lnTo>
                    <a:lnTo>
                      <a:pt x="14" y="107"/>
                    </a:lnTo>
                    <a:lnTo>
                      <a:pt x="15" y="108"/>
                    </a:lnTo>
                    <a:lnTo>
                      <a:pt x="15" y="109"/>
                    </a:lnTo>
                    <a:lnTo>
                      <a:pt x="16" y="110"/>
                    </a:lnTo>
                    <a:lnTo>
                      <a:pt x="17" y="111"/>
                    </a:lnTo>
                    <a:lnTo>
                      <a:pt x="18" y="112"/>
                    </a:lnTo>
                    <a:lnTo>
                      <a:pt x="19" y="113"/>
                    </a:lnTo>
                    <a:lnTo>
                      <a:pt x="20" y="114"/>
                    </a:lnTo>
                    <a:lnTo>
                      <a:pt x="21" y="115"/>
                    </a:lnTo>
                    <a:lnTo>
                      <a:pt x="22" y="116"/>
                    </a:lnTo>
                    <a:lnTo>
                      <a:pt x="23" y="117"/>
                    </a:lnTo>
                    <a:lnTo>
                      <a:pt x="24" y="118"/>
                    </a:lnTo>
                    <a:lnTo>
                      <a:pt x="25" y="118"/>
                    </a:lnTo>
                    <a:lnTo>
                      <a:pt x="26" y="119"/>
                    </a:lnTo>
                    <a:lnTo>
                      <a:pt x="27" y="120"/>
                    </a:lnTo>
                    <a:lnTo>
                      <a:pt x="28" y="121"/>
                    </a:lnTo>
                    <a:lnTo>
                      <a:pt x="29" y="121"/>
                    </a:lnTo>
                    <a:lnTo>
                      <a:pt x="30" y="122"/>
                    </a:lnTo>
                    <a:lnTo>
                      <a:pt x="31" y="123"/>
                    </a:lnTo>
                    <a:lnTo>
                      <a:pt x="32" y="123"/>
                    </a:lnTo>
                    <a:lnTo>
                      <a:pt x="33" y="124"/>
                    </a:lnTo>
                    <a:lnTo>
                      <a:pt x="34" y="125"/>
                    </a:lnTo>
                    <a:lnTo>
                      <a:pt x="35" y="125"/>
                    </a:lnTo>
                    <a:lnTo>
                      <a:pt x="36" y="126"/>
                    </a:lnTo>
                    <a:lnTo>
                      <a:pt x="37" y="126"/>
                    </a:lnTo>
                    <a:lnTo>
                      <a:pt x="38" y="127"/>
                    </a:lnTo>
                    <a:lnTo>
                      <a:pt x="39" y="127"/>
                    </a:lnTo>
                    <a:lnTo>
                      <a:pt x="40" y="127"/>
                    </a:lnTo>
                    <a:lnTo>
                      <a:pt x="41" y="128"/>
                    </a:lnTo>
                    <a:lnTo>
                      <a:pt x="42" y="128"/>
                    </a:lnTo>
                    <a:lnTo>
                      <a:pt x="43" y="129"/>
                    </a:lnTo>
                    <a:lnTo>
                      <a:pt x="44" y="129"/>
                    </a:lnTo>
                    <a:lnTo>
                      <a:pt x="45" y="129"/>
                    </a:lnTo>
                    <a:lnTo>
                      <a:pt x="46" y="130"/>
                    </a:lnTo>
                    <a:lnTo>
                      <a:pt x="47" y="130"/>
                    </a:lnTo>
                    <a:lnTo>
                      <a:pt x="48" y="130"/>
                    </a:lnTo>
                    <a:lnTo>
                      <a:pt x="49" y="131"/>
                    </a:lnTo>
                    <a:lnTo>
                      <a:pt x="50" y="131"/>
                    </a:lnTo>
                    <a:lnTo>
                      <a:pt x="51" y="131"/>
                    </a:lnTo>
                    <a:lnTo>
                      <a:pt x="52" y="131"/>
                    </a:lnTo>
                    <a:lnTo>
                      <a:pt x="53" y="132"/>
                    </a:lnTo>
                    <a:lnTo>
                      <a:pt x="54" y="132"/>
                    </a:lnTo>
                    <a:lnTo>
                      <a:pt x="55" y="132"/>
                    </a:lnTo>
                    <a:lnTo>
                      <a:pt x="56" y="132"/>
                    </a:lnTo>
                    <a:lnTo>
                      <a:pt x="57" y="132"/>
                    </a:lnTo>
                    <a:lnTo>
                      <a:pt x="58" y="132"/>
                    </a:lnTo>
                    <a:lnTo>
                      <a:pt x="59" y="133"/>
                    </a:lnTo>
                    <a:lnTo>
                      <a:pt x="60" y="133"/>
                    </a:lnTo>
                    <a:lnTo>
                      <a:pt x="61" y="133"/>
                    </a:lnTo>
                    <a:lnTo>
                      <a:pt x="62" y="133"/>
                    </a:lnTo>
                    <a:lnTo>
                      <a:pt x="63" y="133"/>
                    </a:lnTo>
                    <a:lnTo>
                      <a:pt x="64" y="133"/>
                    </a:lnTo>
                    <a:lnTo>
                      <a:pt x="65" y="133"/>
                    </a:lnTo>
                    <a:lnTo>
                      <a:pt x="66" y="133"/>
                    </a:lnTo>
                    <a:lnTo>
                      <a:pt x="67" y="133"/>
                    </a:lnTo>
                    <a:lnTo>
                      <a:pt x="68" y="133"/>
                    </a:lnTo>
                    <a:lnTo>
                      <a:pt x="69" y="133"/>
                    </a:lnTo>
                    <a:lnTo>
                      <a:pt x="70" y="133"/>
                    </a:lnTo>
                    <a:lnTo>
                      <a:pt x="71" y="133"/>
                    </a:lnTo>
                    <a:lnTo>
                      <a:pt x="72" y="133"/>
                    </a:lnTo>
                    <a:lnTo>
                      <a:pt x="73" y="133"/>
                    </a:lnTo>
                    <a:lnTo>
                      <a:pt x="74" y="133"/>
                    </a:lnTo>
                    <a:lnTo>
                      <a:pt x="75" y="132"/>
                    </a:lnTo>
                    <a:lnTo>
                      <a:pt x="76" y="132"/>
                    </a:lnTo>
                    <a:lnTo>
                      <a:pt x="77" y="132"/>
                    </a:lnTo>
                    <a:lnTo>
                      <a:pt x="78" y="132"/>
                    </a:lnTo>
                    <a:lnTo>
                      <a:pt x="79" y="132"/>
                    </a:lnTo>
                    <a:lnTo>
                      <a:pt x="80" y="132"/>
                    </a:lnTo>
                    <a:lnTo>
                      <a:pt x="81" y="131"/>
                    </a:lnTo>
                    <a:lnTo>
                      <a:pt x="82" y="131"/>
                    </a:lnTo>
                    <a:lnTo>
                      <a:pt x="83" y="131"/>
                    </a:lnTo>
                    <a:lnTo>
                      <a:pt x="84" y="131"/>
                    </a:lnTo>
                    <a:lnTo>
                      <a:pt x="85" y="130"/>
                    </a:lnTo>
                    <a:lnTo>
                      <a:pt x="86" y="130"/>
                    </a:lnTo>
                    <a:lnTo>
                      <a:pt x="87" y="130"/>
                    </a:lnTo>
                    <a:lnTo>
                      <a:pt x="88" y="129"/>
                    </a:lnTo>
                    <a:lnTo>
                      <a:pt x="89" y="129"/>
                    </a:lnTo>
                    <a:lnTo>
                      <a:pt x="90" y="129"/>
                    </a:lnTo>
                    <a:lnTo>
                      <a:pt x="91" y="128"/>
                    </a:lnTo>
                    <a:lnTo>
                      <a:pt x="92" y="128"/>
                    </a:lnTo>
                    <a:lnTo>
                      <a:pt x="93" y="127"/>
                    </a:lnTo>
                    <a:lnTo>
                      <a:pt x="94" y="127"/>
                    </a:lnTo>
                    <a:lnTo>
                      <a:pt x="95" y="127"/>
                    </a:lnTo>
                    <a:lnTo>
                      <a:pt x="96" y="126"/>
                    </a:lnTo>
                    <a:lnTo>
                      <a:pt x="97" y="126"/>
                    </a:lnTo>
                    <a:lnTo>
                      <a:pt x="98" y="125"/>
                    </a:lnTo>
                    <a:lnTo>
                      <a:pt x="99" y="125"/>
                    </a:lnTo>
                    <a:lnTo>
                      <a:pt x="100" y="124"/>
                    </a:lnTo>
                    <a:lnTo>
                      <a:pt x="101" y="123"/>
                    </a:lnTo>
                    <a:lnTo>
                      <a:pt x="102" y="123"/>
                    </a:lnTo>
                    <a:lnTo>
                      <a:pt x="103" y="122"/>
                    </a:lnTo>
                    <a:lnTo>
                      <a:pt x="104" y="121"/>
                    </a:lnTo>
                    <a:lnTo>
                      <a:pt x="105" y="121"/>
                    </a:lnTo>
                    <a:lnTo>
                      <a:pt x="106" y="120"/>
                    </a:lnTo>
                    <a:lnTo>
                      <a:pt x="107" y="119"/>
                    </a:lnTo>
                    <a:lnTo>
                      <a:pt x="108" y="118"/>
                    </a:lnTo>
                    <a:lnTo>
                      <a:pt x="109" y="118"/>
                    </a:lnTo>
                    <a:lnTo>
                      <a:pt x="110" y="117"/>
                    </a:lnTo>
                    <a:lnTo>
                      <a:pt x="111" y="116"/>
                    </a:lnTo>
                    <a:lnTo>
                      <a:pt x="112" y="115"/>
                    </a:lnTo>
                    <a:lnTo>
                      <a:pt x="113" y="114"/>
                    </a:lnTo>
                    <a:lnTo>
                      <a:pt x="114" y="113"/>
                    </a:lnTo>
                    <a:lnTo>
                      <a:pt x="115" y="112"/>
                    </a:lnTo>
                    <a:lnTo>
                      <a:pt x="116" y="111"/>
                    </a:lnTo>
                    <a:lnTo>
                      <a:pt x="117" y="110"/>
                    </a:lnTo>
                    <a:lnTo>
                      <a:pt x="118" y="109"/>
                    </a:lnTo>
                    <a:lnTo>
                      <a:pt x="118" y="108"/>
                    </a:lnTo>
                    <a:lnTo>
                      <a:pt x="119" y="107"/>
                    </a:lnTo>
                    <a:lnTo>
                      <a:pt x="120" y="106"/>
                    </a:lnTo>
                    <a:lnTo>
                      <a:pt x="121" y="105"/>
                    </a:lnTo>
                    <a:lnTo>
                      <a:pt x="121" y="104"/>
                    </a:lnTo>
                    <a:lnTo>
                      <a:pt x="122" y="103"/>
                    </a:lnTo>
                    <a:lnTo>
                      <a:pt x="123" y="102"/>
                    </a:lnTo>
                    <a:lnTo>
                      <a:pt x="123" y="101"/>
                    </a:lnTo>
                    <a:lnTo>
                      <a:pt x="124" y="100"/>
                    </a:lnTo>
                    <a:lnTo>
                      <a:pt x="125" y="99"/>
                    </a:lnTo>
                    <a:lnTo>
                      <a:pt x="125" y="98"/>
                    </a:lnTo>
                    <a:lnTo>
                      <a:pt x="126" y="97"/>
                    </a:lnTo>
                    <a:lnTo>
                      <a:pt x="126" y="96"/>
                    </a:lnTo>
                    <a:lnTo>
                      <a:pt x="127" y="95"/>
                    </a:lnTo>
                    <a:lnTo>
                      <a:pt x="127" y="94"/>
                    </a:lnTo>
                    <a:lnTo>
                      <a:pt x="127" y="93"/>
                    </a:lnTo>
                    <a:lnTo>
                      <a:pt x="128" y="92"/>
                    </a:lnTo>
                    <a:lnTo>
                      <a:pt x="128" y="91"/>
                    </a:lnTo>
                    <a:lnTo>
                      <a:pt x="129" y="90"/>
                    </a:lnTo>
                    <a:lnTo>
                      <a:pt x="129" y="89"/>
                    </a:lnTo>
                    <a:lnTo>
                      <a:pt x="129" y="88"/>
                    </a:lnTo>
                    <a:lnTo>
                      <a:pt x="130" y="87"/>
                    </a:lnTo>
                    <a:lnTo>
                      <a:pt x="130" y="86"/>
                    </a:lnTo>
                    <a:lnTo>
                      <a:pt x="130" y="85"/>
                    </a:lnTo>
                    <a:lnTo>
                      <a:pt x="131" y="84"/>
                    </a:lnTo>
                    <a:lnTo>
                      <a:pt x="131" y="83"/>
                    </a:lnTo>
                    <a:lnTo>
                      <a:pt x="131" y="82"/>
                    </a:lnTo>
                    <a:lnTo>
                      <a:pt x="131" y="81"/>
                    </a:lnTo>
                    <a:lnTo>
                      <a:pt x="132" y="80"/>
                    </a:lnTo>
                    <a:lnTo>
                      <a:pt x="132" y="79"/>
                    </a:lnTo>
                    <a:lnTo>
                      <a:pt x="132" y="78"/>
                    </a:lnTo>
                    <a:lnTo>
                      <a:pt x="132" y="77"/>
                    </a:lnTo>
                    <a:lnTo>
                      <a:pt x="132" y="76"/>
                    </a:lnTo>
                    <a:lnTo>
                      <a:pt x="132" y="75"/>
                    </a:lnTo>
                    <a:lnTo>
                      <a:pt x="133" y="74"/>
                    </a:lnTo>
                    <a:lnTo>
                      <a:pt x="133" y="73"/>
                    </a:lnTo>
                    <a:lnTo>
                      <a:pt x="133" y="72"/>
                    </a:lnTo>
                    <a:lnTo>
                      <a:pt x="133" y="71"/>
                    </a:lnTo>
                    <a:lnTo>
                      <a:pt x="133" y="70"/>
                    </a:lnTo>
                    <a:lnTo>
                      <a:pt x="133" y="69"/>
                    </a:lnTo>
                    <a:lnTo>
                      <a:pt x="133" y="68"/>
                    </a:lnTo>
                    <a:lnTo>
                      <a:pt x="133" y="67"/>
                    </a:lnTo>
                    <a:lnTo>
                      <a:pt x="133" y="66"/>
                    </a:lnTo>
                    <a:close/>
                  </a:path>
                </a:pathLst>
              </a:custGeom>
              <a:solidFill>
                <a:srgbClr val="E64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13" name="Freeform 294"/>
              <p:cNvSpPr>
                <a:spLocks/>
              </p:cNvSpPr>
              <p:nvPr/>
            </p:nvSpPr>
            <p:spPr bwMode="auto">
              <a:xfrm>
                <a:off x="2438" y="976"/>
                <a:ext cx="212" cy="210"/>
              </a:xfrm>
              <a:custGeom>
                <a:avLst/>
                <a:gdLst>
                  <a:gd name="T0" fmla="*/ 134 w 134"/>
                  <a:gd name="T1" fmla="*/ 62 h 133"/>
                  <a:gd name="T2" fmla="*/ 133 w 134"/>
                  <a:gd name="T3" fmla="*/ 56 h 133"/>
                  <a:gd name="T4" fmla="*/ 132 w 134"/>
                  <a:gd name="T5" fmla="*/ 50 h 133"/>
                  <a:gd name="T6" fmla="*/ 130 w 134"/>
                  <a:gd name="T7" fmla="*/ 44 h 133"/>
                  <a:gd name="T8" fmla="*/ 128 w 134"/>
                  <a:gd name="T9" fmla="*/ 38 h 133"/>
                  <a:gd name="T10" fmla="*/ 124 w 134"/>
                  <a:gd name="T11" fmla="*/ 32 h 133"/>
                  <a:gd name="T12" fmla="*/ 120 w 134"/>
                  <a:gd name="T13" fmla="*/ 26 h 133"/>
                  <a:gd name="T14" fmla="*/ 115 w 134"/>
                  <a:gd name="T15" fmla="*/ 20 h 133"/>
                  <a:gd name="T16" fmla="*/ 109 w 134"/>
                  <a:gd name="T17" fmla="*/ 15 h 133"/>
                  <a:gd name="T18" fmla="*/ 103 w 134"/>
                  <a:gd name="T19" fmla="*/ 10 h 133"/>
                  <a:gd name="T20" fmla="*/ 97 w 134"/>
                  <a:gd name="T21" fmla="*/ 7 h 133"/>
                  <a:gd name="T22" fmla="*/ 91 w 134"/>
                  <a:gd name="T23" fmla="*/ 4 h 133"/>
                  <a:gd name="T24" fmla="*/ 85 w 134"/>
                  <a:gd name="T25" fmla="*/ 2 h 133"/>
                  <a:gd name="T26" fmla="*/ 79 w 134"/>
                  <a:gd name="T27" fmla="*/ 1 h 133"/>
                  <a:gd name="T28" fmla="*/ 73 w 134"/>
                  <a:gd name="T29" fmla="*/ 0 h 133"/>
                  <a:gd name="T30" fmla="*/ 67 w 134"/>
                  <a:gd name="T31" fmla="*/ 0 h 133"/>
                  <a:gd name="T32" fmla="*/ 61 w 134"/>
                  <a:gd name="T33" fmla="*/ 0 h 133"/>
                  <a:gd name="T34" fmla="*/ 55 w 134"/>
                  <a:gd name="T35" fmla="*/ 1 h 133"/>
                  <a:gd name="T36" fmla="*/ 49 w 134"/>
                  <a:gd name="T37" fmla="*/ 2 h 133"/>
                  <a:gd name="T38" fmla="*/ 43 w 134"/>
                  <a:gd name="T39" fmla="*/ 4 h 133"/>
                  <a:gd name="T40" fmla="*/ 37 w 134"/>
                  <a:gd name="T41" fmla="*/ 7 h 133"/>
                  <a:gd name="T42" fmla="*/ 31 w 134"/>
                  <a:gd name="T43" fmla="*/ 10 h 133"/>
                  <a:gd name="T44" fmla="*/ 25 w 134"/>
                  <a:gd name="T45" fmla="*/ 15 h 133"/>
                  <a:gd name="T46" fmla="*/ 19 w 134"/>
                  <a:gd name="T47" fmla="*/ 20 h 133"/>
                  <a:gd name="T48" fmla="*/ 14 w 134"/>
                  <a:gd name="T49" fmla="*/ 26 h 133"/>
                  <a:gd name="T50" fmla="*/ 10 w 134"/>
                  <a:gd name="T51" fmla="*/ 32 h 133"/>
                  <a:gd name="T52" fmla="*/ 6 w 134"/>
                  <a:gd name="T53" fmla="*/ 38 h 133"/>
                  <a:gd name="T54" fmla="*/ 4 w 134"/>
                  <a:gd name="T55" fmla="*/ 44 h 133"/>
                  <a:gd name="T56" fmla="*/ 2 w 134"/>
                  <a:gd name="T57" fmla="*/ 50 h 133"/>
                  <a:gd name="T58" fmla="*/ 1 w 134"/>
                  <a:gd name="T59" fmla="*/ 56 h 133"/>
                  <a:gd name="T60" fmla="*/ 0 w 134"/>
                  <a:gd name="T61" fmla="*/ 62 h 133"/>
                  <a:gd name="T62" fmla="*/ 0 w 134"/>
                  <a:gd name="T63" fmla="*/ 68 h 133"/>
                  <a:gd name="T64" fmla="*/ 0 w 134"/>
                  <a:gd name="T65" fmla="*/ 74 h 133"/>
                  <a:gd name="T66" fmla="*/ 1 w 134"/>
                  <a:gd name="T67" fmla="*/ 80 h 133"/>
                  <a:gd name="T68" fmla="*/ 3 w 134"/>
                  <a:gd name="T69" fmla="*/ 86 h 133"/>
                  <a:gd name="T70" fmla="*/ 5 w 134"/>
                  <a:gd name="T71" fmla="*/ 92 h 133"/>
                  <a:gd name="T72" fmla="*/ 8 w 134"/>
                  <a:gd name="T73" fmla="*/ 98 h 133"/>
                  <a:gd name="T74" fmla="*/ 12 w 134"/>
                  <a:gd name="T75" fmla="*/ 104 h 133"/>
                  <a:gd name="T76" fmla="*/ 16 w 134"/>
                  <a:gd name="T77" fmla="*/ 110 h 133"/>
                  <a:gd name="T78" fmla="*/ 22 w 134"/>
                  <a:gd name="T79" fmla="*/ 116 h 133"/>
                  <a:gd name="T80" fmla="*/ 28 w 134"/>
                  <a:gd name="T81" fmla="*/ 121 h 133"/>
                  <a:gd name="T82" fmla="*/ 34 w 134"/>
                  <a:gd name="T83" fmla="*/ 124 h 133"/>
                  <a:gd name="T84" fmla="*/ 40 w 134"/>
                  <a:gd name="T85" fmla="*/ 127 h 133"/>
                  <a:gd name="T86" fmla="*/ 46 w 134"/>
                  <a:gd name="T87" fmla="*/ 130 h 133"/>
                  <a:gd name="T88" fmla="*/ 52 w 134"/>
                  <a:gd name="T89" fmla="*/ 131 h 133"/>
                  <a:gd name="T90" fmla="*/ 58 w 134"/>
                  <a:gd name="T91" fmla="*/ 132 h 133"/>
                  <a:gd name="T92" fmla="*/ 64 w 134"/>
                  <a:gd name="T93" fmla="*/ 133 h 133"/>
                  <a:gd name="T94" fmla="*/ 70 w 134"/>
                  <a:gd name="T95" fmla="*/ 133 h 133"/>
                  <a:gd name="T96" fmla="*/ 76 w 134"/>
                  <a:gd name="T97" fmla="*/ 132 h 133"/>
                  <a:gd name="T98" fmla="*/ 82 w 134"/>
                  <a:gd name="T99" fmla="*/ 131 h 133"/>
                  <a:gd name="T100" fmla="*/ 88 w 134"/>
                  <a:gd name="T101" fmla="*/ 130 h 133"/>
                  <a:gd name="T102" fmla="*/ 94 w 134"/>
                  <a:gd name="T103" fmla="*/ 127 h 133"/>
                  <a:gd name="T104" fmla="*/ 100 w 134"/>
                  <a:gd name="T105" fmla="*/ 124 h 133"/>
                  <a:gd name="T106" fmla="*/ 106 w 134"/>
                  <a:gd name="T107" fmla="*/ 121 h 133"/>
                  <a:gd name="T108" fmla="*/ 112 w 134"/>
                  <a:gd name="T109" fmla="*/ 116 h 133"/>
                  <a:gd name="T110" fmla="*/ 118 w 134"/>
                  <a:gd name="T111" fmla="*/ 110 h 133"/>
                  <a:gd name="T112" fmla="*/ 122 w 134"/>
                  <a:gd name="T113" fmla="*/ 104 h 133"/>
                  <a:gd name="T114" fmla="*/ 126 w 134"/>
                  <a:gd name="T115" fmla="*/ 98 h 133"/>
                  <a:gd name="T116" fmla="*/ 129 w 134"/>
                  <a:gd name="T117" fmla="*/ 92 h 133"/>
                  <a:gd name="T118" fmla="*/ 131 w 134"/>
                  <a:gd name="T119" fmla="*/ 86 h 133"/>
                  <a:gd name="T120" fmla="*/ 133 w 134"/>
                  <a:gd name="T121" fmla="*/ 80 h 133"/>
                  <a:gd name="T122" fmla="*/ 134 w 134"/>
                  <a:gd name="T123" fmla="*/ 74 h 133"/>
                  <a:gd name="T124" fmla="*/ 134 w 134"/>
                  <a:gd name="T125" fmla="*/ 6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 h="133">
                    <a:moveTo>
                      <a:pt x="134" y="67"/>
                    </a:moveTo>
                    <a:lnTo>
                      <a:pt x="134" y="66"/>
                    </a:lnTo>
                    <a:lnTo>
                      <a:pt x="134" y="65"/>
                    </a:lnTo>
                    <a:lnTo>
                      <a:pt x="134" y="64"/>
                    </a:lnTo>
                    <a:lnTo>
                      <a:pt x="134" y="63"/>
                    </a:lnTo>
                    <a:lnTo>
                      <a:pt x="134" y="62"/>
                    </a:lnTo>
                    <a:lnTo>
                      <a:pt x="134" y="61"/>
                    </a:lnTo>
                    <a:lnTo>
                      <a:pt x="134" y="60"/>
                    </a:lnTo>
                    <a:lnTo>
                      <a:pt x="134" y="59"/>
                    </a:lnTo>
                    <a:lnTo>
                      <a:pt x="133" y="58"/>
                    </a:lnTo>
                    <a:lnTo>
                      <a:pt x="133" y="57"/>
                    </a:lnTo>
                    <a:lnTo>
                      <a:pt x="133" y="56"/>
                    </a:lnTo>
                    <a:lnTo>
                      <a:pt x="133" y="55"/>
                    </a:lnTo>
                    <a:lnTo>
                      <a:pt x="133" y="54"/>
                    </a:lnTo>
                    <a:lnTo>
                      <a:pt x="133" y="53"/>
                    </a:lnTo>
                    <a:lnTo>
                      <a:pt x="132" y="52"/>
                    </a:lnTo>
                    <a:lnTo>
                      <a:pt x="132" y="51"/>
                    </a:lnTo>
                    <a:lnTo>
                      <a:pt x="132" y="50"/>
                    </a:lnTo>
                    <a:lnTo>
                      <a:pt x="132" y="49"/>
                    </a:lnTo>
                    <a:lnTo>
                      <a:pt x="131" y="48"/>
                    </a:lnTo>
                    <a:lnTo>
                      <a:pt x="131" y="47"/>
                    </a:lnTo>
                    <a:lnTo>
                      <a:pt x="131" y="46"/>
                    </a:lnTo>
                    <a:lnTo>
                      <a:pt x="130" y="45"/>
                    </a:lnTo>
                    <a:lnTo>
                      <a:pt x="130" y="44"/>
                    </a:lnTo>
                    <a:lnTo>
                      <a:pt x="130" y="43"/>
                    </a:lnTo>
                    <a:lnTo>
                      <a:pt x="129" y="42"/>
                    </a:lnTo>
                    <a:lnTo>
                      <a:pt x="129" y="41"/>
                    </a:lnTo>
                    <a:lnTo>
                      <a:pt x="128" y="40"/>
                    </a:lnTo>
                    <a:lnTo>
                      <a:pt x="128" y="39"/>
                    </a:lnTo>
                    <a:lnTo>
                      <a:pt x="128" y="38"/>
                    </a:lnTo>
                    <a:lnTo>
                      <a:pt x="127" y="37"/>
                    </a:lnTo>
                    <a:lnTo>
                      <a:pt x="127" y="36"/>
                    </a:lnTo>
                    <a:lnTo>
                      <a:pt x="126" y="35"/>
                    </a:lnTo>
                    <a:lnTo>
                      <a:pt x="125" y="34"/>
                    </a:lnTo>
                    <a:lnTo>
                      <a:pt x="125" y="33"/>
                    </a:lnTo>
                    <a:lnTo>
                      <a:pt x="124" y="32"/>
                    </a:lnTo>
                    <a:lnTo>
                      <a:pt x="124" y="31"/>
                    </a:lnTo>
                    <a:lnTo>
                      <a:pt x="123" y="30"/>
                    </a:lnTo>
                    <a:lnTo>
                      <a:pt x="122" y="29"/>
                    </a:lnTo>
                    <a:lnTo>
                      <a:pt x="122" y="28"/>
                    </a:lnTo>
                    <a:lnTo>
                      <a:pt x="121" y="27"/>
                    </a:lnTo>
                    <a:lnTo>
                      <a:pt x="120" y="26"/>
                    </a:lnTo>
                    <a:lnTo>
                      <a:pt x="119" y="25"/>
                    </a:lnTo>
                    <a:lnTo>
                      <a:pt x="119" y="24"/>
                    </a:lnTo>
                    <a:lnTo>
                      <a:pt x="118" y="23"/>
                    </a:lnTo>
                    <a:lnTo>
                      <a:pt x="117" y="22"/>
                    </a:lnTo>
                    <a:lnTo>
                      <a:pt x="116" y="21"/>
                    </a:lnTo>
                    <a:lnTo>
                      <a:pt x="115" y="20"/>
                    </a:lnTo>
                    <a:lnTo>
                      <a:pt x="114" y="19"/>
                    </a:lnTo>
                    <a:lnTo>
                      <a:pt x="113" y="18"/>
                    </a:lnTo>
                    <a:lnTo>
                      <a:pt x="112" y="17"/>
                    </a:lnTo>
                    <a:lnTo>
                      <a:pt x="111" y="16"/>
                    </a:lnTo>
                    <a:lnTo>
                      <a:pt x="110" y="16"/>
                    </a:lnTo>
                    <a:lnTo>
                      <a:pt x="109" y="15"/>
                    </a:lnTo>
                    <a:lnTo>
                      <a:pt x="108" y="14"/>
                    </a:lnTo>
                    <a:lnTo>
                      <a:pt x="107" y="13"/>
                    </a:lnTo>
                    <a:lnTo>
                      <a:pt x="106" y="12"/>
                    </a:lnTo>
                    <a:lnTo>
                      <a:pt x="105" y="12"/>
                    </a:lnTo>
                    <a:lnTo>
                      <a:pt x="104" y="11"/>
                    </a:lnTo>
                    <a:lnTo>
                      <a:pt x="103" y="10"/>
                    </a:lnTo>
                    <a:lnTo>
                      <a:pt x="102" y="10"/>
                    </a:lnTo>
                    <a:lnTo>
                      <a:pt x="101" y="9"/>
                    </a:lnTo>
                    <a:lnTo>
                      <a:pt x="100" y="9"/>
                    </a:lnTo>
                    <a:lnTo>
                      <a:pt x="99" y="8"/>
                    </a:lnTo>
                    <a:lnTo>
                      <a:pt x="98" y="8"/>
                    </a:lnTo>
                    <a:lnTo>
                      <a:pt x="97" y="7"/>
                    </a:lnTo>
                    <a:lnTo>
                      <a:pt x="96" y="7"/>
                    </a:lnTo>
                    <a:lnTo>
                      <a:pt x="95" y="6"/>
                    </a:lnTo>
                    <a:lnTo>
                      <a:pt x="94" y="6"/>
                    </a:lnTo>
                    <a:lnTo>
                      <a:pt x="93" y="5"/>
                    </a:lnTo>
                    <a:lnTo>
                      <a:pt x="92" y="5"/>
                    </a:lnTo>
                    <a:lnTo>
                      <a:pt x="91" y="4"/>
                    </a:lnTo>
                    <a:lnTo>
                      <a:pt x="90" y="4"/>
                    </a:lnTo>
                    <a:lnTo>
                      <a:pt x="89" y="4"/>
                    </a:lnTo>
                    <a:lnTo>
                      <a:pt x="88" y="3"/>
                    </a:lnTo>
                    <a:lnTo>
                      <a:pt x="87" y="3"/>
                    </a:lnTo>
                    <a:lnTo>
                      <a:pt x="86" y="3"/>
                    </a:lnTo>
                    <a:lnTo>
                      <a:pt x="85" y="2"/>
                    </a:lnTo>
                    <a:lnTo>
                      <a:pt x="84" y="2"/>
                    </a:lnTo>
                    <a:lnTo>
                      <a:pt x="83" y="2"/>
                    </a:lnTo>
                    <a:lnTo>
                      <a:pt x="82" y="2"/>
                    </a:lnTo>
                    <a:lnTo>
                      <a:pt x="81" y="1"/>
                    </a:lnTo>
                    <a:lnTo>
                      <a:pt x="80" y="1"/>
                    </a:lnTo>
                    <a:lnTo>
                      <a:pt x="79" y="1"/>
                    </a:lnTo>
                    <a:lnTo>
                      <a:pt x="78" y="1"/>
                    </a:lnTo>
                    <a:lnTo>
                      <a:pt x="77" y="1"/>
                    </a:lnTo>
                    <a:lnTo>
                      <a:pt x="76" y="1"/>
                    </a:lnTo>
                    <a:lnTo>
                      <a:pt x="75" y="0"/>
                    </a:lnTo>
                    <a:lnTo>
                      <a:pt x="74" y="0"/>
                    </a:lnTo>
                    <a:lnTo>
                      <a:pt x="73" y="0"/>
                    </a:lnTo>
                    <a:lnTo>
                      <a:pt x="72" y="0"/>
                    </a:lnTo>
                    <a:lnTo>
                      <a:pt x="71" y="0"/>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1"/>
                    </a:lnTo>
                    <a:lnTo>
                      <a:pt x="57" y="1"/>
                    </a:lnTo>
                    <a:lnTo>
                      <a:pt x="56" y="1"/>
                    </a:lnTo>
                    <a:lnTo>
                      <a:pt x="55" y="1"/>
                    </a:lnTo>
                    <a:lnTo>
                      <a:pt x="54" y="1"/>
                    </a:lnTo>
                    <a:lnTo>
                      <a:pt x="53" y="1"/>
                    </a:lnTo>
                    <a:lnTo>
                      <a:pt x="52" y="2"/>
                    </a:lnTo>
                    <a:lnTo>
                      <a:pt x="51" y="2"/>
                    </a:lnTo>
                    <a:lnTo>
                      <a:pt x="50" y="2"/>
                    </a:lnTo>
                    <a:lnTo>
                      <a:pt x="49" y="2"/>
                    </a:lnTo>
                    <a:lnTo>
                      <a:pt x="48" y="3"/>
                    </a:lnTo>
                    <a:lnTo>
                      <a:pt x="47" y="3"/>
                    </a:lnTo>
                    <a:lnTo>
                      <a:pt x="46" y="3"/>
                    </a:lnTo>
                    <a:lnTo>
                      <a:pt x="45" y="4"/>
                    </a:lnTo>
                    <a:lnTo>
                      <a:pt x="44" y="4"/>
                    </a:lnTo>
                    <a:lnTo>
                      <a:pt x="43" y="4"/>
                    </a:lnTo>
                    <a:lnTo>
                      <a:pt x="42" y="5"/>
                    </a:lnTo>
                    <a:lnTo>
                      <a:pt x="41" y="5"/>
                    </a:lnTo>
                    <a:lnTo>
                      <a:pt x="40" y="6"/>
                    </a:lnTo>
                    <a:lnTo>
                      <a:pt x="39" y="6"/>
                    </a:lnTo>
                    <a:lnTo>
                      <a:pt x="38" y="7"/>
                    </a:lnTo>
                    <a:lnTo>
                      <a:pt x="37" y="7"/>
                    </a:lnTo>
                    <a:lnTo>
                      <a:pt x="36" y="8"/>
                    </a:lnTo>
                    <a:lnTo>
                      <a:pt x="35" y="8"/>
                    </a:lnTo>
                    <a:lnTo>
                      <a:pt x="34" y="9"/>
                    </a:lnTo>
                    <a:lnTo>
                      <a:pt x="33" y="9"/>
                    </a:lnTo>
                    <a:lnTo>
                      <a:pt x="32" y="10"/>
                    </a:lnTo>
                    <a:lnTo>
                      <a:pt x="31" y="10"/>
                    </a:lnTo>
                    <a:lnTo>
                      <a:pt x="30" y="11"/>
                    </a:lnTo>
                    <a:lnTo>
                      <a:pt x="29" y="12"/>
                    </a:lnTo>
                    <a:lnTo>
                      <a:pt x="28" y="12"/>
                    </a:lnTo>
                    <a:lnTo>
                      <a:pt x="27" y="13"/>
                    </a:lnTo>
                    <a:lnTo>
                      <a:pt x="26" y="14"/>
                    </a:lnTo>
                    <a:lnTo>
                      <a:pt x="25" y="15"/>
                    </a:lnTo>
                    <a:lnTo>
                      <a:pt x="24" y="16"/>
                    </a:lnTo>
                    <a:lnTo>
                      <a:pt x="23" y="16"/>
                    </a:lnTo>
                    <a:lnTo>
                      <a:pt x="22" y="17"/>
                    </a:lnTo>
                    <a:lnTo>
                      <a:pt x="21" y="18"/>
                    </a:lnTo>
                    <a:lnTo>
                      <a:pt x="20" y="19"/>
                    </a:lnTo>
                    <a:lnTo>
                      <a:pt x="19" y="20"/>
                    </a:lnTo>
                    <a:lnTo>
                      <a:pt x="18" y="21"/>
                    </a:lnTo>
                    <a:lnTo>
                      <a:pt x="17" y="22"/>
                    </a:lnTo>
                    <a:lnTo>
                      <a:pt x="16" y="23"/>
                    </a:lnTo>
                    <a:lnTo>
                      <a:pt x="15" y="24"/>
                    </a:lnTo>
                    <a:lnTo>
                      <a:pt x="15" y="25"/>
                    </a:lnTo>
                    <a:lnTo>
                      <a:pt x="14" y="26"/>
                    </a:lnTo>
                    <a:lnTo>
                      <a:pt x="13" y="27"/>
                    </a:lnTo>
                    <a:lnTo>
                      <a:pt x="12" y="28"/>
                    </a:lnTo>
                    <a:lnTo>
                      <a:pt x="12" y="29"/>
                    </a:lnTo>
                    <a:lnTo>
                      <a:pt x="11" y="30"/>
                    </a:lnTo>
                    <a:lnTo>
                      <a:pt x="10" y="31"/>
                    </a:lnTo>
                    <a:lnTo>
                      <a:pt x="10" y="32"/>
                    </a:lnTo>
                    <a:lnTo>
                      <a:pt x="9" y="33"/>
                    </a:lnTo>
                    <a:lnTo>
                      <a:pt x="9" y="34"/>
                    </a:lnTo>
                    <a:lnTo>
                      <a:pt x="8" y="35"/>
                    </a:lnTo>
                    <a:lnTo>
                      <a:pt x="7" y="36"/>
                    </a:lnTo>
                    <a:lnTo>
                      <a:pt x="7" y="37"/>
                    </a:lnTo>
                    <a:lnTo>
                      <a:pt x="6" y="38"/>
                    </a:lnTo>
                    <a:lnTo>
                      <a:pt x="6" y="39"/>
                    </a:lnTo>
                    <a:lnTo>
                      <a:pt x="6" y="40"/>
                    </a:lnTo>
                    <a:lnTo>
                      <a:pt x="5" y="41"/>
                    </a:lnTo>
                    <a:lnTo>
                      <a:pt x="5" y="42"/>
                    </a:lnTo>
                    <a:lnTo>
                      <a:pt x="4" y="43"/>
                    </a:lnTo>
                    <a:lnTo>
                      <a:pt x="4" y="44"/>
                    </a:lnTo>
                    <a:lnTo>
                      <a:pt x="4" y="45"/>
                    </a:lnTo>
                    <a:lnTo>
                      <a:pt x="3" y="46"/>
                    </a:lnTo>
                    <a:lnTo>
                      <a:pt x="3" y="47"/>
                    </a:lnTo>
                    <a:lnTo>
                      <a:pt x="3" y="48"/>
                    </a:lnTo>
                    <a:lnTo>
                      <a:pt x="2" y="49"/>
                    </a:lnTo>
                    <a:lnTo>
                      <a:pt x="2" y="50"/>
                    </a:lnTo>
                    <a:lnTo>
                      <a:pt x="2" y="51"/>
                    </a:lnTo>
                    <a:lnTo>
                      <a:pt x="2" y="52"/>
                    </a:lnTo>
                    <a:lnTo>
                      <a:pt x="1" y="53"/>
                    </a:lnTo>
                    <a:lnTo>
                      <a:pt x="1" y="54"/>
                    </a:lnTo>
                    <a:lnTo>
                      <a:pt x="1" y="55"/>
                    </a:lnTo>
                    <a:lnTo>
                      <a:pt x="1" y="56"/>
                    </a:lnTo>
                    <a:lnTo>
                      <a:pt x="1" y="57"/>
                    </a:lnTo>
                    <a:lnTo>
                      <a:pt x="1"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0" y="71"/>
                    </a:lnTo>
                    <a:lnTo>
                      <a:pt x="0" y="72"/>
                    </a:lnTo>
                    <a:lnTo>
                      <a:pt x="0" y="73"/>
                    </a:lnTo>
                    <a:lnTo>
                      <a:pt x="0" y="74"/>
                    </a:lnTo>
                    <a:lnTo>
                      <a:pt x="1" y="75"/>
                    </a:lnTo>
                    <a:lnTo>
                      <a:pt x="1" y="76"/>
                    </a:lnTo>
                    <a:lnTo>
                      <a:pt x="1" y="77"/>
                    </a:lnTo>
                    <a:lnTo>
                      <a:pt x="1" y="78"/>
                    </a:lnTo>
                    <a:lnTo>
                      <a:pt x="1" y="79"/>
                    </a:lnTo>
                    <a:lnTo>
                      <a:pt x="1" y="80"/>
                    </a:lnTo>
                    <a:lnTo>
                      <a:pt x="2" y="81"/>
                    </a:lnTo>
                    <a:lnTo>
                      <a:pt x="2" y="82"/>
                    </a:lnTo>
                    <a:lnTo>
                      <a:pt x="2" y="83"/>
                    </a:lnTo>
                    <a:lnTo>
                      <a:pt x="2" y="84"/>
                    </a:lnTo>
                    <a:lnTo>
                      <a:pt x="3" y="85"/>
                    </a:lnTo>
                    <a:lnTo>
                      <a:pt x="3" y="86"/>
                    </a:lnTo>
                    <a:lnTo>
                      <a:pt x="3" y="87"/>
                    </a:lnTo>
                    <a:lnTo>
                      <a:pt x="4" y="88"/>
                    </a:lnTo>
                    <a:lnTo>
                      <a:pt x="4" y="89"/>
                    </a:lnTo>
                    <a:lnTo>
                      <a:pt x="4" y="90"/>
                    </a:lnTo>
                    <a:lnTo>
                      <a:pt x="5" y="91"/>
                    </a:lnTo>
                    <a:lnTo>
                      <a:pt x="5" y="92"/>
                    </a:lnTo>
                    <a:lnTo>
                      <a:pt x="6" y="93"/>
                    </a:lnTo>
                    <a:lnTo>
                      <a:pt x="6" y="94"/>
                    </a:lnTo>
                    <a:lnTo>
                      <a:pt x="6" y="95"/>
                    </a:lnTo>
                    <a:lnTo>
                      <a:pt x="7" y="96"/>
                    </a:lnTo>
                    <a:lnTo>
                      <a:pt x="7" y="97"/>
                    </a:lnTo>
                    <a:lnTo>
                      <a:pt x="8" y="98"/>
                    </a:lnTo>
                    <a:lnTo>
                      <a:pt x="9" y="99"/>
                    </a:lnTo>
                    <a:lnTo>
                      <a:pt x="9" y="100"/>
                    </a:lnTo>
                    <a:lnTo>
                      <a:pt x="10" y="101"/>
                    </a:lnTo>
                    <a:lnTo>
                      <a:pt x="10" y="102"/>
                    </a:lnTo>
                    <a:lnTo>
                      <a:pt x="11" y="103"/>
                    </a:lnTo>
                    <a:lnTo>
                      <a:pt x="12" y="104"/>
                    </a:lnTo>
                    <a:lnTo>
                      <a:pt x="12" y="105"/>
                    </a:lnTo>
                    <a:lnTo>
                      <a:pt x="13" y="106"/>
                    </a:lnTo>
                    <a:lnTo>
                      <a:pt x="14" y="107"/>
                    </a:lnTo>
                    <a:lnTo>
                      <a:pt x="15" y="108"/>
                    </a:lnTo>
                    <a:lnTo>
                      <a:pt x="15" y="109"/>
                    </a:lnTo>
                    <a:lnTo>
                      <a:pt x="16" y="110"/>
                    </a:lnTo>
                    <a:lnTo>
                      <a:pt x="17" y="111"/>
                    </a:lnTo>
                    <a:lnTo>
                      <a:pt x="18" y="112"/>
                    </a:lnTo>
                    <a:lnTo>
                      <a:pt x="19" y="113"/>
                    </a:lnTo>
                    <a:lnTo>
                      <a:pt x="20" y="114"/>
                    </a:lnTo>
                    <a:lnTo>
                      <a:pt x="21" y="115"/>
                    </a:lnTo>
                    <a:lnTo>
                      <a:pt x="22" y="116"/>
                    </a:lnTo>
                    <a:lnTo>
                      <a:pt x="23" y="117"/>
                    </a:lnTo>
                    <a:lnTo>
                      <a:pt x="24" y="117"/>
                    </a:lnTo>
                    <a:lnTo>
                      <a:pt x="25" y="118"/>
                    </a:lnTo>
                    <a:lnTo>
                      <a:pt x="26" y="119"/>
                    </a:lnTo>
                    <a:lnTo>
                      <a:pt x="27" y="120"/>
                    </a:lnTo>
                    <a:lnTo>
                      <a:pt x="28" y="121"/>
                    </a:lnTo>
                    <a:lnTo>
                      <a:pt x="29" y="121"/>
                    </a:lnTo>
                    <a:lnTo>
                      <a:pt x="30" y="122"/>
                    </a:lnTo>
                    <a:lnTo>
                      <a:pt x="31" y="123"/>
                    </a:lnTo>
                    <a:lnTo>
                      <a:pt x="32" y="123"/>
                    </a:lnTo>
                    <a:lnTo>
                      <a:pt x="33" y="124"/>
                    </a:lnTo>
                    <a:lnTo>
                      <a:pt x="34" y="124"/>
                    </a:lnTo>
                    <a:lnTo>
                      <a:pt x="35" y="125"/>
                    </a:lnTo>
                    <a:lnTo>
                      <a:pt x="36" y="125"/>
                    </a:lnTo>
                    <a:lnTo>
                      <a:pt x="37" y="126"/>
                    </a:lnTo>
                    <a:lnTo>
                      <a:pt x="38" y="126"/>
                    </a:lnTo>
                    <a:lnTo>
                      <a:pt x="39" y="127"/>
                    </a:lnTo>
                    <a:lnTo>
                      <a:pt x="40" y="127"/>
                    </a:lnTo>
                    <a:lnTo>
                      <a:pt x="41" y="128"/>
                    </a:lnTo>
                    <a:lnTo>
                      <a:pt x="42" y="128"/>
                    </a:lnTo>
                    <a:lnTo>
                      <a:pt x="43" y="129"/>
                    </a:lnTo>
                    <a:lnTo>
                      <a:pt x="44" y="129"/>
                    </a:lnTo>
                    <a:lnTo>
                      <a:pt x="45" y="129"/>
                    </a:lnTo>
                    <a:lnTo>
                      <a:pt x="46" y="130"/>
                    </a:lnTo>
                    <a:lnTo>
                      <a:pt x="47" y="130"/>
                    </a:lnTo>
                    <a:lnTo>
                      <a:pt x="48" y="130"/>
                    </a:lnTo>
                    <a:lnTo>
                      <a:pt x="49" y="131"/>
                    </a:lnTo>
                    <a:lnTo>
                      <a:pt x="50" y="131"/>
                    </a:lnTo>
                    <a:lnTo>
                      <a:pt x="51" y="131"/>
                    </a:lnTo>
                    <a:lnTo>
                      <a:pt x="52" y="131"/>
                    </a:lnTo>
                    <a:lnTo>
                      <a:pt x="53" y="132"/>
                    </a:lnTo>
                    <a:lnTo>
                      <a:pt x="54" y="132"/>
                    </a:lnTo>
                    <a:lnTo>
                      <a:pt x="55" y="132"/>
                    </a:lnTo>
                    <a:lnTo>
                      <a:pt x="56" y="132"/>
                    </a:lnTo>
                    <a:lnTo>
                      <a:pt x="57" y="132"/>
                    </a:lnTo>
                    <a:lnTo>
                      <a:pt x="58" y="132"/>
                    </a:lnTo>
                    <a:lnTo>
                      <a:pt x="59" y="133"/>
                    </a:lnTo>
                    <a:lnTo>
                      <a:pt x="60" y="133"/>
                    </a:lnTo>
                    <a:lnTo>
                      <a:pt x="61" y="133"/>
                    </a:lnTo>
                    <a:lnTo>
                      <a:pt x="62" y="133"/>
                    </a:lnTo>
                    <a:lnTo>
                      <a:pt x="63" y="133"/>
                    </a:lnTo>
                    <a:lnTo>
                      <a:pt x="64" y="133"/>
                    </a:lnTo>
                    <a:lnTo>
                      <a:pt x="65" y="133"/>
                    </a:lnTo>
                    <a:lnTo>
                      <a:pt x="66" y="133"/>
                    </a:lnTo>
                    <a:lnTo>
                      <a:pt x="67" y="133"/>
                    </a:lnTo>
                    <a:lnTo>
                      <a:pt x="68" y="133"/>
                    </a:lnTo>
                    <a:lnTo>
                      <a:pt x="69" y="133"/>
                    </a:lnTo>
                    <a:lnTo>
                      <a:pt x="70" y="133"/>
                    </a:lnTo>
                    <a:lnTo>
                      <a:pt x="71" y="133"/>
                    </a:lnTo>
                    <a:lnTo>
                      <a:pt x="72" y="133"/>
                    </a:lnTo>
                    <a:lnTo>
                      <a:pt x="73" y="133"/>
                    </a:lnTo>
                    <a:lnTo>
                      <a:pt x="74" y="133"/>
                    </a:lnTo>
                    <a:lnTo>
                      <a:pt x="75" y="133"/>
                    </a:lnTo>
                    <a:lnTo>
                      <a:pt x="76" y="132"/>
                    </a:lnTo>
                    <a:lnTo>
                      <a:pt x="77" y="132"/>
                    </a:lnTo>
                    <a:lnTo>
                      <a:pt x="78" y="132"/>
                    </a:lnTo>
                    <a:lnTo>
                      <a:pt x="79" y="132"/>
                    </a:lnTo>
                    <a:lnTo>
                      <a:pt x="80" y="132"/>
                    </a:lnTo>
                    <a:lnTo>
                      <a:pt x="81" y="132"/>
                    </a:lnTo>
                    <a:lnTo>
                      <a:pt x="82" y="131"/>
                    </a:lnTo>
                    <a:lnTo>
                      <a:pt x="83" y="131"/>
                    </a:lnTo>
                    <a:lnTo>
                      <a:pt x="84" y="131"/>
                    </a:lnTo>
                    <a:lnTo>
                      <a:pt x="85" y="131"/>
                    </a:lnTo>
                    <a:lnTo>
                      <a:pt x="86" y="130"/>
                    </a:lnTo>
                    <a:lnTo>
                      <a:pt x="87" y="130"/>
                    </a:lnTo>
                    <a:lnTo>
                      <a:pt x="88" y="130"/>
                    </a:lnTo>
                    <a:lnTo>
                      <a:pt x="89" y="129"/>
                    </a:lnTo>
                    <a:lnTo>
                      <a:pt x="90" y="129"/>
                    </a:lnTo>
                    <a:lnTo>
                      <a:pt x="91" y="129"/>
                    </a:lnTo>
                    <a:lnTo>
                      <a:pt x="92" y="128"/>
                    </a:lnTo>
                    <a:lnTo>
                      <a:pt x="93" y="128"/>
                    </a:lnTo>
                    <a:lnTo>
                      <a:pt x="94" y="127"/>
                    </a:lnTo>
                    <a:lnTo>
                      <a:pt x="95" y="127"/>
                    </a:lnTo>
                    <a:lnTo>
                      <a:pt x="96" y="126"/>
                    </a:lnTo>
                    <a:lnTo>
                      <a:pt x="97" y="126"/>
                    </a:lnTo>
                    <a:lnTo>
                      <a:pt x="98" y="125"/>
                    </a:lnTo>
                    <a:lnTo>
                      <a:pt x="99" y="125"/>
                    </a:lnTo>
                    <a:lnTo>
                      <a:pt x="100" y="124"/>
                    </a:lnTo>
                    <a:lnTo>
                      <a:pt x="101" y="124"/>
                    </a:lnTo>
                    <a:lnTo>
                      <a:pt x="102" y="123"/>
                    </a:lnTo>
                    <a:lnTo>
                      <a:pt x="103" y="123"/>
                    </a:lnTo>
                    <a:lnTo>
                      <a:pt x="104" y="122"/>
                    </a:lnTo>
                    <a:lnTo>
                      <a:pt x="105" y="121"/>
                    </a:lnTo>
                    <a:lnTo>
                      <a:pt x="106" y="121"/>
                    </a:lnTo>
                    <a:lnTo>
                      <a:pt x="107" y="120"/>
                    </a:lnTo>
                    <a:lnTo>
                      <a:pt x="108" y="119"/>
                    </a:lnTo>
                    <a:lnTo>
                      <a:pt x="109" y="118"/>
                    </a:lnTo>
                    <a:lnTo>
                      <a:pt x="110" y="117"/>
                    </a:lnTo>
                    <a:lnTo>
                      <a:pt x="111" y="117"/>
                    </a:lnTo>
                    <a:lnTo>
                      <a:pt x="112" y="116"/>
                    </a:lnTo>
                    <a:lnTo>
                      <a:pt x="113" y="115"/>
                    </a:lnTo>
                    <a:lnTo>
                      <a:pt x="114" y="114"/>
                    </a:lnTo>
                    <a:lnTo>
                      <a:pt x="115" y="113"/>
                    </a:lnTo>
                    <a:lnTo>
                      <a:pt x="116" y="112"/>
                    </a:lnTo>
                    <a:lnTo>
                      <a:pt x="117" y="111"/>
                    </a:lnTo>
                    <a:lnTo>
                      <a:pt x="118" y="110"/>
                    </a:lnTo>
                    <a:lnTo>
                      <a:pt x="119" y="109"/>
                    </a:lnTo>
                    <a:lnTo>
                      <a:pt x="119" y="108"/>
                    </a:lnTo>
                    <a:lnTo>
                      <a:pt x="120" y="107"/>
                    </a:lnTo>
                    <a:lnTo>
                      <a:pt x="121" y="106"/>
                    </a:lnTo>
                    <a:lnTo>
                      <a:pt x="122" y="105"/>
                    </a:lnTo>
                    <a:lnTo>
                      <a:pt x="122" y="104"/>
                    </a:lnTo>
                    <a:lnTo>
                      <a:pt x="123" y="103"/>
                    </a:lnTo>
                    <a:lnTo>
                      <a:pt x="124" y="102"/>
                    </a:lnTo>
                    <a:lnTo>
                      <a:pt x="124" y="101"/>
                    </a:lnTo>
                    <a:lnTo>
                      <a:pt x="125" y="100"/>
                    </a:lnTo>
                    <a:lnTo>
                      <a:pt x="125" y="99"/>
                    </a:lnTo>
                    <a:lnTo>
                      <a:pt x="126" y="98"/>
                    </a:lnTo>
                    <a:lnTo>
                      <a:pt x="127" y="97"/>
                    </a:lnTo>
                    <a:lnTo>
                      <a:pt x="127" y="96"/>
                    </a:lnTo>
                    <a:lnTo>
                      <a:pt x="128" y="95"/>
                    </a:lnTo>
                    <a:lnTo>
                      <a:pt x="128" y="94"/>
                    </a:lnTo>
                    <a:lnTo>
                      <a:pt x="128" y="93"/>
                    </a:lnTo>
                    <a:lnTo>
                      <a:pt x="129" y="92"/>
                    </a:lnTo>
                    <a:lnTo>
                      <a:pt x="129" y="91"/>
                    </a:lnTo>
                    <a:lnTo>
                      <a:pt x="130" y="90"/>
                    </a:lnTo>
                    <a:lnTo>
                      <a:pt x="130" y="89"/>
                    </a:lnTo>
                    <a:lnTo>
                      <a:pt x="130" y="88"/>
                    </a:lnTo>
                    <a:lnTo>
                      <a:pt x="131" y="87"/>
                    </a:lnTo>
                    <a:lnTo>
                      <a:pt x="131" y="86"/>
                    </a:lnTo>
                    <a:lnTo>
                      <a:pt x="131" y="85"/>
                    </a:lnTo>
                    <a:lnTo>
                      <a:pt x="132" y="84"/>
                    </a:lnTo>
                    <a:lnTo>
                      <a:pt x="132" y="83"/>
                    </a:lnTo>
                    <a:lnTo>
                      <a:pt x="132" y="82"/>
                    </a:lnTo>
                    <a:lnTo>
                      <a:pt x="132" y="81"/>
                    </a:lnTo>
                    <a:lnTo>
                      <a:pt x="133" y="80"/>
                    </a:lnTo>
                    <a:lnTo>
                      <a:pt x="133" y="79"/>
                    </a:lnTo>
                    <a:lnTo>
                      <a:pt x="133" y="78"/>
                    </a:lnTo>
                    <a:lnTo>
                      <a:pt x="133" y="77"/>
                    </a:lnTo>
                    <a:lnTo>
                      <a:pt x="133" y="76"/>
                    </a:lnTo>
                    <a:lnTo>
                      <a:pt x="133" y="75"/>
                    </a:lnTo>
                    <a:lnTo>
                      <a:pt x="134" y="74"/>
                    </a:lnTo>
                    <a:lnTo>
                      <a:pt x="134" y="73"/>
                    </a:lnTo>
                    <a:lnTo>
                      <a:pt x="134" y="72"/>
                    </a:lnTo>
                    <a:lnTo>
                      <a:pt x="134" y="71"/>
                    </a:lnTo>
                    <a:lnTo>
                      <a:pt x="134" y="70"/>
                    </a:lnTo>
                    <a:lnTo>
                      <a:pt x="134" y="69"/>
                    </a:lnTo>
                    <a:lnTo>
                      <a:pt x="134" y="68"/>
                    </a:lnTo>
                    <a:lnTo>
                      <a:pt x="134" y="67"/>
                    </a:lnTo>
                    <a:close/>
                  </a:path>
                </a:pathLst>
              </a:custGeom>
              <a:solidFill>
                <a:srgbClr val="289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14" name="Freeform 295"/>
              <p:cNvSpPr>
                <a:spLocks/>
              </p:cNvSpPr>
              <p:nvPr/>
            </p:nvSpPr>
            <p:spPr bwMode="auto">
              <a:xfrm>
                <a:off x="3836" y="2634"/>
                <a:ext cx="211" cy="213"/>
              </a:xfrm>
              <a:custGeom>
                <a:avLst/>
                <a:gdLst>
                  <a:gd name="T0" fmla="*/ 133 w 133"/>
                  <a:gd name="T1" fmla="*/ 62 h 134"/>
                  <a:gd name="T2" fmla="*/ 132 w 133"/>
                  <a:gd name="T3" fmla="*/ 56 h 134"/>
                  <a:gd name="T4" fmla="*/ 131 w 133"/>
                  <a:gd name="T5" fmla="*/ 50 h 134"/>
                  <a:gd name="T6" fmla="*/ 129 w 133"/>
                  <a:gd name="T7" fmla="*/ 44 h 134"/>
                  <a:gd name="T8" fmla="*/ 126 w 133"/>
                  <a:gd name="T9" fmla="*/ 38 h 134"/>
                  <a:gd name="T10" fmla="*/ 123 w 133"/>
                  <a:gd name="T11" fmla="*/ 32 h 134"/>
                  <a:gd name="T12" fmla="*/ 119 w 133"/>
                  <a:gd name="T13" fmla="*/ 26 h 134"/>
                  <a:gd name="T14" fmla="*/ 114 w 133"/>
                  <a:gd name="T15" fmla="*/ 20 h 134"/>
                  <a:gd name="T16" fmla="*/ 108 w 133"/>
                  <a:gd name="T17" fmla="*/ 15 h 134"/>
                  <a:gd name="T18" fmla="*/ 102 w 133"/>
                  <a:gd name="T19" fmla="*/ 10 h 134"/>
                  <a:gd name="T20" fmla="*/ 96 w 133"/>
                  <a:gd name="T21" fmla="*/ 7 h 134"/>
                  <a:gd name="T22" fmla="*/ 90 w 133"/>
                  <a:gd name="T23" fmla="*/ 4 h 134"/>
                  <a:gd name="T24" fmla="*/ 84 w 133"/>
                  <a:gd name="T25" fmla="*/ 2 h 134"/>
                  <a:gd name="T26" fmla="*/ 78 w 133"/>
                  <a:gd name="T27" fmla="*/ 1 h 134"/>
                  <a:gd name="T28" fmla="*/ 72 w 133"/>
                  <a:gd name="T29" fmla="*/ 0 h 134"/>
                  <a:gd name="T30" fmla="*/ 66 w 133"/>
                  <a:gd name="T31" fmla="*/ 0 h 134"/>
                  <a:gd name="T32" fmla="*/ 60 w 133"/>
                  <a:gd name="T33" fmla="*/ 0 h 134"/>
                  <a:gd name="T34" fmla="*/ 54 w 133"/>
                  <a:gd name="T35" fmla="*/ 1 h 134"/>
                  <a:gd name="T36" fmla="*/ 48 w 133"/>
                  <a:gd name="T37" fmla="*/ 3 h 134"/>
                  <a:gd name="T38" fmla="*/ 42 w 133"/>
                  <a:gd name="T39" fmla="*/ 5 h 134"/>
                  <a:gd name="T40" fmla="*/ 36 w 133"/>
                  <a:gd name="T41" fmla="*/ 7 h 134"/>
                  <a:gd name="T42" fmla="*/ 30 w 133"/>
                  <a:gd name="T43" fmla="*/ 11 h 134"/>
                  <a:gd name="T44" fmla="*/ 24 w 133"/>
                  <a:gd name="T45" fmla="*/ 15 h 134"/>
                  <a:gd name="T46" fmla="*/ 18 w 133"/>
                  <a:gd name="T47" fmla="*/ 21 h 134"/>
                  <a:gd name="T48" fmla="*/ 13 w 133"/>
                  <a:gd name="T49" fmla="*/ 27 h 134"/>
                  <a:gd name="T50" fmla="*/ 9 w 133"/>
                  <a:gd name="T51" fmla="*/ 33 h 134"/>
                  <a:gd name="T52" fmla="*/ 6 w 133"/>
                  <a:gd name="T53" fmla="*/ 39 h 134"/>
                  <a:gd name="T54" fmla="*/ 4 w 133"/>
                  <a:gd name="T55" fmla="*/ 45 h 134"/>
                  <a:gd name="T56" fmla="*/ 2 w 133"/>
                  <a:gd name="T57" fmla="*/ 51 h 134"/>
                  <a:gd name="T58" fmla="*/ 1 w 133"/>
                  <a:gd name="T59" fmla="*/ 57 h 134"/>
                  <a:gd name="T60" fmla="*/ 0 w 133"/>
                  <a:gd name="T61" fmla="*/ 63 h 134"/>
                  <a:gd name="T62" fmla="*/ 0 w 133"/>
                  <a:gd name="T63" fmla="*/ 69 h 134"/>
                  <a:gd name="T64" fmla="*/ 0 w 133"/>
                  <a:gd name="T65" fmla="*/ 75 h 134"/>
                  <a:gd name="T66" fmla="*/ 1 w 133"/>
                  <a:gd name="T67" fmla="*/ 81 h 134"/>
                  <a:gd name="T68" fmla="*/ 3 w 133"/>
                  <a:gd name="T69" fmla="*/ 87 h 134"/>
                  <a:gd name="T70" fmla="*/ 5 w 133"/>
                  <a:gd name="T71" fmla="*/ 93 h 134"/>
                  <a:gd name="T72" fmla="*/ 8 w 133"/>
                  <a:gd name="T73" fmla="*/ 99 h 134"/>
                  <a:gd name="T74" fmla="*/ 12 w 133"/>
                  <a:gd name="T75" fmla="*/ 105 h 134"/>
                  <a:gd name="T76" fmla="*/ 16 w 133"/>
                  <a:gd name="T77" fmla="*/ 111 h 134"/>
                  <a:gd name="T78" fmla="*/ 22 w 133"/>
                  <a:gd name="T79" fmla="*/ 117 h 134"/>
                  <a:gd name="T80" fmla="*/ 28 w 133"/>
                  <a:gd name="T81" fmla="*/ 122 h 134"/>
                  <a:gd name="T82" fmla="*/ 34 w 133"/>
                  <a:gd name="T83" fmla="*/ 125 h 134"/>
                  <a:gd name="T84" fmla="*/ 40 w 133"/>
                  <a:gd name="T85" fmla="*/ 128 h 134"/>
                  <a:gd name="T86" fmla="*/ 46 w 133"/>
                  <a:gd name="T87" fmla="*/ 131 h 134"/>
                  <a:gd name="T88" fmla="*/ 52 w 133"/>
                  <a:gd name="T89" fmla="*/ 132 h 134"/>
                  <a:gd name="T90" fmla="*/ 58 w 133"/>
                  <a:gd name="T91" fmla="*/ 133 h 134"/>
                  <a:gd name="T92" fmla="*/ 64 w 133"/>
                  <a:gd name="T93" fmla="*/ 134 h 134"/>
                  <a:gd name="T94" fmla="*/ 70 w 133"/>
                  <a:gd name="T95" fmla="*/ 134 h 134"/>
                  <a:gd name="T96" fmla="*/ 76 w 133"/>
                  <a:gd name="T97" fmla="*/ 133 h 134"/>
                  <a:gd name="T98" fmla="*/ 82 w 133"/>
                  <a:gd name="T99" fmla="*/ 132 h 134"/>
                  <a:gd name="T100" fmla="*/ 88 w 133"/>
                  <a:gd name="T101" fmla="*/ 130 h 134"/>
                  <a:gd name="T102" fmla="*/ 94 w 133"/>
                  <a:gd name="T103" fmla="*/ 128 h 134"/>
                  <a:gd name="T104" fmla="*/ 100 w 133"/>
                  <a:gd name="T105" fmla="*/ 125 h 134"/>
                  <a:gd name="T106" fmla="*/ 106 w 133"/>
                  <a:gd name="T107" fmla="*/ 121 h 134"/>
                  <a:gd name="T108" fmla="*/ 112 w 133"/>
                  <a:gd name="T109" fmla="*/ 116 h 134"/>
                  <a:gd name="T110" fmla="*/ 117 w 133"/>
                  <a:gd name="T111" fmla="*/ 110 h 134"/>
                  <a:gd name="T112" fmla="*/ 122 w 133"/>
                  <a:gd name="T113" fmla="*/ 104 h 134"/>
                  <a:gd name="T114" fmla="*/ 125 w 133"/>
                  <a:gd name="T115" fmla="*/ 98 h 134"/>
                  <a:gd name="T116" fmla="*/ 128 w 133"/>
                  <a:gd name="T117" fmla="*/ 92 h 134"/>
                  <a:gd name="T118" fmla="*/ 130 w 133"/>
                  <a:gd name="T119" fmla="*/ 86 h 134"/>
                  <a:gd name="T120" fmla="*/ 132 w 133"/>
                  <a:gd name="T121" fmla="*/ 80 h 134"/>
                  <a:gd name="T122" fmla="*/ 133 w 133"/>
                  <a:gd name="T123" fmla="*/ 74 h 134"/>
                  <a:gd name="T124" fmla="*/ 133 w 133"/>
                  <a:gd name="T125" fmla="*/ 6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 h="134">
                    <a:moveTo>
                      <a:pt x="133" y="67"/>
                    </a:moveTo>
                    <a:lnTo>
                      <a:pt x="133" y="66"/>
                    </a:lnTo>
                    <a:lnTo>
                      <a:pt x="133" y="65"/>
                    </a:lnTo>
                    <a:lnTo>
                      <a:pt x="133" y="64"/>
                    </a:lnTo>
                    <a:lnTo>
                      <a:pt x="133" y="63"/>
                    </a:lnTo>
                    <a:lnTo>
                      <a:pt x="133" y="62"/>
                    </a:lnTo>
                    <a:lnTo>
                      <a:pt x="133" y="61"/>
                    </a:lnTo>
                    <a:lnTo>
                      <a:pt x="133" y="60"/>
                    </a:lnTo>
                    <a:lnTo>
                      <a:pt x="133" y="59"/>
                    </a:lnTo>
                    <a:lnTo>
                      <a:pt x="132" y="58"/>
                    </a:lnTo>
                    <a:lnTo>
                      <a:pt x="132" y="57"/>
                    </a:lnTo>
                    <a:lnTo>
                      <a:pt x="132" y="56"/>
                    </a:lnTo>
                    <a:lnTo>
                      <a:pt x="132" y="55"/>
                    </a:lnTo>
                    <a:lnTo>
                      <a:pt x="132" y="54"/>
                    </a:lnTo>
                    <a:lnTo>
                      <a:pt x="132" y="53"/>
                    </a:lnTo>
                    <a:lnTo>
                      <a:pt x="131" y="52"/>
                    </a:lnTo>
                    <a:lnTo>
                      <a:pt x="131" y="51"/>
                    </a:lnTo>
                    <a:lnTo>
                      <a:pt x="131" y="50"/>
                    </a:lnTo>
                    <a:lnTo>
                      <a:pt x="131" y="49"/>
                    </a:lnTo>
                    <a:lnTo>
                      <a:pt x="130" y="48"/>
                    </a:lnTo>
                    <a:lnTo>
                      <a:pt x="130" y="47"/>
                    </a:lnTo>
                    <a:lnTo>
                      <a:pt x="130" y="46"/>
                    </a:lnTo>
                    <a:lnTo>
                      <a:pt x="129" y="45"/>
                    </a:lnTo>
                    <a:lnTo>
                      <a:pt x="129" y="44"/>
                    </a:lnTo>
                    <a:lnTo>
                      <a:pt x="129" y="43"/>
                    </a:lnTo>
                    <a:lnTo>
                      <a:pt x="128" y="42"/>
                    </a:lnTo>
                    <a:lnTo>
                      <a:pt x="128" y="41"/>
                    </a:lnTo>
                    <a:lnTo>
                      <a:pt x="127" y="40"/>
                    </a:lnTo>
                    <a:lnTo>
                      <a:pt x="127" y="39"/>
                    </a:lnTo>
                    <a:lnTo>
                      <a:pt x="126" y="38"/>
                    </a:lnTo>
                    <a:lnTo>
                      <a:pt x="126" y="37"/>
                    </a:lnTo>
                    <a:lnTo>
                      <a:pt x="125" y="36"/>
                    </a:lnTo>
                    <a:lnTo>
                      <a:pt x="125" y="35"/>
                    </a:lnTo>
                    <a:lnTo>
                      <a:pt x="124" y="34"/>
                    </a:lnTo>
                    <a:lnTo>
                      <a:pt x="124" y="33"/>
                    </a:lnTo>
                    <a:lnTo>
                      <a:pt x="123" y="32"/>
                    </a:lnTo>
                    <a:lnTo>
                      <a:pt x="123" y="31"/>
                    </a:lnTo>
                    <a:lnTo>
                      <a:pt x="122" y="30"/>
                    </a:lnTo>
                    <a:lnTo>
                      <a:pt x="121" y="29"/>
                    </a:lnTo>
                    <a:lnTo>
                      <a:pt x="121" y="28"/>
                    </a:lnTo>
                    <a:lnTo>
                      <a:pt x="120" y="27"/>
                    </a:lnTo>
                    <a:lnTo>
                      <a:pt x="119" y="26"/>
                    </a:lnTo>
                    <a:lnTo>
                      <a:pt x="118" y="25"/>
                    </a:lnTo>
                    <a:lnTo>
                      <a:pt x="117" y="24"/>
                    </a:lnTo>
                    <a:lnTo>
                      <a:pt x="117" y="23"/>
                    </a:lnTo>
                    <a:lnTo>
                      <a:pt x="116" y="22"/>
                    </a:lnTo>
                    <a:lnTo>
                      <a:pt x="115" y="21"/>
                    </a:lnTo>
                    <a:lnTo>
                      <a:pt x="114" y="20"/>
                    </a:lnTo>
                    <a:lnTo>
                      <a:pt x="113" y="19"/>
                    </a:lnTo>
                    <a:lnTo>
                      <a:pt x="112" y="18"/>
                    </a:lnTo>
                    <a:lnTo>
                      <a:pt x="111" y="17"/>
                    </a:lnTo>
                    <a:lnTo>
                      <a:pt x="110" y="16"/>
                    </a:lnTo>
                    <a:lnTo>
                      <a:pt x="109" y="15"/>
                    </a:lnTo>
                    <a:lnTo>
                      <a:pt x="108" y="15"/>
                    </a:lnTo>
                    <a:lnTo>
                      <a:pt x="107" y="14"/>
                    </a:lnTo>
                    <a:lnTo>
                      <a:pt x="106" y="13"/>
                    </a:lnTo>
                    <a:lnTo>
                      <a:pt x="105" y="12"/>
                    </a:lnTo>
                    <a:lnTo>
                      <a:pt x="104" y="12"/>
                    </a:lnTo>
                    <a:lnTo>
                      <a:pt x="103" y="11"/>
                    </a:lnTo>
                    <a:lnTo>
                      <a:pt x="102" y="10"/>
                    </a:lnTo>
                    <a:lnTo>
                      <a:pt x="101" y="10"/>
                    </a:lnTo>
                    <a:lnTo>
                      <a:pt x="100" y="9"/>
                    </a:lnTo>
                    <a:lnTo>
                      <a:pt x="99" y="9"/>
                    </a:lnTo>
                    <a:lnTo>
                      <a:pt x="98" y="8"/>
                    </a:lnTo>
                    <a:lnTo>
                      <a:pt x="97" y="7"/>
                    </a:lnTo>
                    <a:lnTo>
                      <a:pt x="96" y="7"/>
                    </a:lnTo>
                    <a:lnTo>
                      <a:pt x="95" y="6"/>
                    </a:lnTo>
                    <a:lnTo>
                      <a:pt x="94" y="6"/>
                    </a:lnTo>
                    <a:lnTo>
                      <a:pt x="93" y="6"/>
                    </a:lnTo>
                    <a:lnTo>
                      <a:pt x="92" y="5"/>
                    </a:lnTo>
                    <a:lnTo>
                      <a:pt x="91" y="5"/>
                    </a:lnTo>
                    <a:lnTo>
                      <a:pt x="90" y="4"/>
                    </a:lnTo>
                    <a:lnTo>
                      <a:pt x="89" y="4"/>
                    </a:lnTo>
                    <a:lnTo>
                      <a:pt x="88" y="4"/>
                    </a:lnTo>
                    <a:lnTo>
                      <a:pt x="87" y="3"/>
                    </a:lnTo>
                    <a:lnTo>
                      <a:pt x="86" y="3"/>
                    </a:lnTo>
                    <a:lnTo>
                      <a:pt x="85" y="3"/>
                    </a:lnTo>
                    <a:lnTo>
                      <a:pt x="84" y="2"/>
                    </a:lnTo>
                    <a:lnTo>
                      <a:pt x="83" y="2"/>
                    </a:lnTo>
                    <a:lnTo>
                      <a:pt x="82" y="2"/>
                    </a:lnTo>
                    <a:lnTo>
                      <a:pt x="81" y="2"/>
                    </a:lnTo>
                    <a:lnTo>
                      <a:pt x="80" y="1"/>
                    </a:lnTo>
                    <a:lnTo>
                      <a:pt x="79" y="1"/>
                    </a:lnTo>
                    <a:lnTo>
                      <a:pt x="78" y="1"/>
                    </a:lnTo>
                    <a:lnTo>
                      <a:pt x="77" y="1"/>
                    </a:lnTo>
                    <a:lnTo>
                      <a:pt x="76" y="1"/>
                    </a:lnTo>
                    <a:lnTo>
                      <a:pt x="75" y="1"/>
                    </a:lnTo>
                    <a:lnTo>
                      <a:pt x="74" y="0"/>
                    </a:lnTo>
                    <a:lnTo>
                      <a:pt x="73" y="0"/>
                    </a:lnTo>
                    <a:lnTo>
                      <a:pt x="72" y="0"/>
                    </a:lnTo>
                    <a:lnTo>
                      <a:pt x="71" y="0"/>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1"/>
                    </a:lnTo>
                    <a:lnTo>
                      <a:pt x="57" y="1"/>
                    </a:lnTo>
                    <a:lnTo>
                      <a:pt x="56" y="1"/>
                    </a:lnTo>
                    <a:lnTo>
                      <a:pt x="55" y="1"/>
                    </a:lnTo>
                    <a:lnTo>
                      <a:pt x="54" y="1"/>
                    </a:lnTo>
                    <a:lnTo>
                      <a:pt x="53" y="1"/>
                    </a:lnTo>
                    <a:lnTo>
                      <a:pt x="52" y="2"/>
                    </a:lnTo>
                    <a:lnTo>
                      <a:pt x="51" y="2"/>
                    </a:lnTo>
                    <a:lnTo>
                      <a:pt x="50" y="2"/>
                    </a:lnTo>
                    <a:lnTo>
                      <a:pt x="49" y="2"/>
                    </a:lnTo>
                    <a:lnTo>
                      <a:pt x="48" y="3"/>
                    </a:lnTo>
                    <a:lnTo>
                      <a:pt x="47" y="3"/>
                    </a:lnTo>
                    <a:lnTo>
                      <a:pt x="46" y="3"/>
                    </a:lnTo>
                    <a:lnTo>
                      <a:pt x="45" y="4"/>
                    </a:lnTo>
                    <a:lnTo>
                      <a:pt x="44" y="4"/>
                    </a:lnTo>
                    <a:lnTo>
                      <a:pt x="43" y="4"/>
                    </a:lnTo>
                    <a:lnTo>
                      <a:pt x="42" y="5"/>
                    </a:lnTo>
                    <a:lnTo>
                      <a:pt x="41" y="5"/>
                    </a:lnTo>
                    <a:lnTo>
                      <a:pt x="40" y="6"/>
                    </a:lnTo>
                    <a:lnTo>
                      <a:pt x="39" y="6"/>
                    </a:lnTo>
                    <a:lnTo>
                      <a:pt x="38" y="6"/>
                    </a:lnTo>
                    <a:lnTo>
                      <a:pt x="37" y="7"/>
                    </a:lnTo>
                    <a:lnTo>
                      <a:pt x="36" y="7"/>
                    </a:lnTo>
                    <a:lnTo>
                      <a:pt x="35" y="8"/>
                    </a:lnTo>
                    <a:lnTo>
                      <a:pt x="34" y="9"/>
                    </a:lnTo>
                    <a:lnTo>
                      <a:pt x="33" y="9"/>
                    </a:lnTo>
                    <a:lnTo>
                      <a:pt x="32" y="10"/>
                    </a:lnTo>
                    <a:lnTo>
                      <a:pt x="31" y="10"/>
                    </a:lnTo>
                    <a:lnTo>
                      <a:pt x="30" y="11"/>
                    </a:lnTo>
                    <a:lnTo>
                      <a:pt x="29" y="12"/>
                    </a:lnTo>
                    <a:lnTo>
                      <a:pt x="28" y="12"/>
                    </a:lnTo>
                    <a:lnTo>
                      <a:pt x="27" y="13"/>
                    </a:lnTo>
                    <a:lnTo>
                      <a:pt x="26" y="14"/>
                    </a:lnTo>
                    <a:lnTo>
                      <a:pt x="25" y="15"/>
                    </a:lnTo>
                    <a:lnTo>
                      <a:pt x="24" y="15"/>
                    </a:lnTo>
                    <a:lnTo>
                      <a:pt x="23" y="16"/>
                    </a:lnTo>
                    <a:lnTo>
                      <a:pt x="22" y="17"/>
                    </a:lnTo>
                    <a:lnTo>
                      <a:pt x="21" y="18"/>
                    </a:lnTo>
                    <a:lnTo>
                      <a:pt x="20" y="19"/>
                    </a:lnTo>
                    <a:lnTo>
                      <a:pt x="19" y="20"/>
                    </a:lnTo>
                    <a:lnTo>
                      <a:pt x="18" y="21"/>
                    </a:lnTo>
                    <a:lnTo>
                      <a:pt x="17" y="22"/>
                    </a:lnTo>
                    <a:lnTo>
                      <a:pt x="16" y="23"/>
                    </a:lnTo>
                    <a:lnTo>
                      <a:pt x="16" y="24"/>
                    </a:lnTo>
                    <a:lnTo>
                      <a:pt x="15" y="25"/>
                    </a:lnTo>
                    <a:lnTo>
                      <a:pt x="14" y="26"/>
                    </a:lnTo>
                    <a:lnTo>
                      <a:pt x="13" y="27"/>
                    </a:lnTo>
                    <a:lnTo>
                      <a:pt x="12" y="28"/>
                    </a:lnTo>
                    <a:lnTo>
                      <a:pt x="12" y="29"/>
                    </a:lnTo>
                    <a:lnTo>
                      <a:pt x="11" y="30"/>
                    </a:lnTo>
                    <a:lnTo>
                      <a:pt x="10" y="31"/>
                    </a:lnTo>
                    <a:lnTo>
                      <a:pt x="10" y="32"/>
                    </a:lnTo>
                    <a:lnTo>
                      <a:pt x="9" y="33"/>
                    </a:lnTo>
                    <a:lnTo>
                      <a:pt x="9" y="34"/>
                    </a:lnTo>
                    <a:lnTo>
                      <a:pt x="8" y="35"/>
                    </a:lnTo>
                    <a:lnTo>
                      <a:pt x="8" y="36"/>
                    </a:lnTo>
                    <a:lnTo>
                      <a:pt x="7" y="37"/>
                    </a:lnTo>
                    <a:lnTo>
                      <a:pt x="7" y="38"/>
                    </a:lnTo>
                    <a:lnTo>
                      <a:pt x="6" y="39"/>
                    </a:lnTo>
                    <a:lnTo>
                      <a:pt x="6" y="40"/>
                    </a:lnTo>
                    <a:lnTo>
                      <a:pt x="5" y="41"/>
                    </a:lnTo>
                    <a:lnTo>
                      <a:pt x="5" y="42"/>
                    </a:lnTo>
                    <a:lnTo>
                      <a:pt x="4" y="43"/>
                    </a:lnTo>
                    <a:lnTo>
                      <a:pt x="4" y="44"/>
                    </a:lnTo>
                    <a:lnTo>
                      <a:pt x="4" y="45"/>
                    </a:lnTo>
                    <a:lnTo>
                      <a:pt x="3" y="46"/>
                    </a:lnTo>
                    <a:lnTo>
                      <a:pt x="3" y="47"/>
                    </a:lnTo>
                    <a:lnTo>
                      <a:pt x="3" y="48"/>
                    </a:lnTo>
                    <a:lnTo>
                      <a:pt x="2" y="49"/>
                    </a:lnTo>
                    <a:lnTo>
                      <a:pt x="2" y="50"/>
                    </a:lnTo>
                    <a:lnTo>
                      <a:pt x="2" y="51"/>
                    </a:lnTo>
                    <a:lnTo>
                      <a:pt x="2" y="52"/>
                    </a:lnTo>
                    <a:lnTo>
                      <a:pt x="1" y="53"/>
                    </a:lnTo>
                    <a:lnTo>
                      <a:pt x="1" y="54"/>
                    </a:lnTo>
                    <a:lnTo>
                      <a:pt x="1" y="55"/>
                    </a:lnTo>
                    <a:lnTo>
                      <a:pt x="1" y="56"/>
                    </a:lnTo>
                    <a:lnTo>
                      <a:pt x="1" y="57"/>
                    </a:lnTo>
                    <a:lnTo>
                      <a:pt x="1"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0" y="71"/>
                    </a:lnTo>
                    <a:lnTo>
                      <a:pt x="0" y="72"/>
                    </a:lnTo>
                    <a:lnTo>
                      <a:pt x="0" y="73"/>
                    </a:lnTo>
                    <a:lnTo>
                      <a:pt x="0" y="74"/>
                    </a:lnTo>
                    <a:lnTo>
                      <a:pt x="0" y="75"/>
                    </a:lnTo>
                    <a:lnTo>
                      <a:pt x="1" y="76"/>
                    </a:lnTo>
                    <a:lnTo>
                      <a:pt x="1" y="77"/>
                    </a:lnTo>
                    <a:lnTo>
                      <a:pt x="1" y="78"/>
                    </a:lnTo>
                    <a:lnTo>
                      <a:pt x="1" y="79"/>
                    </a:lnTo>
                    <a:lnTo>
                      <a:pt x="1" y="80"/>
                    </a:lnTo>
                    <a:lnTo>
                      <a:pt x="1" y="81"/>
                    </a:lnTo>
                    <a:lnTo>
                      <a:pt x="2" y="82"/>
                    </a:lnTo>
                    <a:lnTo>
                      <a:pt x="2" y="83"/>
                    </a:lnTo>
                    <a:lnTo>
                      <a:pt x="2" y="84"/>
                    </a:lnTo>
                    <a:lnTo>
                      <a:pt x="2" y="85"/>
                    </a:lnTo>
                    <a:lnTo>
                      <a:pt x="3" y="86"/>
                    </a:lnTo>
                    <a:lnTo>
                      <a:pt x="3" y="87"/>
                    </a:lnTo>
                    <a:lnTo>
                      <a:pt x="3" y="88"/>
                    </a:lnTo>
                    <a:lnTo>
                      <a:pt x="4" y="89"/>
                    </a:lnTo>
                    <a:lnTo>
                      <a:pt x="4" y="90"/>
                    </a:lnTo>
                    <a:lnTo>
                      <a:pt x="4" y="91"/>
                    </a:lnTo>
                    <a:lnTo>
                      <a:pt x="5" y="92"/>
                    </a:lnTo>
                    <a:lnTo>
                      <a:pt x="5" y="93"/>
                    </a:lnTo>
                    <a:lnTo>
                      <a:pt x="6" y="94"/>
                    </a:lnTo>
                    <a:lnTo>
                      <a:pt x="6" y="95"/>
                    </a:lnTo>
                    <a:lnTo>
                      <a:pt x="7" y="96"/>
                    </a:lnTo>
                    <a:lnTo>
                      <a:pt x="7" y="97"/>
                    </a:lnTo>
                    <a:lnTo>
                      <a:pt x="8" y="98"/>
                    </a:lnTo>
                    <a:lnTo>
                      <a:pt x="8" y="99"/>
                    </a:lnTo>
                    <a:lnTo>
                      <a:pt x="9" y="100"/>
                    </a:lnTo>
                    <a:lnTo>
                      <a:pt x="9" y="101"/>
                    </a:lnTo>
                    <a:lnTo>
                      <a:pt x="10" y="102"/>
                    </a:lnTo>
                    <a:lnTo>
                      <a:pt x="10" y="103"/>
                    </a:lnTo>
                    <a:lnTo>
                      <a:pt x="11" y="104"/>
                    </a:lnTo>
                    <a:lnTo>
                      <a:pt x="12" y="105"/>
                    </a:lnTo>
                    <a:lnTo>
                      <a:pt x="12" y="106"/>
                    </a:lnTo>
                    <a:lnTo>
                      <a:pt x="13" y="107"/>
                    </a:lnTo>
                    <a:lnTo>
                      <a:pt x="14" y="108"/>
                    </a:lnTo>
                    <a:lnTo>
                      <a:pt x="15" y="109"/>
                    </a:lnTo>
                    <a:lnTo>
                      <a:pt x="16" y="110"/>
                    </a:lnTo>
                    <a:lnTo>
                      <a:pt x="16" y="111"/>
                    </a:lnTo>
                    <a:lnTo>
                      <a:pt x="17" y="112"/>
                    </a:lnTo>
                    <a:lnTo>
                      <a:pt x="18" y="113"/>
                    </a:lnTo>
                    <a:lnTo>
                      <a:pt x="19" y="114"/>
                    </a:lnTo>
                    <a:lnTo>
                      <a:pt x="20" y="115"/>
                    </a:lnTo>
                    <a:lnTo>
                      <a:pt x="21" y="116"/>
                    </a:lnTo>
                    <a:lnTo>
                      <a:pt x="22" y="117"/>
                    </a:lnTo>
                    <a:lnTo>
                      <a:pt x="23" y="118"/>
                    </a:lnTo>
                    <a:lnTo>
                      <a:pt x="24" y="119"/>
                    </a:lnTo>
                    <a:lnTo>
                      <a:pt x="25" y="119"/>
                    </a:lnTo>
                    <a:lnTo>
                      <a:pt x="26" y="120"/>
                    </a:lnTo>
                    <a:lnTo>
                      <a:pt x="27" y="121"/>
                    </a:lnTo>
                    <a:lnTo>
                      <a:pt x="28" y="122"/>
                    </a:lnTo>
                    <a:lnTo>
                      <a:pt x="29" y="122"/>
                    </a:lnTo>
                    <a:lnTo>
                      <a:pt x="30" y="123"/>
                    </a:lnTo>
                    <a:lnTo>
                      <a:pt x="31" y="124"/>
                    </a:lnTo>
                    <a:lnTo>
                      <a:pt x="32" y="124"/>
                    </a:lnTo>
                    <a:lnTo>
                      <a:pt x="33" y="125"/>
                    </a:lnTo>
                    <a:lnTo>
                      <a:pt x="34" y="125"/>
                    </a:lnTo>
                    <a:lnTo>
                      <a:pt x="35" y="126"/>
                    </a:lnTo>
                    <a:lnTo>
                      <a:pt x="36" y="127"/>
                    </a:lnTo>
                    <a:lnTo>
                      <a:pt x="37" y="127"/>
                    </a:lnTo>
                    <a:lnTo>
                      <a:pt x="38" y="128"/>
                    </a:lnTo>
                    <a:lnTo>
                      <a:pt x="39" y="128"/>
                    </a:lnTo>
                    <a:lnTo>
                      <a:pt x="40" y="128"/>
                    </a:lnTo>
                    <a:lnTo>
                      <a:pt x="41" y="129"/>
                    </a:lnTo>
                    <a:lnTo>
                      <a:pt x="42" y="129"/>
                    </a:lnTo>
                    <a:lnTo>
                      <a:pt x="43" y="130"/>
                    </a:lnTo>
                    <a:lnTo>
                      <a:pt x="44" y="130"/>
                    </a:lnTo>
                    <a:lnTo>
                      <a:pt x="45" y="130"/>
                    </a:lnTo>
                    <a:lnTo>
                      <a:pt x="46" y="131"/>
                    </a:lnTo>
                    <a:lnTo>
                      <a:pt x="47" y="131"/>
                    </a:lnTo>
                    <a:lnTo>
                      <a:pt x="48" y="131"/>
                    </a:lnTo>
                    <a:lnTo>
                      <a:pt x="49" y="132"/>
                    </a:lnTo>
                    <a:lnTo>
                      <a:pt x="50" y="132"/>
                    </a:lnTo>
                    <a:lnTo>
                      <a:pt x="51" y="132"/>
                    </a:lnTo>
                    <a:lnTo>
                      <a:pt x="52" y="132"/>
                    </a:lnTo>
                    <a:lnTo>
                      <a:pt x="53" y="133"/>
                    </a:lnTo>
                    <a:lnTo>
                      <a:pt x="54" y="133"/>
                    </a:lnTo>
                    <a:lnTo>
                      <a:pt x="55" y="133"/>
                    </a:lnTo>
                    <a:lnTo>
                      <a:pt x="56" y="133"/>
                    </a:lnTo>
                    <a:lnTo>
                      <a:pt x="57" y="133"/>
                    </a:lnTo>
                    <a:lnTo>
                      <a:pt x="58" y="133"/>
                    </a:lnTo>
                    <a:lnTo>
                      <a:pt x="59" y="134"/>
                    </a:lnTo>
                    <a:lnTo>
                      <a:pt x="60" y="134"/>
                    </a:lnTo>
                    <a:lnTo>
                      <a:pt x="61" y="134"/>
                    </a:lnTo>
                    <a:lnTo>
                      <a:pt x="62" y="134"/>
                    </a:lnTo>
                    <a:lnTo>
                      <a:pt x="63" y="134"/>
                    </a:lnTo>
                    <a:lnTo>
                      <a:pt x="64" y="134"/>
                    </a:lnTo>
                    <a:lnTo>
                      <a:pt x="65" y="134"/>
                    </a:lnTo>
                    <a:lnTo>
                      <a:pt x="66" y="134"/>
                    </a:lnTo>
                    <a:lnTo>
                      <a:pt x="67" y="134"/>
                    </a:lnTo>
                    <a:lnTo>
                      <a:pt x="68" y="134"/>
                    </a:lnTo>
                    <a:lnTo>
                      <a:pt x="69" y="134"/>
                    </a:lnTo>
                    <a:lnTo>
                      <a:pt x="70" y="134"/>
                    </a:lnTo>
                    <a:lnTo>
                      <a:pt x="71" y="134"/>
                    </a:lnTo>
                    <a:lnTo>
                      <a:pt x="72" y="134"/>
                    </a:lnTo>
                    <a:lnTo>
                      <a:pt x="73" y="134"/>
                    </a:lnTo>
                    <a:lnTo>
                      <a:pt x="74" y="134"/>
                    </a:lnTo>
                    <a:lnTo>
                      <a:pt x="75" y="133"/>
                    </a:lnTo>
                    <a:lnTo>
                      <a:pt x="76" y="133"/>
                    </a:lnTo>
                    <a:lnTo>
                      <a:pt x="77" y="133"/>
                    </a:lnTo>
                    <a:lnTo>
                      <a:pt x="78" y="133"/>
                    </a:lnTo>
                    <a:lnTo>
                      <a:pt x="79" y="133"/>
                    </a:lnTo>
                    <a:lnTo>
                      <a:pt x="80" y="133"/>
                    </a:lnTo>
                    <a:lnTo>
                      <a:pt x="81" y="132"/>
                    </a:lnTo>
                    <a:lnTo>
                      <a:pt x="82" y="132"/>
                    </a:lnTo>
                    <a:lnTo>
                      <a:pt x="83" y="132"/>
                    </a:lnTo>
                    <a:lnTo>
                      <a:pt x="84" y="132"/>
                    </a:lnTo>
                    <a:lnTo>
                      <a:pt x="85" y="131"/>
                    </a:lnTo>
                    <a:lnTo>
                      <a:pt x="86" y="131"/>
                    </a:lnTo>
                    <a:lnTo>
                      <a:pt x="87" y="131"/>
                    </a:lnTo>
                    <a:lnTo>
                      <a:pt x="88" y="130"/>
                    </a:lnTo>
                    <a:lnTo>
                      <a:pt x="89" y="130"/>
                    </a:lnTo>
                    <a:lnTo>
                      <a:pt x="90" y="130"/>
                    </a:lnTo>
                    <a:lnTo>
                      <a:pt x="91" y="129"/>
                    </a:lnTo>
                    <a:lnTo>
                      <a:pt x="92" y="129"/>
                    </a:lnTo>
                    <a:lnTo>
                      <a:pt x="93" y="128"/>
                    </a:lnTo>
                    <a:lnTo>
                      <a:pt x="94" y="128"/>
                    </a:lnTo>
                    <a:lnTo>
                      <a:pt x="95" y="128"/>
                    </a:lnTo>
                    <a:lnTo>
                      <a:pt x="96" y="127"/>
                    </a:lnTo>
                    <a:lnTo>
                      <a:pt x="97" y="127"/>
                    </a:lnTo>
                    <a:lnTo>
                      <a:pt x="98" y="126"/>
                    </a:lnTo>
                    <a:lnTo>
                      <a:pt x="99" y="125"/>
                    </a:lnTo>
                    <a:lnTo>
                      <a:pt x="100" y="125"/>
                    </a:lnTo>
                    <a:lnTo>
                      <a:pt x="101" y="124"/>
                    </a:lnTo>
                    <a:lnTo>
                      <a:pt x="102" y="124"/>
                    </a:lnTo>
                    <a:lnTo>
                      <a:pt x="103" y="123"/>
                    </a:lnTo>
                    <a:lnTo>
                      <a:pt x="104" y="122"/>
                    </a:lnTo>
                    <a:lnTo>
                      <a:pt x="105" y="122"/>
                    </a:lnTo>
                    <a:lnTo>
                      <a:pt x="106" y="121"/>
                    </a:lnTo>
                    <a:lnTo>
                      <a:pt x="107" y="120"/>
                    </a:lnTo>
                    <a:lnTo>
                      <a:pt x="108" y="119"/>
                    </a:lnTo>
                    <a:lnTo>
                      <a:pt x="109" y="119"/>
                    </a:lnTo>
                    <a:lnTo>
                      <a:pt x="110" y="118"/>
                    </a:lnTo>
                    <a:lnTo>
                      <a:pt x="111" y="117"/>
                    </a:lnTo>
                    <a:lnTo>
                      <a:pt x="112" y="116"/>
                    </a:lnTo>
                    <a:lnTo>
                      <a:pt x="113" y="115"/>
                    </a:lnTo>
                    <a:lnTo>
                      <a:pt x="114" y="114"/>
                    </a:lnTo>
                    <a:lnTo>
                      <a:pt x="115" y="113"/>
                    </a:lnTo>
                    <a:lnTo>
                      <a:pt x="116" y="112"/>
                    </a:lnTo>
                    <a:lnTo>
                      <a:pt x="117" y="111"/>
                    </a:lnTo>
                    <a:lnTo>
                      <a:pt x="117" y="110"/>
                    </a:lnTo>
                    <a:lnTo>
                      <a:pt x="118" y="109"/>
                    </a:lnTo>
                    <a:lnTo>
                      <a:pt x="119" y="108"/>
                    </a:lnTo>
                    <a:lnTo>
                      <a:pt x="120" y="107"/>
                    </a:lnTo>
                    <a:lnTo>
                      <a:pt x="121" y="106"/>
                    </a:lnTo>
                    <a:lnTo>
                      <a:pt x="121" y="105"/>
                    </a:lnTo>
                    <a:lnTo>
                      <a:pt x="122" y="104"/>
                    </a:lnTo>
                    <a:lnTo>
                      <a:pt x="123" y="103"/>
                    </a:lnTo>
                    <a:lnTo>
                      <a:pt x="123" y="102"/>
                    </a:lnTo>
                    <a:lnTo>
                      <a:pt x="124" y="101"/>
                    </a:lnTo>
                    <a:lnTo>
                      <a:pt x="124" y="100"/>
                    </a:lnTo>
                    <a:lnTo>
                      <a:pt x="125" y="99"/>
                    </a:lnTo>
                    <a:lnTo>
                      <a:pt x="125" y="98"/>
                    </a:lnTo>
                    <a:lnTo>
                      <a:pt x="126" y="97"/>
                    </a:lnTo>
                    <a:lnTo>
                      <a:pt x="126" y="96"/>
                    </a:lnTo>
                    <a:lnTo>
                      <a:pt x="127" y="95"/>
                    </a:lnTo>
                    <a:lnTo>
                      <a:pt x="127" y="94"/>
                    </a:lnTo>
                    <a:lnTo>
                      <a:pt x="128" y="93"/>
                    </a:lnTo>
                    <a:lnTo>
                      <a:pt x="128" y="92"/>
                    </a:lnTo>
                    <a:lnTo>
                      <a:pt x="129" y="91"/>
                    </a:lnTo>
                    <a:lnTo>
                      <a:pt x="129" y="90"/>
                    </a:lnTo>
                    <a:lnTo>
                      <a:pt x="129" y="89"/>
                    </a:lnTo>
                    <a:lnTo>
                      <a:pt x="130" y="88"/>
                    </a:lnTo>
                    <a:lnTo>
                      <a:pt x="130" y="87"/>
                    </a:lnTo>
                    <a:lnTo>
                      <a:pt x="130" y="86"/>
                    </a:lnTo>
                    <a:lnTo>
                      <a:pt x="131" y="85"/>
                    </a:lnTo>
                    <a:lnTo>
                      <a:pt x="131" y="84"/>
                    </a:lnTo>
                    <a:lnTo>
                      <a:pt x="131" y="83"/>
                    </a:lnTo>
                    <a:lnTo>
                      <a:pt x="131" y="82"/>
                    </a:lnTo>
                    <a:lnTo>
                      <a:pt x="132" y="81"/>
                    </a:lnTo>
                    <a:lnTo>
                      <a:pt x="132" y="80"/>
                    </a:lnTo>
                    <a:lnTo>
                      <a:pt x="132" y="79"/>
                    </a:lnTo>
                    <a:lnTo>
                      <a:pt x="132" y="78"/>
                    </a:lnTo>
                    <a:lnTo>
                      <a:pt x="132" y="77"/>
                    </a:lnTo>
                    <a:lnTo>
                      <a:pt x="132" y="76"/>
                    </a:lnTo>
                    <a:lnTo>
                      <a:pt x="133" y="75"/>
                    </a:lnTo>
                    <a:lnTo>
                      <a:pt x="133" y="74"/>
                    </a:lnTo>
                    <a:lnTo>
                      <a:pt x="133" y="73"/>
                    </a:lnTo>
                    <a:lnTo>
                      <a:pt x="133" y="72"/>
                    </a:lnTo>
                    <a:lnTo>
                      <a:pt x="133" y="71"/>
                    </a:lnTo>
                    <a:lnTo>
                      <a:pt x="133" y="70"/>
                    </a:lnTo>
                    <a:lnTo>
                      <a:pt x="133" y="69"/>
                    </a:lnTo>
                    <a:lnTo>
                      <a:pt x="133" y="68"/>
                    </a:lnTo>
                    <a:lnTo>
                      <a:pt x="133" y="67"/>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15" name="Freeform 296"/>
              <p:cNvSpPr>
                <a:spLocks/>
              </p:cNvSpPr>
              <p:nvPr/>
            </p:nvSpPr>
            <p:spPr bwMode="auto">
              <a:xfrm>
                <a:off x="2304" y="1197"/>
                <a:ext cx="213" cy="211"/>
              </a:xfrm>
              <a:custGeom>
                <a:avLst/>
                <a:gdLst>
                  <a:gd name="T0" fmla="*/ 134 w 134"/>
                  <a:gd name="T1" fmla="*/ 62 h 133"/>
                  <a:gd name="T2" fmla="*/ 133 w 134"/>
                  <a:gd name="T3" fmla="*/ 56 h 133"/>
                  <a:gd name="T4" fmla="*/ 132 w 134"/>
                  <a:gd name="T5" fmla="*/ 50 h 133"/>
                  <a:gd name="T6" fmla="*/ 130 w 134"/>
                  <a:gd name="T7" fmla="*/ 44 h 133"/>
                  <a:gd name="T8" fmla="*/ 128 w 134"/>
                  <a:gd name="T9" fmla="*/ 38 h 133"/>
                  <a:gd name="T10" fmla="*/ 124 w 134"/>
                  <a:gd name="T11" fmla="*/ 32 h 133"/>
                  <a:gd name="T12" fmla="*/ 120 w 134"/>
                  <a:gd name="T13" fmla="*/ 26 h 133"/>
                  <a:gd name="T14" fmla="*/ 115 w 134"/>
                  <a:gd name="T15" fmla="*/ 20 h 133"/>
                  <a:gd name="T16" fmla="*/ 109 w 134"/>
                  <a:gd name="T17" fmla="*/ 15 h 133"/>
                  <a:gd name="T18" fmla="*/ 103 w 134"/>
                  <a:gd name="T19" fmla="*/ 10 h 133"/>
                  <a:gd name="T20" fmla="*/ 97 w 134"/>
                  <a:gd name="T21" fmla="*/ 7 h 133"/>
                  <a:gd name="T22" fmla="*/ 91 w 134"/>
                  <a:gd name="T23" fmla="*/ 4 h 133"/>
                  <a:gd name="T24" fmla="*/ 85 w 134"/>
                  <a:gd name="T25" fmla="*/ 2 h 133"/>
                  <a:gd name="T26" fmla="*/ 79 w 134"/>
                  <a:gd name="T27" fmla="*/ 1 h 133"/>
                  <a:gd name="T28" fmla="*/ 73 w 134"/>
                  <a:gd name="T29" fmla="*/ 0 h 133"/>
                  <a:gd name="T30" fmla="*/ 67 w 134"/>
                  <a:gd name="T31" fmla="*/ 0 h 133"/>
                  <a:gd name="T32" fmla="*/ 61 w 134"/>
                  <a:gd name="T33" fmla="*/ 0 h 133"/>
                  <a:gd name="T34" fmla="*/ 55 w 134"/>
                  <a:gd name="T35" fmla="*/ 1 h 133"/>
                  <a:gd name="T36" fmla="*/ 49 w 134"/>
                  <a:gd name="T37" fmla="*/ 2 h 133"/>
                  <a:gd name="T38" fmla="*/ 43 w 134"/>
                  <a:gd name="T39" fmla="*/ 4 h 133"/>
                  <a:gd name="T40" fmla="*/ 37 w 134"/>
                  <a:gd name="T41" fmla="*/ 7 h 133"/>
                  <a:gd name="T42" fmla="*/ 31 w 134"/>
                  <a:gd name="T43" fmla="*/ 10 h 133"/>
                  <a:gd name="T44" fmla="*/ 25 w 134"/>
                  <a:gd name="T45" fmla="*/ 15 h 133"/>
                  <a:gd name="T46" fmla="*/ 19 w 134"/>
                  <a:gd name="T47" fmla="*/ 20 h 133"/>
                  <a:gd name="T48" fmla="*/ 14 w 134"/>
                  <a:gd name="T49" fmla="*/ 26 h 133"/>
                  <a:gd name="T50" fmla="*/ 10 w 134"/>
                  <a:gd name="T51" fmla="*/ 32 h 133"/>
                  <a:gd name="T52" fmla="*/ 6 w 134"/>
                  <a:gd name="T53" fmla="*/ 38 h 133"/>
                  <a:gd name="T54" fmla="*/ 4 w 134"/>
                  <a:gd name="T55" fmla="*/ 44 h 133"/>
                  <a:gd name="T56" fmla="*/ 2 w 134"/>
                  <a:gd name="T57" fmla="*/ 50 h 133"/>
                  <a:gd name="T58" fmla="*/ 1 w 134"/>
                  <a:gd name="T59" fmla="*/ 56 h 133"/>
                  <a:gd name="T60" fmla="*/ 0 w 134"/>
                  <a:gd name="T61" fmla="*/ 62 h 133"/>
                  <a:gd name="T62" fmla="*/ 0 w 134"/>
                  <a:gd name="T63" fmla="*/ 68 h 133"/>
                  <a:gd name="T64" fmla="*/ 0 w 134"/>
                  <a:gd name="T65" fmla="*/ 74 h 133"/>
                  <a:gd name="T66" fmla="*/ 1 w 134"/>
                  <a:gd name="T67" fmla="*/ 80 h 133"/>
                  <a:gd name="T68" fmla="*/ 3 w 134"/>
                  <a:gd name="T69" fmla="*/ 86 h 133"/>
                  <a:gd name="T70" fmla="*/ 5 w 134"/>
                  <a:gd name="T71" fmla="*/ 92 h 133"/>
                  <a:gd name="T72" fmla="*/ 8 w 134"/>
                  <a:gd name="T73" fmla="*/ 98 h 133"/>
                  <a:gd name="T74" fmla="*/ 12 w 134"/>
                  <a:gd name="T75" fmla="*/ 104 h 133"/>
                  <a:gd name="T76" fmla="*/ 16 w 134"/>
                  <a:gd name="T77" fmla="*/ 110 h 133"/>
                  <a:gd name="T78" fmla="*/ 22 w 134"/>
                  <a:gd name="T79" fmla="*/ 116 h 133"/>
                  <a:gd name="T80" fmla="*/ 28 w 134"/>
                  <a:gd name="T81" fmla="*/ 121 h 133"/>
                  <a:gd name="T82" fmla="*/ 34 w 134"/>
                  <a:gd name="T83" fmla="*/ 124 h 133"/>
                  <a:gd name="T84" fmla="*/ 40 w 134"/>
                  <a:gd name="T85" fmla="*/ 127 h 133"/>
                  <a:gd name="T86" fmla="*/ 46 w 134"/>
                  <a:gd name="T87" fmla="*/ 130 h 133"/>
                  <a:gd name="T88" fmla="*/ 52 w 134"/>
                  <a:gd name="T89" fmla="*/ 131 h 133"/>
                  <a:gd name="T90" fmla="*/ 58 w 134"/>
                  <a:gd name="T91" fmla="*/ 132 h 133"/>
                  <a:gd name="T92" fmla="*/ 64 w 134"/>
                  <a:gd name="T93" fmla="*/ 133 h 133"/>
                  <a:gd name="T94" fmla="*/ 70 w 134"/>
                  <a:gd name="T95" fmla="*/ 133 h 133"/>
                  <a:gd name="T96" fmla="*/ 76 w 134"/>
                  <a:gd name="T97" fmla="*/ 132 h 133"/>
                  <a:gd name="T98" fmla="*/ 82 w 134"/>
                  <a:gd name="T99" fmla="*/ 131 h 133"/>
                  <a:gd name="T100" fmla="*/ 88 w 134"/>
                  <a:gd name="T101" fmla="*/ 130 h 133"/>
                  <a:gd name="T102" fmla="*/ 94 w 134"/>
                  <a:gd name="T103" fmla="*/ 127 h 133"/>
                  <a:gd name="T104" fmla="*/ 100 w 134"/>
                  <a:gd name="T105" fmla="*/ 124 h 133"/>
                  <a:gd name="T106" fmla="*/ 106 w 134"/>
                  <a:gd name="T107" fmla="*/ 121 h 133"/>
                  <a:gd name="T108" fmla="*/ 112 w 134"/>
                  <a:gd name="T109" fmla="*/ 116 h 133"/>
                  <a:gd name="T110" fmla="*/ 118 w 134"/>
                  <a:gd name="T111" fmla="*/ 110 h 133"/>
                  <a:gd name="T112" fmla="*/ 122 w 134"/>
                  <a:gd name="T113" fmla="*/ 104 h 133"/>
                  <a:gd name="T114" fmla="*/ 126 w 134"/>
                  <a:gd name="T115" fmla="*/ 98 h 133"/>
                  <a:gd name="T116" fmla="*/ 129 w 134"/>
                  <a:gd name="T117" fmla="*/ 92 h 133"/>
                  <a:gd name="T118" fmla="*/ 131 w 134"/>
                  <a:gd name="T119" fmla="*/ 86 h 133"/>
                  <a:gd name="T120" fmla="*/ 133 w 134"/>
                  <a:gd name="T121" fmla="*/ 80 h 133"/>
                  <a:gd name="T122" fmla="*/ 134 w 134"/>
                  <a:gd name="T123" fmla="*/ 74 h 133"/>
                  <a:gd name="T124" fmla="*/ 134 w 134"/>
                  <a:gd name="T125" fmla="*/ 6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 h="133">
                    <a:moveTo>
                      <a:pt x="134" y="67"/>
                    </a:moveTo>
                    <a:lnTo>
                      <a:pt x="134" y="66"/>
                    </a:lnTo>
                    <a:lnTo>
                      <a:pt x="134" y="65"/>
                    </a:lnTo>
                    <a:lnTo>
                      <a:pt x="134" y="64"/>
                    </a:lnTo>
                    <a:lnTo>
                      <a:pt x="134" y="63"/>
                    </a:lnTo>
                    <a:lnTo>
                      <a:pt x="134" y="62"/>
                    </a:lnTo>
                    <a:lnTo>
                      <a:pt x="134" y="61"/>
                    </a:lnTo>
                    <a:lnTo>
                      <a:pt x="134" y="60"/>
                    </a:lnTo>
                    <a:lnTo>
                      <a:pt x="134" y="59"/>
                    </a:lnTo>
                    <a:lnTo>
                      <a:pt x="133" y="58"/>
                    </a:lnTo>
                    <a:lnTo>
                      <a:pt x="133" y="57"/>
                    </a:lnTo>
                    <a:lnTo>
                      <a:pt x="133" y="56"/>
                    </a:lnTo>
                    <a:lnTo>
                      <a:pt x="133" y="55"/>
                    </a:lnTo>
                    <a:lnTo>
                      <a:pt x="133" y="54"/>
                    </a:lnTo>
                    <a:lnTo>
                      <a:pt x="133" y="53"/>
                    </a:lnTo>
                    <a:lnTo>
                      <a:pt x="132" y="52"/>
                    </a:lnTo>
                    <a:lnTo>
                      <a:pt x="132" y="51"/>
                    </a:lnTo>
                    <a:lnTo>
                      <a:pt x="132" y="50"/>
                    </a:lnTo>
                    <a:lnTo>
                      <a:pt x="132" y="49"/>
                    </a:lnTo>
                    <a:lnTo>
                      <a:pt x="131" y="48"/>
                    </a:lnTo>
                    <a:lnTo>
                      <a:pt x="131" y="47"/>
                    </a:lnTo>
                    <a:lnTo>
                      <a:pt x="131" y="46"/>
                    </a:lnTo>
                    <a:lnTo>
                      <a:pt x="130" y="45"/>
                    </a:lnTo>
                    <a:lnTo>
                      <a:pt x="130" y="44"/>
                    </a:lnTo>
                    <a:lnTo>
                      <a:pt x="130" y="43"/>
                    </a:lnTo>
                    <a:lnTo>
                      <a:pt x="129" y="42"/>
                    </a:lnTo>
                    <a:lnTo>
                      <a:pt x="129" y="41"/>
                    </a:lnTo>
                    <a:lnTo>
                      <a:pt x="128" y="40"/>
                    </a:lnTo>
                    <a:lnTo>
                      <a:pt x="128" y="39"/>
                    </a:lnTo>
                    <a:lnTo>
                      <a:pt x="128" y="38"/>
                    </a:lnTo>
                    <a:lnTo>
                      <a:pt x="127" y="37"/>
                    </a:lnTo>
                    <a:lnTo>
                      <a:pt x="127" y="36"/>
                    </a:lnTo>
                    <a:lnTo>
                      <a:pt x="126" y="35"/>
                    </a:lnTo>
                    <a:lnTo>
                      <a:pt x="125" y="34"/>
                    </a:lnTo>
                    <a:lnTo>
                      <a:pt x="125" y="33"/>
                    </a:lnTo>
                    <a:lnTo>
                      <a:pt x="124" y="32"/>
                    </a:lnTo>
                    <a:lnTo>
                      <a:pt x="124" y="31"/>
                    </a:lnTo>
                    <a:lnTo>
                      <a:pt x="123" y="30"/>
                    </a:lnTo>
                    <a:lnTo>
                      <a:pt x="122" y="29"/>
                    </a:lnTo>
                    <a:lnTo>
                      <a:pt x="122" y="28"/>
                    </a:lnTo>
                    <a:lnTo>
                      <a:pt x="121" y="27"/>
                    </a:lnTo>
                    <a:lnTo>
                      <a:pt x="120" y="26"/>
                    </a:lnTo>
                    <a:lnTo>
                      <a:pt x="119" y="25"/>
                    </a:lnTo>
                    <a:lnTo>
                      <a:pt x="119" y="24"/>
                    </a:lnTo>
                    <a:lnTo>
                      <a:pt x="118" y="23"/>
                    </a:lnTo>
                    <a:lnTo>
                      <a:pt x="117" y="22"/>
                    </a:lnTo>
                    <a:lnTo>
                      <a:pt x="116" y="21"/>
                    </a:lnTo>
                    <a:lnTo>
                      <a:pt x="115" y="20"/>
                    </a:lnTo>
                    <a:lnTo>
                      <a:pt x="114" y="19"/>
                    </a:lnTo>
                    <a:lnTo>
                      <a:pt x="113" y="18"/>
                    </a:lnTo>
                    <a:lnTo>
                      <a:pt x="112" y="17"/>
                    </a:lnTo>
                    <a:lnTo>
                      <a:pt x="111" y="16"/>
                    </a:lnTo>
                    <a:lnTo>
                      <a:pt x="110" y="16"/>
                    </a:lnTo>
                    <a:lnTo>
                      <a:pt x="109" y="15"/>
                    </a:lnTo>
                    <a:lnTo>
                      <a:pt x="108" y="14"/>
                    </a:lnTo>
                    <a:lnTo>
                      <a:pt x="107" y="13"/>
                    </a:lnTo>
                    <a:lnTo>
                      <a:pt x="106" y="12"/>
                    </a:lnTo>
                    <a:lnTo>
                      <a:pt x="105" y="12"/>
                    </a:lnTo>
                    <a:lnTo>
                      <a:pt x="104" y="11"/>
                    </a:lnTo>
                    <a:lnTo>
                      <a:pt x="103" y="10"/>
                    </a:lnTo>
                    <a:lnTo>
                      <a:pt x="102" y="10"/>
                    </a:lnTo>
                    <a:lnTo>
                      <a:pt x="101" y="9"/>
                    </a:lnTo>
                    <a:lnTo>
                      <a:pt x="100" y="9"/>
                    </a:lnTo>
                    <a:lnTo>
                      <a:pt x="99" y="8"/>
                    </a:lnTo>
                    <a:lnTo>
                      <a:pt x="98" y="8"/>
                    </a:lnTo>
                    <a:lnTo>
                      <a:pt x="97" y="7"/>
                    </a:lnTo>
                    <a:lnTo>
                      <a:pt x="96" y="7"/>
                    </a:lnTo>
                    <a:lnTo>
                      <a:pt x="95" y="6"/>
                    </a:lnTo>
                    <a:lnTo>
                      <a:pt x="94" y="6"/>
                    </a:lnTo>
                    <a:lnTo>
                      <a:pt x="93" y="5"/>
                    </a:lnTo>
                    <a:lnTo>
                      <a:pt x="92" y="5"/>
                    </a:lnTo>
                    <a:lnTo>
                      <a:pt x="91" y="4"/>
                    </a:lnTo>
                    <a:lnTo>
                      <a:pt x="90" y="4"/>
                    </a:lnTo>
                    <a:lnTo>
                      <a:pt x="89" y="4"/>
                    </a:lnTo>
                    <a:lnTo>
                      <a:pt x="88" y="3"/>
                    </a:lnTo>
                    <a:lnTo>
                      <a:pt x="87" y="3"/>
                    </a:lnTo>
                    <a:lnTo>
                      <a:pt x="86" y="3"/>
                    </a:lnTo>
                    <a:lnTo>
                      <a:pt x="85" y="2"/>
                    </a:lnTo>
                    <a:lnTo>
                      <a:pt x="84" y="2"/>
                    </a:lnTo>
                    <a:lnTo>
                      <a:pt x="83" y="2"/>
                    </a:lnTo>
                    <a:lnTo>
                      <a:pt x="82" y="2"/>
                    </a:lnTo>
                    <a:lnTo>
                      <a:pt x="81" y="1"/>
                    </a:lnTo>
                    <a:lnTo>
                      <a:pt x="80" y="1"/>
                    </a:lnTo>
                    <a:lnTo>
                      <a:pt x="79" y="1"/>
                    </a:lnTo>
                    <a:lnTo>
                      <a:pt x="78" y="1"/>
                    </a:lnTo>
                    <a:lnTo>
                      <a:pt x="77" y="1"/>
                    </a:lnTo>
                    <a:lnTo>
                      <a:pt x="76" y="1"/>
                    </a:lnTo>
                    <a:lnTo>
                      <a:pt x="75" y="0"/>
                    </a:lnTo>
                    <a:lnTo>
                      <a:pt x="74" y="0"/>
                    </a:lnTo>
                    <a:lnTo>
                      <a:pt x="73" y="0"/>
                    </a:lnTo>
                    <a:lnTo>
                      <a:pt x="72" y="0"/>
                    </a:lnTo>
                    <a:lnTo>
                      <a:pt x="71" y="0"/>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1"/>
                    </a:lnTo>
                    <a:lnTo>
                      <a:pt x="57" y="1"/>
                    </a:lnTo>
                    <a:lnTo>
                      <a:pt x="56" y="1"/>
                    </a:lnTo>
                    <a:lnTo>
                      <a:pt x="55" y="1"/>
                    </a:lnTo>
                    <a:lnTo>
                      <a:pt x="54" y="1"/>
                    </a:lnTo>
                    <a:lnTo>
                      <a:pt x="53" y="1"/>
                    </a:lnTo>
                    <a:lnTo>
                      <a:pt x="52" y="2"/>
                    </a:lnTo>
                    <a:lnTo>
                      <a:pt x="51" y="2"/>
                    </a:lnTo>
                    <a:lnTo>
                      <a:pt x="50" y="2"/>
                    </a:lnTo>
                    <a:lnTo>
                      <a:pt x="49" y="2"/>
                    </a:lnTo>
                    <a:lnTo>
                      <a:pt x="48" y="3"/>
                    </a:lnTo>
                    <a:lnTo>
                      <a:pt x="47" y="3"/>
                    </a:lnTo>
                    <a:lnTo>
                      <a:pt x="46" y="3"/>
                    </a:lnTo>
                    <a:lnTo>
                      <a:pt x="45" y="4"/>
                    </a:lnTo>
                    <a:lnTo>
                      <a:pt x="44" y="4"/>
                    </a:lnTo>
                    <a:lnTo>
                      <a:pt x="43" y="4"/>
                    </a:lnTo>
                    <a:lnTo>
                      <a:pt x="42" y="5"/>
                    </a:lnTo>
                    <a:lnTo>
                      <a:pt x="41" y="5"/>
                    </a:lnTo>
                    <a:lnTo>
                      <a:pt x="40" y="6"/>
                    </a:lnTo>
                    <a:lnTo>
                      <a:pt x="39" y="6"/>
                    </a:lnTo>
                    <a:lnTo>
                      <a:pt x="38" y="7"/>
                    </a:lnTo>
                    <a:lnTo>
                      <a:pt x="37" y="7"/>
                    </a:lnTo>
                    <a:lnTo>
                      <a:pt x="36" y="8"/>
                    </a:lnTo>
                    <a:lnTo>
                      <a:pt x="35" y="8"/>
                    </a:lnTo>
                    <a:lnTo>
                      <a:pt x="34" y="9"/>
                    </a:lnTo>
                    <a:lnTo>
                      <a:pt x="33" y="9"/>
                    </a:lnTo>
                    <a:lnTo>
                      <a:pt x="32" y="10"/>
                    </a:lnTo>
                    <a:lnTo>
                      <a:pt x="31" y="10"/>
                    </a:lnTo>
                    <a:lnTo>
                      <a:pt x="30" y="11"/>
                    </a:lnTo>
                    <a:lnTo>
                      <a:pt x="29" y="12"/>
                    </a:lnTo>
                    <a:lnTo>
                      <a:pt x="28" y="12"/>
                    </a:lnTo>
                    <a:lnTo>
                      <a:pt x="27" y="13"/>
                    </a:lnTo>
                    <a:lnTo>
                      <a:pt x="26" y="14"/>
                    </a:lnTo>
                    <a:lnTo>
                      <a:pt x="25" y="15"/>
                    </a:lnTo>
                    <a:lnTo>
                      <a:pt x="24" y="16"/>
                    </a:lnTo>
                    <a:lnTo>
                      <a:pt x="23" y="16"/>
                    </a:lnTo>
                    <a:lnTo>
                      <a:pt x="22" y="17"/>
                    </a:lnTo>
                    <a:lnTo>
                      <a:pt x="21" y="18"/>
                    </a:lnTo>
                    <a:lnTo>
                      <a:pt x="20" y="19"/>
                    </a:lnTo>
                    <a:lnTo>
                      <a:pt x="19" y="20"/>
                    </a:lnTo>
                    <a:lnTo>
                      <a:pt x="18" y="21"/>
                    </a:lnTo>
                    <a:lnTo>
                      <a:pt x="17" y="22"/>
                    </a:lnTo>
                    <a:lnTo>
                      <a:pt x="16" y="23"/>
                    </a:lnTo>
                    <a:lnTo>
                      <a:pt x="15" y="24"/>
                    </a:lnTo>
                    <a:lnTo>
                      <a:pt x="15" y="25"/>
                    </a:lnTo>
                    <a:lnTo>
                      <a:pt x="14" y="26"/>
                    </a:lnTo>
                    <a:lnTo>
                      <a:pt x="13" y="27"/>
                    </a:lnTo>
                    <a:lnTo>
                      <a:pt x="12" y="28"/>
                    </a:lnTo>
                    <a:lnTo>
                      <a:pt x="12" y="29"/>
                    </a:lnTo>
                    <a:lnTo>
                      <a:pt x="11" y="30"/>
                    </a:lnTo>
                    <a:lnTo>
                      <a:pt x="10" y="31"/>
                    </a:lnTo>
                    <a:lnTo>
                      <a:pt x="10" y="32"/>
                    </a:lnTo>
                    <a:lnTo>
                      <a:pt x="9" y="33"/>
                    </a:lnTo>
                    <a:lnTo>
                      <a:pt x="9" y="34"/>
                    </a:lnTo>
                    <a:lnTo>
                      <a:pt x="8" y="35"/>
                    </a:lnTo>
                    <a:lnTo>
                      <a:pt x="7" y="36"/>
                    </a:lnTo>
                    <a:lnTo>
                      <a:pt x="7" y="37"/>
                    </a:lnTo>
                    <a:lnTo>
                      <a:pt x="6" y="38"/>
                    </a:lnTo>
                    <a:lnTo>
                      <a:pt x="6" y="39"/>
                    </a:lnTo>
                    <a:lnTo>
                      <a:pt x="6" y="40"/>
                    </a:lnTo>
                    <a:lnTo>
                      <a:pt x="5" y="41"/>
                    </a:lnTo>
                    <a:lnTo>
                      <a:pt x="5" y="42"/>
                    </a:lnTo>
                    <a:lnTo>
                      <a:pt x="4" y="43"/>
                    </a:lnTo>
                    <a:lnTo>
                      <a:pt x="4" y="44"/>
                    </a:lnTo>
                    <a:lnTo>
                      <a:pt x="4" y="45"/>
                    </a:lnTo>
                    <a:lnTo>
                      <a:pt x="3" y="46"/>
                    </a:lnTo>
                    <a:lnTo>
                      <a:pt x="3" y="47"/>
                    </a:lnTo>
                    <a:lnTo>
                      <a:pt x="3" y="48"/>
                    </a:lnTo>
                    <a:lnTo>
                      <a:pt x="2" y="49"/>
                    </a:lnTo>
                    <a:lnTo>
                      <a:pt x="2" y="50"/>
                    </a:lnTo>
                    <a:lnTo>
                      <a:pt x="2" y="51"/>
                    </a:lnTo>
                    <a:lnTo>
                      <a:pt x="2" y="52"/>
                    </a:lnTo>
                    <a:lnTo>
                      <a:pt x="1" y="53"/>
                    </a:lnTo>
                    <a:lnTo>
                      <a:pt x="1" y="54"/>
                    </a:lnTo>
                    <a:lnTo>
                      <a:pt x="1" y="55"/>
                    </a:lnTo>
                    <a:lnTo>
                      <a:pt x="1" y="56"/>
                    </a:lnTo>
                    <a:lnTo>
                      <a:pt x="1" y="57"/>
                    </a:lnTo>
                    <a:lnTo>
                      <a:pt x="1"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0" y="71"/>
                    </a:lnTo>
                    <a:lnTo>
                      <a:pt x="0" y="72"/>
                    </a:lnTo>
                    <a:lnTo>
                      <a:pt x="0" y="73"/>
                    </a:lnTo>
                    <a:lnTo>
                      <a:pt x="0" y="74"/>
                    </a:lnTo>
                    <a:lnTo>
                      <a:pt x="1" y="75"/>
                    </a:lnTo>
                    <a:lnTo>
                      <a:pt x="1" y="76"/>
                    </a:lnTo>
                    <a:lnTo>
                      <a:pt x="1" y="77"/>
                    </a:lnTo>
                    <a:lnTo>
                      <a:pt x="1" y="78"/>
                    </a:lnTo>
                    <a:lnTo>
                      <a:pt x="1" y="79"/>
                    </a:lnTo>
                    <a:lnTo>
                      <a:pt x="1" y="80"/>
                    </a:lnTo>
                    <a:lnTo>
                      <a:pt x="2" y="81"/>
                    </a:lnTo>
                    <a:lnTo>
                      <a:pt x="2" y="82"/>
                    </a:lnTo>
                    <a:lnTo>
                      <a:pt x="2" y="83"/>
                    </a:lnTo>
                    <a:lnTo>
                      <a:pt x="2" y="84"/>
                    </a:lnTo>
                    <a:lnTo>
                      <a:pt x="3" y="85"/>
                    </a:lnTo>
                    <a:lnTo>
                      <a:pt x="3" y="86"/>
                    </a:lnTo>
                    <a:lnTo>
                      <a:pt x="3" y="87"/>
                    </a:lnTo>
                    <a:lnTo>
                      <a:pt x="4" y="88"/>
                    </a:lnTo>
                    <a:lnTo>
                      <a:pt x="4" y="89"/>
                    </a:lnTo>
                    <a:lnTo>
                      <a:pt x="4" y="90"/>
                    </a:lnTo>
                    <a:lnTo>
                      <a:pt x="5" y="91"/>
                    </a:lnTo>
                    <a:lnTo>
                      <a:pt x="5" y="92"/>
                    </a:lnTo>
                    <a:lnTo>
                      <a:pt x="6" y="93"/>
                    </a:lnTo>
                    <a:lnTo>
                      <a:pt x="6" y="94"/>
                    </a:lnTo>
                    <a:lnTo>
                      <a:pt x="6" y="95"/>
                    </a:lnTo>
                    <a:lnTo>
                      <a:pt x="7" y="96"/>
                    </a:lnTo>
                    <a:lnTo>
                      <a:pt x="7" y="97"/>
                    </a:lnTo>
                    <a:lnTo>
                      <a:pt x="8" y="98"/>
                    </a:lnTo>
                    <a:lnTo>
                      <a:pt x="9" y="99"/>
                    </a:lnTo>
                    <a:lnTo>
                      <a:pt x="9" y="100"/>
                    </a:lnTo>
                    <a:lnTo>
                      <a:pt x="10" y="101"/>
                    </a:lnTo>
                    <a:lnTo>
                      <a:pt x="10" y="102"/>
                    </a:lnTo>
                    <a:lnTo>
                      <a:pt x="11" y="103"/>
                    </a:lnTo>
                    <a:lnTo>
                      <a:pt x="12" y="104"/>
                    </a:lnTo>
                    <a:lnTo>
                      <a:pt x="12" y="105"/>
                    </a:lnTo>
                    <a:lnTo>
                      <a:pt x="13" y="106"/>
                    </a:lnTo>
                    <a:lnTo>
                      <a:pt x="14" y="107"/>
                    </a:lnTo>
                    <a:lnTo>
                      <a:pt x="15" y="108"/>
                    </a:lnTo>
                    <a:lnTo>
                      <a:pt x="15" y="109"/>
                    </a:lnTo>
                    <a:lnTo>
                      <a:pt x="16" y="110"/>
                    </a:lnTo>
                    <a:lnTo>
                      <a:pt x="17" y="111"/>
                    </a:lnTo>
                    <a:lnTo>
                      <a:pt x="18" y="112"/>
                    </a:lnTo>
                    <a:lnTo>
                      <a:pt x="19" y="113"/>
                    </a:lnTo>
                    <a:lnTo>
                      <a:pt x="20" y="114"/>
                    </a:lnTo>
                    <a:lnTo>
                      <a:pt x="21" y="115"/>
                    </a:lnTo>
                    <a:lnTo>
                      <a:pt x="22" y="116"/>
                    </a:lnTo>
                    <a:lnTo>
                      <a:pt x="23" y="117"/>
                    </a:lnTo>
                    <a:lnTo>
                      <a:pt x="24" y="117"/>
                    </a:lnTo>
                    <a:lnTo>
                      <a:pt x="25" y="118"/>
                    </a:lnTo>
                    <a:lnTo>
                      <a:pt x="26" y="119"/>
                    </a:lnTo>
                    <a:lnTo>
                      <a:pt x="27" y="120"/>
                    </a:lnTo>
                    <a:lnTo>
                      <a:pt x="28" y="121"/>
                    </a:lnTo>
                    <a:lnTo>
                      <a:pt x="29" y="121"/>
                    </a:lnTo>
                    <a:lnTo>
                      <a:pt x="30" y="122"/>
                    </a:lnTo>
                    <a:lnTo>
                      <a:pt x="31" y="123"/>
                    </a:lnTo>
                    <a:lnTo>
                      <a:pt x="32" y="123"/>
                    </a:lnTo>
                    <a:lnTo>
                      <a:pt x="33" y="124"/>
                    </a:lnTo>
                    <a:lnTo>
                      <a:pt x="34" y="124"/>
                    </a:lnTo>
                    <a:lnTo>
                      <a:pt x="35" y="125"/>
                    </a:lnTo>
                    <a:lnTo>
                      <a:pt x="36" y="125"/>
                    </a:lnTo>
                    <a:lnTo>
                      <a:pt x="37" y="126"/>
                    </a:lnTo>
                    <a:lnTo>
                      <a:pt x="38" y="126"/>
                    </a:lnTo>
                    <a:lnTo>
                      <a:pt x="39" y="127"/>
                    </a:lnTo>
                    <a:lnTo>
                      <a:pt x="40" y="127"/>
                    </a:lnTo>
                    <a:lnTo>
                      <a:pt x="41" y="128"/>
                    </a:lnTo>
                    <a:lnTo>
                      <a:pt x="42" y="128"/>
                    </a:lnTo>
                    <a:lnTo>
                      <a:pt x="43" y="129"/>
                    </a:lnTo>
                    <a:lnTo>
                      <a:pt x="44" y="129"/>
                    </a:lnTo>
                    <a:lnTo>
                      <a:pt x="45" y="129"/>
                    </a:lnTo>
                    <a:lnTo>
                      <a:pt x="46" y="130"/>
                    </a:lnTo>
                    <a:lnTo>
                      <a:pt x="47" y="130"/>
                    </a:lnTo>
                    <a:lnTo>
                      <a:pt x="48" y="130"/>
                    </a:lnTo>
                    <a:lnTo>
                      <a:pt x="49" y="131"/>
                    </a:lnTo>
                    <a:lnTo>
                      <a:pt x="50" y="131"/>
                    </a:lnTo>
                    <a:lnTo>
                      <a:pt x="51" y="131"/>
                    </a:lnTo>
                    <a:lnTo>
                      <a:pt x="52" y="131"/>
                    </a:lnTo>
                    <a:lnTo>
                      <a:pt x="53" y="132"/>
                    </a:lnTo>
                    <a:lnTo>
                      <a:pt x="54" y="132"/>
                    </a:lnTo>
                    <a:lnTo>
                      <a:pt x="55" y="132"/>
                    </a:lnTo>
                    <a:lnTo>
                      <a:pt x="56" y="132"/>
                    </a:lnTo>
                    <a:lnTo>
                      <a:pt x="57" y="132"/>
                    </a:lnTo>
                    <a:lnTo>
                      <a:pt x="58" y="132"/>
                    </a:lnTo>
                    <a:lnTo>
                      <a:pt x="59" y="133"/>
                    </a:lnTo>
                    <a:lnTo>
                      <a:pt x="60" y="133"/>
                    </a:lnTo>
                    <a:lnTo>
                      <a:pt x="61" y="133"/>
                    </a:lnTo>
                    <a:lnTo>
                      <a:pt x="62" y="133"/>
                    </a:lnTo>
                    <a:lnTo>
                      <a:pt x="63" y="133"/>
                    </a:lnTo>
                    <a:lnTo>
                      <a:pt x="64" y="133"/>
                    </a:lnTo>
                    <a:lnTo>
                      <a:pt x="65" y="133"/>
                    </a:lnTo>
                    <a:lnTo>
                      <a:pt x="66" y="133"/>
                    </a:lnTo>
                    <a:lnTo>
                      <a:pt x="67" y="133"/>
                    </a:lnTo>
                    <a:lnTo>
                      <a:pt x="68" y="133"/>
                    </a:lnTo>
                    <a:lnTo>
                      <a:pt x="69" y="133"/>
                    </a:lnTo>
                    <a:lnTo>
                      <a:pt x="70" y="133"/>
                    </a:lnTo>
                    <a:lnTo>
                      <a:pt x="71" y="133"/>
                    </a:lnTo>
                    <a:lnTo>
                      <a:pt x="72" y="133"/>
                    </a:lnTo>
                    <a:lnTo>
                      <a:pt x="73" y="133"/>
                    </a:lnTo>
                    <a:lnTo>
                      <a:pt x="74" y="133"/>
                    </a:lnTo>
                    <a:lnTo>
                      <a:pt x="75" y="133"/>
                    </a:lnTo>
                    <a:lnTo>
                      <a:pt x="76" y="132"/>
                    </a:lnTo>
                    <a:lnTo>
                      <a:pt x="77" y="132"/>
                    </a:lnTo>
                    <a:lnTo>
                      <a:pt x="78" y="132"/>
                    </a:lnTo>
                    <a:lnTo>
                      <a:pt x="79" y="132"/>
                    </a:lnTo>
                    <a:lnTo>
                      <a:pt x="80" y="132"/>
                    </a:lnTo>
                    <a:lnTo>
                      <a:pt x="81" y="132"/>
                    </a:lnTo>
                    <a:lnTo>
                      <a:pt x="82" y="131"/>
                    </a:lnTo>
                    <a:lnTo>
                      <a:pt x="83" y="131"/>
                    </a:lnTo>
                    <a:lnTo>
                      <a:pt x="84" y="131"/>
                    </a:lnTo>
                    <a:lnTo>
                      <a:pt x="85" y="131"/>
                    </a:lnTo>
                    <a:lnTo>
                      <a:pt x="86" y="130"/>
                    </a:lnTo>
                    <a:lnTo>
                      <a:pt x="87" y="130"/>
                    </a:lnTo>
                    <a:lnTo>
                      <a:pt x="88" y="130"/>
                    </a:lnTo>
                    <a:lnTo>
                      <a:pt x="89" y="129"/>
                    </a:lnTo>
                    <a:lnTo>
                      <a:pt x="90" y="129"/>
                    </a:lnTo>
                    <a:lnTo>
                      <a:pt x="91" y="129"/>
                    </a:lnTo>
                    <a:lnTo>
                      <a:pt x="92" y="128"/>
                    </a:lnTo>
                    <a:lnTo>
                      <a:pt x="93" y="128"/>
                    </a:lnTo>
                    <a:lnTo>
                      <a:pt x="94" y="127"/>
                    </a:lnTo>
                    <a:lnTo>
                      <a:pt x="95" y="127"/>
                    </a:lnTo>
                    <a:lnTo>
                      <a:pt x="96" y="126"/>
                    </a:lnTo>
                    <a:lnTo>
                      <a:pt x="97" y="126"/>
                    </a:lnTo>
                    <a:lnTo>
                      <a:pt x="98" y="125"/>
                    </a:lnTo>
                    <a:lnTo>
                      <a:pt x="99" y="125"/>
                    </a:lnTo>
                    <a:lnTo>
                      <a:pt x="100" y="124"/>
                    </a:lnTo>
                    <a:lnTo>
                      <a:pt x="101" y="124"/>
                    </a:lnTo>
                    <a:lnTo>
                      <a:pt x="102" y="123"/>
                    </a:lnTo>
                    <a:lnTo>
                      <a:pt x="103" y="123"/>
                    </a:lnTo>
                    <a:lnTo>
                      <a:pt x="104" y="122"/>
                    </a:lnTo>
                    <a:lnTo>
                      <a:pt x="105" y="121"/>
                    </a:lnTo>
                    <a:lnTo>
                      <a:pt x="106" y="121"/>
                    </a:lnTo>
                    <a:lnTo>
                      <a:pt x="107" y="120"/>
                    </a:lnTo>
                    <a:lnTo>
                      <a:pt x="108" y="119"/>
                    </a:lnTo>
                    <a:lnTo>
                      <a:pt x="109" y="118"/>
                    </a:lnTo>
                    <a:lnTo>
                      <a:pt x="110" y="117"/>
                    </a:lnTo>
                    <a:lnTo>
                      <a:pt x="111" y="117"/>
                    </a:lnTo>
                    <a:lnTo>
                      <a:pt x="112" y="116"/>
                    </a:lnTo>
                    <a:lnTo>
                      <a:pt x="113" y="115"/>
                    </a:lnTo>
                    <a:lnTo>
                      <a:pt x="114" y="114"/>
                    </a:lnTo>
                    <a:lnTo>
                      <a:pt x="115" y="113"/>
                    </a:lnTo>
                    <a:lnTo>
                      <a:pt x="116" y="112"/>
                    </a:lnTo>
                    <a:lnTo>
                      <a:pt x="117" y="111"/>
                    </a:lnTo>
                    <a:lnTo>
                      <a:pt x="118" y="110"/>
                    </a:lnTo>
                    <a:lnTo>
                      <a:pt x="119" y="109"/>
                    </a:lnTo>
                    <a:lnTo>
                      <a:pt x="119" y="108"/>
                    </a:lnTo>
                    <a:lnTo>
                      <a:pt x="120" y="107"/>
                    </a:lnTo>
                    <a:lnTo>
                      <a:pt x="121" y="106"/>
                    </a:lnTo>
                    <a:lnTo>
                      <a:pt x="122" y="105"/>
                    </a:lnTo>
                    <a:lnTo>
                      <a:pt x="122" y="104"/>
                    </a:lnTo>
                    <a:lnTo>
                      <a:pt x="123" y="103"/>
                    </a:lnTo>
                    <a:lnTo>
                      <a:pt x="124" y="102"/>
                    </a:lnTo>
                    <a:lnTo>
                      <a:pt x="124" y="101"/>
                    </a:lnTo>
                    <a:lnTo>
                      <a:pt x="125" y="100"/>
                    </a:lnTo>
                    <a:lnTo>
                      <a:pt x="125" y="99"/>
                    </a:lnTo>
                    <a:lnTo>
                      <a:pt x="126" y="98"/>
                    </a:lnTo>
                    <a:lnTo>
                      <a:pt x="127" y="97"/>
                    </a:lnTo>
                    <a:lnTo>
                      <a:pt x="127" y="96"/>
                    </a:lnTo>
                    <a:lnTo>
                      <a:pt x="128" y="95"/>
                    </a:lnTo>
                    <a:lnTo>
                      <a:pt x="128" y="94"/>
                    </a:lnTo>
                    <a:lnTo>
                      <a:pt x="128" y="93"/>
                    </a:lnTo>
                    <a:lnTo>
                      <a:pt x="129" y="92"/>
                    </a:lnTo>
                    <a:lnTo>
                      <a:pt x="129" y="91"/>
                    </a:lnTo>
                    <a:lnTo>
                      <a:pt x="130" y="90"/>
                    </a:lnTo>
                    <a:lnTo>
                      <a:pt x="130" y="89"/>
                    </a:lnTo>
                    <a:lnTo>
                      <a:pt x="130" y="88"/>
                    </a:lnTo>
                    <a:lnTo>
                      <a:pt x="131" y="87"/>
                    </a:lnTo>
                    <a:lnTo>
                      <a:pt x="131" y="86"/>
                    </a:lnTo>
                    <a:lnTo>
                      <a:pt x="131" y="85"/>
                    </a:lnTo>
                    <a:lnTo>
                      <a:pt x="132" y="84"/>
                    </a:lnTo>
                    <a:lnTo>
                      <a:pt x="132" y="83"/>
                    </a:lnTo>
                    <a:lnTo>
                      <a:pt x="132" y="82"/>
                    </a:lnTo>
                    <a:lnTo>
                      <a:pt x="132" y="81"/>
                    </a:lnTo>
                    <a:lnTo>
                      <a:pt x="133" y="80"/>
                    </a:lnTo>
                    <a:lnTo>
                      <a:pt x="133" y="79"/>
                    </a:lnTo>
                    <a:lnTo>
                      <a:pt x="133" y="78"/>
                    </a:lnTo>
                    <a:lnTo>
                      <a:pt x="133" y="77"/>
                    </a:lnTo>
                    <a:lnTo>
                      <a:pt x="133" y="76"/>
                    </a:lnTo>
                    <a:lnTo>
                      <a:pt x="133" y="75"/>
                    </a:lnTo>
                    <a:lnTo>
                      <a:pt x="134" y="74"/>
                    </a:lnTo>
                    <a:lnTo>
                      <a:pt x="134" y="73"/>
                    </a:lnTo>
                    <a:lnTo>
                      <a:pt x="134" y="72"/>
                    </a:lnTo>
                    <a:lnTo>
                      <a:pt x="134" y="71"/>
                    </a:lnTo>
                    <a:lnTo>
                      <a:pt x="134" y="70"/>
                    </a:lnTo>
                    <a:lnTo>
                      <a:pt x="134" y="69"/>
                    </a:lnTo>
                    <a:lnTo>
                      <a:pt x="134" y="68"/>
                    </a:lnTo>
                    <a:lnTo>
                      <a:pt x="134" y="67"/>
                    </a:lnTo>
                    <a:close/>
                  </a:path>
                </a:pathLst>
              </a:custGeom>
              <a:solidFill>
                <a:srgbClr val="289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16" name="Freeform 297"/>
              <p:cNvSpPr>
                <a:spLocks/>
              </p:cNvSpPr>
              <p:nvPr/>
            </p:nvSpPr>
            <p:spPr bwMode="auto">
              <a:xfrm>
                <a:off x="3928" y="667"/>
                <a:ext cx="211" cy="211"/>
              </a:xfrm>
              <a:custGeom>
                <a:avLst/>
                <a:gdLst>
                  <a:gd name="T0" fmla="*/ 133 w 133"/>
                  <a:gd name="T1" fmla="*/ 62 h 133"/>
                  <a:gd name="T2" fmla="*/ 132 w 133"/>
                  <a:gd name="T3" fmla="*/ 56 h 133"/>
                  <a:gd name="T4" fmla="*/ 131 w 133"/>
                  <a:gd name="T5" fmla="*/ 50 h 133"/>
                  <a:gd name="T6" fmla="*/ 129 w 133"/>
                  <a:gd name="T7" fmla="*/ 44 h 133"/>
                  <a:gd name="T8" fmla="*/ 127 w 133"/>
                  <a:gd name="T9" fmla="*/ 38 h 133"/>
                  <a:gd name="T10" fmla="*/ 123 w 133"/>
                  <a:gd name="T11" fmla="*/ 32 h 133"/>
                  <a:gd name="T12" fmla="*/ 119 w 133"/>
                  <a:gd name="T13" fmla="*/ 26 h 133"/>
                  <a:gd name="T14" fmla="*/ 114 w 133"/>
                  <a:gd name="T15" fmla="*/ 20 h 133"/>
                  <a:gd name="T16" fmla="*/ 108 w 133"/>
                  <a:gd name="T17" fmla="*/ 15 h 133"/>
                  <a:gd name="T18" fmla="*/ 102 w 133"/>
                  <a:gd name="T19" fmla="*/ 10 h 133"/>
                  <a:gd name="T20" fmla="*/ 96 w 133"/>
                  <a:gd name="T21" fmla="*/ 7 h 133"/>
                  <a:gd name="T22" fmla="*/ 90 w 133"/>
                  <a:gd name="T23" fmla="*/ 4 h 133"/>
                  <a:gd name="T24" fmla="*/ 84 w 133"/>
                  <a:gd name="T25" fmla="*/ 2 h 133"/>
                  <a:gd name="T26" fmla="*/ 78 w 133"/>
                  <a:gd name="T27" fmla="*/ 1 h 133"/>
                  <a:gd name="T28" fmla="*/ 72 w 133"/>
                  <a:gd name="T29" fmla="*/ 0 h 133"/>
                  <a:gd name="T30" fmla="*/ 66 w 133"/>
                  <a:gd name="T31" fmla="*/ 0 h 133"/>
                  <a:gd name="T32" fmla="*/ 60 w 133"/>
                  <a:gd name="T33" fmla="*/ 0 h 133"/>
                  <a:gd name="T34" fmla="*/ 54 w 133"/>
                  <a:gd name="T35" fmla="*/ 1 h 133"/>
                  <a:gd name="T36" fmla="*/ 48 w 133"/>
                  <a:gd name="T37" fmla="*/ 3 h 133"/>
                  <a:gd name="T38" fmla="*/ 42 w 133"/>
                  <a:gd name="T39" fmla="*/ 5 h 133"/>
                  <a:gd name="T40" fmla="*/ 36 w 133"/>
                  <a:gd name="T41" fmla="*/ 7 h 133"/>
                  <a:gd name="T42" fmla="*/ 30 w 133"/>
                  <a:gd name="T43" fmla="*/ 11 h 133"/>
                  <a:gd name="T44" fmla="*/ 24 w 133"/>
                  <a:gd name="T45" fmla="*/ 15 h 133"/>
                  <a:gd name="T46" fmla="*/ 18 w 133"/>
                  <a:gd name="T47" fmla="*/ 21 h 133"/>
                  <a:gd name="T48" fmla="*/ 13 w 133"/>
                  <a:gd name="T49" fmla="*/ 27 h 133"/>
                  <a:gd name="T50" fmla="*/ 9 w 133"/>
                  <a:gd name="T51" fmla="*/ 33 h 133"/>
                  <a:gd name="T52" fmla="*/ 6 w 133"/>
                  <a:gd name="T53" fmla="*/ 39 h 133"/>
                  <a:gd name="T54" fmla="*/ 4 w 133"/>
                  <a:gd name="T55" fmla="*/ 45 h 133"/>
                  <a:gd name="T56" fmla="*/ 2 w 133"/>
                  <a:gd name="T57" fmla="*/ 51 h 133"/>
                  <a:gd name="T58" fmla="*/ 1 w 133"/>
                  <a:gd name="T59" fmla="*/ 57 h 133"/>
                  <a:gd name="T60" fmla="*/ 0 w 133"/>
                  <a:gd name="T61" fmla="*/ 63 h 133"/>
                  <a:gd name="T62" fmla="*/ 0 w 133"/>
                  <a:gd name="T63" fmla="*/ 69 h 133"/>
                  <a:gd name="T64" fmla="*/ 1 w 133"/>
                  <a:gd name="T65" fmla="*/ 75 h 133"/>
                  <a:gd name="T66" fmla="*/ 2 w 133"/>
                  <a:gd name="T67" fmla="*/ 81 h 133"/>
                  <a:gd name="T68" fmla="*/ 3 w 133"/>
                  <a:gd name="T69" fmla="*/ 87 h 133"/>
                  <a:gd name="T70" fmla="*/ 6 w 133"/>
                  <a:gd name="T71" fmla="*/ 93 h 133"/>
                  <a:gd name="T72" fmla="*/ 8 w 133"/>
                  <a:gd name="T73" fmla="*/ 99 h 133"/>
                  <a:gd name="T74" fmla="*/ 12 w 133"/>
                  <a:gd name="T75" fmla="*/ 105 h 133"/>
                  <a:gd name="T76" fmla="*/ 17 w 133"/>
                  <a:gd name="T77" fmla="*/ 111 h 133"/>
                  <a:gd name="T78" fmla="*/ 23 w 133"/>
                  <a:gd name="T79" fmla="*/ 117 h 133"/>
                  <a:gd name="T80" fmla="*/ 29 w 133"/>
                  <a:gd name="T81" fmla="*/ 121 h 133"/>
                  <a:gd name="T82" fmla="*/ 35 w 133"/>
                  <a:gd name="T83" fmla="*/ 125 h 133"/>
                  <a:gd name="T84" fmla="*/ 41 w 133"/>
                  <a:gd name="T85" fmla="*/ 128 h 133"/>
                  <a:gd name="T86" fmla="*/ 47 w 133"/>
                  <a:gd name="T87" fmla="*/ 130 h 133"/>
                  <a:gd name="T88" fmla="*/ 53 w 133"/>
                  <a:gd name="T89" fmla="*/ 132 h 133"/>
                  <a:gd name="T90" fmla="*/ 59 w 133"/>
                  <a:gd name="T91" fmla="*/ 133 h 133"/>
                  <a:gd name="T92" fmla="*/ 65 w 133"/>
                  <a:gd name="T93" fmla="*/ 133 h 133"/>
                  <a:gd name="T94" fmla="*/ 71 w 133"/>
                  <a:gd name="T95" fmla="*/ 133 h 133"/>
                  <a:gd name="T96" fmla="*/ 77 w 133"/>
                  <a:gd name="T97" fmla="*/ 132 h 133"/>
                  <a:gd name="T98" fmla="*/ 83 w 133"/>
                  <a:gd name="T99" fmla="*/ 131 h 133"/>
                  <a:gd name="T100" fmla="*/ 89 w 133"/>
                  <a:gd name="T101" fmla="*/ 129 h 133"/>
                  <a:gd name="T102" fmla="*/ 95 w 133"/>
                  <a:gd name="T103" fmla="*/ 127 h 133"/>
                  <a:gd name="T104" fmla="*/ 101 w 133"/>
                  <a:gd name="T105" fmla="*/ 123 h 133"/>
                  <a:gd name="T106" fmla="*/ 107 w 133"/>
                  <a:gd name="T107" fmla="*/ 119 h 133"/>
                  <a:gd name="T108" fmla="*/ 113 w 133"/>
                  <a:gd name="T109" fmla="*/ 114 h 133"/>
                  <a:gd name="T110" fmla="*/ 118 w 133"/>
                  <a:gd name="T111" fmla="*/ 108 h 133"/>
                  <a:gd name="T112" fmla="*/ 123 w 133"/>
                  <a:gd name="T113" fmla="*/ 102 h 133"/>
                  <a:gd name="T114" fmla="*/ 126 w 133"/>
                  <a:gd name="T115" fmla="*/ 96 h 133"/>
                  <a:gd name="T116" fmla="*/ 129 w 133"/>
                  <a:gd name="T117" fmla="*/ 90 h 133"/>
                  <a:gd name="T118" fmla="*/ 131 w 133"/>
                  <a:gd name="T119" fmla="*/ 84 h 133"/>
                  <a:gd name="T120" fmla="*/ 132 w 133"/>
                  <a:gd name="T121" fmla="*/ 78 h 133"/>
                  <a:gd name="T122" fmla="*/ 133 w 133"/>
                  <a:gd name="T123" fmla="*/ 7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133">
                    <a:moveTo>
                      <a:pt x="133" y="67"/>
                    </a:moveTo>
                    <a:lnTo>
                      <a:pt x="133" y="66"/>
                    </a:lnTo>
                    <a:lnTo>
                      <a:pt x="133" y="65"/>
                    </a:lnTo>
                    <a:lnTo>
                      <a:pt x="133" y="64"/>
                    </a:lnTo>
                    <a:lnTo>
                      <a:pt x="133" y="63"/>
                    </a:lnTo>
                    <a:lnTo>
                      <a:pt x="133" y="62"/>
                    </a:lnTo>
                    <a:lnTo>
                      <a:pt x="133" y="61"/>
                    </a:lnTo>
                    <a:lnTo>
                      <a:pt x="133" y="60"/>
                    </a:lnTo>
                    <a:lnTo>
                      <a:pt x="133" y="59"/>
                    </a:lnTo>
                    <a:lnTo>
                      <a:pt x="132" y="58"/>
                    </a:lnTo>
                    <a:lnTo>
                      <a:pt x="132" y="57"/>
                    </a:lnTo>
                    <a:lnTo>
                      <a:pt x="132" y="56"/>
                    </a:lnTo>
                    <a:lnTo>
                      <a:pt x="132" y="55"/>
                    </a:lnTo>
                    <a:lnTo>
                      <a:pt x="132" y="54"/>
                    </a:lnTo>
                    <a:lnTo>
                      <a:pt x="132" y="53"/>
                    </a:lnTo>
                    <a:lnTo>
                      <a:pt x="131" y="52"/>
                    </a:lnTo>
                    <a:lnTo>
                      <a:pt x="131" y="51"/>
                    </a:lnTo>
                    <a:lnTo>
                      <a:pt x="131" y="50"/>
                    </a:lnTo>
                    <a:lnTo>
                      <a:pt x="131" y="49"/>
                    </a:lnTo>
                    <a:lnTo>
                      <a:pt x="130" y="48"/>
                    </a:lnTo>
                    <a:lnTo>
                      <a:pt x="130" y="47"/>
                    </a:lnTo>
                    <a:lnTo>
                      <a:pt x="130" y="46"/>
                    </a:lnTo>
                    <a:lnTo>
                      <a:pt x="129" y="45"/>
                    </a:lnTo>
                    <a:lnTo>
                      <a:pt x="129" y="44"/>
                    </a:lnTo>
                    <a:lnTo>
                      <a:pt x="129" y="43"/>
                    </a:lnTo>
                    <a:lnTo>
                      <a:pt x="128" y="42"/>
                    </a:lnTo>
                    <a:lnTo>
                      <a:pt x="128" y="41"/>
                    </a:lnTo>
                    <a:lnTo>
                      <a:pt x="127" y="40"/>
                    </a:lnTo>
                    <a:lnTo>
                      <a:pt x="127" y="39"/>
                    </a:lnTo>
                    <a:lnTo>
                      <a:pt x="127" y="38"/>
                    </a:lnTo>
                    <a:lnTo>
                      <a:pt x="126" y="37"/>
                    </a:lnTo>
                    <a:lnTo>
                      <a:pt x="126" y="36"/>
                    </a:lnTo>
                    <a:lnTo>
                      <a:pt x="125" y="35"/>
                    </a:lnTo>
                    <a:lnTo>
                      <a:pt x="125" y="34"/>
                    </a:lnTo>
                    <a:lnTo>
                      <a:pt x="124" y="33"/>
                    </a:lnTo>
                    <a:lnTo>
                      <a:pt x="123" y="32"/>
                    </a:lnTo>
                    <a:lnTo>
                      <a:pt x="123" y="31"/>
                    </a:lnTo>
                    <a:lnTo>
                      <a:pt x="122" y="30"/>
                    </a:lnTo>
                    <a:lnTo>
                      <a:pt x="121" y="29"/>
                    </a:lnTo>
                    <a:lnTo>
                      <a:pt x="121" y="28"/>
                    </a:lnTo>
                    <a:lnTo>
                      <a:pt x="120" y="27"/>
                    </a:lnTo>
                    <a:lnTo>
                      <a:pt x="119" y="26"/>
                    </a:lnTo>
                    <a:lnTo>
                      <a:pt x="118" y="25"/>
                    </a:lnTo>
                    <a:lnTo>
                      <a:pt x="118" y="24"/>
                    </a:lnTo>
                    <a:lnTo>
                      <a:pt x="117" y="23"/>
                    </a:lnTo>
                    <a:lnTo>
                      <a:pt x="116" y="22"/>
                    </a:lnTo>
                    <a:lnTo>
                      <a:pt x="115" y="21"/>
                    </a:lnTo>
                    <a:lnTo>
                      <a:pt x="114" y="20"/>
                    </a:lnTo>
                    <a:lnTo>
                      <a:pt x="113" y="19"/>
                    </a:lnTo>
                    <a:lnTo>
                      <a:pt x="112" y="18"/>
                    </a:lnTo>
                    <a:lnTo>
                      <a:pt x="111" y="17"/>
                    </a:lnTo>
                    <a:lnTo>
                      <a:pt x="110" y="16"/>
                    </a:lnTo>
                    <a:lnTo>
                      <a:pt x="109" y="15"/>
                    </a:lnTo>
                    <a:lnTo>
                      <a:pt x="108" y="15"/>
                    </a:lnTo>
                    <a:lnTo>
                      <a:pt x="107" y="14"/>
                    </a:lnTo>
                    <a:lnTo>
                      <a:pt x="106" y="13"/>
                    </a:lnTo>
                    <a:lnTo>
                      <a:pt x="105" y="12"/>
                    </a:lnTo>
                    <a:lnTo>
                      <a:pt x="104" y="12"/>
                    </a:lnTo>
                    <a:lnTo>
                      <a:pt x="103" y="11"/>
                    </a:lnTo>
                    <a:lnTo>
                      <a:pt x="102" y="10"/>
                    </a:lnTo>
                    <a:lnTo>
                      <a:pt x="101" y="10"/>
                    </a:lnTo>
                    <a:lnTo>
                      <a:pt x="100" y="9"/>
                    </a:lnTo>
                    <a:lnTo>
                      <a:pt x="99" y="8"/>
                    </a:lnTo>
                    <a:lnTo>
                      <a:pt x="98" y="8"/>
                    </a:lnTo>
                    <a:lnTo>
                      <a:pt x="97" y="7"/>
                    </a:lnTo>
                    <a:lnTo>
                      <a:pt x="96" y="7"/>
                    </a:lnTo>
                    <a:lnTo>
                      <a:pt x="95" y="6"/>
                    </a:lnTo>
                    <a:lnTo>
                      <a:pt x="94" y="6"/>
                    </a:lnTo>
                    <a:lnTo>
                      <a:pt x="93" y="6"/>
                    </a:lnTo>
                    <a:lnTo>
                      <a:pt x="92" y="5"/>
                    </a:lnTo>
                    <a:lnTo>
                      <a:pt x="91" y="5"/>
                    </a:lnTo>
                    <a:lnTo>
                      <a:pt x="90" y="4"/>
                    </a:lnTo>
                    <a:lnTo>
                      <a:pt x="89" y="4"/>
                    </a:lnTo>
                    <a:lnTo>
                      <a:pt x="88" y="4"/>
                    </a:lnTo>
                    <a:lnTo>
                      <a:pt x="87" y="3"/>
                    </a:lnTo>
                    <a:lnTo>
                      <a:pt x="86" y="3"/>
                    </a:lnTo>
                    <a:lnTo>
                      <a:pt x="85" y="3"/>
                    </a:lnTo>
                    <a:lnTo>
                      <a:pt x="84" y="2"/>
                    </a:lnTo>
                    <a:lnTo>
                      <a:pt x="83" y="2"/>
                    </a:lnTo>
                    <a:lnTo>
                      <a:pt x="82" y="2"/>
                    </a:lnTo>
                    <a:lnTo>
                      <a:pt x="81" y="2"/>
                    </a:lnTo>
                    <a:lnTo>
                      <a:pt x="80" y="1"/>
                    </a:lnTo>
                    <a:lnTo>
                      <a:pt x="79" y="1"/>
                    </a:lnTo>
                    <a:lnTo>
                      <a:pt x="78" y="1"/>
                    </a:lnTo>
                    <a:lnTo>
                      <a:pt x="77" y="1"/>
                    </a:lnTo>
                    <a:lnTo>
                      <a:pt x="76" y="1"/>
                    </a:lnTo>
                    <a:lnTo>
                      <a:pt x="75" y="1"/>
                    </a:lnTo>
                    <a:lnTo>
                      <a:pt x="74" y="0"/>
                    </a:lnTo>
                    <a:lnTo>
                      <a:pt x="73" y="0"/>
                    </a:lnTo>
                    <a:lnTo>
                      <a:pt x="72" y="0"/>
                    </a:lnTo>
                    <a:lnTo>
                      <a:pt x="71" y="0"/>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1"/>
                    </a:lnTo>
                    <a:lnTo>
                      <a:pt x="57" y="1"/>
                    </a:lnTo>
                    <a:lnTo>
                      <a:pt x="56" y="1"/>
                    </a:lnTo>
                    <a:lnTo>
                      <a:pt x="55" y="1"/>
                    </a:lnTo>
                    <a:lnTo>
                      <a:pt x="54" y="1"/>
                    </a:lnTo>
                    <a:lnTo>
                      <a:pt x="53" y="1"/>
                    </a:lnTo>
                    <a:lnTo>
                      <a:pt x="52" y="2"/>
                    </a:lnTo>
                    <a:lnTo>
                      <a:pt x="51" y="2"/>
                    </a:lnTo>
                    <a:lnTo>
                      <a:pt x="50" y="2"/>
                    </a:lnTo>
                    <a:lnTo>
                      <a:pt x="49" y="2"/>
                    </a:lnTo>
                    <a:lnTo>
                      <a:pt x="48" y="3"/>
                    </a:lnTo>
                    <a:lnTo>
                      <a:pt x="47" y="3"/>
                    </a:lnTo>
                    <a:lnTo>
                      <a:pt x="46" y="3"/>
                    </a:lnTo>
                    <a:lnTo>
                      <a:pt x="45" y="4"/>
                    </a:lnTo>
                    <a:lnTo>
                      <a:pt x="44" y="4"/>
                    </a:lnTo>
                    <a:lnTo>
                      <a:pt x="43" y="4"/>
                    </a:lnTo>
                    <a:lnTo>
                      <a:pt x="42" y="5"/>
                    </a:lnTo>
                    <a:lnTo>
                      <a:pt x="41" y="5"/>
                    </a:lnTo>
                    <a:lnTo>
                      <a:pt x="40" y="6"/>
                    </a:lnTo>
                    <a:lnTo>
                      <a:pt x="39" y="6"/>
                    </a:lnTo>
                    <a:lnTo>
                      <a:pt x="38" y="6"/>
                    </a:lnTo>
                    <a:lnTo>
                      <a:pt x="37" y="7"/>
                    </a:lnTo>
                    <a:lnTo>
                      <a:pt x="36" y="7"/>
                    </a:lnTo>
                    <a:lnTo>
                      <a:pt x="35" y="8"/>
                    </a:lnTo>
                    <a:lnTo>
                      <a:pt x="34" y="8"/>
                    </a:lnTo>
                    <a:lnTo>
                      <a:pt x="33" y="9"/>
                    </a:lnTo>
                    <a:lnTo>
                      <a:pt x="32" y="10"/>
                    </a:lnTo>
                    <a:lnTo>
                      <a:pt x="31" y="10"/>
                    </a:lnTo>
                    <a:lnTo>
                      <a:pt x="30" y="11"/>
                    </a:lnTo>
                    <a:lnTo>
                      <a:pt x="29" y="12"/>
                    </a:lnTo>
                    <a:lnTo>
                      <a:pt x="28" y="12"/>
                    </a:lnTo>
                    <a:lnTo>
                      <a:pt x="27" y="13"/>
                    </a:lnTo>
                    <a:lnTo>
                      <a:pt x="26" y="14"/>
                    </a:lnTo>
                    <a:lnTo>
                      <a:pt x="25" y="15"/>
                    </a:lnTo>
                    <a:lnTo>
                      <a:pt x="24" y="15"/>
                    </a:lnTo>
                    <a:lnTo>
                      <a:pt x="23" y="16"/>
                    </a:lnTo>
                    <a:lnTo>
                      <a:pt x="22" y="17"/>
                    </a:lnTo>
                    <a:lnTo>
                      <a:pt x="21" y="18"/>
                    </a:lnTo>
                    <a:lnTo>
                      <a:pt x="20" y="19"/>
                    </a:lnTo>
                    <a:lnTo>
                      <a:pt x="19" y="20"/>
                    </a:lnTo>
                    <a:lnTo>
                      <a:pt x="18" y="21"/>
                    </a:lnTo>
                    <a:lnTo>
                      <a:pt x="17" y="22"/>
                    </a:lnTo>
                    <a:lnTo>
                      <a:pt x="16" y="23"/>
                    </a:lnTo>
                    <a:lnTo>
                      <a:pt x="15" y="24"/>
                    </a:lnTo>
                    <a:lnTo>
                      <a:pt x="15" y="25"/>
                    </a:lnTo>
                    <a:lnTo>
                      <a:pt x="14" y="26"/>
                    </a:lnTo>
                    <a:lnTo>
                      <a:pt x="13" y="27"/>
                    </a:lnTo>
                    <a:lnTo>
                      <a:pt x="12" y="28"/>
                    </a:lnTo>
                    <a:lnTo>
                      <a:pt x="12" y="29"/>
                    </a:lnTo>
                    <a:lnTo>
                      <a:pt x="11" y="30"/>
                    </a:lnTo>
                    <a:lnTo>
                      <a:pt x="10" y="31"/>
                    </a:lnTo>
                    <a:lnTo>
                      <a:pt x="10" y="32"/>
                    </a:lnTo>
                    <a:lnTo>
                      <a:pt x="9" y="33"/>
                    </a:lnTo>
                    <a:lnTo>
                      <a:pt x="8" y="34"/>
                    </a:lnTo>
                    <a:lnTo>
                      <a:pt x="8" y="35"/>
                    </a:lnTo>
                    <a:lnTo>
                      <a:pt x="7" y="36"/>
                    </a:lnTo>
                    <a:lnTo>
                      <a:pt x="7" y="37"/>
                    </a:lnTo>
                    <a:lnTo>
                      <a:pt x="6" y="38"/>
                    </a:lnTo>
                    <a:lnTo>
                      <a:pt x="6" y="39"/>
                    </a:lnTo>
                    <a:lnTo>
                      <a:pt x="6" y="40"/>
                    </a:lnTo>
                    <a:lnTo>
                      <a:pt x="5" y="41"/>
                    </a:lnTo>
                    <a:lnTo>
                      <a:pt x="5" y="42"/>
                    </a:lnTo>
                    <a:lnTo>
                      <a:pt x="4" y="43"/>
                    </a:lnTo>
                    <a:lnTo>
                      <a:pt x="4" y="44"/>
                    </a:lnTo>
                    <a:lnTo>
                      <a:pt x="4" y="45"/>
                    </a:lnTo>
                    <a:lnTo>
                      <a:pt x="3" y="46"/>
                    </a:lnTo>
                    <a:lnTo>
                      <a:pt x="3" y="47"/>
                    </a:lnTo>
                    <a:lnTo>
                      <a:pt x="3" y="48"/>
                    </a:lnTo>
                    <a:lnTo>
                      <a:pt x="2" y="49"/>
                    </a:lnTo>
                    <a:lnTo>
                      <a:pt x="2" y="50"/>
                    </a:lnTo>
                    <a:lnTo>
                      <a:pt x="2" y="51"/>
                    </a:lnTo>
                    <a:lnTo>
                      <a:pt x="2" y="52"/>
                    </a:lnTo>
                    <a:lnTo>
                      <a:pt x="1" y="53"/>
                    </a:lnTo>
                    <a:lnTo>
                      <a:pt x="1" y="54"/>
                    </a:lnTo>
                    <a:lnTo>
                      <a:pt x="1" y="55"/>
                    </a:lnTo>
                    <a:lnTo>
                      <a:pt x="1" y="56"/>
                    </a:lnTo>
                    <a:lnTo>
                      <a:pt x="1" y="57"/>
                    </a:lnTo>
                    <a:lnTo>
                      <a:pt x="1"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0" y="71"/>
                    </a:lnTo>
                    <a:lnTo>
                      <a:pt x="0" y="72"/>
                    </a:lnTo>
                    <a:lnTo>
                      <a:pt x="0" y="73"/>
                    </a:lnTo>
                    <a:lnTo>
                      <a:pt x="0" y="74"/>
                    </a:lnTo>
                    <a:lnTo>
                      <a:pt x="1" y="75"/>
                    </a:lnTo>
                    <a:lnTo>
                      <a:pt x="1" y="76"/>
                    </a:lnTo>
                    <a:lnTo>
                      <a:pt x="1" y="77"/>
                    </a:lnTo>
                    <a:lnTo>
                      <a:pt x="1" y="78"/>
                    </a:lnTo>
                    <a:lnTo>
                      <a:pt x="1" y="79"/>
                    </a:lnTo>
                    <a:lnTo>
                      <a:pt x="1" y="80"/>
                    </a:lnTo>
                    <a:lnTo>
                      <a:pt x="2" y="81"/>
                    </a:lnTo>
                    <a:lnTo>
                      <a:pt x="2" y="82"/>
                    </a:lnTo>
                    <a:lnTo>
                      <a:pt x="2" y="83"/>
                    </a:lnTo>
                    <a:lnTo>
                      <a:pt x="2" y="84"/>
                    </a:lnTo>
                    <a:lnTo>
                      <a:pt x="3" y="85"/>
                    </a:lnTo>
                    <a:lnTo>
                      <a:pt x="3" y="86"/>
                    </a:lnTo>
                    <a:lnTo>
                      <a:pt x="3" y="87"/>
                    </a:lnTo>
                    <a:lnTo>
                      <a:pt x="4" y="88"/>
                    </a:lnTo>
                    <a:lnTo>
                      <a:pt x="4" y="89"/>
                    </a:lnTo>
                    <a:lnTo>
                      <a:pt x="4" y="90"/>
                    </a:lnTo>
                    <a:lnTo>
                      <a:pt x="5" y="91"/>
                    </a:lnTo>
                    <a:lnTo>
                      <a:pt x="5" y="92"/>
                    </a:lnTo>
                    <a:lnTo>
                      <a:pt x="6" y="93"/>
                    </a:lnTo>
                    <a:lnTo>
                      <a:pt x="6" y="94"/>
                    </a:lnTo>
                    <a:lnTo>
                      <a:pt x="6" y="95"/>
                    </a:lnTo>
                    <a:lnTo>
                      <a:pt x="7" y="96"/>
                    </a:lnTo>
                    <a:lnTo>
                      <a:pt x="7" y="97"/>
                    </a:lnTo>
                    <a:lnTo>
                      <a:pt x="8" y="98"/>
                    </a:lnTo>
                    <a:lnTo>
                      <a:pt x="8" y="99"/>
                    </a:lnTo>
                    <a:lnTo>
                      <a:pt x="9" y="100"/>
                    </a:lnTo>
                    <a:lnTo>
                      <a:pt x="10" y="101"/>
                    </a:lnTo>
                    <a:lnTo>
                      <a:pt x="10" y="102"/>
                    </a:lnTo>
                    <a:lnTo>
                      <a:pt x="11" y="103"/>
                    </a:lnTo>
                    <a:lnTo>
                      <a:pt x="12" y="104"/>
                    </a:lnTo>
                    <a:lnTo>
                      <a:pt x="12" y="105"/>
                    </a:lnTo>
                    <a:lnTo>
                      <a:pt x="13" y="106"/>
                    </a:lnTo>
                    <a:lnTo>
                      <a:pt x="14" y="107"/>
                    </a:lnTo>
                    <a:lnTo>
                      <a:pt x="15" y="108"/>
                    </a:lnTo>
                    <a:lnTo>
                      <a:pt x="15" y="109"/>
                    </a:lnTo>
                    <a:lnTo>
                      <a:pt x="16" y="110"/>
                    </a:lnTo>
                    <a:lnTo>
                      <a:pt x="17" y="111"/>
                    </a:lnTo>
                    <a:lnTo>
                      <a:pt x="18" y="112"/>
                    </a:lnTo>
                    <a:lnTo>
                      <a:pt x="19" y="113"/>
                    </a:lnTo>
                    <a:lnTo>
                      <a:pt x="20" y="114"/>
                    </a:lnTo>
                    <a:lnTo>
                      <a:pt x="21" y="115"/>
                    </a:lnTo>
                    <a:lnTo>
                      <a:pt x="22" y="116"/>
                    </a:lnTo>
                    <a:lnTo>
                      <a:pt x="23" y="117"/>
                    </a:lnTo>
                    <a:lnTo>
                      <a:pt x="24" y="118"/>
                    </a:lnTo>
                    <a:lnTo>
                      <a:pt x="25" y="118"/>
                    </a:lnTo>
                    <a:lnTo>
                      <a:pt x="26" y="119"/>
                    </a:lnTo>
                    <a:lnTo>
                      <a:pt x="27" y="120"/>
                    </a:lnTo>
                    <a:lnTo>
                      <a:pt x="28" y="121"/>
                    </a:lnTo>
                    <a:lnTo>
                      <a:pt x="29" y="121"/>
                    </a:lnTo>
                    <a:lnTo>
                      <a:pt x="30" y="122"/>
                    </a:lnTo>
                    <a:lnTo>
                      <a:pt x="31" y="123"/>
                    </a:lnTo>
                    <a:lnTo>
                      <a:pt x="32" y="123"/>
                    </a:lnTo>
                    <a:lnTo>
                      <a:pt x="33" y="124"/>
                    </a:lnTo>
                    <a:lnTo>
                      <a:pt x="34" y="125"/>
                    </a:lnTo>
                    <a:lnTo>
                      <a:pt x="35" y="125"/>
                    </a:lnTo>
                    <a:lnTo>
                      <a:pt x="36" y="126"/>
                    </a:lnTo>
                    <a:lnTo>
                      <a:pt x="37" y="126"/>
                    </a:lnTo>
                    <a:lnTo>
                      <a:pt x="38" y="127"/>
                    </a:lnTo>
                    <a:lnTo>
                      <a:pt x="39" y="127"/>
                    </a:lnTo>
                    <a:lnTo>
                      <a:pt x="40" y="127"/>
                    </a:lnTo>
                    <a:lnTo>
                      <a:pt x="41" y="128"/>
                    </a:lnTo>
                    <a:lnTo>
                      <a:pt x="42" y="128"/>
                    </a:lnTo>
                    <a:lnTo>
                      <a:pt x="43" y="129"/>
                    </a:lnTo>
                    <a:lnTo>
                      <a:pt x="44" y="129"/>
                    </a:lnTo>
                    <a:lnTo>
                      <a:pt x="45" y="129"/>
                    </a:lnTo>
                    <a:lnTo>
                      <a:pt x="46" y="130"/>
                    </a:lnTo>
                    <a:lnTo>
                      <a:pt x="47" y="130"/>
                    </a:lnTo>
                    <a:lnTo>
                      <a:pt x="48" y="130"/>
                    </a:lnTo>
                    <a:lnTo>
                      <a:pt x="49" y="131"/>
                    </a:lnTo>
                    <a:lnTo>
                      <a:pt x="50" y="131"/>
                    </a:lnTo>
                    <a:lnTo>
                      <a:pt x="51" y="131"/>
                    </a:lnTo>
                    <a:lnTo>
                      <a:pt x="52" y="131"/>
                    </a:lnTo>
                    <a:lnTo>
                      <a:pt x="53" y="132"/>
                    </a:lnTo>
                    <a:lnTo>
                      <a:pt x="54" y="132"/>
                    </a:lnTo>
                    <a:lnTo>
                      <a:pt x="55" y="132"/>
                    </a:lnTo>
                    <a:lnTo>
                      <a:pt x="56" y="132"/>
                    </a:lnTo>
                    <a:lnTo>
                      <a:pt x="57" y="132"/>
                    </a:lnTo>
                    <a:lnTo>
                      <a:pt x="58" y="132"/>
                    </a:lnTo>
                    <a:lnTo>
                      <a:pt x="59" y="133"/>
                    </a:lnTo>
                    <a:lnTo>
                      <a:pt x="60" y="133"/>
                    </a:lnTo>
                    <a:lnTo>
                      <a:pt x="61" y="133"/>
                    </a:lnTo>
                    <a:lnTo>
                      <a:pt x="62" y="133"/>
                    </a:lnTo>
                    <a:lnTo>
                      <a:pt x="63" y="133"/>
                    </a:lnTo>
                    <a:lnTo>
                      <a:pt x="64" y="133"/>
                    </a:lnTo>
                    <a:lnTo>
                      <a:pt x="65" y="133"/>
                    </a:lnTo>
                    <a:lnTo>
                      <a:pt x="66" y="133"/>
                    </a:lnTo>
                    <a:lnTo>
                      <a:pt x="67" y="133"/>
                    </a:lnTo>
                    <a:lnTo>
                      <a:pt x="68" y="133"/>
                    </a:lnTo>
                    <a:lnTo>
                      <a:pt x="69" y="133"/>
                    </a:lnTo>
                    <a:lnTo>
                      <a:pt x="70" y="133"/>
                    </a:lnTo>
                    <a:lnTo>
                      <a:pt x="71" y="133"/>
                    </a:lnTo>
                    <a:lnTo>
                      <a:pt x="72" y="133"/>
                    </a:lnTo>
                    <a:lnTo>
                      <a:pt x="73" y="133"/>
                    </a:lnTo>
                    <a:lnTo>
                      <a:pt x="74" y="133"/>
                    </a:lnTo>
                    <a:lnTo>
                      <a:pt x="75" y="132"/>
                    </a:lnTo>
                    <a:lnTo>
                      <a:pt x="76" y="132"/>
                    </a:lnTo>
                    <a:lnTo>
                      <a:pt x="77" y="132"/>
                    </a:lnTo>
                    <a:lnTo>
                      <a:pt x="78" y="132"/>
                    </a:lnTo>
                    <a:lnTo>
                      <a:pt x="79" y="132"/>
                    </a:lnTo>
                    <a:lnTo>
                      <a:pt x="80" y="132"/>
                    </a:lnTo>
                    <a:lnTo>
                      <a:pt x="81" y="131"/>
                    </a:lnTo>
                    <a:lnTo>
                      <a:pt x="82" y="131"/>
                    </a:lnTo>
                    <a:lnTo>
                      <a:pt x="83" y="131"/>
                    </a:lnTo>
                    <a:lnTo>
                      <a:pt x="84" y="131"/>
                    </a:lnTo>
                    <a:lnTo>
                      <a:pt x="85" y="130"/>
                    </a:lnTo>
                    <a:lnTo>
                      <a:pt x="86" y="130"/>
                    </a:lnTo>
                    <a:lnTo>
                      <a:pt x="87" y="130"/>
                    </a:lnTo>
                    <a:lnTo>
                      <a:pt x="88" y="129"/>
                    </a:lnTo>
                    <a:lnTo>
                      <a:pt x="89" y="129"/>
                    </a:lnTo>
                    <a:lnTo>
                      <a:pt x="90" y="129"/>
                    </a:lnTo>
                    <a:lnTo>
                      <a:pt x="91" y="128"/>
                    </a:lnTo>
                    <a:lnTo>
                      <a:pt x="92" y="128"/>
                    </a:lnTo>
                    <a:lnTo>
                      <a:pt x="93" y="127"/>
                    </a:lnTo>
                    <a:lnTo>
                      <a:pt x="94" y="127"/>
                    </a:lnTo>
                    <a:lnTo>
                      <a:pt x="95" y="127"/>
                    </a:lnTo>
                    <a:lnTo>
                      <a:pt x="96" y="126"/>
                    </a:lnTo>
                    <a:lnTo>
                      <a:pt x="97" y="126"/>
                    </a:lnTo>
                    <a:lnTo>
                      <a:pt x="98" y="125"/>
                    </a:lnTo>
                    <a:lnTo>
                      <a:pt x="99" y="125"/>
                    </a:lnTo>
                    <a:lnTo>
                      <a:pt x="100" y="124"/>
                    </a:lnTo>
                    <a:lnTo>
                      <a:pt x="101" y="123"/>
                    </a:lnTo>
                    <a:lnTo>
                      <a:pt x="102" y="123"/>
                    </a:lnTo>
                    <a:lnTo>
                      <a:pt x="103" y="122"/>
                    </a:lnTo>
                    <a:lnTo>
                      <a:pt x="104" y="121"/>
                    </a:lnTo>
                    <a:lnTo>
                      <a:pt x="105" y="121"/>
                    </a:lnTo>
                    <a:lnTo>
                      <a:pt x="106" y="120"/>
                    </a:lnTo>
                    <a:lnTo>
                      <a:pt x="107" y="119"/>
                    </a:lnTo>
                    <a:lnTo>
                      <a:pt x="108" y="118"/>
                    </a:lnTo>
                    <a:lnTo>
                      <a:pt x="109" y="118"/>
                    </a:lnTo>
                    <a:lnTo>
                      <a:pt x="110" y="117"/>
                    </a:lnTo>
                    <a:lnTo>
                      <a:pt x="111" y="116"/>
                    </a:lnTo>
                    <a:lnTo>
                      <a:pt x="112" y="115"/>
                    </a:lnTo>
                    <a:lnTo>
                      <a:pt x="113" y="114"/>
                    </a:lnTo>
                    <a:lnTo>
                      <a:pt x="114" y="113"/>
                    </a:lnTo>
                    <a:lnTo>
                      <a:pt x="115" y="112"/>
                    </a:lnTo>
                    <a:lnTo>
                      <a:pt x="116" y="111"/>
                    </a:lnTo>
                    <a:lnTo>
                      <a:pt x="117" y="110"/>
                    </a:lnTo>
                    <a:lnTo>
                      <a:pt x="118" y="109"/>
                    </a:lnTo>
                    <a:lnTo>
                      <a:pt x="118" y="108"/>
                    </a:lnTo>
                    <a:lnTo>
                      <a:pt x="119" y="107"/>
                    </a:lnTo>
                    <a:lnTo>
                      <a:pt x="120" y="106"/>
                    </a:lnTo>
                    <a:lnTo>
                      <a:pt x="121" y="105"/>
                    </a:lnTo>
                    <a:lnTo>
                      <a:pt x="121" y="104"/>
                    </a:lnTo>
                    <a:lnTo>
                      <a:pt x="122" y="103"/>
                    </a:lnTo>
                    <a:lnTo>
                      <a:pt x="123" y="102"/>
                    </a:lnTo>
                    <a:lnTo>
                      <a:pt x="123" y="101"/>
                    </a:lnTo>
                    <a:lnTo>
                      <a:pt x="124" y="100"/>
                    </a:lnTo>
                    <a:lnTo>
                      <a:pt x="125" y="99"/>
                    </a:lnTo>
                    <a:lnTo>
                      <a:pt x="125" y="98"/>
                    </a:lnTo>
                    <a:lnTo>
                      <a:pt x="126" y="97"/>
                    </a:lnTo>
                    <a:lnTo>
                      <a:pt x="126" y="96"/>
                    </a:lnTo>
                    <a:lnTo>
                      <a:pt x="127" y="95"/>
                    </a:lnTo>
                    <a:lnTo>
                      <a:pt x="127" y="94"/>
                    </a:lnTo>
                    <a:lnTo>
                      <a:pt x="127" y="93"/>
                    </a:lnTo>
                    <a:lnTo>
                      <a:pt x="128" y="92"/>
                    </a:lnTo>
                    <a:lnTo>
                      <a:pt x="128" y="91"/>
                    </a:lnTo>
                    <a:lnTo>
                      <a:pt x="129" y="90"/>
                    </a:lnTo>
                    <a:lnTo>
                      <a:pt x="129" y="89"/>
                    </a:lnTo>
                    <a:lnTo>
                      <a:pt x="129" y="88"/>
                    </a:lnTo>
                    <a:lnTo>
                      <a:pt x="130" y="87"/>
                    </a:lnTo>
                    <a:lnTo>
                      <a:pt x="130" y="86"/>
                    </a:lnTo>
                    <a:lnTo>
                      <a:pt x="130" y="85"/>
                    </a:lnTo>
                    <a:lnTo>
                      <a:pt x="131" y="84"/>
                    </a:lnTo>
                    <a:lnTo>
                      <a:pt x="131" y="83"/>
                    </a:lnTo>
                    <a:lnTo>
                      <a:pt x="131" y="82"/>
                    </a:lnTo>
                    <a:lnTo>
                      <a:pt x="131" y="81"/>
                    </a:lnTo>
                    <a:lnTo>
                      <a:pt x="132" y="80"/>
                    </a:lnTo>
                    <a:lnTo>
                      <a:pt x="132" y="79"/>
                    </a:lnTo>
                    <a:lnTo>
                      <a:pt x="132" y="78"/>
                    </a:lnTo>
                    <a:lnTo>
                      <a:pt x="132" y="77"/>
                    </a:lnTo>
                    <a:lnTo>
                      <a:pt x="132" y="76"/>
                    </a:lnTo>
                    <a:lnTo>
                      <a:pt x="132" y="75"/>
                    </a:lnTo>
                    <a:lnTo>
                      <a:pt x="133" y="74"/>
                    </a:lnTo>
                    <a:lnTo>
                      <a:pt x="133" y="73"/>
                    </a:lnTo>
                    <a:lnTo>
                      <a:pt x="133" y="72"/>
                    </a:lnTo>
                    <a:lnTo>
                      <a:pt x="133" y="71"/>
                    </a:lnTo>
                    <a:lnTo>
                      <a:pt x="133" y="70"/>
                    </a:lnTo>
                    <a:lnTo>
                      <a:pt x="133" y="69"/>
                    </a:lnTo>
                    <a:lnTo>
                      <a:pt x="133" y="68"/>
                    </a:lnTo>
                    <a:lnTo>
                      <a:pt x="133" y="67"/>
                    </a:lnTo>
                    <a:close/>
                  </a:path>
                </a:pathLst>
              </a:custGeom>
              <a:solidFill>
                <a:srgbClr val="0073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18" name="Freeform 299"/>
              <p:cNvSpPr>
                <a:spLocks/>
              </p:cNvSpPr>
              <p:nvPr/>
            </p:nvSpPr>
            <p:spPr bwMode="auto">
              <a:xfrm>
                <a:off x="5058" y="1882"/>
                <a:ext cx="211" cy="211"/>
              </a:xfrm>
              <a:custGeom>
                <a:avLst/>
                <a:gdLst>
                  <a:gd name="T0" fmla="*/ 133 w 133"/>
                  <a:gd name="T1" fmla="*/ 61 h 133"/>
                  <a:gd name="T2" fmla="*/ 132 w 133"/>
                  <a:gd name="T3" fmla="*/ 55 h 133"/>
                  <a:gd name="T4" fmla="*/ 131 w 133"/>
                  <a:gd name="T5" fmla="*/ 49 h 133"/>
                  <a:gd name="T6" fmla="*/ 129 w 133"/>
                  <a:gd name="T7" fmla="*/ 43 h 133"/>
                  <a:gd name="T8" fmla="*/ 126 w 133"/>
                  <a:gd name="T9" fmla="*/ 37 h 133"/>
                  <a:gd name="T10" fmla="*/ 123 w 133"/>
                  <a:gd name="T11" fmla="*/ 31 h 133"/>
                  <a:gd name="T12" fmla="*/ 118 w 133"/>
                  <a:gd name="T13" fmla="*/ 25 h 133"/>
                  <a:gd name="T14" fmla="*/ 113 w 133"/>
                  <a:gd name="T15" fmla="*/ 19 h 133"/>
                  <a:gd name="T16" fmla="*/ 107 w 133"/>
                  <a:gd name="T17" fmla="*/ 14 h 133"/>
                  <a:gd name="T18" fmla="*/ 101 w 133"/>
                  <a:gd name="T19" fmla="*/ 10 h 133"/>
                  <a:gd name="T20" fmla="*/ 95 w 133"/>
                  <a:gd name="T21" fmla="*/ 6 h 133"/>
                  <a:gd name="T22" fmla="*/ 89 w 133"/>
                  <a:gd name="T23" fmla="*/ 4 h 133"/>
                  <a:gd name="T24" fmla="*/ 83 w 133"/>
                  <a:gd name="T25" fmla="*/ 2 h 133"/>
                  <a:gd name="T26" fmla="*/ 77 w 133"/>
                  <a:gd name="T27" fmla="*/ 1 h 133"/>
                  <a:gd name="T28" fmla="*/ 71 w 133"/>
                  <a:gd name="T29" fmla="*/ 0 h 133"/>
                  <a:gd name="T30" fmla="*/ 65 w 133"/>
                  <a:gd name="T31" fmla="*/ 0 h 133"/>
                  <a:gd name="T32" fmla="*/ 59 w 133"/>
                  <a:gd name="T33" fmla="*/ 0 h 133"/>
                  <a:gd name="T34" fmla="*/ 53 w 133"/>
                  <a:gd name="T35" fmla="*/ 1 h 133"/>
                  <a:gd name="T36" fmla="*/ 47 w 133"/>
                  <a:gd name="T37" fmla="*/ 3 h 133"/>
                  <a:gd name="T38" fmla="*/ 41 w 133"/>
                  <a:gd name="T39" fmla="*/ 5 h 133"/>
                  <a:gd name="T40" fmla="*/ 35 w 133"/>
                  <a:gd name="T41" fmla="*/ 8 h 133"/>
                  <a:gd name="T42" fmla="*/ 29 w 133"/>
                  <a:gd name="T43" fmla="*/ 12 h 133"/>
                  <a:gd name="T44" fmla="*/ 23 w 133"/>
                  <a:gd name="T45" fmla="*/ 16 h 133"/>
                  <a:gd name="T46" fmla="*/ 17 w 133"/>
                  <a:gd name="T47" fmla="*/ 22 h 133"/>
                  <a:gd name="T48" fmla="*/ 12 w 133"/>
                  <a:gd name="T49" fmla="*/ 28 h 133"/>
                  <a:gd name="T50" fmla="*/ 8 w 133"/>
                  <a:gd name="T51" fmla="*/ 34 h 133"/>
                  <a:gd name="T52" fmla="*/ 6 w 133"/>
                  <a:gd name="T53" fmla="*/ 40 h 133"/>
                  <a:gd name="T54" fmla="*/ 3 w 133"/>
                  <a:gd name="T55" fmla="*/ 46 h 133"/>
                  <a:gd name="T56" fmla="*/ 2 w 133"/>
                  <a:gd name="T57" fmla="*/ 52 h 133"/>
                  <a:gd name="T58" fmla="*/ 1 w 133"/>
                  <a:gd name="T59" fmla="*/ 58 h 133"/>
                  <a:gd name="T60" fmla="*/ 0 w 133"/>
                  <a:gd name="T61" fmla="*/ 64 h 133"/>
                  <a:gd name="T62" fmla="*/ 0 w 133"/>
                  <a:gd name="T63" fmla="*/ 70 h 133"/>
                  <a:gd name="T64" fmla="*/ 1 w 133"/>
                  <a:gd name="T65" fmla="*/ 76 h 133"/>
                  <a:gd name="T66" fmla="*/ 2 w 133"/>
                  <a:gd name="T67" fmla="*/ 82 h 133"/>
                  <a:gd name="T68" fmla="*/ 4 w 133"/>
                  <a:gd name="T69" fmla="*/ 88 h 133"/>
                  <a:gd name="T70" fmla="*/ 6 w 133"/>
                  <a:gd name="T71" fmla="*/ 94 h 133"/>
                  <a:gd name="T72" fmla="*/ 9 w 133"/>
                  <a:gd name="T73" fmla="*/ 100 h 133"/>
                  <a:gd name="T74" fmla="*/ 13 w 133"/>
                  <a:gd name="T75" fmla="*/ 106 h 133"/>
                  <a:gd name="T76" fmla="*/ 18 w 133"/>
                  <a:gd name="T77" fmla="*/ 112 h 133"/>
                  <a:gd name="T78" fmla="*/ 24 w 133"/>
                  <a:gd name="T79" fmla="*/ 118 h 133"/>
                  <a:gd name="T80" fmla="*/ 30 w 133"/>
                  <a:gd name="T81" fmla="*/ 122 h 133"/>
                  <a:gd name="T82" fmla="*/ 36 w 133"/>
                  <a:gd name="T83" fmla="*/ 126 h 133"/>
                  <a:gd name="T84" fmla="*/ 42 w 133"/>
                  <a:gd name="T85" fmla="*/ 128 h 133"/>
                  <a:gd name="T86" fmla="*/ 48 w 133"/>
                  <a:gd name="T87" fmla="*/ 130 h 133"/>
                  <a:gd name="T88" fmla="*/ 54 w 133"/>
                  <a:gd name="T89" fmla="*/ 132 h 133"/>
                  <a:gd name="T90" fmla="*/ 60 w 133"/>
                  <a:gd name="T91" fmla="*/ 133 h 133"/>
                  <a:gd name="T92" fmla="*/ 66 w 133"/>
                  <a:gd name="T93" fmla="*/ 133 h 133"/>
                  <a:gd name="T94" fmla="*/ 72 w 133"/>
                  <a:gd name="T95" fmla="*/ 133 h 133"/>
                  <a:gd name="T96" fmla="*/ 78 w 133"/>
                  <a:gd name="T97" fmla="*/ 132 h 133"/>
                  <a:gd name="T98" fmla="*/ 84 w 133"/>
                  <a:gd name="T99" fmla="*/ 131 h 133"/>
                  <a:gd name="T100" fmla="*/ 90 w 133"/>
                  <a:gd name="T101" fmla="*/ 129 h 133"/>
                  <a:gd name="T102" fmla="*/ 96 w 133"/>
                  <a:gd name="T103" fmla="*/ 126 h 133"/>
                  <a:gd name="T104" fmla="*/ 102 w 133"/>
                  <a:gd name="T105" fmla="*/ 123 h 133"/>
                  <a:gd name="T106" fmla="*/ 108 w 133"/>
                  <a:gd name="T107" fmla="*/ 118 h 133"/>
                  <a:gd name="T108" fmla="*/ 114 w 133"/>
                  <a:gd name="T109" fmla="*/ 113 h 133"/>
                  <a:gd name="T110" fmla="*/ 119 w 133"/>
                  <a:gd name="T111" fmla="*/ 107 h 133"/>
                  <a:gd name="T112" fmla="*/ 123 w 133"/>
                  <a:gd name="T113" fmla="*/ 101 h 133"/>
                  <a:gd name="T114" fmla="*/ 127 w 133"/>
                  <a:gd name="T115" fmla="*/ 95 h 133"/>
                  <a:gd name="T116" fmla="*/ 129 w 133"/>
                  <a:gd name="T117" fmla="*/ 89 h 133"/>
                  <a:gd name="T118" fmla="*/ 131 w 133"/>
                  <a:gd name="T119" fmla="*/ 83 h 133"/>
                  <a:gd name="T120" fmla="*/ 132 w 133"/>
                  <a:gd name="T121" fmla="*/ 77 h 133"/>
                  <a:gd name="T122" fmla="*/ 133 w 133"/>
                  <a:gd name="T123" fmla="*/ 7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133">
                    <a:moveTo>
                      <a:pt x="133" y="66"/>
                    </a:moveTo>
                    <a:lnTo>
                      <a:pt x="133" y="65"/>
                    </a:lnTo>
                    <a:lnTo>
                      <a:pt x="133" y="64"/>
                    </a:lnTo>
                    <a:lnTo>
                      <a:pt x="133" y="63"/>
                    </a:lnTo>
                    <a:lnTo>
                      <a:pt x="133" y="62"/>
                    </a:lnTo>
                    <a:lnTo>
                      <a:pt x="133" y="61"/>
                    </a:lnTo>
                    <a:lnTo>
                      <a:pt x="133" y="60"/>
                    </a:lnTo>
                    <a:lnTo>
                      <a:pt x="133" y="59"/>
                    </a:lnTo>
                    <a:lnTo>
                      <a:pt x="132" y="58"/>
                    </a:lnTo>
                    <a:lnTo>
                      <a:pt x="132" y="57"/>
                    </a:lnTo>
                    <a:lnTo>
                      <a:pt x="132" y="56"/>
                    </a:lnTo>
                    <a:lnTo>
                      <a:pt x="132" y="55"/>
                    </a:lnTo>
                    <a:lnTo>
                      <a:pt x="132" y="54"/>
                    </a:lnTo>
                    <a:lnTo>
                      <a:pt x="132" y="53"/>
                    </a:lnTo>
                    <a:lnTo>
                      <a:pt x="131" y="52"/>
                    </a:lnTo>
                    <a:lnTo>
                      <a:pt x="131" y="51"/>
                    </a:lnTo>
                    <a:lnTo>
                      <a:pt x="131" y="50"/>
                    </a:lnTo>
                    <a:lnTo>
                      <a:pt x="131" y="49"/>
                    </a:lnTo>
                    <a:lnTo>
                      <a:pt x="130" y="48"/>
                    </a:lnTo>
                    <a:lnTo>
                      <a:pt x="130" y="47"/>
                    </a:lnTo>
                    <a:lnTo>
                      <a:pt x="130" y="46"/>
                    </a:lnTo>
                    <a:lnTo>
                      <a:pt x="129" y="45"/>
                    </a:lnTo>
                    <a:lnTo>
                      <a:pt x="129" y="44"/>
                    </a:lnTo>
                    <a:lnTo>
                      <a:pt x="129" y="43"/>
                    </a:lnTo>
                    <a:lnTo>
                      <a:pt x="128" y="42"/>
                    </a:lnTo>
                    <a:lnTo>
                      <a:pt x="128" y="41"/>
                    </a:lnTo>
                    <a:lnTo>
                      <a:pt x="127" y="40"/>
                    </a:lnTo>
                    <a:lnTo>
                      <a:pt x="127" y="39"/>
                    </a:lnTo>
                    <a:lnTo>
                      <a:pt x="127" y="38"/>
                    </a:lnTo>
                    <a:lnTo>
                      <a:pt x="126" y="37"/>
                    </a:lnTo>
                    <a:lnTo>
                      <a:pt x="126" y="36"/>
                    </a:lnTo>
                    <a:lnTo>
                      <a:pt x="125" y="35"/>
                    </a:lnTo>
                    <a:lnTo>
                      <a:pt x="125" y="34"/>
                    </a:lnTo>
                    <a:lnTo>
                      <a:pt x="124" y="33"/>
                    </a:lnTo>
                    <a:lnTo>
                      <a:pt x="123" y="32"/>
                    </a:lnTo>
                    <a:lnTo>
                      <a:pt x="123" y="31"/>
                    </a:lnTo>
                    <a:lnTo>
                      <a:pt x="122" y="30"/>
                    </a:lnTo>
                    <a:lnTo>
                      <a:pt x="121" y="29"/>
                    </a:lnTo>
                    <a:lnTo>
                      <a:pt x="121" y="28"/>
                    </a:lnTo>
                    <a:lnTo>
                      <a:pt x="120" y="27"/>
                    </a:lnTo>
                    <a:lnTo>
                      <a:pt x="119" y="26"/>
                    </a:lnTo>
                    <a:lnTo>
                      <a:pt x="118" y="25"/>
                    </a:lnTo>
                    <a:lnTo>
                      <a:pt x="118" y="24"/>
                    </a:lnTo>
                    <a:lnTo>
                      <a:pt x="117" y="23"/>
                    </a:lnTo>
                    <a:lnTo>
                      <a:pt x="116" y="22"/>
                    </a:lnTo>
                    <a:lnTo>
                      <a:pt x="115" y="21"/>
                    </a:lnTo>
                    <a:lnTo>
                      <a:pt x="114" y="20"/>
                    </a:lnTo>
                    <a:lnTo>
                      <a:pt x="113" y="19"/>
                    </a:lnTo>
                    <a:lnTo>
                      <a:pt x="112" y="18"/>
                    </a:lnTo>
                    <a:lnTo>
                      <a:pt x="111" y="17"/>
                    </a:lnTo>
                    <a:lnTo>
                      <a:pt x="110" y="16"/>
                    </a:lnTo>
                    <a:lnTo>
                      <a:pt x="109" y="15"/>
                    </a:lnTo>
                    <a:lnTo>
                      <a:pt x="108" y="15"/>
                    </a:lnTo>
                    <a:lnTo>
                      <a:pt x="107" y="14"/>
                    </a:lnTo>
                    <a:lnTo>
                      <a:pt x="106" y="13"/>
                    </a:lnTo>
                    <a:lnTo>
                      <a:pt x="105" y="12"/>
                    </a:lnTo>
                    <a:lnTo>
                      <a:pt x="104" y="12"/>
                    </a:lnTo>
                    <a:lnTo>
                      <a:pt x="103" y="11"/>
                    </a:lnTo>
                    <a:lnTo>
                      <a:pt x="102" y="10"/>
                    </a:lnTo>
                    <a:lnTo>
                      <a:pt x="101" y="10"/>
                    </a:lnTo>
                    <a:lnTo>
                      <a:pt x="100" y="9"/>
                    </a:lnTo>
                    <a:lnTo>
                      <a:pt x="99" y="8"/>
                    </a:lnTo>
                    <a:lnTo>
                      <a:pt x="98" y="8"/>
                    </a:lnTo>
                    <a:lnTo>
                      <a:pt x="97" y="7"/>
                    </a:lnTo>
                    <a:lnTo>
                      <a:pt x="96" y="7"/>
                    </a:lnTo>
                    <a:lnTo>
                      <a:pt x="95" y="6"/>
                    </a:lnTo>
                    <a:lnTo>
                      <a:pt x="94" y="6"/>
                    </a:lnTo>
                    <a:lnTo>
                      <a:pt x="93" y="6"/>
                    </a:lnTo>
                    <a:lnTo>
                      <a:pt x="92" y="5"/>
                    </a:lnTo>
                    <a:lnTo>
                      <a:pt x="91" y="5"/>
                    </a:lnTo>
                    <a:lnTo>
                      <a:pt x="90" y="4"/>
                    </a:lnTo>
                    <a:lnTo>
                      <a:pt x="89" y="4"/>
                    </a:lnTo>
                    <a:lnTo>
                      <a:pt x="88" y="4"/>
                    </a:lnTo>
                    <a:lnTo>
                      <a:pt x="87" y="3"/>
                    </a:lnTo>
                    <a:lnTo>
                      <a:pt x="86" y="3"/>
                    </a:lnTo>
                    <a:lnTo>
                      <a:pt x="85" y="3"/>
                    </a:lnTo>
                    <a:lnTo>
                      <a:pt x="84" y="2"/>
                    </a:lnTo>
                    <a:lnTo>
                      <a:pt x="83" y="2"/>
                    </a:lnTo>
                    <a:lnTo>
                      <a:pt x="82" y="2"/>
                    </a:lnTo>
                    <a:lnTo>
                      <a:pt x="81" y="2"/>
                    </a:lnTo>
                    <a:lnTo>
                      <a:pt x="80" y="1"/>
                    </a:lnTo>
                    <a:lnTo>
                      <a:pt x="79" y="1"/>
                    </a:lnTo>
                    <a:lnTo>
                      <a:pt x="78" y="1"/>
                    </a:lnTo>
                    <a:lnTo>
                      <a:pt x="77" y="1"/>
                    </a:lnTo>
                    <a:lnTo>
                      <a:pt x="76" y="1"/>
                    </a:lnTo>
                    <a:lnTo>
                      <a:pt x="75" y="1"/>
                    </a:lnTo>
                    <a:lnTo>
                      <a:pt x="74" y="0"/>
                    </a:lnTo>
                    <a:lnTo>
                      <a:pt x="73" y="0"/>
                    </a:lnTo>
                    <a:lnTo>
                      <a:pt x="72" y="0"/>
                    </a:lnTo>
                    <a:lnTo>
                      <a:pt x="71" y="0"/>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1"/>
                    </a:lnTo>
                    <a:lnTo>
                      <a:pt x="57" y="1"/>
                    </a:lnTo>
                    <a:lnTo>
                      <a:pt x="56" y="1"/>
                    </a:lnTo>
                    <a:lnTo>
                      <a:pt x="55" y="1"/>
                    </a:lnTo>
                    <a:lnTo>
                      <a:pt x="54" y="1"/>
                    </a:lnTo>
                    <a:lnTo>
                      <a:pt x="53" y="1"/>
                    </a:lnTo>
                    <a:lnTo>
                      <a:pt x="52" y="2"/>
                    </a:lnTo>
                    <a:lnTo>
                      <a:pt x="51" y="2"/>
                    </a:lnTo>
                    <a:lnTo>
                      <a:pt x="50" y="2"/>
                    </a:lnTo>
                    <a:lnTo>
                      <a:pt x="49" y="2"/>
                    </a:lnTo>
                    <a:lnTo>
                      <a:pt x="48" y="3"/>
                    </a:lnTo>
                    <a:lnTo>
                      <a:pt x="47" y="3"/>
                    </a:lnTo>
                    <a:lnTo>
                      <a:pt x="46" y="3"/>
                    </a:lnTo>
                    <a:lnTo>
                      <a:pt x="45" y="4"/>
                    </a:lnTo>
                    <a:lnTo>
                      <a:pt x="44" y="4"/>
                    </a:lnTo>
                    <a:lnTo>
                      <a:pt x="43" y="4"/>
                    </a:lnTo>
                    <a:lnTo>
                      <a:pt x="42" y="5"/>
                    </a:lnTo>
                    <a:lnTo>
                      <a:pt x="41" y="5"/>
                    </a:lnTo>
                    <a:lnTo>
                      <a:pt x="40" y="6"/>
                    </a:lnTo>
                    <a:lnTo>
                      <a:pt x="39" y="6"/>
                    </a:lnTo>
                    <a:lnTo>
                      <a:pt x="38" y="6"/>
                    </a:lnTo>
                    <a:lnTo>
                      <a:pt x="37" y="7"/>
                    </a:lnTo>
                    <a:lnTo>
                      <a:pt x="36" y="7"/>
                    </a:lnTo>
                    <a:lnTo>
                      <a:pt x="35" y="8"/>
                    </a:lnTo>
                    <a:lnTo>
                      <a:pt x="34" y="8"/>
                    </a:lnTo>
                    <a:lnTo>
                      <a:pt x="33" y="9"/>
                    </a:lnTo>
                    <a:lnTo>
                      <a:pt x="32" y="10"/>
                    </a:lnTo>
                    <a:lnTo>
                      <a:pt x="31" y="10"/>
                    </a:lnTo>
                    <a:lnTo>
                      <a:pt x="30" y="11"/>
                    </a:lnTo>
                    <a:lnTo>
                      <a:pt x="29" y="12"/>
                    </a:lnTo>
                    <a:lnTo>
                      <a:pt x="28" y="12"/>
                    </a:lnTo>
                    <a:lnTo>
                      <a:pt x="27" y="13"/>
                    </a:lnTo>
                    <a:lnTo>
                      <a:pt x="26" y="14"/>
                    </a:lnTo>
                    <a:lnTo>
                      <a:pt x="25" y="15"/>
                    </a:lnTo>
                    <a:lnTo>
                      <a:pt x="24" y="15"/>
                    </a:lnTo>
                    <a:lnTo>
                      <a:pt x="23" y="16"/>
                    </a:lnTo>
                    <a:lnTo>
                      <a:pt x="22" y="17"/>
                    </a:lnTo>
                    <a:lnTo>
                      <a:pt x="21" y="18"/>
                    </a:lnTo>
                    <a:lnTo>
                      <a:pt x="20" y="19"/>
                    </a:lnTo>
                    <a:lnTo>
                      <a:pt x="19" y="20"/>
                    </a:lnTo>
                    <a:lnTo>
                      <a:pt x="18" y="21"/>
                    </a:lnTo>
                    <a:lnTo>
                      <a:pt x="17" y="22"/>
                    </a:lnTo>
                    <a:lnTo>
                      <a:pt x="16" y="23"/>
                    </a:lnTo>
                    <a:lnTo>
                      <a:pt x="15" y="24"/>
                    </a:lnTo>
                    <a:lnTo>
                      <a:pt x="15" y="25"/>
                    </a:lnTo>
                    <a:lnTo>
                      <a:pt x="14" y="26"/>
                    </a:lnTo>
                    <a:lnTo>
                      <a:pt x="13" y="27"/>
                    </a:lnTo>
                    <a:lnTo>
                      <a:pt x="12" y="28"/>
                    </a:lnTo>
                    <a:lnTo>
                      <a:pt x="12" y="29"/>
                    </a:lnTo>
                    <a:lnTo>
                      <a:pt x="11" y="30"/>
                    </a:lnTo>
                    <a:lnTo>
                      <a:pt x="10" y="31"/>
                    </a:lnTo>
                    <a:lnTo>
                      <a:pt x="10" y="32"/>
                    </a:lnTo>
                    <a:lnTo>
                      <a:pt x="9" y="33"/>
                    </a:lnTo>
                    <a:lnTo>
                      <a:pt x="8" y="34"/>
                    </a:lnTo>
                    <a:lnTo>
                      <a:pt x="8" y="35"/>
                    </a:lnTo>
                    <a:lnTo>
                      <a:pt x="7" y="36"/>
                    </a:lnTo>
                    <a:lnTo>
                      <a:pt x="7" y="37"/>
                    </a:lnTo>
                    <a:lnTo>
                      <a:pt x="6" y="38"/>
                    </a:lnTo>
                    <a:lnTo>
                      <a:pt x="6" y="39"/>
                    </a:lnTo>
                    <a:lnTo>
                      <a:pt x="6" y="40"/>
                    </a:lnTo>
                    <a:lnTo>
                      <a:pt x="5" y="41"/>
                    </a:lnTo>
                    <a:lnTo>
                      <a:pt x="5" y="42"/>
                    </a:lnTo>
                    <a:lnTo>
                      <a:pt x="4" y="43"/>
                    </a:lnTo>
                    <a:lnTo>
                      <a:pt x="4" y="44"/>
                    </a:lnTo>
                    <a:lnTo>
                      <a:pt x="4" y="45"/>
                    </a:lnTo>
                    <a:lnTo>
                      <a:pt x="3" y="46"/>
                    </a:lnTo>
                    <a:lnTo>
                      <a:pt x="3" y="47"/>
                    </a:lnTo>
                    <a:lnTo>
                      <a:pt x="3" y="48"/>
                    </a:lnTo>
                    <a:lnTo>
                      <a:pt x="2" y="49"/>
                    </a:lnTo>
                    <a:lnTo>
                      <a:pt x="2" y="50"/>
                    </a:lnTo>
                    <a:lnTo>
                      <a:pt x="2" y="51"/>
                    </a:lnTo>
                    <a:lnTo>
                      <a:pt x="2" y="52"/>
                    </a:lnTo>
                    <a:lnTo>
                      <a:pt x="1" y="53"/>
                    </a:lnTo>
                    <a:lnTo>
                      <a:pt x="1" y="54"/>
                    </a:lnTo>
                    <a:lnTo>
                      <a:pt x="1" y="55"/>
                    </a:lnTo>
                    <a:lnTo>
                      <a:pt x="1" y="56"/>
                    </a:lnTo>
                    <a:lnTo>
                      <a:pt x="1" y="57"/>
                    </a:lnTo>
                    <a:lnTo>
                      <a:pt x="1"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0" y="71"/>
                    </a:lnTo>
                    <a:lnTo>
                      <a:pt x="0" y="72"/>
                    </a:lnTo>
                    <a:lnTo>
                      <a:pt x="0" y="73"/>
                    </a:lnTo>
                    <a:lnTo>
                      <a:pt x="0" y="74"/>
                    </a:lnTo>
                    <a:lnTo>
                      <a:pt x="1" y="75"/>
                    </a:lnTo>
                    <a:lnTo>
                      <a:pt x="1" y="76"/>
                    </a:lnTo>
                    <a:lnTo>
                      <a:pt x="1" y="77"/>
                    </a:lnTo>
                    <a:lnTo>
                      <a:pt x="1" y="78"/>
                    </a:lnTo>
                    <a:lnTo>
                      <a:pt x="1" y="79"/>
                    </a:lnTo>
                    <a:lnTo>
                      <a:pt x="1" y="80"/>
                    </a:lnTo>
                    <a:lnTo>
                      <a:pt x="2" y="81"/>
                    </a:lnTo>
                    <a:lnTo>
                      <a:pt x="2" y="82"/>
                    </a:lnTo>
                    <a:lnTo>
                      <a:pt x="2" y="83"/>
                    </a:lnTo>
                    <a:lnTo>
                      <a:pt x="2" y="84"/>
                    </a:lnTo>
                    <a:lnTo>
                      <a:pt x="3" y="85"/>
                    </a:lnTo>
                    <a:lnTo>
                      <a:pt x="3" y="86"/>
                    </a:lnTo>
                    <a:lnTo>
                      <a:pt x="3" y="87"/>
                    </a:lnTo>
                    <a:lnTo>
                      <a:pt x="4" y="88"/>
                    </a:lnTo>
                    <a:lnTo>
                      <a:pt x="4" y="89"/>
                    </a:lnTo>
                    <a:lnTo>
                      <a:pt x="4" y="90"/>
                    </a:lnTo>
                    <a:lnTo>
                      <a:pt x="5" y="91"/>
                    </a:lnTo>
                    <a:lnTo>
                      <a:pt x="5" y="92"/>
                    </a:lnTo>
                    <a:lnTo>
                      <a:pt x="6" y="93"/>
                    </a:lnTo>
                    <a:lnTo>
                      <a:pt x="6" y="94"/>
                    </a:lnTo>
                    <a:lnTo>
                      <a:pt x="6" y="95"/>
                    </a:lnTo>
                    <a:lnTo>
                      <a:pt x="7" y="96"/>
                    </a:lnTo>
                    <a:lnTo>
                      <a:pt x="7" y="97"/>
                    </a:lnTo>
                    <a:lnTo>
                      <a:pt x="8" y="98"/>
                    </a:lnTo>
                    <a:lnTo>
                      <a:pt x="8" y="99"/>
                    </a:lnTo>
                    <a:lnTo>
                      <a:pt x="9" y="100"/>
                    </a:lnTo>
                    <a:lnTo>
                      <a:pt x="10" y="101"/>
                    </a:lnTo>
                    <a:lnTo>
                      <a:pt x="10" y="102"/>
                    </a:lnTo>
                    <a:lnTo>
                      <a:pt x="11" y="103"/>
                    </a:lnTo>
                    <a:lnTo>
                      <a:pt x="12" y="104"/>
                    </a:lnTo>
                    <a:lnTo>
                      <a:pt x="12" y="105"/>
                    </a:lnTo>
                    <a:lnTo>
                      <a:pt x="13" y="106"/>
                    </a:lnTo>
                    <a:lnTo>
                      <a:pt x="14" y="107"/>
                    </a:lnTo>
                    <a:lnTo>
                      <a:pt x="15" y="108"/>
                    </a:lnTo>
                    <a:lnTo>
                      <a:pt x="15" y="109"/>
                    </a:lnTo>
                    <a:lnTo>
                      <a:pt x="16" y="110"/>
                    </a:lnTo>
                    <a:lnTo>
                      <a:pt x="17" y="111"/>
                    </a:lnTo>
                    <a:lnTo>
                      <a:pt x="18" y="112"/>
                    </a:lnTo>
                    <a:lnTo>
                      <a:pt x="19" y="113"/>
                    </a:lnTo>
                    <a:lnTo>
                      <a:pt x="20" y="114"/>
                    </a:lnTo>
                    <a:lnTo>
                      <a:pt x="21" y="115"/>
                    </a:lnTo>
                    <a:lnTo>
                      <a:pt x="22" y="116"/>
                    </a:lnTo>
                    <a:lnTo>
                      <a:pt x="23" y="117"/>
                    </a:lnTo>
                    <a:lnTo>
                      <a:pt x="24" y="118"/>
                    </a:lnTo>
                    <a:lnTo>
                      <a:pt x="25" y="118"/>
                    </a:lnTo>
                    <a:lnTo>
                      <a:pt x="26" y="119"/>
                    </a:lnTo>
                    <a:lnTo>
                      <a:pt x="27" y="120"/>
                    </a:lnTo>
                    <a:lnTo>
                      <a:pt x="28" y="121"/>
                    </a:lnTo>
                    <a:lnTo>
                      <a:pt x="29" y="121"/>
                    </a:lnTo>
                    <a:lnTo>
                      <a:pt x="30" y="122"/>
                    </a:lnTo>
                    <a:lnTo>
                      <a:pt x="31" y="123"/>
                    </a:lnTo>
                    <a:lnTo>
                      <a:pt x="32" y="123"/>
                    </a:lnTo>
                    <a:lnTo>
                      <a:pt x="33" y="124"/>
                    </a:lnTo>
                    <a:lnTo>
                      <a:pt x="34" y="125"/>
                    </a:lnTo>
                    <a:lnTo>
                      <a:pt x="35" y="125"/>
                    </a:lnTo>
                    <a:lnTo>
                      <a:pt x="36" y="126"/>
                    </a:lnTo>
                    <a:lnTo>
                      <a:pt x="37" y="126"/>
                    </a:lnTo>
                    <a:lnTo>
                      <a:pt x="38" y="127"/>
                    </a:lnTo>
                    <a:lnTo>
                      <a:pt x="39" y="127"/>
                    </a:lnTo>
                    <a:lnTo>
                      <a:pt x="40" y="127"/>
                    </a:lnTo>
                    <a:lnTo>
                      <a:pt x="41" y="128"/>
                    </a:lnTo>
                    <a:lnTo>
                      <a:pt x="42" y="128"/>
                    </a:lnTo>
                    <a:lnTo>
                      <a:pt x="43" y="129"/>
                    </a:lnTo>
                    <a:lnTo>
                      <a:pt x="44" y="129"/>
                    </a:lnTo>
                    <a:lnTo>
                      <a:pt x="45" y="129"/>
                    </a:lnTo>
                    <a:lnTo>
                      <a:pt x="46" y="130"/>
                    </a:lnTo>
                    <a:lnTo>
                      <a:pt x="47" y="130"/>
                    </a:lnTo>
                    <a:lnTo>
                      <a:pt x="48" y="130"/>
                    </a:lnTo>
                    <a:lnTo>
                      <a:pt x="49" y="131"/>
                    </a:lnTo>
                    <a:lnTo>
                      <a:pt x="50" y="131"/>
                    </a:lnTo>
                    <a:lnTo>
                      <a:pt x="51" y="131"/>
                    </a:lnTo>
                    <a:lnTo>
                      <a:pt x="52" y="131"/>
                    </a:lnTo>
                    <a:lnTo>
                      <a:pt x="53" y="132"/>
                    </a:lnTo>
                    <a:lnTo>
                      <a:pt x="54" y="132"/>
                    </a:lnTo>
                    <a:lnTo>
                      <a:pt x="55" y="132"/>
                    </a:lnTo>
                    <a:lnTo>
                      <a:pt x="56" y="132"/>
                    </a:lnTo>
                    <a:lnTo>
                      <a:pt x="57" y="132"/>
                    </a:lnTo>
                    <a:lnTo>
                      <a:pt x="58" y="132"/>
                    </a:lnTo>
                    <a:lnTo>
                      <a:pt x="59" y="133"/>
                    </a:lnTo>
                    <a:lnTo>
                      <a:pt x="60" y="133"/>
                    </a:lnTo>
                    <a:lnTo>
                      <a:pt x="61" y="133"/>
                    </a:lnTo>
                    <a:lnTo>
                      <a:pt x="62" y="133"/>
                    </a:lnTo>
                    <a:lnTo>
                      <a:pt x="63" y="133"/>
                    </a:lnTo>
                    <a:lnTo>
                      <a:pt x="64" y="133"/>
                    </a:lnTo>
                    <a:lnTo>
                      <a:pt x="65" y="133"/>
                    </a:lnTo>
                    <a:lnTo>
                      <a:pt x="66" y="133"/>
                    </a:lnTo>
                    <a:lnTo>
                      <a:pt x="67" y="133"/>
                    </a:lnTo>
                    <a:lnTo>
                      <a:pt x="68" y="133"/>
                    </a:lnTo>
                    <a:lnTo>
                      <a:pt x="69" y="133"/>
                    </a:lnTo>
                    <a:lnTo>
                      <a:pt x="70" y="133"/>
                    </a:lnTo>
                    <a:lnTo>
                      <a:pt x="71" y="133"/>
                    </a:lnTo>
                    <a:lnTo>
                      <a:pt x="72" y="133"/>
                    </a:lnTo>
                    <a:lnTo>
                      <a:pt x="73" y="133"/>
                    </a:lnTo>
                    <a:lnTo>
                      <a:pt x="74" y="133"/>
                    </a:lnTo>
                    <a:lnTo>
                      <a:pt x="75" y="132"/>
                    </a:lnTo>
                    <a:lnTo>
                      <a:pt x="76" y="132"/>
                    </a:lnTo>
                    <a:lnTo>
                      <a:pt x="77" y="132"/>
                    </a:lnTo>
                    <a:lnTo>
                      <a:pt x="78" y="132"/>
                    </a:lnTo>
                    <a:lnTo>
                      <a:pt x="79" y="132"/>
                    </a:lnTo>
                    <a:lnTo>
                      <a:pt x="80" y="132"/>
                    </a:lnTo>
                    <a:lnTo>
                      <a:pt x="81" y="131"/>
                    </a:lnTo>
                    <a:lnTo>
                      <a:pt x="82" y="131"/>
                    </a:lnTo>
                    <a:lnTo>
                      <a:pt x="83" y="131"/>
                    </a:lnTo>
                    <a:lnTo>
                      <a:pt x="84" y="131"/>
                    </a:lnTo>
                    <a:lnTo>
                      <a:pt x="85" y="130"/>
                    </a:lnTo>
                    <a:lnTo>
                      <a:pt x="86" y="130"/>
                    </a:lnTo>
                    <a:lnTo>
                      <a:pt x="87" y="130"/>
                    </a:lnTo>
                    <a:lnTo>
                      <a:pt x="88" y="129"/>
                    </a:lnTo>
                    <a:lnTo>
                      <a:pt x="89" y="129"/>
                    </a:lnTo>
                    <a:lnTo>
                      <a:pt x="90" y="129"/>
                    </a:lnTo>
                    <a:lnTo>
                      <a:pt x="91" y="128"/>
                    </a:lnTo>
                    <a:lnTo>
                      <a:pt x="92" y="128"/>
                    </a:lnTo>
                    <a:lnTo>
                      <a:pt x="93" y="127"/>
                    </a:lnTo>
                    <a:lnTo>
                      <a:pt x="94" y="127"/>
                    </a:lnTo>
                    <a:lnTo>
                      <a:pt x="95" y="127"/>
                    </a:lnTo>
                    <a:lnTo>
                      <a:pt x="96" y="126"/>
                    </a:lnTo>
                    <a:lnTo>
                      <a:pt x="97" y="126"/>
                    </a:lnTo>
                    <a:lnTo>
                      <a:pt x="98" y="125"/>
                    </a:lnTo>
                    <a:lnTo>
                      <a:pt x="99" y="125"/>
                    </a:lnTo>
                    <a:lnTo>
                      <a:pt x="100" y="124"/>
                    </a:lnTo>
                    <a:lnTo>
                      <a:pt x="101" y="123"/>
                    </a:lnTo>
                    <a:lnTo>
                      <a:pt x="102" y="123"/>
                    </a:lnTo>
                    <a:lnTo>
                      <a:pt x="103" y="122"/>
                    </a:lnTo>
                    <a:lnTo>
                      <a:pt x="104" y="121"/>
                    </a:lnTo>
                    <a:lnTo>
                      <a:pt x="105" y="121"/>
                    </a:lnTo>
                    <a:lnTo>
                      <a:pt x="106" y="120"/>
                    </a:lnTo>
                    <a:lnTo>
                      <a:pt x="107" y="119"/>
                    </a:lnTo>
                    <a:lnTo>
                      <a:pt x="108" y="118"/>
                    </a:lnTo>
                    <a:lnTo>
                      <a:pt x="109" y="118"/>
                    </a:lnTo>
                    <a:lnTo>
                      <a:pt x="110" y="117"/>
                    </a:lnTo>
                    <a:lnTo>
                      <a:pt x="111" y="116"/>
                    </a:lnTo>
                    <a:lnTo>
                      <a:pt x="112" y="115"/>
                    </a:lnTo>
                    <a:lnTo>
                      <a:pt x="113" y="114"/>
                    </a:lnTo>
                    <a:lnTo>
                      <a:pt x="114" y="113"/>
                    </a:lnTo>
                    <a:lnTo>
                      <a:pt x="115" y="112"/>
                    </a:lnTo>
                    <a:lnTo>
                      <a:pt x="116" y="111"/>
                    </a:lnTo>
                    <a:lnTo>
                      <a:pt x="117" y="110"/>
                    </a:lnTo>
                    <a:lnTo>
                      <a:pt x="118" y="109"/>
                    </a:lnTo>
                    <a:lnTo>
                      <a:pt x="118" y="108"/>
                    </a:lnTo>
                    <a:lnTo>
                      <a:pt x="119" y="107"/>
                    </a:lnTo>
                    <a:lnTo>
                      <a:pt x="120" y="106"/>
                    </a:lnTo>
                    <a:lnTo>
                      <a:pt x="121" y="105"/>
                    </a:lnTo>
                    <a:lnTo>
                      <a:pt x="121" y="104"/>
                    </a:lnTo>
                    <a:lnTo>
                      <a:pt x="122" y="103"/>
                    </a:lnTo>
                    <a:lnTo>
                      <a:pt x="123" y="102"/>
                    </a:lnTo>
                    <a:lnTo>
                      <a:pt x="123" y="101"/>
                    </a:lnTo>
                    <a:lnTo>
                      <a:pt x="124" y="100"/>
                    </a:lnTo>
                    <a:lnTo>
                      <a:pt x="125" y="99"/>
                    </a:lnTo>
                    <a:lnTo>
                      <a:pt x="125" y="98"/>
                    </a:lnTo>
                    <a:lnTo>
                      <a:pt x="126" y="97"/>
                    </a:lnTo>
                    <a:lnTo>
                      <a:pt x="126" y="96"/>
                    </a:lnTo>
                    <a:lnTo>
                      <a:pt x="127" y="95"/>
                    </a:lnTo>
                    <a:lnTo>
                      <a:pt x="127" y="94"/>
                    </a:lnTo>
                    <a:lnTo>
                      <a:pt x="127" y="93"/>
                    </a:lnTo>
                    <a:lnTo>
                      <a:pt x="128" y="92"/>
                    </a:lnTo>
                    <a:lnTo>
                      <a:pt x="128" y="91"/>
                    </a:lnTo>
                    <a:lnTo>
                      <a:pt x="129" y="90"/>
                    </a:lnTo>
                    <a:lnTo>
                      <a:pt x="129" y="89"/>
                    </a:lnTo>
                    <a:lnTo>
                      <a:pt x="129" y="88"/>
                    </a:lnTo>
                    <a:lnTo>
                      <a:pt x="130" y="87"/>
                    </a:lnTo>
                    <a:lnTo>
                      <a:pt x="130" y="86"/>
                    </a:lnTo>
                    <a:lnTo>
                      <a:pt x="130" y="85"/>
                    </a:lnTo>
                    <a:lnTo>
                      <a:pt x="131" y="84"/>
                    </a:lnTo>
                    <a:lnTo>
                      <a:pt x="131" y="83"/>
                    </a:lnTo>
                    <a:lnTo>
                      <a:pt x="131" y="82"/>
                    </a:lnTo>
                    <a:lnTo>
                      <a:pt x="131" y="81"/>
                    </a:lnTo>
                    <a:lnTo>
                      <a:pt x="132" y="80"/>
                    </a:lnTo>
                    <a:lnTo>
                      <a:pt x="132" y="79"/>
                    </a:lnTo>
                    <a:lnTo>
                      <a:pt x="132" y="78"/>
                    </a:lnTo>
                    <a:lnTo>
                      <a:pt x="132" y="77"/>
                    </a:lnTo>
                    <a:lnTo>
                      <a:pt x="132" y="76"/>
                    </a:lnTo>
                    <a:lnTo>
                      <a:pt x="132" y="75"/>
                    </a:lnTo>
                    <a:lnTo>
                      <a:pt x="133" y="74"/>
                    </a:lnTo>
                    <a:lnTo>
                      <a:pt x="133" y="73"/>
                    </a:lnTo>
                    <a:lnTo>
                      <a:pt x="133" y="72"/>
                    </a:lnTo>
                    <a:lnTo>
                      <a:pt x="133" y="71"/>
                    </a:lnTo>
                    <a:lnTo>
                      <a:pt x="133" y="70"/>
                    </a:lnTo>
                    <a:lnTo>
                      <a:pt x="133" y="69"/>
                    </a:lnTo>
                    <a:lnTo>
                      <a:pt x="133" y="68"/>
                    </a:lnTo>
                    <a:lnTo>
                      <a:pt x="133" y="67"/>
                    </a:lnTo>
                    <a:lnTo>
                      <a:pt x="133" y="66"/>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19" name="Freeform 300"/>
              <p:cNvSpPr>
                <a:spLocks/>
              </p:cNvSpPr>
              <p:nvPr/>
            </p:nvSpPr>
            <p:spPr bwMode="auto">
              <a:xfrm>
                <a:off x="2446" y="2341"/>
                <a:ext cx="166" cy="165"/>
              </a:xfrm>
              <a:custGeom>
                <a:avLst/>
                <a:gdLst>
                  <a:gd name="T0" fmla="*/ 105 w 105"/>
                  <a:gd name="T1" fmla="*/ 102 h 104"/>
                  <a:gd name="T2" fmla="*/ 105 w 105"/>
                  <a:gd name="T3" fmla="*/ 99 h 104"/>
                  <a:gd name="T4" fmla="*/ 105 w 105"/>
                  <a:gd name="T5" fmla="*/ 96 h 104"/>
                  <a:gd name="T6" fmla="*/ 104 w 105"/>
                  <a:gd name="T7" fmla="*/ 93 h 104"/>
                  <a:gd name="T8" fmla="*/ 104 w 105"/>
                  <a:gd name="T9" fmla="*/ 90 h 104"/>
                  <a:gd name="T10" fmla="*/ 104 w 105"/>
                  <a:gd name="T11" fmla="*/ 87 h 104"/>
                  <a:gd name="T12" fmla="*/ 103 w 105"/>
                  <a:gd name="T13" fmla="*/ 84 h 104"/>
                  <a:gd name="T14" fmla="*/ 102 w 105"/>
                  <a:gd name="T15" fmla="*/ 81 h 104"/>
                  <a:gd name="T16" fmla="*/ 102 w 105"/>
                  <a:gd name="T17" fmla="*/ 78 h 104"/>
                  <a:gd name="T18" fmla="*/ 101 w 105"/>
                  <a:gd name="T19" fmla="*/ 75 h 104"/>
                  <a:gd name="T20" fmla="*/ 100 w 105"/>
                  <a:gd name="T21" fmla="*/ 72 h 104"/>
                  <a:gd name="T22" fmla="*/ 99 w 105"/>
                  <a:gd name="T23" fmla="*/ 69 h 104"/>
                  <a:gd name="T24" fmla="*/ 98 w 105"/>
                  <a:gd name="T25" fmla="*/ 66 h 104"/>
                  <a:gd name="T26" fmla="*/ 97 w 105"/>
                  <a:gd name="T27" fmla="*/ 63 h 104"/>
                  <a:gd name="T28" fmla="*/ 95 w 105"/>
                  <a:gd name="T29" fmla="*/ 60 h 104"/>
                  <a:gd name="T30" fmla="*/ 94 w 105"/>
                  <a:gd name="T31" fmla="*/ 57 h 104"/>
                  <a:gd name="T32" fmla="*/ 92 w 105"/>
                  <a:gd name="T33" fmla="*/ 54 h 104"/>
                  <a:gd name="T34" fmla="*/ 90 w 105"/>
                  <a:gd name="T35" fmla="*/ 51 h 104"/>
                  <a:gd name="T36" fmla="*/ 89 w 105"/>
                  <a:gd name="T37" fmla="*/ 48 h 104"/>
                  <a:gd name="T38" fmla="*/ 87 w 105"/>
                  <a:gd name="T39" fmla="*/ 45 h 104"/>
                  <a:gd name="T40" fmla="*/ 84 w 105"/>
                  <a:gd name="T41" fmla="*/ 42 h 104"/>
                  <a:gd name="T42" fmla="*/ 82 w 105"/>
                  <a:gd name="T43" fmla="*/ 39 h 104"/>
                  <a:gd name="T44" fmla="*/ 80 w 105"/>
                  <a:gd name="T45" fmla="*/ 36 h 104"/>
                  <a:gd name="T46" fmla="*/ 77 w 105"/>
                  <a:gd name="T47" fmla="*/ 33 h 104"/>
                  <a:gd name="T48" fmla="*/ 74 w 105"/>
                  <a:gd name="T49" fmla="*/ 30 h 104"/>
                  <a:gd name="T50" fmla="*/ 71 w 105"/>
                  <a:gd name="T51" fmla="*/ 27 h 104"/>
                  <a:gd name="T52" fmla="*/ 68 w 105"/>
                  <a:gd name="T53" fmla="*/ 25 h 104"/>
                  <a:gd name="T54" fmla="*/ 65 w 105"/>
                  <a:gd name="T55" fmla="*/ 22 h 104"/>
                  <a:gd name="T56" fmla="*/ 62 w 105"/>
                  <a:gd name="T57" fmla="*/ 20 h 104"/>
                  <a:gd name="T58" fmla="*/ 59 w 105"/>
                  <a:gd name="T59" fmla="*/ 18 h 104"/>
                  <a:gd name="T60" fmla="*/ 56 w 105"/>
                  <a:gd name="T61" fmla="*/ 16 h 104"/>
                  <a:gd name="T62" fmla="*/ 53 w 105"/>
                  <a:gd name="T63" fmla="*/ 14 h 104"/>
                  <a:gd name="T64" fmla="*/ 50 w 105"/>
                  <a:gd name="T65" fmla="*/ 12 h 104"/>
                  <a:gd name="T66" fmla="*/ 47 w 105"/>
                  <a:gd name="T67" fmla="*/ 11 h 104"/>
                  <a:gd name="T68" fmla="*/ 44 w 105"/>
                  <a:gd name="T69" fmla="*/ 9 h 104"/>
                  <a:gd name="T70" fmla="*/ 41 w 105"/>
                  <a:gd name="T71" fmla="*/ 8 h 104"/>
                  <a:gd name="T72" fmla="*/ 38 w 105"/>
                  <a:gd name="T73" fmla="*/ 7 h 104"/>
                  <a:gd name="T74" fmla="*/ 35 w 105"/>
                  <a:gd name="T75" fmla="*/ 6 h 104"/>
                  <a:gd name="T76" fmla="*/ 32 w 105"/>
                  <a:gd name="T77" fmla="*/ 5 h 104"/>
                  <a:gd name="T78" fmla="*/ 29 w 105"/>
                  <a:gd name="T79" fmla="*/ 4 h 104"/>
                  <a:gd name="T80" fmla="*/ 26 w 105"/>
                  <a:gd name="T81" fmla="*/ 3 h 104"/>
                  <a:gd name="T82" fmla="*/ 23 w 105"/>
                  <a:gd name="T83" fmla="*/ 2 h 104"/>
                  <a:gd name="T84" fmla="*/ 20 w 105"/>
                  <a:gd name="T85" fmla="*/ 2 h 104"/>
                  <a:gd name="T86" fmla="*/ 17 w 105"/>
                  <a:gd name="T87" fmla="*/ 1 h 104"/>
                  <a:gd name="T88" fmla="*/ 14 w 105"/>
                  <a:gd name="T89" fmla="*/ 1 h 104"/>
                  <a:gd name="T90" fmla="*/ 11 w 105"/>
                  <a:gd name="T91" fmla="*/ 1 h 104"/>
                  <a:gd name="T92" fmla="*/ 8 w 105"/>
                  <a:gd name="T93" fmla="*/ 0 h 104"/>
                  <a:gd name="T94" fmla="*/ 5 w 105"/>
                  <a:gd name="T95" fmla="*/ 0 h 104"/>
                  <a:gd name="T96" fmla="*/ 2 w 105"/>
                  <a:gd name="T97" fmla="*/ 0 h 104"/>
                  <a:gd name="T98" fmla="*/ 0 w 105"/>
                  <a:gd name="T9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5" h="104">
                    <a:moveTo>
                      <a:pt x="105" y="104"/>
                    </a:moveTo>
                    <a:lnTo>
                      <a:pt x="105" y="103"/>
                    </a:lnTo>
                    <a:lnTo>
                      <a:pt x="105" y="102"/>
                    </a:lnTo>
                    <a:lnTo>
                      <a:pt x="105" y="101"/>
                    </a:lnTo>
                    <a:lnTo>
                      <a:pt x="105" y="100"/>
                    </a:lnTo>
                    <a:lnTo>
                      <a:pt x="105" y="99"/>
                    </a:lnTo>
                    <a:lnTo>
                      <a:pt x="105" y="98"/>
                    </a:lnTo>
                    <a:lnTo>
                      <a:pt x="105" y="97"/>
                    </a:lnTo>
                    <a:lnTo>
                      <a:pt x="105" y="96"/>
                    </a:lnTo>
                    <a:lnTo>
                      <a:pt x="105" y="95"/>
                    </a:lnTo>
                    <a:lnTo>
                      <a:pt x="105" y="94"/>
                    </a:lnTo>
                    <a:lnTo>
                      <a:pt x="104" y="93"/>
                    </a:lnTo>
                    <a:lnTo>
                      <a:pt x="104" y="92"/>
                    </a:lnTo>
                    <a:lnTo>
                      <a:pt x="104" y="91"/>
                    </a:lnTo>
                    <a:lnTo>
                      <a:pt x="104" y="90"/>
                    </a:lnTo>
                    <a:lnTo>
                      <a:pt x="104" y="89"/>
                    </a:lnTo>
                    <a:lnTo>
                      <a:pt x="104" y="88"/>
                    </a:lnTo>
                    <a:lnTo>
                      <a:pt x="104" y="87"/>
                    </a:lnTo>
                    <a:lnTo>
                      <a:pt x="103" y="86"/>
                    </a:lnTo>
                    <a:lnTo>
                      <a:pt x="103" y="85"/>
                    </a:lnTo>
                    <a:lnTo>
                      <a:pt x="103" y="84"/>
                    </a:lnTo>
                    <a:lnTo>
                      <a:pt x="103" y="83"/>
                    </a:lnTo>
                    <a:lnTo>
                      <a:pt x="103" y="82"/>
                    </a:lnTo>
                    <a:lnTo>
                      <a:pt x="102" y="81"/>
                    </a:lnTo>
                    <a:lnTo>
                      <a:pt x="102" y="80"/>
                    </a:lnTo>
                    <a:lnTo>
                      <a:pt x="102" y="79"/>
                    </a:lnTo>
                    <a:lnTo>
                      <a:pt x="102" y="78"/>
                    </a:lnTo>
                    <a:lnTo>
                      <a:pt x="101" y="77"/>
                    </a:lnTo>
                    <a:lnTo>
                      <a:pt x="101" y="76"/>
                    </a:lnTo>
                    <a:lnTo>
                      <a:pt x="101" y="75"/>
                    </a:lnTo>
                    <a:lnTo>
                      <a:pt x="101" y="74"/>
                    </a:lnTo>
                    <a:lnTo>
                      <a:pt x="100" y="73"/>
                    </a:lnTo>
                    <a:lnTo>
                      <a:pt x="100" y="72"/>
                    </a:lnTo>
                    <a:lnTo>
                      <a:pt x="100" y="71"/>
                    </a:lnTo>
                    <a:lnTo>
                      <a:pt x="99" y="70"/>
                    </a:lnTo>
                    <a:lnTo>
                      <a:pt x="99" y="69"/>
                    </a:lnTo>
                    <a:lnTo>
                      <a:pt x="99" y="68"/>
                    </a:lnTo>
                    <a:lnTo>
                      <a:pt x="98" y="67"/>
                    </a:lnTo>
                    <a:lnTo>
                      <a:pt x="98" y="66"/>
                    </a:lnTo>
                    <a:lnTo>
                      <a:pt x="97" y="65"/>
                    </a:lnTo>
                    <a:lnTo>
                      <a:pt x="97" y="64"/>
                    </a:lnTo>
                    <a:lnTo>
                      <a:pt x="97" y="63"/>
                    </a:lnTo>
                    <a:lnTo>
                      <a:pt x="96" y="62"/>
                    </a:lnTo>
                    <a:lnTo>
                      <a:pt x="96" y="61"/>
                    </a:lnTo>
                    <a:lnTo>
                      <a:pt x="95" y="60"/>
                    </a:lnTo>
                    <a:lnTo>
                      <a:pt x="95" y="59"/>
                    </a:lnTo>
                    <a:lnTo>
                      <a:pt x="94" y="58"/>
                    </a:lnTo>
                    <a:lnTo>
                      <a:pt x="94" y="57"/>
                    </a:lnTo>
                    <a:lnTo>
                      <a:pt x="93" y="56"/>
                    </a:lnTo>
                    <a:lnTo>
                      <a:pt x="93" y="55"/>
                    </a:lnTo>
                    <a:lnTo>
                      <a:pt x="92" y="54"/>
                    </a:lnTo>
                    <a:lnTo>
                      <a:pt x="92" y="53"/>
                    </a:lnTo>
                    <a:lnTo>
                      <a:pt x="91" y="52"/>
                    </a:lnTo>
                    <a:lnTo>
                      <a:pt x="90" y="51"/>
                    </a:lnTo>
                    <a:lnTo>
                      <a:pt x="90" y="50"/>
                    </a:lnTo>
                    <a:lnTo>
                      <a:pt x="89" y="49"/>
                    </a:lnTo>
                    <a:lnTo>
                      <a:pt x="89" y="48"/>
                    </a:lnTo>
                    <a:lnTo>
                      <a:pt x="88" y="47"/>
                    </a:lnTo>
                    <a:lnTo>
                      <a:pt x="87" y="46"/>
                    </a:lnTo>
                    <a:lnTo>
                      <a:pt x="87" y="45"/>
                    </a:lnTo>
                    <a:lnTo>
                      <a:pt x="86" y="44"/>
                    </a:lnTo>
                    <a:lnTo>
                      <a:pt x="85" y="43"/>
                    </a:lnTo>
                    <a:lnTo>
                      <a:pt x="84" y="42"/>
                    </a:lnTo>
                    <a:lnTo>
                      <a:pt x="84" y="41"/>
                    </a:lnTo>
                    <a:lnTo>
                      <a:pt x="83" y="40"/>
                    </a:lnTo>
                    <a:lnTo>
                      <a:pt x="82" y="39"/>
                    </a:lnTo>
                    <a:lnTo>
                      <a:pt x="81" y="38"/>
                    </a:lnTo>
                    <a:lnTo>
                      <a:pt x="80" y="37"/>
                    </a:lnTo>
                    <a:lnTo>
                      <a:pt x="80" y="36"/>
                    </a:lnTo>
                    <a:lnTo>
                      <a:pt x="79" y="35"/>
                    </a:lnTo>
                    <a:lnTo>
                      <a:pt x="78" y="34"/>
                    </a:lnTo>
                    <a:lnTo>
                      <a:pt x="77" y="33"/>
                    </a:lnTo>
                    <a:lnTo>
                      <a:pt x="76" y="32"/>
                    </a:lnTo>
                    <a:lnTo>
                      <a:pt x="75" y="31"/>
                    </a:lnTo>
                    <a:lnTo>
                      <a:pt x="74" y="30"/>
                    </a:lnTo>
                    <a:lnTo>
                      <a:pt x="73" y="29"/>
                    </a:lnTo>
                    <a:lnTo>
                      <a:pt x="72" y="28"/>
                    </a:lnTo>
                    <a:lnTo>
                      <a:pt x="71" y="27"/>
                    </a:lnTo>
                    <a:lnTo>
                      <a:pt x="70" y="26"/>
                    </a:lnTo>
                    <a:lnTo>
                      <a:pt x="69" y="25"/>
                    </a:lnTo>
                    <a:lnTo>
                      <a:pt x="68" y="25"/>
                    </a:lnTo>
                    <a:lnTo>
                      <a:pt x="67" y="24"/>
                    </a:lnTo>
                    <a:lnTo>
                      <a:pt x="66" y="23"/>
                    </a:lnTo>
                    <a:lnTo>
                      <a:pt x="65" y="22"/>
                    </a:lnTo>
                    <a:lnTo>
                      <a:pt x="64" y="21"/>
                    </a:lnTo>
                    <a:lnTo>
                      <a:pt x="63" y="21"/>
                    </a:lnTo>
                    <a:lnTo>
                      <a:pt x="62" y="20"/>
                    </a:lnTo>
                    <a:lnTo>
                      <a:pt x="61" y="19"/>
                    </a:lnTo>
                    <a:lnTo>
                      <a:pt x="60" y="19"/>
                    </a:lnTo>
                    <a:lnTo>
                      <a:pt x="59" y="18"/>
                    </a:lnTo>
                    <a:lnTo>
                      <a:pt x="58" y="17"/>
                    </a:lnTo>
                    <a:lnTo>
                      <a:pt x="57" y="17"/>
                    </a:lnTo>
                    <a:lnTo>
                      <a:pt x="56" y="16"/>
                    </a:lnTo>
                    <a:lnTo>
                      <a:pt x="55" y="15"/>
                    </a:lnTo>
                    <a:lnTo>
                      <a:pt x="54" y="15"/>
                    </a:lnTo>
                    <a:lnTo>
                      <a:pt x="53" y="14"/>
                    </a:lnTo>
                    <a:lnTo>
                      <a:pt x="52" y="14"/>
                    </a:lnTo>
                    <a:lnTo>
                      <a:pt x="51" y="13"/>
                    </a:lnTo>
                    <a:lnTo>
                      <a:pt x="50" y="12"/>
                    </a:lnTo>
                    <a:lnTo>
                      <a:pt x="49" y="12"/>
                    </a:lnTo>
                    <a:lnTo>
                      <a:pt x="48" y="11"/>
                    </a:lnTo>
                    <a:lnTo>
                      <a:pt x="47" y="11"/>
                    </a:lnTo>
                    <a:lnTo>
                      <a:pt x="46" y="10"/>
                    </a:lnTo>
                    <a:lnTo>
                      <a:pt x="45" y="10"/>
                    </a:lnTo>
                    <a:lnTo>
                      <a:pt x="44" y="9"/>
                    </a:lnTo>
                    <a:lnTo>
                      <a:pt x="43" y="9"/>
                    </a:lnTo>
                    <a:lnTo>
                      <a:pt x="42" y="9"/>
                    </a:lnTo>
                    <a:lnTo>
                      <a:pt x="41" y="8"/>
                    </a:lnTo>
                    <a:lnTo>
                      <a:pt x="40" y="8"/>
                    </a:lnTo>
                    <a:lnTo>
                      <a:pt x="39" y="7"/>
                    </a:lnTo>
                    <a:lnTo>
                      <a:pt x="38" y="7"/>
                    </a:lnTo>
                    <a:lnTo>
                      <a:pt x="37" y="7"/>
                    </a:lnTo>
                    <a:lnTo>
                      <a:pt x="36" y="6"/>
                    </a:lnTo>
                    <a:lnTo>
                      <a:pt x="35" y="6"/>
                    </a:lnTo>
                    <a:lnTo>
                      <a:pt x="34" y="5"/>
                    </a:lnTo>
                    <a:lnTo>
                      <a:pt x="33" y="5"/>
                    </a:lnTo>
                    <a:lnTo>
                      <a:pt x="32" y="5"/>
                    </a:lnTo>
                    <a:lnTo>
                      <a:pt x="31" y="5"/>
                    </a:lnTo>
                    <a:lnTo>
                      <a:pt x="30" y="4"/>
                    </a:lnTo>
                    <a:lnTo>
                      <a:pt x="29" y="4"/>
                    </a:lnTo>
                    <a:lnTo>
                      <a:pt x="28" y="4"/>
                    </a:lnTo>
                    <a:lnTo>
                      <a:pt x="27" y="3"/>
                    </a:lnTo>
                    <a:lnTo>
                      <a:pt x="26" y="3"/>
                    </a:lnTo>
                    <a:lnTo>
                      <a:pt x="25" y="3"/>
                    </a:lnTo>
                    <a:lnTo>
                      <a:pt x="24" y="3"/>
                    </a:lnTo>
                    <a:lnTo>
                      <a:pt x="23" y="2"/>
                    </a:lnTo>
                    <a:lnTo>
                      <a:pt x="22" y="2"/>
                    </a:lnTo>
                    <a:lnTo>
                      <a:pt x="21" y="2"/>
                    </a:lnTo>
                    <a:lnTo>
                      <a:pt x="20" y="2"/>
                    </a:lnTo>
                    <a:lnTo>
                      <a:pt x="19" y="2"/>
                    </a:lnTo>
                    <a:lnTo>
                      <a:pt x="18" y="1"/>
                    </a:lnTo>
                    <a:lnTo>
                      <a:pt x="17" y="1"/>
                    </a:lnTo>
                    <a:lnTo>
                      <a:pt x="16" y="1"/>
                    </a:lnTo>
                    <a:lnTo>
                      <a:pt x="15" y="1"/>
                    </a:lnTo>
                    <a:lnTo>
                      <a:pt x="14" y="1"/>
                    </a:lnTo>
                    <a:lnTo>
                      <a:pt x="13" y="1"/>
                    </a:lnTo>
                    <a:lnTo>
                      <a:pt x="12" y="1"/>
                    </a:lnTo>
                    <a:lnTo>
                      <a:pt x="11" y="1"/>
                    </a:lnTo>
                    <a:lnTo>
                      <a:pt x="10" y="0"/>
                    </a:lnTo>
                    <a:lnTo>
                      <a:pt x="9" y="0"/>
                    </a:lnTo>
                    <a:lnTo>
                      <a:pt x="8" y="0"/>
                    </a:lnTo>
                    <a:lnTo>
                      <a:pt x="7" y="0"/>
                    </a:lnTo>
                    <a:lnTo>
                      <a:pt x="6" y="0"/>
                    </a:lnTo>
                    <a:lnTo>
                      <a:pt x="5" y="0"/>
                    </a:lnTo>
                    <a:lnTo>
                      <a:pt x="4" y="0"/>
                    </a:lnTo>
                    <a:lnTo>
                      <a:pt x="3" y="0"/>
                    </a:lnTo>
                    <a:lnTo>
                      <a:pt x="2" y="0"/>
                    </a:lnTo>
                    <a:lnTo>
                      <a:pt x="1" y="0"/>
                    </a:lnTo>
                    <a:lnTo>
                      <a:pt x="0" y="0"/>
                    </a:lnTo>
                    <a:lnTo>
                      <a:pt x="0" y="0"/>
                    </a:lnTo>
                    <a:lnTo>
                      <a:pt x="0" y="104"/>
                    </a:lnTo>
                    <a:lnTo>
                      <a:pt x="105" y="104"/>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20" name="Freeform 301"/>
              <p:cNvSpPr>
                <a:spLocks/>
              </p:cNvSpPr>
              <p:nvPr/>
            </p:nvSpPr>
            <p:spPr bwMode="auto">
              <a:xfrm>
                <a:off x="2281" y="2341"/>
                <a:ext cx="331" cy="330"/>
              </a:xfrm>
              <a:custGeom>
                <a:avLst/>
                <a:gdLst>
                  <a:gd name="T0" fmla="*/ 98 w 209"/>
                  <a:gd name="T1" fmla="*/ 0 h 208"/>
                  <a:gd name="T2" fmla="*/ 91 w 209"/>
                  <a:gd name="T3" fmla="*/ 1 h 208"/>
                  <a:gd name="T4" fmla="*/ 84 w 209"/>
                  <a:gd name="T5" fmla="*/ 2 h 208"/>
                  <a:gd name="T6" fmla="*/ 77 w 209"/>
                  <a:gd name="T7" fmla="*/ 4 h 208"/>
                  <a:gd name="T8" fmla="*/ 70 w 209"/>
                  <a:gd name="T9" fmla="*/ 6 h 208"/>
                  <a:gd name="T10" fmla="*/ 63 w 209"/>
                  <a:gd name="T11" fmla="*/ 9 h 208"/>
                  <a:gd name="T12" fmla="*/ 56 w 209"/>
                  <a:gd name="T13" fmla="*/ 12 h 208"/>
                  <a:gd name="T14" fmla="*/ 49 w 209"/>
                  <a:gd name="T15" fmla="*/ 16 h 208"/>
                  <a:gd name="T16" fmla="*/ 42 w 209"/>
                  <a:gd name="T17" fmla="*/ 21 h 208"/>
                  <a:gd name="T18" fmla="*/ 35 w 209"/>
                  <a:gd name="T19" fmla="*/ 26 h 208"/>
                  <a:gd name="T20" fmla="*/ 28 w 209"/>
                  <a:gd name="T21" fmla="*/ 33 h 208"/>
                  <a:gd name="T22" fmla="*/ 22 w 209"/>
                  <a:gd name="T23" fmla="*/ 40 h 208"/>
                  <a:gd name="T24" fmla="*/ 17 w 209"/>
                  <a:gd name="T25" fmla="*/ 47 h 208"/>
                  <a:gd name="T26" fmla="*/ 13 w 209"/>
                  <a:gd name="T27" fmla="*/ 54 h 208"/>
                  <a:gd name="T28" fmla="*/ 9 w 209"/>
                  <a:gd name="T29" fmla="*/ 61 h 208"/>
                  <a:gd name="T30" fmla="*/ 6 w 209"/>
                  <a:gd name="T31" fmla="*/ 68 h 208"/>
                  <a:gd name="T32" fmla="*/ 4 w 209"/>
                  <a:gd name="T33" fmla="*/ 75 h 208"/>
                  <a:gd name="T34" fmla="*/ 2 w 209"/>
                  <a:gd name="T35" fmla="*/ 82 h 208"/>
                  <a:gd name="T36" fmla="*/ 1 w 209"/>
                  <a:gd name="T37" fmla="*/ 89 h 208"/>
                  <a:gd name="T38" fmla="*/ 0 w 209"/>
                  <a:gd name="T39" fmla="*/ 96 h 208"/>
                  <a:gd name="T40" fmla="*/ 0 w 209"/>
                  <a:gd name="T41" fmla="*/ 103 h 208"/>
                  <a:gd name="T42" fmla="*/ 0 w 209"/>
                  <a:gd name="T43" fmla="*/ 110 h 208"/>
                  <a:gd name="T44" fmla="*/ 1 w 209"/>
                  <a:gd name="T45" fmla="*/ 117 h 208"/>
                  <a:gd name="T46" fmla="*/ 2 w 209"/>
                  <a:gd name="T47" fmla="*/ 124 h 208"/>
                  <a:gd name="T48" fmla="*/ 4 w 209"/>
                  <a:gd name="T49" fmla="*/ 131 h 208"/>
                  <a:gd name="T50" fmla="*/ 6 w 209"/>
                  <a:gd name="T51" fmla="*/ 138 h 208"/>
                  <a:gd name="T52" fmla="*/ 8 w 209"/>
                  <a:gd name="T53" fmla="*/ 145 h 208"/>
                  <a:gd name="T54" fmla="*/ 12 w 209"/>
                  <a:gd name="T55" fmla="*/ 152 h 208"/>
                  <a:gd name="T56" fmla="*/ 16 w 209"/>
                  <a:gd name="T57" fmla="*/ 159 h 208"/>
                  <a:gd name="T58" fmla="*/ 21 w 209"/>
                  <a:gd name="T59" fmla="*/ 166 h 208"/>
                  <a:gd name="T60" fmla="*/ 26 w 209"/>
                  <a:gd name="T61" fmla="*/ 173 h 208"/>
                  <a:gd name="T62" fmla="*/ 33 w 209"/>
                  <a:gd name="T63" fmla="*/ 180 h 208"/>
                  <a:gd name="T64" fmla="*/ 40 w 209"/>
                  <a:gd name="T65" fmla="*/ 186 h 208"/>
                  <a:gd name="T66" fmla="*/ 47 w 209"/>
                  <a:gd name="T67" fmla="*/ 191 h 208"/>
                  <a:gd name="T68" fmla="*/ 54 w 209"/>
                  <a:gd name="T69" fmla="*/ 195 h 208"/>
                  <a:gd name="T70" fmla="*/ 61 w 209"/>
                  <a:gd name="T71" fmla="*/ 199 h 208"/>
                  <a:gd name="T72" fmla="*/ 68 w 209"/>
                  <a:gd name="T73" fmla="*/ 201 h 208"/>
                  <a:gd name="T74" fmla="*/ 75 w 209"/>
                  <a:gd name="T75" fmla="*/ 204 h 208"/>
                  <a:gd name="T76" fmla="*/ 82 w 209"/>
                  <a:gd name="T77" fmla="*/ 206 h 208"/>
                  <a:gd name="T78" fmla="*/ 89 w 209"/>
                  <a:gd name="T79" fmla="*/ 207 h 208"/>
                  <a:gd name="T80" fmla="*/ 96 w 209"/>
                  <a:gd name="T81" fmla="*/ 208 h 208"/>
                  <a:gd name="T82" fmla="*/ 103 w 209"/>
                  <a:gd name="T83" fmla="*/ 208 h 208"/>
                  <a:gd name="T84" fmla="*/ 110 w 209"/>
                  <a:gd name="T85" fmla="*/ 208 h 208"/>
                  <a:gd name="T86" fmla="*/ 117 w 209"/>
                  <a:gd name="T87" fmla="*/ 207 h 208"/>
                  <a:gd name="T88" fmla="*/ 124 w 209"/>
                  <a:gd name="T89" fmla="*/ 206 h 208"/>
                  <a:gd name="T90" fmla="*/ 131 w 209"/>
                  <a:gd name="T91" fmla="*/ 205 h 208"/>
                  <a:gd name="T92" fmla="*/ 138 w 209"/>
                  <a:gd name="T93" fmla="*/ 203 h 208"/>
                  <a:gd name="T94" fmla="*/ 145 w 209"/>
                  <a:gd name="T95" fmla="*/ 200 h 208"/>
                  <a:gd name="T96" fmla="*/ 152 w 209"/>
                  <a:gd name="T97" fmla="*/ 197 h 208"/>
                  <a:gd name="T98" fmla="*/ 159 w 209"/>
                  <a:gd name="T99" fmla="*/ 193 h 208"/>
                  <a:gd name="T100" fmla="*/ 166 w 209"/>
                  <a:gd name="T101" fmla="*/ 188 h 208"/>
                  <a:gd name="T102" fmla="*/ 173 w 209"/>
                  <a:gd name="T103" fmla="*/ 183 h 208"/>
                  <a:gd name="T104" fmla="*/ 180 w 209"/>
                  <a:gd name="T105" fmla="*/ 176 h 208"/>
                  <a:gd name="T106" fmla="*/ 186 w 209"/>
                  <a:gd name="T107" fmla="*/ 169 h 208"/>
                  <a:gd name="T108" fmla="*/ 191 w 209"/>
                  <a:gd name="T109" fmla="*/ 162 h 208"/>
                  <a:gd name="T110" fmla="*/ 196 w 209"/>
                  <a:gd name="T111" fmla="*/ 155 h 208"/>
                  <a:gd name="T112" fmla="*/ 199 w 209"/>
                  <a:gd name="T113" fmla="*/ 148 h 208"/>
                  <a:gd name="T114" fmla="*/ 202 w 209"/>
                  <a:gd name="T115" fmla="*/ 141 h 208"/>
                  <a:gd name="T116" fmla="*/ 205 w 209"/>
                  <a:gd name="T117" fmla="*/ 134 h 208"/>
                  <a:gd name="T118" fmla="*/ 206 w 209"/>
                  <a:gd name="T119" fmla="*/ 127 h 208"/>
                  <a:gd name="T120" fmla="*/ 208 w 209"/>
                  <a:gd name="T121" fmla="*/ 120 h 208"/>
                  <a:gd name="T122" fmla="*/ 209 w 209"/>
                  <a:gd name="T123" fmla="*/ 113 h 208"/>
                  <a:gd name="T124" fmla="*/ 209 w 209"/>
                  <a:gd name="T125" fmla="*/ 10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 h="208">
                    <a:moveTo>
                      <a:pt x="104" y="0"/>
                    </a:moveTo>
                    <a:lnTo>
                      <a:pt x="103" y="0"/>
                    </a:lnTo>
                    <a:lnTo>
                      <a:pt x="102" y="0"/>
                    </a:lnTo>
                    <a:lnTo>
                      <a:pt x="101" y="0"/>
                    </a:lnTo>
                    <a:lnTo>
                      <a:pt x="100" y="0"/>
                    </a:lnTo>
                    <a:lnTo>
                      <a:pt x="99" y="0"/>
                    </a:lnTo>
                    <a:lnTo>
                      <a:pt x="98" y="0"/>
                    </a:lnTo>
                    <a:lnTo>
                      <a:pt x="97" y="0"/>
                    </a:lnTo>
                    <a:lnTo>
                      <a:pt x="96" y="0"/>
                    </a:lnTo>
                    <a:lnTo>
                      <a:pt x="95" y="0"/>
                    </a:lnTo>
                    <a:lnTo>
                      <a:pt x="94" y="1"/>
                    </a:lnTo>
                    <a:lnTo>
                      <a:pt x="93" y="1"/>
                    </a:lnTo>
                    <a:lnTo>
                      <a:pt x="92" y="1"/>
                    </a:lnTo>
                    <a:lnTo>
                      <a:pt x="91" y="1"/>
                    </a:lnTo>
                    <a:lnTo>
                      <a:pt x="90" y="1"/>
                    </a:lnTo>
                    <a:lnTo>
                      <a:pt x="89" y="1"/>
                    </a:lnTo>
                    <a:lnTo>
                      <a:pt x="88" y="1"/>
                    </a:lnTo>
                    <a:lnTo>
                      <a:pt x="87" y="1"/>
                    </a:lnTo>
                    <a:lnTo>
                      <a:pt x="86" y="2"/>
                    </a:lnTo>
                    <a:lnTo>
                      <a:pt x="85" y="2"/>
                    </a:lnTo>
                    <a:lnTo>
                      <a:pt x="84" y="2"/>
                    </a:lnTo>
                    <a:lnTo>
                      <a:pt x="83" y="2"/>
                    </a:lnTo>
                    <a:lnTo>
                      <a:pt x="82" y="2"/>
                    </a:lnTo>
                    <a:lnTo>
                      <a:pt x="81" y="3"/>
                    </a:lnTo>
                    <a:lnTo>
                      <a:pt x="80" y="3"/>
                    </a:lnTo>
                    <a:lnTo>
                      <a:pt x="79" y="3"/>
                    </a:lnTo>
                    <a:lnTo>
                      <a:pt x="78" y="3"/>
                    </a:lnTo>
                    <a:lnTo>
                      <a:pt x="77" y="4"/>
                    </a:lnTo>
                    <a:lnTo>
                      <a:pt x="76" y="4"/>
                    </a:lnTo>
                    <a:lnTo>
                      <a:pt x="75" y="4"/>
                    </a:lnTo>
                    <a:lnTo>
                      <a:pt x="74" y="5"/>
                    </a:lnTo>
                    <a:lnTo>
                      <a:pt x="73" y="5"/>
                    </a:lnTo>
                    <a:lnTo>
                      <a:pt x="72" y="5"/>
                    </a:lnTo>
                    <a:lnTo>
                      <a:pt x="71" y="5"/>
                    </a:lnTo>
                    <a:lnTo>
                      <a:pt x="70" y="6"/>
                    </a:lnTo>
                    <a:lnTo>
                      <a:pt x="69" y="6"/>
                    </a:lnTo>
                    <a:lnTo>
                      <a:pt x="68" y="7"/>
                    </a:lnTo>
                    <a:lnTo>
                      <a:pt x="67" y="7"/>
                    </a:lnTo>
                    <a:lnTo>
                      <a:pt x="66" y="7"/>
                    </a:lnTo>
                    <a:lnTo>
                      <a:pt x="65" y="8"/>
                    </a:lnTo>
                    <a:lnTo>
                      <a:pt x="64" y="8"/>
                    </a:lnTo>
                    <a:lnTo>
                      <a:pt x="63" y="9"/>
                    </a:lnTo>
                    <a:lnTo>
                      <a:pt x="62" y="9"/>
                    </a:lnTo>
                    <a:lnTo>
                      <a:pt x="61" y="9"/>
                    </a:lnTo>
                    <a:lnTo>
                      <a:pt x="60" y="10"/>
                    </a:lnTo>
                    <a:lnTo>
                      <a:pt x="59" y="10"/>
                    </a:lnTo>
                    <a:lnTo>
                      <a:pt x="58" y="11"/>
                    </a:lnTo>
                    <a:lnTo>
                      <a:pt x="57" y="11"/>
                    </a:lnTo>
                    <a:lnTo>
                      <a:pt x="56" y="12"/>
                    </a:lnTo>
                    <a:lnTo>
                      <a:pt x="55" y="12"/>
                    </a:lnTo>
                    <a:lnTo>
                      <a:pt x="54" y="13"/>
                    </a:lnTo>
                    <a:lnTo>
                      <a:pt x="53" y="14"/>
                    </a:lnTo>
                    <a:lnTo>
                      <a:pt x="52" y="14"/>
                    </a:lnTo>
                    <a:lnTo>
                      <a:pt x="51" y="15"/>
                    </a:lnTo>
                    <a:lnTo>
                      <a:pt x="50" y="15"/>
                    </a:lnTo>
                    <a:lnTo>
                      <a:pt x="49" y="16"/>
                    </a:lnTo>
                    <a:lnTo>
                      <a:pt x="48" y="17"/>
                    </a:lnTo>
                    <a:lnTo>
                      <a:pt x="47" y="17"/>
                    </a:lnTo>
                    <a:lnTo>
                      <a:pt x="46" y="18"/>
                    </a:lnTo>
                    <a:lnTo>
                      <a:pt x="45" y="19"/>
                    </a:lnTo>
                    <a:lnTo>
                      <a:pt x="44" y="19"/>
                    </a:lnTo>
                    <a:lnTo>
                      <a:pt x="43" y="20"/>
                    </a:lnTo>
                    <a:lnTo>
                      <a:pt x="42" y="21"/>
                    </a:lnTo>
                    <a:lnTo>
                      <a:pt x="41" y="21"/>
                    </a:lnTo>
                    <a:lnTo>
                      <a:pt x="40" y="22"/>
                    </a:lnTo>
                    <a:lnTo>
                      <a:pt x="39" y="23"/>
                    </a:lnTo>
                    <a:lnTo>
                      <a:pt x="38" y="24"/>
                    </a:lnTo>
                    <a:lnTo>
                      <a:pt x="37" y="25"/>
                    </a:lnTo>
                    <a:lnTo>
                      <a:pt x="36" y="25"/>
                    </a:lnTo>
                    <a:lnTo>
                      <a:pt x="35" y="26"/>
                    </a:lnTo>
                    <a:lnTo>
                      <a:pt x="34" y="27"/>
                    </a:lnTo>
                    <a:lnTo>
                      <a:pt x="33" y="28"/>
                    </a:lnTo>
                    <a:lnTo>
                      <a:pt x="32" y="29"/>
                    </a:lnTo>
                    <a:lnTo>
                      <a:pt x="31" y="30"/>
                    </a:lnTo>
                    <a:lnTo>
                      <a:pt x="30" y="31"/>
                    </a:lnTo>
                    <a:lnTo>
                      <a:pt x="29" y="32"/>
                    </a:lnTo>
                    <a:lnTo>
                      <a:pt x="28" y="33"/>
                    </a:lnTo>
                    <a:lnTo>
                      <a:pt x="27" y="34"/>
                    </a:lnTo>
                    <a:lnTo>
                      <a:pt x="26" y="35"/>
                    </a:lnTo>
                    <a:lnTo>
                      <a:pt x="25" y="36"/>
                    </a:lnTo>
                    <a:lnTo>
                      <a:pt x="25" y="37"/>
                    </a:lnTo>
                    <a:lnTo>
                      <a:pt x="24" y="38"/>
                    </a:lnTo>
                    <a:lnTo>
                      <a:pt x="23" y="39"/>
                    </a:lnTo>
                    <a:lnTo>
                      <a:pt x="22" y="40"/>
                    </a:lnTo>
                    <a:lnTo>
                      <a:pt x="21" y="41"/>
                    </a:lnTo>
                    <a:lnTo>
                      <a:pt x="21" y="42"/>
                    </a:lnTo>
                    <a:lnTo>
                      <a:pt x="20" y="43"/>
                    </a:lnTo>
                    <a:lnTo>
                      <a:pt x="19" y="44"/>
                    </a:lnTo>
                    <a:lnTo>
                      <a:pt x="18" y="45"/>
                    </a:lnTo>
                    <a:lnTo>
                      <a:pt x="18" y="46"/>
                    </a:lnTo>
                    <a:lnTo>
                      <a:pt x="17" y="47"/>
                    </a:lnTo>
                    <a:lnTo>
                      <a:pt x="16" y="48"/>
                    </a:lnTo>
                    <a:lnTo>
                      <a:pt x="16" y="49"/>
                    </a:lnTo>
                    <a:lnTo>
                      <a:pt x="15" y="50"/>
                    </a:lnTo>
                    <a:lnTo>
                      <a:pt x="15" y="51"/>
                    </a:lnTo>
                    <a:lnTo>
                      <a:pt x="14" y="52"/>
                    </a:lnTo>
                    <a:lnTo>
                      <a:pt x="13" y="53"/>
                    </a:lnTo>
                    <a:lnTo>
                      <a:pt x="13" y="54"/>
                    </a:lnTo>
                    <a:lnTo>
                      <a:pt x="12" y="55"/>
                    </a:lnTo>
                    <a:lnTo>
                      <a:pt x="12" y="56"/>
                    </a:lnTo>
                    <a:lnTo>
                      <a:pt x="11" y="57"/>
                    </a:lnTo>
                    <a:lnTo>
                      <a:pt x="11" y="58"/>
                    </a:lnTo>
                    <a:lnTo>
                      <a:pt x="10" y="59"/>
                    </a:lnTo>
                    <a:lnTo>
                      <a:pt x="10" y="60"/>
                    </a:lnTo>
                    <a:lnTo>
                      <a:pt x="9" y="61"/>
                    </a:lnTo>
                    <a:lnTo>
                      <a:pt x="9" y="62"/>
                    </a:lnTo>
                    <a:lnTo>
                      <a:pt x="8" y="63"/>
                    </a:lnTo>
                    <a:lnTo>
                      <a:pt x="8" y="64"/>
                    </a:lnTo>
                    <a:lnTo>
                      <a:pt x="8" y="65"/>
                    </a:lnTo>
                    <a:lnTo>
                      <a:pt x="7" y="66"/>
                    </a:lnTo>
                    <a:lnTo>
                      <a:pt x="7" y="67"/>
                    </a:lnTo>
                    <a:lnTo>
                      <a:pt x="6" y="68"/>
                    </a:lnTo>
                    <a:lnTo>
                      <a:pt x="6" y="69"/>
                    </a:lnTo>
                    <a:lnTo>
                      <a:pt x="6" y="70"/>
                    </a:lnTo>
                    <a:lnTo>
                      <a:pt x="5" y="71"/>
                    </a:lnTo>
                    <a:lnTo>
                      <a:pt x="5" y="72"/>
                    </a:lnTo>
                    <a:lnTo>
                      <a:pt x="5" y="73"/>
                    </a:lnTo>
                    <a:lnTo>
                      <a:pt x="4" y="74"/>
                    </a:lnTo>
                    <a:lnTo>
                      <a:pt x="4" y="75"/>
                    </a:lnTo>
                    <a:lnTo>
                      <a:pt x="4" y="76"/>
                    </a:lnTo>
                    <a:lnTo>
                      <a:pt x="4" y="77"/>
                    </a:lnTo>
                    <a:lnTo>
                      <a:pt x="3" y="78"/>
                    </a:lnTo>
                    <a:lnTo>
                      <a:pt x="3" y="79"/>
                    </a:lnTo>
                    <a:lnTo>
                      <a:pt x="3" y="80"/>
                    </a:lnTo>
                    <a:lnTo>
                      <a:pt x="3" y="81"/>
                    </a:lnTo>
                    <a:lnTo>
                      <a:pt x="2" y="82"/>
                    </a:lnTo>
                    <a:lnTo>
                      <a:pt x="2" y="83"/>
                    </a:lnTo>
                    <a:lnTo>
                      <a:pt x="2" y="84"/>
                    </a:lnTo>
                    <a:lnTo>
                      <a:pt x="2" y="85"/>
                    </a:lnTo>
                    <a:lnTo>
                      <a:pt x="2" y="86"/>
                    </a:lnTo>
                    <a:lnTo>
                      <a:pt x="1" y="87"/>
                    </a:lnTo>
                    <a:lnTo>
                      <a:pt x="1" y="88"/>
                    </a:lnTo>
                    <a:lnTo>
                      <a:pt x="1" y="89"/>
                    </a:lnTo>
                    <a:lnTo>
                      <a:pt x="1" y="90"/>
                    </a:lnTo>
                    <a:lnTo>
                      <a:pt x="1" y="91"/>
                    </a:lnTo>
                    <a:lnTo>
                      <a:pt x="1" y="92"/>
                    </a:lnTo>
                    <a:lnTo>
                      <a:pt x="1" y="93"/>
                    </a:lnTo>
                    <a:lnTo>
                      <a:pt x="0" y="94"/>
                    </a:lnTo>
                    <a:lnTo>
                      <a:pt x="0" y="95"/>
                    </a:lnTo>
                    <a:lnTo>
                      <a:pt x="0" y="96"/>
                    </a:lnTo>
                    <a:lnTo>
                      <a:pt x="0" y="97"/>
                    </a:lnTo>
                    <a:lnTo>
                      <a:pt x="0" y="98"/>
                    </a:lnTo>
                    <a:lnTo>
                      <a:pt x="0" y="99"/>
                    </a:lnTo>
                    <a:lnTo>
                      <a:pt x="0" y="100"/>
                    </a:lnTo>
                    <a:lnTo>
                      <a:pt x="0" y="101"/>
                    </a:lnTo>
                    <a:lnTo>
                      <a:pt x="0" y="102"/>
                    </a:lnTo>
                    <a:lnTo>
                      <a:pt x="0" y="103"/>
                    </a:lnTo>
                    <a:lnTo>
                      <a:pt x="0" y="104"/>
                    </a:lnTo>
                    <a:lnTo>
                      <a:pt x="0" y="105"/>
                    </a:lnTo>
                    <a:lnTo>
                      <a:pt x="0" y="106"/>
                    </a:lnTo>
                    <a:lnTo>
                      <a:pt x="0" y="107"/>
                    </a:lnTo>
                    <a:lnTo>
                      <a:pt x="0" y="108"/>
                    </a:lnTo>
                    <a:lnTo>
                      <a:pt x="0" y="109"/>
                    </a:lnTo>
                    <a:lnTo>
                      <a:pt x="0" y="110"/>
                    </a:lnTo>
                    <a:lnTo>
                      <a:pt x="0" y="111"/>
                    </a:lnTo>
                    <a:lnTo>
                      <a:pt x="0" y="112"/>
                    </a:lnTo>
                    <a:lnTo>
                      <a:pt x="0" y="113"/>
                    </a:lnTo>
                    <a:lnTo>
                      <a:pt x="0" y="114"/>
                    </a:lnTo>
                    <a:lnTo>
                      <a:pt x="1" y="115"/>
                    </a:lnTo>
                    <a:lnTo>
                      <a:pt x="1" y="116"/>
                    </a:lnTo>
                    <a:lnTo>
                      <a:pt x="1" y="117"/>
                    </a:lnTo>
                    <a:lnTo>
                      <a:pt x="1" y="118"/>
                    </a:lnTo>
                    <a:lnTo>
                      <a:pt x="1" y="119"/>
                    </a:lnTo>
                    <a:lnTo>
                      <a:pt x="1" y="120"/>
                    </a:lnTo>
                    <a:lnTo>
                      <a:pt x="1" y="121"/>
                    </a:lnTo>
                    <a:lnTo>
                      <a:pt x="2" y="122"/>
                    </a:lnTo>
                    <a:lnTo>
                      <a:pt x="2" y="123"/>
                    </a:lnTo>
                    <a:lnTo>
                      <a:pt x="2" y="124"/>
                    </a:lnTo>
                    <a:lnTo>
                      <a:pt x="2" y="125"/>
                    </a:lnTo>
                    <a:lnTo>
                      <a:pt x="2" y="126"/>
                    </a:lnTo>
                    <a:lnTo>
                      <a:pt x="3" y="127"/>
                    </a:lnTo>
                    <a:lnTo>
                      <a:pt x="3" y="128"/>
                    </a:lnTo>
                    <a:lnTo>
                      <a:pt x="3" y="129"/>
                    </a:lnTo>
                    <a:lnTo>
                      <a:pt x="3" y="130"/>
                    </a:lnTo>
                    <a:lnTo>
                      <a:pt x="4" y="131"/>
                    </a:lnTo>
                    <a:lnTo>
                      <a:pt x="4" y="132"/>
                    </a:lnTo>
                    <a:lnTo>
                      <a:pt x="4" y="133"/>
                    </a:lnTo>
                    <a:lnTo>
                      <a:pt x="4" y="134"/>
                    </a:lnTo>
                    <a:lnTo>
                      <a:pt x="5" y="135"/>
                    </a:lnTo>
                    <a:lnTo>
                      <a:pt x="5" y="136"/>
                    </a:lnTo>
                    <a:lnTo>
                      <a:pt x="5" y="137"/>
                    </a:lnTo>
                    <a:lnTo>
                      <a:pt x="6" y="138"/>
                    </a:lnTo>
                    <a:lnTo>
                      <a:pt x="6" y="139"/>
                    </a:lnTo>
                    <a:lnTo>
                      <a:pt x="6" y="140"/>
                    </a:lnTo>
                    <a:lnTo>
                      <a:pt x="7" y="141"/>
                    </a:lnTo>
                    <a:lnTo>
                      <a:pt x="7" y="142"/>
                    </a:lnTo>
                    <a:lnTo>
                      <a:pt x="8" y="143"/>
                    </a:lnTo>
                    <a:lnTo>
                      <a:pt x="8" y="144"/>
                    </a:lnTo>
                    <a:lnTo>
                      <a:pt x="8" y="145"/>
                    </a:lnTo>
                    <a:lnTo>
                      <a:pt x="9" y="146"/>
                    </a:lnTo>
                    <a:lnTo>
                      <a:pt x="9" y="147"/>
                    </a:lnTo>
                    <a:lnTo>
                      <a:pt x="10" y="148"/>
                    </a:lnTo>
                    <a:lnTo>
                      <a:pt x="10" y="149"/>
                    </a:lnTo>
                    <a:lnTo>
                      <a:pt x="11" y="150"/>
                    </a:lnTo>
                    <a:lnTo>
                      <a:pt x="11" y="151"/>
                    </a:lnTo>
                    <a:lnTo>
                      <a:pt x="12" y="152"/>
                    </a:lnTo>
                    <a:lnTo>
                      <a:pt x="12" y="153"/>
                    </a:lnTo>
                    <a:lnTo>
                      <a:pt x="13" y="154"/>
                    </a:lnTo>
                    <a:lnTo>
                      <a:pt x="13" y="155"/>
                    </a:lnTo>
                    <a:lnTo>
                      <a:pt x="14" y="156"/>
                    </a:lnTo>
                    <a:lnTo>
                      <a:pt x="15" y="157"/>
                    </a:lnTo>
                    <a:lnTo>
                      <a:pt x="15" y="158"/>
                    </a:lnTo>
                    <a:lnTo>
                      <a:pt x="16" y="159"/>
                    </a:lnTo>
                    <a:lnTo>
                      <a:pt x="16" y="160"/>
                    </a:lnTo>
                    <a:lnTo>
                      <a:pt x="17" y="161"/>
                    </a:lnTo>
                    <a:lnTo>
                      <a:pt x="18" y="162"/>
                    </a:lnTo>
                    <a:lnTo>
                      <a:pt x="18" y="163"/>
                    </a:lnTo>
                    <a:lnTo>
                      <a:pt x="19" y="164"/>
                    </a:lnTo>
                    <a:lnTo>
                      <a:pt x="20" y="165"/>
                    </a:lnTo>
                    <a:lnTo>
                      <a:pt x="21" y="166"/>
                    </a:lnTo>
                    <a:lnTo>
                      <a:pt x="21" y="167"/>
                    </a:lnTo>
                    <a:lnTo>
                      <a:pt x="22" y="168"/>
                    </a:lnTo>
                    <a:lnTo>
                      <a:pt x="23" y="169"/>
                    </a:lnTo>
                    <a:lnTo>
                      <a:pt x="24" y="170"/>
                    </a:lnTo>
                    <a:lnTo>
                      <a:pt x="25" y="171"/>
                    </a:lnTo>
                    <a:lnTo>
                      <a:pt x="25" y="172"/>
                    </a:lnTo>
                    <a:lnTo>
                      <a:pt x="26" y="173"/>
                    </a:lnTo>
                    <a:lnTo>
                      <a:pt x="27" y="174"/>
                    </a:lnTo>
                    <a:lnTo>
                      <a:pt x="28" y="175"/>
                    </a:lnTo>
                    <a:lnTo>
                      <a:pt x="29" y="176"/>
                    </a:lnTo>
                    <a:lnTo>
                      <a:pt x="30" y="177"/>
                    </a:lnTo>
                    <a:lnTo>
                      <a:pt x="31" y="178"/>
                    </a:lnTo>
                    <a:lnTo>
                      <a:pt x="32" y="179"/>
                    </a:lnTo>
                    <a:lnTo>
                      <a:pt x="33" y="180"/>
                    </a:lnTo>
                    <a:lnTo>
                      <a:pt x="34" y="181"/>
                    </a:lnTo>
                    <a:lnTo>
                      <a:pt x="35" y="182"/>
                    </a:lnTo>
                    <a:lnTo>
                      <a:pt x="36" y="183"/>
                    </a:lnTo>
                    <a:lnTo>
                      <a:pt x="37" y="183"/>
                    </a:lnTo>
                    <a:lnTo>
                      <a:pt x="38" y="184"/>
                    </a:lnTo>
                    <a:lnTo>
                      <a:pt x="39" y="185"/>
                    </a:lnTo>
                    <a:lnTo>
                      <a:pt x="40" y="186"/>
                    </a:lnTo>
                    <a:lnTo>
                      <a:pt x="41" y="187"/>
                    </a:lnTo>
                    <a:lnTo>
                      <a:pt x="42" y="187"/>
                    </a:lnTo>
                    <a:lnTo>
                      <a:pt x="43" y="188"/>
                    </a:lnTo>
                    <a:lnTo>
                      <a:pt x="44" y="189"/>
                    </a:lnTo>
                    <a:lnTo>
                      <a:pt x="45" y="189"/>
                    </a:lnTo>
                    <a:lnTo>
                      <a:pt x="46" y="190"/>
                    </a:lnTo>
                    <a:lnTo>
                      <a:pt x="47" y="191"/>
                    </a:lnTo>
                    <a:lnTo>
                      <a:pt x="48" y="191"/>
                    </a:lnTo>
                    <a:lnTo>
                      <a:pt x="49" y="192"/>
                    </a:lnTo>
                    <a:lnTo>
                      <a:pt x="50" y="193"/>
                    </a:lnTo>
                    <a:lnTo>
                      <a:pt x="51" y="193"/>
                    </a:lnTo>
                    <a:lnTo>
                      <a:pt x="52" y="194"/>
                    </a:lnTo>
                    <a:lnTo>
                      <a:pt x="53" y="194"/>
                    </a:lnTo>
                    <a:lnTo>
                      <a:pt x="54" y="195"/>
                    </a:lnTo>
                    <a:lnTo>
                      <a:pt x="55" y="196"/>
                    </a:lnTo>
                    <a:lnTo>
                      <a:pt x="56" y="196"/>
                    </a:lnTo>
                    <a:lnTo>
                      <a:pt x="57" y="197"/>
                    </a:lnTo>
                    <a:lnTo>
                      <a:pt x="58" y="197"/>
                    </a:lnTo>
                    <a:lnTo>
                      <a:pt x="59" y="198"/>
                    </a:lnTo>
                    <a:lnTo>
                      <a:pt x="60" y="198"/>
                    </a:lnTo>
                    <a:lnTo>
                      <a:pt x="61" y="199"/>
                    </a:lnTo>
                    <a:lnTo>
                      <a:pt x="62" y="199"/>
                    </a:lnTo>
                    <a:lnTo>
                      <a:pt x="63" y="199"/>
                    </a:lnTo>
                    <a:lnTo>
                      <a:pt x="64" y="200"/>
                    </a:lnTo>
                    <a:lnTo>
                      <a:pt x="65" y="200"/>
                    </a:lnTo>
                    <a:lnTo>
                      <a:pt x="66" y="201"/>
                    </a:lnTo>
                    <a:lnTo>
                      <a:pt x="67" y="201"/>
                    </a:lnTo>
                    <a:lnTo>
                      <a:pt x="68" y="201"/>
                    </a:lnTo>
                    <a:lnTo>
                      <a:pt x="69" y="202"/>
                    </a:lnTo>
                    <a:lnTo>
                      <a:pt x="70" y="202"/>
                    </a:lnTo>
                    <a:lnTo>
                      <a:pt x="71" y="203"/>
                    </a:lnTo>
                    <a:lnTo>
                      <a:pt x="72" y="203"/>
                    </a:lnTo>
                    <a:lnTo>
                      <a:pt x="73" y="203"/>
                    </a:lnTo>
                    <a:lnTo>
                      <a:pt x="74" y="203"/>
                    </a:lnTo>
                    <a:lnTo>
                      <a:pt x="75" y="204"/>
                    </a:lnTo>
                    <a:lnTo>
                      <a:pt x="76" y="204"/>
                    </a:lnTo>
                    <a:lnTo>
                      <a:pt x="77" y="204"/>
                    </a:lnTo>
                    <a:lnTo>
                      <a:pt x="78" y="205"/>
                    </a:lnTo>
                    <a:lnTo>
                      <a:pt x="79" y="205"/>
                    </a:lnTo>
                    <a:lnTo>
                      <a:pt x="80" y="205"/>
                    </a:lnTo>
                    <a:lnTo>
                      <a:pt x="81" y="205"/>
                    </a:lnTo>
                    <a:lnTo>
                      <a:pt x="82" y="206"/>
                    </a:lnTo>
                    <a:lnTo>
                      <a:pt x="83" y="206"/>
                    </a:lnTo>
                    <a:lnTo>
                      <a:pt x="84" y="206"/>
                    </a:lnTo>
                    <a:lnTo>
                      <a:pt x="85" y="206"/>
                    </a:lnTo>
                    <a:lnTo>
                      <a:pt x="86" y="206"/>
                    </a:lnTo>
                    <a:lnTo>
                      <a:pt x="87" y="207"/>
                    </a:lnTo>
                    <a:lnTo>
                      <a:pt x="88" y="207"/>
                    </a:lnTo>
                    <a:lnTo>
                      <a:pt x="89" y="207"/>
                    </a:lnTo>
                    <a:lnTo>
                      <a:pt x="90" y="207"/>
                    </a:lnTo>
                    <a:lnTo>
                      <a:pt x="91" y="207"/>
                    </a:lnTo>
                    <a:lnTo>
                      <a:pt x="92" y="207"/>
                    </a:lnTo>
                    <a:lnTo>
                      <a:pt x="93" y="207"/>
                    </a:lnTo>
                    <a:lnTo>
                      <a:pt x="94" y="207"/>
                    </a:lnTo>
                    <a:lnTo>
                      <a:pt x="95" y="208"/>
                    </a:lnTo>
                    <a:lnTo>
                      <a:pt x="96" y="208"/>
                    </a:lnTo>
                    <a:lnTo>
                      <a:pt x="97" y="208"/>
                    </a:lnTo>
                    <a:lnTo>
                      <a:pt x="98" y="208"/>
                    </a:lnTo>
                    <a:lnTo>
                      <a:pt x="99" y="208"/>
                    </a:lnTo>
                    <a:lnTo>
                      <a:pt x="100" y="208"/>
                    </a:lnTo>
                    <a:lnTo>
                      <a:pt x="101" y="208"/>
                    </a:lnTo>
                    <a:lnTo>
                      <a:pt x="102" y="208"/>
                    </a:lnTo>
                    <a:lnTo>
                      <a:pt x="103" y="208"/>
                    </a:lnTo>
                    <a:lnTo>
                      <a:pt x="104" y="208"/>
                    </a:lnTo>
                    <a:lnTo>
                      <a:pt x="105" y="208"/>
                    </a:lnTo>
                    <a:lnTo>
                      <a:pt x="106" y="208"/>
                    </a:lnTo>
                    <a:lnTo>
                      <a:pt x="107" y="208"/>
                    </a:lnTo>
                    <a:lnTo>
                      <a:pt x="108" y="208"/>
                    </a:lnTo>
                    <a:lnTo>
                      <a:pt x="109" y="208"/>
                    </a:lnTo>
                    <a:lnTo>
                      <a:pt x="110" y="208"/>
                    </a:lnTo>
                    <a:lnTo>
                      <a:pt x="111" y="208"/>
                    </a:lnTo>
                    <a:lnTo>
                      <a:pt x="112" y="208"/>
                    </a:lnTo>
                    <a:lnTo>
                      <a:pt x="113" y="208"/>
                    </a:lnTo>
                    <a:lnTo>
                      <a:pt x="114" y="208"/>
                    </a:lnTo>
                    <a:lnTo>
                      <a:pt x="115" y="207"/>
                    </a:lnTo>
                    <a:lnTo>
                      <a:pt x="116" y="207"/>
                    </a:lnTo>
                    <a:lnTo>
                      <a:pt x="117" y="207"/>
                    </a:lnTo>
                    <a:lnTo>
                      <a:pt x="118" y="207"/>
                    </a:lnTo>
                    <a:lnTo>
                      <a:pt x="119" y="207"/>
                    </a:lnTo>
                    <a:lnTo>
                      <a:pt x="120" y="207"/>
                    </a:lnTo>
                    <a:lnTo>
                      <a:pt x="121" y="207"/>
                    </a:lnTo>
                    <a:lnTo>
                      <a:pt x="122" y="207"/>
                    </a:lnTo>
                    <a:lnTo>
                      <a:pt x="123" y="206"/>
                    </a:lnTo>
                    <a:lnTo>
                      <a:pt x="124" y="206"/>
                    </a:lnTo>
                    <a:lnTo>
                      <a:pt x="125" y="206"/>
                    </a:lnTo>
                    <a:lnTo>
                      <a:pt x="126" y="206"/>
                    </a:lnTo>
                    <a:lnTo>
                      <a:pt x="127" y="206"/>
                    </a:lnTo>
                    <a:lnTo>
                      <a:pt x="128" y="205"/>
                    </a:lnTo>
                    <a:lnTo>
                      <a:pt x="129" y="205"/>
                    </a:lnTo>
                    <a:lnTo>
                      <a:pt x="130" y="205"/>
                    </a:lnTo>
                    <a:lnTo>
                      <a:pt x="131" y="205"/>
                    </a:lnTo>
                    <a:lnTo>
                      <a:pt x="132" y="204"/>
                    </a:lnTo>
                    <a:lnTo>
                      <a:pt x="133" y="204"/>
                    </a:lnTo>
                    <a:lnTo>
                      <a:pt x="134" y="204"/>
                    </a:lnTo>
                    <a:lnTo>
                      <a:pt x="135" y="203"/>
                    </a:lnTo>
                    <a:lnTo>
                      <a:pt x="136" y="203"/>
                    </a:lnTo>
                    <a:lnTo>
                      <a:pt x="137" y="203"/>
                    </a:lnTo>
                    <a:lnTo>
                      <a:pt x="138" y="203"/>
                    </a:lnTo>
                    <a:lnTo>
                      <a:pt x="139" y="202"/>
                    </a:lnTo>
                    <a:lnTo>
                      <a:pt x="140" y="202"/>
                    </a:lnTo>
                    <a:lnTo>
                      <a:pt x="141" y="201"/>
                    </a:lnTo>
                    <a:lnTo>
                      <a:pt x="142" y="201"/>
                    </a:lnTo>
                    <a:lnTo>
                      <a:pt x="143" y="201"/>
                    </a:lnTo>
                    <a:lnTo>
                      <a:pt x="144" y="200"/>
                    </a:lnTo>
                    <a:lnTo>
                      <a:pt x="145" y="200"/>
                    </a:lnTo>
                    <a:lnTo>
                      <a:pt x="146" y="199"/>
                    </a:lnTo>
                    <a:lnTo>
                      <a:pt x="147" y="199"/>
                    </a:lnTo>
                    <a:lnTo>
                      <a:pt x="148" y="199"/>
                    </a:lnTo>
                    <a:lnTo>
                      <a:pt x="149" y="198"/>
                    </a:lnTo>
                    <a:lnTo>
                      <a:pt x="150" y="198"/>
                    </a:lnTo>
                    <a:lnTo>
                      <a:pt x="151" y="197"/>
                    </a:lnTo>
                    <a:lnTo>
                      <a:pt x="152" y="197"/>
                    </a:lnTo>
                    <a:lnTo>
                      <a:pt x="153" y="196"/>
                    </a:lnTo>
                    <a:lnTo>
                      <a:pt x="154" y="196"/>
                    </a:lnTo>
                    <a:lnTo>
                      <a:pt x="155" y="195"/>
                    </a:lnTo>
                    <a:lnTo>
                      <a:pt x="156" y="194"/>
                    </a:lnTo>
                    <a:lnTo>
                      <a:pt x="157" y="194"/>
                    </a:lnTo>
                    <a:lnTo>
                      <a:pt x="158" y="193"/>
                    </a:lnTo>
                    <a:lnTo>
                      <a:pt x="159" y="193"/>
                    </a:lnTo>
                    <a:lnTo>
                      <a:pt x="160" y="192"/>
                    </a:lnTo>
                    <a:lnTo>
                      <a:pt x="161" y="191"/>
                    </a:lnTo>
                    <a:lnTo>
                      <a:pt x="162" y="191"/>
                    </a:lnTo>
                    <a:lnTo>
                      <a:pt x="163" y="190"/>
                    </a:lnTo>
                    <a:lnTo>
                      <a:pt x="164" y="189"/>
                    </a:lnTo>
                    <a:lnTo>
                      <a:pt x="165" y="189"/>
                    </a:lnTo>
                    <a:lnTo>
                      <a:pt x="166" y="188"/>
                    </a:lnTo>
                    <a:lnTo>
                      <a:pt x="167" y="187"/>
                    </a:lnTo>
                    <a:lnTo>
                      <a:pt x="168" y="187"/>
                    </a:lnTo>
                    <a:lnTo>
                      <a:pt x="169" y="186"/>
                    </a:lnTo>
                    <a:lnTo>
                      <a:pt x="170" y="185"/>
                    </a:lnTo>
                    <a:lnTo>
                      <a:pt x="171" y="184"/>
                    </a:lnTo>
                    <a:lnTo>
                      <a:pt x="172" y="183"/>
                    </a:lnTo>
                    <a:lnTo>
                      <a:pt x="173" y="183"/>
                    </a:lnTo>
                    <a:lnTo>
                      <a:pt x="174" y="182"/>
                    </a:lnTo>
                    <a:lnTo>
                      <a:pt x="175" y="181"/>
                    </a:lnTo>
                    <a:lnTo>
                      <a:pt x="176" y="180"/>
                    </a:lnTo>
                    <a:lnTo>
                      <a:pt x="177" y="179"/>
                    </a:lnTo>
                    <a:lnTo>
                      <a:pt x="178" y="178"/>
                    </a:lnTo>
                    <a:lnTo>
                      <a:pt x="179" y="177"/>
                    </a:lnTo>
                    <a:lnTo>
                      <a:pt x="180" y="176"/>
                    </a:lnTo>
                    <a:lnTo>
                      <a:pt x="181" y="175"/>
                    </a:lnTo>
                    <a:lnTo>
                      <a:pt x="182" y="174"/>
                    </a:lnTo>
                    <a:lnTo>
                      <a:pt x="183" y="173"/>
                    </a:lnTo>
                    <a:lnTo>
                      <a:pt x="184" y="172"/>
                    </a:lnTo>
                    <a:lnTo>
                      <a:pt x="184" y="171"/>
                    </a:lnTo>
                    <a:lnTo>
                      <a:pt x="185" y="170"/>
                    </a:lnTo>
                    <a:lnTo>
                      <a:pt x="186" y="169"/>
                    </a:lnTo>
                    <a:lnTo>
                      <a:pt x="187" y="168"/>
                    </a:lnTo>
                    <a:lnTo>
                      <a:pt x="188" y="167"/>
                    </a:lnTo>
                    <a:lnTo>
                      <a:pt x="188" y="166"/>
                    </a:lnTo>
                    <a:lnTo>
                      <a:pt x="189" y="165"/>
                    </a:lnTo>
                    <a:lnTo>
                      <a:pt x="190" y="164"/>
                    </a:lnTo>
                    <a:lnTo>
                      <a:pt x="191" y="163"/>
                    </a:lnTo>
                    <a:lnTo>
                      <a:pt x="191" y="162"/>
                    </a:lnTo>
                    <a:lnTo>
                      <a:pt x="192" y="161"/>
                    </a:lnTo>
                    <a:lnTo>
                      <a:pt x="193" y="160"/>
                    </a:lnTo>
                    <a:lnTo>
                      <a:pt x="193" y="159"/>
                    </a:lnTo>
                    <a:lnTo>
                      <a:pt x="194" y="158"/>
                    </a:lnTo>
                    <a:lnTo>
                      <a:pt x="194" y="157"/>
                    </a:lnTo>
                    <a:lnTo>
                      <a:pt x="195" y="156"/>
                    </a:lnTo>
                    <a:lnTo>
                      <a:pt x="196" y="155"/>
                    </a:lnTo>
                    <a:lnTo>
                      <a:pt x="196" y="154"/>
                    </a:lnTo>
                    <a:lnTo>
                      <a:pt x="197" y="153"/>
                    </a:lnTo>
                    <a:lnTo>
                      <a:pt x="197" y="152"/>
                    </a:lnTo>
                    <a:lnTo>
                      <a:pt x="198" y="151"/>
                    </a:lnTo>
                    <a:lnTo>
                      <a:pt x="198" y="150"/>
                    </a:lnTo>
                    <a:lnTo>
                      <a:pt x="199" y="149"/>
                    </a:lnTo>
                    <a:lnTo>
                      <a:pt x="199" y="148"/>
                    </a:lnTo>
                    <a:lnTo>
                      <a:pt x="200" y="147"/>
                    </a:lnTo>
                    <a:lnTo>
                      <a:pt x="200" y="146"/>
                    </a:lnTo>
                    <a:lnTo>
                      <a:pt x="201" y="145"/>
                    </a:lnTo>
                    <a:lnTo>
                      <a:pt x="201" y="144"/>
                    </a:lnTo>
                    <a:lnTo>
                      <a:pt x="201" y="143"/>
                    </a:lnTo>
                    <a:lnTo>
                      <a:pt x="202" y="142"/>
                    </a:lnTo>
                    <a:lnTo>
                      <a:pt x="202" y="141"/>
                    </a:lnTo>
                    <a:lnTo>
                      <a:pt x="203" y="140"/>
                    </a:lnTo>
                    <a:lnTo>
                      <a:pt x="203" y="139"/>
                    </a:lnTo>
                    <a:lnTo>
                      <a:pt x="203" y="138"/>
                    </a:lnTo>
                    <a:lnTo>
                      <a:pt x="204" y="137"/>
                    </a:lnTo>
                    <a:lnTo>
                      <a:pt x="204" y="136"/>
                    </a:lnTo>
                    <a:lnTo>
                      <a:pt x="204" y="135"/>
                    </a:lnTo>
                    <a:lnTo>
                      <a:pt x="205" y="134"/>
                    </a:lnTo>
                    <a:lnTo>
                      <a:pt x="205" y="133"/>
                    </a:lnTo>
                    <a:lnTo>
                      <a:pt x="205" y="132"/>
                    </a:lnTo>
                    <a:lnTo>
                      <a:pt x="205" y="131"/>
                    </a:lnTo>
                    <a:lnTo>
                      <a:pt x="206" y="130"/>
                    </a:lnTo>
                    <a:lnTo>
                      <a:pt x="206" y="129"/>
                    </a:lnTo>
                    <a:lnTo>
                      <a:pt x="206" y="128"/>
                    </a:lnTo>
                    <a:lnTo>
                      <a:pt x="206" y="127"/>
                    </a:lnTo>
                    <a:lnTo>
                      <a:pt x="207" y="126"/>
                    </a:lnTo>
                    <a:lnTo>
                      <a:pt x="207" y="125"/>
                    </a:lnTo>
                    <a:lnTo>
                      <a:pt x="207" y="124"/>
                    </a:lnTo>
                    <a:lnTo>
                      <a:pt x="207" y="123"/>
                    </a:lnTo>
                    <a:lnTo>
                      <a:pt x="207" y="122"/>
                    </a:lnTo>
                    <a:lnTo>
                      <a:pt x="208" y="121"/>
                    </a:lnTo>
                    <a:lnTo>
                      <a:pt x="208" y="120"/>
                    </a:lnTo>
                    <a:lnTo>
                      <a:pt x="208" y="119"/>
                    </a:lnTo>
                    <a:lnTo>
                      <a:pt x="208" y="118"/>
                    </a:lnTo>
                    <a:lnTo>
                      <a:pt x="208" y="117"/>
                    </a:lnTo>
                    <a:lnTo>
                      <a:pt x="208" y="116"/>
                    </a:lnTo>
                    <a:lnTo>
                      <a:pt x="208" y="115"/>
                    </a:lnTo>
                    <a:lnTo>
                      <a:pt x="209" y="114"/>
                    </a:lnTo>
                    <a:lnTo>
                      <a:pt x="209" y="113"/>
                    </a:lnTo>
                    <a:lnTo>
                      <a:pt x="209" y="112"/>
                    </a:lnTo>
                    <a:lnTo>
                      <a:pt x="209" y="111"/>
                    </a:lnTo>
                    <a:lnTo>
                      <a:pt x="209" y="110"/>
                    </a:lnTo>
                    <a:lnTo>
                      <a:pt x="209" y="109"/>
                    </a:lnTo>
                    <a:lnTo>
                      <a:pt x="209" y="108"/>
                    </a:lnTo>
                    <a:lnTo>
                      <a:pt x="209" y="107"/>
                    </a:lnTo>
                    <a:lnTo>
                      <a:pt x="209" y="106"/>
                    </a:lnTo>
                    <a:lnTo>
                      <a:pt x="209" y="105"/>
                    </a:lnTo>
                    <a:lnTo>
                      <a:pt x="209" y="104"/>
                    </a:lnTo>
                    <a:lnTo>
                      <a:pt x="209" y="104"/>
                    </a:lnTo>
                    <a:lnTo>
                      <a:pt x="104" y="104"/>
                    </a:lnTo>
                    <a:lnTo>
                      <a:pt x="104"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21" name="Freeform 302"/>
              <p:cNvSpPr>
                <a:spLocks/>
              </p:cNvSpPr>
              <p:nvPr/>
            </p:nvSpPr>
            <p:spPr bwMode="auto">
              <a:xfrm>
                <a:off x="3778" y="2576"/>
                <a:ext cx="326" cy="164"/>
              </a:xfrm>
              <a:custGeom>
                <a:avLst/>
                <a:gdLst>
                  <a:gd name="T0" fmla="*/ 206 w 206"/>
                  <a:gd name="T1" fmla="*/ 100 h 104"/>
                  <a:gd name="T2" fmla="*/ 206 w 206"/>
                  <a:gd name="T3" fmla="*/ 95 h 104"/>
                  <a:gd name="T4" fmla="*/ 205 w 206"/>
                  <a:gd name="T5" fmla="*/ 90 h 104"/>
                  <a:gd name="T6" fmla="*/ 204 w 206"/>
                  <a:gd name="T7" fmla="*/ 85 h 104"/>
                  <a:gd name="T8" fmla="*/ 203 w 206"/>
                  <a:gd name="T9" fmla="*/ 80 h 104"/>
                  <a:gd name="T10" fmla="*/ 202 w 206"/>
                  <a:gd name="T11" fmla="*/ 75 h 104"/>
                  <a:gd name="T12" fmla="*/ 200 w 206"/>
                  <a:gd name="T13" fmla="*/ 70 h 104"/>
                  <a:gd name="T14" fmla="*/ 198 w 206"/>
                  <a:gd name="T15" fmla="*/ 65 h 104"/>
                  <a:gd name="T16" fmla="*/ 196 w 206"/>
                  <a:gd name="T17" fmla="*/ 60 h 104"/>
                  <a:gd name="T18" fmla="*/ 194 w 206"/>
                  <a:gd name="T19" fmla="*/ 55 h 104"/>
                  <a:gd name="T20" fmla="*/ 191 w 206"/>
                  <a:gd name="T21" fmla="*/ 50 h 104"/>
                  <a:gd name="T22" fmla="*/ 188 w 206"/>
                  <a:gd name="T23" fmla="*/ 45 h 104"/>
                  <a:gd name="T24" fmla="*/ 184 w 206"/>
                  <a:gd name="T25" fmla="*/ 40 h 104"/>
                  <a:gd name="T26" fmla="*/ 180 w 206"/>
                  <a:gd name="T27" fmla="*/ 35 h 104"/>
                  <a:gd name="T28" fmla="*/ 175 w 206"/>
                  <a:gd name="T29" fmla="*/ 30 h 104"/>
                  <a:gd name="T30" fmla="*/ 170 w 206"/>
                  <a:gd name="T31" fmla="*/ 25 h 104"/>
                  <a:gd name="T32" fmla="*/ 165 w 206"/>
                  <a:gd name="T33" fmla="*/ 21 h 104"/>
                  <a:gd name="T34" fmla="*/ 160 w 206"/>
                  <a:gd name="T35" fmla="*/ 18 h 104"/>
                  <a:gd name="T36" fmla="*/ 155 w 206"/>
                  <a:gd name="T37" fmla="*/ 15 h 104"/>
                  <a:gd name="T38" fmla="*/ 150 w 206"/>
                  <a:gd name="T39" fmla="*/ 12 h 104"/>
                  <a:gd name="T40" fmla="*/ 145 w 206"/>
                  <a:gd name="T41" fmla="*/ 9 h 104"/>
                  <a:gd name="T42" fmla="*/ 140 w 206"/>
                  <a:gd name="T43" fmla="*/ 7 h 104"/>
                  <a:gd name="T44" fmla="*/ 135 w 206"/>
                  <a:gd name="T45" fmla="*/ 5 h 104"/>
                  <a:gd name="T46" fmla="*/ 130 w 206"/>
                  <a:gd name="T47" fmla="*/ 4 h 104"/>
                  <a:gd name="T48" fmla="*/ 125 w 206"/>
                  <a:gd name="T49" fmla="*/ 3 h 104"/>
                  <a:gd name="T50" fmla="*/ 120 w 206"/>
                  <a:gd name="T51" fmla="*/ 2 h 104"/>
                  <a:gd name="T52" fmla="*/ 115 w 206"/>
                  <a:gd name="T53" fmla="*/ 1 h 104"/>
                  <a:gd name="T54" fmla="*/ 110 w 206"/>
                  <a:gd name="T55" fmla="*/ 0 h 104"/>
                  <a:gd name="T56" fmla="*/ 105 w 206"/>
                  <a:gd name="T57" fmla="*/ 0 h 104"/>
                  <a:gd name="T58" fmla="*/ 100 w 206"/>
                  <a:gd name="T59" fmla="*/ 0 h 104"/>
                  <a:gd name="T60" fmla="*/ 95 w 206"/>
                  <a:gd name="T61" fmla="*/ 0 h 104"/>
                  <a:gd name="T62" fmla="*/ 90 w 206"/>
                  <a:gd name="T63" fmla="*/ 1 h 104"/>
                  <a:gd name="T64" fmla="*/ 85 w 206"/>
                  <a:gd name="T65" fmla="*/ 1 h 104"/>
                  <a:gd name="T66" fmla="*/ 80 w 206"/>
                  <a:gd name="T67" fmla="*/ 2 h 104"/>
                  <a:gd name="T68" fmla="*/ 75 w 206"/>
                  <a:gd name="T69" fmla="*/ 3 h 104"/>
                  <a:gd name="T70" fmla="*/ 70 w 206"/>
                  <a:gd name="T71" fmla="*/ 5 h 104"/>
                  <a:gd name="T72" fmla="*/ 65 w 206"/>
                  <a:gd name="T73" fmla="*/ 7 h 104"/>
                  <a:gd name="T74" fmla="*/ 60 w 206"/>
                  <a:gd name="T75" fmla="*/ 9 h 104"/>
                  <a:gd name="T76" fmla="*/ 55 w 206"/>
                  <a:gd name="T77" fmla="*/ 11 h 104"/>
                  <a:gd name="T78" fmla="*/ 50 w 206"/>
                  <a:gd name="T79" fmla="*/ 14 h 104"/>
                  <a:gd name="T80" fmla="*/ 45 w 206"/>
                  <a:gd name="T81" fmla="*/ 17 h 104"/>
                  <a:gd name="T82" fmla="*/ 40 w 206"/>
                  <a:gd name="T83" fmla="*/ 20 h 104"/>
                  <a:gd name="T84" fmla="*/ 35 w 206"/>
                  <a:gd name="T85" fmla="*/ 24 h 104"/>
                  <a:gd name="T86" fmla="*/ 30 w 206"/>
                  <a:gd name="T87" fmla="*/ 28 h 104"/>
                  <a:gd name="T88" fmla="*/ 25 w 206"/>
                  <a:gd name="T89" fmla="*/ 33 h 104"/>
                  <a:gd name="T90" fmla="*/ 21 w 206"/>
                  <a:gd name="T91" fmla="*/ 38 h 104"/>
                  <a:gd name="T92" fmla="*/ 17 w 206"/>
                  <a:gd name="T93" fmla="*/ 43 h 104"/>
                  <a:gd name="T94" fmla="*/ 13 w 206"/>
                  <a:gd name="T95" fmla="*/ 48 h 104"/>
                  <a:gd name="T96" fmla="*/ 10 w 206"/>
                  <a:gd name="T97" fmla="*/ 53 h 104"/>
                  <a:gd name="T98" fmla="*/ 8 w 206"/>
                  <a:gd name="T99" fmla="*/ 58 h 104"/>
                  <a:gd name="T100" fmla="*/ 5 w 206"/>
                  <a:gd name="T101" fmla="*/ 63 h 104"/>
                  <a:gd name="T102" fmla="*/ 3 w 206"/>
                  <a:gd name="T103" fmla="*/ 68 h 104"/>
                  <a:gd name="T104" fmla="*/ 2 w 206"/>
                  <a:gd name="T105" fmla="*/ 73 h 104"/>
                  <a:gd name="T106" fmla="*/ 0 w 206"/>
                  <a:gd name="T107"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104">
                    <a:moveTo>
                      <a:pt x="206" y="104"/>
                    </a:moveTo>
                    <a:lnTo>
                      <a:pt x="206" y="103"/>
                    </a:lnTo>
                    <a:lnTo>
                      <a:pt x="206" y="102"/>
                    </a:lnTo>
                    <a:lnTo>
                      <a:pt x="206" y="101"/>
                    </a:lnTo>
                    <a:lnTo>
                      <a:pt x="206" y="100"/>
                    </a:lnTo>
                    <a:lnTo>
                      <a:pt x="206" y="99"/>
                    </a:lnTo>
                    <a:lnTo>
                      <a:pt x="206" y="98"/>
                    </a:lnTo>
                    <a:lnTo>
                      <a:pt x="206" y="97"/>
                    </a:lnTo>
                    <a:lnTo>
                      <a:pt x="206" y="96"/>
                    </a:lnTo>
                    <a:lnTo>
                      <a:pt x="206" y="95"/>
                    </a:lnTo>
                    <a:lnTo>
                      <a:pt x="206" y="94"/>
                    </a:lnTo>
                    <a:lnTo>
                      <a:pt x="205" y="93"/>
                    </a:lnTo>
                    <a:lnTo>
                      <a:pt x="205" y="92"/>
                    </a:lnTo>
                    <a:lnTo>
                      <a:pt x="205" y="91"/>
                    </a:lnTo>
                    <a:lnTo>
                      <a:pt x="205" y="90"/>
                    </a:lnTo>
                    <a:lnTo>
                      <a:pt x="205" y="89"/>
                    </a:lnTo>
                    <a:lnTo>
                      <a:pt x="205" y="88"/>
                    </a:lnTo>
                    <a:lnTo>
                      <a:pt x="205" y="87"/>
                    </a:lnTo>
                    <a:lnTo>
                      <a:pt x="204" y="86"/>
                    </a:lnTo>
                    <a:lnTo>
                      <a:pt x="204" y="85"/>
                    </a:lnTo>
                    <a:lnTo>
                      <a:pt x="204" y="84"/>
                    </a:lnTo>
                    <a:lnTo>
                      <a:pt x="204" y="83"/>
                    </a:lnTo>
                    <a:lnTo>
                      <a:pt x="204" y="82"/>
                    </a:lnTo>
                    <a:lnTo>
                      <a:pt x="203" y="81"/>
                    </a:lnTo>
                    <a:lnTo>
                      <a:pt x="203" y="80"/>
                    </a:lnTo>
                    <a:lnTo>
                      <a:pt x="203" y="79"/>
                    </a:lnTo>
                    <a:lnTo>
                      <a:pt x="203" y="78"/>
                    </a:lnTo>
                    <a:lnTo>
                      <a:pt x="202" y="77"/>
                    </a:lnTo>
                    <a:lnTo>
                      <a:pt x="202" y="76"/>
                    </a:lnTo>
                    <a:lnTo>
                      <a:pt x="202" y="75"/>
                    </a:lnTo>
                    <a:lnTo>
                      <a:pt x="202" y="74"/>
                    </a:lnTo>
                    <a:lnTo>
                      <a:pt x="201" y="73"/>
                    </a:lnTo>
                    <a:lnTo>
                      <a:pt x="201" y="72"/>
                    </a:lnTo>
                    <a:lnTo>
                      <a:pt x="201" y="71"/>
                    </a:lnTo>
                    <a:lnTo>
                      <a:pt x="200" y="70"/>
                    </a:lnTo>
                    <a:lnTo>
                      <a:pt x="200" y="69"/>
                    </a:lnTo>
                    <a:lnTo>
                      <a:pt x="200" y="68"/>
                    </a:lnTo>
                    <a:lnTo>
                      <a:pt x="199" y="67"/>
                    </a:lnTo>
                    <a:lnTo>
                      <a:pt x="199" y="66"/>
                    </a:lnTo>
                    <a:lnTo>
                      <a:pt x="198" y="65"/>
                    </a:lnTo>
                    <a:lnTo>
                      <a:pt x="198" y="64"/>
                    </a:lnTo>
                    <a:lnTo>
                      <a:pt x="198" y="63"/>
                    </a:lnTo>
                    <a:lnTo>
                      <a:pt x="197" y="62"/>
                    </a:lnTo>
                    <a:lnTo>
                      <a:pt x="197" y="61"/>
                    </a:lnTo>
                    <a:lnTo>
                      <a:pt x="196" y="60"/>
                    </a:lnTo>
                    <a:lnTo>
                      <a:pt x="196" y="59"/>
                    </a:lnTo>
                    <a:lnTo>
                      <a:pt x="195" y="58"/>
                    </a:lnTo>
                    <a:lnTo>
                      <a:pt x="195" y="57"/>
                    </a:lnTo>
                    <a:lnTo>
                      <a:pt x="194" y="56"/>
                    </a:lnTo>
                    <a:lnTo>
                      <a:pt x="194" y="55"/>
                    </a:lnTo>
                    <a:lnTo>
                      <a:pt x="193" y="54"/>
                    </a:lnTo>
                    <a:lnTo>
                      <a:pt x="193" y="53"/>
                    </a:lnTo>
                    <a:lnTo>
                      <a:pt x="192" y="52"/>
                    </a:lnTo>
                    <a:lnTo>
                      <a:pt x="191" y="51"/>
                    </a:lnTo>
                    <a:lnTo>
                      <a:pt x="191" y="50"/>
                    </a:lnTo>
                    <a:lnTo>
                      <a:pt x="190" y="49"/>
                    </a:lnTo>
                    <a:lnTo>
                      <a:pt x="190" y="48"/>
                    </a:lnTo>
                    <a:lnTo>
                      <a:pt x="189" y="47"/>
                    </a:lnTo>
                    <a:lnTo>
                      <a:pt x="188" y="46"/>
                    </a:lnTo>
                    <a:lnTo>
                      <a:pt x="188" y="45"/>
                    </a:lnTo>
                    <a:lnTo>
                      <a:pt x="187" y="44"/>
                    </a:lnTo>
                    <a:lnTo>
                      <a:pt x="186" y="43"/>
                    </a:lnTo>
                    <a:lnTo>
                      <a:pt x="185" y="42"/>
                    </a:lnTo>
                    <a:lnTo>
                      <a:pt x="185" y="41"/>
                    </a:lnTo>
                    <a:lnTo>
                      <a:pt x="184" y="40"/>
                    </a:lnTo>
                    <a:lnTo>
                      <a:pt x="183" y="39"/>
                    </a:lnTo>
                    <a:lnTo>
                      <a:pt x="182" y="38"/>
                    </a:lnTo>
                    <a:lnTo>
                      <a:pt x="181" y="37"/>
                    </a:lnTo>
                    <a:lnTo>
                      <a:pt x="181" y="36"/>
                    </a:lnTo>
                    <a:lnTo>
                      <a:pt x="180" y="35"/>
                    </a:lnTo>
                    <a:lnTo>
                      <a:pt x="179" y="34"/>
                    </a:lnTo>
                    <a:lnTo>
                      <a:pt x="178" y="33"/>
                    </a:lnTo>
                    <a:lnTo>
                      <a:pt x="177" y="32"/>
                    </a:lnTo>
                    <a:lnTo>
                      <a:pt x="176" y="31"/>
                    </a:lnTo>
                    <a:lnTo>
                      <a:pt x="175" y="30"/>
                    </a:lnTo>
                    <a:lnTo>
                      <a:pt x="174" y="29"/>
                    </a:lnTo>
                    <a:lnTo>
                      <a:pt x="173" y="28"/>
                    </a:lnTo>
                    <a:lnTo>
                      <a:pt x="172" y="27"/>
                    </a:lnTo>
                    <a:lnTo>
                      <a:pt x="171" y="26"/>
                    </a:lnTo>
                    <a:lnTo>
                      <a:pt x="170" y="25"/>
                    </a:lnTo>
                    <a:lnTo>
                      <a:pt x="169" y="25"/>
                    </a:lnTo>
                    <a:lnTo>
                      <a:pt x="168" y="24"/>
                    </a:lnTo>
                    <a:lnTo>
                      <a:pt x="167" y="23"/>
                    </a:lnTo>
                    <a:lnTo>
                      <a:pt x="166" y="22"/>
                    </a:lnTo>
                    <a:lnTo>
                      <a:pt x="165" y="21"/>
                    </a:lnTo>
                    <a:lnTo>
                      <a:pt x="164" y="21"/>
                    </a:lnTo>
                    <a:lnTo>
                      <a:pt x="163" y="20"/>
                    </a:lnTo>
                    <a:lnTo>
                      <a:pt x="162" y="19"/>
                    </a:lnTo>
                    <a:lnTo>
                      <a:pt x="161" y="19"/>
                    </a:lnTo>
                    <a:lnTo>
                      <a:pt x="160" y="18"/>
                    </a:lnTo>
                    <a:lnTo>
                      <a:pt x="159" y="17"/>
                    </a:lnTo>
                    <a:lnTo>
                      <a:pt x="158" y="17"/>
                    </a:lnTo>
                    <a:lnTo>
                      <a:pt x="157" y="16"/>
                    </a:lnTo>
                    <a:lnTo>
                      <a:pt x="156" y="15"/>
                    </a:lnTo>
                    <a:lnTo>
                      <a:pt x="155" y="15"/>
                    </a:lnTo>
                    <a:lnTo>
                      <a:pt x="154" y="14"/>
                    </a:lnTo>
                    <a:lnTo>
                      <a:pt x="153" y="14"/>
                    </a:lnTo>
                    <a:lnTo>
                      <a:pt x="152" y="13"/>
                    </a:lnTo>
                    <a:lnTo>
                      <a:pt x="151" y="12"/>
                    </a:lnTo>
                    <a:lnTo>
                      <a:pt x="150" y="12"/>
                    </a:lnTo>
                    <a:lnTo>
                      <a:pt x="149" y="11"/>
                    </a:lnTo>
                    <a:lnTo>
                      <a:pt x="148" y="11"/>
                    </a:lnTo>
                    <a:lnTo>
                      <a:pt x="147" y="10"/>
                    </a:lnTo>
                    <a:lnTo>
                      <a:pt x="146" y="10"/>
                    </a:lnTo>
                    <a:lnTo>
                      <a:pt x="145" y="9"/>
                    </a:lnTo>
                    <a:lnTo>
                      <a:pt x="144" y="9"/>
                    </a:lnTo>
                    <a:lnTo>
                      <a:pt x="143" y="9"/>
                    </a:lnTo>
                    <a:lnTo>
                      <a:pt x="142" y="8"/>
                    </a:lnTo>
                    <a:lnTo>
                      <a:pt x="141" y="8"/>
                    </a:lnTo>
                    <a:lnTo>
                      <a:pt x="140" y="7"/>
                    </a:lnTo>
                    <a:lnTo>
                      <a:pt x="139" y="7"/>
                    </a:lnTo>
                    <a:lnTo>
                      <a:pt x="138" y="7"/>
                    </a:lnTo>
                    <a:lnTo>
                      <a:pt x="137" y="6"/>
                    </a:lnTo>
                    <a:lnTo>
                      <a:pt x="136" y="6"/>
                    </a:lnTo>
                    <a:lnTo>
                      <a:pt x="135" y="5"/>
                    </a:lnTo>
                    <a:lnTo>
                      <a:pt x="134" y="5"/>
                    </a:lnTo>
                    <a:lnTo>
                      <a:pt x="133" y="5"/>
                    </a:lnTo>
                    <a:lnTo>
                      <a:pt x="132" y="5"/>
                    </a:lnTo>
                    <a:lnTo>
                      <a:pt x="131" y="4"/>
                    </a:lnTo>
                    <a:lnTo>
                      <a:pt x="130" y="4"/>
                    </a:lnTo>
                    <a:lnTo>
                      <a:pt x="129" y="4"/>
                    </a:lnTo>
                    <a:lnTo>
                      <a:pt x="128" y="3"/>
                    </a:lnTo>
                    <a:lnTo>
                      <a:pt x="127" y="3"/>
                    </a:lnTo>
                    <a:lnTo>
                      <a:pt x="126" y="3"/>
                    </a:lnTo>
                    <a:lnTo>
                      <a:pt x="125" y="3"/>
                    </a:lnTo>
                    <a:lnTo>
                      <a:pt x="124" y="2"/>
                    </a:lnTo>
                    <a:lnTo>
                      <a:pt x="123" y="2"/>
                    </a:lnTo>
                    <a:lnTo>
                      <a:pt x="122" y="2"/>
                    </a:lnTo>
                    <a:lnTo>
                      <a:pt x="121" y="2"/>
                    </a:lnTo>
                    <a:lnTo>
                      <a:pt x="120" y="2"/>
                    </a:lnTo>
                    <a:lnTo>
                      <a:pt x="119" y="1"/>
                    </a:lnTo>
                    <a:lnTo>
                      <a:pt x="118" y="1"/>
                    </a:lnTo>
                    <a:lnTo>
                      <a:pt x="117" y="1"/>
                    </a:lnTo>
                    <a:lnTo>
                      <a:pt x="116" y="1"/>
                    </a:lnTo>
                    <a:lnTo>
                      <a:pt x="115" y="1"/>
                    </a:lnTo>
                    <a:lnTo>
                      <a:pt x="114" y="1"/>
                    </a:lnTo>
                    <a:lnTo>
                      <a:pt x="113" y="1"/>
                    </a:lnTo>
                    <a:lnTo>
                      <a:pt x="112" y="1"/>
                    </a:lnTo>
                    <a:lnTo>
                      <a:pt x="111" y="0"/>
                    </a:lnTo>
                    <a:lnTo>
                      <a:pt x="110" y="0"/>
                    </a:lnTo>
                    <a:lnTo>
                      <a:pt x="109" y="0"/>
                    </a:lnTo>
                    <a:lnTo>
                      <a:pt x="108" y="0"/>
                    </a:lnTo>
                    <a:lnTo>
                      <a:pt x="107" y="0"/>
                    </a:lnTo>
                    <a:lnTo>
                      <a:pt x="106" y="0"/>
                    </a:lnTo>
                    <a:lnTo>
                      <a:pt x="105" y="0"/>
                    </a:lnTo>
                    <a:lnTo>
                      <a:pt x="104" y="0"/>
                    </a:lnTo>
                    <a:lnTo>
                      <a:pt x="103" y="0"/>
                    </a:lnTo>
                    <a:lnTo>
                      <a:pt x="102" y="0"/>
                    </a:lnTo>
                    <a:lnTo>
                      <a:pt x="101" y="0"/>
                    </a:lnTo>
                    <a:lnTo>
                      <a:pt x="100" y="0"/>
                    </a:lnTo>
                    <a:lnTo>
                      <a:pt x="99" y="0"/>
                    </a:lnTo>
                    <a:lnTo>
                      <a:pt x="98" y="0"/>
                    </a:lnTo>
                    <a:lnTo>
                      <a:pt x="97" y="0"/>
                    </a:lnTo>
                    <a:lnTo>
                      <a:pt x="96" y="0"/>
                    </a:lnTo>
                    <a:lnTo>
                      <a:pt x="95" y="0"/>
                    </a:lnTo>
                    <a:lnTo>
                      <a:pt x="94" y="0"/>
                    </a:lnTo>
                    <a:lnTo>
                      <a:pt x="93" y="0"/>
                    </a:lnTo>
                    <a:lnTo>
                      <a:pt x="92" y="0"/>
                    </a:lnTo>
                    <a:lnTo>
                      <a:pt x="91" y="1"/>
                    </a:lnTo>
                    <a:lnTo>
                      <a:pt x="90" y="1"/>
                    </a:lnTo>
                    <a:lnTo>
                      <a:pt x="89" y="1"/>
                    </a:lnTo>
                    <a:lnTo>
                      <a:pt x="88" y="1"/>
                    </a:lnTo>
                    <a:lnTo>
                      <a:pt x="87" y="1"/>
                    </a:lnTo>
                    <a:lnTo>
                      <a:pt x="86" y="1"/>
                    </a:lnTo>
                    <a:lnTo>
                      <a:pt x="85" y="1"/>
                    </a:lnTo>
                    <a:lnTo>
                      <a:pt x="84" y="1"/>
                    </a:lnTo>
                    <a:lnTo>
                      <a:pt x="83" y="2"/>
                    </a:lnTo>
                    <a:lnTo>
                      <a:pt x="82" y="2"/>
                    </a:lnTo>
                    <a:lnTo>
                      <a:pt x="81" y="2"/>
                    </a:lnTo>
                    <a:lnTo>
                      <a:pt x="80" y="2"/>
                    </a:lnTo>
                    <a:lnTo>
                      <a:pt x="79" y="2"/>
                    </a:lnTo>
                    <a:lnTo>
                      <a:pt x="78" y="3"/>
                    </a:lnTo>
                    <a:lnTo>
                      <a:pt x="77" y="3"/>
                    </a:lnTo>
                    <a:lnTo>
                      <a:pt x="76" y="3"/>
                    </a:lnTo>
                    <a:lnTo>
                      <a:pt x="75" y="3"/>
                    </a:lnTo>
                    <a:lnTo>
                      <a:pt x="74" y="4"/>
                    </a:lnTo>
                    <a:lnTo>
                      <a:pt x="73" y="4"/>
                    </a:lnTo>
                    <a:lnTo>
                      <a:pt x="72" y="4"/>
                    </a:lnTo>
                    <a:lnTo>
                      <a:pt x="71" y="5"/>
                    </a:lnTo>
                    <a:lnTo>
                      <a:pt x="70" y="5"/>
                    </a:lnTo>
                    <a:lnTo>
                      <a:pt x="69" y="5"/>
                    </a:lnTo>
                    <a:lnTo>
                      <a:pt x="68" y="5"/>
                    </a:lnTo>
                    <a:lnTo>
                      <a:pt x="67" y="6"/>
                    </a:lnTo>
                    <a:lnTo>
                      <a:pt x="66" y="6"/>
                    </a:lnTo>
                    <a:lnTo>
                      <a:pt x="65" y="7"/>
                    </a:lnTo>
                    <a:lnTo>
                      <a:pt x="64" y="7"/>
                    </a:lnTo>
                    <a:lnTo>
                      <a:pt x="63" y="7"/>
                    </a:lnTo>
                    <a:lnTo>
                      <a:pt x="62" y="8"/>
                    </a:lnTo>
                    <a:lnTo>
                      <a:pt x="61" y="8"/>
                    </a:lnTo>
                    <a:lnTo>
                      <a:pt x="60" y="9"/>
                    </a:lnTo>
                    <a:lnTo>
                      <a:pt x="59" y="9"/>
                    </a:lnTo>
                    <a:lnTo>
                      <a:pt x="58" y="9"/>
                    </a:lnTo>
                    <a:lnTo>
                      <a:pt x="57" y="10"/>
                    </a:lnTo>
                    <a:lnTo>
                      <a:pt x="56" y="10"/>
                    </a:lnTo>
                    <a:lnTo>
                      <a:pt x="55" y="11"/>
                    </a:lnTo>
                    <a:lnTo>
                      <a:pt x="54" y="11"/>
                    </a:lnTo>
                    <a:lnTo>
                      <a:pt x="53" y="12"/>
                    </a:lnTo>
                    <a:lnTo>
                      <a:pt x="52" y="12"/>
                    </a:lnTo>
                    <a:lnTo>
                      <a:pt x="51" y="13"/>
                    </a:lnTo>
                    <a:lnTo>
                      <a:pt x="50" y="14"/>
                    </a:lnTo>
                    <a:lnTo>
                      <a:pt x="49" y="14"/>
                    </a:lnTo>
                    <a:lnTo>
                      <a:pt x="48" y="15"/>
                    </a:lnTo>
                    <a:lnTo>
                      <a:pt x="47" y="15"/>
                    </a:lnTo>
                    <a:lnTo>
                      <a:pt x="46" y="16"/>
                    </a:lnTo>
                    <a:lnTo>
                      <a:pt x="45" y="17"/>
                    </a:lnTo>
                    <a:lnTo>
                      <a:pt x="44" y="17"/>
                    </a:lnTo>
                    <a:lnTo>
                      <a:pt x="43" y="18"/>
                    </a:lnTo>
                    <a:lnTo>
                      <a:pt x="42" y="19"/>
                    </a:lnTo>
                    <a:lnTo>
                      <a:pt x="41" y="19"/>
                    </a:lnTo>
                    <a:lnTo>
                      <a:pt x="40" y="20"/>
                    </a:lnTo>
                    <a:lnTo>
                      <a:pt x="39" y="21"/>
                    </a:lnTo>
                    <a:lnTo>
                      <a:pt x="38" y="21"/>
                    </a:lnTo>
                    <a:lnTo>
                      <a:pt x="37" y="22"/>
                    </a:lnTo>
                    <a:lnTo>
                      <a:pt x="36" y="23"/>
                    </a:lnTo>
                    <a:lnTo>
                      <a:pt x="35" y="24"/>
                    </a:lnTo>
                    <a:lnTo>
                      <a:pt x="34" y="25"/>
                    </a:lnTo>
                    <a:lnTo>
                      <a:pt x="33" y="25"/>
                    </a:lnTo>
                    <a:lnTo>
                      <a:pt x="32" y="26"/>
                    </a:lnTo>
                    <a:lnTo>
                      <a:pt x="31" y="27"/>
                    </a:lnTo>
                    <a:lnTo>
                      <a:pt x="30" y="28"/>
                    </a:lnTo>
                    <a:lnTo>
                      <a:pt x="29" y="29"/>
                    </a:lnTo>
                    <a:lnTo>
                      <a:pt x="28" y="30"/>
                    </a:lnTo>
                    <a:lnTo>
                      <a:pt x="27" y="31"/>
                    </a:lnTo>
                    <a:lnTo>
                      <a:pt x="26" y="32"/>
                    </a:lnTo>
                    <a:lnTo>
                      <a:pt x="25" y="33"/>
                    </a:lnTo>
                    <a:lnTo>
                      <a:pt x="24" y="34"/>
                    </a:lnTo>
                    <a:lnTo>
                      <a:pt x="23" y="35"/>
                    </a:lnTo>
                    <a:lnTo>
                      <a:pt x="22" y="36"/>
                    </a:lnTo>
                    <a:lnTo>
                      <a:pt x="22" y="37"/>
                    </a:lnTo>
                    <a:lnTo>
                      <a:pt x="21" y="38"/>
                    </a:lnTo>
                    <a:lnTo>
                      <a:pt x="20" y="39"/>
                    </a:lnTo>
                    <a:lnTo>
                      <a:pt x="19" y="40"/>
                    </a:lnTo>
                    <a:lnTo>
                      <a:pt x="18" y="41"/>
                    </a:lnTo>
                    <a:lnTo>
                      <a:pt x="18" y="42"/>
                    </a:lnTo>
                    <a:lnTo>
                      <a:pt x="17" y="43"/>
                    </a:lnTo>
                    <a:lnTo>
                      <a:pt x="16" y="44"/>
                    </a:lnTo>
                    <a:lnTo>
                      <a:pt x="15" y="45"/>
                    </a:lnTo>
                    <a:lnTo>
                      <a:pt x="15" y="46"/>
                    </a:lnTo>
                    <a:lnTo>
                      <a:pt x="14" y="47"/>
                    </a:lnTo>
                    <a:lnTo>
                      <a:pt x="13" y="48"/>
                    </a:lnTo>
                    <a:lnTo>
                      <a:pt x="13" y="49"/>
                    </a:lnTo>
                    <a:lnTo>
                      <a:pt x="12" y="50"/>
                    </a:lnTo>
                    <a:lnTo>
                      <a:pt x="12" y="51"/>
                    </a:lnTo>
                    <a:lnTo>
                      <a:pt x="11" y="52"/>
                    </a:lnTo>
                    <a:lnTo>
                      <a:pt x="10" y="53"/>
                    </a:lnTo>
                    <a:lnTo>
                      <a:pt x="10" y="54"/>
                    </a:lnTo>
                    <a:lnTo>
                      <a:pt x="9" y="55"/>
                    </a:lnTo>
                    <a:lnTo>
                      <a:pt x="9" y="56"/>
                    </a:lnTo>
                    <a:lnTo>
                      <a:pt x="8" y="57"/>
                    </a:lnTo>
                    <a:lnTo>
                      <a:pt x="8" y="58"/>
                    </a:lnTo>
                    <a:lnTo>
                      <a:pt x="7" y="59"/>
                    </a:lnTo>
                    <a:lnTo>
                      <a:pt x="7" y="60"/>
                    </a:lnTo>
                    <a:lnTo>
                      <a:pt x="6" y="61"/>
                    </a:lnTo>
                    <a:lnTo>
                      <a:pt x="6" y="62"/>
                    </a:lnTo>
                    <a:lnTo>
                      <a:pt x="5" y="63"/>
                    </a:lnTo>
                    <a:lnTo>
                      <a:pt x="5" y="64"/>
                    </a:lnTo>
                    <a:lnTo>
                      <a:pt x="5" y="65"/>
                    </a:lnTo>
                    <a:lnTo>
                      <a:pt x="4" y="66"/>
                    </a:lnTo>
                    <a:lnTo>
                      <a:pt x="4" y="67"/>
                    </a:lnTo>
                    <a:lnTo>
                      <a:pt x="3" y="68"/>
                    </a:lnTo>
                    <a:lnTo>
                      <a:pt x="3" y="69"/>
                    </a:lnTo>
                    <a:lnTo>
                      <a:pt x="3" y="70"/>
                    </a:lnTo>
                    <a:lnTo>
                      <a:pt x="2" y="71"/>
                    </a:lnTo>
                    <a:lnTo>
                      <a:pt x="2" y="72"/>
                    </a:lnTo>
                    <a:lnTo>
                      <a:pt x="2" y="73"/>
                    </a:lnTo>
                    <a:lnTo>
                      <a:pt x="1" y="74"/>
                    </a:lnTo>
                    <a:lnTo>
                      <a:pt x="1" y="75"/>
                    </a:lnTo>
                    <a:lnTo>
                      <a:pt x="1" y="76"/>
                    </a:lnTo>
                    <a:lnTo>
                      <a:pt x="1" y="77"/>
                    </a:lnTo>
                    <a:lnTo>
                      <a:pt x="0" y="78"/>
                    </a:lnTo>
                    <a:lnTo>
                      <a:pt x="0" y="78"/>
                    </a:lnTo>
                    <a:lnTo>
                      <a:pt x="101" y="104"/>
                    </a:lnTo>
                    <a:lnTo>
                      <a:pt x="206" y="104"/>
                    </a:lnTo>
                    <a:close/>
                  </a:path>
                </a:pathLst>
              </a:custGeom>
              <a:solidFill>
                <a:srgbClr val="E64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22" name="Freeform 303"/>
              <p:cNvSpPr>
                <a:spLocks/>
              </p:cNvSpPr>
              <p:nvPr/>
            </p:nvSpPr>
            <p:spPr bwMode="auto">
              <a:xfrm>
                <a:off x="3773" y="2699"/>
                <a:ext cx="165" cy="155"/>
              </a:xfrm>
              <a:custGeom>
                <a:avLst/>
                <a:gdLst>
                  <a:gd name="T0" fmla="*/ 3 w 104"/>
                  <a:gd name="T1" fmla="*/ 1 h 98"/>
                  <a:gd name="T2" fmla="*/ 3 w 104"/>
                  <a:gd name="T3" fmla="*/ 3 h 98"/>
                  <a:gd name="T4" fmla="*/ 2 w 104"/>
                  <a:gd name="T5" fmla="*/ 5 h 98"/>
                  <a:gd name="T6" fmla="*/ 2 w 104"/>
                  <a:gd name="T7" fmla="*/ 7 h 98"/>
                  <a:gd name="T8" fmla="*/ 1 w 104"/>
                  <a:gd name="T9" fmla="*/ 9 h 98"/>
                  <a:gd name="T10" fmla="*/ 1 w 104"/>
                  <a:gd name="T11" fmla="*/ 11 h 98"/>
                  <a:gd name="T12" fmla="*/ 1 w 104"/>
                  <a:gd name="T13" fmla="*/ 13 h 98"/>
                  <a:gd name="T14" fmla="*/ 1 w 104"/>
                  <a:gd name="T15" fmla="*/ 15 h 98"/>
                  <a:gd name="T16" fmla="*/ 0 w 104"/>
                  <a:gd name="T17" fmla="*/ 17 h 98"/>
                  <a:gd name="T18" fmla="*/ 0 w 104"/>
                  <a:gd name="T19" fmla="*/ 19 h 98"/>
                  <a:gd name="T20" fmla="*/ 0 w 104"/>
                  <a:gd name="T21" fmla="*/ 21 h 98"/>
                  <a:gd name="T22" fmla="*/ 0 w 104"/>
                  <a:gd name="T23" fmla="*/ 23 h 98"/>
                  <a:gd name="T24" fmla="*/ 0 w 104"/>
                  <a:gd name="T25" fmla="*/ 25 h 98"/>
                  <a:gd name="T26" fmla="*/ 0 w 104"/>
                  <a:gd name="T27" fmla="*/ 27 h 98"/>
                  <a:gd name="T28" fmla="*/ 0 w 104"/>
                  <a:gd name="T29" fmla="*/ 29 h 98"/>
                  <a:gd name="T30" fmla="*/ 0 w 104"/>
                  <a:gd name="T31" fmla="*/ 31 h 98"/>
                  <a:gd name="T32" fmla="*/ 0 w 104"/>
                  <a:gd name="T33" fmla="*/ 33 h 98"/>
                  <a:gd name="T34" fmla="*/ 0 w 104"/>
                  <a:gd name="T35" fmla="*/ 35 h 98"/>
                  <a:gd name="T36" fmla="*/ 1 w 104"/>
                  <a:gd name="T37" fmla="*/ 37 h 98"/>
                  <a:gd name="T38" fmla="*/ 1 w 104"/>
                  <a:gd name="T39" fmla="*/ 39 h 98"/>
                  <a:gd name="T40" fmla="*/ 1 w 104"/>
                  <a:gd name="T41" fmla="*/ 41 h 98"/>
                  <a:gd name="T42" fmla="*/ 1 w 104"/>
                  <a:gd name="T43" fmla="*/ 43 h 98"/>
                  <a:gd name="T44" fmla="*/ 2 w 104"/>
                  <a:gd name="T45" fmla="*/ 45 h 98"/>
                  <a:gd name="T46" fmla="*/ 2 w 104"/>
                  <a:gd name="T47" fmla="*/ 47 h 98"/>
                  <a:gd name="T48" fmla="*/ 3 w 104"/>
                  <a:gd name="T49" fmla="*/ 49 h 98"/>
                  <a:gd name="T50" fmla="*/ 3 w 104"/>
                  <a:gd name="T51" fmla="*/ 51 h 98"/>
                  <a:gd name="T52" fmla="*/ 4 w 104"/>
                  <a:gd name="T53" fmla="*/ 53 h 98"/>
                  <a:gd name="T54" fmla="*/ 4 w 104"/>
                  <a:gd name="T55" fmla="*/ 55 h 98"/>
                  <a:gd name="T56" fmla="*/ 5 w 104"/>
                  <a:gd name="T57" fmla="*/ 57 h 98"/>
                  <a:gd name="T58" fmla="*/ 5 w 104"/>
                  <a:gd name="T59" fmla="*/ 59 h 98"/>
                  <a:gd name="T60" fmla="*/ 6 w 104"/>
                  <a:gd name="T61" fmla="*/ 61 h 98"/>
                  <a:gd name="T62" fmla="*/ 7 w 104"/>
                  <a:gd name="T63" fmla="*/ 63 h 98"/>
                  <a:gd name="T64" fmla="*/ 8 w 104"/>
                  <a:gd name="T65" fmla="*/ 65 h 98"/>
                  <a:gd name="T66" fmla="*/ 8 w 104"/>
                  <a:gd name="T67" fmla="*/ 67 h 98"/>
                  <a:gd name="T68" fmla="*/ 9 w 104"/>
                  <a:gd name="T69" fmla="*/ 69 h 98"/>
                  <a:gd name="T70" fmla="*/ 10 w 104"/>
                  <a:gd name="T71" fmla="*/ 71 h 98"/>
                  <a:gd name="T72" fmla="*/ 11 w 104"/>
                  <a:gd name="T73" fmla="*/ 73 h 98"/>
                  <a:gd name="T74" fmla="*/ 12 w 104"/>
                  <a:gd name="T75" fmla="*/ 75 h 98"/>
                  <a:gd name="T76" fmla="*/ 13 w 104"/>
                  <a:gd name="T77" fmla="*/ 77 h 98"/>
                  <a:gd name="T78" fmla="*/ 15 w 104"/>
                  <a:gd name="T79" fmla="*/ 79 h 98"/>
                  <a:gd name="T80" fmla="*/ 16 w 104"/>
                  <a:gd name="T81" fmla="*/ 81 h 98"/>
                  <a:gd name="T82" fmla="*/ 17 w 104"/>
                  <a:gd name="T83" fmla="*/ 83 h 98"/>
                  <a:gd name="T84" fmla="*/ 18 w 104"/>
                  <a:gd name="T85" fmla="*/ 85 h 98"/>
                  <a:gd name="T86" fmla="*/ 20 w 104"/>
                  <a:gd name="T87" fmla="*/ 87 h 98"/>
                  <a:gd name="T88" fmla="*/ 21 w 104"/>
                  <a:gd name="T89" fmla="*/ 89 h 98"/>
                  <a:gd name="T90" fmla="*/ 23 w 104"/>
                  <a:gd name="T91" fmla="*/ 91 h 98"/>
                  <a:gd name="T92" fmla="*/ 25 w 104"/>
                  <a:gd name="T93" fmla="*/ 93 h 98"/>
                  <a:gd name="T94" fmla="*/ 26 w 104"/>
                  <a:gd name="T95" fmla="*/ 95 h 98"/>
                  <a:gd name="T96" fmla="*/ 28 w 104"/>
                  <a:gd name="T97" fmla="*/ 97 h 98"/>
                  <a:gd name="T98" fmla="*/ 28 w 104"/>
                  <a:gd name="T99" fmla="*/ 98 h 98"/>
                  <a:gd name="T100" fmla="*/ 3 w 104"/>
                  <a:gd name="T10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98">
                    <a:moveTo>
                      <a:pt x="3" y="0"/>
                    </a:moveTo>
                    <a:lnTo>
                      <a:pt x="3" y="1"/>
                    </a:lnTo>
                    <a:lnTo>
                      <a:pt x="3" y="2"/>
                    </a:lnTo>
                    <a:lnTo>
                      <a:pt x="3" y="3"/>
                    </a:lnTo>
                    <a:lnTo>
                      <a:pt x="2" y="4"/>
                    </a:lnTo>
                    <a:lnTo>
                      <a:pt x="2" y="5"/>
                    </a:lnTo>
                    <a:lnTo>
                      <a:pt x="2" y="6"/>
                    </a:lnTo>
                    <a:lnTo>
                      <a:pt x="2" y="7"/>
                    </a:lnTo>
                    <a:lnTo>
                      <a:pt x="2" y="8"/>
                    </a:lnTo>
                    <a:lnTo>
                      <a:pt x="1" y="9"/>
                    </a:lnTo>
                    <a:lnTo>
                      <a:pt x="1" y="10"/>
                    </a:lnTo>
                    <a:lnTo>
                      <a:pt x="1" y="11"/>
                    </a:lnTo>
                    <a:lnTo>
                      <a:pt x="1" y="12"/>
                    </a:lnTo>
                    <a:lnTo>
                      <a:pt x="1" y="13"/>
                    </a:lnTo>
                    <a:lnTo>
                      <a:pt x="1" y="14"/>
                    </a:lnTo>
                    <a:lnTo>
                      <a:pt x="1" y="15"/>
                    </a:lnTo>
                    <a:lnTo>
                      <a:pt x="0" y="16"/>
                    </a:lnTo>
                    <a:lnTo>
                      <a:pt x="0" y="17"/>
                    </a:lnTo>
                    <a:lnTo>
                      <a:pt x="0" y="18"/>
                    </a:lnTo>
                    <a:lnTo>
                      <a:pt x="0" y="19"/>
                    </a:lnTo>
                    <a:lnTo>
                      <a:pt x="0" y="20"/>
                    </a:lnTo>
                    <a:lnTo>
                      <a:pt x="0" y="21"/>
                    </a:lnTo>
                    <a:lnTo>
                      <a:pt x="0" y="22"/>
                    </a:lnTo>
                    <a:lnTo>
                      <a:pt x="0" y="23"/>
                    </a:lnTo>
                    <a:lnTo>
                      <a:pt x="0" y="24"/>
                    </a:lnTo>
                    <a:lnTo>
                      <a:pt x="0" y="25"/>
                    </a:lnTo>
                    <a:lnTo>
                      <a:pt x="0" y="26"/>
                    </a:lnTo>
                    <a:lnTo>
                      <a:pt x="0" y="27"/>
                    </a:lnTo>
                    <a:lnTo>
                      <a:pt x="0" y="28"/>
                    </a:lnTo>
                    <a:lnTo>
                      <a:pt x="0" y="29"/>
                    </a:lnTo>
                    <a:lnTo>
                      <a:pt x="0" y="30"/>
                    </a:lnTo>
                    <a:lnTo>
                      <a:pt x="0" y="31"/>
                    </a:lnTo>
                    <a:lnTo>
                      <a:pt x="0" y="32"/>
                    </a:lnTo>
                    <a:lnTo>
                      <a:pt x="0" y="33"/>
                    </a:lnTo>
                    <a:lnTo>
                      <a:pt x="0" y="34"/>
                    </a:lnTo>
                    <a:lnTo>
                      <a:pt x="0" y="35"/>
                    </a:lnTo>
                    <a:lnTo>
                      <a:pt x="0" y="36"/>
                    </a:lnTo>
                    <a:lnTo>
                      <a:pt x="1" y="37"/>
                    </a:lnTo>
                    <a:lnTo>
                      <a:pt x="1" y="38"/>
                    </a:lnTo>
                    <a:lnTo>
                      <a:pt x="1" y="39"/>
                    </a:lnTo>
                    <a:lnTo>
                      <a:pt x="1" y="40"/>
                    </a:lnTo>
                    <a:lnTo>
                      <a:pt x="1" y="41"/>
                    </a:lnTo>
                    <a:lnTo>
                      <a:pt x="1" y="42"/>
                    </a:lnTo>
                    <a:lnTo>
                      <a:pt x="1" y="43"/>
                    </a:lnTo>
                    <a:lnTo>
                      <a:pt x="2" y="44"/>
                    </a:lnTo>
                    <a:lnTo>
                      <a:pt x="2" y="45"/>
                    </a:lnTo>
                    <a:lnTo>
                      <a:pt x="2" y="46"/>
                    </a:lnTo>
                    <a:lnTo>
                      <a:pt x="2" y="47"/>
                    </a:lnTo>
                    <a:lnTo>
                      <a:pt x="2" y="48"/>
                    </a:lnTo>
                    <a:lnTo>
                      <a:pt x="3" y="49"/>
                    </a:lnTo>
                    <a:lnTo>
                      <a:pt x="3" y="50"/>
                    </a:lnTo>
                    <a:lnTo>
                      <a:pt x="3" y="51"/>
                    </a:lnTo>
                    <a:lnTo>
                      <a:pt x="3" y="52"/>
                    </a:lnTo>
                    <a:lnTo>
                      <a:pt x="4" y="53"/>
                    </a:lnTo>
                    <a:lnTo>
                      <a:pt x="4" y="54"/>
                    </a:lnTo>
                    <a:lnTo>
                      <a:pt x="4" y="55"/>
                    </a:lnTo>
                    <a:lnTo>
                      <a:pt x="4" y="56"/>
                    </a:lnTo>
                    <a:lnTo>
                      <a:pt x="5" y="57"/>
                    </a:lnTo>
                    <a:lnTo>
                      <a:pt x="5" y="58"/>
                    </a:lnTo>
                    <a:lnTo>
                      <a:pt x="5" y="59"/>
                    </a:lnTo>
                    <a:lnTo>
                      <a:pt x="6" y="60"/>
                    </a:lnTo>
                    <a:lnTo>
                      <a:pt x="6" y="61"/>
                    </a:lnTo>
                    <a:lnTo>
                      <a:pt x="6" y="62"/>
                    </a:lnTo>
                    <a:lnTo>
                      <a:pt x="7" y="63"/>
                    </a:lnTo>
                    <a:lnTo>
                      <a:pt x="7" y="64"/>
                    </a:lnTo>
                    <a:lnTo>
                      <a:pt x="8" y="65"/>
                    </a:lnTo>
                    <a:lnTo>
                      <a:pt x="8" y="66"/>
                    </a:lnTo>
                    <a:lnTo>
                      <a:pt x="8" y="67"/>
                    </a:lnTo>
                    <a:lnTo>
                      <a:pt x="9" y="68"/>
                    </a:lnTo>
                    <a:lnTo>
                      <a:pt x="9" y="69"/>
                    </a:lnTo>
                    <a:lnTo>
                      <a:pt x="10" y="70"/>
                    </a:lnTo>
                    <a:lnTo>
                      <a:pt x="10" y="71"/>
                    </a:lnTo>
                    <a:lnTo>
                      <a:pt x="11" y="72"/>
                    </a:lnTo>
                    <a:lnTo>
                      <a:pt x="11" y="73"/>
                    </a:lnTo>
                    <a:lnTo>
                      <a:pt x="12" y="74"/>
                    </a:lnTo>
                    <a:lnTo>
                      <a:pt x="12" y="75"/>
                    </a:lnTo>
                    <a:lnTo>
                      <a:pt x="13" y="76"/>
                    </a:lnTo>
                    <a:lnTo>
                      <a:pt x="13" y="77"/>
                    </a:lnTo>
                    <a:lnTo>
                      <a:pt x="14" y="78"/>
                    </a:lnTo>
                    <a:lnTo>
                      <a:pt x="15" y="79"/>
                    </a:lnTo>
                    <a:lnTo>
                      <a:pt x="15" y="80"/>
                    </a:lnTo>
                    <a:lnTo>
                      <a:pt x="16" y="81"/>
                    </a:lnTo>
                    <a:lnTo>
                      <a:pt x="16" y="82"/>
                    </a:lnTo>
                    <a:lnTo>
                      <a:pt x="17" y="83"/>
                    </a:lnTo>
                    <a:lnTo>
                      <a:pt x="18" y="84"/>
                    </a:lnTo>
                    <a:lnTo>
                      <a:pt x="18" y="85"/>
                    </a:lnTo>
                    <a:lnTo>
                      <a:pt x="19" y="86"/>
                    </a:lnTo>
                    <a:lnTo>
                      <a:pt x="20" y="87"/>
                    </a:lnTo>
                    <a:lnTo>
                      <a:pt x="21" y="88"/>
                    </a:lnTo>
                    <a:lnTo>
                      <a:pt x="21" y="89"/>
                    </a:lnTo>
                    <a:lnTo>
                      <a:pt x="22" y="90"/>
                    </a:lnTo>
                    <a:lnTo>
                      <a:pt x="23" y="91"/>
                    </a:lnTo>
                    <a:lnTo>
                      <a:pt x="24" y="92"/>
                    </a:lnTo>
                    <a:lnTo>
                      <a:pt x="25" y="93"/>
                    </a:lnTo>
                    <a:lnTo>
                      <a:pt x="25" y="94"/>
                    </a:lnTo>
                    <a:lnTo>
                      <a:pt x="26" y="95"/>
                    </a:lnTo>
                    <a:lnTo>
                      <a:pt x="27" y="96"/>
                    </a:lnTo>
                    <a:lnTo>
                      <a:pt x="28" y="97"/>
                    </a:lnTo>
                    <a:lnTo>
                      <a:pt x="28" y="98"/>
                    </a:lnTo>
                    <a:lnTo>
                      <a:pt x="28" y="98"/>
                    </a:lnTo>
                    <a:lnTo>
                      <a:pt x="104" y="26"/>
                    </a:lnTo>
                    <a:lnTo>
                      <a:pt x="3" y="0"/>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23" name="Freeform 304"/>
              <p:cNvSpPr>
                <a:spLocks/>
              </p:cNvSpPr>
              <p:nvPr/>
            </p:nvSpPr>
            <p:spPr bwMode="auto">
              <a:xfrm>
                <a:off x="3817" y="2740"/>
                <a:ext cx="210" cy="165"/>
              </a:xfrm>
              <a:custGeom>
                <a:avLst/>
                <a:gdLst>
                  <a:gd name="T0" fmla="*/ 2 w 132"/>
                  <a:gd name="T1" fmla="*/ 74 h 104"/>
                  <a:gd name="T2" fmla="*/ 5 w 132"/>
                  <a:gd name="T3" fmla="*/ 76 h 104"/>
                  <a:gd name="T4" fmla="*/ 8 w 132"/>
                  <a:gd name="T5" fmla="*/ 79 h 104"/>
                  <a:gd name="T6" fmla="*/ 11 w 132"/>
                  <a:gd name="T7" fmla="*/ 81 h 104"/>
                  <a:gd name="T8" fmla="*/ 14 w 132"/>
                  <a:gd name="T9" fmla="*/ 83 h 104"/>
                  <a:gd name="T10" fmla="*/ 17 w 132"/>
                  <a:gd name="T11" fmla="*/ 85 h 104"/>
                  <a:gd name="T12" fmla="*/ 20 w 132"/>
                  <a:gd name="T13" fmla="*/ 87 h 104"/>
                  <a:gd name="T14" fmla="*/ 23 w 132"/>
                  <a:gd name="T15" fmla="*/ 89 h 104"/>
                  <a:gd name="T16" fmla="*/ 26 w 132"/>
                  <a:gd name="T17" fmla="*/ 91 h 104"/>
                  <a:gd name="T18" fmla="*/ 29 w 132"/>
                  <a:gd name="T19" fmla="*/ 93 h 104"/>
                  <a:gd name="T20" fmla="*/ 32 w 132"/>
                  <a:gd name="T21" fmla="*/ 94 h 104"/>
                  <a:gd name="T22" fmla="*/ 35 w 132"/>
                  <a:gd name="T23" fmla="*/ 95 h 104"/>
                  <a:gd name="T24" fmla="*/ 38 w 132"/>
                  <a:gd name="T25" fmla="*/ 97 h 104"/>
                  <a:gd name="T26" fmla="*/ 41 w 132"/>
                  <a:gd name="T27" fmla="*/ 98 h 104"/>
                  <a:gd name="T28" fmla="*/ 44 w 132"/>
                  <a:gd name="T29" fmla="*/ 99 h 104"/>
                  <a:gd name="T30" fmla="*/ 47 w 132"/>
                  <a:gd name="T31" fmla="*/ 100 h 104"/>
                  <a:gd name="T32" fmla="*/ 50 w 132"/>
                  <a:gd name="T33" fmla="*/ 101 h 104"/>
                  <a:gd name="T34" fmla="*/ 53 w 132"/>
                  <a:gd name="T35" fmla="*/ 101 h 104"/>
                  <a:gd name="T36" fmla="*/ 56 w 132"/>
                  <a:gd name="T37" fmla="*/ 102 h 104"/>
                  <a:gd name="T38" fmla="*/ 59 w 132"/>
                  <a:gd name="T39" fmla="*/ 103 h 104"/>
                  <a:gd name="T40" fmla="*/ 62 w 132"/>
                  <a:gd name="T41" fmla="*/ 103 h 104"/>
                  <a:gd name="T42" fmla="*/ 65 w 132"/>
                  <a:gd name="T43" fmla="*/ 103 h 104"/>
                  <a:gd name="T44" fmla="*/ 68 w 132"/>
                  <a:gd name="T45" fmla="*/ 104 h 104"/>
                  <a:gd name="T46" fmla="*/ 71 w 132"/>
                  <a:gd name="T47" fmla="*/ 104 h 104"/>
                  <a:gd name="T48" fmla="*/ 74 w 132"/>
                  <a:gd name="T49" fmla="*/ 104 h 104"/>
                  <a:gd name="T50" fmla="*/ 77 w 132"/>
                  <a:gd name="T51" fmla="*/ 104 h 104"/>
                  <a:gd name="T52" fmla="*/ 80 w 132"/>
                  <a:gd name="T53" fmla="*/ 104 h 104"/>
                  <a:gd name="T54" fmla="*/ 83 w 132"/>
                  <a:gd name="T55" fmla="*/ 104 h 104"/>
                  <a:gd name="T56" fmla="*/ 86 w 132"/>
                  <a:gd name="T57" fmla="*/ 104 h 104"/>
                  <a:gd name="T58" fmla="*/ 89 w 132"/>
                  <a:gd name="T59" fmla="*/ 103 h 104"/>
                  <a:gd name="T60" fmla="*/ 92 w 132"/>
                  <a:gd name="T61" fmla="*/ 103 h 104"/>
                  <a:gd name="T62" fmla="*/ 95 w 132"/>
                  <a:gd name="T63" fmla="*/ 102 h 104"/>
                  <a:gd name="T64" fmla="*/ 98 w 132"/>
                  <a:gd name="T65" fmla="*/ 102 h 104"/>
                  <a:gd name="T66" fmla="*/ 101 w 132"/>
                  <a:gd name="T67" fmla="*/ 101 h 104"/>
                  <a:gd name="T68" fmla="*/ 104 w 132"/>
                  <a:gd name="T69" fmla="*/ 100 h 104"/>
                  <a:gd name="T70" fmla="*/ 107 w 132"/>
                  <a:gd name="T71" fmla="*/ 99 h 104"/>
                  <a:gd name="T72" fmla="*/ 110 w 132"/>
                  <a:gd name="T73" fmla="*/ 99 h 104"/>
                  <a:gd name="T74" fmla="*/ 113 w 132"/>
                  <a:gd name="T75" fmla="*/ 97 h 104"/>
                  <a:gd name="T76" fmla="*/ 116 w 132"/>
                  <a:gd name="T77" fmla="*/ 96 h 104"/>
                  <a:gd name="T78" fmla="*/ 119 w 132"/>
                  <a:gd name="T79" fmla="*/ 95 h 104"/>
                  <a:gd name="T80" fmla="*/ 122 w 132"/>
                  <a:gd name="T81" fmla="*/ 94 h 104"/>
                  <a:gd name="T82" fmla="*/ 125 w 132"/>
                  <a:gd name="T83" fmla="*/ 92 h 104"/>
                  <a:gd name="T84" fmla="*/ 128 w 132"/>
                  <a:gd name="T85" fmla="*/ 90 h 104"/>
                  <a:gd name="T86" fmla="*/ 131 w 132"/>
                  <a:gd name="T87" fmla="*/ 89 h 104"/>
                  <a:gd name="T88" fmla="*/ 76 w 132"/>
                  <a:gd name="T8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 h="104">
                    <a:moveTo>
                      <a:pt x="0" y="72"/>
                    </a:moveTo>
                    <a:lnTo>
                      <a:pt x="1" y="73"/>
                    </a:lnTo>
                    <a:lnTo>
                      <a:pt x="2" y="74"/>
                    </a:lnTo>
                    <a:lnTo>
                      <a:pt x="3" y="74"/>
                    </a:lnTo>
                    <a:lnTo>
                      <a:pt x="4" y="75"/>
                    </a:lnTo>
                    <a:lnTo>
                      <a:pt x="5" y="76"/>
                    </a:lnTo>
                    <a:lnTo>
                      <a:pt x="6" y="77"/>
                    </a:lnTo>
                    <a:lnTo>
                      <a:pt x="7" y="78"/>
                    </a:lnTo>
                    <a:lnTo>
                      <a:pt x="8" y="79"/>
                    </a:lnTo>
                    <a:lnTo>
                      <a:pt x="9" y="79"/>
                    </a:lnTo>
                    <a:lnTo>
                      <a:pt x="10" y="80"/>
                    </a:lnTo>
                    <a:lnTo>
                      <a:pt x="11" y="81"/>
                    </a:lnTo>
                    <a:lnTo>
                      <a:pt x="12" y="82"/>
                    </a:lnTo>
                    <a:lnTo>
                      <a:pt x="13" y="83"/>
                    </a:lnTo>
                    <a:lnTo>
                      <a:pt x="14" y="83"/>
                    </a:lnTo>
                    <a:lnTo>
                      <a:pt x="15" y="84"/>
                    </a:lnTo>
                    <a:lnTo>
                      <a:pt x="16" y="85"/>
                    </a:lnTo>
                    <a:lnTo>
                      <a:pt x="17" y="85"/>
                    </a:lnTo>
                    <a:lnTo>
                      <a:pt x="18" y="86"/>
                    </a:lnTo>
                    <a:lnTo>
                      <a:pt x="19" y="87"/>
                    </a:lnTo>
                    <a:lnTo>
                      <a:pt x="20" y="87"/>
                    </a:lnTo>
                    <a:lnTo>
                      <a:pt x="21" y="88"/>
                    </a:lnTo>
                    <a:lnTo>
                      <a:pt x="22" y="89"/>
                    </a:lnTo>
                    <a:lnTo>
                      <a:pt x="23" y="89"/>
                    </a:lnTo>
                    <a:lnTo>
                      <a:pt x="24" y="90"/>
                    </a:lnTo>
                    <a:lnTo>
                      <a:pt x="25" y="90"/>
                    </a:lnTo>
                    <a:lnTo>
                      <a:pt x="26" y="91"/>
                    </a:lnTo>
                    <a:lnTo>
                      <a:pt x="27" y="92"/>
                    </a:lnTo>
                    <a:lnTo>
                      <a:pt x="28" y="92"/>
                    </a:lnTo>
                    <a:lnTo>
                      <a:pt x="29" y="93"/>
                    </a:lnTo>
                    <a:lnTo>
                      <a:pt x="30" y="93"/>
                    </a:lnTo>
                    <a:lnTo>
                      <a:pt x="31" y="94"/>
                    </a:lnTo>
                    <a:lnTo>
                      <a:pt x="32" y="94"/>
                    </a:lnTo>
                    <a:lnTo>
                      <a:pt x="33" y="95"/>
                    </a:lnTo>
                    <a:lnTo>
                      <a:pt x="34" y="95"/>
                    </a:lnTo>
                    <a:lnTo>
                      <a:pt x="35" y="95"/>
                    </a:lnTo>
                    <a:lnTo>
                      <a:pt x="36" y="96"/>
                    </a:lnTo>
                    <a:lnTo>
                      <a:pt x="37" y="96"/>
                    </a:lnTo>
                    <a:lnTo>
                      <a:pt x="38" y="97"/>
                    </a:lnTo>
                    <a:lnTo>
                      <a:pt x="39" y="97"/>
                    </a:lnTo>
                    <a:lnTo>
                      <a:pt x="40" y="97"/>
                    </a:lnTo>
                    <a:lnTo>
                      <a:pt x="41" y="98"/>
                    </a:lnTo>
                    <a:lnTo>
                      <a:pt x="42" y="98"/>
                    </a:lnTo>
                    <a:lnTo>
                      <a:pt x="43" y="99"/>
                    </a:lnTo>
                    <a:lnTo>
                      <a:pt x="44" y="99"/>
                    </a:lnTo>
                    <a:lnTo>
                      <a:pt x="45" y="99"/>
                    </a:lnTo>
                    <a:lnTo>
                      <a:pt x="46" y="99"/>
                    </a:lnTo>
                    <a:lnTo>
                      <a:pt x="47" y="100"/>
                    </a:lnTo>
                    <a:lnTo>
                      <a:pt x="48" y="100"/>
                    </a:lnTo>
                    <a:lnTo>
                      <a:pt x="49" y="100"/>
                    </a:lnTo>
                    <a:lnTo>
                      <a:pt x="50" y="101"/>
                    </a:lnTo>
                    <a:lnTo>
                      <a:pt x="51" y="101"/>
                    </a:lnTo>
                    <a:lnTo>
                      <a:pt x="52" y="101"/>
                    </a:lnTo>
                    <a:lnTo>
                      <a:pt x="53" y="101"/>
                    </a:lnTo>
                    <a:lnTo>
                      <a:pt x="54" y="102"/>
                    </a:lnTo>
                    <a:lnTo>
                      <a:pt x="55" y="102"/>
                    </a:lnTo>
                    <a:lnTo>
                      <a:pt x="56" y="102"/>
                    </a:lnTo>
                    <a:lnTo>
                      <a:pt x="57" y="102"/>
                    </a:lnTo>
                    <a:lnTo>
                      <a:pt x="58" y="102"/>
                    </a:lnTo>
                    <a:lnTo>
                      <a:pt x="59" y="103"/>
                    </a:lnTo>
                    <a:lnTo>
                      <a:pt x="60" y="103"/>
                    </a:lnTo>
                    <a:lnTo>
                      <a:pt x="61" y="103"/>
                    </a:lnTo>
                    <a:lnTo>
                      <a:pt x="62" y="103"/>
                    </a:lnTo>
                    <a:lnTo>
                      <a:pt x="63" y="103"/>
                    </a:lnTo>
                    <a:lnTo>
                      <a:pt x="64" y="103"/>
                    </a:lnTo>
                    <a:lnTo>
                      <a:pt x="65" y="103"/>
                    </a:lnTo>
                    <a:lnTo>
                      <a:pt x="66" y="103"/>
                    </a:lnTo>
                    <a:lnTo>
                      <a:pt x="67" y="104"/>
                    </a:lnTo>
                    <a:lnTo>
                      <a:pt x="68" y="104"/>
                    </a:lnTo>
                    <a:lnTo>
                      <a:pt x="69" y="104"/>
                    </a:lnTo>
                    <a:lnTo>
                      <a:pt x="70" y="104"/>
                    </a:lnTo>
                    <a:lnTo>
                      <a:pt x="71" y="104"/>
                    </a:lnTo>
                    <a:lnTo>
                      <a:pt x="72" y="104"/>
                    </a:lnTo>
                    <a:lnTo>
                      <a:pt x="73" y="104"/>
                    </a:lnTo>
                    <a:lnTo>
                      <a:pt x="74" y="104"/>
                    </a:lnTo>
                    <a:lnTo>
                      <a:pt x="75" y="104"/>
                    </a:lnTo>
                    <a:lnTo>
                      <a:pt x="76" y="104"/>
                    </a:lnTo>
                    <a:lnTo>
                      <a:pt x="77" y="104"/>
                    </a:lnTo>
                    <a:lnTo>
                      <a:pt x="78" y="104"/>
                    </a:lnTo>
                    <a:lnTo>
                      <a:pt x="79" y="104"/>
                    </a:lnTo>
                    <a:lnTo>
                      <a:pt x="80" y="104"/>
                    </a:lnTo>
                    <a:lnTo>
                      <a:pt x="81" y="104"/>
                    </a:lnTo>
                    <a:lnTo>
                      <a:pt x="82" y="104"/>
                    </a:lnTo>
                    <a:lnTo>
                      <a:pt x="83" y="104"/>
                    </a:lnTo>
                    <a:lnTo>
                      <a:pt x="84" y="104"/>
                    </a:lnTo>
                    <a:lnTo>
                      <a:pt x="85" y="104"/>
                    </a:lnTo>
                    <a:lnTo>
                      <a:pt x="86" y="104"/>
                    </a:lnTo>
                    <a:lnTo>
                      <a:pt x="87" y="103"/>
                    </a:lnTo>
                    <a:lnTo>
                      <a:pt x="88" y="103"/>
                    </a:lnTo>
                    <a:lnTo>
                      <a:pt x="89" y="103"/>
                    </a:lnTo>
                    <a:lnTo>
                      <a:pt x="90" y="103"/>
                    </a:lnTo>
                    <a:lnTo>
                      <a:pt x="91" y="103"/>
                    </a:lnTo>
                    <a:lnTo>
                      <a:pt x="92" y="103"/>
                    </a:lnTo>
                    <a:lnTo>
                      <a:pt x="93" y="103"/>
                    </a:lnTo>
                    <a:lnTo>
                      <a:pt x="94" y="103"/>
                    </a:lnTo>
                    <a:lnTo>
                      <a:pt x="95" y="102"/>
                    </a:lnTo>
                    <a:lnTo>
                      <a:pt x="96" y="102"/>
                    </a:lnTo>
                    <a:lnTo>
                      <a:pt x="97" y="102"/>
                    </a:lnTo>
                    <a:lnTo>
                      <a:pt x="98" y="102"/>
                    </a:lnTo>
                    <a:lnTo>
                      <a:pt x="99" y="102"/>
                    </a:lnTo>
                    <a:lnTo>
                      <a:pt x="100" y="101"/>
                    </a:lnTo>
                    <a:lnTo>
                      <a:pt x="101" y="101"/>
                    </a:lnTo>
                    <a:lnTo>
                      <a:pt x="102" y="101"/>
                    </a:lnTo>
                    <a:lnTo>
                      <a:pt x="103" y="101"/>
                    </a:lnTo>
                    <a:lnTo>
                      <a:pt x="104" y="100"/>
                    </a:lnTo>
                    <a:lnTo>
                      <a:pt x="105" y="100"/>
                    </a:lnTo>
                    <a:lnTo>
                      <a:pt x="106" y="100"/>
                    </a:lnTo>
                    <a:lnTo>
                      <a:pt x="107" y="99"/>
                    </a:lnTo>
                    <a:lnTo>
                      <a:pt x="108" y="99"/>
                    </a:lnTo>
                    <a:lnTo>
                      <a:pt x="109" y="99"/>
                    </a:lnTo>
                    <a:lnTo>
                      <a:pt x="110" y="99"/>
                    </a:lnTo>
                    <a:lnTo>
                      <a:pt x="111" y="98"/>
                    </a:lnTo>
                    <a:lnTo>
                      <a:pt x="112" y="98"/>
                    </a:lnTo>
                    <a:lnTo>
                      <a:pt x="113" y="97"/>
                    </a:lnTo>
                    <a:lnTo>
                      <a:pt x="114" y="97"/>
                    </a:lnTo>
                    <a:lnTo>
                      <a:pt x="115" y="97"/>
                    </a:lnTo>
                    <a:lnTo>
                      <a:pt x="116" y="96"/>
                    </a:lnTo>
                    <a:lnTo>
                      <a:pt x="117" y="96"/>
                    </a:lnTo>
                    <a:lnTo>
                      <a:pt x="118" y="95"/>
                    </a:lnTo>
                    <a:lnTo>
                      <a:pt x="119" y="95"/>
                    </a:lnTo>
                    <a:lnTo>
                      <a:pt x="120" y="95"/>
                    </a:lnTo>
                    <a:lnTo>
                      <a:pt x="121" y="94"/>
                    </a:lnTo>
                    <a:lnTo>
                      <a:pt x="122" y="94"/>
                    </a:lnTo>
                    <a:lnTo>
                      <a:pt x="123" y="93"/>
                    </a:lnTo>
                    <a:lnTo>
                      <a:pt x="124" y="93"/>
                    </a:lnTo>
                    <a:lnTo>
                      <a:pt x="125" y="92"/>
                    </a:lnTo>
                    <a:lnTo>
                      <a:pt x="126" y="92"/>
                    </a:lnTo>
                    <a:lnTo>
                      <a:pt x="127" y="91"/>
                    </a:lnTo>
                    <a:lnTo>
                      <a:pt x="128" y="90"/>
                    </a:lnTo>
                    <a:lnTo>
                      <a:pt x="129" y="90"/>
                    </a:lnTo>
                    <a:lnTo>
                      <a:pt x="130" y="89"/>
                    </a:lnTo>
                    <a:lnTo>
                      <a:pt x="131" y="89"/>
                    </a:lnTo>
                    <a:lnTo>
                      <a:pt x="132" y="88"/>
                    </a:lnTo>
                    <a:lnTo>
                      <a:pt x="132" y="88"/>
                    </a:lnTo>
                    <a:lnTo>
                      <a:pt x="76" y="0"/>
                    </a:lnTo>
                    <a:lnTo>
                      <a:pt x="0" y="72"/>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24" name="Freeform 305"/>
              <p:cNvSpPr>
                <a:spLocks/>
              </p:cNvSpPr>
              <p:nvPr/>
            </p:nvSpPr>
            <p:spPr bwMode="auto">
              <a:xfrm>
                <a:off x="3938" y="2740"/>
                <a:ext cx="166" cy="140"/>
              </a:xfrm>
              <a:custGeom>
                <a:avLst/>
                <a:gdLst>
                  <a:gd name="T0" fmla="*/ 57 w 105"/>
                  <a:gd name="T1" fmla="*/ 87 h 88"/>
                  <a:gd name="T2" fmla="*/ 59 w 105"/>
                  <a:gd name="T3" fmla="*/ 86 h 88"/>
                  <a:gd name="T4" fmla="*/ 61 w 105"/>
                  <a:gd name="T5" fmla="*/ 85 h 88"/>
                  <a:gd name="T6" fmla="*/ 63 w 105"/>
                  <a:gd name="T7" fmla="*/ 83 h 88"/>
                  <a:gd name="T8" fmla="*/ 65 w 105"/>
                  <a:gd name="T9" fmla="*/ 82 h 88"/>
                  <a:gd name="T10" fmla="*/ 67 w 105"/>
                  <a:gd name="T11" fmla="*/ 80 h 88"/>
                  <a:gd name="T12" fmla="*/ 69 w 105"/>
                  <a:gd name="T13" fmla="*/ 79 h 88"/>
                  <a:gd name="T14" fmla="*/ 71 w 105"/>
                  <a:gd name="T15" fmla="*/ 77 h 88"/>
                  <a:gd name="T16" fmla="*/ 73 w 105"/>
                  <a:gd name="T17" fmla="*/ 75 h 88"/>
                  <a:gd name="T18" fmla="*/ 75 w 105"/>
                  <a:gd name="T19" fmla="*/ 73 h 88"/>
                  <a:gd name="T20" fmla="*/ 77 w 105"/>
                  <a:gd name="T21" fmla="*/ 71 h 88"/>
                  <a:gd name="T22" fmla="*/ 79 w 105"/>
                  <a:gd name="T23" fmla="*/ 69 h 88"/>
                  <a:gd name="T24" fmla="*/ 80 w 105"/>
                  <a:gd name="T25" fmla="*/ 67 h 88"/>
                  <a:gd name="T26" fmla="*/ 82 w 105"/>
                  <a:gd name="T27" fmla="*/ 65 h 88"/>
                  <a:gd name="T28" fmla="*/ 84 w 105"/>
                  <a:gd name="T29" fmla="*/ 63 h 88"/>
                  <a:gd name="T30" fmla="*/ 85 w 105"/>
                  <a:gd name="T31" fmla="*/ 61 h 88"/>
                  <a:gd name="T32" fmla="*/ 87 w 105"/>
                  <a:gd name="T33" fmla="*/ 59 h 88"/>
                  <a:gd name="T34" fmla="*/ 88 w 105"/>
                  <a:gd name="T35" fmla="*/ 57 h 88"/>
                  <a:gd name="T36" fmla="*/ 89 w 105"/>
                  <a:gd name="T37" fmla="*/ 55 h 88"/>
                  <a:gd name="T38" fmla="*/ 90 w 105"/>
                  <a:gd name="T39" fmla="*/ 53 h 88"/>
                  <a:gd name="T40" fmla="*/ 92 w 105"/>
                  <a:gd name="T41" fmla="*/ 51 h 88"/>
                  <a:gd name="T42" fmla="*/ 93 w 105"/>
                  <a:gd name="T43" fmla="*/ 49 h 88"/>
                  <a:gd name="T44" fmla="*/ 94 w 105"/>
                  <a:gd name="T45" fmla="*/ 47 h 88"/>
                  <a:gd name="T46" fmla="*/ 95 w 105"/>
                  <a:gd name="T47" fmla="*/ 45 h 88"/>
                  <a:gd name="T48" fmla="*/ 96 w 105"/>
                  <a:gd name="T49" fmla="*/ 43 h 88"/>
                  <a:gd name="T50" fmla="*/ 97 w 105"/>
                  <a:gd name="T51" fmla="*/ 41 h 88"/>
                  <a:gd name="T52" fmla="*/ 97 w 105"/>
                  <a:gd name="T53" fmla="*/ 39 h 88"/>
                  <a:gd name="T54" fmla="*/ 98 w 105"/>
                  <a:gd name="T55" fmla="*/ 37 h 88"/>
                  <a:gd name="T56" fmla="*/ 99 w 105"/>
                  <a:gd name="T57" fmla="*/ 35 h 88"/>
                  <a:gd name="T58" fmla="*/ 100 w 105"/>
                  <a:gd name="T59" fmla="*/ 33 h 88"/>
                  <a:gd name="T60" fmla="*/ 100 w 105"/>
                  <a:gd name="T61" fmla="*/ 31 h 88"/>
                  <a:gd name="T62" fmla="*/ 101 w 105"/>
                  <a:gd name="T63" fmla="*/ 29 h 88"/>
                  <a:gd name="T64" fmla="*/ 101 w 105"/>
                  <a:gd name="T65" fmla="*/ 27 h 88"/>
                  <a:gd name="T66" fmla="*/ 102 w 105"/>
                  <a:gd name="T67" fmla="*/ 25 h 88"/>
                  <a:gd name="T68" fmla="*/ 102 w 105"/>
                  <a:gd name="T69" fmla="*/ 23 h 88"/>
                  <a:gd name="T70" fmla="*/ 103 w 105"/>
                  <a:gd name="T71" fmla="*/ 21 h 88"/>
                  <a:gd name="T72" fmla="*/ 103 w 105"/>
                  <a:gd name="T73" fmla="*/ 19 h 88"/>
                  <a:gd name="T74" fmla="*/ 104 w 105"/>
                  <a:gd name="T75" fmla="*/ 17 h 88"/>
                  <a:gd name="T76" fmla="*/ 104 w 105"/>
                  <a:gd name="T77" fmla="*/ 15 h 88"/>
                  <a:gd name="T78" fmla="*/ 104 w 105"/>
                  <a:gd name="T79" fmla="*/ 13 h 88"/>
                  <a:gd name="T80" fmla="*/ 104 w 105"/>
                  <a:gd name="T81" fmla="*/ 11 h 88"/>
                  <a:gd name="T82" fmla="*/ 105 w 105"/>
                  <a:gd name="T83" fmla="*/ 9 h 88"/>
                  <a:gd name="T84" fmla="*/ 105 w 105"/>
                  <a:gd name="T85" fmla="*/ 7 h 88"/>
                  <a:gd name="T86" fmla="*/ 105 w 105"/>
                  <a:gd name="T87" fmla="*/ 5 h 88"/>
                  <a:gd name="T88" fmla="*/ 105 w 105"/>
                  <a:gd name="T89" fmla="*/ 3 h 88"/>
                  <a:gd name="T90" fmla="*/ 105 w 105"/>
                  <a:gd name="T91" fmla="*/ 1 h 88"/>
                  <a:gd name="T92" fmla="*/ 105 w 105"/>
                  <a:gd name="T93" fmla="*/ 0 h 88"/>
                  <a:gd name="T94" fmla="*/ 56 w 105"/>
                  <a:gd name="T9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5" h="88">
                    <a:moveTo>
                      <a:pt x="56" y="88"/>
                    </a:moveTo>
                    <a:lnTo>
                      <a:pt x="57" y="87"/>
                    </a:lnTo>
                    <a:lnTo>
                      <a:pt x="58" y="87"/>
                    </a:lnTo>
                    <a:lnTo>
                      <a:pt x="59" y="86"/>
                    </a:lnTo>
                    <a:lnTo>
                      <a:pt x="60" y="85"/>
                    </a:lnTo>
                    <a:lnTo>
                      <a:pt x="61" y="85"/>
                    </a:lnTo>
                    <a:lnTo>
                      <a:pt x="62" y="84"/>
                    </a:lnTo>
                    <a:lnTo>
                      <a:pt x="63" y="83"/>
                    </a:lnTo>
                    <a:lnTo>
                      <a:pt x="64" y="83"/>
                    </a:lnTo>
                    <a:lnTo>
                      <a:pt x="65" y="82"/>
                    </a:lnTo>
                    <a:lnTo>
                      <a:pt x="66" y="81"/>
                    </a:lnTo>
                    <a:lnTo>
                      <a:pt x="67" y="80"/>
                    </a:lnTo>
                    <a:lnTo>
                      <a:pt x="68" y="79"/>
                    </a:lnTo>
                    <a:lnTo>
                      <a:pt x="69" y="79"/>
                    </a:lnTo>
                    <a:lnTo>
                      <a:pt x="70" y="78"/>
                    </a:lnTo>
                    <a:lnTo>
                      <a:pt x="71" y="77"/>
                    </a:lnTo>
                    <a:lnTo>
                      <a:pt x="72" y="76"/>
                    </a:lnTo>
                    <a:lnTo>
                      <a:pt x="73" y="75"/>
                    </a:lnTo>
                    <a:lnTo>
                      <a:pt x="74" y="74"/>
                    </a:lnTo>
                    <a:lnTo>
                      <a:pt x="75" y="73"/>
                    </a:lnTo>
                    <a:lnTo>
                      <a:pt x="76" y="72"/>
                    </a:lnTo>
                    <a:lnTo>
                      <a:pt x="77" y="71"/>
                    </a:lnTo>
                    <a:lnTo>
                      <a:pt x="78" y="70"/>
                    </a:lnTo>
                    <a:lnTo>
                      <a:pt x="79" y="69"/>
                    </a:lnTo>
                    <a:lnTo>
                      <a:pt x="80" y="68"/>
                    </a:lnTo>
                    <a:lnTo>
                      <a:pt x="80" y="67"/>
                    </a:lnTo>
                    <a:lnTo>
                      <a:pt x="81" y="66"/>
                    </a:lnTo>
                    <a:lnTo>
                      <a:pt x="82" y="65"/>
                    </a:lnTo>
                    <a:lnTo>
                      <a:pt x="83" y="64"/>
                    </a:lnTo>
                    <a:lnTo>
                      <a:pt x="84" y="63"/>
                    </a:lnTo>
                    <a:lnTo>
                      <a:pt x="84" y="62"/>
                    </a:lnTo>
                    <a:lnTo>
                      <a:pt x="85" y="61"/>
                    </a:lnTo>
                    <a:lnTo>
                      <a:pt x="86" y="60"/>
                    </a:lnTo>
                    <a:lnTo>
                      <a:pt x="87" y="59"/>
                    </a:lnTo>
                    <a:lnTo>
                      <a:pt x="87" y="58"/>
                    </a:lnTo>
                    <a:lnTo>
                      <a:pt x="88" y="57"/>
                    </a:lnTo>
                    <a:lnTo>
                      <a:pt x="89" y="56"/>
                    </a:lnTo>
                    <a:lnTo>
                      <a:pt x="89" y="55"/>
                    </a:lnTo>
                    <a:lnTo>
                      <a:pt x="90" y="54"/>
                    </a:lnTo>
                    <a:lnTo>
                      <a:pt x="90" y="53"/>
                    </a:lnTo>
                    <a:lnTo>
                      <a:pt x="91" y="52"/>
                    </a:lnTo>
                    <a:lnTo>
                      <a:pt x="92" y="51"/>
                    </a:lnTo>
                    <a:lnTo>
                      <a:pt x="92" y="50"/>
                    </a:lnTo>
                    <a:lnTo>
                      <a:pt x="93" y="49"/>
                    </a:lnTo>
                    <a:lnTo>
                      <a:pt x="93" y="48"/>
                    </a:lnTo>
                    <a:lnTo>
                      <a:pt x="94" y="47"/>
                    </a:lnTo>
                    <a:lnTo>
                      <a:pt x="94" y="46"/>
                    </a:lnTo>
                    <a:lnTo>
                      <a:pt x="95" y="45"/>
                    </a:lnTo>
                    <a:lnTo>
                      <a:pt x="95" y="44"/>
                    </a:lnTo>
                    <a:lnTo>
                      <a:pt x="96" y="43"/>
                    </a:lnTo>
                    <a:lnTo>
                      <a:pt x="96" y="42"/>
                    </a:lnTo>
                    <a:lnTo>
                      <a:pt x="97" y="41"/>
                    </a:lnTo>
                    <a:lnTo>
                      <a:pt x="97" y="40"/>
                    </a:lnTo>
                    <a:lnTo>
                      <a:pt x="97" y="39"/>
                    </a:lnTo>
                    <a:lnTo>
                      <a:pt x="98" y="38"/>
                    </a:lnTo>
                    <a:lnTo>
                      <a:pt x="98" y="37"/>
                    </a:lnTo>
                    <a:lnTo>
                      <a:pt x="99" y="36"/>
                    </a:lnTo>
                    <a:lnTo>
                      <a:pt x="99" y="35"/>
                    </a:lnTo>
                    <a:lnTo>
                      <a:pt x="99" y="34"/>
                    </a:lnTo>
                    <a:lnTo>
                      <a:pt x="100" y="33"/>
                    </a:lnTo>
                    <a:lnTo>
                      <a:pt x="100" y="32"/>
                    </a:lnTo>
                    <a:lnTo>
                      <a:pt x="100" y="31"/>
                    </a:lnTo>
                    <a:lnTo>
                      <a:pt x="101" y="30"/>
                    </a:lnTo>
                    <a:lnTo>
                      <a:pt x="101" y="29"/>
                    </a:lnTo>
                    <a:lnTo>
                      <a:pt x="101" y="28"/>
                    </a:lnTo>
                    <a:lnTo>
                      <a:pt x="101" y="27"/>
                    </a:lnTo>
                    <a:lnTo>
                      <a:pt x="102" y="26"/>
                    </a:lnTo>
                    <a:lnTo>
                      <a:pt x="102" y="25"/>
                    </a:lnTo>
                    <a:lnTo>
                      <a:pt x="102" y="24"/>
                    </a:lnTo>
                    <a:lnTo>
                      <a:pt x="102" y="23"/>
                    </a:lnTo>
                    <a:lnTo>
                      <a:pt x="103" y="22"/>
                    </a:lnTo>
                    <a:lnTo>
                      <a:pt x="103" y="21"/>
                    </a:lnTo>
                    <a:lnTo>
                      <a:pt x="103" y="20"/>
                    </a:lnTo>
                    <a:lnTo>
                      <a:pt x="103" y="19"/>
                    </a:lnTo>
                    <a:lnTo>
                      <a:pt x="103" y="18"/>
                    </a:lnTo>
                    <a:lnTo>
                      <a:pt x="104" y="17"/>
                    </a:lnTo>
                    <a:lnTo>
                      <a:pt x="104" y="16"/>
                    </a:lnTo>
                    <a:lnTo>
                      <a:pt x="104" y="15"/>
                    </a:lnTo>
                    <a:lnTo>
                      <a:pt x="104" y="14"/>
                    </a:lnTo>
                    <a:lnTo>
                      <a:pt x="104" y="13"/>
                    </a:lnTo>
                    <a:lnTo>
                      <a:pt x="104" y="12"/>
                    </a:lnTo>
                    <a:lnTo>
                      <a:pt x="104" y="11"/>
                    </a:lnTo>
                    <a:lnTo>
                      <a:pt x="105" y="10"/>
                    </a:lnTo>
                    <a:lnTo>
                      <a:pt x="105" y="9"/>
                    </a:lnTo>
                    <a:lnTo>
                      <a:pt x="105" y="8"/>
                    </a:lnTo>
                    <a:lnTo>
                      <a:pt x="105" y="7"/>
                    </a:lnTo>
                    <a:lnTo>
                      <a:pt x="105" y="6"/>
                    </a:lnTo>
                    <a:lnTo>
                      <a:pt x="105" y="5"/>
                    </a:lnTo>
                    <a:lnTo>
                      <a:pt x="105" y="4"/>
                    </a:lnTo>
                    <a:lnTo>
                      <a:pt x="105" y="3"/>
                    </a:lnTo>
                    <a:lnTo>
                      <a:pt x="105" y="2"/>
                    </a:lnTo>
                    <a:lnTo>
                      <a:pt x="105" y="1"/>
                    </a:lnTo>
                    <a:lnTo>
                      <a:pt x="105" y="0"/>
                    </a:lnTo>
                    <a:lnTo>
                      <a:pt x="105" y="0"/>
                    </a:lnTo>
                    <a:lnTo>
                      <a:pt x="0" y="0"/>
                    </a:lnTo>
                    <a:lnTo>
                      <a:pt x="56" y="88"/>
                    </a:lnTo>
                    <a:close/>
                  </a:path>
                </a:pathLst>
              </a:custGeom>
              <a:solidFill>
                <a:srgbClr val="289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25" name="Freeform 306"/>
              <p:cNvSpPr>
                <a:spLocks/>
              </p:cNvSpPr>
              <p:nvPr/>
            </p:nvSpPr>
            <p:spPr bwMode="auto">
              <a:xfrm>
                <a:off x="2086" y="1560"/>
                <a:ext cx="271" cy="165"/>
              </a:xfrm>
              <a:custGeom>
                <a:avLst/>
                <a:gdLst>
                  <a:gd name="T0" fmla="*/ 171 w 171"/>
                  <a:gd name="T1" fmla="*/ 101 h 104"/>
                  <a:gd name="T2" fmla="*/ 171 w 171"/>
                  <a:gd name="T3" fmla="*/ 97 h 104"/>
                  <a:gd name="T4" fmla="*/ 170 w 171"/>
                  <a:gd name="T5" fmla="*/ 93 h 104"/>
                  <a:gd name="T6" fmla="*/ 170 w 171"/>
                  <a:gd name="T7" fmla="*/ 89 h 104"/>
                  <a:gd name="T8" fmla="*/ 169 w 171"/>
                  <a:gd name="T9" fmla="*/ 85 h 104"/>
                  <a:gd name="T10" fmla="*/ 168 w 171"/>
                  <a:gd name="T11" fmla="*/ 81 h 104"/>
                  <a:gd name="T12" fmla="*/ 167 w 171"/>
                  <a:gd name="T13" fmla="*/ 77 h 104"/>
                  <a:gd name="T14" fmla="*/ 166 w 171"/>
                  <a:gd name="T15" fmla="*/ 73 h 104"/>
                  <a:gd name="T16" fmla="*/ 165 w 171"/>
                  <a:gd name="T17" fmla="*/ 69 h 104"/>
                  <a:gd name="T18" fmla="*/ 163 w 171"/>
                  <a:gd name="T19" fmla="*/ 65 h 104"/>
                  <a:gd name="T20" fmla="*/ 162 w 171"/>
                  <a:gd name="T21" fmla="*/ 61 h 104"/>
                  <a:gd name="T22" fmla="*/ 160 w 171"/>
                  <a:gd name="T23" fmla="*/ 57 h 104"/>
                  <a:gd name="T24" fmla="*/ 157 w 171"/>
                  <a:gd name="T25" fmla="*/ 53 h 104"/>
                  <a:gd name="T26" fmla="*/ 155 w 171"/>
                  <a:gd name="T27" fmla="*/ 49 h 104"/>
                  <a:gd name="T28" fmla="*/ 152 w 171"/>
                  <a:gd name="T29" fmla="*/ 45 h 104"/>
                  <a:gd name="T30" fmla="*/ 150 w 171"/>
                  <a:gd name="T31" fmla="*/ 41 h 104"/>
                  <a:gd name="T32" fmla="*/ 146 w 171"/>
                  <a:gd name="T33" fmla="*/ 37 h 104"/>
                  <a:gd name="T34" fmla="*/ 143 w 171"/>
                  <a:gd name="T35" fmla="*/ 33 h 104"/>
                  <a:gd name="T36" fmla="*/ 139 w 171"/>
                  <a:gd name="T37" fmla="*/ 29 h 104"/>
                  <a:gd name="T38" fmla="*/ 135 w 171"/>
                  <a:gd name="T39" fmla="*/ 25 h 104"/>
                  <a:gd name="T40" fmla="*/ 131 w 171"/>
                  <a:gd name="T41" fmla="*/ 22 h 104"/>
                  <a:gd name="T42" fmla="*/ 127 w 171"/>
                  <a:gd name="T43" fmla="*/ 19 h 104"/>
                  <a:gd name="T44" fmla="*/ 123 w 171"/>
                  <a:gd name="T45" fmla="*/ 16 h 104"/>
                  <a:gd name="T46" fmla="*/ 119 w 171"/>
                  <a:gd name="T47" fmla="*/ 14 h 104"/>
                  <a:gd name="T48" fmla="*/ 115 w 171"/>
                  <a:gd name="T49" fmla="*/ 12 h 104"/>
                  <a:gd name="T50" fmla="*/ 111 w 171"/>
                  <a:gd name="T51" fmla="*/ 10 h 104"/>
                  <a:gd name="T52" fmla="*/ 107 w 171"/>
                  <a:gd name="T53" fmla="*/ 8 h 104"/>
                  <a:gd name="T54" fmla="*/ 103 w 171"/>
                  <a:gd name="T55" fmla="*/ 6 h 104"/>
                  <a:gd name="T56" fmla="*/ 99 w 171"/>
                  <a:gd name="T57" fmla="*/ 5 h 104"/>
                  <a:gd name="T58" fmla="*/ 95 w 171"/>
                  <a:gd name="T59" fmla="*/ 4 h 104"/>
                  <a:gd name="T60" fmla="*/ 91 w 171"/>
                  <a:gd name="T61" fmla="*/ 3 h 104"/>
                  <a:gd name="T62" fmla="*/ 87 w 171"/>
                  <a:gd name="T63" fmla="*/ 2 h 104"/>
                  <a:gd name="T64" fmla="*/ 83 w 171"/>
                  <a:gd name="T65" fmla="*/ 1 h 104"/>
                  <a:gd name="T66" fmla="*/ 79 w 171"/>
                  <a:gd name="T67" fmla="*/ 1 h 104"/>
                  <a:gd name="T68" fmla="*/ 75 w 171"/>
                  <a:gd name="T69" fmla="*/ 0 h 104"/>
                  <a:gd name="T70" fmla="*/ 71 w 171"/>
                  <a:gd name="T71" fmla="*/ 0 h 104"/>
                  <a:gd name="T72" fmla="*/ 67 w 171"/>
                  <a:gd name="T73" fmla="*/ 0 h 104"/>
                  <a:gd name="T74" fmla="*/ 63 w 171"/>
                  <a:gd name="T75" fmla="*/ 0 h 104"/>
                  <a:gd name="T76" fmla="*/ 59 w 171"/>
                  <a:gd name="T77" fmla="*/ 0 h 104"/>
                  <a:gd name="T78" fmla="*/ 55 w 171"/>
                  <a:gd name="T79" fmla="*/ 1 h 104"/>
                  <a:gd name="T80" fmla="*/ 51 w 171"/>
                  <a:gd name="T81" fmla="*/ 1 h 104"/>
                  <a:gd name="T82" fmla="*/ 47 w 171"/>
                  <a:gd name="T83" fmla="*/ 2 h 104"/>
                  <a:gd name="T84" fmla="*/ 43 w 171"/>
                  <a:gd name="T85" fmla="*/ 3 h 104"/>
                  <a:gd name="T86" fmla="*/ 39 w 171"/>
                  <a:gd name="T87" fmla="*/ 4 h 104"/>
                  <a:gd name="T88" fmla="*/ 35 w 171"/>
                  <a:gd name="T89" fmla="*/ 5 h 104"/>
                  <a:gd name="T90" fmla="*/ 31 w 171"/>
                  <a:gd name="T91" fmla="*/ 6 h 104"/>
                  <a:gd name="T92" fmla="*/ 27 w 171"/>
                  <a:gd name="T93" fmla="*/ 8 h 104"/>
                  <a:gd name="T94" fmla="*/ 23 w 171"/>
                  <a:gd name="T95" fmla="*/ 10 h 104"/>
                  <a:gd name="T96" fmla="*/ 19 w 171"/>
                  <a:gd name="T97" fmla="*/ 12 h 104"/>
                  <a:gd name="T98" fmla="*/ 15 w 171"/>
                  <a:gd name="T99" fmla="*/ 14 h 104"/>
                  <a:gd name="T100" fmla="*/ 11 w 171"/>
                  <a:gd name="T101" fmla="*/ 16 h 104"/>
                  <a:gd name="T102" fmla="*/ 7 w 171"/>
                  <a:gd name="T103" fmla="*/ 19 h 104"/>
                  <a:gd name="T104" fmla="*/ 3 w 171"/>
                  <a:gd name="T105" fmla="*/ 22 h 104"/>
                  <a:gd name="T106" fmla="*/ 0 w 171"/>
                  <a:gd name="T107" fmla="*/ 2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 h="104">
                    <a:moveTo>
                      <a:pt x="171" y="104"/>
                    </a:moveTo>
                    <a:lnTo>
                      <a:pt x="171" y="103"/>
                    </a:lnTo>
                    <a:lnTo>
                      <a:pt x="171" y="102"/>
                    </a:lnTo>
                    <a:lnTo>
                      <a:pt x="171" y="101"/>
                    </a:lnTo>
                    <a:lnTo>
                      <a:pt x="171" y="100"/>
                    </a:lnTo>
                    <a:lnTo>
                      <a:pt x="171" y="99"/>
                    </a:lnTo>
                    <a:lnTo>
                      <a:pt x="171" y="98"/>
                    </a:lnTo>
                    <a:lnTo>
                      <a:pt x="171" y="97"/>
                    </a:lnTo>
                    <a:lnTo>
                      <a:pt x="171" y="96"/>
                    </a:lnTo>
                    <a:lnTo>
                      <a:pt x="171" y="95"/>
                    </a:lnTo>
                    <a:lnTo>
                      <a:pt x="170" y="94"/>
                    </a:lnTo>
                    <a:lnTo>
                      <a:pt x="170" y="93"/>
                    </a:lnTo>
                    <a:lnTo>
                      <a:pt x="170" y="92"/>
                    </a:lnTo>
                    <a:lnTo>
                      <a:pt x="170" y="91"/>
                    </a:lnTo>
                    <a:lnTo>
                      <a:pt x="170" y="90"/>
                    </a:lnTo>
                    <a:lnTo>
                      <a:pt x="170" y="89"/>
                    </a:lnTo>
                    <a:lnTo>
                      <a:pt x="170" y="88"/>
                    </a:lnTo>
                    <a:lnTo>
                      <a:pt x="170" y="87"/>
                    </a:lnTo>
                    <a:lnTo>
                      <a:pt x="169" y="86"/>
                    </a:lnTo>
                    <a:lnTo>
                      <a:pt x="169" y="85"/>
                    </a:lnTo>
                    <a:lnTo>
                      <a:pt x="169" y="84"/>
                    </a:lnTo>
                    <a:lnTo>
                      <a:pt x="169" y="83"/>
                    </a:lnTo>
                    <a:lnTo>
                      <a:pt x="169" y="82"/>
                    </a:lnTo>
                    <a:lnTo>
                      <a:pt x="168" y="81"/>
                    </a:lnTo>
                    <a:lnTo>
                      <a:pt x="168" y="80"/>
                    </a:lnTo>
                    <a:lnTo>
                      <a:pt x="168" y="79"/>
                    </a:lnTo>
                    <a:lnTo>
                      <a:pt x="168" y="78"/>
                    </a:lnTo>
                    <a:lnTo>
                      <a:pt x="167" y="77"/>
                    </a:lnTo>
                    <a:lnTo>
                      <a:pt x="167" y="76"/>
                    </a:lnTo>
                    <a:lnTo>
                      <a:pt x="167" y="75"/>
                    </a:lnTo>
                    <a:lnTo>
                      <a:pt x="166" y="74"/>
                    </a:lnTo>
                    <a:lnTo>
                      <a:pt x="166" y="73"/>
                    </a:lnTo>
                    <a:lnTo>
                      <a:pt x="166" y="72"/>
                    </a:lnTo>
                    <a:lnTo>
                      <a:pt x="166" y="71"/>
                    </a:lnTo>
                    <a:lnTo>
                      <a:pt x="165" y="70"/>
                    </a:lnTo>
                    <a:lnTo>
                      <a:pt x="165" y="69"/>
                    </a:lnTo>
                    <a:lnTo>
                      <a:pt x="164" y="68"/>
                    </a:lnTo>
                    <a:lnTo>
                      <a:pt x="164" y="67"/>
                    </a:lnTo>
                    <a:lnTo>
                      <a:pt x="164" y="66"/>
                    </a:lnTo>
                    <a:lnTo>
                      <a:pt x="163" y="65"/>
                    </a:lnTo>
                    <a:lnTo>
                      <a:pt x="163" y="64"/>
                    </a:lnTo>
                    <a:lnTo>
                      <a:pt x="162" y="63"/>
                    </a:lnTo>
                    <a:lnTo>
                      <a:pt x="162" y="62"/>
                    </a:lnTo>
                    <a:lnTo>
                      <a:pt x="162" y="61"/>
                    </a:lnTo>
                    <a:lnTo>
                      <a:pt x="161" y="60"/>
                    </a:lnTo>
                    <a:lnTo>
                      <a:pt x="161" y="59"/>
                    </a:lnTo>
                    <a:lnTo>
                      <a:pt x="160" y="58"/>
                    </a:lnTo>
                    <a:lnTo>
                      <a:pt x="160" y="57"/>
                    </a:lnTo>
                    <a:lnTo>
                      <a:pt x="159" y="56"/>
                    </a:lnTo>
                    <a:lnTo>
                      <a:pt x="159" y="55"/>
                    </a:lnTo>
                    <a:lnTo>
                      <a:pt x="158" y="54"/>
                    </a:lnTo>
                    <a:lnTo>
                      <a:pt x="157" y="53"/>
                    </a:lnTo>
                    <a:lnTo>
                      <a:pt x="157" y="52"/>
                    </a:lnTo>
                    <a:lnTo>
                      <a:pt x="156" y="51"/>
                    </a:lnTo>
                    <a:lnTo>
                      <a:pt x="156" y="50"/>
                    </a:lnTo>
                    <a:lnTo>
                      <a:pt x="155" y="49"/>
                    </a:lnTo>
                    <a:lnTo>
                      <a:pt x="154" y="48"/>
                    </a:lnTo>
                    <a:lnTo>
                      <a:pt x="154" y="47"/>
                    </a:lnTo>
                    <a:lnTo>
                      <a:pt x="153" y="46"/>
                    </a:lnTo>
                    <a:lnTo>
                      <a:pt x="152" y="45"/>
                    </a:lnTo>
                    <a:lnTo>
                      <a:pt x="152" y="44"/>
                    </a:lnTo>
                    <a:lnTo>
                      <a:pt x="151" y="43"/>
                    </a:lnTo>
                    <a:lnTo>
                      <a:pt x="150" y="42"/>
                    </a:lnTo>
                    <a:lnTo>
                      <a:pt x="150" y="41"/>
                    </a:lnTo>
                    <a:lnTo>
                      <a:pt x="149" y="40"/>
                    </a:lnTo>
                    <a:lnTo>
                      <a:pt x="148" y="39"/>
                    </a:lnTo>
                    <a:lnTo>
                      <a:pt x="147" y="38"/>
                    </a:lnTo>
                    <a:lnTo>
                      <a:pt x="146" y="37"/>
                    </a:lnTo>
                    <a:lnTo>
                      <a:pt x="146" y="36"/>
                    </a:lnTo>
                    <a:lnTo>
                      <a:pt x="145" y="35"/>
                    </a:lnTo>
                    <a:lnTo>
                      <a:pt x="144" y="34"/>
                    </a:lnTo>
                    <a:lnTo>
                      <a:pt x="143" y="33"/>
                    </a:lnTo>
                    <a:lnTo>
                      <a:pt x="142" y="32"/>
                    </a:lnTo>
                    <a:lnTo>
                      <a:pt x="141" y="31"/>
                    </a:lnTo>
                    <a:lnTo>
                      <a:pt x="140" y="30"/>
                    </a:lnTo>
                    <a:lnTo>
                      <a:pt x="139" y="29"/>
                    </a:lnTo>
                    <a:lnTo>
                      <a:pt x="138" y="28"/>
                    </a:lnTo>
                    <a:lnTo>
                      <a:pt x="137" y="27"/>
                    </a:lnTo>
                    <a:lnTo>
                      <a:pt x="136" y="26"/>
                    </a:lnTo>
                    <a:lnTo>
                      <a:pt x="135" y="25"/>
                    </a:lnTo>
                    <a:lnTo>
                      <a:pt x="134" y="25"/>
                    </a:lnTo>
                    <a:lnTo>
                      <a:pt x="133" y="24"/>
                    </a:lnTo>
                    <a:lnTo>
                      <a:pt x="132" y="23"/>
                    </a:lnTo>
                    <a:lnTo>
                      <a:pt x="131" y="22"/>
                    </a:lnTo>
                    <a:lnTo>
                      <a:pt x="130" y="21"/>
                    </a:lnTo>
                    <a:lnTo>
                      <a:pt x="129" y="21"/>
                    </a:lnTo>
                    <a:lnTo>
                      <a:pt x="128" y="20"/>
                    </a:lnTo>
                    <a:lnTo>
                      <a:pt x="127" y="19"/>
                    </a:lnTo>
                    <a:lnTo>
                      <a:pt x="126" y="18"/>
                    </a:lnTo>
                    <a:lnTo>
                      <a:pt x="125" y="18"/>
                    </a:lnTo>
                    <a:lnTo>
                      <a:pt x="124" y="17"/>
                    </a:lnTo>
                    <a:lnTo>
                      <a:pt x="123" y="16"/>
                    </a:lnTo>
                    <a:lnTo>
                      <a:pt x="122" y="16"/>
                    </a:lnTo>
                    <a:lnTo>
                      <a:pt x="121" y="15"/>
                    </a:lnTo>
                    <a:lnTo>
                      <a:pt x="120" y="15"/>
                    </a:lnTo>
                    <a:lnTo>
                      <a:pt x="119" y="14"/>
                    </a:lnTo>
                    <a:lnTo>
                      <a:pt x="118" y="13"/>
                    </a:lnTo>
                    <a:lnTo>
                      <a:pt x="117" y="13"/>
                    </a:lnTo>
                    <a:lnTo>
                      <a:pt x="116" y="12"/>
                    </a:lnTo>
                    <a:lnTo>
                      <a:pt x="115" y="12"/>
                    </a:lnTo>
                    <a:lnTo>
                      <a:pt x="114" y="11"/>
                    </a:lnTo>
                    <a:lnTo>
                      <a:pt x="113" y="11"/>
                    </a:lnTo>
                    <a:lnTo>
                      <a:pt x="112" y="10"/>
                    </a:lnTo>
                    <a:lnTo>
                      <a:pt x="111" y="10"/>
                    </a:lnTo>
                    <a:lnTo>
                      <a:pt x="110" y="9"/>
                    </a:lnTo>
                    <a:lnTo>
                      <a:pt x="109" y="9"/>
                    </a:lnTo>
                    <a:lnTo>
                      <a:pt x="108" y="8"/>
                    </a:lnTo>
                    <a:lnTo>
                      <a:pt x="107" y="8"/>
                    </a:lnTo>
                    <a:lnTo>
                      <a:pt x="106" y="8"/>
                    </a:lnTo>
                    <a:lnTo>
                      <a:pt x="105" y="7"/>
                    </a:lnTo>
                    <a:lnTo>
                      <a:pt x="104" y="7"/>
                    </a:lnTo>
                    <a:lnTo>
                      <a:pt x="103" y="6"/>
                    </a:lnTo>
                    <a:lnTo>
                      <a:pt x="102" y="6"/>
                    </a:lnTo>
                    <a:lnTo>
                      <a:pt x="101" y="6"/>
                    </a:lnTo>
                    <a:lnTo>
                      <a:pt x="100" y="5"/>
                    </a:lnTo>
                    <a:lnTo>
                      <a:pt x="99" y="5"/>
                    </a:lnTo>
                    <a:lnTo>
                      <a:pt x="98" y="5"/>
                    </a:lnTo>
                    <a:lnTo>
                      <a:pt x="97" y="4"/>
                    </a:lnTo>
                    <a:lnTo>
                      <a:pt x="96" y="4"/>
                    </a:lnTo>
                    <a:lnTo>
                      <a:pt x="95" y="4"/>
                    </a:lnTo>
                    <a:lnTo>
                      <a:pt x="94" y="4"/>
                    </a:lnTo>
                    <a:lnTo>
                      <a:pt x="93" y="3"/>
                    </a:lnTo>
                    <a:lnTo>
                      <a:pt x="92" y="3"/>
                    </a:lnTo>
                    <a:lnTo>
                      <a:pt x="91" y="3"/>
                    </a:lnTo>
                    <a:lnTo>
                      <a:pt x="90" y="3"/>
                    </a:lnTo>
                    <a:lnTo>
                      <a:pt x="89" y="2"/>
                    </a:lnTo>
                    <a:lnTo>
                      <a:pt x="88" y="2"/>
                    </a:lnTo>
                    <a:lnTo>
                      <a:pt x="87" y="2"/>
                    </a:lnTo>
                    <a:lnTo>
                      <a:pt x="86" y="2"/>
                    </a:lnTo>
                    <a:lnTo>
                      <a:pt x="85" y="2"/>
                    </a:lnTo>
                    <a:lnTo>
                      <a:pt x="84" y="1"/>
                    </a:lnTo>
                    <a:lnTo>
                      <a:pt x="83" y="1"/>
                    </a:lnTo>
                    <a:lnTo>
                      <a:pt x="82" y="1"/>
                    </a:lnTo>
                    <a:lnTo>
                      <a:pt x="81" y="1"/>
                    </a:lnTo>
                    <a:lnTo>
                      <a:pt x="80" y="1"/>
                    </a:lnTo>
                    <a:lnTo>
                      <a:pt x="79" y="1"/>
                    </a:lnTo>
                    <a:lnTo>
                      <a:pt x="78" y="1"/>
                    </a:lnTo>
                    <a:lnTo>
                      <a:pt x="77" y="0"/>
                    </a:lnTo>
                    <a:lnTo>
                      <a:pt x="76" y="0"/>
                    </a:lnTo>
                    <a:lnTo>
                      <a:pt x="75" y="0"/>
                    </a:lnTo>
                    <a:lnTo>
                      <a:pt x="74" y="0"/>
                    </a:lnTo>
                    <a:lnTo>
                      <a:pt x="73" y="0"/>
                    </a:lnTo>
                    <a:lnTo>
                      <a:pt x="72" y="0"/>
                    </a:lnTo>
                    <a:lnTo>
                      <a:pt x="71" y="0"/>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0"/>
                    </a:lnTo>
                    <a:lnTo>
                      <a:pt x="57" y="0"/>
                    </a:lnTo>
                    <a:lnTo>
                      <a:pt x="56" y="1"/>
                    </a:lnTo>
                    <a:lnTo>
                      <a:pt x="55" y="1"/>
                    </a:lnTo>
                    <a:lnTo>
                      <a:pt x="54" y="1"/>
                    </a:lnTo>
                    <a:lnTo>
                      <a:pt x="53" y="1"/>
                    </a:lnTo>
                    <a:lnTo>
                      <a:pt x="52" y="1"/>
                    </a:lnTo>
                    <a:lnTo>
                      <a:pt x="51" y="1"/>
                    </a:lnTo>
                    <a:lnTo>
                      <a:pt x="50" y="1"/>
                    </a:lnTo>
                    <a:lnTo>
                      <a:pt x="49" y="2"/>
                    </a:lnTo>
                    <a:lnTo>
                      <a:pt x="48" y="2"/>
                    </a:lnTo>
                    <a:lnTo>
                      <a:pt x="47" y="2"/>
                    </a:lnTo>
                    <a:lnTo>
                      <a:pt x="46" y="2"/>
                    </a:lnTo>
                    <a:lnTo>
                      <a:pt x="45" y="2"/>
                    </a:lnTo>
                    <a:lnTo>
                      <a:pt x="44" y="3"/>
                    </a:lnTo>
                    <a:lnTo>
                      <a:pt x="43" y="3"/>
                    </a:lnTo>
                    <a:lnTo>
                      <a:pt x="42" y="3"/>
                    </a:lnTo>
                    <a:lnTo>
                      <a:pt x="41" y="3"/>
                    </a:lnTo>
                    <a:lnTo>
                      <a:pt x="40" y="4"/>
                    </a:lnTo>
                    <a:lnTo>
                      <a:pt x="39" y="4"/>
                    </a:lnTo>
                    <a:lnTo>
                      <a:pt x="38" y="4"/>
                    </a:lnTo>
                    <a:lnTo>
                      <a:pt x="37" y="4"/>
                    </a:lnTo>
                    <a:lnTo>
                      <a:pt x="36" y="5"/>
                    </a:lnTo>
                    <a:lnTo>
                      <a:pt x="35" y="5"/>
                    </a:lnTo>
                    <a:lnTo>
                      <a:pt x="34" y="5"/>
                    </a:lnTo>
                    <a:lnTo>
                      <a:pt x="33" y="6"/>
                    </a:lnTo>
                    <a:lnTo>
                      <a:pt x="32" y="6"/>
                    </a:lnTo>
                    <a:lnTo>
                      <a:pt x="31" y="6"/>
                    </a:lnTo>
                    <a:lnTo>
                      <a:pt x="30" y="7"/>
                    </a:lnTo>
                    <a:lnTo>
                      <a:pt x="29" y="7"/>
                    </a:lnTo>
                    <a:lnTo>
                      <a:pt x="28" y="8"/>
                    </a:lnTo>
                    <a:lnTo>
                      <a:pt x="27" y="8"/>
                    </a:lnTo>
                    <a:lnTo>
                      <a:pt x="26" y="8"/>
                    </a:lnTo>
                    <a:lnTo>
                      <a:pt x="25" y="9"/>
                    </a:lnTo>
                    <a:lnTo>
                      <a:pt x="24" y="9"/>
                    </a:lnTo>
                    <a:lnTo>
                      <a:pt x="23" y="10"/>
                    </a:lnTo>
                    <a:lnTo>
                      <a:pt x="22" y="10"/>
                    </a:lnTo>
                    <a:lnTo>
                      <a:pt x="21" y="11"/>
                    </a:lnTo>
                    <a:lnTo>
                      <a:pt x="20" y="11"/>
                    </a:lnTo>
                    <a:lnTo>
                      <a:pt x="19" y="12"/>
                    </a:lnTo>
                    <a:lnTo>
                      <a:pt x="18" y="12"/>
                    </a:lnTo>
                    <a:lnTo>
                      <a:pt x="17" y="13"/>
                    </a:lnTo>
                    <a:lnTo>
                      <a:pt x="16" y="13"/>
                    </a:lnTo>
                    <a:lnTo>
                      <a:pt x="15" y="14"/>
                    </a:lnTo>
                    <a:lnTo>
                      <a:pt x="14" y="15"/>
                    </a:lnTo>
                    <a:lnTo>
                      <a:pt x="13" y="15"/>
                    </a:lnTo>
                    <a:lnTo>
                      <a:pt x="12" y="16"/>
                    </a:lnTo>
                    <a:lnTo>
                      <a:pt x="11" y="16"/>
                    </a:lnTo>
                    <a:lnTo>
                      <a:pt x="10" y="17"/>
                    </a:lnTo>
                    <a:lnTo>
                      <a:pt x="9" y="18"/>
                    </a:lnTo>
                    <a:lnTo>
                      <a:pt x="8" y="18"/>
                    </a:lnTo>
                    <a:lnTo>
                      <a:pt x="7" y="19"/>
                    </a:lnTo>
                    <a:lnTo>
                      <a:pt x="6" y="20"/>
                    </a:lnTo>
                    <a:lnTo>
                      <a:pt x="5" y="21"/>
                    </a:lnTo>
                    <a:lnTo>
                      <a:pt x="4" y="21"/>
                    </a:lnTo>
                    <a:lnTo>
                      <a:pt x="3" y="22"/>
                    </a:lnTo>
                    <a:lnTo>
                      <a:pt x="2" y="23"/>
                    </a:lnTo>
                    <a:lnTo>
                      <a:pt x="1" y="24"/>
                    </a:lnTo>
                    <a:lnTo>
                      <a:pt x="0" y="24"/>
                    </a:lnTo>
                    <a:lnTo>
                      <a:pt x="0" y="24"/>
                    </a:lnTo>
                    <a:lnTo>
                      <a:pt x="67" y="104"/>
                    </a:lnTo>
                    <a:lnTo>
                      <a:pt x="171" y="104"/>
                    </a:lnTo>
                    <a:close/>
                  </a:path>
                </a:pathLst>
              </a:custGeom>
              <a:solidFill>
                <a:srgbClr val="E64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26" name="Freeform 307"/>
              <p:cNvSpPr>
                <a:spLocks/>
              </p:cNvSpPr>
              <p:nvPr/>
            </p:nvSpPr>
            <p:spPr bwMode="auto">
              <a:xfrm>
                <a:off x="2027" y="1598"/>
                <a:ext cx="206" cy="293"/>
              </a:xfrm>
              <a:custGeom>
                <a:avLst/>
                <a:gdLst>
                  <a:gd name="T0" fmla="*/ 33 w 130"/>
                  <a:gd name="T1" fmla="*/ 4 h 185"/>
                  <a:gd name="T2" fmla="*/ 28 w 130"/>
                  <a:gd name="T3" fmla="*/ 9 h 185"/>
                  <a:gd name="T4" fmla="*/ 24 w 130"/>
                  <a:gd name="T5" fmla="*/ 14 h 185"/>
                  <a:gd name="T6" fmla="*/ 20 w 130"/>
                  <a:gd name="T7" fmla="*/ 19 h 185"/>
                  <a:gd name="T8" fmla="*/ 17 w 130"/>
                  <a:gd name="T9" fmla="*/ 24 h 185"/>
                  <a:gd name="T10" fmla="*/ 14 w 130"/>
                  <a:gd name="T11" fmla="*/ 29 h 185"/>
                  <a:gd name="T12" fmla="*/ 11 w 130"/>
                  <a:gd name="T13" fmla="*/ 34 h 185"/>
                  <a:gd name="T14" fmla="*/ 9 w 130"/>
                  <a:gd name="T15" fmla="*/ 39 h 185"/>
                  <a:gd name="T16" fmla="*/ 7 w 130"/>
                  <a:gd name="T17" fmla="*/ 44 h 185"/>
                  <a:gd name="T18" fmla="*/ 5 w 130"/>
                  <a:gd name="T19" fmla="*/ 49 h 185"/>
                  <a:gd name="T20" fmla="*/ 3 w 130"/>
                  <a:gd name="T21" fmla="*/ 54 h 185"/>
                  <a:gd name="T22" fmla="*/ 2 w 130"/>
                  <a:gd name="T23" fmla="*/ 59 h 185"/>
                  <a:gd name="T24" fmla="*/ 1 w 130"/>
                  <a:gd name="T25" fmla="*/ 64 h 185"/>
                  <a:gd name="T26" fmla="*/ 1 w 130"/>
                  <a:gd name="T27" fmla="*/ 69 h 185"/>
                  <a:gd name="T28" fmla="*/ 0 w 130"/>
                  <a:gd name="T29" fmla="*/ 74 h 185"/>
                  <a:gd name="T30" fmla="*/ 0 w 130"/>
                  <a:gd name="T31" fmla="*/ 79 h 185"/>
                  <a:gd name="T32" fmla="*/ 0 w 130"/>
                  <a:gd name="T33" fmla="*/ 84 h 185"/>
                  <a:gd name="T34" fmla="*/ 0 w 130"/>
                  <a:gd name="T35" fmla="*/ 89 h 185"/>
                  <a:gd name="T36" fmla="*/ 1 w 130"/>
                  <a:gd name="T37" fmla="*/ 94 h 185"/>
                  <a:gd name="T38" fmla="*/ 2 w 130"/>
                  <a:gd name="T39" fmla="*/ 99 h 185"/>
                  <a:gd name="T40" fmla="*/ 3 w 130"/>
                  <a:gd name="T41" fmla="*/ 104 h 185"/>
                  <a:gd name="T42" fmla="*/ 4 w 130"/>
                  <a:gd name="T43" fmla="*/ 109 h 185"/>
                  <a:gd name="T44" fmla="*/ 5 w 130"/>
                  <a:gd name="T45" fmla="*/ 114 h 185"/>
                  <a:gd name="T46" fmla="*/ 7 w 130"/>
                  <a:gd name="T47" fmla="*/ 119 h 185"/>
                  <a:gd name="T48" fmla="*/ 9 w 130"/>
                  <a:gd name="T49" fmla="*/ 124 h 185"/>
                  <a:gd name="T50" fmla="*/ 12 w 130"/>
                  <a:gd name="T51" fmla="*/ 129 h 185"/>
                  <a:gd name="T52" fmla="*/ 15 w 130"/>
                  <a:gd name="T53" fmla="*/ 134 h 185"/>
                  <a:gd name="T54" fmla="*/ 18 w 130"/>
                  <a:gd name="T55" fmla="*/ 139 h 185"/>
                  <a:gd name="T56" fmla="*/ 21 w 130"/>
                  <a:gd name="T57" fmla="*/ 144 h 185"/>
                  <a:gd name="T58" fmla="*/ 25 w 130"/>
                  <a:gd name="T59" fmla="*/ 149 h 185"/>
                  <a:gd name="T60" fmla="*/ 30 w 130"/>
                  <a:gd name="T61" fmla="*/ 154 h 185"/>
                  <a:gd name="T62" fmla="*/ 35 w 130"/>
                  <a:gd name="T63" fmla="*/ 159 h 185"/>
                  <a:gd name="T64" fmla="*/ 40 w 130"/>
                  <a:gd name="T65" fmla="*/ 163 h 185"/>
                  <a:gd name="T66" fmla="*/ 45 w 130"/>
                  <a:gd name="T67" fmla="*/ 167 h 185"/>
                  <a:gd name="T68" fmla="*/ 50 w 130"/>
                  <a:gd name="T69" fmla="*/ 170 h 185"/>
                  <a:gd name="T70" fmla="*/ 55 w 130"/>
                  <a:gd name="T71" fmla="*/ 173 h 185"/>
                  <a:gd name="T72" fmla="*/ 60 w 130"/>
                  <a:gd name="T73" fmla="*/ 175 h 185"/>
                  <a:gd name="T74" fmla="*/ 65 w 130"/>
                  <a:gd name="T75" fmla="*/ 177 h 185"/>
                  <a:gd name="T76" fmla="*/ 70 w 130"/>
                  <a:gd name="T77" fmla="*/ 179 h 185"/>
                  <a:gd name="T78" fmla="*/ 75 w 130"/>
                  <a:gd name="T79" fmla="*/ 181 h 185"/>
                  <a:gd name="T80" fmla="*/ 80 w 130"/>
                  <a:gd name="T81" fmla="*/ 182 h 185"/>
                  <a:gd name="T82" fmla="*/ 85 w 130"/>
                  <a:gd name="T83" fmla="*/ 183 h 185"/>
                  <a:gd name="T84" fmla="*/ 90 w 130"/>
                  <a:gd name="T85" fmla="*/ 184 h 185"/>
                  <a:gd name="T86" fmla="*/ 95 w 130"/>
                  <a:gd name="T87" fmla="*/ 185 h 185"/>
                  <a:gd name="T88" fmla="*/ 100 w 130"/>
                  <a:gd name="T89" fmla="*/ 185 h 185"/>
                  <a:gd name="T90" fmla="*/ 105 w 130"/>
                  <a:gd name="T91" fmla="*/ 185 h 185"/>
                  <a:gd name="T92" fmla="*/ 110 w 130"/>
                  <a:gd name="T93" fmla="*/ 185 h 185"/>
                  <a:gd name="T94" fmla="*/ 115 w 130"/>
                  <a:gd name="T95" fmla="*/ 184 h 185"/>
                  <a:gd name="T96" fmla="*/ 120 w 130"/>
                  <a:gd name="T97" fmla="*/ 184 h 185"/>
                  <a:gd name="T98" fmla="*/ 125 w 130"/>
                  <a:gd name="T99" fmla="*/ 183 h 185"/>
                  <a:gd name="T100" fmla="*/ 130 w 130"/>
                  <a:gd name="T101" fmla="*/ 18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0" h="185">
                    <a:moveTo>
                      <a:pt x="37" y="0"/>
                    </a:moveTo>
                    <a:lnTo>
                      <a:pt x="36" y="1"/>
                    </a:lnTo>
                    <a:lnTo>
                      <a:pt x="35" y="2"/>
                    </a:lnTo>
                    <a:lnTo>
                      <a:pt x="34" y="3"/>
                    </a:lnTo>
                    <a:lnTo>
                      <a:pt x="33" y="4"/>
                    </a:lnTo>
                    <a:lnTo>
                      <a:pt x="32" y="5"/>
                    </a:lnTo>
                    <a:lnTo>
                      <a:pt x="31" y="6"/>
                    </a:lnTo>
                    <a:lnTo>
                      <a:pt x="30" y="7"/>
                    </a:lnTo>
                    <a:lnTo>
                      <a:pt x="29" y="8"/>
                    </a:lnTo>
                    <a:lnTo>
                      <a:pt x="28" y="9"/>
                    </a:lnTo>
                    <a:lnTo>
                      <a:pt x="27" y="10"/>
                    </a:lnTo>
                    <a:lnTo>
                      <a:pt x="26" y="11"/>
                    </a:lnTo>
                    <a:lnTo>
                      <a:pt x="25" y="12"/>
                    </a:lnTo>
                    <a:lnTo>
                      <a:pt x="25" y="13"/>
                    </a:lnTo>
                    <a:lnTo>
                      <a:pt x="24" y="14"/>
                    </a:lnTo>
                    <a:lnTo>
                      <a:pt x="23" y="15"/>
                    </a:lnTo>
                    <a:lnTo>
                      <a:pt x="22" y="16"/>
                    </a:lnTo>
                    <a:lnTo>
                      <a:pt x="21" y="17"/>
                    </a:lnTo>
                    <a:lnTo>
                      <a:pt x="21" y="18"/>
                    </a:lnTo>
                    <a:lnTo>
                      <a:pt x="20" y="19"/>
                    </a:lnTo>
                    <a:lnTo>
                      <a:pt x="19" y="20"/>
                    </a:lnTo>
                    <a:lnTo>
                      <a:pt x="19" y="21"/>
                    </a:lnTo>
                    <a:lnTo>
                      <a:pt x="18" y="22"/>
                    </a:lnTo>
                    <a:lnTo>
                      <a:pt x="17" y="23"/>
                    </a:lnTo>
                    <a:lnTo>
                      <a:pt x="17" y="24"/>
                    </a:lnTo>
                    <a:lnTo>
                      <a:pt x="16" y="25"/>
                    </a:lnTo>
                    <a:lnTo>
                      <a:pt x="15" y="26"/>
                    </a:lnTo>
                    <a:lnTo>
                      <a:pt x="15" y="27"/>
                    </a:lnTo>
                    <a:lnTo>
                      <a:pt x="14" y="28"/>
                    </a:lnTo>
                    <a:lnTo>
                      <a:pt x="14" y="29"/>
                    </a:lnTo>
                    <a:lnTo>
                      <a:pt x="13" y="30"/>
                    </a:lnTo>
                    <a:lnTo>
                      <a:pt x="12" y="31"/>
                    </a:lnTo>
                    <a:lnTo>
                      <a:pt x="12" y="32"/>
                    </a:lnTo>
                    <a:lnTo>
                      <a:pt x="11" y="33"/>
                    </a:lnTo>
                    <a:lnTo>
                      <a:pt x="11" y="34"/>
                    </a:lnTo>
                    <a:lnTo>
                      <a:pt x="10" y="35"/>
                    </a:lnTo>
                    <a:lnTo>
                      <a:pt x="10" y="36"/>
                    </a:lnTo>
                    <a:lnTo>
                      <a:pt x="9" y="37"/>
                    </a:lnTo>
                    <a:lnTo>
                      <a:pt x="9" y="38"/>
                    </a:lnTo>
                    <a:lnTo>
                      <a:pt x="9" y="39"/>
                    </a:lnTo>
                    <a:lnTo>
                      <a:pt x="8" y="40"/>
                    </a:lnTo>
                    <a:lnTo>
                      <a:pt x="8" y="41"/>
                    </a:lnTo>
                    <a:lnTo>
                      <a:pt x="7" y="42"/>
                    </a:lnTo>
                    <a:lnTo>
                      <a:pt x="7" y="43"/>
                    </a:lnTo>
                    <a:lnTo>
                      <a:pt x="7" y="44"/>
                    </a:lnTo>
                    <a:lnTo>
                      <a:pt x="6" y="45"/>
                    </a:lnTo>
                    <a:lnTo>
                      <a:pt x="6" y="46"/>
                    </a:lnTo>
                    <a:lnTo>
                      <a:pt x="5" y="47"/>
                    </a:lnTo>
                    <a:lnTo>
                      <a:pt x="5" y="48"/>
                    </a:lnTo>
                    <a:lnTo>
                      <a:pt x="5" y="49"/>
                    </a:lnTo>
                    <a:lnTo>
                      <a:pt x="5" y="50"/>
                    </a:lnTo>
                    <a:lnTo>
                      <a:pt x="4" y="51"/>
                    </a:lnTo>
                    <a:lnTo>
                      <a:pt x="4" y="52"/>
                    </a:lnTo>
                    <a:lnTo>
                      <a:pt x="4" y="53"/>
                    </a:lnTo>
                    <a:lnTo>
                      <a:pt x="3" y="54"/>
                    </a:lnTo>
                    <a:lnTo>
                      <a:pt x="3" y="55"/>
                    </a:lnTo>
                    <a:lnTo>
                      <a:pt x="3" y="56"/>
                    </a:lnTo>
                    <a:lnTo>
                      <a:pt x="3" y="57"/>
                    </a:lnTo>
                    <a:lnTo>
                      <a:pt x="2" y="58"/>
                    </a:lnTo>
                    <a:lnTo>
                      <a:pt x="2" y="59"/>
                    </a:lnTo>
                    <a:lnTo>
                      <a:pt x="2" y="60"/>
                    </a:lnTo>
                    <a:lnTo>
                      <a:pt x="2" y="61"/>
                    </a:lnTo>
                    <a:lnTo>
                      <a:pt x="2" y="62"/>
                    </a:lnTo>
                    <a:lnTo>
                      <a:pt x="1" y="63"/>
                    </a:lnTo>
                    <a:lnTo>
                      <a:pt x="1" y="64"/>
                    </a:lnTo>
                    <a:lnTo>
                      <a:pt x="1" y="65"/>
                    </a:lnTo>
                    <a:lnTo>
                      <a:pt x="1" y="66"/>
                    </a:lnTo>
                    <a:lnTo>
                      <a:pt x="1" y="67"/>
                    </a:lnTo>
                    <a:lnTo>
                      <a:pt x="1" y="68"/>
                    </a:lnTo>
                    <a:lnTo>
                      <a:pt x="1" y="69"/>
                    </a:lnTo>
                    <a:lnTo>
                      <a:pt x="1" y="70"/>
                    </a:lnTo>
                    <a:lnTo>
                      <a:pt x="0" y="71"/>
                    </a:lnTo>
                    <a:lnTo>
                      <a:pt x="0" y="72"/>
                    </a:lnTo>
                    <a:lnTo>
                      <a:pt x="0" y="73"/>
                    </a:lnTo>
                    <a:lnTo>
                      <a:pt x="0" y="74"/>
                    </a:lnTo>
                    <a:lnTo>
                      <a:pt x="0" y="75"/>
                    </a:lnTo>
                    <a:lnTo>
                      <a:pt x="0" y="76"/>
                    </a:lnTo>
                    <a:lnTo>
                      <a:pt x="0" y="77"/>
                    </a:lnTo>
                    <a:lnTo>
                      <a:pt x="0" y="78"/>
                    </a:lnTo>
                    <a:lnTo>
                      <a:pt x="0" y="79"/>
                    </a:lnTo>
                    <a:lnTo>
                      <a:pt x="0" y="80"/>
                    </a:lnTo>
                    <a:lnTo>
                      <a:pt x="0" y="81"/>
                    </a:lnTo>
                    <a:lnTo>
                      <a:pt x="0" y="82"/>
                    </a:lnTo>
                    <a:lnTo>
                      <a:pt x="0" y="83"/>
                    </a:lnTo>
                    <a:lnTo>
                      <a:pt x="0" y="84"/>
                    </a:lnTo>
                    <a:lnTo>
                      <a:pt x="0" y="85"/>
                    </a:lnTo>
                    <a:lnTo>
                      <a:pt x="0" y="86"/>
                    </a:lnTo>
                    <a:lnTo>
                      <a:pt x="0" y="87"/>
                    </a:lnTo>
                    <a:lnTo>
                      <a:pt x="0" y="88"/>
                    </a:lnTo>
                    <a:lnTo>
                      <a:pt x="0" y="89"/>
                    </a:lnTo>
                    <a:lnTo>
                      <a:pt x="0" y="90"/>
                    </a:lnTo>
                    <a:lnTo>
                      <a:pt x="1" y="91"/>
                    </a:lnTo>
                    <a:lnTo>
                      <a:pt x="1" y="92"/>
                    </a:lnTo>
                    <a:lnTo>
                      <a:pt x="1" y="93"/>
                    </a:lnTo>
                    <a:lnTo>
                      <a:pt x="1" y="94"/>
                    </a:lnTo>
                    <a:lnTo>
                      <a:pt x="1" y="95"/>
                    </a:lnTo>
                    <a:lnTo>
                      <a:pt x="1" y="96"/>
                    </a:lnTo>
                    <a:lnTo>
                      <a:pt x="1" y="97"/>
                    </a:lnTo>
                    <a:lnTo>
                      <a:pt x="1" y="98"/>
                    </a:lnTo>
                    <a:lnTo>
                      <a:pt x="2" y="99"/>
                    </a:lnTo>
                    <a:lnTo>
                      <a:pt x="2" y="100"/>
                    </a:lnTo>
                    <a:lnTo>
                      <a:pt x="2" y="101"/>
                    </a:lnTo>
                    <a:lnTo>
                      <a:pt x="2" y="102"/>
                    </a:lnTo>
                    <a:lnTo>
                      <a:pt x="2" y="103"/>
                    </a:lnTo>
                    <a:lnTo>
                      <a:pt x="3" y="104"/>
                    </a:lnTo>
                    <a:lnTo>
                      <a:pt x="3" y="105"/>
                    </a:lnTo>
                    <a:lnTo>
                      <a:pt x="3" y="106"/>
                    </a:lnTo>
                    <a:lnTo>
                      <a:pt x="3" y="107"/>
                    </a:lnTo>
                    <a:lnTo>
                      <a:pt x="4" y="108"/>
                    </a:lnTo>
                    <a:lnTo>
                      <a:pt x="4" y="109"/>
                    </a:lnTo>
                    <a:lnTo>
                      <a:pt x="4" y="110"/>
                    </a:lnTo>
                    <a:lnTo>
                      <a:pt x="5" y="111"/>
                    </a:lnTo>
                    <a:lnTo>
                      <a:pt x="5" y="112"/>
                    </a:lnTo>
                    <a:lnTo>
                      <a:pt x="5" y="113"/>
                    </a:lnTo>
                    <a:lnTo>
                      <a:pt x="5" y="114"/>
                    </a:lnTo>
                    <a:lnTo>
                      <a:pt x="6" y="115"/>
                    </a:lnTo>
                    <a:lnTo>
                      <a:pt x="6" y="116"/>
                    </a:lnTo>
                    <a:lnTo>
                      <a:pt x="7" y="117"/>
                    </a:lnTo>
                    <a:lnTo>
                      <a:pt x="7" y="118"/>
                    </a:lnTo>
                    <a:lnTo>
                      <a:pt x="7" y="119"/>
                    </a:lnTo>
                    <a:lnTo>
                      <a:pt x="8" y="120"/>
                    </a:lnTo>
                    <a:lnTo>
                      <a:pt x="8" y="121"/>
                    </a:lnTo>
                    <a:lnTo>
                      <a:pt x="9" y="122"/>
                    </a:lnTo>
                    <a:lnTo>
                      <a:pt x="9" y="123"/>
                    </a:lnTo>
                    <a:lnTo>
                      <a:pt x="9" y="124"/>
                    </a:lnTo>
                    <a:lnTo>
                      <a:pt x="10" y="125"/>
                    </a:lnTo>
                    <a:lnTo>
                      <a:pt x="10" y="126"/>
                    </a:lnTo>
                    <a:lnTo>
                      <a:pt x="11" y="127"/>
                    </a:lnTo>
                    <a:lnTo>
                      <a:pt x="11" y="128"/>
                    </a:lnTo>
                    <a:lnTo>
                      <a:pt x="12" y="129"/>
                    </a:lnTo>
                    <a:lnTo>
                      <a:pt x="12" y="130"/>
                    </a:lnTo>
                    <a:lnTo>
                      <a:pt x="13" y="131"/>
                    </a:lnTo>
                    <a:lnTo>
                      <a:pt x="14" y="132"/>
                    </a:lnTo>
                    <a:lnTo>
                      <a:pt x="14" y="133"/>
                    </a:lnTo>
                    <a:lnTo>
                      <a:pt x="15" y="134"/>
                    </a:lnTo>
                    <a:lnTo>
                      <a:pt x="15" y="135"/>
                    </a:lnTo>
                    <a:lnTo>
                      <a:pt x="16" y="136"/>
                    </a:lnTo>
                    <a:lnTo>
                      <a:pt x="17" y="137"/>
                    </a:lnTo>
                    <a:lnTo>
                      <a:pt x="17" y="138"/>
                    </a:lnTo>
                    <a:lnTo>
                      <a:pt x="18" y="139"/>
                    </a:lnTo>
                    <a:lnTo>
                      <a:pt x="19" y="140"/>
                    </a:lnTo>
                    <a:lnTo>
                      <a:pt x="19" y="141"/>
                    </a:lnTo>
                    <a:lnTo>
                      <a:pt x="20" y="142"/>
                    </a:lnTo>
                    <a:lnTo>
                      <a:pt x="21" y="143"/>
                    </a:lnTo>
                    <a:lnTo>
                      <a:pt x="21" y="144"/>
                    </a:lnTo>
                    <a:lnTo>
                      <a:pt x="22" y="145"/>
                    </a:lnTo>
                    <a:lnTo>
                      <a:pt x="23" y="146"/>
                    </a:lnTo>
                    <a:lnTo>
                      <a:pt x="24" y="147"/>
                    </a:lnTo>
                    <a:lnTo>
                      <a:pt x="25" y="148"/>
                    </a:lnTo>
                    <a:lnTo>
                      <a:pt x="25" y="149"/>
                    </a:lnTo>
                    <a:lnTo>
                      <a:pt x="26" y="150"/>
                    </a:lnTo>
                    <a:lnTo>
                      <a:pt x="27" y="151"/>
                    </a:lnTo>
                    <a:lnTo>
                      <a:pt x="28" y="152"/>
                    </a:lnTo>
                    <a:lnTo>
                      <a:pt x="29" y="153"/>
                    </a:lnTo>
                    <a:lnTo>
                      <a:pt x="30" y="154"/>
                    </a:lnTo>
                    <a:lnTo>
                      <a:pt x="31" y="155"/>
                    </a:lnTo>
                    <a:lnTo>
                      <a:pt x="32" y="156"/>
                    </a:lnTo>
                    <a:lnTo>
                      <a:pt x="33" y="157"/>
                    </a:lnTo>
                    <a:lnTo>
                      <a:pt x="34" y="158"/>
                    </a:lnTo>
                    <a:lnTo>
                      <a:pt x="35" y="159"/>
                    </a:lnTo>
                    <a:lnTo>
                      <a:pt x="36" y="160"/>
                    </a:lnTo>
                    <a:lnTo>
                      <a:pt x="37" y="160"/>
                    </a:lnTo>
                    <a:lnTo>
                      <a:pt x="38" y="161"/>
                    </a:lnTo>
                    <a:lnTo>
                      <a:pt x="39" y="162"/>
                    </a:lnTo>
                    <a:lnTo>
                      <a:pt x="40" y="163"/>
                    </a:lnTo>
                    <a:lnTo>
                      <a:pt x="41" y="164"/>
                    </a:lnTo>
                    <a:lnTo>
                      <a:pt x="42" y="164"/>
                    </a:lnTo>
                    <a:lnTo>
                      <a:pt x="43" y="165"/>
                    </a:lnTo>
                    <a:lnTo>
                      <a:pt x="44" y="166"/>
                    </a:lnTo>
                    <a:lnTo>
                      <a:pt x="45" y="167"/>
                    </a:lnTo>
                    <a:lnTo>
                      <a:pt x="46" y="167"/>
                    </a:lnTo>
                    <a:lnTo>
                      <a:pt x="47" y="168"/>
                    </a:lnTo>
                    <a:lnTo>
                      <a:pt x="48" y="169"/>
                    </a:lnTo>
                    <a:lnTo>
                      <a:pt x="49" y="169"/>
                    </a:lnTo>
                    <a:lnTo>
                      <a:pt x="50" y="170"/>
                    </a:lnTo>
                    <a:lnTo>
                      <a:pt x="51" y="170"/>
                    </a:lnTo>
                    <a:lnTo>
                      <a:pt x="52" y="171"/>
                    </a:lnTo>
                    <a:lnTo>
                      <a:pt x="53" y="172"/>
                    </a:lnTo>
                    <a:lnTo>
                      <a:pt x="54" y="172"/>
                    </a:lnTo>
                    <a:lnTo>
                      <a:pt x="55" y="173"/>
                    </a:lnTo>
                    <a:lnTo>
                      <a:pt x="56" y="173"/>
                    </a:lnTo>
                    <a:lnTo>
                      <a:pt x="57" y="174"/>
                    </a:lnTo>
                    <a:lnTo>
                      <a:pt x="58" y="174"/>
                    </a:lnTo>
                    <a:lnTo>
                      <a:pt x="59" y="175"/>
                    </a:lnTo>
                    <a:lnTo>
                      <a:pt x="60" y="175"/>
                    </a:lnTo>
                    <a:lnTo>
                      <a:pt x="61" y="176"/>
                    </a:lnTo>
                    <a:lnTo>
                      <a:pt x="62" y="176"/>
                    </a:lnTo>
                    <a:lnTo>
                      <a:pt x="63" y="177"/>
                    </a:lnTo>
                    <a:lnTo>
                      <a:pt x="64" y="177"/>
                    </a:lnTo>
                    <a:lnTo>
                      <a:pt x="65" y="177"/>
                    </a:lnTo>
                    <a:lnTo>
                      <a:pt x="66" y="178"/>
                    </a:lnTo>
                    <a:lnTo>
                      <a:pt x="67" y="178"/>
                    </a:lnTo>
                    <a:lnTo>
                      <a:pt x="68" y="179"/>
                    </a:lnTo>
                    <a:lnTo>
                      <a:pt x="69" y="179"/>
                    </a:lnTo>
                    <a:lnTo>
                      <a:pt x="70" y="179"/>
                    </a:lnTo>
                    <a:lnTo>
                      <a:pt x="71" y="180"/>
                    </a:lnTo>
                    <a:lnTo>
                      <a:pt x="72" y="180"/>
                    </a:lnTo>
                    <a:lnTo>
                      <a:pt x="73" y="180"/>
                    </a:lnTo>
                    <a:lnTo>
                      <a:pt x="74" y="181"/>
                    </a:lnTo>
                    <a:lnTo>
                      <a:pt x="75" y="181"/>
                    </a:lnTo>
                    <a:lnTo>
                      <a:pt x="76" y="181"/>
                    </a:lnTo>
                    <a:lnTo>
                      <a:pt x="77" y="181"/>
                    </a:lnTo>
                    <a:lnTo>
                      <a:pt x="78" y="182"/>
                    </a:lnTo>
                    <a:lnTo>
                      <a:pt x="79" y="182"/>
                    </a:lnTo>
                    <a:lnTo>
                      <a:pt x="80" y="182"/>
                    </a:lnTo>
                    <a:lnTo>
                      <a:pt x="81" y="182"/>
                    </a:lnTo>
                    <a:lnTo>
                      <a:pt x="82" y="183"/>
                    </a:lnTo>
                    <a:lnTo>
                      <a:pt x="83" y="183"/>
                    </a:lnTo>
                    <a:lnTo>
                      <a:pt x="84" y="183"/>
                    </a:lnTo>
                    <a:lnTo>
                      <a:pt x="85" y="183"/>
                    </a:lnTo>
                    <a:lnTo>
                      <a:pt x="86" y="183"/>
                    </a:lnTo>
                    <a:lnTo>
                      <a:pt x="87" y="184"/>
                    </a:lnTo>
                    <a:lnTo>
                      <a:pt x="88" y="184"/>
                    </a:lnTo>
                    <a:lnTo>
                      <a:pt x="89" y="184"/>
                    </a:lnTo>
                    <a:lnTo>
                      <a:pt x="90" y="184"/>
                    </a:lnTo>
                    <a:lnTo>
                      <a:pt x="91" y="184"/>
                    </a:lnTo>
                    <a:lnTo>
                      <a:pt x="92" y="184"/>
                    </a:lnTo>
                    <a:lnTo>
                      <a:pt x="93" y="184"/>
                    </a:lnTo>
                    <a:lnTo>
                      <a:pt x="94" y="185"/>
                    </a:lnTo>
                    <a:lnTo>
                      <a:pt x="95" y="185"/>
                    </a:lnTo>
                    <a:lnTo>
                      <a:pt x="96" y="185"/>
                    </a:lnTo>
                    <a:lnTo>
                      <a:pt x="97" y="185"/>
                    </a:lnTo>
                    <a:lnTo>
                      <a:pt x="98" y="185"/>
                    </a:lnTo>
                    <a:lnTo>
                      <a:pt x="99" y="185"/>
                    </a:lnTo>
                    <a:lnTo>
                      <a:pt x="100" y="185"/>
                    </a:lnTo>
                    <a:lnTo>
                      <a:pt x="101" y="185"/>
                    </a:lnTo>
                    <a:lnTo>
                      <a:pt x="102" y="185"/>
                    </a:lnTo>
                    <a:lnTo>
                      <a:pt x="103" y="185"/>
                    </a:lnTo>
                    <a:lnTo>
                      <a:pt x="104" y="185"/>
                    </a:lnTo>
                    <a:lnTo>
                      <a:pt x="105" y="185"/>
                    </a:lnTo>
                    <a:lnTo>
                      <a:pt x="106" y="185"/>
                    </a:lnTo>
                    <a:lnTo>
                      <a:pt x="107" y="185"/>
                    </a:lnTo>
                    <a:lnTo>
                      <a:pt x="108" y="185"/>
                    </a:lnTo>
                    <a:lnTo>
                      <a:pt x="109" y="185"/>
                    </a:lnTo>
                    <a:lnTo>
                      <a:pt x="110" y="185"/>
                    </a:lnTo>
                    <a:lnTo>
                      <a:pt x="111" y="185"/>
                    </a:lnTo>
                    <a:lnTo>
                      <a:pt x="112" y="185"/>
                    </a:lnTo>
                    <a:lnTo>
                      <a:pt x="113" y="185"/>
                    </a:lnTo>
                    <a:lnTo>
                      <a:pt x="114" y="185"/>
                    </a:lnTo>
                    <a:lnTo>
                      <a:pt x="115" y="184"/>
                    </a:lnTo>
                    <a:lnTo>
                      <a:pt x="116" y="184"/>
                    </a:lnTo>
                    <a:lnTo>
                      <a:pt x="117" y="184"/>
                    </a:lnTo>
                    <a:lnTo>
                      <a:pt x="118" y="184"/>
                    </a:lnTo>
                    <a:lnTo>
                      <a:pt x="119" y="184"/>
                    </a:lnTo>
                    <a:lnTo>
                      <a:pt x="120" y="184"/>
                    </a:lnTo>
                    <a:lnTo>
                      <a:pt x="121" y="184"/>
                    </a:lnTo>
                    <a:lnTo>
                      <a:pt x="122" y="183"/>
                    </a:lnTo>
                    <a:lnTo>
                      <a:pt x="123" y="183"/>
                    </a:lnTo>
                    <a:lnTo>
                      <a:pt x="124" y="183"/>
                    </a:lnTo>
                    <a:lnTo>
                      <a:pt x="125" y="183"/>
                    </a:lnTo>
                    <a:lnTo>
                      <a:pt x="126" y="183"/>
                    </a:lnTo>
                    <a:lnTo>
                      <a:pt x="127" y="182"/>
                    </a:lnTo>
                    <a:lnTo>
                      <a:pt x="128" y="182"/>
                    </a:lnTo>
                    <a:lnTo>
                      <a:pt x="129" y="182"/>
                    </a:lnTo>
                    <a:lnTo>
                      <a:pt x="130" y="182"/>
                    </a:lnTo>
                    <a:lnTo>
                      <a:pt x="130" y="181"/>
                    </a:lnTo>
                    <a:lnTo>
                      <a:pt x="130" y="181"/>
                    </a:lnTo>
                    <a:lnTo>
                      <a:pt x="104" y="80"/>
                    </a:lnTo>
                    <a:lnTo>
                      <a:pt x="37" y="0"/>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27" name="Freeform 308"/>
              <p:cNvSpPr>
                <a:spLocks/>
              </p:cNvSpPr>
              <p:nvPr/>
            </p:nvSpPr>
            <p:spPr bwMode="auto">
              <a:xfrm>
                <a:off x="2192" y="1725"/>
                <a:ext cx="165" cy="160"/>
              </a:xfrm>
              <a:custGeom>
                <a:avLst/>
                <a:gdLst>
                  <a:gd name="T0" fmla="*/ 27 w 104"/>
                  <a:gd name="T1" fmla="*/ 101 h 101"/>
                  <a:gd name="T2" fmla="*/ 29 w 104"/>
                  <a:gd name="T3" fmla="*/ 101 h 101"/>
                  <a:gd name="T4" fmla="*/ 31 w 104"/>
                  <a:gd name="T5" fmla="*/ 100 h 101"/>
                  <a:gd name="T6" fmla="*/ 33 w 104"/>
                  <a:gd name="T7" fmla="*/ 100 h 101"/>
                  <a:gd name="T8" fmla="*/ 35 w 104"/>
                  <a:gd name="T9" fmla="*/ 99 h 101"/>
                  <a:gd name="T10" fmla="*/ 37 w 104"/>
                  <a:gd name="T11" fmla="*/ 98 h 101"/>
                  <a:gd name="T12" fmla="*/ 39 w 104"/>
                  <a:gd name="T13" fmla="*/ 97 h 101"/>
                  <a:gd name="T14" fmla="*/ 41 w 104"/>
                  <a:gd name="T15" fmla="*/ 97 h 101"/>
                  <a:gd name="T16" fmla="*/ 43 w 104"/>
                  <a:gd name="T17" fmla="*/ 96 h 101"/>
                  <a:gd name="T18" fmla="*/ 45 w 104"/>
                  <a:gd name="T19" fmla="*/ 95 h 101"/>
                  <a:gd name="T20" fmla="*/ 47 w 104"/>
                  <a:gd name="T21" fmla="*/ 94 h 101"/>
                  <a:gd name="T22" fmla="*/ 49 w 104"/>
                  <a:gd name="T23" fmla="*/ 93 h 101"/>
                  <a:gd name="T24" fmla="*/ 51 w 104"/>
                  <a:gd name="T25" fmla="*/ 92 h 101"/>
                  <a:gd name="T26" fmla="*/ 53 w 104"/>
                  <a:gd name="T27" fmla="*/ 90 h 101"/>
                  <a:gd name="T28" fmla="*/ 55 w 104"/>
                  <a:gd name="T29" fmla="*/ 89 h 101"/>
                  <a:gd name="T30" fmla="*/ 57 w 104"/>
                  <a:gd name="T31" fmla="*/ 88 h 101"/>
                  <a:gd name="T32" fmla="*/ 59 w 104"/>
                  <a:gd name="T33" fmla="*/ 87 h 101"/>
                  <a:gd name="T34" fmla="*/ 61 w 104"/>
                  <a:gd name="T35" fmla="*/ 85 h 101"/>
                  <a:gd name="T36" fmla="*/ 63 w 104"/>
                  <a:gd name="T37" fmla="*/ 84 h 101"/>
                  <a:gd name="T38" fmla="*/ 65 w 104"/>
                  <a:gd name="T39" fmla="*/ 82 h 101"/>
                  <a:gd name="T40" fmla="*/ 67 w 104"/>
                  <a:gd name="T41" fmla="*/ 80 h 101"/>
                  <a:gd name="T42" fmla="*/ 69 w 104"/>
                  <a:gd name="T43" fmla="*/ 79 h 101"/>
                  <a:gd name="T44" fmla="*/ 71 w 104"/>
                  <a:gd name="T45" fmla="*/ 77 h 101"/>
                  <a:gd name="T46" fmla="*/ 73 w 104"/>
                  <a:gd name="T47" fmla="*/ 75 h 101"/>
                  <a:gd name="T48" fmla="*/ 75 w 104"/>
                  <a:gd name="T49" fmla="*/ 73 h 101"/>
                  <a:gd name="T50" fmla="*/ 77 w 104"/>
                  <a:gd name="T51" fmla="*/ 71 h 101"/>
                  <a:gd name="T52" fmla="*/ 79 w 104"/>
                  <a:gd name="T53" fmla="*/ 69 h 101"/>
                  <a:gd name="T54" fmla="*/ 80 w 104"/>
                  <a:gd name="T55" fmla="*/ 67 h 101"/>
                  <a:gd name="T56" fmla="*/ 82 w 104"/>
                  <a:gd name="T57" fmla="*/ 65 h 101"/>
                  <a:gd name="T58" fmla="*/ 83 w 104"/>
                  <a:gd name="T59" fmla="*/ 63 h 101"/>
                  <a:gd name="T60" fmla="*/ 85 w 104"/>
                  <a:gd name="T61" fmla="*/ 61 h 101"/>
                  <a:gd name="T62" fmla="*/ 86 w 104"/>
                  <a:gd name="T63" fmla="*/ 59 h 101"/>
                  <a:gd name="T64" fmla="*/ 87 w 104"/>
                  <a:gd name="T65" fmla="*/ 57 h 101"/>
                  <a:gd name="T66" fmla="*/ 89 w 104"/>
                  <a:gd name="T67" fmla="*/ 55 h 101"/>
                  <a:gd name="T68" fmla="*/ 90 w 104"/>
                  <a:gd name="T69" fmla="*/ 53 h 101"/>
                  <a:gd name="T70" fmla="*/ 91 w 104"/>
                  <a:gd name="T71" fmla="*/ 51 h 101"/>
                  <a:gd name="T72" fmla="*/ 92 w 104"/>
                  <a:gd name="T73" fmla="*/ 49 h 101"/>
                  <a:gd name="T74" fmla="*/ 93 w 104"/>
                  <a:gd name="T75" fmla="*/ 47 h 101"/>
                  <a:gd name="T76" fmla="*/ 94 w 104"/>
                  <a:gd name="T77" fmla="*/ 45 h 101"/>
                  <a:gd name="T78" fmla="*/ 95 w 104"/>
                  <a:gd name="T79" fmla="*/ 43 h 101"/>
                  <a:gd name="T80" fmla="*/ 96 w 104"/>
                  <a:gd name="T81" fmla="*/ 41 h 101"/>
                  <a:gd name="T82" fmla="*/ 97 w 104"/>
                  <a:gd name="T83" fmla="*/ 39 h 101"/>
                  <a:gd name="T84" fmla="*/ 97 w 104"/>
                  <a:gd name="T85" fmla="*/ 37 h 101"/>
                  <a:gd name="T86" fmla="*/ 98 w 104"/>
                  <a:gd name="T87" fmla="*/ 35 h 101"/>
                  <a:gd name="T88" fmla="*/ 99 w 104"/>
                  <a:gd name="T89" fmla="*/ 33 h 101"/>
                  <a:gd name="T90" fmla="*/ 99 w 104"/>
                  <a:gd name="T91" fmla="*/ 31 h 101"/>
                  <a:gd name="T92" fmla="*/ 100 w 104"/>
                  <a:gd name="T93" fmla="*/ 29 h 101"/>
                  <a:gd name="T94" fmla="*/ 101 w 104"/>
                  <a:gd name="T95" fmla="*/ 27 h 101"/>
                  <a:gd name="T96" fmla="*/ 101 w 104"/>
                  <a:gd name="T97" fmla="*/ 25 h 101"/>
                  <a:gd name="T98" fmla="*/ 102 w 104"/>
                  <a:gd name="T99" fmla="*/ 23 h 101"/>
                  <a:gd name="T100" fmla="*/ 102 w 104"/>
                  <a:gd name="T101" fmla="*/ 21 h 101"/>
                  <a:gd name="T102" fmla="*/ 102 w 104"/>
                  <a:gd name="T103" fmla="*/ 19 h 101"/>
                  <a:gd name="T104" fmla="*/ 103 w 104"/>
                  <a:gd name="T105" fmla="*/ 17 h 101"/>
                  <a:gd name="T106" fmla="*/ 103 w 104"/>
                  <a:gd name="T107" fmla="*/ 15 h 101"/>
                  <a:gd name="T108" fmla="*/ 103 w 104"/>
                  <a:gd name="T109" fmla="*/ 13 h 101"/>
                  <a:gd name="T110" fmla="*/ 103 w 104"/>
                  <a:gd name="T111" fmla="*/ 11 h 101"/>
                  <a:gd name="T112" fmla="*/ 104 w 104"/>
                  <a:gd name="T113" fmla="*/ 9 h 101"/>
                  <a:gd name="T114" fmla="*/ 104 w 104"/>
                  <a:gd name="T115" fmla="*/ 7 h 101"/>
                  <a:gd name="T116" fmla="*/ 104 w 104"/>
                  <a:gd name="T117" fmla="*/ 5 h 101"/>
                  <a:gd name="T118" fmla="*/ 104 w 104"/>
                  <a:gd name="T119" fmla="*/ 3 h 101"/>
                  <a:gd name="T120" fmla="*/ 104 w 104"/>
                  <a:gd name="T121" fmla="*/ 1 h 101"/>
                  <a:gd name="T122" fmla="*/ 104 w 104"/>
                  <a:gd name="T123" fmla="*/ 0 h 101"/>
                  <a:gd name="T124" fmla="*/ 26 w 104"/>
                  <a:gd name="T1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4" h="101">
                    <a:moveTo>
                      <a:pt x="26" y="101"/>
                    </a:moveTo>
                    <a:lnTo>
                      <a:pt x="27" y="101"/>
                    </a:lnTo>
                    <a:lnTo>
                      <a:pt x="28" y="101"/>
                    </a:lnTo>
                    <a:lnTo>
                      <a:pt x="29" y="101"/>
                    </a:lnTo>
                    <a:lnTo>
                      <a:pt x="30" y="101"/>
                    </a:lnTo>
                    <a:lnTo>
                      <a:pt x="31" y="100"/>
                    </a:lnTo>
                    <a:lnTo>
                      <a:pt x="32" y="100"/>
                    </a:lnTo>
                    <a:lnTo>
                      <a:pt x="33" y="100"/>
                    </a:lnTo>
                    <a:lnTo>
                      <a:pt x="34" y="99"/>
                    </a:lnTo>
                    <a:lnTo>
                      <a:pt x="35" y="99"/>
                    </a:lnTo>
                    <a:lnTo>
                      <a:pt x="36" y="99"/>
                    </a:lnTo>
                    <a:lnTo>
                      <a:pt x="37" y="98"/>
                    </a:lnTo>
                    <a:lnTo>
                      <a:pt x="38" y="98"/>
                    </a:lnTo>
                    <a:lnTo>
                      <a:pt x="39" y="97"/>
                    </a:lnTo>
                    <a:lnTo>
                      <a:pt x="40" y="97"/>
                    </a:lnTo>
                    <a:lnTo>
                      <a:pt x="41" y="97"/>
                    </a:lnTo>
                    <a:lnTo>
                      <a:pt x="42" y="96"/>
                    </a:lnTo>
                    <a:lnTo>
                      <a:pt x="43" y="96"/>
                    </a:lnTo>
                    <a:lnTo>
                      <a:pt x="44" y="95"/>
                    </a:lnTo>
                    <a:lnTo>
                      <a:pt x="45" y="95"/>
                    </a:lnTo>
                    <a:lnTo>
                      <a:pt x="46" y="94"/>
                    </a:lnTo>
                    <a:lnTo>
                      <a:pt x="47" y="94"/>
                    </a:lnTo>
                    <a:lnTo>
                      <a:pt x="48" y="93"/>
                    </a:lnTo>
                    <a:lnTo>
                      <a:pt x="49" y="93"/>
                    </a:lnTo>
                    <a:lnTo>
                      <a:pt x="50" y="92"/>
                    </a:lnTo>
                    <a:lnTo>
                      <a:pt x="51" y="92"/>
                    </a:lnTo>
                    <a:lnTo>
                      <a:pt x="52" y="91"/>
                    </a:lnTo>
                    <a:lnTo>
                      <a:pt x="53" y="90"/>
                    </a:lnTo>
                    <a:lnTo>
                      <a:pt x="54" y="90"/>
                    </a:lnTo>
                    <a:lnTo>
                      <a:pt x="55" y="89"/>
                    </a:lnTo>
                    <a:lnTo>
                      <a:pt x="56" y="89"/>
                    </a:lnTo>
                    <a:lnTo>
                      <a:pt x="57" y="88"/>
                    </a:lnTo>
                    <a:lnTo>
                      <a:pt x="58" y="87"/>
                    </a:lnTo>
                    <a:lnTo>
                      <a:pt x="59" y="87"/>
                    </a:lnTo>
                    <a:lnTo>
                      <a:pt x="60" y="86"/>
                    </a:lnTo>
                    <a:lnTo>
                      <a:pt x="61" y="85"/>
                    </a:lnTo>
                    <a:lnTo>
                      <a:pt x="62" y="84"/>
                    </a:lnTo>
                    <a:lnTo>
                      <a:pt x="63" y="84"/>
                    </a:lnTo>
                    <a:lnTo>
                      <a:pt x="64" y="83"/>
                    </a:lnTo>
                    <a:lnTo>
                      <a:pt x="65" y="82"/>
                    </a:lnTo>
                    <a:lnTo>
                      <a:pt x="66" y="81"/>
                    </a:lnTo>
                    <a:lnTo>
                      <a:pt x="67" y="80"/>
                    </a:lnTo>
                    <a:lnTo>
                      <a:pt x="68" y="80"/>
                    </a:lnTo>
                    <a:lnTo>
                      <a:pt x="69" y="79"/>
                    </a:lnTo>
                    <a:lnTo>
                      <a:pt x="70" y="78"/>
                    </a:lnTo>
                    <a:lnTo>
                      <a:pt x="71" y="77"/>
                    </a:lnTo>
                    <a:lnTo>
                      <a:pt x="72" y="76"/>
                    </a:lnTo>
                    <a:lnTo>
                      <a:pt x="73" y="75"/>
                    </a:lnTo>
                    <a:lnTo>
                      <a:pt x="74" y="74"/>
                    </a:lnTo>
                    <a:lnTo>
                      <a:pt x="75" y="73"/>
                    </a:lnTo>
                    <a:lnTo>
                      <a:pt x="76" y="72"/>
                    </a:lnTo>
                    <a:lnTo>
                      <a:pt x="77" y="71"/>
                    </a:lnTo>
                    <a:lnTo>
                      <a:pt x="78" y="70"/>
                    </a:lnTo>
                    <a:lnTo>
                      <a:pt x="79" y="69"/>
                    </a:lnTo>
                    <a:lnTo>
                      <a:pt x="79" y="68"/>
                    </a:lnTo>
                    <a:lnTo>
                      <a:pt x="80" y="67"/>
                    </a:lnTo>
                    <a:lnTo>
                      <a:pt x="81" y="66"/>
                    </a:lnTo>
                    <a:lnTo>
                      <a:pt x="82" y="65"/>
                    </a:lnTo>
                    <a:lnTo>
                      <a:pt x="83" y="64"/>
                    </a:lnTo>
                    <a:lnTo>
                      <a:pt x="83" y="63"/>
                    </a:lnTo>
                    <a:lnTo>
                      <a:pt x="84" y="62"/>
                    </a:lnTo>
                    <a:lnTo>
                      <a:pt x="85" y="61"/>
                    </a:lnTo>
                    <a:lnTo>
                      <a:pt x="85" y="60"/>
                    </a:lnTo>
                    <a:lnTo>
                      <a:pt x="86" y="59"/>
                    </a:lnTo>
                    <a:lnTo>
                      <a:pt x="87" y="58"/>
                    </a:lnTo>
                    <a:lnTo>
                      <a:pt x="87" y="57"/>
                    </a:lnTo>
                    <a:lnTo>
                      <a:pt x="88" y="56"/>
                    </a:lnTo>
                    <a:lnTo>
                      <a:pt x="89" y="55"/>
                    </a:lnTo>
                    <a:lnTo>
                      <a:pt x="89" y="54"/>
                    </a:lnTo>
                    <a:lnTo>
                      <a:pt x="90" y="53"/>
                    </a:lnTo>
                    <a:lnTo>
                      <a:pt x="90" y="52"/>
                    </a:lnTo>
                    <a:lnTo>
                      <a:pt x="91" y="51"/>
                    </a:lnTo>
                    <a:lnTo>
                      <a:pt x="92" y="50"/>
                    </a:lnTo>
                    <a:lnTo>
                      <a:pt x="92" y="49"/>
                    </a:lnTo>
                    <a:lnTo>
                      <a:pt x="93" y="48"/>
                    </a:lnTo>
                    <a:lnTo>
                      <a:pt x="93" y="47"/>
                    </a:lnTo>
                    <a:lnTo>
                      <a:pt x="94" y="46"/>
                    </a:lnTo>
                    <a:lnTo>
                      <a:pt x="94" y="45"/>
                    </a:lnTo>
                    <a:lnTo>
                      <a:pt x="95" y="44"/>
                    </a:lnTo>
                    <a:lnTo>
                      <a:pt x="95" y="43"/>
                    </a:lnTo>
                    <a:lnTo>
                      <a:pt x="95" y="42"/>
                    </a:lnTo>
                    <a:lnTo>
                      <a:pt x="96" y="41"/>
                    </a:lnTo>
                    <a:lnTo>
                      <a:pt x="96" y="40"/>
                    </a:lnTo>
                    <a:lnTo>
                      <a:pt x="97" y="39"/>
                    </a:lnTo>
                    <a:lnTo>
                      <a:pt x="97" y="38"/>
                    </a:lnTo>
                    <a:lnTo>
                      <a:pt x="97" y="37"/>
                    </a:lnTo>
                    <a:lnTo>
                      <a:pt x="98" y="36"/>
                    </a:lnTo>
                    <a:lnTo>
                      <a:pt x="98" y="35"/>
                    </a:lnTo>
                    <a:lnTo>
                      <a:pt x="99" y="34"/>
                    </a:lnTo>
                    <a:lnTo>
                      <a:pt x="99" y="33"/>
                    </a:lnTo>
                    <a:lnTo>
                      <a:pt x="99" y="32"/>
                    </a:lnTo>
                    <a:lnTo>
                      <a:pt x="99" y="31"/>
                    </a:lnTo>
                    <a:lnTo>
                      <a:pt x="100" y="30"/>
                    </a:lnTo>
                    <a:lnTo>
                      <a:pt x="100" y="29"/>
                    </a:lnTo>
                    <a:lnTo>
                      <a:pt x="100" y="28"/>
                    </a:lnTo>
                    <a:lnTo>
                      <a:pt x="101" y="27"/>
                    </a:lnTo>
                    <a:lnTo>
                      <a:pt x="101" y="26"/>
                    </a:lnTo>
                    <a:lnTo>
                      <a:pt x="101" y="25"/>
                    </a:lnTo>
                    <a:lnTo>
                      <a:pt x="101" y="24"/>
                    </a:lnTo>
                    <a:lnTo>
                      <a:pt x="102" y="23"/>
                    </a:lnTo>
                    <a:lnTo>
                      <a:pt x="102" y="22"/>
                    </a:lnTo>
                    <a:lnTo>
                      <a:pt x="102" y="21"/>
                    </a:lnTo>
                    <a:lnTo>
                      <a:pt x="102" y="20"/>
                    </a:lnTo>
                    <a:lnTo>
                      <a:pt x="102" y="19"/>
                    </a:lnTo>
                    <a:lnTo>
                      <a:pt x="103" y="18"/>
                    </a:lnTo>
                    <a:lnTo>
                      <a:pt x="103" y="17"/>
                    </a:lnTo>
                    <a:lnTo>
                      <a:pt x="103" y="16"/>
                    </a:lnTo>
                    <a:lnTo>
                      <a:pt x="103" y="15"/>
                    </a:lnTo>
                    <a:lnTo>
                      <a:pt x="103" y="14"/>
                    </a:lnTo>
                    <a:lnTo>
                      <a:pt x="103" y="13"/>
                    </a:lnTo>
                    <a:lnTo>
                      <a:pt x="103" y="12"/>
                    </a:lnTo>
                    <a:lnTo>
                      <a:pt x="103" y="11"/>
                    </a:lnTo>
                    <a:lnTo>
                      <a:pt x="104" y="10"/>
                    </a:lnTo>
                    <a:lnTo>
                      <a:pt x="104" y="9"/>
                    </a:lnTo>
                    <a:lnTo>
                      <a:pt x="104" y="8"/>
                    </a:lnTo>
                    <a:lnTo>
                      <a:pt x="104" y="7"/>
                    </a:lnTo>
                    <a:lnTo>
                      <a:pt x="104" y="6"/>
                    </a:lnTo>
                    <a:lnTo>
                      <a:pt x="104" y="5"/>
                    </a:lnTo>
                    <a:lnTo>
                      <a:pt x="104" y="4"/>
                    </a:lnTo>
                    <a:lnTo>
                      <a:pt x="104" y="3"/>
                    </a:lnTo>
                    <a:lnTo>
                      <a:pt x="104" y="2"/>
                    </a:lnTo>
                    <a:lnTo>
                      <a:pt x="104" y="1"/>
                    </a:lnTo>
                    <a:lnTo>
                      <a:pt x="104" y="0"/>
                    </a:lnTo>
                    <a:lnTo>
                      <a:pt x="104" y="0"/>
                    </a:lnTo>
                    <a:lnTo>
                      <a:pt x="0" y="0"/>
                    </a:lnTo>
                    <a:lnTo>
                      <a:pt x="26" y="101"/>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28" name="Freeform 309"/>
              <p:cNvSpPr>
                <a:spLocks/>
              </p:cNvSpPr>
              <p:nvPr/>
            </p:nvSpPr>
            <p:spPr bwMode="auto">
              <a:xfrm>
                <a:off x="2435" y="646"/>
                <a:ext cx="234" cy="167"/>
              </a:xfrm>
              <a:custGeom>
                <a:avLst/>
                <a:gdLst>
                  <a:gd name="T0" fmla="*/ 148 w 148"/>
                  <a:gd name="T1" fmla="*/ 102 h 105"/>
                  <a:gd name="T2" fmla="*/ 148 w 148"/>
                  <a:gd name="T3" fmla="*/ 98 h 105"/>
                  <a:gd name="T4" fmla="*/ 147 w 148"/>
                  <a:gd name="T5" fmla="*/ 94 h 105"/>
                  <a:gd name="T6" fmla="*/ 147 w 148"/>
                  <a:gd name="T7" fmla="*/ 90 h 105"/>
                  <a:gd name="T8" fmla="*/ 146 w 148"/>
                  <a:gd name="T9" fmla="*/ 86 h 105"/>
                  <a:gd name="T10" fmla="*/ 146 w 148"/>
                  <a:gd name="T11" fmla="*/ 82 h 105"/>
                  <a:gd name="T12" fmla="*/ 145 w 148"/>
                  <a:gd name="T13" fmla="*/ 78 h 105"/>
                  <a:gd name="T14" fmla="*/ 143 w 148"/>
                  <a:gd name="T15" fmla="*/ 74 h 105"/>
                  <a:gd name="T16" fmla="*/ 142 w 148"/>
                  <a:gd name="T17" fmla="*/ 70 h 105"/>
                  <a:gd name="T18" fmla="*/ 141 w 148"/>
                  <a:gd name="T19" fmla="*/ 66 h 105"/>
                  <a:gd name="T20" fmla="*/ 139 w 148"/>
                  <a:gd name="T21" fmla="*/ 62 h 105"/>
                  <a:gd name="T22" fmla="*/ 137 w 148"/>
                  <a:gd name="T23" fmla="*/ 58 h 105"/>
                  <a:gd name="T24" fmla="*/ 135 w 148"/>
                  <a:gd name="T25" fmla="*/ 54 h 105"/>
                  <a:gd name="T26" fmla="*/ 133 w 148"/>
                  <a:gd name="T27" fmla="*/ 50 h 105"/>
                  <a:gd name="T28" fmla="*/ 130 w 148"/>
                  <a:gd name="T29" fmla="*/ 46 h 105"/>
                  <a:gd name="T30" fmla="*/ 127 w 148"/>
                  <a:gd name="T31" fmla="*/ 42 h 105"/>
                  <a:gd name="T32" fmla="*/ 124 w 148"/>
                  <a:gd name="T33" fmla="*/ 38 h 105"/>
                  <a:gd name="T34" fmla="*/ 121 w 148"/>
                  <a:gd name="T35" fmla="*/ 34 h 105"/>
                  <a:gd name="T36" fmla="*/ 117 w 148"/>
                  <a:gd name="T37" fmla="*/ 30 h 105"/>
                  <a:gd name="T38" fmla="*/ 113 w 148"/>
                  <a:gd name="T39" fmla="*/ 26 h 105"/>
                  <a:gd name="T40" fmla="*/ 109 w 148"/>
                  <a:gd name="T41" fmla="*/ 23 h 105"/>
                  <a:gd name="T42" fmla="*/ 105 w 148"/>
                  <a:gd name="T43" fmla="*/ 20 h 105"/>
                  <a:gd name="T44" fmla="*/ 101 w 148"/>
                  <a:gd name="T45" fmla="*/ 17 h 105"/>
                  <a:gd name="T46" fmla="*/ 97 w 148"/>
                  <a:gd name="T47" fmla="*/ 15 h 105"/>
                  <a:gd name="T48" fmla="*/ 93 w 148"/>
                  <a:gd name="T49" fmla="*/ 12 h 105"/>
                  <a:gd name="T50" fmla="*/ 89 w 148"/>
                  <a:gd name="T51" fmla="*/ 10 h 105"/>
                  <a:gd name="T52" fmla="*/ 85 w 148"/>
                  <a:gd name="T53" fmla="*/ 8 h 105"/>
                  <a:gd name="T54" fmla="*/ 81 w 148"/>
                  <a:gd name="T55" fmla="*/ 7 h 105"/>
                  <a:gd name="T56" fmla="*/ 77 w 148"/>
                  <a:gd name="T57" fmla="*/ 5 h 105"/>
                  <a:gd name="T58" fmla="*/ 73 w 148"/>
                  <a:gd name="T59" fmla="*/ 4 h 105"/>
                  <a:gd name="T60" fmla="*/ 69 w 148"/>
                  <a:gd name="T61" fmla="*/ 3 h 105"/>
                  <a:gd name="T62" fmla="*/ 65 w 148"/>
                  <a:gd name="T63" fmla="*/ 2 h 105"/>
                  <a:gd name="T64" fmla="*/ 61 w 148"/>
                  <a:gd name="T65" fmla="*/ 1 h 105"/>
                  <a:gd name="T66" fmla="*/ 57 w 148"/>
                  <a:gd name="T67" fmla="*/ 1 h 105"/>
                  <a:gd name="T68" fmla="*/ 53 w 148"/>
                  <a:gd name="T69" fmla="*/ 0 h 105"/>
                  <a:gd name="T70" fmla="*/ 49 w 148"/>
                  <a:gd name="T71" fmla="*/ 0 h 105"/>
                  <a:gd name="T72" fmla="*/ 45 w 148"/>
                  <a:gd name="T73" fmla="*/ 0 h 105"/>
                  <a:gd name="T74" fmla="*/ 41 w 148"/>
                  <a:gd name="T75" fmla="*/ 0 h 105"/>
                  <a:gd name="T76" fmla="*/ 37 w 148"/>
                  <a:gd name="T77" fmla="*/ 0 h 105"/>
                  <a:gd name="T78" fmla="*/ 33 w 148"/>
                  <a:gd name="T79" fmla="*/ 1 h 105"/>
                  <a:gd name="T80" fmla="*/ 29 w 148"/>
                  <a:gd name="T81" fmla="*/ 1 h 105"/>
                  <a:gd name="T82" fmla="*/ 25 w 148"/>
                  <a:gd name="T83" fmla="*/ 2 h 105"/>
                  <a:gd name="T84" fmla="*/ 21 w 148"/>
                  <a:gd name="T85" fmla="*/ 3 h 105"/>
                  <a:gd name="T86" fmla="*/ 17 w 148"/>
                  <a:gd name="T87" fmla="*/ 4 h 105"/>
                  <a:gd name="T88" fmla="*/ 13 w 148"/>
                  <a:gd name="T89" fmla="*/ 5 h 105"/>
                  <a:gd name="T90" fmla="*/ 9 w 148"/>
                  <a:gd name="T91" fmla="*/ 6 h 105"/>
                  <a:gd name="T92" fmla="*/ 5 w 148"/>
                  <a:gd name="T93" fmla="*/ 8 h 105"/>
                  <a:gd name="T94" fmla="*/ 1 w 148"/>
                  <a:gd name="T95" fmla="*/ 9 h 105"/>
                  <a:gd name="T96" fmla="*/ 148 w 148"/>
                  <a:gd name="T9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05">
                    <a:moveTo>
                      <a:pt x="148" y="105"/>
                    </a:moveTo>
                    <a:lnTo>
                      <a:pt x="148" y="104"/>
                    </a:lnTo>
                    <a:lnTo>
                      <a:pt x="148" y="103"/>
                    </a:lnTo>
                    <a:lnTo>
                      <a:pt x="148" y="102"/>
                    </a:lnTo>
                    <a:lnTo>
                      <a:pt x="148" y="101"/>
                    </a:lnTo>
                    <a:lnTo>
                      <a:pt x="148" y="100"/>
                    </a:lnTo>
                    <a:lnTo>
                      <a:pt x="148" y="99"/>
                    </a:lnTo>
                    <a:lnTo>
                      <a:pt x="148" y="98"/>
                    </a:lnTo>
                    <a:lnTo>
                      <a:pt x="148" y="97"/>
                    </a:lnTo>
                    <a:lnTo>
                      <a:pt x="148" y="96"/>
                    </a:lnTo>
                    <a:lnTo>
                      <a:pt x="148" y="95"/>
                    </a:lnTo>
                    <a:lnTo>
                      <a:pt x="147" y="94"/>
                    </a:lnTo>
                    <a:lnTo>
                      <a:pt x="147" y="93"/>
                    </a:lnTo>
                    <a:lnTo>
                      <a:pt x="147" y="92"/>
                    </a:lnTo>
                    <a:lnTo>
                      <a:pt x="147" y="91"/>
                    </a:lnTo>
                    <a:lnTo>
                      <a:pt x="147" y="90"/>
                    </a:lnTo>
                    <a:lnTo>
                      <a:pt x="147" y="89"/>
                    </a:lnTo>
                    <a:lnTo>
                      <a:pt x="147" y="88"/>
                    </a:lnTo>
                    <a:lnTo>
                      <a:pt x="147" y="87"/>
                    </a:lnTo>
                    <a:lnTo>
                      <a:pt x="146" y="86"/>
                    </a:lnTo>
                    <a:lnTo>
                      <a:pt x="146" y="85"/>
                    </a:lnTo>
                    <a:lnTo>
                      <a:pt x="146" y="84"/>
                    </a:lnTo>
                    <a:lnTo>
                      <a:pt x="146" y="83"/>
                    </a:lnTo>
                    <a:lnTo>
                      <a:pt x="146" y="82"/>
                    </a:lnTo>
                    <a:lnTo>
                      <a:pt x="145" y="81"/>
                    </a:lnTo>
                    <a:lnTo>
                      <a:pt x="145" y="80"/>
                    </a:lnTo>
                    <a:lnTo>
                      <a:pt x="145" y="79"/>
                    </a:lnTo>
                    <a:lnTo>
                      <a:pt x="145" y="78"/>
                    </a:lnTo>
                    <a:lnTo>
                      <a:pt x="144" y="77"/>
                    </a:lnTo>
                    <a:lnTo>
                      <a:pt x="144" y="76"/>
                    </a:lnTo>
                    <a:lnTo>
                      <a:pt x="144" y="75"/>
                    </a:lnTo>
                    <a:lnTo>
                      <a:pt x="143" y="74"/>
                    </a:lnTo>
                    <a:lnTo>
                      <a:pt x="143" y="73"/>
                    </a:lnTo>
                    <a:lnTo>
                      <a:pt x="143" y="72"/>
                    </a:lnTo>
                    <a:lnTo>
                      <a:pt x="143" y="71"/>
                    </a:lnTo>
                    <a:lnTo>
                      <a:pt x="142" y="70"/>
                    </a:lnTo>
                    <a:lnTo>
                      <a:pt x="142" y="69"/>
                    </a:lnTo>
                    <a:lnTo>
                      <a:pt x="141" y="68"/>
                    </a:lnTo>
                    <a:lnTo>
                      <a:pt x="141" y="67"/>
                    </a:lnTo>
                    <a:lnTo>
                      <a:pt x="141" y="66"/>
                    </a:lnTo>
                    <a:lnTo>
                      <a:pt x="140" y="65"/>
                    </a:lnTo>
                    <a:lnTo>
                      <a:pt x="140" y="64"/>
                    </a:lnTo>
                    <a:lnTo>
                      <a:pt x="139" y="63"/>
                    </a:lnTo>
                    <a:lnTo>
                      <a:pt x="139" y="62"/>
                    </a:lnTo>
                    <a:lnTo>
                      <a:pt x="139" y="61"/>
                    </a:lnTo>
                    <a:lnTo>
                      <a:pt x="138" y="60"/>
                    </a:lnTo>
                    <a:lnTo>
                      <a:pt x="138" y="59"/>
                    </a:lnTo>
                    <a:lnTo>
                      <a:pt x="137" y="58"/>
                    </a:lnTo>
                    <a:lnTo>
                      <a:pt x="137" y="57"/>
                    </a:lnTo>
                    <a:lnTo>
                      <a:pt x="136" y="56"/>
                    </a:lnTo>
                    <a:lnTo>
                      <a:pt x="136" y="55"/>
                    </a:lnTo>
                    <a:lnTo>
                      <a:pt x="135" y="54"/>
                    </a:lnTo>
                    <a:lnTo>
                      <a:pt x="134" y="53"/>
                    </a:lnTo>
                    <a:lnTo>
                      <a:pt x="134" y="52"/>
                    </a:lnTo>
                    <a:lnTo>
                      <a:pt x="133" y="51"/>
                    </a:lnTo>
                    <a:lnTo>
                      <a:pt x="133" y="50"/>
                    </a:lnTo>
                    <a:lnTo>
                      <a:pt x="132" y="49"/>
                    </a:lnTo>
                    <a:lnTo>
                      <a:pt x="131" y="48"/>
                    </a:lnTo>
                    <a:lnTo>
                      <a:pt x="131" y="47"/>
                    </a:lnTo>
                    <a:lnTo>
                      <a:pt x="130" y="46"/>
                    </a:lnTo>
                    <a:lnTo>
                      <a:pt x="129" y="45"/>
                    </a:lnTo>
                    <a:lnTo>
                      <a:pt x="129" y="44"/>
                    </a:lnTo>
                    <a:lnTo>
                      <a:pt x="128" y="43"/>
                    </a:lnTo>
                    <a:lnTo>
                      <a:pt x="127" y="42"/>
                    </a:lnTo>
                    <a:lnTo>
                      <a:pt x="127" y="41"/>
                    </a:lnTo>
                    <a:lnTo>
                      <a:pt x="126" y="40"/>
                    </a:lnTo>
                    <a:lnTo>
                      <a:pt x="125" y="39"/>
                    </a:lnTo>
                    <a:lnTo>
                      <a:pt x="124" y="38"/>
                    </a:lnTo>
                    <a:lnTo>
                      <a:pt x="123" y="37"/>
                    </a:lnTo>
                    <a:lnTo>
                      <a:pt x="123" y="36"/>
                    </a:lnTo>
                    <a:lnTo>
                      <a:pt x="122" y="35"/>
                    </a:lnTo>
                    <a:lnTo>
                      <a:pt x="121" y="34"/>
                    </a:lnTo>
                    <a:lnTo>
                      <a:pt x="120" y="33"/>
                    </a:lnTo>
                    <a:lnTo>
                      <a:pt x="119" y="32"/>
                    </a:lnTo>
                    <a:lnTo>
                      <a:pt x="118" y="31"/>
                    </a:lnTo>
                    <a:lnTo>
                      <a:pt x="117" y="30"/>
                    </a:lnTo>
                    <a:lnTo>
                      <a:pt x="116" y="29"/>
                    </a:lnTo>
                    <a:lnTo>
                      <a:pt x="115" y="28"/>
                    </a:lnTo>
                    <a:lnTo>
                      <a:pt x="114" y="27"/>
                    </a:lnTo>
                    <a:lnTo>
                      <a:pt x="113" y="26"/>
                    </a:lnTo>
                    <a:lnTo>
                      <a:pt x="112" y="25"/>
                    </a:lnTo>
                    <a:lnTo>
                      <a:pt x="111" y="25"/>
                    </a:lnTo>
                    <a:lnTo>
                      <a:pt x="110" y="24"/>
                    </a:lnTo>
                    <a:lnTo>
                      <a:pt x="109" y="23"/>
                    </a:lnTo>
                    <a:lnTo>
                      <a:pt x="108" y="22"/>
                    </a:lnTo>
                    <a:lnTo>
                      <a:pt x="107" y="21"/>
                    </a:lnTo>
                    <a:lnTo>
                      <a:pt x="106" y="21"/>
                    </a:lnTo>
                    <a:lnTo>
                      <a:pt x="105" y="20"/>
                    </a:lnTo>
                    <a:lnTo>
                      <a:pt x="104" y="19"/>
                    </a:lnTo>
                    <a:lnTo>
                      <a:pt x="103" y="18"/>
                    </a:lnTo>
                    <a:lnTo>
                      <a:pt x="102" y="18"/>
                    </a:lnTo>
                    <a:lnTo>
                      <a:pt x="101" y="17"/>
                    </a:lnTo>
                    <a:lnTo>
                      <a:pt x="100" y="16"/>
                    </a:lnTo>
                    <a:lnTo>
                      <a:pt x="99" y="16"/>
                    </a:lnTo>
                    <a:lnTo>
                      <a:pt x="98" y="15"/>
                    </a:lnTo>
                    <a:lnTo>
                      <a:pt x="97" y="15"/>
                    </a:lnTo>
                    <a:lnTo>
                      <a:pt x="96" y="14"/>
                    </a:lnTo>
                    <a:lnTo>
                      <a:pt x="95" y="13"/>
                    </a:lnTo>
                    <a:lnTo>
                      <a:pt x="94" y="13"/>
                    </a:lnTo>
                    <a:lnTo>
                      <a:pt x="93" y="12"/>
                    </a:lnTo>
                    <a:lnTo>
                      <a:pt x="92" y="12"/>
                    </a:lnTo>
                    <a:lnTo>
                      <a:pt x="91" y="11"/>
                    </a:lnTo>
                    <a:lnTo>
                      <a:pt x="90" y="11"/>
                    </a:lnTo>
                    <a:lnTo>
                      <a:pt x="89" y="10"/>
                    </a:lnTo>
                    <a:lnTo>
                      <a:pt x="88" y="10"/>
                    </a:lnTo>
                    <a:lnTo>
                      <a:pt x="87" y="9"/>
                    </a:lnTo>
                    <a:lnTo>
                      <a:pt x="86" y="9"/>
                    </a:lnTo>
                    <a:lnTo>
                      <a:pt x="85" y="8"/>
                    </a:lnTo>
                    <a:lnTo>
                      <a:pt x="84" y="8"/>
                    </a:lnTo>
                    <a:lnTo>
                      <a:pt x="83" y="8"/>
                    </a:lnTo>
                    <a:lnTo>
                      <a:pt x="82" y="7"/>
                    </a:lnTo>
                    <a:lnTo>
                      <a:pt x="81" y="7"/>
                    </a:lnTo>
                    <a:lnTo>
                      <a:pt x="80" y="6"/>
                    </a:lnTo>
                    <a:lnTo>
                      <a:pt x="79" y="6"/>
                    </a:lnTo>
                    <a:lnTo>
                      <a:pt x="78" y="6"/>
                    </a:lnTo>
                    <a:lnTo>
                      <a:pt x="77" y="5"/>
                    </a:lnTo>
                    <a:lnTo>
                      <a:pt x="76" y="5"/>
                    </a:lnTo>
                    <a:lnTo>
                      <a:pt x="75" y="5"/>
                    </a:lnTo>
                    <a:lnTo>
                      <a:pt x="74" y="4"/>
                    </a:lnTo>
                    <a:lnTo>
                      <a:pt x="73" y="4"/>
                    </a:lnTo>
                    <a:lnTo>
                      <a:pt x="72" y="4"/>
                    </a:lnTo>
                    <a:lnTo>
                      <a:pt x="71" y="4"/>
                    </a:lnTo>
                    <a:lnTo>
                      <a:pt x="70" y="3"/>
                    </a:lnTo>
                    <a:lnTo>
                      <a:pt x="69" y="3"/>
                    </a:lnTo>
                    <a:lnTo>
                      <a:pt x="68" y="3"/>
                    </a:lnTo>
                    <a:lnTo>
                      <a:pt x="67" y="3"/>
                    </a:lnTo>
                    <a:lnTo>
                      <a:pt x="66" y="2"/>
                    </a:lnTo>
                    <a:lnTo>
                      <a:pt x="65" y="2"/>
                    </a:lnTo>
                    <a:lnTo>
                      <a:pt x="64" y="2"/>
                    </a:lnTo>
                    <a:lnTo>
                      <a:pt x="63" y="2"/>
                    </a:lnTo>
                    <a:lnTo>
                      <a:pt x="62" y="2"/>
                    </a:lnTo>
                    <a:lnTo>
                      <a:pt x="61" y="1"/>
                    </a:lnTo>
                    <a:lnTo>
                      <a:pt x="60" y="1"/>
                    </a:lnTo>
                    <a:lnTo>
                      <a:pt x="59" y="1"/>
                    </a:lnTo>
                    <a:lnTo>
                      <a:pt x="58" y="1"/>
                    </a:lnTo>
                    <a:lnTo>
                      <a:pt x="57" y="1"/>
                    </a:lnTo>
                    <a:lnTo>
                      <a:pt x="56" y="1"/>
                    </a:lnTo>
                    <a:lnTo>
                      <a:pt x="55" y="1"/>
                    </a:lnTo>
                    <a:lnTo>
                      <a:pt x="54" y="0"/>
                    </a:lnTo>
                    <a:lnTo>
                      <a:pt x="53" y="0"/>
                    </a:lnTo>
                    <a:lnTo>
                      <a:pt x="52" y="0"/>
                    </a:lnTo>
                    <a:lnTo>
                      <a:pt x="51" y="0"/>
                    </a:lnTo>
                    <a:lnTo>
                      <a:pt x="50" y="0"/>
                    </a:lnTo>
                    <a:lnTo>
                      <a:pt x="49" y="0"/>
                    </a:lnTo>
                    <a:lnTo>
                      <a:pt x="48" y="0"/>
                    </a:lnTo>
                    <a:lnTo>
                      <a:pt x="47" y="0"/>
                    </a:lnTo>
                    <a:lnTo>
                      <a:pt x="46" y="0"/>
                    </a:lnTo>
                    <a:lnTo>
                      <a:pt x="45" y="0"/>
                    </a:lnTo>
                    <a:lnTo>
                      <a:pt x="44" y="0"/>
                    </a:lnTo>
                    <a:lnTo>
                      <a:pt x="43" y="0"/>
                    </a:lnTo>
                    <a:lnTo>
                      <a:pt x="42" y="0"/>
                    </a:lnTo>
                    <a:lnTo>
                      <a:pt x="41" y="0"/>
                    </a:lnTo>
                    <a:lnTo>
                      <a:pt x="40" y="0"/>
                    </a:lnTo>
                    <a:lnTo>
                      <a:pt x="39" y="0"/>
                    </a:lnTo>
                    <a:lnTo>
                      <a:pt x="38" y="0"/>
                    </a:lnTo>
                    <a:lnTo>
                      <a:pt x="37" y="0"/>
                    </a:lnTo>
                    <a:lnTo>
                      <a:pt x="36" y="0"/>
                    </a:lnTo>
                    <a:lnTo>
                      <a:pt x="35" y="0"/>
                    </a:lnTo>
                    <a:lnTo>
                      <a:pt x="34" y="0"/>
                    </a:lnTo>
                    <a:lnTo>
                      <a:pt x="33" y="1"/>
                    </a:lnTo>
                    <a:lnTo>
                      <a:pt x="32" y="1"/>
                    </a:lnTo>
                    <a:lnTo>
                      <a:pt x="31" y="1"/>
                    </a:lnTo>
                    <a:lnTo>
                      <a:pt x="30" y="1"/>
                    </a:lnTo>
                    <a:lnTo>
                      <a:pt x="29" y="1"/>
                    </a:lnTo>
                    <a:lnTo>
                      <a:pt x="28" y="1"/>
                    </a:lnTo>
                    <a:lnTo>
                      <a:pt x="27" y="1"/>
                    </a:lnTo>
                    <a:lnTo>
                      <a:pt x="26" y="2"/>
                    </a:lnTo>
                    <a:lnTo>
                      <a:pt x="25" y="2"/>
                    </a:lnTo>
                    <a:lnTo>
                      <a:pt x="24" y="2"/>
                    </a:lnTo>
                    <a:lnTo>
                      <a:pt x="23" y="2"/>
                    </a:lnTo>
                    <a:lnTo>
                      <a:pt x="22" y="2"/>
                    </a:lnTo>
                    <a:lnTo>
                      <a:pt x="21" y="3"/>
                    </a:lnTo>
                    <a:lnTo>
                      <a:pt x="20" y="3"/>
                    </a:lnTo>
                    <a:lnTo>
                      <a:pt x="19" y="3"/>
                    </a:lnTo>
                    <a:lnTo>
                      <a:pt x="18" y="3"/>
                    </a:lnTo>
                    <a:lnTo>
                      <a:pt x="17" y="4"/>
                    </a:lnTo>
                    <a:lnTo>
                      <a:pt x="16" y="4"/>
                    </a:lnTo>
                    <a:lnTo>
                      <a:pt x="15" y="4"/>
                    </a:lnTo>
                    <a:lnTo>
                      <a:pt x="14" y="4"/>
                    </a:lnTo>
                    <a:lnTo>
                      <a:pt x="13" y="5"/>
                    </a:lnTo>
                    <a:lnTo>
                      <a:pt x="12" y="5"/>
                    </a:lnTo>
                    <a:lnTo>
                      <a:pt x="11" y="5"/>
                    </a:lnTo>
                    <a:lnTo>
                      <a:pt x="10" y="6"/>
                    </a:lnTo>
                    <a:lnTo>
                      <a:pt x="9" y="6"/>
                    </a:lnTo>
                    <a:lnTo>
                      <a:pt x="8" y="6"/>
                    </a:lnTo>
                    <a:lnTo>
                      <a:pt x="7" y="7"/>
                    </a:lnTo>
                    <a:lnTo>
                      <a:pt x="6" y="7"/>
                    </a:lnTo>
                    <a:lnTo>
                      <a:pt x="5" y="8"/>
                    </a:lnTo>
                    <a:lnTo>
                      <a:pt x="4" y="8"/>
                    </a:lnTo>
                    <a:lnTo>
                      <a:pt x="3" y="8"/>
                    </a:lnTo>
                    <a:lnTo>
                      <a:pt x="2" y="9"/>
                    </a:lnTo>
                    <a:lnTo>
                      <a:pt x="1" y="9"/>
                    </a:lnTo>
                    <a:lnTo>
                      <a:pt x="0" y="10"/>
                    </a:lnTo>
                    <a:lnTo>
                      <a:pt x="0" y="10"/>
                    </a:lnTo>
                    <a:lnTo>
                      <a:pt x="44" y="105"/>
                    </a:lnTo>
                    <a:lnTo>
                      <a:pt x="148" y="105"/>
                    </a:lnTo>
                    <a:close/>
                  </a:path>
                </a:pathLst>
              </a:custGeom>
              <a:solidFill>
                <a:srgbClr val="E64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29" name="Freeform 310"/>
              <p:cNvSpPr>
                <a:spLocks/>
              </p:cNvSpPr>
              <p:nvPr/>
            </p:nvSpPr>
            <p:spPr bwMode="auto">
              <a:xfrm>
                <a:off x="2340" y="662"/>
                <a:ext cx="164" cy="271"/>
              </a:xfrm>
              <a:custGeom>
                <a:avLst/>
                <a:gdLst>
                  <a:gd name="T0" fmla="*/ 58 w 104"/>
                  <a:gd name="T1" fmla="*/ 1 h 171"/>
                  <a:gd name="T2" fmla="*/ 55 w 104"/>
                  <a:gd name="T3" fmla="*/ 2 h 171"/>
                  <a:gd name="T4" fmla="*/ 52 w 104"/>
                  <a:gd name="T5" fmla="*/ 4 h 171"/>
                  <a:gd name="T6" fmla="*/ 49 w 104"/>
                  <a:gd name="T7" fmla="*/ 6 h 171"/>
                  <a:gd name="T8" fmla="*/ 46 w 104"/>
                  <a:gd name="T9" fmla="*/ 8 h 171"/>
                  <a:gd name="T10" fmla="*/ 43 w 104"/>
                  <a:gd name="T11" fmla="*/ 10 h 171"/>
                  <a:gd name="T12" fmla="*/ 40 w 104"/>
                  <a:gd name="T13" fmla="*/ 12 h 171"/>
                  <a:gd name="T14" fmla="*/ 37 w 104"/>
                  <a:gd name="T15" fmla="*/ 15 h 171"/>
                  <a:gd name="T16" fmla="*/ 34 w 104"/>
                  <a:gd name="T17" fmla="*/ 17 h 171"/>
                  <a:gd name="T18" fmla="*/ 31 w 104"/>
                  <a:gd name="T19" fmla="*/ 20 h 171"/>
                  <a:gd name="T20" fmla="*/ 28 w 104"/>
                  <a:gd name="T21" fmla="*/ 23 h 171"/>
                  <a:gd name="T22" fmla="*/ 25 w 104"/>
                  <a:gd name="T23" fmla="*/ 26 h 171"/>
                  <a:gd name="T24" fmla="*/ 23 w 104"/>
                  <a:gd name="T25" fmla="*/ 29 h 171"/>
                  <a:gd name="T26" fmla="*/ 21 w 104"/>
                  <a:gd name="T27" fmla="*/ 32 h 171"/>
                  <a:gd name="T28" fmla="*/ 19 w 104"/>
                  <a:gd name="T29" fmla="*/ 35 h 171"/>
                  <a:gd name="T30" fmla="*/ 17 w 104"/>
                  <a:gd name="T31" fmla="*/ 38 h 171"/>
                  <a:gd name="T32" fmla="*/ 15 w 104"/>
                  <a:gd name="T33" fmla="*/ 41 h 171"/>
                  <a:gd name="T34" fmla="*/ 13 w 104"/>
                  <a:gd name="T35" fmla="*/ 44 h 171"/>
                  <a:gd name="T36" fmla="*/ 11 w 104"/>
                  <a:gd name="T37" fmla="*/ 47 h 171"/>
                  <a:gd name="T38" fmla="*/ 10 w 104"/>
                  <a:gd name="T39" fmla="*/ 50 h 171"/>
                  <a:gd name="T40" fmla="*/ 9 w 104"/>
                  <a:gd name="T41" fmla="*/ 53 h 171"/>
                  <a:gd name="T42" fmla="*/ 7 w 104"/>
                  <a:gd name="T43" fmla="*/ 56 h 171"/>
                  <a:gd name="T44" fmla="*/ 6 w 104"/>
                  <a:gd name="T45" fmla="*/ 59 h 171"/>
                  <a:gd name="T46" fmla="*/ 5 w 104"/>
                  <a:gd name="T47" fmla="*/ 62 h 171"/>
                  <a:gd name="T48" fmla="*/ 4 w 104"/>
                  <a:gd name="T49" fmla="*/ 65 h 171"/>
                  <a:gd name="T50" fmla="*/ 3 w 104"/>
                  <a:gd name="T51" fmla="*/ 68 h 171"/>
                  <a:gd name="T52" fmla="*/ 3 w 104"/>
                  <a:gd name="T53" fmla="*/ 71 h 171"/>
                  <a:gd name="T54" fmla="*/ 2 w 104"/>
                  <a:gd name="T55" fmla="*/ 74 h 171"/>
                  <a:gd name="T56" fmla="*/ 1 w 104"/>
                  <a:gd name="T57" fmla="*/ 77 h 171"/>
                  <a:gd name="T58" fmla="*/ 1 w 104"/>
                  <a:gd name="T59" fmla="*/ 80 h 171"/>
                  <a:gd name="T60" fmla="*/ 1 w 104"/>
                  <a:gd name="T61" fmla="*/ 83 h 171"/>
                  <a:gd name="T62" fmla="*/ 0 w 104"/>
                  <a:gd name="T63" fmla="*/ 86 h 171"/>
                  <a:gd name="T64" fmla="*/ 0 w 104"/>
                  <a:gd name="T65" fmla="*/ 89 h 171"/>
                  <a:gd name="T66" fmla="*/ 0 w 104"/>
                  <a:gd name="T67" fmla="*/ 92 h 171"/>
                  <a:gd name="T68" fmla="*/ 0 w 104"/>
                  <a:gd name="T69" fmla="*/ 95 h 171"/>
                  <a:gd name="T70" fmla="*/ 0 w 104"/>
                  <a:gd name="T71" fmla="*/ 98 h 171"/>
                  <a:gd name="T72" fmla="*/ 0 w 104"/>
                  <a:gd name="T73" fmla="*/ 101 h 171"/>
                  <a:gd name="T74" fmla="*/ 0 w 104"/>
                  <a:gd name="T75" fmla="*/ 104 h 171"/>
                  <a:gd name="T76" fmla="*/ 1 w 104"/>
                  <a:gd name="T77" fmla="*/ 107 h 171"/>
                  <a:gd name="T78" fmla="*/ 1 w 104"/>
                  <a:gd name="T79" fmla="*/ 110 h 171"/>
                  <a:gd name="T80" fmla="*/ 2 w 104"/>
                  <a:gd name="T81" fmla="*/ 113 h 171"/>
                  <a:gd name="T82" fmla="*/ 2 w 104"/>
                  <a:gd name="T83" fmla="*/ 116 h 171"/>
                  <a:gd name="T84" fmla="*/ 3 w 104"/>
                  <a:gd name="T85" fmla="*/ 119 h 171"/>
                  <a:gd name="T86" fmla="*/ 4 w 104"/>
                  <a:gd name="T87" fmla="*/ 122 h 171"/>
                  <a:gd name="T88" fmla="*/ 5 w 104"/>
                  <a:gd name="T89" fmla="*/ 125 h 171"/>
                  <a:gd name="T90" fmla="*/ 5 w 104"/>
                  <a:gd name="T91" fmla="*/ 128 h 171"/>
                  <a:gd name="T92" fmla="*/ 7 w 104"/>
                  <a:gd name="T93" fmla="*/ 131 h 171"/>
                  <a:gd name="T94" fmla="*/ 8 w 104"/>
                  <a:gd name="T95" fmla="*/ 134 h 171"/>
                  <a:gd name="T96" fmla="*/ 9 w 104"/>
                  <a:gd name="T97" fmla="*/ 137 h 171"/>
                  <a:gd name="T98" fmla="*/ 10 w 104"/>
                  <a:gd name="T99" fmla="*/ 140 h 171"/>
                  <a:gd name="T100" fmla="*/ 12 w 104"/>
                  <a:gd name="T101" fmla="*/ 143 h 171"/>
                  <a:gd name="T102" fmla="*/ 14 w 104"/>
                  <a:gd name="T103" fmla="*/ 146 h 171"/>
                  <a:gd name="T104" fmla="*/ 15 w 104"/>
                  <a:gd name="T105" fmla="*/ 149 h 171"/>
                  <a:gd name="T106" fmla="*/ 17 w 104"/>
                  <a:gd name="T107" fmla="*/ 152 h 171"/>
                  <a:gd name="T108" fmla="*/ 19 w 104"/>
                  <a:gd name="T109" fmla="*/ 155 h 171"/>
                  <a:gd name="T110" fmla="*/ 21 w 104"/>
                  <a:gd name="T111" fmla="*/ 158 h 171"/>
                  <a:gd name="T112" fmla="*/ 24 w 104"/>
                  <a:gd name="T113" fmla="*/ 161 h 171"/>
                  <a:gd name="T114" fmla="*/ 26 w 104"/>
                  <a:gd name="T115" fmla="*/ 164 h 171"/>
                  <a:gd name="T116" fmla="*/ 29 w 104"/>
                  <a:gd name="T117" fmla="*/ 167 h 171"/>
                  <a:gd name="T118" fmla="*/ 32 w 104"/>
                  <a:gd name="T119" fmla="*/ 170 h 171"/>
                  <a:gd name="T120" fmla="*/ 104 w 104"/>
                  <a:gd name="T121" fmla="*/ 9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171">
                    <a:moveTo>
                      <a:pt x="60" y="0"/>
                    </a:moveTo>
                    <a:lnTo>
                      <a:pt x="59" y="0"/>
                    </a:lnTo>
                    <a:lnTo>
                      <a:pt x="58" y="1"/>
                    </a:lnTo>
                    <a:lnTo>
                      <a:pt x="57" y="1"/>
                    </a:lnTo>
                    <a:lnTo>
                      <a:pt x="56" y="2"/>
                    </a:lnTo>
                    <a:lnTo>
                      <a:pt x="55" y="2"/>
                    </a:lnTo>
                    <a:lnTo>
                      <a:pt x="54" y="3"/>
                    </a:lnTo>
                    <a:lnTo>
                      <a:pt x="53" y="3"/>
                    </a:lnTo>
                    <a:lnTo>
                      <a:pt x="52" y="4"/>
                    </a:lnTo>
                    <a:lnTo>
                      <a:pt x="51" y="5"/>
                    </a:lnTo>
                    <a:lnTo>
                      <a:pt x="50" y="5"/>
                    </a:lnTo>
                    <a:lnTo>
                      <a:pt x="49" y="6"/>
                    </a:lnTo>
                    <a:lnTo>
                      <a:pt x="48" y="6"/>
                    </a:lnTo>
                    <a:lnTo>
                      <a:pt x="47" y="7"/>
                    </a:lnTo>
                    <a:lnTo>
                      <a:pt x="46" y="8"/>
                    </a:lnTo>
                    <a:lnTo>
                      <a:pt x="45" y="8"/>
                    </a:lnTo>
                    <a:lnTo>
                      <a:pt x="44" y="9"/>
                    </a:lnTo>
                    <a:lnTo>
                      <a:pt x="43" y="10"/>
                    </a:lnTo>
                    <a:lnTo>
                      <a:pt x="42" y="11"/>
                    </a:lnTo>
                    <a:lnTo>
                      <a:pt x="41" y="11"/>
                    </a:lnTo>
                    <a:lnTo>
                      <a:pt x="40" y="12"/>
                    </a:lnTo>
                    <a:lnTo>
                      <a:pt x="39" y="13"/>
                    </a:lnTo>
                    <a:lnTo>
                      <a:pt x="38" y="14"/>
                    </a:lnTo>
                    <a:lnTo>
                      <a:pt x="37" y="15"/>
                    </a:lnTo>
                    <a:lnTo>
                      <a:pt x="36" y="15"/>
                    </a:lnTo>
                    <a:lnTo>
                      <a:pt x="35" y="16"/>
                    </a:lnTo>
                    <a:lnTo>
                      <a:pt x="34" y="17"/>
                    </a:lnTo>
                    <a:lnTo>
                      <a:pt x="33" y="18"/>
                    </a:lnTo>
                    <a:lnTo>
                      <a:pt x="32" y="19"/>
                    </a:lnTo>
                    <a:lnTo>
                      <a:pt x="31" y="20"/>
                    </a:lnTo>
                    <a:lnTo>
                      <a:pt x="30" y="21"/>
                    </a:lnTo>
                    <a:lnTo>
                      <a:pt x="29" y="22"/>
                    </a:lnTo>
                    <a:lnTo>
                      <a:pt x="28" y="23"/>
                    </a:lnTo>
                    <a:lnTo>
                      <a:pt x="27" y="24"/>
                    </a:lnTo>
                    <a:lnTo>
                      <a:pt x="26" y="25"/>
                    </a:lnTo>
                    <a:lnTo>
                      <a:pt x="25" y="26"/>
                    </a:lnTo>
                    <a:lnTo>
                      <a:pt x="25" y="27"/>
                    </a:lnTo>
                    <a:lnTo>
                      <a:pt x="24" y="28"/>
                    </a:lnTo>
                    <a:lnTo>
                      <a:pt x="23" y="29"/>
                    </a:lnTo>
                    <a:lnTo>
                      <a:pt x="22" y="30"/>
                    </a:lnTo>
                    <a:lnTo>
                      <a:pt x="21" y="31"/>
                    </a:lnTo>
                    <a:lnTo>
                      <a:pt x="21" y="32"/>
                    </a:lnTo>
                    <a:lnTo>
                      <a:pt x="20" y="33"/>
                    </a:lnTo>
                    <a:lnTo>
                      <a:pt x="19" y="34"/>
                    </a:lnTo>
                    <a:lnTo>
                      <a:pt x="19" y="35"/>
                    </a:lnTo>
                    <a:lnTo>
                      <a:pt x="18" y="36"/>
                    </a:lnTo>
                    <a:lnTo>
                      <a:pt x="17" y="37"/>
                    </a:lnTo>
                    <a:lnTo>
                      <a:pt x="17" y="38"/>
                    </a:lnTo>
                    <a:lnTo>
                      <a:pt x="16" y="39"/>
                    </a:lnTo>
                    <a:lnTo>
                      <a:pt x="15" y="40"/>
                    </a:lnTo>
                    <a:lnTo>
                      <a:pt x="15" y="41"/>
                    </a:lnTo>
                    <a:lnTo>
                      <a:pt x="14" y="42"/>
                    </a:lnTo>
                    <a:lnTo>
                      <a:pt x="14" y="43"/>
                    </a:lnTo>
                    <a:lnTo>
                      <a:pt x="13" y="44"/>
                    </a:lnTo>
                    <a:lnTo>
                      <a:pt x="12" y="45"/>
                    </a:lnTo>
                    <a:lnTo>
                      <a:pt x="12" y="46"/>
                    </a:lnTo>
                    <a:lnTo>
                      <a:pt x="11" y="47"/>
                    </a:lnTo>
                    <a:lnTo>
                      <a:pt x="11" y="48"/>
                    </a:lnTo>
                    <a:lnTo>
                      <a:pt x="10" y="49"/>
                    </a:lnTo>
                    <a:lnTo>
                      <a:pt x="10" y="50"/>
                    </a:lnTo>
                    <a:lnTo>
                      <a:pt x="9" y="51"/>
                    </a:lnTo>
                    <a:lnTo>
                      <a:pt x="9" y="52"/>
                    </a:lnTo>
                    <a:lnTo>
                      <a:pt x="9" y="53"/>
                    </a:lnTo>
                    <a:lnTo>
                      <a:pt x="8" y="54"/>
                    </a:lnTo>
                    <a:lnTo>
                      <a:pt x="8" y="55"/>
                    </a:lnTo>
                    <a:lnTo>
                      <a:pt x="7" y="56"/>
                    </a:lnTo>
                    <a:lnTo>
                      <a:pt x="7" y="57"/>
                    </a:lnTo>
                    <a:lnTo>
                      <a:pt x="7" y="58"/>
                    </a:lnTo>
                    <a:lnTo>
                      <a:pt x="6" y="59"/>
                    </a:lnTo>
                    <a:lnTo>
                      <a:pt x="6" y="60"/>
                    </a:lnTo>
                    <a:lnTo>
                      <a:pt x="5" y="61"/>
                    </a:lnTo>
                    <a:lnTo>
                      <a:pt x="5" y="62"/>
                    </a:lnTo>
                    <a:lnTo>
                      <a:pt x="5" y="63"/>
                    </a:lnTo>
                    <a:lnTo>
                      <a:pt x="5" y="64"/>
                    </a:lnTo>
                    <a:lnTo>
                      <a:pt x="4" y="65"/>
                    </a:lnTo>
                    <a:lnTo>
                      <a:pt x="4" y="66"/>
                    </a:lnTo>
                    <a:lnTo>
                      <a:pt x="4" y="67"/>
                    </a:lnTo>
                    <a:lnTo>
                      <a:pt x="3" y="68"/>
                    </a:lnTo>
                    <a:lnTo>
                      <a:pt x="3" y="69"/>
                    </a:lnTo>
                    <a:lnTo>
                      <a:pt x="3" y="70"/>
                    </a:lnTo>
                    <a:lnTo>
                      <a:pt x="3" y="71"/>
                    </a:lnTo>
                    <a:lnTo>
                      <a:pt x="2" y="72"/>
                    </a:lnTo>
                    <a:lnTo>
                      <a:pt x="2" y="73"/>
                    </a:lnTo>
                    <a:lnTo>
                      <a:pt x="2" y="74"/>
                    </a:lnTo>
                    <a:lnTo>
                      <a:pt x="2" y="75"/>
                    </a:lnTo>
                    <a:lnTo>
                      <a:pt x="2" y="76"/>
                    </a:lnTo>
                    <a:lnTo>
                      <a:pt x="1" y="77"/>
                    </a:lnTo>
                    <a:lnTo>
                      <a:pt x="1" y="78"/>
                    </a:lnTo>
                    <a:lnTo>
                      <a:pt x="1" y="79"/>
                    </a:lnTo>
                    <a:lnTo>
                      <a:pt x="1" y="80"/>
                    </a:lnTo>
                    <a:lnTo>
                      <a:pt x="1" y="81"/>
                    </a:lnTo>
                    <a:lnTo>
                      <a:pt x="1" y="82"/>
                    </a:lnTo>
                    <a:lnTo>
                      <a:pt x="1" y="83"/>
                    </a:lnTo>
                    <a:lnTo>
                      <a:pt x="1" y="84"/>
                    </a:lnTo>
                    <a:lnTo>
                      <a:pt x="0" y="85"/>
                    </a:lnTo>
                    <a:lnTo>
                      <a:pt x="0" y="86"/>
                    </a:lnTo>
                    <a:lnTo>
                      <a:pt x="0" y="87"/>
                    </a:lnTo>
                    <a:lnTo>
                      <a:pt x="0" y="88"/>
                    </a:lnTo>
                    <a:lnTo>
                      <a:pt x="0" y="89"/>
                    </a:lnTo>
                    <a:lnTo>
                      <a:pt x="0" y="90"/>
                    </a:lnTo>
                    <a:lnTo>
                      <a:pt x="0" y="91"/>
                    </a:lnTo>
                    <a:lnTo>
                      <a:pt x="0" y="92"/>
                    </a:lnTo>
                    <a:lnTo>
                      <a:pt x="0" y="93"/>
                    </a:lnTo>
                    <a:lnTo>
                      <a:pt x="0" y="94"/>
                    </a:lnTo>
                    <a:lnTo>
                      <a:pt x="0" y="95"/>
                    </a:lnTo>
                    <a:lnTo>
                      <a:pt x="0" y="96"/>
                    </a:lnTo>
                    <a:lnTo>
                      <a:pt x="0" y="97"/>
                    </a:lnTo>
                    <a:lnTo>
                      <a:pt x="0" y="98"/>
                    </a:lnTo>
                    <a:lnTo>
                      <a:pt x="0" y="99"/>
                    </a:lnTo>
                    <a:lnTo>
                      <a:pt x="0" y="100"/>
                    </a:lnTo>
                    <a:lnTo>
                      <a:pt x="0" y="101"/>
                    </a:lnTo>
                    <a:lnTo>
                      <a:pt x="0" y="102"/>
                    </a:lnTo>
                    <a:lnTo>
                      <a:pt x="0" y="103"/>
                    </a:lnTo>
                    <a:lnTo>
                      <a:pt x="0" y="104"/>
                    </a:lnTo>
                    <a:lnTo>
                      <a:pt x="1" y="105"/>
                    </a:lnTo>
                    <a:lnTo>
                      <a:pt x="1" y="106"/>
                    </a:lnTo>
                    <a:lnTo>
                      <a:pt x="1" y="107"/>
                    </a:lnTo>
                    <a:lnTo>
                      <a:pt x="1" y="108"/>
                    </a:lnTo>
                    <a:lnTo>
                      <a:pt x="1" y="109"/>
                    </a:lnTo>
                    <a:lnTo>
                      <a:pt x="1" y="110"/>
                    </a:lnTo>
                    <a:lnTo>
                      <a:pt x="1" y="111"/>
                    </a:lnTo>
                    <a:lnTo>
                      <a:pt x="1" y="112"/>
                    </a:lnTo>
                    <a:lnTo>
                      <a:pt x="2" y="113"/>
                    </a:lnTo>
                    <a:lnTo>
                      <a:pt x="2" y="114"/>
                    </a:lnTo>
                    <a:lnTo>
                      <a:pt x="2" y="115"/>
                    </a:lnTo>
                    <a:lnTo>
                      <a:pt x="2" y="116"/>
                    </a:lnTo>
                    <a:lnTo>
                      <a:pt x="2" y="117"/>
                    </a:lnTo>
                    <a:lnTo>
                      <a:pt x="3" y="118"/>
                    </a:lnTo>
                    <a:lnTo>
                      <a:pt x="3" y="119"/>
                    </a:lnTo>
                    <a:lnTo>
                      <a:pt x="3" y="120"/>
                    </a:lnTo>
                    <a:lnTo>
                      <a:pt x="3" y="121"/>
                    </a:lnTo>
                    <a:lnTo>
                      <a:pt x="4" y="122"/>
                    </a:lnTo>
                    <a:lnTo>
                      <a:pt x="4" y="123"/>
                    </a:lnTo>
                    <a:lnTo>
                      <a:pt x="4" y="124"/>
                    </a:lnTo>
                    <a:lnTo>
                      <a:pt x="5" y="125"/>
                    </a:lnTo>
                    <a:lnTo>
                      <a:pt x="5" y="126"/>
                    </a:lnTo>
                    <a:lnTo>
                      <a:pt x="5" y="127"/>
                    </a:lnTo>
                    <a:lnTo>
                      <a:pt x="5" y="128"/>
                    </a:lnTo>
                    <a:lnTo>
                      <a:pt x="6" y="129"/>
                    </a:lnTo>
                    <a:lnTo>
                      <a:pt x="6" y="130"/>
                    </a:lnTo>
                    <a:lnTo>
                      <a:pt x="7" y="131"/>
                    </a:lnTo>
                    <a:lnTo>
                      <a:pt x="7" y="132"/>
                    </a:lnTo>
                    <a:lnTo>
                      <a:pt x="7" y="133"/>
                    </a:lnTo>
                    <a:lnTo>
                      <a:pt x="8" y="134"/>
                    </a:lnTo>
                    <a:lnTo>
                      <a:pt x="8" y="135"/>
                    </a:lnTo>
                    <a:lnTo>
                      <a:pt x="9" y="136"/>
                    </a:lnTo>
                    <a:lnTo>
                      <a:pt x="9" y="137"/>
                    </a:lnTo>
                    <a:lnTo>
                      <a:pt x="9" y="138"/>
                    </a:lnTo>
                    <a:lnTo>
                      <a:pt x="10" y="139"/>
                    </a:lnTo>
                    <a:lnTo>
                      <a:pt x="10" y="140"/>
                    </a:lnTo>
                    <a:lnTo>
                      <a:pt x="11" y="141"/>
                    </a:lnTo>
                    <a:lnTo>
                      <a:pt x="11" y="142"/>
                    </a:lnTo>
                    <a:lnTo>
                      <a:pt x="12" y="143"/>
                    </a:lnTo>
                    <a:lnTo>
                      <a:pt x="12" y="144"/>
                    </a:lnTo>
                    <a:lnTo>
                      <a:pt x="13" y="145"/>
                    </a:lnTo>
                    <a:lnTo>
                      <a:pt x="14" y="146"/>
                    </a:lnTo>
                    <a:lnTo>
                      <a:pt x="14" y="147"/>
                    </a:lnTo>
                    <a:lnTo>
                      <a:pt x="15" y="148"/>
                    </a:lnTo>
                    <a:lnTo>
                      <a:pt x="15" y="149"/>
                    </a:lnTo>
                    <a:lnTo>
                      <a:pt x="16" y="150"/>
                    </a:lnTo>
                    <a:lnTo>
                      <a:pt x="17" y="151"/>
                    </a:lnTo>
                    <a:lnTo>
                      <a:pt x="17" y="152"/>
                    </a:lnTo>
                    <a:lnTo>
                      <a:pt x="18" y="153"/>
                    </a:lnTo>
                    <a:lnTo>
                      <a:pt x="19" y="154"/>
                    </a:lnTo>
                    <a:lnTo>
                      <a:pt x="19" y="155"/>
                    </a:lnTo>
                    <a:lnTo>
                      <a:pt x="20" y="156"/>
                    </a:lnTo>
                    <a:lnTo>
                      <a:pt x="21" y="157"/>
                    </a:lnTo>
                    <a:lnTo>
                      <a:pt x="21" y="158"/>
                    </a:lnTo>
                    <a:lnTo>
                      <a:pt x="22" y="159"/>
                    </a:lnTo>
                    <a:lnTo>
                      <a:pt x="23" y="160"/>
                    </a:lnTo>
                    <a:lnTo>
                      <a:pt x="24" y="161"/>
                    </a:lnTo>
                    <a:lnTo>
                      <a:pt x="25" y="162"/>
                    </a:lnTo>
                    <a:lnTo>
                      <a:pt x="25" y="163"/>
                    </a:lnTo>
                    <a:lnTo>
                      <a:pt x="26" y="164"/>
                    </a:lnTo>
                    <a:lnTo>
                      <a:pt x="27" y="165"/>
                    </a:lnTo>
                    <a:lnTo>
                      <a:pt x="28" y="166"/>
                    </a:lnTo>
                    <a:lnTo>
                      <a:pt x="29" y="167"/>
                    </a:lnTo>
                    <a:lnTo>
                      <a:pt x="30" y="168"/>
                    </a:lnTo>
                    <a:lnTo>
                      <a:pt x="31" y="169"/>
                    </a:lnTo>
                    <a:lnTo>
                      <a:pt x="32" y="170"/>
                    </a:lnTo>
                    <a:lnTo>
                      <a:pt x="33" y="171"/>
                    </a:lnTo>
                    <a:lnTo>
                      <a:pt x="33" y="171"/>
                    </a:lnTo>
                    <a:lnTo>
                      <a:pt x="104" y="95"/>
                    </a:lnTo>
                    <a:lnTo>
                      <a:pt x="60" y="0"/>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30" name="Freeform 311"/>
              <p:cNvSpPr>
                <a:spLocks/>
              </p:cNvSpPr>
              <p:nvPr/>
            </p:nvSpPr>
            <p:spPr bwMode="auto">
              <a:xfrm>
                <a:off x="2392" y="813"/>
                <a:ext cx="201" cy="164"/>
              </a:xfrm>
              <a:custGeom>
                <a:avLst/>
                <a:gdLst>
                  <a:gd name="T0" fmla="*/ 2 w 127"/>
                  <a:gd name="T1" fmla="*/ 78 h 104"/>
                  <a:gd name="T2" fmla="*/ 5 w 127"/>
                  <a:gd name="T3" fmla="*/ 80 h 104"/>
                  <a:gd name="T4" fmla="*/ 8 w 127"/>
                  <a:gd name="T5" fmla="*/ 83 h 104"/>
                  <a:gd name="T6" fmla="*/ 11 w 127"/>
                  <a:gd name="T7" fmla="*/ 85 h 104"/>
                  <a:gd name="T8" fmla="*/ 14 w 127"/>
                  <a:gd name="T9" fmla="*/ 87 h 104"/>
                  <a:gd name="T10" fmla="*/ 17 w 127"/>
                  <a:gd name="T11" fmla="*/ 89 h 104"/>
                  <a:gd name="T12" fmla="*/ 20 w 127"/>
                  <a:gd name="T13" fmla="*/ 91 h 104"/>
                  <a:gd name="T14" fmla="*/ 23 w 127"/>
                  <a:gd name="T15" fmla="*/ 92 h 104"/>
                  <a:gd name="T16" fmla="*/ 26 w 127"/>
                  <a:gd name="T17" fmla="*/ 94 h 104"/>
                  <a:gd name="T18" fmla="*/ 29 w 127"/>
                  <a:gd name="T19" fmla="*/ 95 h 104"/>
                  <a:gd name="T20" fmla="*/ 32 w 127"/>
                  <a:gd name="T21" fmla="*/ 96 h 104"/>
                  <a:gd name="T22" fmla="*/ 35 w 127"/>
                  <a:gd name="T23" fmla="*/ 98 h 104"/>
                  <a:gd name="T24" fmla="*/ 38 w 127"/>
                  <a:gd name="T25" fmla="*/ 99 h 104"/>
                  <a:gd name="T26" fmla="*/ 41 w 127"/>
                  <a:gd name="T27" fmla="*/ 100 h 104"/>
                  <a:gd name="T28" fmla="*/ 44 w 127"/>
                  <a:gd name="T29" fmla="*/ 100 h 104"/>
                  <a:gd name="T30" fmla="*/ 47 w 127"/>
                  <a:gd name="T31" fmla="*/ 101 h 104"/>
                  <a:gd name="T32" fmla="*/ 50 w 127"/>
                  <a:gd name="T33" fmla="*/ 102 h 104"/>
                  <a:gd name="T34" fmla="*/ 53 w 127"/>
                  <a:gd name="T35" fmla="*/ 102 h 104"/>
                  <a:gd name="T36" fmla="*/ 56 w 127"/>
                  <a:gd name="T37" fmla="*/ 103 h 104"/>
                  <a:gd name="T38" fmla="*/ 59 w 127"/>
                  <a:gd name="T39" fmla="*/ 103 h 104"/>
                  <a:gd name="T40" fmla="*/ 62 w 127"/>
                  <a:gd name="T41" fmla="*/ 104 h 104"/>
                  <a:gd name="T42" fmla="*/ 65 w 127"/>
                  <a:gd name="T43" fmla="*/ 104 h 104"/>
                  <a:gd name="T44" fmla="*/ 68 w 127"/>
                  <a:gd name="T45" fmla="*/ 104 h 104"/>
                  <a:gd name="T46" fmla="*/ 71 w 127"/>
                  <a:gd name="T47" fmla="*/ 104 h 104"/>
                  <a:gd name="T48" fmla="*/ 74 w 127"/>
                  <a:gd name="T49" fmla="*/ 104 h 104"/>
                  <a:gd name="T50" fmla="*/ 77 w 127"/>
                  <a:gd name="T51" fmla="*/ 104 h 104"/>
                  <a:gd name="T52" fmla="*/ 80 w 127"/>
                  <a:gd name="T53" fmla="*/ 104 h 104"/>
                  <a:gd name="T54" fmla="*/ 83 w 127"/>
                  <a:gd name="T55" fmla="*/ 103 h 104"/>
                  <a:gd name="T56" fmla="*/ 86 w 127"/>
                  <a:gd name="T57" fmla="*/ 103 h 104"/>
                  <a:gd name="T58" fmla="*/ 89 w 127"/>
                  <a:gd name="T59" fmla="*/ 102 h 104"/>
                  <a:gd name="T60" fmla="*/ 92 w 127"/>
                  <a:gd name="T61" fmla="*/ 102 h 104"/>
                  <a:gd name="T62" fmla="*/ 95 w 127"/>
                  <a:gd name="T63" fmla="*/ 101 h 104"/>
                  <a:gd name="T64" fmla="*/ 98 w 127"/>
                  <a:gd name="T65" fmla="*/ 100 h 104"/>
                  <a:gd name="T66" fmla="*/ 101 w 127"/>
                  <a:gd name="T67" fmla="*/ 100 h 104"/>
                  <a:gd name="T68" fmla="*/ 104 w 127"/>
                  <a:gd name="T69" fmla="*/ 99 h 104"/>
                  <a:gd name="T70" fmla="*/ 107 w 127"/>
                  <a:gd name="T71" fmla="*/ 98 h 104"/>
                  <a:gd name="T72" fmla="*/ 110 w 127"/>
                  <a:gd name="T73" fmla="*/ 96 h 104"/>
                  <a:gd name="T74" fmla="*/ 113 w 127"/>
                  <a:gd name="T75" fmla="*/ 95 h 104"/>
                  <a:gd name="T76" fmla="*/ 116 w 127"/>
                  <a:gd name="T77" fmla="*/ 94 h 104"/>
                  <a:gd name="T78" fmla="*/ 119 w 127"/>
                  <a:gd name="T79" fmla="*/ 92 h 104"/>
                  <a:gd name="T80" fmla="*/ 122 w 127"/>
                  <a:gd name="T81" fmla="*/ 91 h 104"/>
                  <a:gd name="T82" fmla="*/ 125 w 127"/>
                  <a:gd name="T83" fmla="*/ 89 h 104"/>
                  <a:gd name="T84" fmla="*/ 127 w 127"/>
                  <a:gd name="T8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7" h="104">
                    <a:moveTo>
                      <a:pt x="0" y="76"/>
                    </a:moveTo>
                    <a:lnTo>
                      <a:pt x="1" y="77"/>
                    </a:lnTo>
                    <a:lnTo>
                      <a:pt x="2" y="78"/>
                    </a:lnTo>
                    <a:lnTo>
                      <a:pt x="3" y="79"/>
                    </a:lnTo>
                    <a:lnTo>
                      <a:pt x="4" y="79"/>
                    </a:lnTo>
                    <a:lnTo>
                      <a:pt x="5" y="80"/>
                    </a:lnTo>
                    <a:lnTo>
                      <a:pt x="6" y="81"/>
                    </a:lnTo>
                    <a:lnTo>
                      <a:pt x="7" y="82"/>
                    </a:lnTo>
                    <a:lnTo>
                      <a:pt x="8" y="83"/>
                    </a:lnTo>
                    <a:lnTo>
                      <a:pt x="9" y="83"/>
                    </a:lnTo>
                    <a:lnTo>
                      <a:pt x="10" y="84"/>
                    </a:lnTo>
                    <a:lnTo>
                      <a:pt x="11" y="85"/>
                    </a:lnTo>
                    <a:lnTo>
                      <a:pt x="12" y="86"/>
                    </a:lnTo>
                    <a:lnTo>
                      <a:pt x="13" y="86"/>
                    </a:lnTo>
                    <a:lnTo>
                      <a:pt x="14" y="87"/>
                    </a:lnTo>
                    <a:lnTo>
                      <a:pt x="15" y="88"/>
                    </a:lnTo>
                    <a:lnTo>
                      <a:pt x="16" y="88"/>
                    </a:lnTo>
                    <a:lnTo>
                      <a:pt x="17" y="89"/>
                    </a:lnTo>
                    <a:lnTo>
                      <a:pt x="18" y="89"/>
                    </a:lnTo>
                    <a:lnTo>
                      <a:pt x="19" y="90"/>
                    </a:lnTo>
                    <a:lnTo>
                      <a:pt x="20" y="91"/>
                    </a:lnTo>
                    <a:lnTo>
                      <a:pt x="21" y="91"/>
                    </a:lnTo>
                    <a:lnTo>
                      <a:pt x="22" y="92"/>
                    </a:lnTo>
                    <a:lnTo>
                      <a:pt x="23" y="92"/>
                    </a:lnTo>
                    <a:lnTo>
                      <a:pt x="24" y="93"/>
                    </a:lnTo>
                    <a:lnTo>
                      <a:pt x="25" y="93"/>
                    </a:lnTo>
                    <a:lnTo>
                      <a:pt x="26" y="94"/>
                    </a:lnTo>
                    <a:lnTo>
                      <a:pt x="27" y="94"/>
                    </a:lnTo>
                    <a:lnTo>
                      <a:pt x="28" y="95"/>
                    </a:lnTo>
                    <a:lnTo>
                      <a:pt x="29" y="95"/>
                    </a:lnTo>
                    <a:lnTo>
                      <a:pt x="30" y="96"/>
                    </a:lnTo>
                    <a:lnTo>
                      <a:pt x="31" y="96"/>
                    </a:lnTo>
                    <a:lnTo>
                      <a:pt x="32" y="96"/>
                    </a:lnTo>
                    <a:lnTo>
                      <a:pt x="33" y="97"/>
                    </a:lnTo>
                    <a:lnTo>
                      <a:pt x="34" y="97"/>
                    </a:lnTo>
                    <a:lnTo>
                      <a:pt x="35" y="98"/>
                    </a:lnTo>
                    <a:lnTo>
                      <a:pt x="36" y="98"/>
                    </a:lnTo>
                    <a:lnTo>
                      <a:pt x="37" y="98"/>
                    </a:lnTo>
                    <a:lnTo>
                      <a:pt x="38" y="99"/>
                    </a:lnTo>
                    <a:lnTo>
                      <a:pt x="39" y="99"/>
                    </a:lnTo>
                    <a:lnTo>
                      <a:pt x="40" y="99"/>
                    </a:lnTo>
                    <a:lnTo>
                      <a:pt x="41" y="100"/>
                    </a:lnTo>
                    <a:lnTo>
                      <a:pt x="42" y="100"/>
                    </a:lnTo>
                    <a:lnTo>
                      <a:pt x="43" y="100"/>
                    </a:lnTo>
                    <a:lnTo>
                      <a:pt x="44" y="100"/>
                    </a:lnTo>
                    <a:lnTo>
                      <a:pt x="45" y="101"/>
                    </a:lnTo>
                    <a:lnTo>
                      <a:pt x="46" y="101"/>
                    </a:lnTo>
                    <a:lnTo>
                      <a:pt x="47" y="101"/>
                    </a:lnTo>
                    <a:lnTo>
                      <a:pt x="48" y="101"/>
                    </a:lnTo>
                    <a:lnTo>
                      <a:pt x="49" y="102"/>
                    </a:lnTo>
                    <a:lnTo>
                      <a:pt x="50" y="102"/>
                    </a:lnTo>
                    <a:lnTo>
                      <a:pt x="51" y="102"/>
                    </a:lnTo>
                    <a:lnTo>
                      <a:pt x="52" y="102"/>
                    </a:lnTo>
                    <a:lnTo>
                      <a:pt x="53" y="102"/>
                    </a:lnTo>
                    <a:lnTo>
                      <a:pt x="54" y="103"/>
                    </a:lnTo>
                    <a:lnTo>
                      <a:pt x="55" y="103"/>
                    </a:lnTo>
                    <a:lnTo>
                      <a:pt x="56" y="103"/>
                    </a:lnTo>
                    <a:lnTo>
                      <a:pt x="57" y="103"/>
                    </a:lnTo>
                    <a:lnTo>
                      <a:pt x="58" y="103"/>
                    </a:lnTo>
                    <a:lnTo>
                      <a:pt x="59" y="103"/>
                    </a:lnTo>
                    <a:lnTo>
                      <a:pt x="60" y="103"/>
                    </a:lnTo>
                    <a:lnTo>
                      <a:pt x="61" y="104"/>
                    </a:lnTo>
                    <a:lnTo>
                      <a:pt x="62" y="104"/>
                    </a:lnTo>
                    <a:lnTo>
                      <a:pt x="63" y="104"/>
                    </a:lnTo>
                    <a:lnTo>
                      <a:pt x="64" y="104"/>
                    </a:lnTo>
                    <a:lnTo>
                      <a:pt x="65" y="104"/>
                    </a:lnTo>
                    <a:lnTo>
                      <a:pt x="66" y="104"/>
                    </a:lnTo>
                    <a:lnTo>
                      <a:pt x="67" y="104"/>
                    </a:lnTo>
                    <a:lnTo>
                      <a:pt x="68" y="104"/>
                    </a:lnTo>
                    <a:lnTo>
                      <a:pt x="69" y="104"/>
                    </a:lnTo>
                    <a:lnTo>
                      <a:pt x="70" y="104"/>
                    </a:lnTo>
                    <a:lnTo>
                      <a:pt x="71" y="104"/>
                    </a:lnTo>
                    <a:lnTo>
                      <a:pt x="72" y="104"/>
                    </a:lnTo>
                    <a:lnTo>
                      <a:pt x="73" y="104"/>
                    </a:lnTo>
                    <a:lnTo>
                      <a:pt x="74" y="104"/>
                    </a:lnTo>
                    <a:lnTo>
                      <a:pt x="75" y="104"/>
                    </a:lnTo>
                    <a:lnTo>
                      <a:pt x="76" y="104"/>
                    </a:lnTo>
                    <a:lnTo>
                      <a:pt x="77" y="104"/>
                    </a:lnTo>
                    <a:lnTo>
                      <a:pt x="78" y="104"/>
                    </a:lnTo>
                    <a:lnTo>
                      <a:pt x="79" y="104"/>
                    </a:lnTo>
                    <a:lnTo>
                      <a:pt x="80" y="104"/>
                    </a:lnTo>
                    <a:lnTo>
                      <a:pt x="81" y="104"/>
                    </a:lnTo>
                    <a:lnTo>
                      <a:pt x="82" y="103"/>
                    </a:lnTo>
                    <a:lnTo>
                      <a:pt x="83" y="103"/>
                    </a:lnTo>
                    <a:lnTo>
                      <a:pt x="84" y="103"/>
                    </a:lnTo>
                    <a:lnTo>
                      <a:pt x="85" y="103"/>
                    </a:lnTo>
                    <a:lnTo>
                      <a:pt x="86" y="103"/>
                    </a:lnTo>
                    <a:lnTo>
                      <a:pt x="87" y="103"/>
                    </a:lnTo>
                    <a:lnTo>
                      <a:pt x="88" y="103"/>
                    </a:lnTo>
                    <a:lnTo>
                      <a:pt x="89" y="102"/>
                    </a:lnTo>
                    <a:lnTo>
                      <a:pt x="90" y="102"/>
                    </a:lnTo>
                    <a:lnTo>
                      <a:pt x="91" y="102"/>
                    </a:lnTo>
                    <a:lnTo>
                      <a:pt x="92" y="102"/>
                    </a:lnTo>
                    <a:lnTo>
                      <a:pt x="93" y="102"/>
                    </a:lnTo>
                    <a:lnTo>
                      <a:pt x="94" y="101"/>
                    </a:lnTo>
                    <a:lnTo>
                      <a:pt x="95" y="101"/>
                    </a:lnTo>
                    <a:lnTo>
                      <a:pt x="96" y="101"/>
                    </a:lnTo>
                    <a:lnTo>
                      <a:pt x="97" y="101"/>
                    </a:lnTo>
                    <a:lnTo>
                      <a:pt x="98" y="100"/>
                    </a:lnTo>
                    <a:lnTo>
                      <a:pt x="99" y="100"/>
                    </a:lnTo>
                    <a:lnTo>
                      <a:pt x="100" y="100"/>
                    </a:lnTo>
                    <a:lnTo>
                      <a:pt x="101" y="100"/>
                    </a:lnTo>
                    <a:lnTo>
                      <a:pt x="102" y="99"/>
                    </a:lnTo>
                    <a:lnTo>
                      <a:pt x="103" y="99"/>
                    </a:lnTo>
                    <a:lnTo>
                      <a:pt x="104" y="99"/>
                    </a:lnTo>
                    <a:lnTo>
                      <a:pt x="105" y="98"/>
                    </a:lnTo>
                    <a:lnTo>
                      <a:pt x="106" y="98"/>
                    </a:lnTo>
                    <a:lnTo>
                      <a:pt x="107" y="98"/>
                    </a:lnTo>
                    <a:lnTo>
                      <a:pt x="108" y="97"/>
                    </a:lnTo>
                    <a:lnTo>
                      <a:pt x="109" y="97"/>
                    </a:lnTo>
                    <a:lnTo>
                      <a:pt x="110" y="96"/>
                    </a:lnTo>
                    <a:lnTo>
                      <a:pt x="111" y="96"/>
                    </a:lnTo>
                    <a:lnTo>
                      <a:pt x="112" y="96"/>
                    </a:lnTo>
                    <a:lnTo>
                      <a:pt x="113" y="95"/>
                    </a:lnTo>
                    <a:lnTo>
                      <a:pt x="114" y="95"/>
                    </a:lnTo>
                    <a:lnTo>
                      <a:pt x="115" y="94"/>
                    </a:lnTo>
                    <a:lnTo>
                      <a:pt x="116" y="94"/>
                    </a:lnTo>
                    <a:lnTo>
                      <a:pt x="117" y="93"/>
                    </a:lnTo>
                    <a:lnTo>
                      <a:pt x="118" y="93"/>
                    </a:lnTo>
                    <a:lnTo>
                      <a:pt x="119" y="92"/>
                    </a:lnTo>
                    <a:lnTo>
                      <a:pt x="120" y="92"/>
                    </a:lnTo>
                    <a:lnTo>
                      <a:pt x="121" y="91"/>
                    </a:lnTo>
                    <a:lnTo>
                      <a:pt x="122" y="91"/>
                    </a:lnTo>
                    <a:lnTo>
                      <a:pt x="123" y="90"/>
                    </a:lnTo>
                    <a:lnTo>
                      <a:pt x="124" y="89"/>
                    </a:lnTo>
                    <a:lnTo>
                      <a:pt x="125" y="89"/>
                    </a:lnTo>
                    <a:lnTo>
                      <a:pt x="126" y="88"/>
                    </a:lnTo>
                    <a:lnTo>
                      <a:pt x="127" y="88"/>
                    </a:lnTo>
                    <a:lnTo>
                      <a:pt x="127" y="88"/>
                    </a:lnTo>
                    <a:lnTo>
                      <a:pt x="71" y="0"/>
                    </a:lnTo>
                    <a:lnTo>
                      <a:pt x="0" y="76"/>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31" name="Freeform 312"/>
              <p:cNvSpPr>
                <a:spLocks/>
              </p:cNvSpPr>
              <p:nvPr/>
            </p:nvSpPr>
            <p:spPr bwMode="auto">
              <a:xfrm>
                <a:off x="2504" y="813"/>
                <a:ext cx="165" cy="139"/>
              </a:xfrm>
              <a:custGeom>
                <a:avLst/>
                <a:gdLst>
                  <a:gd name="T0" fmla="*/ 57 w 104"/>
                  <a:gd name="T1" fmla="*/ 87 h 88"/>
                  <a:gd name="T2" fmla="*/ 59 w 104"/>
                  <a:gd name="T3" fmla="*/ 86 h 88"/>
                  <a:gd name="T4" fmla="*/ 61 w 104"/>
                  <a:gd name="T5" fmla="*/ 84 h 88"/>
                  <a:gd name="T6" fmla="*/ 63 w 104"/>
                  <a:gd name="T7" fmla="*/ 83 h 88"/>
                  <a:gd name="T8" fmla="*/ 65 w 104"/>
                  <a:gd name="T9" fmla="*/ 81 h 88"/>
                  <a:gd name="T10" fmla="*/ 67 w 104"/>
                  <a:gd name="T11" fmla="*/ 79 h 88"/>
                  <a:gd name="T12" fmla="*/ 69 w 104"/>
                  <a:gd name="T13" fmla="*/ 78 h 88"/>
                  <a:gd name="T14" fmla="*/ 71 w 104"/>
                  <a:gd name="T15" fmla="*/ 76 h 88"/>
                  <a:gd name="T16" fmla="*/ 73 w 104"/>
                  <a:gd name="T17" fmla="*/ 74 h 88"/>
                  <a:gd name="T18" fmla="*/ 75 w 104"/>
                  <a:gd name="T19" fmla="*/ 72 h 88"/>
                  <a:gd name="T20" fmla="*/ 77 w 104"/>
                  <a:gd name="T21" fmla="*/ 70 h 88"/>
                  <a:gd name="T22" fmla="*/ 79 w 104"/>
                  <a:gd name="T23" fmla="*/ 68 h 88"/>
                  <a:gd name="T24" fmla="*/ 80 w 104"/>
                  <a:gd name="T25" fmla="*/ 66 h 88"/>
                  <a:gd name="T26" fmla="*/ 82 w 104"/>
                  <a:gd name="T27" fmla="*/ 64 h 88"/>
                  <a:gd name="T28" fmla="*/ 83 w 104"/>
                  <a:gd name="T29" fmla="*/ 62 h 88"/>
                  <a:gd name="T30" fmla="*/ 85 w 104"/>
                  <a:gd name="T31" fmla="*/ 60 h 88"/>
                  <a:gd name="T32" fmla="*/ 86 w 104"/>
                  <a:gd name="T33" fmla="*/ 58 h 88"/>
                  <a:gd name="T34" fmla="*/ 87 w 104"/>
                  <a:gd name="T35" fmla="*/ 56 h 88"/>
                  <a:gd name="T36" fmla="*/ 89 w 104"/>
                  <a:gd name="T37" fmla="*/ 54 h 88"/>
                  <a:gd name="T38" fmla="*/ 90 w 104"/>
                  <a:gd name="T39" fmla="*/ 52 h 88"/>
                  <a:gd name="T40" fmla="*/ 91 w 104"/>
                  <a:gd name="T41" fmla="*/ 50 h 88"/>
                  <a:gd name="T42" fmla="*/ 92 w 104"/>
                  <a:gd name="T43" fmla="*/ 48 h 88"/>
                  <a:gd name="T44" fmla="*/ 93 w 104"/>
                  <a:gd name="T45" fmla="*/ 46 h 88"/>
                  <a:gd name="T46" fmla="*/ 94 w 104"/>
                  <a:gd name="T47" fmla="*/ 44 h 88"/>
                  <a:gd name="T48" fmla="*/ 95 w 104"/>
                  <a:gd name="T49" fmla="*/ 42 h 88"/>
                  <a:gd name="T50" fmla="*/ 96 w 104"/>
                  <a:gd name="T51" fmla="*/ 40 h 88"/>
                  <a:gd name="T52" fmla="*/ 97 w 104"/>
                  <a:gd name="T53" fmla="*/ 38 h 88"/>
                  <a:gd name="T54" fmla="*/ 97 w 104"/>
                  <a:gd name="T55" fmla="*/ 36 h 88"/>
                  <a:gd name="T56" fmla="*/ 98 w 104"/>
                  <a:gd name="T57" fmla="*/ 34 h 88"/>
                  <a:gd name="T58" fmla="*/ 99 w 104"/>
                  <a:gd name="T59" fmla="*/ 32 h 88"/>
                  <a:gd name="T60" fmla="*/ 99 w 104"/>
                  <a:gd name="T61" fmla="*/ 30 h 88"/>
                  <a:gd name="T62" fmla="*/ 100 w 104"/>
                  <a:gd name="T63" fmla="*/ 28 h 88"/>
                  <a:gd name="T64" fmla="*/ 101 w 104"/>
                  <a:gd name="T65" fmla="*/ 26 h 88"/>
                  <a:gd name="T66" fmla="*/ 101 w 104"/>
                  <a:gd name="T67" fmla="*/ 24 h 88"/>
                  <a:gd name="T68" fmla="*/ 102 w 104"/>
                  <a:gd name="T69" fmla="*/ 22 h 88"/>
                  <a:gd name="T70" fmla="*/ 102 w 104"/>
                  <a:gd name="T71" fmla="*/ 20 h 88"/>
                  <a:gd name="T72" fmla="*/ 102 w 104"/>
                  <a:gd name="T73" fmla="*/ 18 h 88"/>
                  <a:gd name="T74" fmla="*/ 103 w 104"/>
                  <a:gd name="T75" fmla="*/ 16 h 88"/>
                  <a:gd name="T76" fmla="*/ 103 w 104"/>
                  <a:gd name="T77" fmla="*/ 14 h 88"/>
                  <a:gd name="T78" fmla="*/ 103 w 104"/>
                  <a:gd name="T79" fmla="*/ 12 h 88"/>
                  <a:gd name="T80" fmla="*/ 103 w 104"/>
                  <a:gd name="T81" fmla="*/ 10 h 88"/>
                  <a:gd name="T82" fmla="*/ 104 w 104"/>
                  <a:gd name="T83" fmla="*/ 8 h 88"/>
                  <a:gd name="T84" fmla="*/ 104 w 104"/>
                  <a:gd name="T85" fmla="*/ 6 h 88"/>
                  <a:gd name="T86" fmla="*/ 104 w 104"/>
                  <a:gd name="T87" fmla="*/ 4 h 88"/>
                  <a:gd name="T88" fmla="*/ 104 w 104"/>
                  <a:gd name="T89" fmla="*/ 2 h 88"/>
                  <a:gd name="T90" fmla="*/ 104 w 104"/>
                  <a:gd name="T91" fmla="*/ 0 h 88"/>
                  <a:gd name="T92" fmla="*/ 0 w 104"/>
                  <a:gd name="T93"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88">
                    <a:moveTo>
                      <a:pt x="56" y="88"/>
                    </a:moveTo>
                    <a:lnTo>
                      <a:pt x="57" y="87"/>
                    </a:lnTo>
                    <a:lnTo>
                      <a:pt x="58" y="86"/>
                    </a:lnTo>
                    <a:lnTo>
                      <a:pt x="59" y="86"/>
                    </a:lnTo>
                    <a:lnTo>
                      <a:pt x="60" y="85"/>
                    </a:lnTo>
                    <a:lnTo>
                      <a:pt x="61" y="84"/>
                    </a:lnTo>
                    <a:lnTo>
                      <a:pt x="62" y="83"/>
                    </a:lnTo>
                    <a:lnTo>
                      <a:pt x="63" y="83"/>
                    </a:lnTo>
                    <a:lnTo>
                      <a:pt x="64" y="82"/>
                    </a:lnTo>
                    <a:lnTo>
                      <a:pt x="65" y="81"/>
                    </a:lnTo>
                    <a:lnTo>
                      <a:pt x="66" y="80"/>
                    </a:lnTo>
                    <a:lnTo>
                      <a:pt x="67" y="79"/>
                    </a:lnTo>
                    <a:lnTo>
                      <a:pt x="68" y="79"/>
                    </a:lnTo>
                    <a:lnTo>
                      <a:pt x="69" y="78"/>
                    </a:lnTo>
                    <a:lnTo>
                      <a:pt x="70" y="77"/>
                    </a:lnTo>
                    <a:lnTo>
                      <a:pt x="71" y="76"/>
                    </a:lnTo>
                    <a:lnTo>
                      <a:pt x="72" y="75"/>
                    </a:lnTo>
                    <a:lnTo>
                      <a:pt x="73" y="74"/>
                    </a:lnTo>
                    <a:lnTo>
                      <a:pt x="74" y="73"/>
                    </a:lnTo>
                    <a:lnTo>
                      <a:pt x="75" y="72"/>
                    </a:lnTo>
                    <a:lnTo>
                      <a:pt x="76" y="71"/>
                    </a:lnTo>
                    <a:lnTo>
                      <a:pt x="77" y="70"/>
                    </a:lnTo>
                    <a:lnTo>
                      <a:pt x="78" y="69"/>
                    </a:lnTo>
                    <a:lnTo>
                      <a:pt x="79" y="68"/>
                    </a:lnTo>
                    <a:lnTo>
                      <a:pt x="79" y="67"/>
                    </a:lnTo>
                    <a:lnTo>
                      <a:pt x="80" y="66"/>
                    </a:lnTo>
                    <a:lnTo>
                      <a:pt x="81" y="65"/>
                    </a:lnTo>
                    <a:lnTo>
                      <a:pt x="82" y="64"/>
                    </a:lnTo>
                    <a:lnTo>
                      <a:pt x="83" y="63"/>
                    </a:lnTo>
                    <a:lnTo>
                      <a:pt x="83" y="62"/>
                    </a:lnTo>
                    <a:lnTo>
                      <a:pt x="84" y="61"/>
                    </a:lnTo>
                    <a:lnTo>
                      <a:pt x="85" y="60"/>
                    </a:lnTo>
                    <a:lnTo>
                      <a:pt x="85" y="59"/>
                    </a:lnTo>
                    <a:lnTo>
                      <a:pt x="86" y="58"/>
                    </a:lnTo>
                    <a:lnTo>
                      <a:pt x="87" y="57"/>
                    </a:lnTo>
                    <a:lnTo>
                      <a:pt x="87" y="56"/>
                    </a:lnTo>
                    <a:lnTo>
                      <a:pt x="88" y="55"/>
                    </a:lnTo>
                    <a:lnTo>
                      <a:pt x="89" y="54"/>
                    </a:lnTo>
                    <a:lnTo>
                      <a:pt x="89" y="53"/>
                    </a:lnTo>
                    <a:lnTo>
                      <a:pt x="90" y="52"/>
                    </a:lnTo>
                    <a:lnTo>
                      <a:pt x="90" y="51"/>
                    </a:lnTo>
                    <a:lnTo>
                      <a:pt x="91" y="50"/>
                    </a:lnTo>
                    <a:lnTo>
                      <a:pt x="92" y="49"/>
                    </a:lnTo>
                    <a:lnTo>
                      <a:pt x="92" y="48"/>
                    </a:lnTo>
                    <a:lnTo>
                      <a:pt x="93" y="47"/>
                    </a:lnTo>
                    <a:lnTo>
                      <a:pt x="93" y="46"/>
                    </a:lnTo>
                    <a:lnTo>
                      <a:pt x="94" y="45"/>
                    </a:lnTo>
                    <a:lnTo>
                      <a:pt x="94" y="44"/>
                    </a:lnTo>
                    <a:lnTo>
                      <a:pt x="95" y="43"/>
                    </a:lnTo>
                    <a:lnTo>
                      <a:pt x="95" y="42"/>
                    </a:lnTo>
                    <a:lnTo>
                      <a:pt x="95" y="41"/>
                    </a:lnTo>
                    <a:lnTo>
                      <a:pt x="96" y="40"/>
                    </a:lnTo>
                    <a:lnTo>
                      <a:pt x="96" y="39"/>
                    </a:lnTo>
                    <a:lnTo>
                      <a:pt x="97" y="38"/>
                    </a:lnTo>
                    <a:lnTo>
                      <a:pt x="97" y="37"/>
                    </a:lnTo>
                    <a:lnTo>
                      <a:pt x="97" y="36"/>
                    </a:lnTo>
                    <a:lnTo>
                      <a:pt x="98" y="35"/>
                    </a:lnTo>
                    <a:lnTo>
                      <a:pt x="98" y="34"/>
                    </a:lnTo>
                    <a:lnTo>
                      <a:pt x="99" y="33"/>
                    </a:lnTo>
                    <a:lnTo>
                      <a:pt x="99" y="32"/>
                    </a:lnTo>
                    <a:lnTo>
                      <a:pt x="99" y="31"/>
                    </a:lnTo>
                    <a:lnTo>
                      <a:pt x="99" y="30"/>
                    </a:lnTo>
                    <a:lnTo>
                      <a:pt x="100" y="29"/>
                    </a:lnTo>
                    <a:lnTo>
                      <a:pt x="100" y="28"/>
                    </a:lnTo>
                    <a:lnTo>
                      <a:pt x="100" y="27"/>
                    </a:lnTo>
                    <a:lnTo>
                      <a:pt x="101" y="26"/>
                    </a:lnTo>
                    <a:lnTo>
                      <a:pt x="101" y="25"/>
                    </a:lnTo>
                    <a:lnTo>
                      <a:pt x="101" y="24"/>
                    </a:lnTo>
                    <a:lnTo>
                      <a:pt x="101" y="23"/>
                    </a:lnTo>
                    <a:lnTo>
                      <a:pt x="102" y="22"/>
                    </a:lnTo>
                    <a:lnTo>
                      <a:pt x="102" y="21"/>
                    </a:lnTo>
                    <a:lnTo>
                      <a:pt x="102" y="20"/>
                    </a:lnTo>
                    <a:lnTo>
                      <a:pt x="102" y="19"/>
                    </a:lnTo>
                    <a:lnTo>
                      <a:pt x="102" y="18"/>
                    </a:lnTo>
                    <a:lnTo>
                      <a:pt x="103" y="17"/>
                    </a:lnTo>
                    <a:lnTo>
                      <a:pt x="103" y="16"/>
                    </a:lnTo>
                    <a:lnTo>
                      <a:pt x="103" y="15"/>
                    </a:lnTo>
                    <a:lnTo>
                      <a:pt x="103" y="14"/>
                    </a:lnTo>
                    <a:lnTo>
                      <a:pt x="103" y="13"/>
                    </a:lnTo>
                    <a:lnTo>
                      <a:pt x="103" y="12"/>
                    </a:lnTo>
                    <a:lnTo>
                      <a:pt x="103" y="11"/>
                    </a:lnTo>
                    <a:lnTo>
                      <a:pt x="103" y="10"/>
                    </a:lnTo>
                    <a:lnTo>
                      <a:pt x="104" y="9"/>
                    </a:lnTo>
                    <a:lnTo>
                      <a:pt x="104" y="8"/>
                    </a:lnTo>
                    <a:lnTo>
                      <a:pt x="104" y="7"/>
                    </a:lnTo>
                    <a:lnTo>
                      <a:pt x="104" y="6"/>
                    </a:lnTo>
                    <a:lnTo>
                      <a:pt x="104" y="5"/>
                    </a:lnTo>
                    <a:lnTo>
                      <a:pt x="104" y="4"/>
                    </a:lnTo>
                    <a:lnTo>
                      <a:pt x="104" y="3"/>
                    </a:lnTo>
                    <a:lnTo>
                      <a:pt x="104" y="2"/>
                    </a:lnTo>
                    <a:lnTo>
                      <a:pt x="104" y="1"/>
                    </a:lnTo>
                    <a:lnTo>
                      <a:pt x="104" y="0"/>
                    </a:lnTo>
                    <a:lnTo>
                      <a:pt x="104" y="0"/>
                    </a:lnTo>
                    <a:lnTo>
                      <a:pt x="0" y="0"/>
                    </a:lnTo>
                    <a:lnTo>
                      <a:pt x="56" y="88"/>
                    </a:lnTo>
                    <a:close/>
                  </a:path>
                </a:pathLst>
              </a:custGeom>
              <a:solidFill>
                <a:srgbClr val="289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34" name="Rectangle 315"/>
              <p:cNvSpPr>
                <a:spLocks noChangeArrowheads="1"/>
              </p:cNvSpPr>
              <p:nvPr/>
            </p:nvSpPr>
            <p:spPr bwMode="auto">
              <a:xfrm>
                <a:off x="2493" y="2259"/>
                <a:ext cx="29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dirty="0">
                    <a:solidFill>
                      <a:srgbClr val="000000"/>
                    </a:solidFill>
                    <a:ea typeface="+mn-ea"/>
                    <a:cs typeface="Arial" panose="020B0604020202020204" pitchFamily="34" charset="0"/>
                  </a:rPr>
                  <a:t>Rukwa</a:t>
                </a:r>
                <a:endParaRPr lang="en-US" altLang="en-US" sz="975" kern="1200" dirty="0">
                  <a:solidFill>
                    <a:prstClr val="black"/>
                  </a:solidFill>
                  <a:ea typeface="+mn-ea"/>
                  <a:cs typeface="Arial" panose="020B0604020202020204" pitchFamily="34" charset="0"/>
                </a:endParaRPr>
              </a:p>
            </p:txBody>
          </p:sp>
          <p:sp>
            <p:nvSpPr>
              <p:cNvPr id="135" name="Rectangle 316"/>
              <p:cNvSpPr>
                <a:spLocks noChangeArrowheads="1"/>
              </p:cNvSpPr>
              <p:nvPr/>
            </p:nvSpPr>
            <p:spPr bwMode="auto">
              <a:xfrm>
                <a:off x="3714" y="2903"/>
                <a:ext cx="24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dirty="0">
                    <a:solidFill>
                      <a:srgbClr val="000000"/>
                    </a:solidFill>
                    <a:ea typeface="+mn-ea"/>
                    <a:cs typeface="Arial" panose="020B0604020202020204" pitchFamily="34" charset="0"/>
                  </a:rPr>
                  <a:t>Iringa</a:t>
                </a:r>
                <a:endParaRPr lang="en-US" altLang="en-US" sz="975" kern="1200" dirty="0">
                  <a:solidFill>
                    <a:prstClr val="black"/>
                  </a:solidFill>
                  <a:ea typeface="+mn-ea"/>
                  <a:cs typeface="Arial" panose="020B0604020202020204" pitchFamily="34" charset="0"/>
                </a:endParaRPr>
              </a:p>
            </p:txBody>
          </p:sp>
          <p:sp>
            <p:nvSpPr>
              <p:cNvPr id="136" name="Rectangle 317"/>
              <p:cNvSpPr>
                <a:spLocks noChangeArrowheads="1"/>
              </p:cNvSpPr>
              <p:nvPr/>
            </p:nvSpPr>
            <p:spPr bwMode="auto">
              <a:xfrm>
                <a:off x="3076" y="2835"/>
                <a:ext cx="290"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dirty="0">
                    <a:solidFill>
                      <a:srgbClr val="000000"/>
                    </a:solidFill>
                    <a:ea typeface="+mn-ea"/>
                    <a:cs typeface="Arial" panose="020B0604020202020204" pitchFamily="34" charset="0"/>
                  </a:rPr>
                  <a:t>Mbeya</a:t>
                </a:r>
                <a:endParaRPr lang="en-US" altLang="en-US" sz="975" kern="1200" dirty="0">
                  <a:solidFill>
                    <a:prstClr val="black"/>
                  </a:solidFill>
                  <a:ea typeface="+mn-ea"/>
                  <a:cs typeface="Arial" panose="020B0604020202020204" pitchFamily="34" charset="0"/>
                </a:endParaRPr>
              </a:p>
            </p:txBody>
          </p:sp>
          <p:sp>
            <p:nvSpPr>
              <p:cNvPr id="137" name="Rectangle 318"/>
              <p:cNvSpPr>
                <a:spLocks noChangeArrowheads="1"/>
              </p:cNvSpPr>
              <p:nvPr/>
            </p:nvSpPr>
            <p:spPr bwMode="auto">
              <a:xfrm>
                <a:off x="4051" y="3630"/>
                <a:ext cx="35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dirty="0">
                    <a:solidFill>
                      <a:srgbClr val="000000"/>
                    </a:solidFill>
                    <a:ea typeface="+mn-ea"/>
                    <a:cs typeface="Arial" panose="020B0604020202020204" pitchFamily="34" charset="0"/>
                  </a:rPr>
                  <a:t>Ruvuma</a:t>
                </a:r>
                <a:endParaRPr lang="en-US" altLang="en-US" sz="975" kern="1200" dirty="0">
                  <a:solidFill>
                    <a:prstClr val="black"/>
                  </a:solidFill>
                  <a:ea typeface="+mn-ea"/>
                  <a:cs typeface="Arial" panose="020B0604020202020204" pitchFamily="34" charset="0"/>
                </a:endParaRPr>
              </a:p>
            </p:txBody>
          </p:sp>
          <p:sp>
            <p:nvSpPr>
              <p:cNvPr id="138" name="Rectangle 319"/>
              <p:cNvSpPr>
                <a:spLocks noChangeArrowheads="1"/>
              </p:cNvSpPr>
              <p:nvPr/>
            </p:nvSpPr>
            <p:spPr bwMode="auto">
              <a:xfrm>
                <a:off x="4332" y="2751"/>
                <a:ext cx="41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a:solidFill>
                      <a:srgbClr val="000000"/>
                    </a:solidFill>
                    <a:ea typeface="+mn-ea"/>
                    <a:cs typeface="Arial" panose="020B0604020202020204" pitchFamily="34" charset="0"/>
                  </a:rPr>
                  <a:t>Morogoro</a:t>
                </a:r>
                <a:endParaRPr lang="en-US" altLang="en-US" sz="975" kern="1200">
                  <a:solidFill>
                    <a:prstClr val="black"/>
                  </a:solidFill>
                  <a:ea typeface="+mn-ea"/>
                  <a:cs typeface="Arial" panose="020B0604020202020204" pitchFamily="34" charset="0"/>
                </a:endParaRPr>
              </a:p>
            </p:txBody>
          </p:sp>
          <p:sp>
            <p:nvSpPr>
              <p:cNvPr id="140" name="Rectangle 321"/>
              <p:cNvSpPr>
                <a:spLocks noChangeArrowheads="1"/>
              </p:cNvSpPr>
              <p:nvPr/>
            </p:nvSpPr>
            <p:spPr bwMode="auto">
              <a:xfrm>
                <a:off x="2212" y="1449"/>
                <a:ext cx="327"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dirty="0">
                    <a:solidFill>
                      <a:srgbClr val="000000"/>
                    </a:solidFill>
                    <a:ea typeface="+mn-ea"/>
                    <a:cs typeface="Arial" panose="020B0604020202020204" pitchFamily="34" charset="0"/>
                  </a:rPr>
                  <a:t>Kigoma</a:t>
                </a:r>
                <a:endParaRPr lang="en-US" altLang="en-US" sz="975" kern="1200" dirty="0">
                  <a:solidFill>
                    <a:prstClr val="black"/>
                  </a:solidFill>
                  <a:ea typeface="+mn-ea"/>
                  <a:cs typeface="Arial" panose="020B0604020202020204" pitchFamily="34" charset="0"/>
                </a:endParaRPr>
              </a:p>
            </p:txBody>
          </p:sp>
          <p:sp>
            <p:nvSpPr>
              <p:cNvPr id="141" name="Rectangle 322"/>
              <p:cNvSpPr>
                <a:spLocks noChangeArrowheads="1"/>
              </p:cNvSpPr>
              <p:nvPr/>
            </p:nvSpPr>
            <p:spPr bwMode="auto">
              <a:xfrm>
                <a:off x="3389" y="712"/>
                <a:ext cx="220"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a:solidFill>
                      <a:srgbClr val="000000"/>
                    </a:solidFill>
                    <a:ea typeface="+mn-ea"/>
                    <a:cs typeface="Arial" panose="020B0604020202020204" pitchFamily="34" charset="0"/>
                  </a:rPr>
                  <a:t>Mara</a:t>
                </a:r>
                <a:endParaRPr lang="en-US" altLang="en-US" sz="975" kern="1200">
                  <a:solidFill>
                    <a:prstClr val="black"/>
                  </a:solidFill>
                  <a:ea typeface="+mn-ea"/>
                  <a:cs typeface="Arial" panose="020B0604020202020204" pitchFamily="34" charset="0"/>
                </a:endParaRPr>
              </a:p>
            </p:txBody>
          </p:sp>
          <p:sp>
            <p:nvSpPr>
              <p:cNvPr id="143" name="Rectangle 324"/>
              <p:cNvSpPr>
                <a:spLocks noChangeArrowheads="1"/>
              </p:cNvSpPr>
              <p:nvPr/>
            </p:nvSpPr>
            <p:spPr bwMode="auto">
              <a:xfrm>
                <a:off x="2665" y="668"/>
                <a:ext cx="31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dirty="0">
                    <a:solidFill>
                      <a:srgbClr val="000000"/>
                    </a:solidFill>
                    <a:ea typeface="+mn-ea"/>
                    <a:cs typeface="Arial" panose="020B0604020202020204" pitchFamily="34" charset="0"/>
                  </a:rPr>
                  <a:t>Kagera</a:t>
                </a:r>
                <a:endParaRPr lang="en-US" altLang="en-US" sz="975" kern="1200" dirty="0">
                  <a:solidFill>
                    <a:prstClr val="black"/>
                  </a:solidFill>
                  <a:ea typeface="+mn-ea"/>
                  <a:cs typeface="Arial" panose="020B0604020202020204" pitchFamily="34" charset="0"/>
                </a:endParaRPr>
              </a:p>
            </p:txBody>
          </p:sp>
          <p:sp>
            <p:nvSpPr>
              <p:cNvPr id="145" name="Rectangle 326"/>
              <p:cNvSpPr>
                <a:spLocks noChangeArrowheads="1"/>
              </p:cNvSpPr>
              <p:nvPr/>
            </p:nvSpPr>
            <p:spPr bwMode="auto">
              <a:xfrm>
                <a:off x="3905" y="2103"/>
                <a:ext cx="36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dirty="0">
                    <a:solidFill>
                      <a:srgbClr val="000000"/>
                    </a:solidFill>
                    <a:ea typeface="+mn-ea"/>
                    <a:cs typeface="Arial" panose="020B0604020202020204" pitchFamily="34" charset="0"/>
                  </a:rPr>
                  <a:t>Dodoma</a:t>
                </a:r>
                <a:endParaRPr lang="en-US" altLang="en-US" sz="975" kern="1200" dirty="0">
                  <a:solidFill>
                    <a:prstClr val="black"/>
                  </a:solidFill>
                  <a:ea typeface="+mn-ea"/>
                  <a:cs typeface="Arial" panose="020B0604020202020204" pitchFamily="34" charset="0"/>
                </a:endParaRPr>
              </a:p>
            </p:txBody>
          </p:sp>
          <p:sp>
            <p:nvSpPr>
              <p:cNvPr id="146" name="Rectangle 327"/>
              <p:cNvSpPr>
                <a:spLocks noChangeArrowheads="1"/>
              </p:cNvSpPr>
              <p:nvPr/>
            </p:nvSpPr>
            <p:spPr bwMode="auto">
              <a:xfrm>
                <a:off x="2921" y="1358"/>
                <a:ext cx="45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a:solidFill>
                      <a:srgbClr val="000000"/>
                    </a:solidFill>
                    <a:ea typeface="+mn-ea"/>
                    <a:cs typeface="Arial" panose="020B0604020202020204" pitchFamily="34" charset="0"/>
                  </a:rPr>
                  <a:t>Shinyanga</a:t>
                </a:r>
                <a:endParaRPr lang="en-US" altLang="en-US" sz="975" kern="1200">
                  <a:solidFill>
                    <a:prstClr val="black"/>
                  </a:solidFill>
                  <a:ea typeface="+mn-ea"/>
                  <a:cs typeface="Arial" panose="020B0604020202020204" pitchFamily="34" charset="0"/>
                </a:endParaRPr>
              </a:p>
            </p:txBody>
          </p:sp>
          <p:sp>
            <p:nvSpPr>
              <p:cNvPr id="148" name="Rectangle 329"/>
              <p:cNvSpPr>
                <a:spLocks noChangeArrowheads="1"/>
              </p:cNvSpPr>
              <p:nvPr/>
            </p:nvSpPr>
            <p:spPr bwMode="auto">
              <a:xfrm>
                <a:off x="2869" y="986"/>
                <a:ext cx="35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a:solidFill>
                      <a:srgbClr val="000000"/>
                    </a:solidFill>
                    <a:ea typeface="+mn-ea"/>
                    <a:cs typeface="Arial" panose="020B0604020202020204" pitchFamily="34" charset="0"/>
                  </a:rPr>
                  <a:t>Mwanza</a:t>
                </a:r>
                <a:endParaRPr lang="en-US" altLang="en-US" sz="975" kern="1200">
                  <a:solidFill>
                    <a:prstClr val="black"/>
                  </a:solidFill>
                  <a:ea typeface="+mn-ea"/>
                  <a:cs typeface="Arial" panose="020B0604020202020204" pitchFamily="34" charset="0"/>
                </a:endParaRPr>
              </a:p>
            </p:txBody>
          </p:sp>
          <p:sp>
            <p:nvSpPr>
              <p:cNvPr id="149" name="Rectangle 330"/>
              <p:cNvSpPr>
                <a:spLocks noChangeArrowheads="1"/>
              </p:cNvSpPr>
              <p:nvPr/>
            </p:nvSpPr>
            <p:spPr bwMode="auto">
              <a:xfrm>
                <a:off x="4207" y="1716"/>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dirty="0">
                    <a:solidFill>
                      <a:srgbClr val="000000"/>
                    </a:solidFill>
                    <a:ea typeface="+mn-ea"/>
                    <a:cs typeface="Arial" panose="020B0604020202020204" pitchFamily="34" charset="0"/>
                  </a:rPr>
                  <a:t>Manyara</a:t>
                </a:r>
                <a:endParaRPr lang="en-US" altLang="en-US" sz="975" kern="1200" dirty="0">
                  <a:solidFill>
                    <a:prstClr val="black"/>
                  </a:solidFill>
                  <a:ea typeface="+mn-ea"/>
                  <a:cs typeface="Arial" panose="020B0604020202020204" pitchFamily="34" charset="0"/>
                </a:endParaRPr>
              </a:p>
            </p:txBody>
          </p:sp>
          <p:sp>
            <p:nvSpPr>
              <p:cNvPr id="151" name="Rectangle 332"/>
              <p:cNvSpPr>
                <a:spLocks noChangeArrowheads="1"/>
              </p:cNvSpPr>
              <p:nvPr/>
            </p:nvSpPr>
            <p:spPr bwMode="auto">
              <a:xfrm>
                <a:off x="3709" y="1488"/>
                <a:ext cx="37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dirty="0">
                    <a:solidFill>
                      <a:srgbClr val="000000"/>
                    </a:solidFill>
                    <a:ea typeface="+mn-ea"/>
                    <a:cs typeface="Arial" panose="020B0604020202020204" pitchFamily="34" charset="0"/>
                  </a:rPr>
                  <a:t>Manyara</a:t>
                </a:r>
                <a:endParaRPr lang="en-US" altLang="en-US" sz="975" kern="1200" dirty="0">
                  <a:solidFill>
                    <a:prstClr val="black"/>
                  </a:solidFill>
                  <a:ea typeface="+mn-ea"/>
                  <a:cs typeface="Arial" panose="020B0604020202020204" pitchFamily="34" charset="0"/>
                </a:endParaRPr>
              </a:p>
            </p:txBody>
          </p:sp>
          <p:sp>
            <p:nvSpPr>
              <p:cNvPr id="161" name="Line 342"/>
              <p:cNvSpPr>
                <a:spLocks noChangeShapeType="1"/>
              </p:cNvSpPr>
              <p:nvPr/>
            </p:nvSpPr>
            <p:spPr bwMode="auto">
              <a:xfrm flipV="1">
                <a:off x="3713" y="505"/>
                <a:ext cx="0" cy="3493"/>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62" name="Line 343"/>
              <p:cNvSpPr>
                <a:spLocks noChangeShapeType="1"/>
              </p:cNvSpPr>
              <p:nvPr/>
            </p:nvSpPr>
            <p:spPr bwMode="auto">
              <a:xfrm flipV="1">
                <a:off x="2089" y="505"/>
                <a:ext cx="0" cy="3493"/>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63" name="Line 344"/>
              <p:cNvSpPr>
                <a:spLocks noChangeShapeType="1"/>
              </p:cNvSpPr>
              <p:nvPr/>
            </p:nvSpPr>
            <p:spPr bwMode="auto">
              <a:xfrm>
                <a:off x="679" y="1968"/>
                <a:ext cx="6262" cy="0"/>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67" name="Line 348"/>
              <p:cNvSpPr>
                <a:spLocks noChangeShapeType="1"/>
              </p:cNvSpPr>
              <p:nvPr/>
            </p:nvSpPr>
            <p:spPr bwMode="auto">
              <a:xfrm flipV="1">
                <a:off x="5338" y="472"/>
                <a:ext cx="0" cy="33"/>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68" name="Rectangle 349"/>
              <p:cNvSpPr>
                <a:spLocks noChangeArrowheads="1"/>
              </p:cNvSpPr>
              <p:nvPr/>
            </p:nvSpPr>
            <p:spPr bwMode="auto">
              <a:xfrm>
                <a:off x="5253" y="423"/>
                <a:ext cx="155"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kern="1200">
                    <a:solidFill>
                      <a:srgbClr val="000000"/>
                    </a:solidFill>
                    <a:ea typeface="+mn-ea"/>
                    <a:cs typeface="Arial" panose="020B0604020202020204" pitchFamily="34" charset="0"/>
                  </a:rPr>
                  <a:t>40°0'0"E</a:t>
                </a:r>
                <a:endParaRPr lang="en-US" altLang="en-US" sz="1463" kern="1200">
                  <a:solidFill>
                    <a:prstClr val="black"/>
                  </a:solidFill>
                  <a:ea typeface="+mn-ea"/>
                  <a:cs typeface="Arial" panose="020B0604020202020204" pitchFamily="34" charset="0"/>
                </a:endParaRPr>
              </a:p>
            </p:txBody>
          </p:sp>
          <p:sp>
            <p:nvSpPr>
              <p:cNvPr id="170" name="Rectangle 351"/>
              <p:cNvSpPr>
                <a:spLocks noChangeArrowheads="1"/>
              </p:cNvSpPr>
              <p:nvPr/>
            </p:nvSpPr>
            <p:spPr bwMode="auto">
              <a:xfrm>
                <a:off x="3628" y="4038"/>
                <a:ext cx="0"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endParaRPr lang="en-US" altLang="en-US" sz="1463" kern="1200" dirty="0">
                  <a:solidFill>
                    <a:prstClr val="black"/>
                  </a:solidFill>
                  <a:ea typeface="+mn-ea"/>
                  <a:cs typeface="Arial" panose="020B0604020202020204" pitchFamily="34" charset="0"/>
                </a:endParaRPr>
              </a:p>
            </p:txBody>
          </p:sp>
          <p:sp>
            <p:nvSpPr>
              <p:cNvPr id="171" name="Line 352"/>
              <p:cNvSpPr>
                <a:spLocks noChangeShapeType="1"/>
              </p:cNvSpPr>
              <p:nvPr/>
            </p:nvSpPr>
            <p:spPr bwMode="auto">
              <a:xfrm flipV="1">
                <a:off x="3713" y="472"/>
                <a:ext cx="0" cy="33"/>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72" name="Rectangle 353"/>
              <p:cNvSpPr>
                <a:spLocks noChangeArrowheads="1"/>
              </p:cNvSpPr>
              <p:nvPr/>
            </p:nvSpPr>
            <p:spPr bwMode="auto">
              <a:xfrm>
                <a:off x="3628" y="423"/>
                <a:ext cx="155"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kern="1200">
                    <a:solidFill>
                      <a:srgbClr val="000000"/>
                    </a:solidFill>
                    <a:ea typeface="+mn-ea"/>
                    <a:cs typeface="Arial" panose="020B0604020202020204" pitchFamily="34" charset="0"/>
                  </a:rPr>
                  <a:t>35°0'0"E</a:t>
                </a:r>
                <a:endParaRPr lang="en-US" altLang="en-US" sz="1463" kern="1200">
                  <a:solidFill>
                    <a:prstClr val="black"/>
                  </a:solidFill>
                  <a:ea typeface="+mn-ea"/>
                  <a:cs typeface="Arial" panose="020B0604020202020204" pitchFamily="34" charset="0"/>
                </a:endParaRPr>
              </a:p>
            </p:txBody>
          </p:sp>
          <p:sp>
            <p:nvSpPr>
              <p:cNvPr id="175" name="Line 356"/>
              <p:cNvSpPr>
                <a:spLocks noChangeShapeType="1"/>
              </p:cNvSpPr>
              <p:nvPr/>
            </p:nvSpPr>
            <p:spPr bwMode="auto">
              <a:xfrm flipV="1">
                <a:off x="2089" y="472"/>
                <a:ext cx="0" cy="33"/>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76" name="Rectangle 357"/>
              <p:cNvSpPr>
                <a:spLocks noChangeArrowheads="1"/>
              </p:cNvSpPr>
              <p:nvPr/>
            </p:nvSpPr>
            <p:spPr bwMode="auto">
              <a:xfrm>
                <a:off x="2004" y="423"/>
                <a:ext cx="155"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kern="1200">
                    <a:solidFill>
                      <a:srgbClr val="000000"/>
                    </a:solidFill>
                    <a:ea typeface="+mn-ea"/>
                    <a:cs typeface="Arial" panose="020B0604020202020204" pitchFamily="34" charset="0"/>
                  </a:rPr>
                  <a:t>30°0'0"E</a:t>
                </a:r>
                <a:endParaRPr lang="en-US" altLang="en-US" sz="1463" kern="1200">
                  <a:solidFill>
                    <a:prstClr val="black"/>
                  </a:solidFill>
                  <a:ea typeface="+mn-ea"/>
                  <a:cs typeface="Arial" panose="020B0604020202020204" pitchFamily="34" charset="0"/>
                </a:endParaRPr>
              </a:p>
            </p:txBody>
          </p:sp>
          <p:sp>
            <p:nvSpPr>
              <p:cNvPr id="177" name="Line 358"/>
              <p:cNvSpPr>
                <a:spLocks noChangeShapeType="1"/>
              </p:cNvSpPr>
              <p:nvPr/>
            </p:nvSpPr>
            <p:spPr bwMode="auto">
              <a:xfrm flipH="1">
                <a:off x="648" y="1842"/>
                <a:ext cx="31"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78" name="Rectangle 359"/>
              <p:cNvSpPr>
                <a:spLocks noChangeArrowheads="1"/>
              </p:cNvSpPr>
              <p:nvPr/>
            </p:nvSpPr>
            <p:spPr bwMode="auto">
              <a:xfrm>
                <a:off x="491" y="1824"/>
                <a:ext cx="13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kern="1200">
                    <a:solidFill>
                      <a:srgbClr val="000000"/>
                    </a:solidFill>
                    <a:ea typeface="+mn-ea"/>
                    <a:cs typeface="Arial" panose="020B0604020202020204" pitchFamily="34" charset="0"/>
                  </a:rPr>
                  <a:t>5°0'0"S</a:t>
                </a:r>
                <a:endParaRPr lang="en-US" altLang="en-US" sz="1463" kern="1200">
                  <a:solidFill>
                    <a:prstClr val="black"/>
                  </a:solidFill>
                  <a:ea typeface="+mn-ea"/>
                  <a:cs typeface="Arial" panose="020B0604020202020204" pitchFamily="34" charset="0"/>
                </a:endParaRPr>
              </a:p>
            </p:txBody>
          </p:sp>
          <p:sp>
            <p:nvSpPr>
              <p:cNvPr id="180" name="Rectangle 361"/>
              <p:cNvSpPr>
                <a:spLocks noChangeArrowheads="1"/>
              </p:cNvSpPr>
              <p:nvPr/>
            </p:nvSpPr>
            <p:spPr bwMode="auto">
              <a:xfrm>
                <a:off x="6981" y="1824"/>
                <a:ext cx="0"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endParaRPr lang="en-US" altLang="en-US" sz="1463" kern="1200" dirty="0">
                  <a:solidFill>
                    <a:prstClr val="black"/>
                  </a:solidFill>
                  <a:ea typeface="+mn-ea"/>
                  <a:cs typeface="Arial" panose="020B0604020202020204" pitchFamily="34" charset="0"/>
                </a:endParaRPr>
              </a:p>
            </p:txBody>
          </p:sp>
          <p:sp>
            <p:nvSpPr>
              <p:cNvPr id="183" name="Line 364"/>
              <p:cNvSpPr>
                <a:spLocks noChangeShapeType="1"/>
              </p:cNvSpPr>
              <p:nvPr/>
            </p:nvSpPr>
            <p:spPr bwMode="auto">
              <a:xfrm>
                <a:off x="6941" y="3466"/>
                <a:ext cx="33"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98" name="Rectangle 379"/>
              <p:cNvSpPr>
                <a:spLocks noChangeArrowheads="1"/>
              </p:cNvSpPr>
              <p:nvPr/>
            </p:nvSpPr>
            <p:spPr bwMode="auto">
              <a:xfrm>
                <a:off x="2106" y="3908"/>
                <a:ext cx="0"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endParaRPr lang="en-US" altLang="en-US" sz="1463" kern="1200" dirty="0">
                  <a:solidFill>
                    <a:prstClr val="black"/>
                  </a:solidFill>
                  <a:ea typeface="+mn-ea"/>
                  <a:cs typeface="Arial" panose="020B0604020202020204" pitchFamily="34" charset="0"/>
                </a:endParaRPr>
              </a:p>
            </p:txBody>
          </p:sp>
          <p:sp>
            <p:nvSpPr>
              <p:cNvPr id="212" name="Rectangle 393"/>
              <p:cNvSpPr>
                <a:spLocks noChangeArrowheads="1"/>
              </p:cNvSpPr>
              <p:nvPr/>
            </p:nvSpPr>
            <p:spPr bwMode="auto">
              <a:xfrm>
                <a:off x="2524" y="3274"/>
                <a:ext cx="171" cy="6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13" name="Rectangle 394"/>
              <p:cNvSpPr>
                <a:spLocks noChangeArrowheads="1"/>
              </p:cNvSpPr>
              <p:nvPr/>
            </p:nvSpPr>
            <p:spPr bwMode="auto">
              <a:xfrm>
                <a:off x="2742" y="3255"/>
                <a:ext cx="51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kern="1200" dirty="0">
                    <a:solidFill>
                      <a:srgbClr val="000000"/>
                    </a:solidFill>
                    <a:ea typeface="+mn-ea"/>
                    <a:cs typeface="Arial" panose="020B0604020202020204" pitchFamily="34" charset="0"/>
                  </a:rPr>
                  <a:t>Mechanization</a:t>
                </a:r>
                <a:endParaRPr lang="en-US" altLang="en-US" sz="813" kern="1200" dirty="0">
                  <a:solidFill>
                    <a:prstClr val="black"/>
                  </a:solidFill>
                  <a:ea typeface="+mn-ea"/>
                  <a:cs typeface="Arial" panose="020B0604020202020204" pitchFamily="34" charset="0"/>
                </a:endParaRPr>
              </a:p>
            </p:txBody>
          </p:sp>
          <p:sp>
            <p:nvSpPr>
              <p:cNvPr id="222" name="Rectangle 403"/>
              <p:cNvSpPr>
                <a:spLocks noChangeArrowheads="1"/>
              </p:cNvSpPr>
              <p:nvPr/>
            </p:nvSpPr>
            <p:spPr bwMode="auto">
              <a:xfrm>
                <a:off x="2521" y="3376"/>
                <a:ext cx="171" cy="68"/>
              </a:xfrm>
              <a:prstGeom prst="rect">
                <a:avLst/>
              </a:prstGeom>
              <a:solidFill>
                <a:srgbClr val="0073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23" name="Rectangle 404"/>
              <p:cNvSpPr>
                <a:spLocks noChangeArrowheads="1"/>
              </p:cNvSpPr>
              <p:nvPr/>
            </p:nvSpPr>
            <p:spPr bwMode="auto">
              <a:xfrm>
                <a:off x="2721" y="3378"/>
                <a:ext cx="726"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kern="1200" dirty="0">
                    <a:solidFill>
                      <a:srgbClr val="000000"/>
                    </a:solidFill>
                    <a:ea typeface="+mn-ea"/>
                    <a:cs typeface="Arial" panose="020B0604020202020204" pitchFamily="34" charset="0"/>
                  </a:rPr>
                  <a:t>Policy &amp; Partnership</a:t>
                </a:r>
                <a:endParaRPr lang="en-US" altLang="en-US" sz="813" kern="1200" dirty="0">
                  <a:solidFill>
                    <a:prstClr val="black"/>
                  </a:solidFill>
                  <a:ea typeface="+mn-ea"/>
                  <a:cs typeface="Arial" panose="020B0604020202020204" pitchFamily="34" charset="0"/>
                </a:endParaRPr>
              </a:p>
            </p:txBody>
          </p:sp>
          <p:sp>
            <p:nvSpPr>
              <p:cNvPr id="224" name="Rectangle 405"/>
              <p:cNvSpPr>
                <a:spLocks noChangeArrowheads="1"/>
              </p:cNvSpPr>
              <p:nvPr/>
            </p:nvSpPr>
            <p:spPr bwMode="auto">
              <a:xfrm>
                <a:off x="2521" y="3490"/>
                <a:ext cx="171" cy="68"/>
              </a:xfrm>
              <a:prstGeom prst="rect">
                <a:avLst/>
              </a:prstGeom>
              <a:solidFill>
                <a:srgbClr val="98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78" name="Freeform 299"/>
              <p:cNvSpPr>
                <a:spLocks/>
              </p:cNvSpPr>
              <p:nvPr/>
            </p:nvSpPr>
            <p:spPr bwMode="auto">
              <a:xfrm>
                <a:off x="4074" y="751"/>
                <a:ext cx="211" cy="211"/>
              </a:xfrm>
              <a:custGeom>
                <a:avLst/>
                <a:gdLst>
                  <a:gd name="T0" fmla="*/ 133 w 133"/>
                  <a:gd name="T1" fmla="*/ 61 h 133"/>
                  <a:gd name="T2" fmla="*/ 132 w 133"/>
                  <a:gd name="T3" fmla="*/ 55 h 133"/>
                  <a:gd name="T4" fmla="*/ 131 w 133"/>
                  <a:gd name="T5" fmla="*/ 49 h 133"/>
                  <a:gd name="T6" fmla="*/ 129 w 133"/>
                  <a:gd name="T7" fmla="*/ 43 h 133"/>
                  <a:gd name="T8" fmla="*/ 126 w 133"/>
                  <a:gd name="T9" fmla="*/ 37 h 133"/>
                  <a:gd name="T10" fmla="*/ 123 w 133"/>
                  <a:gd name="T11" fmla="*/ 31 h 133"/>
                  <a:gd name="T12" fmla="*/ 118 w 133"/>
                  <a:gd name="T13" fmla="*/ 25 h 133"/>
                  <a:gd name="T14" fmla="*/ 113 w 133"/>
                  <a:gd name="T15" fmla="*/ 19 h 133"/>
                  <a:gd name="T16" fmla="*/ 107 w 133"/>
                  <a:gd name="T17" fmla="*/ 14 h 133"/>
                  <a:gd name="T18" fmla="*/ 101 w 133"/>
                  <a:gd name="T19" fmla="*/ 10 h 133"/>
                  <a:gd name="T20" fmla="*/ 95 w 133"/>
                  <a:gd name="T21" fmla="*/ 6 h 133"/>
                  <a:gd name="T22" fmla="*/ 89 w 133"/>
                  <a:gd name="T23" fmla="*/ 4 h 133"/>
                  <a:gd name="T24" fmla="*/ 83 w 133"/>
                  <a:gd name="T25" fmla="*/ 2 h 133"/>
                  <a:gd name="T26" fmla="*/ 77 w 133"/>
                  <a:gd name="T27" fmla="*/ 1 h 133"/>
                  <a:gd name="T28" fmla="*/ 71 w 133"/>
                  <a:gd name="T29" fmla="*/ 0 h 133"/>
                  <a:gd name="T30" fmla="*/ 65 w 133"/>
                  <a:gd name="T31" fmla="*/ 0 h 133"/>
                  <a:gd name="T32" fmla="*/ 59 w 133"/>
                  <a:gd name="T33" fmla="*/ 0 h 133"/>
                  <a:gd name="T34" fmla="*/ 53 w 133"/>
                  <a:gd name="T35" fmla="*/ 1 h 133"/>
                  <a:gd name="T36" fmla="*/ 47 w 133"/>
                  <a:gd name="T37" fmla="*/ 3 h 133"/>
                  <a:gd name="T38" fmla="*/ 41 w 133"/>
                  <a:gd name="T39" fmla="*/ 5 h 133"/>
                  <a:gd name="T40" fmla="*/ 35 w 133"/>
                  <a:gd name="T41" fmla="*/ 8 h 133"/>
                  <a:gd name="T42" fmla="*/ 29 w 133"/>
                  <a:gd name="T43" fmla="*/ 12 h 133"/>
                  <a:gd name="T44" fmla="*/ 23 w 133"/>
                  <a:gd name="T45" fmla="*/ 16 h 133"/>
                  <a:gd name="T46" fmla="*/ 17 w 133"/>
                  <a:gd name="T47" fmla="*/ 22 h 133"/>
                  <a:gd name="T48" fmla="*/ 12 w 133"/>
                  <a:gd name="T49" fmla="*/ 28 h 133"/>
                  <a:gd name="T50" fmla="*/ 8 w 133"/>
                  <a:gd name="T51" fmla="*/ 34 h 133"/>
                  <a:gd name="T52" fmla="*/ 6 w 133"/>
                  <a:gd name="T53" fmla="*/ 40 h 133"/>
                  <a:gd name="T54" fmla="*/ 3 w 133"/>
                  <a:gd name="T55" fmla="*/ 46 h 133"/>
                  <a:gd name="T56" fmla="*/ 2 w 133"/>
                  <a:gd name="T57" fmla="*/ 52 h 133"/>
                  <a:gd name="T58" fmla="*/ 1 w 133"/>
                  <a:gd name="T59" fmla="*/ 58 h 133"/>
                  <a:gd name="T60" fmla="*/ 0 w 133"/>
                  <a:gd name="T61" fmla="*/ 64 h 133"/>
                  <a:gd name="T62" fmla="*/ 0 w 133"/>
                  <a:gd name="T63" fmla="*/ 70 h 133"/>
                  <a:gd name="T64" fmla="*/ 1 w 133"/>
                  <a:gd name="T65" fmla="*/ 76 h 133"/>
                  <a:gd name="T66" fmla="*/ 2 w 133"/>
                  <a:gd name="T67" fmla="*/ 82 h 133"/>
                  <a:gd name="T68" fmla="*/ 4 w 133"/>
                  <a:gd name="T69" fmla="*/ 88 h 133"/>
                  <a:gd name="T70" fmla="*/ 6 w 133"/>
                  <a:gd name="T71" fmla="*/ 94 h 133"/>
                  <a:gd name="T72" fmla="*/ 9 w 133"/>
                  <a:gd name="T73" fmla="*/ 100 h 133"/>
                  <a:gd name="T74" fmla="*/ 13 w 133"/>
                  <a:gd name="T75" fmla="*/ 106 h 133"/>
                  <a:gd name="T76" fmla="*/ 18 w 133"/>
                  <a:gd name="T77" fmla="*/ 112 h 133"/>
                  <a:gd name="T78" fmla="*/ 24 w 133"/>
                  <a:gd name="T79" fmla="*/ 118 h 133"/>
                  <a:gd name="T80" fmla="*/ 30 w 133"/>
                  <a:gd name="T81" fmla="*/ 122 h 133"/>
                  <a:gd name="T82" fmla="*/ 36 w 133"/>
                  <a:gd name="T83" fmla="*/ 126 h 133"/>
                  <a:gd name="T84" fmla="*/ 42 w 133"/>
                  <a:gd name="T85" fmla="*/ 128 h 133"/>
                  <a:gd name="T86" fmla="*/ 48 w 133"/>
                  <a:gd name="T87" fmla="*/ 130 h 133"/>
                  <a:gd name="T88" fmla="*/ 54 w 133"/>
                  <a:gd name="T89" fmla="*/ 132 h 133"/>
                  <a:gd name="T90" fmla="*/ 60 w 133"/>
                  <a:gd name="T91" fmla="*/ 133 h 133"/>
                  <a:gd name="T92" fmla="*/ 66 w 133"/>
                  <a:gd name="T93" fmla="*/ 133 h 133"/>
                  <a:gd name="T94" fmla="*/ 72 w 133"/>
                  <a:gd name="T95" fmla="*/ 133 h 133"/>
                  <a:gd name="T96" fmla="*/ 78 w 133"/>
                  <a:gd name="T97" fmla="*/ 132 h 133"/>
                  <a:gd name="T98" fmla="*/ 84 w 133"/>
                  <a:gd name="T99" fmla="*/ 131 h 133"/>
                  <a:gd name="T100" fmla="*/ 90 w 133"/>
                  <a:gd name="T101" fmla="*/ 129 h 133"/>
                  <a:gd name="T102" fmla="*/ 96 w 133"/>
                  <a:gd name="T103" fmla="*/ 126 h 133"/>
                  <a:gd name="T104" fmla="*/ 102 w 133"/>
                  <a:gd name="T105" fmla="*/ 123 h 133"/>
                  <a:gd name="T106" fmla="*/ 108 w 133"/>
                  <a:gd name="T107" fmla="*/ 118 h 133"/>
                  <a:gd name="T108" fmla="*/ 114 w 133"/>
                  <a:gd name="T109" fmla="*/ 113 h 133"/>
                  <a:gd name="T110" fmla="*/ 119 w 133"/>
                  <a:gd name="T111" fmla="*/ 107 h 133"/>
                  <a:gd name="T112" fmla="*/ 123 w 133"/>
                  <a:gd name="T113" fmla="*/ 101 h 133"/>
                  <a:gd name="T114" fmla="*/ 127 w 133"/>
                  <a:gd name="T115" fmla="*/ 95 h 133"/>
                  <a:gd name="T116" fmla="*/ 129 w 133"/>
                  <a:gd name="T117" fmla="*/ 89 h 133"/>
                  <a:gd name="T118" fmla="*/ 131 w 133"/>
                  <a:gd name="T119" fmla="*/ 83 h 133"/>
                  <a:gd name="T120" fmla="*/ 132 w 133"/>
                  <a:gd name="T121" fmla="*/ 77 h 133"/>
                  <a:gd name="T122" fmla="*/ 133 w 133"/>
                  <a:gd name="T123" fmla="*/ 7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133">
                    <a:moveTo>
                      <a:pt x="133" y="66"/>
                    </a:moveTo>
                    <a:lnTo>
                      <a:pt x="133" y="65"/>
                    </a:lnTo>
                    <a:lnTo>
                      <a:pt x="133" y="64"/>
                    </a:lnTo>
                    <a:lnTo>
                      <a:pt x="133" y="63"/>
                    </a:lnTo>
                    <a:lnTo>
                      <a:pt x="133" y="62"/>
                    </a:lnTo>
                    <a:lnTo>
                      <a:pt x="133" y="61"/>
                    </a:lnTo>
                    <a:lnTo>
                      <a:pt x="133" y="60"/>
                    </a:lnTo>
                    <a:lnTo>
                      <a:pt x="133" y="59"/>
                    </a:lnTo>
                    <a:lnTo>
                      <a:pt x="132" y="58"/>
                    </a:lnTo>
                    <a:lnTo>
                      <a:pt x="132" y="57"/>
                    </a:lnTo>
                    <a:lnTo>
                      <a:pt x="132" y="56"/>
                    </a:lnTo>
                    <a:lnTo>
                      <a:pt x="132" y="55"/>
                    </a:lnTo>
                    <a:lnTo>
                      <a:pt x="132" y="54"/>
                    </a:lnTo>
                    <a:lnTo>
                      <a:pt x="132" y="53"/>
                    </a:lnTo>
                    <a:lnTo>
                      <a:pt x="131" y="52"/>
                    </a:lnTo>
                    <a:lnTo>
                      <a:pt x="131" y="51"/>
                    </a:lnTo>
                    <a:lnTo>
                      <a:pt x="131" y="50"/>
                    </a:lnTo>
                    <a:lnTo>
                      <a:pt x="131" y="49"/>
                    </a:lnTo>
                    <a:lnTo>
                      <a:pt x="130" y="48"/>
                    </a:lnTo>
                    <a:lnTo>
                      <a:pt x="130" y="47"/>
                    </a:lnTo>
                    <a:lnTo>
                      <a:pt x="130" y="46"/>
                    </a:lnTo>
                    <a:lnTo>
                      <a:pt x="129" y="45"/>
                    </a:lnTo>
                    <a:lnTo>
                      <a:pt x="129" y="44"/>
                    </a:lnTo>
                    <a:lnTo>
                      <a:pt x="129" y="43"/>
                    </a:lnTo>
                    <a:lnTo>
                      <a:pt x="128" y="42"/>
                    </a:lnTo>
                    <a:lnTo>
                      <a:pt x="128" y="41"/>
                    </a:lnTo>
                    <a:lnTo>
                      <a:pt x="127" y="40"/>
                    </a:lnTo>
                    <a:lnTo>
                      <a:pt x="127" y="39"/>
                    </a:lnTo>
                    <a:lnTo>
                      <a:pt x="127" y="38"/>
                    </a:lnTo>
                    <a:lnTo>
                      <a:pt x="126" y="37"/>
                    </a:lnTo>
                    <a:lnTo>
                      <a:pt x="126" y="36"/>
                    </a:lnTo>
                    <a:lnTo>
                      <a:pt x="125" y="35"/>
                    </a:lnTo>
                    <a:lnTo>
                      <a:pt x="125" y="34"/>
                    </a:lnTo>
                    <a:lnTo>
                      <a:pt x="124" y="33"/>
                    </a:lnTo>
                    <a:lnTo>
                      <a:pt x="123" y="32"/>
                    </a:lnTo>
                    <a:lnTo>
                      <a:pt x="123" y="31"/>
                    </a:lnTo>
                    <a:lnTo>
                      <a:pt x="122" y="30"/>
                    </a:lnTo>
                    <a:lnTo>
                      <a:pt x="121" y="29"/>
                    </a:lnTo>
                    <a:lnTo>
                      <a:pt x="121" y="28"/>
                    </a:lnTo>
                    <a:lnTo>
                      <a:pt x="120" y="27"/>
                    </a:lnTo>
                    <a:lnTo>
                      <a:pt x="119" y="26"/>
                    </a:lnTo>
                    <a:lnTo>
                      <a:pt x="118" y="25"/>
                    </a:lnTo>
                    <a:lnTo>
                      <a:pt x="118" y="24"/>
                    </a:lnTo>
                    <a:lnTo>
                      <a:pt x="117" y="23"/>
                    </a:lnTo>
                    <a:lnTo>
                      <a:pt x="116" y="22"/>
                    </a:lnTo>
                    <a:lnTo>
                      <a:pt x="115" y="21"/>
                    </a:lnTo>
                    <a:lnTo>
                      <a:pt x="114" y="20"/>
                    </a:lnTo>
                    <a:lnTo>
                      <a:pt x="113" y="19"/>
                    </a:lnTo>
                    <a:lnTo>
                      <a:pt x="112" y="18"/>
                    </a:lnTo>
                    <a:lnTo>
                      <a:pt x="111" y="17"/>
                    </a:lnTo>
                    <a:lnTo>
                      <a:pt x="110" y="16"/>
                    </a:lnTo>
                    <a:lnTo>
                      <a:pt x="109" y="15"/>
                    </a:lnTo>
                    <a:lnTo>
                      <a:pt x="108" y="15"/>
                    </a:lnTo>
                    <a:lnTo>
                      <a:pt x="107" y="14"/>
                    </a:lnTo>
                    <a:lnTo>
                      <a:pt x="106" y="13"/>
                    </a:lnTo>
                    <a:lnTo>
                      <a:pt x="105" y="12"/>
                    </a:lnTo>
                    <a:lnTo>
                      <a:pt x="104" y="12"/>
                    </a:lnTo>
                    <a:lnTo>
                      <a:pt x="103" y="11"/>
                    </a:lnTo>
                    <a:lnTo>
                      <a:pt x="102" y="10"/>
                    </a:lnTo>
                    <a:lnTo>
                      <a:pt x="101" y="10"/>
                    </a:lnTo>
                    <a:lnTo>
                      <a:pt x="100" y="9"/>
                    </a:lnTo>
                    <a:lnTo>
                      <a:pt x="99" y="8"/>
                    </a:lnTo>
                    <a:lnTo>
                      <a:pt x="98" y="8"/>
                    </a:lnTo>
                    <a:lnTo>
                      <a:pt x="97" y="7"/>
                    </a:lnTo>
                    <a:lnTo>
                      <a:pt x="96" y="7"/>
                    </a:lnTo>
                    <a:lnTo>
                      <a:pt x="95" y="6"/>
                    </a:lnTo>
                    <a:lnTo>
                      <a:pt x="94" y="6"/>
                    </a:lnTo>
                    <a:lnTo>
                      <a:pt x="93" y="6"/>
                    </a:lnTo>
                    <a:lnTo>
                      <a:pt x="92" y="5"/>
                    </a:lnTo>
                    <a:lnTo>
                      <a:pt x="91" y="5"/>
                    </a:lnTo>
                    <a:lnTo>
                      <a:pt x="90" y="4"/>
                    </a:lnTo>
                    <a:lnTo>
                      <a:pt x="89" y="4"/>
                    </a:lnTo>
                    <a:lnTo>
                      <a:pt x="88" y="4"/>
                    </a:lnTo>
                    <a:lnTo>
                      <a:pt x="87" y="3"/>
                    </a:lnTo>
                    <a:lnTo>
                      <a:pt x="86" y="3"/>
                    </a:lnTo>
                    <a:lnTo>
                      <a:pt x="85" y="3"/>
                    </a:lnTo>
                    <a:lnTo>
                      <a:pt x="84" y="2"/>
                    </a:lnTo>
                    <a:lnTo>
                      <a:pt x="83" y="2"/>
                    </a:lnTo>
                    <a:lnTo>
                      <a:pt x="82" y="2"/>
                    </a:lnTo>
                    <a:lnTo>
                      <a:pt x="81" y="2"/>
                    </a:lnTo>
                    <a:lnTo>
                      <a:pt x="80" y="1"/>
                    </a:lnTo>
                    <a:lnTo>
                      <a:pt x="79" y="1"/>
                    </a:lnTo>
                    <a:lnTo>
                      <a:pt x="78" y="1"/>
                    </a:lnTo>
                    <a:lnTo>
                      <a:pt x="77" y="1"/>
                    </a:lnTo>
                    <a:lnTo>
                      <a:pt x="76" y="1"/>
                    </a:lnTo>
                    <a:lnTo>
                      <a:pt x="75" y="1"/>
                    </a:lnTo>
                    <a:lnTo>
                      <a:pt x="74" y="0"/>
                    </a:lnTo>
                    <a:lnTo>
                      <a:pt x="73" y="0"/>
                    </a:lnTo>
                    <a:lnTo>
                      <a:pt x="72" y="0"/>
                    </a:lnTo>
                    <a:lnTo>
                      <a:pt x="71" y="0"/>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1"/>
                    </a:lnTo>
                    <a:lnTo>
                      <a:pt x="57" y="1"/>
                    </a:lnTo>
                    <a:lnTo>
                      <a:pt x="56" y="1"/>
                    </a:lnTo>
                    <a:lnTo>
                      <a:pt x="55" y="1"/>
                    </a:lnTo>
                    <a:lnTo>
                      <a:pt x="54" y="1"/>
                    </a:lnTo>
                    <a:lnTo>
                      <a:pt x="53" y="1"/>
                    </a:lnTo>
                    <a:lnTo>
                      <a:pt x="52" y="2"/>
                    </a:lnTo>
                    <a:lnTo>
                      <a:pt x="51" y="2"/>
                    </a:lnTo>
                    <a:lnTo>
                      <a:pt x="50" y="2"/>
                    </a:lnTo>
                    <a:lnTo>
                      <a:pt x="49" y="2"/>
                    </a:lnTo>
                    <a:lnTo>
                      <a:pt x="48" y="3"/>
                    </a:lnTo>
                    <a:lnTo>
                      <a:pt x="47" y="3"/>
                    </a:lnTo>
                    <a:lnTo>
                      <a:pt x="46" y="3"/>
                    </a:lnTo>
                    <a:lnTo>
                      <a:pt x="45" y="4"/>
                    </a:lnTo>
                    <a:lnTo>
                      <a:pt x="44" y="4"/>
                    </a:lnTo>
                    <a:lnTo>
                      <a:pt x="43" y="4"/>
                    </a:lnTo>
                    <a:lnTo>
                      <a:pt x="42" y="5"/>
                    </a:lnTo>
                    <a:lnTo>
                      <a:pt x="41" y="5"/>
                    </a:lnTo>
                    <a:lnTo>
                      <a:pt x="40" y="6"/>
                    </a:lnTo>
                    <a:lnTo>
                      <a:pt x="39" y="6"/>
                    </a:lnTo>
                    <a:lnTo>
                      <a:pt x="38" y="6"/>
                    </a:lnTo>
                    <a:lnTo>
                      <a:pt x="37" y="7"/>
                    </a:lnTo>
                    <a:lnTo>
                      <a:pt x="36" y="7"/>
                    </a:lnTo>
                    <a:lnTo>
                      <a:pt x="35" y="8"/>
                    </a:lnTo>
                    <a:lnTo>
                      <a:pt x="34" y="8"/>
                    </a:lnTo>
                    <a:lnTo>
                      <a:pt x="33" y="9"/>
                    </a:lnTo>
                    <a:lnTo>
                      <a:pt x="32" y="10"/>
                    </a:lnTo>
                    <a:lnTo>
                      <a:pt x="31" y="10"/>
                    </a:lnTo>
                    <a:lnTo>
                      <a:pt x="30" y="11"/>
                    </a:lnTo>
                    <a:lnTo>
                      <a:pt x="29" y="12"/>
                    </a:lnTo>
                    <a:lnTo>
                      <a:pt x="28" y="12"/>
                    </a:lnTo>
                    <a:lnTo>
                      <a:pt x="27" y="13"/>
                    </a:lnTo>
                    <a:lnTo>
                      <a:pt x="26" y="14"/>
                    </a:lnTo>
                    <a:lnTo>
                      <a:pt x="25" y="15"/>
                    </a:lnTo>
                    <a:lnTo>
                      <a:pt x="24" y="15"/>
                    </a:lnTo>
                    <a:lnTo>
                      <a:pt x="23" y="16"/>
                    </a:lnTo>
                    <a:lnTo>
                      <a:pt x="22" y="17"/>
                    </a:lnTo>
                    <a:lnTo>
                      <a:pt x="21" y="18"/>
                    </a:lnTo>
                    <a:lnTo>
                      <a:pt x="20" y="19"/>
                    </a:lnTo>
                    <a:lnTo>
                      <a:pt x="19" y="20"/>
                    </a:lnTo>
                    <a:lnTo>
                      <a:pt x="18" y="21"/>
                    </a:lnTo>
                    <a:lnTo>
                      <a:pt x="17" y="22"/>
                    </a:lnTo>
                    <a:lnTo>
                      <a:pt x="16" y="23"/>
                    </a:lnTo>
                    <a:lnTo>
                      <a:pt x="15" y="24"/>
                    </a:lnTo>
                    <a:lnTo>
                      <a:pt x="15" y="25"/>
                    </a:lnTo>
                    <a:lnTo>
                      <a:pt x="14" y="26"/>
                    </a:lnTo>
                    <a:lnTo>
                      <a:pt x="13" y="27"/>
                    </a:lnTo>
                    <a:lnTo>
                      <a:pt x="12" y="28"/>
                    </a:lnTo>
                    <a:lnTo>
                      <a:pt x="12" y="29"/>
                    </a:lnTo>
                    <a:lnTo>
                      <a:pt x="11" y="30"/>
                    </a:lnTo>
                    <a:lnTo>
                      <a:pt x="10" y="31"/>
                    </a:lnTo>
                    <a:lnTo>
                      <a:pt x="10" y="32"/>
                    </a:lnTo>
                    <a:lnTo>
                      <a:pt x="9" y="33"/>
                    </a:lnTo>
                    <a:lnTo>
                      <a:pt x="8" y="34"/>
                    </a:lnTo>
                    <a:lnTo>
                      <a:pt x="8" y="35"/>
                    </a:lnTo>
                    <a:lnTo>
                      <a:pt x="7" y="36"/>
                    </a:lnTo>
                    <a:lnTo>
                      <a:pt x="7" y="37"/>
                    </a:lnTo>
                    <a:lnTo>
                      <a:pt x="6" y="38"/>
                    </a:lnTo>
                    <a:lnTo>
                      <a:pt x="6" y="39"/>
                    </a:lnTo>
                    <a:lnTo>
                      <a:pt x="6" y="40"/>
                    </a:lnTo>
                    <a:lnTo>
                      <a:pt x="5" y="41"/>
                    </a:lnTo>
                    <a:lnTo>
                      <a:pt x="5" y="42"/>
                    </a:lnTo>
                    <a:lnTo>
                      <a:pt x="4" y="43"/>
                    </a:lnTo>
                    <a:lnTo>
                      <a:pt x="4" y="44"/>
                    </a:lnTo>
                    <a:lnTo>
                      <a:pt x="4" y="45"/>
                    </a:lnTo>
                    <a:lnTo>
                      <a:pt x="3" y="46"/>
                    </a:lnTo>
                    <a:lnTo>
                      <a:pt x="3" y="47"/>
                    </a:lnTo>
                    <a:lnTo>
                      <a:pt x="3" y="48"/>
                    </a:lnTo>
                    <a:lnTo>
                      <a:pt x="2" y="49"/>
                    </a:lnTo>
                    <a:lnTo>
                      <a:pt x="2" y="50"/>
                    </a:lnTo>
                    <a:lnTo>
                      <a:pt x="2" y="51"/>
                    </a:lnTo>
                    <a:lnTo>
                      <a:pt x="2" y="52"/>
                    </a:lnTo>
                    <a:lnTo>
                      <a:pt x="1" y="53"/>
                    </a:lnTo>
                    <a:lnTo>
                      <a:pt x="1" y="54"/>
                    </a:lnTo>
                    <a:lnTo>
                      <a:pt x="1" y="55"/>
                    </a:lnTo>
                    <a:lnTo>
                      <a:pt x="1" y="56"/>
                    </a:lnTo>
                    <a:lnTo>
                      <a:pt x="1" y="57"/>
                    </a:lnTo>
                    <a:lnTo>
                      <a:pt x="1"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0" y="71"/>
                    </a:lnTo>
                    <a:lnTo>
                      <a:pt x="0" y="72"/>
                    </a:lnTo>
                    <a:lnTo>
                      <a:pt x="0" y="73"/>
                    </a:lnTo>
                    <a:lnTo>
                      <a:pt x="0" y="74"/>
                    </a:lnTo>
                    <a:lnTo>
                      <a:pt x="1" y="75"/>
                    </a:lnTo>
                    <a:lnTo>
                      <a:pt x="1" y="76"/>
                    </a:lnTo>
                    <a:lnTo>
                      <a:pt x="1" y="77"/>
                    </a:lnTo>
                    <a:lnTo>
                      <a:pt x="1" y="78"/>
                    </a:lnTo>
                    <a:lnTo>
                      <a:pt x="1" y="79"/>
                    </a:lnTo>
                    <a:lnTo>
                      <a:pt x="1" y="80"/>
                    </a:lnTo>
                    <a:lnTo>
                      <a:pt x="2" y="81"/>
                    </a:lnTo>
                    <a:lnTo>
                      <a:pt x="2" y="82"/>
                    </a:lnTo>
                    <a:lnTo>
                      <a:pt x="2" y="83"/>
                    </a:lnTo>
                    <a:lnTo>
                      <a:pt x="2" y="84"/>
                    </a:lnTo>
                    <a:lnTo>
                      <a:pt x="3" y="85"/>
                    </a:lnTo>
                    <a:lnTo>
                      <a:pt x="3" y="86"/>
                    </a:lnTo>
                    <a:lnTo>
                      <a:pt x="3" y="87"/>
                    </a:lnTo>
                    <a:lnTo>
                      <a:pt x="4" y="88"/>
                    </a:lnTo>
                    <a:lnTo>
                      <a:pt x="4" y="89"/>
                    </a:lnTo>
                    <a:lnTo>
                      <a:pt x="4" y="90"/>
                    </a:lnTo>
                    <a:lnTo>
                      <a:pt x="5" y="91"/>
                    </a:lnTo>
                    <a:lnTo>
                      <a:pt x="5" y="92"/>
                    </a:lnTo>
                    <a:lnTo>
                      <a:pt x="6" y="93"/>
                    </a:lnTo>
                    <a:lnTo>
                      <a:pt x="6" y="94"/>
                    </a:lnTo>
                    <a:lnTo>
                      <a:pt x="6" y="95"/>
                    </a:lnTo>
                    <a:lnTo>
                      <a:pt x="7" y="96"/>
                    </a:lnTo>
                    <a:lnTo>
                      <a:pt x="7" y="97"/>
                    </a:lnTo>
                    <a:lnTo>
                      <a:pt x="8" y="98"/>
                    </a:lnTo>
                    <a:lnTo>
                      <a:pt x="8" y="99"/>
                    </a:lnTo>
                    <a:lnTo>
                      <a:pt x="9" y="100"/>
                    </a:lnTo>
                    <a:lnTo>
                      <a:pt x="10" y="101"/>
                    </a:lnTo>
                    <a:lnTo>
                      <a:pt x="10" y="102"/>
                    </a:lnTo>
                    <a:lnTo>
                      <a:pt x="11" y="103"/>
                    </a:lnTo>
                    <a:lnTo>
                      <a:pt x="12" y="104"/>
                    </a:lnTo>
                    <a:lnTo>
                      <a:pt x="12" y="105"/>
                    </a:lnTo>
                    <a:lnTo>
                      <a:pt x="13" y="106"/>
                    </a:lnTo>
                    <a:lnTo>
                      <a:pt x="14" y="107"/>
                    </a:lnTo>
                    <a:lnTo>
                      <a:pt x="15" y="108"/>
                    </a:lnTo>
                    <a:lnTo>
                      <a:pt x="15" y="109"/>
                    </a:lnTo>
                    <a:lnTo>
                      <a:pt x="16" y="110"/>
                    </a:lnTo>
                    <a:lnTo>
                      <a:pt x="17" y="111"/>
                    </a:lnTo>
                    <a:lnTo>
                      <a:pt x="18" y="112"/>
                    </a:lnTo>
                    <a:lnTo>
                      <a:pt x="19" y="113"/>
                    </a:lnTo>
                    <a:lnTo>
                      <a:pt x="20" y="114"/>
                    </a:lnTo>
                    <a:lnTo>
                      <a:pt x="21" y="115"/>
                    </a:lnTo>
                    <a:lnTo>
                      <a:pt x="22" y="116"/>
                    </a:lnTo>
                    <a:lnTo>
                      <a:pt x="23" y="117"/>
                    </a:lnTo>
                    <a:lnTo>
                      <a:pt x="24" y="118"/>
                    </a:lnTo>
                    <a:lnTo>
                      <a:pt x="25" y="118"/>
                    </a:lnTo>
                    <a:lnTo>
                      <a:pt x="26" y="119"/>
                    </a:lnTo>
                    <a:lnTo>
                      <a:pt x="27" y="120"/>
                    </a:lnTo>
                    <a:lnTo>
                      <a:pt x="28" y="121"/>
                    </a:lnTo>
                    <a:lnTo>
                      <a:pt x="29" y="121"/>
                    </a:lnTo>
                    <a:lnTo>
                      <a:pt x="30" y="122"/>
                    </a:lnTo>
                    <a:lnTo>
                      <a:pt x="31" y="123"/>
                    </a:lnTo>
                    <a:lnTo>
                      <a:pt x="32" y="123"/>
                    </a:lnTo>
                    <a:lnTo>
                      <a:pt x="33" y="124"/>
                    </a:lnTo>
                    <a:lnTo>
                      <a:pt x="34" y="125"/>
                    </a:lnTo>
                    <a:lnTo>
                      <a:pt x="35" y="125"/>
                    </a:lnTo>
                    <a:lnTo>
                      <a:pt x="36" y="126"/>
                    </a:lnTo>
                    <a:lnTo>
                      <a:pt x="37" y="126"/>
                    </a:lnTo>
                    <a:lnTo>
                      <a:pt x="38" y="127"/>
                    </a:lnTo>
                    <a:lnTo>
                      <a:pt x="39" y="127"/>
                    </a:lnTo>
                    <a:lnTo>
                      <a:pt x="40" y="127"/>
                    </a:lnTo>
                    <a:lnTo>
                      <a:pt x="41" y="128"/>
                    </a:lnTo>
                    <a:lnTo>
                      <a:pt x="42" y="128"/>
                    </a:lnTo>
                    <a:lnTo>
                      <a:pt x="43" y="129"/>
                    </a:lnTo>
                    <a:lnTo>
                      <a:pt x="44" y="129"/>
                    </a:lnTo>
                    <a:lnTo>
                      <a:pt x="45" y="129"/>
                    </a:lnTo>
                    <a:lnTo>
                      <a:pt x="46" y="130"/>
                    </a:lnTo>
                    <a:lnTo>
                      <a:pt x="47" y="130"/>
                    </a:lnTo>
                    <a:lnTo>
                      <a:pt x="48" y="130"/>
                    </a:lnTo>
                    <a:lnTo>
                      <a:pt x="49" y="131"/>
                    </a:lnTo>
                    <a:lnTo>
                      <a:pt x="50" y="131"/>
                    </a:lnTo>
                    <a:lnTo>
                      <a:pt x="51" y="131"/>
                    </a:lnTo>
                    <a:lnTo>
                      <a:pt x="52" y="131"/>
                    </a:lnTo>
                    <a:lnTo>
                      <a:pt x="53" y="132"/>
                    </a:lnTo>
                    <a:lnTo>
                      <a:pt x="54" y="132"/>
                    </a:lnTo>
                    <a:lnTo>
                      <a:pt x="55" y="132"/>
                    </a:lnTo>
                    <a:lnTo>
                      <a:pt x="56" y="132"/>
                    </a:lnTo>
                    <a:lnTo>
                      <a:pt x="57" y="132"/>
                    </a:lnTo>
                    <a:lnTo>
                      <a:pt x="58" y="132"/>
                    </a:lnTo>
                    <a:lnTo>
                      <a:pt x="59" y="133"/>
                    </a:lnTo>
                    <a:lnTo>
                      <a:pt x="60" y="133"/>
                    </a:lnTo>
                    <a:lnTo>
                      <a:pt x="61" y="133"/>
                    </a:lnTo>
                    <a:lnTo>
                      <a:pt x="62" y="133"/>
                    </a:lnTo>
                    <a:lnTo>
                      <a:pt x="63" y="133"/>
                    </a:lnTo>
                    <a:lnTo>
                      <a:pt x="64" y="133"/>
                    </a:lnTo>
                    <a:lnTo>
                      <a:pt x="65" y="133"/>
                    </a:lnTo>
                    <a:lnTo>
                      <a:pt x="66" y="133"/>
                    </a:lnTo>
                    <a:lnTo>
                      <a:pt x="67" y="133"/>
                    </a:lnTo>
                    <a:lnTo>
                      <a:pt x="68" y="133"/>
                    </a:lnTo>
                    <a:lnTo>
                      <a:pt x="69" y="133"/>
                    </a:lnTo>
                    <a:lnTo>
                      <a:pt x="70" y="133"/>
                    </a:lnTo>
                    <a:lnTo>
                      <a:pt x="71" y="133"/>
                    </a:lnTo>
                    <a:lnTo>
                      <a:pt x="72" y="133"/>
                    </a:lnTo>
                    <a:lnTo>
                      <a:pt x="73" y="133"/>
                    </a:lnTo>
                    <a:lnTo>
                      <a:pt x="74" y="133"/>
                    </a:lnTo>
                    <a:lnTo>
                      <a:pt x="75" y="132"/>
                    </a:lnTo>
                    <a:lnTo>
                      <a:pt x="76" y="132"/>
                    </a:lnTo>
                    <a:lnTo>
                      <a:pt x="77" y="132"/>
                    </a:lnTo>
                    <a:lnTo>
                      <a:pt x="78" y="132"/>
                    </a:lnTo>
                    <a:lnTo>
                      <a:pt x="79" y="132"/>
                    </a:lnTo>
                    <a:lnTo>
                      <a:pt x="80" y="132"/>
                    </a:lnTo>
                    <a:lnTo>
                      <a:pt x="81" y="131"/>
                    </a:lnTo>
                    <a:lnTo>
                      <a:pt x="82" y="131"/>
                    </a:lnTo>
                    <a:lnTo>
                      <a:pt x="83" y="131"/>
                    </a:lnTo>
                    <a:lnTo>
                      <a:pt x="84" y="131"/>
                    </a:lnTo>
                    <a:lnTo>
                      <a:pt x="85" y="130"/>
                    </a:lnTo>
                    <a:lnTo>
                      <a:pt x="86" y="130"/>
                    </a:lnTo>
                    <a:lnTo>
                      <a:pt x="87" y="130"/>
                    </a:lnTo>
                    <a:lnTo>
                      <a:pt x="88" y="129"/>
                    </a:lnTo>
                    <a:lnTo>
                      <a:pt x="89" y="129"/>
                    </a:lnTo>
                    <a:lnTo>
                      <a:pt x="90" y="129"/>
                    </a:lnTo>
                    <a:lnTo>
                      <a:pt x="91" y="128"/>
                    </a:lnTo>
                    <a:lnTo>
                      <a:pt x="92" y="128"/>
                    </a:lnTo>
                    <a:lnTo>
                      <a:pt x="93" y="127"/>
                    </a:lnTo>
                    <a:lnTo>
                      <a:pt x="94" y="127"/>
                    </a:lnTo>
                    <a:lnTo>
                      <a:pt x="95" y="127"/>
                    </a:lnTo>
                    <a:lnTo>
                      <a:pt x="96" y="126"/>
                    </a:lnTo>
                    <a:lnTo>
                      <a:pt x="97" y="126"/>
                    </a:lnTo>
                    <a:lnTo>
                      <a:pt x="98" y="125"/>
                    </a:lnTo>
                    <a:lnTo>
                      <a:pt x="99" y="125"/>
                    </a:lnTo>
                    <a:lnTo>
                      <a:pt x="100" y="124"/>
                    </a:lnTo>
                    <a:lnTo>
                      <a:pt x="101" y="123"/>
                    </a:lnTo>
                    <a:lnTo>
                      <a:pt x="102" y="123"/>
                    </a:lnTo>
                    <a:lnTo>
                      <a:pt x="103" y="122"/>
                    </a:lnTo>
                    <a:lnTo>
                      <a:pt x="104" y="121"/>
                    </a:lnTo>
                    <a:lnTo>
                      <a:pt x="105" y="121"/>
                    </a:lnTo>
                    <a:lnTo>
                      <a:pt x="106" y="120"/>
                    </a:lnTo>
                    <a:lnTo>
                      <a:pt x="107" y="119"/>
                    </a:lnTo>
                    <a:lnTo>
                      <a:pt x="108" y="118"/>
                    </a:lnTo>
                    <a:lnTo>
                      <a:pt x="109" y="118"/>
                    </a:lnTo>
                    <a:lnTo>
                      <a:pt x="110" y="117"/>
                    </a:lnTo>
                    <a:lnTo>
                      <a:pt x="111" y="116"/>
                    </a:lnTo>
                    <a:lnTo>
                      <a:pt x="112" y="115"/>
                    </a:lnTo>
                    <a:lnTo>
                      <a:pt x="113" y="114"/>
                    </a:lnTo>
                    <a:lnTo>
                      <a:pt x="114" y="113"/>
                    </a:lnTo>
                    <a:lnTo>
                      <a:pt x="115" y="112"/>
                    </a:lnTo>
                    <a:lnTo>
                      <a:pt x="116" y="111"/>
                    </a:lnTo>
                    <a:lnTo>
                      <a:pt x="117" y="110"/>
                    </a:lnTo>
                    <a:lnTo>
                      <a:pt x="118" y="109"/>
                    </a:lnTo>
                    <a:lnTo>
                      <a:pt x="118" y="108"/>
                    </a:lnTo>
                    <a:lnTo>
                      <a:pt x="119" y="107"/>
                    </a:lnTo>
                    <a:lnTo>
                      <a:pt x="120" y="106"/>
                    </a:lnTo>
                    <a:lnTo>
                      <a:pt x="121" y="105"/>
                    </a:lnTo>
                    <a:lnTo>
                      <a:pt x="121" y="104"/>
                    </a:lnTo>
                    <a:lnTo>
                      <a:pt x="122" y="103"/>
                    </a:lnTo>
                    <a:lnTo>
                      <a:pt x="123" y="102"/>
                    </a:lnTo>
                    <a:lnTo>
                      <a:pt x="123" y="101"/>
                    </a:lnTo>
                    <a:lnTo>
                      <a:pt x="124" y="100"/>
                    </a:lnTo>
                    <a:lnTo>
                      <a:pt x="125" y="99"/>
                    </a:lnTo>
                    <a:lnTo>
                      <a:pt x="125" y="98"/>
                    </a:lnTo>
                    <a:lnTo>
                      <a:pt x="126" y="97"/>
                    </a:lnTo>
                    <a:lnTo>
                      <a:pt x="126" y="96"/>
                    </a:lnTo>
                    <a:lnTo>
                      <a:pt x="127" y="95"/>
                    </a:lnTo>
                    <a:lnTo>
                      <a:pt x="127" y="94"/>
                    </a:lnTo>
                    <a:lnTo>
                      <a:pt x="127" y="93"/>
                    </a:lnTo>
                    <a:lnTo>
                      <a:pt x="128" y="92"/>
                    </a:lnTo>
                    <a:lnTo>
                      <a:pt x="128" y="91"/>
                    </a:lnTo>
                    <a:lnTo>
                      <a:pt x="129" y="90"/>
                    </a:lnTo>
                    <a:lnTo>
                      <a:pt x="129" y="89"/>
                    </a:lnTo>
                    <a:lnTo>
                      <a:pt x="129" y="88"/>
                    </a:lnTo>
                    <a:lnTo>
                      <a:pt x="130" y="87"/>
                    </a:lnTo>
                    <a:lnTo>
                      <a:pt x="130" y="86"/>
                    </a:lnTo>
                    <a:lnTo>
                      <a:pt x="130" y="85"/>
                    </a:lnTo>
                    <a:lnTo>
                      <a:pt x="131" y="84"/>
                    </a:lnTo>
                    <a:lnTo>
                      <a:pt x="131" y="83"/>
                    </a:lnTo>
                    <a:lnTo>
                      <a:pt x="131" y="82"/>
                    </a:lnTo>
                    <a:lnTo>
                      <a:pt x="131" y="81"/>
                    </a:lnTo>
                    <a:lnTo>
                      <a:pt x="132" y="80"/>
                    </a:lnTo>
                    <a:lnTo>
                      <a:pt x="132" y="79"/>
                    </a:lnTo>
                    <a:lnTo>
                      <a:pt x="132" y="78"/>
                    </a:lnTo>
                    <a:lnTo>
                      <a:pt x="132" y="77"/>
                    </a:lnTo>
                    <a:lnTo>
                      <a:pt x="132" y="76"/>
                    </a:lnTo>
                    <a:lnTo>
                      <a:pt x="132" y="75"/>
                    </a:lnTo>
                    <a:lnTo>
                      <a:pt x="133" y="74"/>
                    </a:lnTo>
                    <a:lnTo>
                      <a:pt x="133" y="73"/>
                    </a:lnTo>
                    <a:lnTo>
                      <a:pt x="133" y="72"/>
                    </a:lnTo>
                    <a:lnTo>
                      <a:pt x="133" y="71"/>
                    </a:lnTo>
                    <a:lnTo>
                      <a:pt x="133" y="70"/>
                    </a:lnTo>
                    <a:lnTo>
                      <a:pt x="133" y="69"/>
                    </a:lnTo>
                    <a:lnTo>
                      <a:pt x="133" y="68"/>
                    </a:lnTo>
                    <a:lnTo>
                      <a:pt x="133" y="67"/>
                    </a:lnTo>
                    <a:lnTo>
                      <a:pt x="133" y="66"/>
                    </a:lnTo>
                    <a:close/>
                  </a:path>
                </a:pathLst>
              </a:custGeom>
              <a:solidFill>
                <a:srgbClr val="0073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50" name="Freeform 299"/>
              <p:cNvSpPr>
                <a:spLocks/>
              </p:cNvSpPr>
              <p:nvPr/>
            </p:nvSpPr>
            <p:spPr bwMode="auto">
              <a:xfrm>
                <a:off x="5001" y="1546"/>
                <a:ext cx="211" cy="211"/>
              </a:xfrm>
              <a:custGeom>
                <a:avLst/>
                <a:gdLst>
                  <a:gd name="T0" fmla="*/ 133 w 133"/>
                  <a:gd name="T1" fmla="*/ 61 h 133"/>
                  <a:gd name="T2" fmla="*/ 132 w 133"/>
                  <a:gd name="T3" fmla="*/ 55 h 133"/>
                  <a:gd name="T4" fmla="*/ 131 w 133"/>
                  <a:gd name="T5" fmla="*/ 49 h 133"/>
                  <a:gd name="T6" fmla="*/ 129 w 133"/>
                  <a:gd name="T7" fmla="*/ 43 h 133"/>
                  <a:gd name="T8" fmla="*/ 126 w 133"/>
                  <a:gd name="T9" fmla="*/ 37 h 133"/>
                  <a:gd name="T10" fmla="*/ 123 w 133"/>
                  <a:gd name="T11" fmla="*/ 31 h 133"/>
                  <a:gd name="T12" fmla="*/ 118 w 133"/>
                  <a:gd name="T13" fmla="*/ 25 h 133"/>
                  <a:gd name="T14" fmla="*/ 113 w 133"/>
                  <a:gd name="T15" fmla="*/ 19 h 133"/>
                  <a:gd name="T16" fmla="*/ 107 w 133"/>
                  <a:gd name="T17" fmla="*/ 14 h 133"/>
                  <a:gd name="T18" fmla="*/ 101 w 133"/>
                  <a:gd name="T19" fmla="*/ 10 h 133"/>
                  <a:gd name="T20" fmla="*/ 95 w 133"/>
                  <a:gd name="T21" fmla="*/ 6 h 133"/>
                  <a:gd name="T22" fmla="*/ 89 w 133"/>
                  <a:gd name="T23" fmla="*/ 4 h 133"/>
                  <a:gd name="T24" fmla="*/ 83 w 133"/>
                  <a:gd name="T25" fmla="*/ 2 h 133"/>
                  <a:gd name="T26" fmla="*/ 77 w 133"/>
                  <a:gd name="T27" fmla="*/ 1 h 133"/>
                  <a:gd name="T28" fmla="*/ 71 w 133"/>
                  <a:gd name="T29" fmla="*/ 0 h 133"/>
                  <a:gd name="T30" fmla="*/ 65 w 133"/>
                  <a:gd name="T31" fmla="*/ 0 h 133"/>
                  <a:gd name="T32" fmla="*/ 59 w 133"/>
                  <a:gd name="T33" fmla="*/ 0 h 133"/>
                  <a:gd name="T34" fmla="*/ 53 w 133"/>
                  <a:gd name="T35" fmla="*/ 1 h 133"/>
                  <a:gd name="T36" fmla="*/ 47 w 133"/>
                  <a:gd name="T37" fmla="*/ 3 h 133"/>
                  <a:gd name="T38" fmla="*/ 41 w 133"/>
                  <a:gd name="T39" fmla="*/ 5 h 133"/>
                  <a:gd name="T40" fmla="*/ 35 w 133"/>
                  <a:gd name="T41" fmla="*/ 8 h 133"/>
                  <a:gd name="T42" fmla="*/ 29 w 133"/>
                  <a:gd name="T43" fmla="*/ 12 h 133"/>
                  <a:gd name="T44" fmla="*/ 23 w 133"/>
                  <a:gd name="T45" fmla="*/ 16 h 133"/>
                  <a:gd name="T46" fmla="*/ 17 w 133"/>
                  <a:gd name="T47" fmla="*/ 22 h 133"/>
                  <a:gd name="T48" fmla="*/ 12 w 133"/>
                  <a:gd name="T49" fmla="*/ 28 h 133"/>
                  <a:gd name="T50" fmla="*/ 8 w 133"/>
                  <a:gd name="T51" fmla="*/ 34 h 133"/>
                  <a:gd name="T52" fmla="*/ 6 w 133"/>
                  <a:gd name="T53" fmla="*/ 40 h 133"/>
                  <a:gd name="T54" fmla="*/ 3 w 133"/>
                  <a:gd name="T55" fmla="*/ 46 h 133"/>
                  <a:gd name="T56" fmla="*/ 2 w 133"/>
                  <a:gd name="T57" fmla="*/ 52 h 133"/>
                  <a:gd name="T58" fmla="*/ 1 w 133"/>
                  <a:gd name="T59" fmla="*/ 58 h 133"/>
                  <a:gd name="T60" fmla="*/ 0 w 133"/>
                  <a:gd name="T61" fmla="*/ 64 h 133"/>
                  <a:gd name="T62" fmla="*/ 0 w 133"/>
                  <a:gd name="T63" fmla="*/ 70 h 133"/>
                  <a:gd name="T64" fmla="*/ 1 w 133"/>
                  <a:gd name="T65" fmla="*/ 76 h 133"/>
                  <a:gd name="T66" fmla="*/ 2 w 133"/>
                  <a:gd name="T67" fmla="*/ 82 h 133"/>
                  <a:gd name="T68" fmla="*/ 4 w 133"/>
                  <a:gd name="T69" fmla="*/ 88 h 133"/>
                  <a:gd name="T70" fmla="*/ 6 w 133"/>
                  <a:gd name="T71" fmla="*/ 94 h 133"/>
                  <a:gd name="T72" fmla="*/ 9 w 133"/>
                  <a:gd name="T73" fmla="*/ 100 h 133"/>
                  <a:gd name="T74" fmla="*/ 13 w 133"/>
                  <a:gd name="T75" fmla="*/ 106 h 133"/>
                  <a:gd name="T76" fmla="*/ 18 w 133"/>
                  <a:gd name="T77" fmla="*/ 112 h 133"/>
                  <a:gd name="T78" fmla="*/ 24 w 133"/>
                  <a:gd name="T79" fmla="*/ 118 h 133"/>
                  <a:gd name="T80" fmla="*/ 30 w 133"/>
                  <a:gd name="T81" fmla="*/ 122 h 133"/>
                  <a:gd name="T82" fmla="*/ 36 w 133"/>
                  <a:gd name="T83" fmla="*/ 126 h 133"/>
                  <a:gd name="T84" fmla="*/ 42 w 133"/>
                  <a:gd name="T85" fmla="*/ 128 h 133"/>
                  <a:gd name="T86" fmla="*/ 48 w 133"/>
                  <a:gd name="T87" fmla="*/ 130 h 133"/>
                  <a:gd name="T88" fmla="*/ 54 w 133"/>
                  <a:gd name="T89" fmla="*/ 132 h 133"/>
                  <a:gd name="T90" fmla="*/ 60 w 133"/>
                  <a:gd name="T91" fmla="*/ 133 h 133"/>
                  <a:gd name="T92" fmla="*/ 66 w 133"/>
                  <a:gd name="T93" fmla="*/ 133 h 133"/>
                  <a:gd name="T94" fmla="*/ 72 w 133"/>
                  <a:gd name="T95" fmla="*/ 133 h 133"/>
                  <a:gd name="T96" fmla="*/ 78 w 133"/>
                  <a:gd name="T97" fmla="*/ 132 h 133"/>
                  <a:gd name="T98" fmla="*/ 84 w 133"/>
                  <a:gd name="T99" fmla="*/ 131 h 133"/>
                  <a:gd name="T100" fmla="*/ 90 w 133"/>
                  <a:gd name="T101" fmla="*/ 129 h 133"/>
                  <a:gd name="T102" fmla="*/ 96 w 133"/>
                  <a:gd name="T103" fmla="*/ 126 h 133"/>
                  <a:gd name="T104" fmla="*/ 102 w 133"/>
                  <a:gd name="T105" fmla="*/ 123 h 133"/>
                  <a:gd name="T106" fmla="*/ 108 w 133"/>
                  <a:gd name="T107" fmla="*/ 118 h 133"/>
                  <a:gd name="T108" fmla="*/ 114 w 133"/>
                  <a:gd name="T109" fmla="*/ 113 h 133"/>
                  <a:gd name="T110" fmla="*/ 119 w 133"/>
                  <a:gd name="T111" fmla="*/ 107 h 133"/>
                  <a:gd name="T112" fmla="*/ 123 w 133"/>
                  <a:gd name="T113" fmla="*/ 101 h 133"/>
                  <a:gd name="T114" fmla="*/ 127 w 133"/>
                  <a:gd name="T115" fmla="*/ 95 h 133"/>
                  <a:gd name="T116" fmla="*/ 129 w 133"/>
                  <a:gd name="T117" fmla="*/ 89 h 133"/>
                  <a:gd name="T118" fmla="*/ 131 w 133"/>
                  <a:gd name="T119" fmla="*/ 83 h 133"/>
                  <a:gd name="T120" fmla="*/ 132 w 133"/>
                  <a:gd name="T121" fmla="*/ 77 h 133"/>
                  <a:gd name="T122" fmla="*/ 133 w 133"/>
                  <a:gd name="T123" fmla="*/ 7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133">
                    <a:moveTo>
                      <a:pt x="133" y="66"/>
                    </a:moveTo>
                    <a:lnTo>
                      <a:pt x="133" y="65"/>
                    </a:lnTo>
                    <a:lnTo>
                      <a:pt x="133" y="64"/>
                    </a:lnTo>
                    <a:lnTo>
                      <a:pt x="133" y="63"/>
                    </a:lnTo>
                    <a:lnTo>
                      <a:pt x="133" y="62"/>
                    </a:lnTo>
                    <a:lnTo>
                      <a:pt x="133" y="61"/>
                    </a:lnTo>
                    <a:lnTo>
                      <a:pt x="133" y="60"/>
                    </a:lnTo>
                    <a:lnTo>
                      <a:pt x="133" y="59"/>
                    </a:lnTo>
                    <a:lnTo>
                      <a:pt x="132" y="58"/>
                    </a:lnTo>
                    <a:lnTo>
                      <a:pt x="132" y="57"/>
                    </a:lnTo>
                    <a:lnTo>
                      <a:pt x="132" y="56"/>
                    </a:lnTo>
                    <a:lnTo>
                      <a:pt x="132" y="55"/>
                    </a:lnTo>
                    <a:lnTo>
                      <a:pt x="132" y="54"/>
                    </a:lnTo>
                    <a:lnTo>
                      <a:pt x="132" y="53"/>
                    </a:lnTo>
                    <a:lnTo>
                      <a:pt x="131" y="52"/>
                    </a:lnTo>
                    <a:lnTo>
                      <a:pt x="131" y="51"/>
                    </a:lnTo>
                    <a:lnTo>
                      <a:pt x="131" y="50"/>
                    </a:lnTo>
                    <a:lnTo>
                      <a:pt x="131" y="49"/>
                    </a:lnTo>
                    <a:lnTo>
                      <a:pt x="130" y="48"/>
                    </a:lnTo>
                    <a:lnTo>
                      <a:pt x="130" y="47"/>
                    </a:lnTo>
                    <a:lnTo>
                      <a:pt x="130" y="46"/>
                    </a:lnTo>
                    <a:lnTo>
                      <a:pt x="129" y="45"/>
                    </a:lnTo>
                    <a:lnTo>
                      <a:pt x="129" y="44"/>
                    </a:lnTo>
                    <a:lnTo>
                      <a:pt x="129" y="43"/>
                    </a:lnTo>
                    <a:lnTo>
                      <a:pt x="128" y="42"/>
                    </a:lnTo>
                    <a:lnTo>
                      <a:pt x="128" y="41"/>
                    </a:lnTo>
                    <a:lnTo>
                      <a:pt x="127" y="40"/>
                    </a:lnTo>
                    <a:lnTo>
                      <a:pt x="127" y="39"/>
                    </a:lnTo>
                    <a:lnTo>
                      <a:pt x="127" y="38"/>
                    </a:lnTo>
                    <a:lnTo>
                      <a:pt x="126" y="37"/>
                    </a:lnTo>
                    <a:lnTo>
                      <a:pt x="126" y="36"/>
                    </a:lnTo>
                    <a:lnTo>
                      <a:pt x="125" y="35"/>
                    </a:lnTo>
                    <a:lnTo>
                      <a:pt x="125" y="34"/>
                    </a:lnTo>
                    <a:lnTo>
                      <a:pt x="124" y="33"/>
                    </a:lnTo>
                    <a:lnTo>
                      <a:pt x="123" y="32"/>
                    </a:lnTo>
                    <a:lnTo>
                      <a:pt x="123" y="31"/>
                    </a:lnTo>
                    <a:lnTo>
                      <a:pt x="122" y="30"/>
                    </a:lnTo>
                    <a:lnTo>
                      <a:pt x="121" y="29"/>
                    </a:lnTo>
                    <a:lnTo>
                      <a:pt x="121" y="28"/>
                    </a:lnTo>
                    <a:lnTo>
                      <a:pt x="120" y="27"/>
                    </a:lnTo>
                    <a:lnTo>
                      <a:pt x="119" y="26"/>
                    </a:lnTo>
                    <a:lnTo>
                      <a:pt x="118" y="25"/>
                    </a:lnTo>
                    <a:lnTo>
                      <a:pt x="118" y="24"/>
                    </a:lnTo>
                    <a:lnTo>
                      <a:pt x="117" y="23"/>
                    </a:lnTo>
                    <a:lnTo>
                      <a:pt x="116" y="22"/>
                    </a:lnTo>
                    <a:lnTo>
                      <a:pt x="115" y="21"/>
                    </a:lnTo>
                    <a:lnTo>
                      <a:pt x="114" y="20"/>
                    </a:lnTo>
                    <a:lnTo>
                      <a:pt x="113" y="19"/>
                    </a:lnTo>
                    <a:lnTo>
                      <a:pt x="112" y="18"/>
                    </a:lnTo>
                    <a:lnTo>
                      <a:pt x="111" y="17"/>
                    </a:lnTo>
                    <a:lnTo>
                      <a:pt x="110" y="16"/>
                    </a:lnTo>
                    <a:lnTo>
                      <a:pt x="109" y="15"/>
                    </a:lnTo>
                    <a:lnTo>
                      <a:pt x="108" y="15"/>
                    </a:lnTo>
                    <a:lnTo>
                      <a:pt x="107" y="14"/>
                    </a:lnTo>
                    <a:lnTo>
                      <a:pt x="106" y="13"/>
                    </a:lnTo>
                    <a:lnTo>
                      <a:pt x="105" y="12"/>
                    </a:lnTo>
                    <a:lnTo>
                      <a:pt x="104" y="12"/>
                    </a:lnTo>
                    <a:lnTo>
                      <a:pt x="103" y="11"/>
                    </a:lnTo>
                    <a:lnTo>
                      <a:pt x="102" y="10"/>
                    </a:lnTo>
                    <a:lnTo>
                      <a:pt x="101" y="10"/>
                    </a:lnTo>
                    <a:lnTo>
                      <a:pt x="100" y="9"/>
                    </a:lnTo>
                    <a:lnTo>
                      <a:pt x="99" y="8"/>
                    </a:lnTo>
                    <a:lnTo>
                      <a:pt x="98" y="8"/>
                    </a:lnTo>
                    <a:lnTo>
                      <a:pt x="97" y="7"/>
                    </a:lnTo>
                    <a:lnTo>
                      <a:pt x="96" y="7"/>
                    </a:lnTo>
                    <a:lnTo>
                      <a:pt x="95" y="6"/>
                    </a:lnTo>
                    <a:lnTo>
                      <a:pt x="94" y="6"/>
                    </a:lnTo>
                    <a:lnTo>
                      <a:pt x="93" y="6"/>
                    </a:lnTo>
                    <a:lnTo>
                      <a:pt x="92" y="5"/>
                    </a:lnTo>
                    <a:lnTo>
                      <a:pt x="91" y="5"/>
                    </a:lnTo>
                    <a:lnTo>
                      <a:pt x="90" y="4"/>
                    </a:lnTo>
                    <a:lnTo>
                      <a:pt x="89" y="4"/>
                    </a:lnTo>
                    <a:lnTo>
                      <a:pt x="88" y="4"/>
                    </a:lnTo>
                    <a:lnTo>
                      <a:pt x="87" y="3"/>
                    </a:lnTo>
                    <a:lnTo>
                      <a:pt x="86" y="3"/>
                    </a:lnTo>
                    <a:lnTo>
                      <a:pt x="85" y="3"/>
                    </a:lnTo>
                    <a:lnTo>
                      <a:pt x="84" y="2"/>
                    </a:lnTo>
                    <a:lnTo>
                      <a:pt x="83" y="2"/>
                    </a:lnTo>
                    <a:lnTo>
                      <a:pt x="82" y="2"/>
                    </a:lnTo>
                    <a:lnTo>
                      <a:pt x="81" y="2"/>
                    </a:lnTo>
                    <a:lnTo>
                      <a:pt x="80" y="1"/>
                    </a:lnTo>
                    <a:lnTo>
                      <a:pt x="79" y="1"/>
                    </a:lnTo>
                    <a:lnTo>
                      <a:pt x="78" y="1"/>
                    </a:lnTo>
                    <a:lnTo>
                      <a:pt x="77" y="1"/>
                    </a:lnTo>
                    <a:lnTo>
                      <a:pt x="76" y="1"/>
                    </a:lnTo>
                    <a:lnTo>
                      <a:pt x="75" y="1"/>
                    </a:lnTo>
                    <a:lnTo>
                      <a:pt x="74" y="0"/>
                    </a:lnTo>
                    <a:lnTo>
                      <a:pt x="73" y="0"/>
                    </a:lnTo>
                    <a:lnTo>
                      <a:pt x="72" y="0"/>
                    </a:lnTo>
                    <a:lnTo>
                      <a:pt x="71" y="0"/>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1"/>
                    </a:lnTo>
                    <a:lnTo>
                      <a:pt x="57" y="1"/>
                    </a:lnTo>
                    <a:lnTo>
                      <a:pt x="56" y="1"/>
                    </a:lnTo>
                    <a:lnTo>
                      <a:pt x="55" y="1"/>
                    </a:lnTo>
                    <a:lnTo>
                      <a:pt x="54" y="1"/>
                    </a:lnTo>
                    <a:lnTo>
                      <a:pt x="53" y="1"/>
                    </a:lnTo>
                    <a:lnTo>
                      <a:pt x="52" y="2"/>
                    </a:lnTo>
                    <a:lnTo>
                      <a:pt x="51" y="2"/>
                    </a:lnTo>
                    <a:lnTo>
                      <a:pt x="50" y="2"/>
                    </a:lnTo>
                    <a:lnTo>
                      <a:pt x="49" y="2"/>
                    </a:lnTo>
                    <a:lnTo>
                      <a:pt x="48" y="3"/>
                    </a:lnTo>
                    <a:lnTo>
                      <a:pt x="47" y="3"/>
                    </a:lnTo>
                    <a:lnTo>
                      <a:pt x="46" y="3"/>
                    </a:lnTo>
                    <a:lnTo>
                      <a:pt x="45" y="4"/>
                    </a:lnTo>
                    <a:lnTo>
                      <a:pt x="44" y="4"/>
                    </a:lnTo>
                    <a:lnTo>
                      <a:pt x="43" y="4"/>
                    </a:lnTo>
                    <a:lnTo>
                      <a:pt x="42" y="5"/>
                    </a:lnTo>
                    <a:lnTo>
                      <a:pt x="41" y="5"/>
                    </a:lnTo>
                    <a:lnTo>
                      <a:pt x="40" y="6"/>
                    </a:lnTo>
                    <a:lnTo>
                      <a:pt x="39" y="6"/>
                    </a:lnTo>
                    <a:lnTo>
                      <a:pt x="38" y="6"/>
                    </a:lnTo>
                    <a:lnTo>
                      <a:pt x="37" y="7"/>
                    </a:lnTo>
                    <a:lnTo>
                      <a:pt x="36" y="7"/>
                    </a:lnTo>
                    <a:lnTo>
                      <a:pt x="35" y="8"/>
                    </a:lnTo>
                    <a:lnTo>
                      <a:pt x="34" y="8"/>
                    </a:lnTo>
                    <a:lnTo>
                      <a:pt x="33" y="9"/>
                    </a:lnTo>
                    <a:lnTo>
                      <a:pt x="32" y="10"/>
                    </a:lnTo>
                    <a:lnTo>
                      <a:pt x="31" y="10"/>
                    </a:lnTo>
                    <a:lnTo>
                      <a:pt x="30" y="11"/>
                    </a:lnTo>
                    <a:lnTo>
                      <a:pt x="29" y="12"/>
                    </a:lnTo>
                    <a:lnTo>
                      <a:pt x="28" y="12"/>
                    </a:lnTo>
                    <a:lnTo>
                      <a:pt x="27" y="13"/>
                    </a:lnTo>
                    <a:lnTo>
                      <a:pt x="26" y="14"/>
                    </a:lnTo>
                    <a:lnTo>
                      <a:pt x="25" y="15"/>
                    </a:lnTo>
                    <a:lnTo>
                      <a:pt x="24" y="15"/>
                    </a:lnTo>
                    <a:lnTo>
                      <a:pt x="23" y="16"/>
                    </a:lnTo>
                    <a:lnTo>
                      <a:pt x="22" y="17"/>
                    </a:lnTo>
                    <a:lnTo>
                      <a:pt x="21" y="18"/>
                    </a:lnTo>
                    <a:lnTo>
                      <a:pt x="20" y="19"/>
                    </a:lnTo>
                    <a:lnTo>
                      <a:pt x="19" y="20"/>
                    </a:lnTo>
                    <a:lnTo>
                      <a:pt x="18" y="21"/>
                    </a:lnTo>
                    <a:lnTo>
                      <a:pt x="17" y="22"/>
                    </a:lnTo>
                    <a:lnTo>
                      <a:pt x="16" y="23"/>
                    </a:lnTo>
                    <a:lnTo>
                      <a:pt x="15" y="24"/>
                    </a:lnTo>
                    <a:lnTo>
                      <a:pt x="15" y="25"/>
                    </a:lnTo>
                    <a:lnTo>
                      <a:pt x="14" y="26"/>
                    </a:lnTo>
                    <a:lnTo>
                      <a:pt x="13" y="27"/>
                    </a:lnTo>
                    <a:lnTo>
                      <a:pt x="12" y="28"/>
                    </a:lnTo>
                    <a:lnTo>
                      <a:pt x="12" y="29"/>
                    </a:lnTo>
                    <a:lnTo>
                      <a:pt x="11" y="30"/>
                    </a:lnTo>
                    <a:lnTo>
                      <a:pt x="10" y="31"/>
                    </a:lnTo>
                    <a:lnTo>
                      <a:pt x="10" y="32"/>
                    </a:lnTo>
                    <a:lnTo>
                      <a:pt x="9" y="33"/>
                    </a:lnTo>
                    <a:lnTo>
                      <a:pt x="8" y="34"/>
                    </a:lnTo>
                    <a:lnTo>
                      <a:pt x="8" y="35"/>
                    </a:lnTo>
                    <a:lnTo>
                      <a:pt x="7" y="36"/>
                    </a:lnTo>
                    <a:lnTo>
                      <a:pt x="7" y="37"/>
                    </a:lnTo>
                    <a:lnTo>
                      <a:pt x="6" y="38"/>
                    </a:lnTo>
                    <a:lnTo>
                      <a:pt x="6" y="39"/>
                    </a:lnTo>
                    <a:lnTo>
                      <a:pt x="6" y="40"/>
                    </a:lnTo>
                    <a:lnTo>
                      <a:pt x="5" y="41"/>
                    </a:lnTo>
                    <a:lnTo>
                      <a:pt x="5" y="42"/>
                    </a:lnTo>
                    <a:lnTo>
                      <a:pt x="4" y="43"/>
                    </a:lnTo>
                    <a:lnTo>
                      <a:pt x="4" y="44"/>
                    </a:lnTo>
                    <a:lnTo>
                      <a:pt x="4" y="45"/>
                    </a:lnTo>
                    <a:lnTo>
                      <a:pt x="3" y="46"/>
                    </a:lnTo>
                    <a:lnTo>
                      <a:pt x="3" y="47"/>
                    </a:lnTo>
                    <a:lnTo>
                      <a:pt x="3" y="48"/>
                    </a:lnTo>
                    <a:lnTo>
                      <a:pt x="2" y="49"/>
                    </a:lnTo>
                    <a:lnTo>
                      <a:pt x="2" y="50"/>
                    </a:lnTo>
                    <a:lnTo>
                      <a:pt x="2" y="51"/>
                    </a:lnTo>
                    <a:lnTo>
                      <a:pt x="2" y="52"/>
                    </a:lnTo>
                    <a:lnTo>
                      <a:pt x="1" y="53"/>
                    </a:lnTo>
                    <a:lnTo>
                      <a:pt x="1" y="54"/>
                    </a:lnTo>
                    <a:lnTo>
                      <a:pt x="1" y="55"/>
                    </a:lnTo>
                    <a:lnTo>
                      <a:pt x="1" y="56"/>
                    </a:lnTo>
                    <a:lnTo>
                      <a:pt x="1" y="57"/>
                    </a:lnTo>
                    <a:lnTo>
                      <a:pt x="1"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0" y="71"/>
                    </a:lnTo>
                    <a:lnTo>
                      <a:pt x="0" y="72"/>
                    </a:lnTo>
                    <a:lnTo>
                      <a:pt x="0" y="73"/>
                    </a:lnTo>
                    <a:lnTo>
                      <a:pt x="0" y="74"/>
                    </a:lnTo>
                    <a:lnTo>
                      <a:pt x="1" y="75"/>
                    </a:lnTo>
                    <a:lnTo>
                      <a:pt x="1" y="76"/>
                    </a:lnTo>
                    <a:lnTo>
                      <a:pt x="1" y="77"/>
                    </a:lnTo>
                    <a:lnTo>
                      <a:pt x="1" y="78"/>
                    </a:lnTo>
                    <a:lnTo>
                      <a:pt x="1" y="79"/>
                    </a:lnTo>
                    <a:lnTo>
                      <a:pt x="1" y="80"/>
                    </a:lnTo>
                    <a:lnTo>
                      <a:pt x="2" y="81"/>
                    </a:lnTo>
                    <a:lnTo>
                      <a:pt x="2" y="82"/>
                    </a:lnTo>
                    <a:lnTo>
                      <a:pt x="2" y="83"/>
                    </a:lnTo>
                    <a:lnTo>
                      <a:pt x="2" y="84"/>
                    </a:lnTo>
                    <a:lnTo>
                      <a:pt x="3" y="85"/>
                    </a:lnTo>
                    <a:lnTo>
                      <a:pt x="3" y="86"/>
                    </a:lnTo>
                    <a:lnTo>
                      <a:pt x="3" y="87"/>
                    </a:lnTo>
                    <a:lnTo>
                      <a:pt x="4" y="88"/>
                    </a:lnTo>
                    <a:lnTo>
                      <a:pt x="4" y="89"/>
                    </a:lnTo>
                    <a:lnTo>
                      <a:pt x="4" y="90"/>
                    </a:lnTo>
                    <a:lnTo>
                      <a:pt x="5" y="91"/>
                    </a:lnTo>
                    <a:lnTo>
                      <a:pt x="5" y="92"/>
                    </a:lnTo>
                    <a:lnTo>
                      <a:pt x="6" y="93"/>
                    </a:lnTo>
                    <a:lnTo>
                      <a:pt x="6" y="94"/>
                    </a:lnTo>
                    <a:lnTo>
                      <a:pt x="6" y="95"/>
                    </a:lnTo>
                    <a:lnTo>
                      <a:pt x="7" y="96"/>
                    </a:lnTo>
                    <a:lnTo>
                      <a:pt x="7" y="97"/>
                    </a:lnTo>
                    <a:lnTo>
                      <a:pt x="8" y="98"/>
                    </a:lnTo>
                    <a:lnTo>
                      <a:pt x="8" y="99"/>
                    </a:lnTo>
                    <a:lnTo>
                      <a:pt x="9" y="100"/>
                    </a:lnTo>
                    <a:lnTo>
                      <a:pt x="10" y="101"/>
                    </a:lnTo>
                    <a:lnTo>
                      <a:pt x="10" y="102"/>
                    </a:lnTo>
                    <a:lnTo>
                      <a:pt x="11" y="103"/>
                    </a:lnTo>
                    <a:lnTo>
                      <a:pt x="12" y="104"/>
                    </a:lnTo>
                    <a:lnTo>
                      <a:pt x="12" y="105"/>
                    </a:lnTo>
                    <a:lnTo>
                      <a:pt x="13" y="106"/>
                    </a:lnTo>
                    <a:lnTo>
                      <a:pt x="14" y="107"/>
                    </a:lnTo>
                    <a:lnTo>
                      <a:pt x="15" y="108"/>
                    </a:lnTo>
                    <a:lnTo>
                      <a:pt x="15" y="109"/>
                    </a:lnTo>
                    <a:lnTo>
                      <a:pt x="16" y="110"/>
                    </a:lnTo>
                    <a:lnTo>
                      <a:pt x="17" y="111"/>
                    </a:lnTo>
                    <a:lnTo>
                      <a:pt x="18" y="112"/>
                    </a:lnTo>
                    <a:lnTo>
                      <a:pt x="19" y="113"/>
                    </a:lnTo>
                    <a:lnTo>
                      <a:pt x="20" y="114"/>
                    </a:lnTo>
                    <a:lnTo>
                      <a:pt x="21" y="115"/>
                    </a:lnTo>
                    <a:lnTo>
                      <a:pt x="22" y="116"/>
                    </a:lnTo>
                    <a:lnTo>
                      <a:pt x="23" y="117"/>
                    </a:lnTo>
                    <a:lnTo>
                      <a:pt x="24" y="118"/>
                    </a:lnTo>
                    <a:lnTo>
                      <a:pt x="25" y="118"/>
                    </a:lnTo>
                    <a:lnTo>
                      <a:pt x="26" y="119"/>
                    </a:lnTo>
                    <a:lnTo>
                      <a:pt x="27" y="120"/>
                    </a:lnTo>
                    <a:lnTo>
                      <a:pt x="28" y="121"/>
                    </a:lnTo>
                    <a:lnTo>
                      <a:pt x="29" y="121"/>
                    </a:lnTo>
                    <a:lnTo>
                      <a:pt x="30" y="122"/>
                    </a:lnTo>
                    <a:lnTo>
                      <a:pt x="31" y="123"/>
                    </a:lnTo>
                    <a:lnTo>
                      <a:pt x="32" y="123"/>
                    </a:lnTo>
                    <a:lnTo>
                      <a:pt x="33" y="124"/>
                    </a:lnTo>
                    <a:lnTo>
                      <a:pt x="34" y="125"/>
                    </a:lnTo>
                    <a:lnTo>
                      <a:pt x="35" y="125"/>
                    </a:lnTo>
                    <a:lnTo>
                      <a:pt x="36" y="126"/>
                    </a:lnTo>
                    <a:lnTo>
                      <a:pt x="37" y="126"/>
                    </a:lnTo>
                    <a:lnTo>
                      <a:pt x="38" y="127"/>
                    </a:lnTo>
                    <a:lnTo>
                      <a:pt x="39" y="127"/>
                    </a:lnTo>
                    <a:lnTo>
                      <a:pt x="40" y="127"/>
                    </a:lnTo>
                    <a:lnTo>
                      <a:pt x="41" y="128"/>
                    </a:lnTo>
                    <a:lnTo>
                      <a:pt x="42" y="128"/>
                    </a:lnTo>
                    <a:lnTo>
                      <a:pt x="43" y="129"/>
                    </a:lnTo>
                    <a:lnTo>
                      <a:pt x="44" y="129"/>
                    </a:lnTo>
                    <a:lnTo>
                      <a:pt x="45" y="129"/>
                    </a:lnTo>
                    <a:lnTo>
                      <a:pt x="46" y="130"/>
                    </a:lnTo>
                    <a:lnTo>
                      <a:pt x="47" y="130"/>
                    </a:lnTo>
                    <a:lnTo>
                      <a:pt x="48" y="130"/>
                    </a:lnTo>
                    <a:lnTo>
                      <a:pt x="49" y="131"/>
                    </a:lnTo>
                    <a:lnTo>
                      <a:pt x="50" y="131"/>
                    </a:lnTo>
                    <a:lnTo>
                      <a:pt x="51" y="131"/>
                    </a:lnTo>
                    <a:lnTo>
                      <a:pt x="52" y="131"/>
                    </a:lnTo>
                    <a:lnTo>
                      <a:pt x="53" y="132"/>
                    </a:lnTo>
                    <a:lnTo>
                      <a:pt x="54" y="132"/>
                    </a:lnTo>
                    <a:lnTo>
                      <a:pt x="55" y="132"/>
                    </a:lnTo>
                    <a:lnTo>
                      <a:pt x="56" y="132"/>
                    </a:lnTo>
                    <a:lnTo>
                      <a:pt x="57" y="132"/>
                    </a:lnTo>
                    <a:lnTo>
                      <a:pt x="58" y="132"/>
                    </a:lnTo>
                    <a:lnTo>
                      <a:pt x="59" y="133"/>
                    </a:lnTo>
                    <a:lnTo>
                      <a:pt x="60" y="133"/>
                    </a:lnTo>
                    <a:lnTo>
                      <a:pt x="61" y="133"/>
                    </a:lnTo>
                    <a:lnTo>
                      <a:pt x="62" y="133"/>
                    </a:lnTo>
                    <a:lnTo>
                      <a:pt x="63" y="133"/>
                    </a:lnTo>
                    <a:lnTo>
                      <a:pt x="64" y="133"/>
                    </a:lnTo>
                    <a:lnTo>
                      <a:pt x="65" y="133"/>
                    </a:lnTo>
                    <a:lnTo>
                      <a:pt x="66" y="133"/>
                    </a:lnTo>
                    <a:lnTo>
                      <a:pt x="67" y="133"/>
                    </a:lnTo>
                    <a:lnTo>
                      <a:pt x="68" y="133"/>
                    </a:lnTo>
                    <a:lnTo>
                      <a:pt x="69" y="133"/>
                    </a:lnTo>
                    <a:lnTo>
                      <a:pt x="70" y="133"/>
                    </a:lnTo>
                    <a:lnTo>
                      <a:pt x="71" y="133"/>
                    </a:lnTo>
                    <a:lnTo>
                      <a:pt x="72" y="133"/>
                    </a:lnTo>
                    <a:lnTo>
                      <a:pt x="73" y="133"/>
                    </a:lnTo>
                    <a:lnTo>
                      <a:pt x="74" y="133"/>
                    </a:lnTo>
                    <a:lnTo>
                      <a:pt x="75" y="132"/>
                    </a:lnTo>
                    <a:lnTo>
                      <a:pt x="76" y="132"/>
                    </a:lnTo>
                    <a:lnTo>
                      <a:pt x="77" y="132"/>
                    </a:lnTo>
                    <a:lnTo>
                      <a:pt x="78" y="132"/>
                    </a:lnTo>
                    <a:lnTo>
                      <a:pt x="79" y="132"/>
                    </a:lnTo>
                    <a:lnTo>
                      <a:pt x="80" y="132"/>
                    </a:lnTo>
                    <a:lnTo>
                      <a:pt x="81" y="131"/>
                    </a:lnTo>
                    <a:lnTo>
                      <a:pt x="82" y="131"/>
                    </a:lnTo>
                    <a:lnTo>
                      <a:pt x="83" y="131"/>
                    </a:lnTo>
                    <a:lnTo>
                      <a:pt x="84" y="131"/>
                    </a:lnTo>
                    <a:lnTo>
                      <a:pt x="85" y="130"/>
                    </a:lnTo>
                    <a:lnTo>
                      <a:pt x="86" y="130"/>
                    </a:lnTo>
                    <a:lnTo>
                      <a:pt x="87" y="130"/>
                    </a:lnTo>
                    <a:lnTo>
                      <a:pt x="88" y="129"/>
                    </a:lnTo>
                    <a:lnTo>
                      <a:pt x="89" y="129"/>
                    </a:lnTo>
                    <a:lnTo>
                      <a:pt x="90" y="129"/>
                    </a:lnTo>
                    <a:lnTo>
                      <a:pt x="91" y="128"/>
                    </a:lnTo>
                    <a:lnTo>
                      <a:pt x="92" y="128"/>
                    </a:lnTo>
                    <a:lnTo>
                      <a:pt x="93" y="127"/>
                    </a:lnTo>
                    <a:lnTo>
                      <a:pt x="94" y="127"/>
                    </a:lnTo>
                    <a:lnTo>
                      <a:pt x="95" y="127"/>
                    </a:lnTo>
                    <a:lnTo>
                      <a:pt x="96" y="126"/>
                    </a:lnTo>
                    <a:lnTo>
                      <a:pt x="97" y="126"/>
                    </a:lnTo>
                    <a:lnTo>
                      <a:pt x="98" y="125"/>
                    </a:lnTo>
                    <a:lnTo>
                      <a:pt x="99" y="125"/>
                    </a:lnTo>
                    <a:lnTo>
                      <a:pt x="100" y="124"/>
                    </a:lnTo>
                    <a:lnTo>
                      <a:pt x="101" y="123"/>
                    </a:lnTo>
                    <a:lnTo>
                      <a:pt x="102" y="123"/>
                    </a:lnTo>
                    <a:lnTo>
                      <a:pt x="103" y="122"/>
                    </a:lnTo>
                    <a:lnTo>
                      <a:pt x="104" y="121"/>
                    </a:lnTo>
                    <a:lnTo>
                      <a:pt x="105" y="121"/>
                    </a:lnTo>
                    <a:lnTo>
                      <a:pt x="106" y="120"/>
                    </a:lnTo>
                    <a:lnTo>
                      <a:pt x="107" y="119"/>
                    </a:lnTo>
                    <a:lnTo>
                      <a:pt x="108" y="118"/>
                    </a:lnTo>
                    <a:lnTo>
                      <a:pt x="109" y="118"/>
                    </a:lnTo>
                    <a:lnTo>
                      <a:pt x="110" y="117"/>
                    </a:lnTo>
                    <a:lnTo>
                      <a:pt x="111" y="116"/>
                    </a:lnTo>
                    <a:lnTo>
                      <a:pt x="112" y="115"/>
                    </a:lnTo>
                    <a:lnTo>
                      <a:pt x="113" y="114"/>
                    </a:lnTo>
                    <a:lnTo>
                      <a:pt x="114" y="113"/>
                    </a:lnTo>
                    <a:lnTo>
                      <a:pt x="115" y="112"/>
                    </a:lnTo>
                    <a:lnTo>
                      <a:pt x="116" y="111"/>
                    </a:lnTo>
                    <a:lnTo>
                      <a:pt x="117" y="110"/>
                    </a:lnTo>
                    <a:lnTo>
                      <a:pt x="118" y="109"/>
                    </a:lnTo>
                    <a:lnTo>
                      <a:pt x="118" y="108"/>
                    </a:lnTo>
                    <a:lnTo>
                      <a:pt x="119" y="107"/>
                    </a:lnTo>
                    <a:lnTo>
                      <a:pt x="120" y="106"/>
                    </a:lnTo>
                    <a:lnTo>
                      <a:pt x="121" y="105"/>
                    </a:lnTo>
                    <a:lnTo>
                      <a:pt x="121" y="104"/>
                    </a:lnTo>
                    <a:lnTo>
                      <a:pt x="122" y="103"/>
                    </a:lnTo>
                    <a:lnTo>
                      <a:pt x="123" y="102"/>
                    </a:lnTo>
                    <a:lnTo>
                      <a:pt x="123" y="101"/>
                    </a:lnTo>
                    <a:lnTo>
                      <a:pt x="124" y="100"/>
                    </a:lnTo>
                    <a:lnTo>
                      <a:pt x="125" y="99"/>
                    </a:lnTo>
                    <a:lnTo>
                      <a:pt x="125" y="98"/>
                    </a:lnTo>
                    <a:lnTo>
                      <a:pt x="126" y="97"/>
                    </a:lnTo>
                    <a:lnTo>
                      <a:pt x="126" y="96"/>
                    </a:lnTo>
                    <a:lnTo>
                      <a:pt x="127" y="95"/>
                    </a:lnTo>
                    <a:lnTo>
                      <a:pt x="127" y="94"/>
                    </a:lnTo>
                    <a:lnTo>
                      <a:pt x="127" y="93"/>
                    </a:lnTo>
                    <a:lnTo>
                      <a:pt x="128" y="92"/>
                    </a:lnTo>
                    <a:lnTo>
                      <a:pt x="128" y="91"/>
                    </a:lnTo>
                    <a:lnTo>
                      <a:pt x="129" y="90"/>
                    </a:lnTo>
                    <a:lnTo>
                      <a:pt x="129" y="89"/>
                    </a:lnTo>
                    <a:lnTo>
                      <a:pt x="129" y="88"/>
                    </a:lnTo>
                    <a:lnTo>
                      <a:pt x="130" y="87"/>
                    </a:lnTo>
                    <a:lnTo>
                      <a:pt x="130" y="86"/>
                    </a:lnTo>
                    <a:lnTo>
                      <a:pt x="130" y="85"/>
                    </a:lnTo>
                    <a:lnTo>
                      <a:pt x="131" y="84"/>
                    </a:lnTo>
                    <a:lnTo>
                      <a:pt x="131" y="83"/>
                    </a:lnTo>
                    <a:lnTo>
                      <a:pt x="131" y="82"/>
                    </a:lnTo>
                    <a:lnTo>
                      <a:pt x="131" y="81"/>
                    </a:lnTo>
                    <a:lnTo>
                      <a:pt x="132" y="80"/>
                    </a:lnTo>
                    <a:lnTo>
                      <a:pt x="132" y="79"/>
                    </a:lnTo>
                    <a:lnTo>
                      <a:pt x="132" y="78"/>
                    </a:lnTo>
                    <a:lnTo>
                      <a:pt x="132" y="77"/>
                    </a:lnTo>
                    <a:lnTo>
                      <a:pt x="132" y="76"/>
                    </a:lnTo>
                    <a:lnTo>
                      <a:pt x="132" y="75"/>
                    </a:lnTo>
                    <a:lnTo>
                      <a:pt x="133" y="74"/>
                    </a:lnTo>
                    <a:lnTo>
                      <a:pt x="133" y="73"/>
                    </a:lnTo>
                    <a:lnTo>
                      <a:pt x="133" y="72"/>
                    </a:lnTo>
                    <a:lnTo>
                      <a:pt x="133" y="71"/>
                    </a:lnTo>
                    <a:lnTo>
                      <a:pt x="133" y="70"/>
                    </a:lnTo>
                    <a:lnTo>
                      <a:pt x="133" y="69"/>
                    </a:lnTo>
                    <a:lnTo>
                      <a:pt x="133" y="68"/>
                    </a:lnTo>
                    <a:lnTo>
                      <a:pt x="133" y="67"/>
                    </a:lnTo>
                    <a:lnTo>
                      <a:pt x="133" y="66"/>
                    </a:lnTo>
                    <a:close/>
                  </a:path>
                </a:pathLst>
              </a:custGeom>
              <a:solidFill>
                <a:srgbClr val="0073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51" name="Freeform 299"/>
              <p:cNvSpPr>
                <a:spLocks/>
              </p:cNvSpPr>
              <p:nvPr/>
            </p:nvSpPr>
            <p:spPr bwMode="auto">
              <a:xfrm>
                <a:off x="4489" y="1023"/>
                <a:ext cx="211" cy="211"/>
              </a:xfrm>
              <a:custGeom>
                <a:avLst/>
                <a:gdLst>
                  <a:gd name="T0" fmla="*/ 133 w 133"/>
                  <a:gd name="T1" fmla="*/ 61 h 133"/>
                  <a:gd name="T2" fmla="*/ 132 w 133"/>
                  <a:gd name="T3" fmla="*/ 55 h 133"/>
                  <a:gd name="T4" fmla="*/ 131 w 133"/>
                  <a:gd name="T5" fmla="*/ 49 h 133"/>
                  <a:gd name="T6" fmla="*/ 129 w 133"/>
                  <a:gd name="T7" fmla="*/ 43 h 133"/>
                  <a:gd name="T8" fmla="*/ 126 w 133"/>
                  <a:gd name="T9" fmla="*/ 37 h 133"/>
                  <a:gd name="T10" fmla="*/ 123 w 133"/>
                  <a:gd name="T11" fmla="*/ 31 h 133"/>
                  <a:gd name="T12" fmla="*/ 118 w 133"/>
                  <a:gd name="T13" fmla="*/ 25 h 133"/>
                  <a:gd name="T14" fmla="*/ 113 w 133"/>
                  <a:gd name="T15" fmla="*/ 19 h 133"/>
                  <a:gd name="T16" fmla="*/ 107 w 133"/>
                  <a:gd name="T17" fmla="*/ 14 h 133"/>
                  <a:gd name="T18" fmla="*/ 101 w 133"/>
                  <a:gd name="T19" fmla="*/ 10 h 133"/>
                  <a:gd name="T20" fmla="*/ 95 w 133"/>
                  <a:gd name="T21" fmla="*/ 6 h 133"/>
                  <a:gd name="T22" fmla="*/ 89 w 133"/>
                  <a:gd name="T23" fmla="*/ 4 h 133"/>
                  <a:gd name="T24" fmla="*/ 83 w 133"/>
                  <a:gd name="T25" fmla="*/ 2 h 133"/>
                  <a:gd name="T26" fmla="*/ 77 w 133"/>
                  <a:gd name="T27" fmla="*/ 1 h 133"/>
                  <a:gd name="T28" fmla="*/ 71 w 133"/>
                  <a:gd name="T29" fmla="*/ 0 h 133"/>
                  <a:gd name="T30" fmla="*/ 65 w 133"/>
                  <a:gd name="T31" fmla="*/ 0 h 133"/>
                  <a:gd name="T32" fmla="*/ 59 w 133"/>
                  <a:gd name="T33" fmla="*/ 0 h 133"/>
                  <a:gd name="T34" fmla="*/ 53 w 133"/>
                  <a:gd name="T35" fmla="*/ 1 h 133"/>
                  <a:gd name="T36" fmla="*/ 47 w 133"/>
                  <a:gd name="T37" fmla="*/ 3 h 133"/>
                  <a:gd name="T38" fmla="*/ 41 w 133"/>
                  <a:gd name="T39" fmla="*/ 5 h 133"/>
                  <a:gd name="T40" fmla="*/ 35 w 133"/>
                  <a:gd name="T41" fmla="*/ 8 h 133"/>
                  <a:gd name="T42" fmla="*/ 29 w 133"/>
                  <a:gd name="T43" fmla="*/ 12 h 133"/>
                  <a:gd name="T44" fmla="*/ 23 w 133"/>
                  <a:gd name="T45" fmla="*/ 16 h 133"/>
                  <a:gd name="T46" fmla="*/ 17 w 133"/>
                  <a:gd name="T47" fmla="*/ 22 h 133"/>
                  <a:gd name="T48" fmla="*/ 12 w 133"/>
                  <a:gd name="T49" fmla="*/ 28 h 133"/>
                  <a:gd name="T50" fmla="*/ 8 w 133"/>
                  <a:gd name="T51" fmla="*/ 34 h 133"/>
                  <a:gd name="T52" fmla="*/ 6 w 133"/>
                  <a:gd name="T53" fmla="*/ 40 h 133"/>
                  <a:gd name="T54" fmla="*/ 3 w 133"/>
                  <a:gd name="T55" fmla="*/ 46 h 133"/>
                  <a:gd name="T56" fmla="*/ 2 w 133"/>
                  <a:gd name="T57" fmla="*/ 52 h 133"/>
                  <a:gd name="T58" fmla="*/ 1 w 133"/>
                  <a:gd name="T59" fmla="*/ 58 h 133"/>
                  <a:gd name="T60" fmla="*/ 0 w 133"/>
                  <a:gd name="T61" fmla="*/ 64 h 133"/>
                  <a:gd name="T62" fmla="*/ 0 w 133"/>
                  <a:gd name="T63" fmla="*/ 70 h 133"/>
                  <a:gd name="T64" fmla="*/ 1 w 133"/>
                  <a:gd name="T65" fmla="*/ 76 h 133"/>
                  <a:gd name="T66" fmla="*/ 2 w 133"/>
                  <a:gd name="T67" fmla="*/ 82 h 133"/>
                  <a:gd name="T68" fmla="*/ 4 w 133"/>
                  <a:gd name="T69" fmla="*/ 88 h 133"/>
                  <a:gd name="T70" fmla="*/ 6 w 133"/>
                  <a:gd name="T71" fmla="*/ 94 h 133"/>
                  <a:gd name="T72" fmla="*/ 9 w 133"/>
                  <a:gd name="T73" fmla="*/ 100 h 133"/>
                  <a:gd name="T74" fmla="*/ 13 w 133"/>
                  <a:gd name="T75" fmla="*/ 106 h 133"/>
                  <a:gd name="T76" fmla="*/ 18 w 133"/>
                  <a:gd name="T77" fmla="*/ 112 h 133"/>
                  <a:gd name="T78" fmla="*/ 24 w 133"/>
                  <a:gd name="T79" fmla="*/ 118 h 133"/>
                  <a:gd name="T80" fmla="*/ 30 w 133"/>
                  <a:gd name="T81" fmla="*/ 122 h 133"/>
                  <a:gd name="T82" fmla="*/ 36 w 133"/>
                  <a:gd name="T83" fmla="*/ 126 h 133"/>
                  <a:gd name="T84" fmla="*/ 42 w 133"/>
                  <a:gd name="T85" fmla="*/ 128 h 133"/>
                  <a:gd name="T86" fmla="*/ 48 w 133"/>
                  <a:gd name="T87" fmla="*/ 130 h 133"/>
                  <a:gd name="T88" fmla="*/ 54 w 133"/>
                  <a:gd name="T89" fmla="*/ 132 h 133"/>
                  <a:gd name="T90" fmla="*/ 60 w 133"/>
                  <a:gd name="T91" fmla="*/ 133 h 133"/>
                  <a:gd name="T92" fmla="*/ 66 w 133"/>
                  <a:gd name="T93" fmla="*/ 133 h 133"/>
                  <a:gd name="T94" fmla="*/ 72 w 133"/>
                  <a:gd name="T95" fmla="*/ 133 h 133"/>
                  <a:gd name="T96" fmla="*/ 78 w 133"/>
                  <a:gd name="T97" fmla="*/ 132 h 133"/>
                  <a:gd name="T98" fmla="*/ 84 w 133"/>
                  <a:gd name="T99" fmla="*/ 131 h 133"/>
                  <a:gd name="T100" fmla="*/ 90 w 133"/>
                  <a:gd name="T101" fmla="*/ 129 h 133"/>
                  <a:gd name="T102" fmla="*/ 96 w 133"/>
                  <a:gd name="T103" fmla="*/ 126 h 133"/>
                  <a:gd name="T104" fmla="*/ 102 w 133"/>
                  <a:gd name="T105" fmla="*/ 123 h 133"/>
                  <a:gd name="T106" fmla="*/ 108 w 133"/>
                  <a:gd name="T107" fmla="*/ 118 h 133"/>
                  <a:gd name="T108" fmla="*/ 114 w 133"/>
                  <a:gd name="T109" fmla="*/ 113 h 133"/>
                  <a:gd name="T110" fmla="*/ 119 w 133"/>
                  <a:gd name="T111" fmla="*/ 107 h 133"/>
                  <a:gd name="T112" fmla="*/ 123 w 133"/>
                  <a:gd name="T113" fmla="*/ 101 h 133"/>
                  <a:gd name="T114" fmla="*/ 127 w 133"/>
                  <a:gd name="T115" fmla="*/ 95 h 133"/>
                  <a:gd name="T116" fmla="*/ 129 w 133"/>
                  <a:gd name="T117" fmla="*/ 89 h 133"/>
                  <a:gd name="T118" fmla="*/ 131 w 133"/>
                  <a:gd name="T119" fmla="*/ 83 h 133"/>
                  <a:gd name="T120" fmla="*/ 132 w 133"/>
                  <a:gd name="T121" fmla="*/ 77 h 133"/>
                  <a:gd name="T122" fmla="*/ 133 w 133"/>
                  <a:gd name="T123" fmla="*/ 7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133">
                    <a:moveTo>
                      <a:pt x="133" y="66"/>
                    </a:moveTo>
                    <a:lnTo>
                      <a:pt x="133" y="65"/>
                    </a:lnTo>
                    <a:lnTo>
                      <a:pt x="133" y="64"/>
                    </a:lnTo>
                    <a:lnTo>
                      <a:pt x="133" y="63"/>
                    </a:lnTo>
                    <a:lnTo>
                      <a:pt x="133" y="62"/>
                    </a:lnTo>
                    <a:lnTo>
                      <a:pt x="133" y="61"/>
                    </a:lnTo>
                    <a:lnTo>
                      <a:pt x="133" y="60"/>
                    </a:lnTo>
                    <a:lnTo>
                      <a:pt x="133" y="59"/>
                    </a:lnTo>
                    <a:lnTo>
                      <a:pt x="132" y="58"/>
                    </a:lnTo>
                    <a:lnTo>
                      <a:pt x="132" y="57"/>
                    </a:lnTo>
                    <a:lnTo>
                      <a:pt x="132" y="56"/>
                    </a:lnTo>
                    <a:lnTo>
                      <a:pt x="132" y="55"/>
                    </a:lnTo>
                    <a:lnTo>
                      <a:pt x="132" y="54"/>
                    </a:lnTo>
                    <a:lnTo>
                      <a:pt x="132" y="53"/>
                    </a:lnTo>
                    <a:lnTo>
                      <a:pt x="131" y="52"/>
                    </a:lnTo>
                    <a:lnTo>
                      <a:pt x="131" y="51"/>
                    </a:lnTo>
                    <a:lnTo>
                      <a:pt x="131" y="50"/>
                    </a:lnTo>
                    <a:lnTo>
                      <a:pt x="131" y="49"/>
                    </a:lnTo>
                    <a:lnTo>
                      <a:pt x="130" y="48"/>
                    </a:lnTo>
                    <a:lnTo>
                      <a:pt x="130" y="47"/>
                    </a:lnTo>
                    <a:lnTo>
                      <a:pt x="130" y="46"/>
                    </a:lnTo>
                    <a:lnTo>
                      <a:pt x="129" y="45"/>
                    </a:lnTo>
                    <a:lnTo>
                      <a:pt x="129" y="44"/>
                    </a:lnTo>
                    <a:lnTo>
                      <a:pt x="129" y="43"/>
                    </a:lnTo>
                    <a:lnTo>
                      <a:pt x="128" y="42"/>
                    </a:lnTo>
                    <a:lnTo>
                      <a:pt x="128" y="41"/>
                    </a:lnTo>
                    <a:lnTo>
                      <a:pt x="127" y="40"/>
                    </a:lnTo>
                    <a:lnTo>
                      <a:pt x="127" y="39"/>
                    </a:lnTo>
                    <a:lnTo>
                      <a:pt x="127" y="38"/>
                    </a:lnTo>
                    <a:lnTo>
                      <a:pt x="126" y="37"/>
                    </a:lnTo>
                    <a:lnTo>
                      <a:pt x="126" y="36"/>
                    </a:lnTo>
                    <a:lnTo>
                      <a:pt x="125" y="35"/>
                    </a:lnTo>
                    <a:lnTo>
                      <a:pt x="125" y="34"/>
                    </a:lnTo>
                    <a:lnTo>
                      <a:pt x="124" y="33"/>
                    </a:lnTo>
                    <a:lnTo>
                      <a:pt x="123" y="32"/>
                    </a:lnTo>
                    <a:lnTo>
                      <a:pt x="123" y="31"/>
                    </a:lnTo>
                    <a:lnTo>
                      <a:pt x="122" y="30"/>
                    </a:lnTo>
                    <a:lnTo>
                      <a:pt x="121" y="29"/>
                    </a:lnTo>
                    <a:lnTo>
                      <a:pt x="121" y="28"/>
                    </a:lnTo>
                    <a:lnTo>
                      <a:pt x="120" y="27"/>
                    </a:lnTo>
                    <a:lnTo>
                      <a:pt x="119" y="26"/>
                    </a:lnTo>
                    <a:lnTo>
                      <a:pt x="118" y="25"/>
                    </a:lnTo>
                    <a:lnTo>
                      <a:pt x="118" y="24"/>
                    </a:lnTo>
                    <a:lnTo>
                      <a:pt x="117" y="23"/>
                    </a:lnTo>
                    <a:lnTo>
                      <a:pt x="116" y="22"/>
                    </a:lnTo>
                    <a:lnTo>
                      <a:pt x="115" y="21"/>
                    </a:lnTo>
                    <a:lnTo>
                      <a:pt x="114" y="20"/>
                    </a:lnTo>
                    <a:lnTo>
                      <a:pt x="113" y="19"/>
                    </a:lnTo>
                    <a:lnTo>
                      <a:pt x="112" y="18"/>
                    </a:lnTo>
                    <a:lnTo>
                      <a:pt x="111" y="17"/>
                    </a:lnTo>
                    <a:lnTo>
                      <a:pt x="110" y="16"/>
                    </a:lnTo>
                    <a:lnTo>
                      <a:pt x="109" y="15"/>
                    </a:lnTo>
                    <a:lnTo>
                      <a:pt x="108" y="15"/>
                    </a:lnTo>
                    <a:lnTo>
                      <a:pt x="107" y="14"/>
                    </a:lnTo>
                    <a:lnTo>
                      <a:pt x="106" y="13"/>
                    </a:lnTo>
                    <a:lnTo>
                      <a:pt x="105" y="12"/>
                    </a:lnTo>
                    <a:lnTo>
                      <a:pt x="104" y="12"/>
                    </a:lnTo>
                    <a:lnTo>
                      <a:pt x="103" y="11"/>
                    </a:lnTo>
                    <a:lnTo>
                      <a:pt x="102" y="10"/>
                    </a:lnTo>
                    <a:lnTo>
                      <a:pt x="101" y="10"/>
                    </a:lnTo>
                    <a:lnTo>
                      <a:pt x="100" y="9"/>
                    </a:lnTo>
                    <a:lnTo>
                      <a:pt x="99" y="8"/>
                    </a:lnTo>
                    <a:lnTo>
                      <a:pt x="98" y="8"/>
                    </a:lnTo>
                    <a:lnTo>
                      <a:pt x="97" y="7"/>
                    </a:lnTo>
                    <a:lnTo>
                      <a:pt x="96" y="7"/>
                    </a:lnTo>
                    <a:lnTo>
                      <a:pt x="95" y="6"/>
                    </a:lnTo>
                    <a:lnTo>
                      <a:pt x="94" y="6"/>
                    </a:lnTo>
                    <a:lnTo>
                      <a:pt x="93" y="6"/>
                    </a:lnTo>
                    <a:lnTo>
                      <a:pt x="92" y="5"/>
                    </a:lnTo>
                    <a:lnTo>
                      <a:pt x="91" y="5"/>
                    </a:lnTo>
                    <a:lnTo>
                      <a:pt x="90" y="4"/>
                    </a:lnTo>
                    <a:lnTo>
                      <a:pt x="89" y="4"/>
                    </a:lnTo>
                    <a:lnTo>
                      <a:pt x="88" y="4"/>
                    </a:lnTo>
                    <a:lnTo>
                      <a:pt x="87" y="3"/>
                    </a:lnTo>
                    <a:lnTo>
                      <a:pt x="86" y="3"/>
                    </a:lnTo>
                    <a:lnTo>
                      <a:pt x="85" y="3"/>
                    </a:lnTo>
                    <a:lnTo>
                      <a:pt x="84" y="2"/>
                    </a:lnTo>
                    <a:lnTo>
                      <a:pt x="83" y="2"/>
                    </a:lnTo>
                    <a:lnTo>
                      <a:pt x="82" y="2"/>
                    </a:lnTo>
                    <a:lnTo>
                      <a:pt x="81" y="2"/>
                    </a:lnTo>
                    <a:lnTo>
                      <a:pt x="80" y="1"/>
                    </a:lnTo>
                    <a:lnTo>
                      <a:pt x="79" y="1"/>
                    </a:lnTo>
                    <a:lnTo>
                      <a:pt x="78" y="1"/>
                    </a:lnTo>
                    <a:lnTo>
                      <a:pt x="77" y="1"/>
                    </a:lnTo>
                    <a:lnTo>
                      <a:pt x="76" y="1"/>
                    </a:lnTo>
                    <a:lnTo>
                      <a:pt x="75" y="1"/>
                    </a:lnTo>
                    <a:lnTo>
                      <a:pt x="74" y="0"/>
                    </a:lnTo>
                    <a:lnTo>
                      <a:pt x="73" y="0"/>
                    </a:lnTo>
                    <a:lnTo>
                      <a:pt x="72" y="0"/>
                    </a:lnTo>
                    <a:lnTo>
                      <a:pt x="71" y="0"/>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1"/>
                    </a:lnTo>
                    <a:lnTo>
                      <a:pt x="57" y="1"/>
                    </a:lnTo>
                    <a:lnTo>
                      <a:pt x="56" y="1"/>
                    </a:lnTo>
                    <a:lnTo>
                      <a:pt x="55" y="1"/>
                    </a:lnTo>
                    <a:lnTo>
                      <a:pt x="54" y="1"/>
                    </a:lnTo>
                    <a:lnTo>
                      <a:pt x="53" y="1"/>
                    </a:lnTo>
                    <a:lnTo>
                      <a:pt x="52" y="2"/>
                    </a:lnTo>
                    <a:lnTo>
                      <a:pt x="51" y="2"/>
                    </a:lnTo>
                    <a:lnTo>
                      <a:pt x="50" y="2"/>
                    </a:lnTo>
                    <a:lnTo>
                      <a:pt x="49" y="2"/>
                    </a:lnTo>
                    <a:lnTo>
                      <a:pt x="48" y="3"/>
                    </a:lnTo>
                    <a:lnTo>
                      <a:pt x="47" y="3"/>
                    </a:lnTo>
                    <a:lnTo>
                      <a:pt x="46" y="3"/>
                    </a:lnTo>
                    <a:lnTo>
                      <a:pt x="45" y="4"/>
                    </a:lnTo>
                    <a:lnTo>
                      <a:pt x="44" y="4"/>
                    </a:lnTo>
                    <a:lnTo>
                      <a:pt x="43" y="4"/>
                    </a:lnTo>
                    <a:lnTo>
                      <a:pt x="42" y="5"/>
                    </a:lnTo>
                    <a:lnTo>
                      <a:pt x="41" y="5"/>
                    </a:lnTo>
                    <a:lnTo>
                      <a:pt x="40" y="6"/>
                    </a:lnTo>
                    <a:lnTo>
                      <a:pt x="39" y="6"/>
                    </a:lnTo>
                    <a:lnTo>
                      <a:pt x="38" y="6"/>
                    </a:lnTo>
                    <a:lnTo>
                      <a:pt x="37" y="7"/>
                    </a:lnTo>
                    <a:lnTo>
                      <a:pt x="36" y="7"/>
                    </a:lnTo>
                    <a:lnTo>
                      <a:pt x="35" y="8"/>
                    </a:lnTo>
                    <a:lnTo>
                      <a:pt x="34" y="8"/>
                    </a:lnTo>
                    <a:lnTo>
                      <a:pt x="33" y="9"/>
                    </a:lnTo>
                    <a:lnTo>
                      <a:pt x="32" y="10"/>
                    </a:lnTo>
                    <a:lnTo>
                      <a:pt x="31" y="10"/>
                    </a:lnTo>
                    <a:lnTo>
                      <a:pt x="30" y="11"/>
                    </a:lnTo>
                    <a:lnTo>
                      <a:pt x="29" y="12"/>
                    </a:lnTo>
                    <a:lnTo>
                      <a:pt x="28" y="12"/>
                    </a:lnTo>
                    <a:lnTo>
                      <a:pt x="27" y="13"/>
                    </a:lnTo>
                    <a:lnTo>
                      <a:pt x="26" y="14"/>
                    </a:lnTo>
                    <a:lnTo>
                      <a:pt x="25" y="15"/>
                    </a:lnTo>
                    <a:lnTo>
                      <a:pt x="24" y="15"/>
                    </a:lnTo>
                    <a:lnTo>
                      <a:pt x="23" y="16"/>
                    </a:lnTo>
                    <a:lnTo>
                      <a:pt x="22" y="17"/>
                    </a:lnTo>
                    <a:lnTo>
                      <a:pt x="21" y="18"/>
                    </a:lnTo>
                    <a:lnTo>
                      <a:pt x="20" y="19"/>
                    </a:lnTo>
                    <a:lnTo>
                      <a:pt x="19" y="20"/>
                    </a:lnTo>
                    <a:lnTo>
                      <a:pt x="18" y="21"/>
                    </a:lnTo>
                    <a:lnTo>
                      <a:pt x="17" y="22"/>
                    </a:lnTo>
                    <a:lnTo>
                      <a:pt x="16" y="23"/>
                    </a:lnTo>
                    <a:lnTo>
                      <a:pt x="15" y="24"/>
                    </a:lnTo>
                    <a:lnTo>
                      <a:pt x="15" y="25"/>
                    </a:lnTo>
                    <a:lnTo>
                      <a:pt x="14" y="26"/>
                    </a:lnTo>
                    <a:lnTo>
                      <a:pt x="13" y="27"/>
                    </a:lnTo>
                    <a:lnTo>
                      <a:pt x="12" y="28"/>
                    </a:lnTo>
                    <a:lnTo>
                      <a:pt x="12" y="29"/>
                    </a:lnTo>
                    <a:lnTo>
                      <a:pt x="11" y="30"/>
                    </a:lnTo>
                    <a:lnTo>
                      <a:pt x="10" y="31"/>
                    </a:lnTo>
                    <a:lnTo>
                      <a:pt x="10" y="32"/>
                    </a:lnTo>
                    <a:lnTo>
                      <a:pt x="9" y="33"/>
                    </a:lnTo>
                    <a:lnTo>
                      <a:pt x="8" y="34"/>
                    </a:lnTo>
                    <a:lnTo>
                      <a:pt x="8" y="35"/>
                    </a:lnTo>
                    <a:lnTo>
                      <a:pt x="7" y="36"/>
                    </a:lnTo>
                    <a:lnTo>
                      <a:pt x="7" y="37"/>
                    </a:lnTo>
                    <a:lnTo>
                      <a:pt x="6" y="38"/>
                    </a:lnTo>
                    <a:lnTo>
                      <a:pt x="6" y="39"/>
                    </a:lnTo>
                    <a:lnTo>
                      <a:pt x="6" y="40"/>
                    </a:lnTo>
                    <a:lnTo>
                      <a:pt x="5" y="41"/>
                    </a:lnTo>
                    <a:lnTo>
                      <a:pt x="5" y="42"/>
                    </a:lnTo>
                    <a:lnTo>
                      <a:pt x="4" y="43"/>
                    </a:lnTo>
                    <a:lnTo>
                      <a:pt x="4" y="44"/>
                    </a:lnTo>
                    <a:lnTo>
                      <a:pt x="4" y="45"/>
                    </a:lnTo>
                    <a:lnTo>
                      <a:pt x="3" y="46"/>
                    </a:lnTo>
                    <a:lnTo>
                      <a:pt x="3" y="47"/>
                    </a:lnTo>
                    <a:lnTo>
                      <a:pt x="3" y="48"/>
                    </a:lnTo>
                    <a:lnTo>
                      <a:pt x="2" y="49"/>
                    </a:lnTo>
                    <a:lnTo>
                      <a:pt x="2" y="50"/>
                    </a:lnTo>
                    <a:lnTo>
                      <a:pt x="2" y="51"/>
                    </a:lnTo>
                    <a:lnTo>
                      <a:pt x="2" y="52"/>
                    </a:lnTo>
                    <a:lnTo>
                      <a:pt x="1" y="53"/>
                    </a:lnTo>
                    <a:lnTo>
                      <a:pt x="1" y="54"/>
                    </a:lnTo>
                    <a:lnTo>
                      <a:pt x="1" y="55"/>
                    </a:lnTo>
                    <a:lnTo>
                      <a:pt x="1" y="56"/>
                    </a:lnTo>
                    <a:lnTo>
                      <a:pt x="1" y="57"/>
                    </a:lnTo>
                    <a:lnTo>
                      <a:pt x="1"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0" y="71"/>
                    </a:lnTo>
                    <a:lnTo>
                      <a:pt x="0" y="72"/>
                    </a:lnTo>
                    <a:lnTo>
                      <a:pt x="0" y="73"/>
                    </a:lnTo>
                    <a:lnTo>
                      <a:pt x="0" y="74"/>
                    </a:lnTo>
                    <a:lnTo>
                      <a:pt x="1" y="75"/>
                    </a:lnTo>
                    <a:lnTo>
                      <a:pt x="1" y="76"/>
                    </a:lnTo>
                    <a:lnTo>
                      <a:pt x="1" y="77"/>
                    </a:lnTo>
                    <a:lnTo>
                      <a:pt x="1" y="78"/>
                    </a:lnTo>
                    <a:lnTo>
                      <a:pt x="1" y="79"/>
                    </a:lnTo>
                    <a:lnTo>
                      <a:pt x="1" y="80"/>
                    </a:lnTo>
                    <a:lnTo>
                      <a:pt x="2" y="81"/>
                    </a:lnTo>
                    <a:lnTo>
                      <a:pt x="2" y="82"/>
                    </a:lnTo>
                    <a:lnTo>
                      <a:pt x="2" y="83"/>
                    </a:lnTo>
                    <a:lnTo>
                      <a:pt x="2" y="84"/>
                    </a:lnTo>
                    <a:lnTo>
                      <a:pt x="3" y="85"/>
                    </a:lnTo>
                    <a:lnTo>
                      <a:pt x="3" y="86"/>
                    </a:lnTo>
                    <a:lnTo>
                      <a:pt x="3" y="87"/>
                    </a:lnTo>
                    <a:lnTo>
                      <a:pt x="4" y="88"/>
                    </a:lnTo>
                    <a:lnTo>
                      <a:pt x="4" y="89"/>
                    </a:lnTo>
                    <a:lnTo>
                      <a:pt x="4" y="90"/>
                    </a:lnTo>
                    <a:lnTo>
                      <a:pt x="5" y="91"/>
                    </a:lnTo>
                    <a:lnTo>
                      <a:pt x="5" y="92"/>
                    </a:lnTo>
                    <a:lnTo>
                      <a:pt x="6" y="93"/>
                    </a:lnTo>
                    <a:lnTo>
                      <a:pt x="6" y="94"/>
                    </a:lnTo>
                    <a:lnTo>
                      <a:pt x="6" y="95"/>
                    </a:lnTo>
                    <a:lnTo>
                      <a:pt x="7" y="96"/>
                    </a:lnTo>
                    <a:lnTo>
                      <a:pt x="7" y="97"/>
                    </a:lnTo>
                    <a:lnTo>
                      <a:pt x="8" y="98"/>
                    </a:lnTo>
                    <a:lnTo>
                      <a:pt x="8" y="99"/>
                    </a:lnTo>
                    <a:lnTo>
                      <a:pt x="9" y="100"/>
                    </a:lnTo>
                    <a:lnTo>
                      <a:pt x="10" y="101"/>
                    </a:lnTo>
                    <a:lnTo>
                      <a:pt x="10" y="102"/>
                    </a:lnTo>
                    <a:lnTo>
                      <a:pt x="11" y="103"/>
                    </a:lnTo>
                    <a:lnTo>
                      <a:pt x="12" y="104"/>
                    </a:lnTo>
                    <a:lnTo>
                      <a:pt x="12" y="105"/>
                    </a:lnTo>
                    <a:lnTo>
                      <a:pt x="13" y="106"/>
                    </a:lnTo>
                    <a:lnTo>
                      <a:pt x="14" y="107"/>
                    </a:lnTo>
                    <a:lnTo>
                      <a:pt x="15" y="108"/>
                    </a:lnTo>
                    <a:lnTo>
                      <a:pt x="15" y="109"/>
                    </a:lnTo>
                    <a:lnTo>
                      <a:pt x="16" y="110"/>
                    </a:lnTo>
                    <a:lnTo>
                      <a:pt x="17" y="111"/>
                    </a:lnTo>
                    <a:lnTo>
                      <a:pt x="18" y="112"/>
                    </a:lnTo>
                    <a:lnTo>
                      <a:pt x="19" y="113"/>
                    </a:lnTo>
                    <a:lnTo>
                      <a:pt x="20" y="114"/>
                    </a:lnTo>
                    <a:lnTo>
                      <a:pt x="21" y="115"/>
                    </a:lnTo>
                    <a:lnTo>
                      <a:pt x="22" y="116"/>
                    </a:lnTo>
                    <a:lnTo>
                      <a:pt x="23" y="117"/>
                    </a:lnTo>
                    <a:lnTo>
                      <a:pt x="24" y="118"/>
                    </a:lnTo>
                    <a:lnTo>
                      <a:pt x="25" y="118"/>
                    </a:lnTo>
                    <a:lnTo>
                      <a:pt x="26" y="119"/>
                    </a:lnTo>
                    <a:lnTo>
                      <a:pt x="27" y="120"/>
                    </a:lnTo>
                    <a:lnTo>
                      <a:pt x="28" y="121"/>
                    </a:lnTo>
                    <a:lnTo>
                      <a:pt x="29" y="121"/>
                    </a:lnTo>
                    <a:lnTo>
                      <a:pt x="30" y="122"/>
                    </a:lnTo>
                    <a:lnTo>
                      <a:pt x="31" y="123"/>
                    </a:lnTo>
                    <a:lnTo>
                      <a:pt x="32" y="123"/>
                    </a:lnTo>
                    <a:lnTo>
                      <a:pt x="33" y="124"/>
                    </a:lnTo>
                    <a:lnTo>
                      <a:pt x="34" y="125"/>
                    </a:lnTo>
                    <a:lnTo>
                      <a:pt x="35" y="125"/>
                    </a:lnTo>
                    <a:lnTo>
                      <a:pt x="36" y="126"/>
                    </a:lnTo>
                    <a:lnTo>
                      <a:pt x="37" y="126"/>
                    </a:lnTo>
                    <a:lnTo>
                      <a:pt x="38" y="127"/>
                    </a:lnTo>
                    <a:lnTo>
                      <a:pt x="39" y="127"/>
                    </a:lnTo>
                    <a:lnTo>
                      <a:pt x="40" y="127"/>
                    </a:lnTo>
                    <a:lnTo>
                      <a:pt x="41" y="128"/>
                    </a:lnTo>
                    <a:lnTo>
                      <a:pt x="42" y="128"/>
                    </a:lnTo>
                    <a:lnTo>
                      <a:pt x="43" y="129"/>
                    </a:lnTo>
                    <a:lnTo>
                      <a:pt x="44" y="129"/>
                    </a:lnTo>
                    <a:lnTo>
                      <a:pt x="45" y="129"/>
                    </a:lnTo>
                    <a:lnTo>
                      <a:pt x="46" y="130"/>
                    </a:lnTo>
                    <a:lnTo>
                      <a:pt x="47" y="130"/>
                    </a:lnTo>
                    <a:lnTo>
                      <a:pt x="48" y="130"/>
                    </a:lnTo>
                    <a:lnTo>
                      <a:pt x="49" y="131"/>
                    </a:lnTo>
                    <a:lnTo>
                      <a:pt x="50" y="131"/>
                    </a:lnTo>
                    <a:lnTo>
                      <a:pt x="51" y="131"/>
                    </a:lnTo>
                    <a:lnTo>
                      <a:pt x="52" y="131"/>
                    </a:lnTo>
                    <a:lnTo>
                      <a:pt x="53" y="132"/>
                    </a:lnTo>
                    <a:lnTo>
                      <a:pt x="54" y="132"/>
                    </a:lnTo>
                    <a:lnTo>
                      <a:pt x="55" y="132"/>
                    </a:lnTo>
                    <a:lnTo>
                      <a:pt x="56" y="132"/>
                    </a:lnTo>
                    <a:lnTo>
                      <a:pt x="57" y="132"/>
                    </a:lnTo>
                    <a:lnTo>
                      <a:pt x="58" y="132"/>
                    </a:lnTo>
                    <a:lnTo>
                      <a:pt x="59" y="133"/>
                    </a:lnTo>
                    <a:lnTo>
                      <a:pt x="60" y="133"/>
                    </a:lnTo>
                    <a:lnTo>
                      <a:pt x="61" y="133"/>
                    </a:lnTo>
                    <a:lnTo>
                      <a:pt x="62" y="133"/>
                    </a:lnTo>
                    <a:lnTo>
                      <a:pt x="63" y="133"/>
                    </a:lnTo>
                    <a:lnTo>
                      <a:pt x="64" y="133"/>
                    </a:lnTo>
                    <a:lnTo>
                      <a:pt x="65" y="133"/>
                    </a:lnTo>
                    <a:lnTo>
                      <a:pt x="66" y="133"/>
                    </a:lnTo>
                    <a:lnTo>
                      <a:pt x="67" y="133"/>
                    </a:lnTo>
                    <a:lnTo>
                      <a:pt x="68" y="133"/>
                    </a:lnTo>
                    <a:lnTo>
                      <a:pt x="69" y="133"/>
                    </a:lnTo>
                    <a:lnTo>
                      <a:pt x="70" y="133"/>
                    </a:lnTo>
                    <a:lnTo>
                      <a:pt x="71" y="133"/>
                    </a:lnTo>
                    <a:lnTo>
                      <a:pt x="72" y="133"/>
                    </a:lnTo>
                    <a:lnTo>
                      <a:pt x="73" y="133"/>
                    </a:lnTo>
                    <a:lnTo>
                      <a:pt x="74" y="133"/>
                    </a:lnTo>
                    <a:lnTo>
                      <a:pt x="75" y="132"/>
                    </a:lnTo>
                    <a:lnTo>
                      <a:pt x="76" y="132"/>
                    </a:lnTo>
                    <a:lnTo>
                      <a:pt x="77" y="132"/>
                    </a:lnTo>
                    <a:lnTo>
                      <a:pt x="78" y="132"/>
                    </a:lnTo>
                    <a:lnTo>
                      <a:pt x="79" y="132"/>
                    </a:lnTo>
                    <a:lnTo>
                      <a:pt x="80" y="132"/>
                    </a:lnTo>
                    <a:lnTo>
                      <a:pt x="81" y="131"/>
                    </a:lnTo>
                    <a:lnTo>
                      <a:pt x="82" y="131"/>
                    </a:lnTo>
                    <a:lnTo>
                      <a:pt x="83" y="131"/>
                    </a:lnTo>
                    <a:lnTo>
                      <a:pt x="84" y="131"/>
                    </a:lnTo>
                    <a:lnTo>
                      <a:pt x="85" y="130"/>
                    </a:lnTo>
                    <a:lnTo>
                      <a:pt x="86" y="130"/>
                    </a:lnTo>
                    <a:lnTo>
                      <a:pt x="87" y="130"/>
                    </a:lnTo>
                    <a:lnTo>
                      <a:pt x="88" y="129"/>
                    </a:lnTo>
                    <a:lnTo>
                      <a:pt x="89" y="129"/>
                    </a:lnTo>
                    <a:lnTo>
                      <a:pt x="90" y="129"/>
                    </a:lnTo>
                    <a:lnTo>
                      <a:pt x="91" y="128"/>
                    </a:lnTo>
                    <a:lnTo>
                      <a:pt x="92" y="128"/>
                    </a:lnTo>
                    <a:lnTo>
                      <a:pt x="93" y="127"/>
                    </a:lnTo>
                    <a:lnTo>
                      <a:pt x="94" y="127"/>
                    </a:lnTo>
                    <a:lnTo>
                      <a:pt x="95" y="127"/>
                    </a:lnTo>
                    <a:lnTo>
                      <a:pt x="96" y="126"/>
                    </a:lnTo>
                    <a:lnTo>
                      <a:pt x="97" y="126"/>
                    </a:lnTo>
                    <a:lnTo>
                      <a:pt x="98" y="125"/>
                    </a:lnTo>
                    <a:lnTo>
                      <a:pt x="99" y="125"/>
                    </a:lnTo>
                    <a:lnTo>
                      <a:pt x="100" y="124"/>
                    </a:lnTo>
                    <a:lnTo>
                      <a:pt x="101" y="123"/>
                    </a:lnTo>
                    <a:lnTo>
                      <a:pt x="102" y="123"/>
                    </a:lnTo>
                    <a:lnTo>
                      <a:pt x="103" y="122"/>
                    </a:lnTo>
                    <a:lnTo>
                      <a:pt x="104" y="121"/>
                    </a:lnTo>
                    <a:lnTo>
                      <a:pt x="105" y="121"/>
                    </a:lnTo>
                    <a:lnTo>
                      <a:pt x="106" y="120"/>
                    </a:lnTo>
                    <a:lnTo>
                      <a:pt x="107" y="119"/>
                    </a:lnTo>
                    <a:lnTo>
                      <a:pt x="108" y="118"/>
                    </a:lnTo>
                    <a:lnTo>
                      <a:pt x="109" y="118"/>
                    </a:lnTo>
                    <a:lnTo>
                      <a:pt x="110" y="117"/>
                    </a:lnTo>
                    <a:lnTo>
                      <a:pt x="111" y="116"/>
                    </a:lnTo>
                    <a:lnTo>
                      <a:pt x="112" y="115"/>
                    </a:lnTo>
                    <a:lnTo>
                      <a:pt x="113" y="114"/>
                    </a:lnTo>
                    <a:lnTo>
                      <a:pt x="114" y="113"/>
                    </a:lnTo>
                    <a:lnTo>
                      <a:pt x="115" y="112"/>
                    </a:lnTo>
                    <a:lnTo>
                      <a:pt x="116" y="111"/>
                    </a:lnTo>
                    <a:lnTo>
                      <a:pt x="117" y="110"/>
                    </a:lnTo>
                    <a:lnTo>
                      <a:pt x="118" y="109"/>
                    </a:lnTo>
                    <a:lnTo>
                      <a:pt x="118" y="108"/>
                    </a:lnTo>
                    <a:lnTo>
                      <a:pt x="119" y="107"/>
                    </a:lnTo>
                    <a:lnTo>
                      <a:pt x="120" y="106"/>
                    </a:lnTo>
                    <a:lnTo>
                      <a:pt x="121" y="105"/>
                    </a:lnTo>
                    <a:lnTo>
                      <a:pt x="121" y="104"/>
                    </a:lnTo>
                    <a:lnTo>
                      <a:pt x="122" y="103"/>
                    </a:lnTo>
                    <a:lnTo>
                      <a:pt x="123" y="102"/>
                    </a:lnTo>
                    <a:lnTo>
                      <a:pt x="123" y="101"/>
                    </a:lnTo>
                    <a:lnTo>
                      <a:pt x="124" y="100"/>
                    </a:lnTo>
                    <a:lnTo>
                      <a:pt x="125" y="99"/>
                    </a:lnTo>
                    <a:lnTo>
                      <a:pt x="125" y="98"/>
                    </a:lnTo>
                    <a:lnTo>
                      <a:pt x="126" y="97"/>
                    </a:lnTo>
                    <a:lnTo>
                      <a:pt x="126" y="96"/>
                    </a:lnTo>
                    <a:lnTo>
                      <a:pt x="127" y="95"/>
                    </a:lnTo>
                    <a:lnTo>
                      <a:pt x="127" y="94"/>
                    </a:lnTo>
                    <a:lnTo>
                      <a:pt x="127" y="93"/>
                    </a:lnTo>
                    <a:lnTo>
                      <a:pt x="128" y="92"/>
                    </a:lnTo>
                    <a:lnTo>
                      <a:pt x="128" y="91"/>
                    </a:lnTo>
                    <a:lnTo>
                      <a:pt x="129" y="90"/>
                    </a:lnTo>
                    <a:lnTo>
                      <a:pt x="129" y="89"/>
                    </a:lnTo>
                    <a:lnTo>
                      <a:pt x="129" y="88"/>
                    </a:lnTo>
                    <a:lnTo>
                      <a:pt x="130" y="87"/>
                    </a:lnTo>
                    <a:lnTo>
                      <a:pt x="130" y="86"/>
                    </a:lnTo>
                    <a:lnTo>
                      <a:pt x="130" y="85"/>
                    </a:lnTo>
                    <a:lnTo>
                      <a:pt x="131" y="84"/>
                    </a:lnTo>
                    <a:lnTo>
                      <a:pt x="131" y="83"/>
                    </a:lnTo>
                    <a:lnTo>
                      <a:pt x="131" y="82"/>
                    </a:lnTo>
                    <a:lnTo>
                      <a:pt x="131" y="81"/>
                    </a:lnTo>
                    <a:lnTo>
                      <a:pt x="132" y="80"/>
                    </a:lnTo>
                    <a:lnTo>
                      <a:pt x="132" y="79"/>
                    </a:lnTo>
                    <a:lnTo>
                      <a:pt x="132" y="78"/>
                    </a:lnTo>
                    <a:lnTo>
                      <a:pt x="132" y="77"/>
                    </a:lnTo>
                    <a:lnTo>
                      <a:pt x="132" y="76"/>
                    </a:lnTo>
                    <a:lnTo>
                      <a:pt x="132" y="75"/>
                    </a:lnTo>
                    <a:lnTo>
                      <a:pt x="133" y="74"/>
                    </a:lnTo>
                    <a:lnTo>
                      <a:pt x="133" y="73"/>
                    </a:lnTo>
                    <a:lnTo>
                      <a:pt x="133" y="72"/>
                    </a:lnTo>
                    <a:lnTo>
                      <a:pt x="133" y="71"/>
                    </a:lnTo>
                    <a:lnTo>
                      <a:pt x="133" y="70"/>
                    </a:lnTo>
                    <a:lnTo>
                      <a:pt x="133" y="69"/>
                    </a:lnTo>
                    <a:lnTo>
                      <a:pt x="133" y="68"/>
                    </a:lnTo>
                    <a:lnTo>
                      <a:pt x="133" y="67"/>
                    </a:lnTo>
                    <a:lnTo>
                      <a:pt x="133" y="66"/>
                    </a:lnTo>
                    <a:close/>
                  </a:path>
                </a:pathLst>
              </a:custGeom>
              <a:solidFill>
                <a:srgbClr val="0073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72" name="Freeform 293"/>
              <p:cNvSpPr>
                <a:spLocks/>
              </p:cNvSpPr>
              <p:nvPr/>
            </p:nvSpPr>
            <p:spPr bwMode="auto">
              <a:xfrm>
                <a:off x="5148" y="2858"/>
                <a:ext cx="211" cy="211"/>
              </a:xfrm>
              <a:custGeom>
                <a:avLst/>
                <a:gdLst>
                  <a:gd name="T0" fmla="*/ 133 w 133"/>
                  <a:gd name="T1" fmla="*/ 61 h 133"/>
                  <a:gd name="T2" fmla="*/ 132 w 133"/>
                  <a:gd name="T3" fmla="*/ 55 h 133"/>
                  <a:gd name="T4" fmla="*/ 131 w 133"/>
                  <a:gd name="T5" fmla="*/ 49 h 133"/>
                  <a:gd name="T6" fmla="*/ 129 w 133"/>
                  <a:gd name="T7" fmla="*/ 43 h 133"/>
                  <a:gd name="T8" fmla="*/ 126 w 133"/>
                  <a:gd name="T9" fmla="*/ 37 h 133"/>
                  <a:gd name="T10" fmla="*/ 123 w 133"/>
                  <a:gd name="T11" fmla="*/ 31 h 133"/>
                  <a:gd name="T12" fmla="*/ 118 w 133"/>
                  <a:gd name="T13" fmla="*/ 25 h 133"/>
                  <a:gd name="T14" fmla="*/ 113 w 133"/>
                  <a:gd name="T15" fmla="*/ 19 h 133"/>
                  <a:gd name="T16" fmla="*/ 107 w 133"/>
                  <a:gd name="T17" fmla="*/ 14 h 133"/>
                  <a:gd name="T18" fmla="*/ 101 w 133"/>
                  <a:gd name="T19" fmla="*/ 10 h 133"/>
                  <a:gd name="T20" fmla="*/ 95 w 133"/>
                  <a:gd name="T21" fmla="*/ 6 h 133"/>
                  <a:gd name="T22" fmla="*/ 89 w 133"/>
                  <a:gd name="T23" fmla="*/ 4 h 133"/>
                  <a:gd name="T24" fmla="*/ 83 w 133"/>
                  <a:gd name="T25" fmla="*/ 2 h 133"/>
                  <a:gd name="T26" fmla="*/ 77 w 133"/>
                  <a:gd name="T27" fmla="*/ 1 h 133"/>
                  <a:gd name="T28" fmla="*/ 71 w 133"/>
                  <a:gd name="T29" fmla="*/ 0 h 133"/>
                  <a:gd name="T30" fmla="*/ 65 w 133"/>
                  <a:gd name="T31" fmla="*/ 0 h 133"/>
                  <a:gd name="T32" fmla="*/ 59 w 133"/>
                  <a:gd name="T33" fmla="*/ 0 h 133"/>
                  <a:gd name="T34" fmla="*/ 53 w 133"/>
                  <a:gd name="T35" fmla="*/ 1 h 133"/>
                  <a:gd name="T36" fmla="*/ 47 w 133"/>
                  <a:gd name="T37" fmla="*/ 3 h 133"/>
                  <a:gd name="T38" fmla="*/ 41 w 133"/>
                  <a:gd name="T39" fmla="*/ 5 h 133"/>
                  <a:gd name="T40" fmla="*/ 35 w 133"/>
                  <a:gd name="T41" fmla="*/ 8 h 133"/>
                  <a:gd name="T42" fmla="*/ 29 w 133"/>
                  <a:gd name="T43" fmla="*/ 12 h 133"/>
                  <a:gd name="T44" fmla="*/ 23 w 133"/>
                  <a:gd name="T45" fmla="*/ 16 h 133"/>
                  <a:gd name="T46" fmla="*/ 17 w 133"/>
                  <a:gd name="T47" fmla="*/ 22 h 133"/>
                  <a:gd name="T48" fmla="*/ 12 w 133"/>
                  <a:gd name="T49" fmla="*/ 28 h 133"/>
                  <a:gd name="T50" fmla="*/ 8 w 133"/>
                  <a:gd name="T51" fmla="*/ 34 h 133"/>
                  <a:gd name="T52" fmla="*/ 6 w 133"/>
                  <a:gd name="T53" fmla="*/ 40 h 133"/>
                  <a:gd name="T54" fmla="*/ 3 w 133"/>
                  <a:gd name="T55" fmla="*/ 46 h 133"/>
                  <a:gd name="T56" fmla="*/ 2 w 133"/>
                  <a:gd name="T57" fmla="*/ 52 h 133"/>
                  <a:gd name="T58" fmla="*/ 1 w 133"/>
                  <a:gd name="T59" fmla="*/ 58 h 133"/>
                  <a:gd name="T60" fmla="*/ 0 w 133"/>
                  <a:gd name="T61" fmla="*/ 64 h 133"/>
                  <a:gd name="T62" fmla="*/ 0 w 133"/>
                  <a:gd name="T63" fmla="*/ 70 h 133"/>
                  <a:gd name="T64" fmla="*/ 1 w 133"/>
                  <a:gd name="T65" fmla="*/ 76 h 133"/>
                  <a:gd name="T66" fmla="*/ 2 w 133"/>
                  <a:gd name="T67" fmla="*/ 82 h 133"/>
                  <a:gd name="T68" fmla="*/ 4 w 133"/>
                  <a:gd name="T69" fmla="*/ 88 h 133"/>
                  <a:gd name="T70" fmla="*/ 6 w 133"/>
                  <a:gd name="T71" fmla="*/ 94 h 133"/>
                  <a:gd name="T72" fmla="*/ 9 w 133"/>
                  <a:gd name="T73" fmla="*/ 100 h 133"/>
                  <a:gd name="T74" fmla="*/ 13 w 133"/>
                  <a:gd name="T75" fmla="*/ 106 h 133"/>
                  <a:gd name="T76" fmla="*/ 18 w 133"/>
                  <a:gd name="T77" fmla="*/ 112 h 133"/>
                  <a:gd name="T78" fmla="*/ 24 w 133"/>
                  <a:gd name="T79" fmla="*/ 118 h 133"/>
                  <a:gd name="T80" fmla="*/ 30 w 133"/>
                  <a:gd name="T81" fmla="*/ 122 h 133"/>
                  <a:gd name="T82" fmla="*/ 36 w 133"/>
                  <a:gd name="T83" fmla="*/ 126 h 133"/>
                  <a:gd name="T84" fmla="*/ 42 w 133"/>
                  <a:gd name="T85" fmla="*/ 128 h 133"/>
                  <a:gd name="T86" fmla="*/ 48 w 133"/>
                  <a:gd name="T87" fmla="*/ 130 h 133"/>
                  <a:gd name="T88" fmla="*/ 54 w 133"/>
                  <a:gd name="T89" fmla="*/ 132 h 133"/>
                  <a:gd name="T90" fmla="*/ 60 w 133"/>
                  <a:gd name="T91" fmla="*/ 133 h 133"/>
                  <a:gd name="T92" fmla="*/ 66 w 133"/>
                  <a:gd name="T93" fmla="*/ 133 h 133"/>
                  <a:gd name="T94" fmla="*/ 72 w 133"/>
                  <a:gd name="T95" fmla="*/ 133 h 133"/>
                  <a:gd name="T96" fmla="*/ 78 w 133"/>
                  <a:gd name="T97" fmla="*/ 132 h 133"/>
                  <a:gd name="T98" fmla="*/ 84 w 133"/>
                  <a:gd name="T99" fmla="*/ 131 h 133"/>
                  <a:gd name="T100" fmla="*/ 90 w 133"/>
                  <a:gd name="T101" fmla="*/ 129 h 133"/>
                  <a:gd name="T102" fmla="*/ 96 w 133"/>
                  <a:gd name="T103" fmla="*/ 126 h 133"/>
                  <a:gd name="T104" fmla="*/ 102 w 133"/>
                  <a:gd name="T105" fmla="*/ 123 h 133"/>
                  <a:gd name="T106" fmla="*/ 108 w 133"/>
                  <a:gd name="T107" fmla="*/ 118 h 133"/>
                  <a:gd name="T108" fmla="*/ 114 w 133"/>
                  <a:gd name="T109" fmla="*/ 113 h 133"/>
                  <a:gd name="T110" fmla="*/ 119 w 133"/>
                  <a:gd name="T111" fmla="*/ 107 h 133"/>
                  <a:gd name="T112" fmla="*/ 123 w 133"/>
                  <a:gd name="T113" fmla="*/ 101 h 133"/>
                  <a:gd name="T114" fmla="*/ 127 w 133"/>
                  <a:gd name="T115" fmla="*/ 95 h 133"/>
                  <a:gd name="T116" fmla="*/ 129 w 133"/>
                  <a:gd name="T117" fmla="*/ 89 h 133"/>
                  <a:gd name="T118" fmla="*/ 131 w 133"/>
                  <a:gd name="T119" fmla="*/ 83 h 133"/>
                  <a:gd name="T120" fmla="*/ 132 w 133"/>
                  <a:gd name="T121" fmla="*/ 77 h 133"/>
                  <a:gd name="T122" fmla="*/ 133 w 133"/>
                  <a:gd name="T123" fmla="*/ 7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133">
                    <a:moveTo>
                      <a:pt x="133" y="66"/>
                    </a:moveTo>
                    <a:lnTo>
                      <a:pt x="133" y="65"/>
                    </a:lnTo>
                    <a:lnTo>
                      <a:pt x="133" y="64"/>
                    </a:lnTo>
                    <a:lnTo>
                      <a:pt x="133" y="63"/>
                    </a:lnTo>
                    <a:lnTo>
                      <a:pt x="133" y="62"/>
                    </a:lnTo>
                    <a:lnTo>
                      <a:pt x="133" y="61"/>
                    </a:lnTo>
                    <a:lnTo>
                      <a:pt x="133" y="60"/>
                    </a:lnTo>
                    <a:lnTo>
                      <a:pt x="133" y="59"/>
                    </a:lnTo>
                    <a:lnTo>
                      <a:pt x="132" y="58"/>
                    </a:lnTo>
                    <a:lnTo>
                      <a:pt x="132" y="57"/>
                    </a:lnTo>
                    <a:lnTo>
                      <a:pt x="132" y="56"/>
                    </a:lnTo>
                    <a:lnTo>
                      <a:pt x="132" y="55"/>
                    </a:lnTo>
                    <a:lnTo>
                      <a:pt x="132" y="54"/>
                    </a:lnTo>
                    <a:lnTo>
                      <a:pt x="132" y="53"/>
                    </a:lnTo>
                    <a:lnTo>
                      <a:pt x="131" y="52"/>
                    </a:lnTo>
                    <a:lnTo>
                      <a:pt x="131" y="51"/>
                    </a:lnTo>
                    <a:lnTo>
                      <a:pt x="131" y="50"/>
                    </a:lnTo>
                    <a:lnTo>
                      <a:pt x="131" y="49"/>
                    </a:lnTo>
                    <a:lnTo>
                      <a:pt x="130" y="48"/>
                    </a:lnTo>
                    <a:lnTo>
                      <a:pt x="130" y="47"/>
                    </a:lnTo>
                    <a:lnTo>
                      <a:pt x="130" y="46"/>
                    </a:lnTo>
                    <a:lnTo>
                      <a:pt x="129" y="45"/>
                    </a:lnTo>
                    <a:lnTo>
                      <a:pt x="129" y="44"/>
                    </a:lnTo>
                    <a:lnTo>
                      <a:pt x="129" y="43"/>
                    </a:lnTo>
                    <a:lnTo>
                      <a:pt x="128" y="42"/>
                    </a:lnTo>
                    <a:lnTo>
                      <a:pt x="128" y="41"/>
                    </a:lnTo>
                    <a:lnTo>
                      <a:pt x="127" y="40"/>
                    </a:lnTo>
                    <a:lnTo>
                      <a:pt x="127" y="39"/>
                    </a:lnTo>
                    <a:lnTo>
                      <a:pt x="127" y="38"/>
                    </a:lnTo>
                    <a:lnTo>
                      <a:pt x="126" y="37"/>
                    </a:lnTo>
                    <a:lnTo>
                      <a:pt x="126" y="36"/>
                    </a:lnTo>
                    <a:lnTo>
                      <a:pt x="125" y="35"/>
                    </a:lnTo>
                    <a:lnTo>
                      <a:pt x="125" y="34"/>
                    </a:lnTo>
                    <a:lnTo>
                      <a:pt x="124" y="33"/>
                    </a:lnTo>
                    <a:lnTo>
                      <a:pt x="123" y="32"/>
                    </a:lnTo>
                    <a:lnTo>
                      <a:pt x="123" y="31"/>
                    </a:lnTo>
                    <a:lnTo>
                      <a:pt x="122" y="30"/>
                    </a:lnTo>
                    <a:lnTo>
                      <a:pt x="121" y="29"/>
                    </a:lnTo>
                    <a:lnTo>
                      <a:pt x="121" y="28"/>
                    </a:lnTo>
                    <a:lnTo>
                      <a:pt x="120" y="27"/>
                    </a:lnTo>
                    <a:lnTo>
                      <a:pt x="119" y="26"/>
                    </a:lnTo>
                    <a:lnTo>
                      <a:pt x="118" y="25"/>
                    </a:lnTo>
                    <a:lnTo>
                      <a:pt x="118" y="24"/>
                    </a:lnTo>
                    <a:lnTo>
                      <a:pt x="117" y="23"/>
                    </a:lnTo>
                    <a:lnTo>
                      <a:pt x="116" y="22"/>
                    </a:lnTo>
                    <a:lnTo>
                      <a:pt x="115" y="21"/>
                    </a:lnTo>
                    <a:lnTo>
                      <a:pt x="114" y="20"/>
                    </a:lnTo>
                    <a:lnTo>
                      <a:pt x="113" y="19"/>
                    </a:lnTo>
                    <a:lnTo>
                      <a:pt x="112" y="18"/>
                    </a:lnTo>
                    <a:lnTo>
                      <a:pt x="111" y="17"/>
                    </a:lnTo>
                    <a:lnTo>
                      <a:pt x="110" y="16"/>
                    </a:lnTo>
                    <a:lnTo>
                      <a:pt x="109" y="15"/>
                    </a:lnTo>
                    <a:lnTo>
                      <a:pt x="108" y="15"/>
                    </a:lnTo>
                    <a:lnTo>
                      <a:pt x="107" y="14"/>
                    </a:lnTo>
                    <a:lnTo>
                      <a:pt x="106" y="13"/>
                    </a:lnTo>
                    <a:lnTo>
                      <a:pt x="105" y="12"/>
                    </a:lnTo>
                    <a:lnTo>
                      <a:pt x="104" y="12"/>
                    </a:lnTo>
                    <a:lnTo>
                      <a:pt x="103" y="11"/>
                    </a:lnTo>
                    <a:lnTo>
                      <a:pt x="102" y="10"/>
                    </a:lnTo>
                    <a:lnTo>
                      <a:pt x="101" y="10"/>
                    </a:lnTo>
                    <a:lnTo>
                      <a:pt x="100" y="9"/>
                    </a:lnTo>
                    <a:lnTo>
                      <a:pt x="99" y="8"/>
                    </a:lnTo>
                    <a:lnTo>
                      <a:pt x="98" y="8"/>
                    </a:lnTo>
                    <a:lnTo>
                      <a:pt x="97" y="7"/>
                    </a:lnTo>
                    <a:lnTo>
                      <a:pt x="96" y="7"/>
                    </a:lnTo>
                    <a:lnTo>
                      <a:pt x="95" y="6"/>
                    </a:lnTo>
                    <a:lnTo>
                      <a:pt x="94" y="6"/>
                    </a:lnTo>
                    <a:lnTo>
                      <a:pt x="93" y="6"/>
                    </a:lnTo>
                    <a:lnTo>
                      <a:pt x="92" y="5"/>
                    </a:lnTo>
                    <a:lnTo>
                      <a:pt x="91" y="5"/>
                    </a:lnTo>
                    <a:lnTo>
                      <a:pt x="90" y="4"/>
                    </a:lnTo>
                    <a:lnTo>
                      <a:pt x="89" y="4"/>
                    </a:lnTo>
                    <a:lnTo>
                      <a:pt x="88" y="4"/>
                    </a:lnTo>
                    <a:lnTo>
                      <a:pt x="87" y="3"/>
                    </a:lnTo>
                    <a:lnTo>
                      <a:pt x="86" y="3"/>
                    </a:lnTo>
                    <a:lnTo>
                      <a:pt x="85" y="3"/>
                    </a:lnTo>
                    <a:lnTo>
                      <a:pt x="84" y="2"/>
                    </a:lnTo>
                    <a:lnTo>
                      <a:pt x="83" y="2"/>
                    </a:lnTo>
                    <a:lnTo>
                      <a:pt x="82" y="2"/>
                    </a:lnTo>
                    <a:lnTo>
                      <a:pt x="81" y="2"/>
                    </a:lnTo>
                    <a:lnTo>
                      <a:pt x="80" y="1"/>
                    </a:lnTo>
                    <a:lnTo>
                      <a:pt x="79" y="1"/>
                    </a:lnTo>
                    <a:lnTo>
                      <a:pt x="78" y="1"/>
                    </a:lnTo>
                    <a:lnTo>
                      <a:pt x="77" y="1"/>
                    </a:lnTo>
                    <a:lnTo>
                      <a:pt x="76" y="1"/>
                    </a:lnTo>
                    <a:lnTo>
                      <a:pt x="75" y="1"/>
                    </a:lnTo>
                    <a:lnTo>
                      <a:pt x="74" y="0"/>
                    </a:lnTo>
                    <a:lnTo>
                      <a:pt x="73" y="0"/>
                    </a:lnTo>
                    <a:lnTo>
                      <a:pt x="72" y="0"/>
                    </a:lnTo>
                    <a:lnTo>
                      <a:pt x="71" y="0"/>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1"/>
                    </a:lnTo>
                    <a:lnTo>
                      <a:pt x="57" y="1"/>
                    </a:lnTo>
                    <a:lnTo>
                      <a:pt x="56" y="1"/>
                    </a:lnTo>
                    <a:lnTo>
                      <a:pt x="55" y="1"/>
                    </a:lnTo>
                    <a:lnTo>
                      <a:pt x="54" y="1"/>
                    </a:lnTo>
                    <a:lnTo>
                      <a:pt x="53" y="1"/>
                    </a:lnTo>
                    <a:lnTo>
                      <a:pt x="52" y="2"/>
                    </a:lnTo>
                    <a:lnTo>
                      <a:pt x="51" y="2"/>
                    </a:lnTo>
                    <a:lnTo>
                      <a:pt x="50" y="2"/>
                    </a:lnTo>
                    <a:lnTo>
                      <a:pt x="49" y="2"/>
                    </a:lnTo>
                    <a:lnTo>
                      <a:pt x="48" y="3"/>
                    </a:lnTo>
                    <a:lnTo>
                      <a:pt x="47" y="3"/>
                    </a:lnTo>
                    <a:lnTo>
                      <a:pt x="46" y="3"/>
                    </a:lnTo>
                    <a:lnTo>
                      <a:pt x="45" y="4"/>
                    </a:lnTo>
                    <a:lnTo>
                      <a:pt x="44" y="4"/>
                    </a:lnTo>
                    <a:lnTo>
                      <a:pt x="43" y="4"/>
                    </a:lnTo>
                    <a:lnTo>
                      <a:pt x="42" y="5"/>
                    </a:lnTo>
                    <a:lnTo>
                      <a:pt x="41" y="5"/>
                    </a:lnTo>
                    <a:lnTo>
                      <a:pt x="40" y="6"/>
                    </a:lnTo>
                    <a:lnTo>
                      <a:pt x="39" y="6"/>
                    </a:lnTo>
                    <a:lnTo>
                      <a:pt x="38" y="6"/>
                    </a:lnTo>
                    <a:lnTo>
                      <a:pt x="37" y="7"/>
                    </a:lnTo>
                    <a:lnTo>
                      <a:pt x="36" y="7"/>
                    </a:lnTo>
                    <a:lnTo>
                      <a:pt x="35" y="8"/>
                    </a:lnTo>
                    <a:lnTo>
                      <a:pt x="34" y="8"/>
                    </a:lnTo>
                    <a:lnTo>
                      <a:pt x="33" y="9"/>
                    </a:lnTo>
                    <a:lnTo>
                      <a:pt x="32" y="10"/>
                    </a:lnTo>
                    <a:lnTo>
                      <a:pt x="31" y="10"/>
                    </a:lnTo>
                    <a:lnTo>
                      <a:pt x="30" y="11"/>
                    </a:lnTo>
                    <a:lnTo>
                      <a:pt x="29" y="12"/>
                    </a:lnTo>
                    <a:lnTo>
                      <a:pt x="28" y="12"/>
                    </a:lnTo>
                    <a:lnTo>
                      <a:pt x="27" y="13"/>
                    </a:lnTo>
                    <a:lnTo>
                      <a:pt x="26" y="14"/>
                    </a:lnTo>
                    <a:lnTo>
                      <a:pt x="25" y="15"/>
                    </a:lnTo>
                    <a:lnTo>
                      <a:pt x="24" y="15"/>
                    </a:lnTo>
                    <a:lnTo>
                      <a:pt x="23" y="16"/>
                    </a:lnTo>
                    <a:lnTo>
                      <a:pt x="22" y="17"/>
                    </a:lnTo>
                    <a:lnTo>
                      <a:pt x="21" y="18"/>
                    </a:lnTo>
                    <a:lnTo>
                      <a:pt x="20" y="19"/>
                    </a:lnTo>
                    <a:lnTo>
                      <a:pt x="19" y="20"/>
                    </a:lnTo>
                    <a:lnTo>
                      <a:pt x="18" y="21"/>
                    </a:lnTo>
                    <a:lnTo>
                      <a:pt x="17" y="22"/>
                    </a:lnTo>
                    <a:lnTo>
                      <a:pt x="16" y="23"/>
                    </a:lnTo>
                    <a:lnTo>
                      <a:pt x="15" y="24"/>
                    </a:lnTo>
                    <a:lnTo>
                      <a:pt x="15" y="25"/>
                    </a:lnTo>
                    <a:lnTo>
                      <a:pt x="14" y="26"/>
                    </a:lnTo>
                    <a:lnTo>
                      <a:pt x="13" y="27"/>
                    </a:lnTo>
                    <a:lnTo>
                      <a:pt x="12" y="28"/>
                    </a:lnTo>
                    <a:lnTo>
                      <a:pt x="12" y="29"/>
                    </a:lnTo>
                    <a:lnTo>
                      <a:pt x="11" y="30"/>
                    </a:lnTo>
                    <a:lnTo>
                      <a:pt x="10" y="31"/>
                    </a:lnTo>
                    <a:lnTo>
                      <a:pt x="10" y="32"/>
                    </a:lnTo>
                    <a:lnTo>
                      <a:pt x="9" y="33"/>
                    </a:lnTo>
                    <a:lnTo>
                      <a:pt x="8" y="34"/>
                    </a:lnTo>
                    <a:lnTo>
                      <a:pt x="8" y="35"/>
                    </a:lnTo>
                    <a:lnTo>
                      <a:pt x="7" y="36"/>
                    </a:lnTo>
                    <a:lnTo>
                      <a:pt x="7" y="37"/>
                    </a:lnTo>
                    <a:lnTo>
                      <a:pt x="6" y="38"/>
                    </a:lnTo>
                    <a:lnTo>
                      <a:pt x="6" y="39"/>
                    </a:lnTo>
                    <a:lnTo>
                      <a:pt x="6" y="40"/>
                    </a:lnTo>
                    <a:lnTo>
                      <a:pt x="5" y="41"/>
                    </a:lnTo>
                    <a:lnTo>
                      <a:pt x="5" y="42"/>
                    </a:lnTo>
                    <a:lnTo>
                      <a:pt x="4" y="43"/>
                    </a:lnTo>
                    <a:lnTo>
                      <a:pt x="4" y="44"/>
                    </a:lnTo>
                    <a:lnTo>
                      <a:pt x="4" y="45"/>
                    </a:lnTo>
                    <a:lnTo>
                      <a:pt x="3" y="46"/>
                    </a:lnTo>
                    <a:lnTo>
                      <a:pt x="3" y="47"/>
                    </a:lnTo>
                    <a:lnTo>
                      <a:pt x="3" y="48"/>
                    </a:lnTo>
                    <a:lnTo>
                      <a:pt x="2" y="49"/>
                    </a:lnTo>
                    <a:lnTo>
                      <a:pt x="2" y="50"/>
                    </a:lnTo>
                    <a:lnTo>
                      <a:pt x="2" y="51"/>
                    </a:lnTo>
                    <a:lnTo>
                      <a:pt x="2" y="52"/>
                    </a:lnTo>
                    <a:lnTo>
                      <a:pt x="1" y="53"/>
                    </a:lnTo>
                    <a:lnTo>
                      <a:pt x="1" y="54"/>
                    </a:lnTo>
                    <a:lnTo>
                      <a:pt x="1" y="55"/>
                    </a:lnTo>
                    <a:lnTo>
                      <a:pt x="1" y="56"/>
                    </a:lnTo>
                    <a:lnTo>
                      <a:pt x="1" y="57"/>
                    </a:lnTo>
                    <a:lnTo>
                      <a:pt x="1"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0" y="71"/>
                    </a:lnTo>
                    <a:lnTo>
                      <a:pt x="0" y="72"/>
                    </a:lnTo>
                    <a:lnTo>
                      <a:pt x="0" y="73"/>
                    </a:lnTo>
                    <a:lnTo>
                      <a:pt x="0" y="74"/>
                    </a:lnTo>
                    <a:lnTo>
                      <a:pt x="1" y="75"/>
                    </a:lnTo>
                    <a:lnTo>
                      <a:pt x="1" y="76"/>
                    </a:lnTo>
                    <a:lnTo>
                      <a:pt x="1" y="77"/>
                    </a:lnTo>
                    <a:lnTo>
                      <a:pt x="1" y="78"/>
                    </a:lnTo>
                    <a:lnTo>
                      <a:pt x="1" y="79"/>
                    </a:lnTo>
                    <a:lnTo>
                      <a:pt x="1" y="80"/>
                    </a:lnTo>
                    <a:lnTo>
                      <a:pt x="2" y="81"/>
                    </a:lnTo>
                    <a:lnTo>
                      <a:pt x="2" y="82"/>
                    </a:lnTo>
                    <a:lnTo>
                      <a:pt x="2" y="83"/>
                    </a:lnTo>
                    <a:lnTo>
                      <a:pt x="2" y="84"/>
                    </a:lnTo>
                    <a:lnTo>
                      <a:pt x="3" y="85"/>
                    </a:lnTo>
                    <a:lnTo>
                      <a:pt x="3" y="86"/>
                    </a:lnTo>
                    <a:lnTo>
                      <a:pt x="3" y="87"/>
                    </a:lnTo>
                    <a:lnTo>
                      <a:pt x="4" y="88"/>
                    </a:lnTo>
                    <a:lnTo>
                      <a:pt x="4" y="89"/>
                    </a:lnTo>
                    <a:lnTo>
                      <a:pt x="4" y="90"/>
                    </a:lnTo>
                    <a:lnTo>
                      <a:pt x="5" y="91"/>
                    </a:lnTo>
                    <a:lnTo>
                      <a:pt x="5" y="92"/>
                    </a:lnTo>
                    <a:lnTo>
                      <a:pt x="6" y="93"/>
                    </a:lnTo>
                    <a:lnTo>
                      <a:pt x="6" y="94"/>
                    </a:lnTo>
                    <a:lnTo>
                      <a:pt x="6" y="95"/>
                    </a:lnTo>
                    <a:lnTo>
                      <a:pt x="7" y="96"/>
                    </a:lnTo>
                    <a:lnTo>
                      <a:pt x="7" y="97"/>
                    </a:lnTo>
                    <a:lnTo>
                      <a:pt x="8" y="98"/>
                    </a:lnTo>
                    <a:lnTo>
                      <a:pt x="8" y="99"/>
                    </a:lnTo>
                    <a:lnTo>
                      <a:pt x="9" y="100"/>
                    </a:lnTo>
                    <a:lnTo>
                      <a:pt x="10" y="101"/>
                    </a:lnTo>
                    <a:lnTo>
                      <a:pt x="10" y="102"/>
                    </a:lnTo>
                    <a:lnTo>
                      <a:pt x="11" y="103"/>
                    </a:lnTo>
                    <a:lnTo>
                      <a:pt x="12" y="104"/>
                    </a:lnTo>
                    <a:lnTo>
                      <a:pt x="12" y="105"/>
                    </a:lnTo>
                    <a:lnTo>
                      <a:pt x="13" y="106"/>
                    </a:lnTo>
                    <a:lnTo>
                      <a:pt x="14" y="107"/>
                    </a:lnTo>
                    <a:lnTo>
                      <a:pt x="15" y="108"/>
                    </a:lnTo>
                    <a:lnTo>
                      <a:pt x="15" y="109"/>
                    </a:lnTo>
                    <a:lnTo>
                      <a:pt x="16" y="110"/>
                    </a:lnTo>
                    <a:lnTo>
                      <a:pt x="17" y="111"/>
                    </a:lnTo>
                    <a:lnTo>
                      <a:pt x="18" y="112"/>
                    </a:lnTo>
                    <a:lnTo>
                      <a:pt x="19" y="113"/>
                    </a:lnTo>
                    <a:lnTo>
                      <a:pt x="20" y="114"/>
                    </a:lnTo>
                    <a:lnTo>
                      <a:pt x="21" y="115"/>
                    </a:lnTo>
                    <a:lnTo>
                      <a:pt x="22" y="116"/>
                    </a:lnTo>
                    <a:lnTo>
                      <a:pt x="23" y="117"/>
                    </a:lnTo>
                    <a:lnTo>
                      <a:pt x="24" y="118"/>
                    </a:lnTo>
                    <a:lnTo>
                      <a:pt x="25" y="118"/>
                    </a:lnTo>
                    <a:lnTo>
                      <a:pt x="26" y="119"/>
                    </a:lnTo>
                    <a:lnTo>
                      <a:pt x="27" y="120"/>
                    </a:lnTo>
                    <a:lnTo>
                      <a:pt x="28" y="121"/>
                    </a:lnTo>
                    <a:lnTo>
                      <a:pt x="29" y="121"/>
                    </a:lnTo>
                    <a:lnTo>
                      <a:pt x="30" y="122"/>
                    </a:lnTo>
                    <a:lnTo>
                      <a:pt x="31" y="123"/>
                    </a:lnTo>
                    <a:lnTo>
                      <a:pt x="32" y="123"/>
                    </a:lnTo>
                    <a:lnTo>
                      <a:pt x="33" y="124"/>
                    </a:lnTo>
                    <a:lnTo>
                      <a:pt x="34" y="125"/>
                    </a:lnTo>
                    <a:lnTo>
                      <a:pt x="35" y="125"/>
                    </a:lnTo>
                    <a:lnTo>
                      <a:pt x="36" y="126"/>
                    </a:lnTo>
                    <a:lnTo>
                      <a:pt x="37" y="126"/>
                    </a:lnTo>
                    <a:lnTo>
                      <a:pt x="38" y="127"/>
                    </a:lnTo>
                    <a:lnTo>
                      <a:pt x="39" y="127"/>
                    </a:lnTo>
                    <a:lnTo>
                      <a:pt x="40" y="127"/>
                    </a:lnTo>
                    <a:lnTo>
                      <a:pt x="41" y="128"/>
                    </a:lnTo>
                    <a:lnTo>
                      <a:pt x="42" y="128"/>
                    </a:lnTo>
                    <a:lnTo>
                      <a:pt x="43" y="129"/>
                    </a:lnTo>
                    <a:lnTo>
                      <a:pt x="44" y="129"/>
                    </a:lnTo>
                    <a:lnTo>
                      <a:pt x="45" y="129"/>
                    </a:lnTo>
                    <a:lnTo>
                      <a:pt x="46" y="130"/>
                    </a:lnTo>
                    <a:lnTo>
                      <a:pt x="47" y="130"/>
                    </a:lnTo>
                    <a:lnTo>
                      <a:pt x="48" y="130"/>
                    </a:lnTo>
                    <a:lnTo>
                      <a:pt x="49" y="131"/>
                    </a:lnTo>
                    <a:lnTo>
                      <a:pt x="50" y="131"/>
                    </a:lnTo>
                    <a:lnTo>
                      <a:pt x="51" y="131"/>
                    </a:lnTo>
                    <a:lnTo>
                      <a:pt x="52" y="131"/>
                    </a:lnTo>
                    <a:lnTo>
                      <a:pt x="53" y="132"/>
                    </a:lnTo>
                    <a:lnTo>
                      <a:pt x="54" y="132"/>
                    </a:lnTo>
                    <a:lnTo>
                      <a:pt x="55" y="132"/>
                    </a:lnTo>
                    <a:lnTo>
                      <a:pt x="56" y="132"/>
                    </a:lnTo>
                    <a:lnTo>
                      <a:pt x="57" y="132"/>
                    </a:lnTo>
                    <a:lnTo>
                      <a:pt x="58" y="132"/>
                    </a:lnTo>
                    <a:lnTo>
                      <a:pt x="59" y="133"/>
                    </a:lnTo>
                    <a:lnTo>
                      <a:pt x="60" y="133"/>
                    </a:lnTo>
                    <a:lnTo>
                      <a:pt x="61" y="133"/>
                    </a:lnTo>
                    <a:lnTo>
                      <a:pt x="62" y="133"/>
                    </a:lnTo>
                    <a:lnTo>
                      <a:pt x="63" y="133"/>
                    </a:lnTo>
                    <a:lnTo>
                      <a:pt x="64" y="133"/>
                    </a:lnTo>
                    <a:lnTo>
                      <a:pt x="65" y="133"/>
                    </a:lnTo>
                    <a:lnTo>
                      <a:pt x="66" y="133"/>
                    </a:lnTo>
                    <a:lnTo>
                      <a:pt x="67" y="133"/>
                    </a:lnTo>
                    <a:lnTo>
                      <a:pt x="68" y="133"/>
                    </a:lnTo>
                    <a:lnTo>
                      <a:pt x="69" y="133"/>
                    </a:lnTo>
                    <a:lnTo>
                      <a:pt x="70" y="133"/>
                    </a:lnTo>
                    <a:lnTo>
                      <a:pt x="71" y="133"/>
                    </a:lnTo>
                    <a:lnTo>
                      <a:pt x="72" y="133"/>
                    </a:lnTo>
                    <a:lnTo>
                      <a:pt x="73" y="133"/>
                    </a:lnTo>
                    <a:lnTo>
                      <a:pt x="74" y="133"/>
                    </a:lnTo>
                    <a:lnTo>
                      <a:pt x="75" y="132"/>
                    </a:lnTo>
                    <a:lnTo>
                      <a:pt x="76" y="132"/>
                    </a:lnTo>
                    <a:lnTo>
                      <a:pt x="77" y="132"/>
                    </a:lnTo>
                    <a:lnTo>
                      <a:pt x="78" y="132"/>
                    </a:lnTo>
                    <a:lnTo>
                      <a:pt x="79" y="132"/>
                    </a:lnTo>
                    <a:lnTo>
                      <a:pt x="80" y="132"/>
                    </a:lnTo>
                    <a:lnTo>
                      <a:pt x="81" y="131"/>
                    </a:lnTo>
                    <a:lnTo>
                      <a:pt x="82" y="131"/>
                    </a:lnTo>
                    <a:lnTo>
                      <a:pt x="83" y="131"/>
                    </a:lnTo>
                    <a:lnTo>
                      <a:pt x="84" y="131"/>
                    </a:lnTo>
                    <a:lnTo>
                      <a:pt x="85" y="130"/>
                    </a:lnTo>
                    <a:lnTo>
                      <a:pt x="86" y="130"/>
                    </a:lnTo>
                    <a:lnTo>
                      <a:pt x="87" y="130"/>
                    </a:lnTo>
                    <a:lnTo>
                      <a:pt x="88" y="129"/>
                    </a:lnTo>
                    <a:lnTo>
                      <a:pt x="89" y="129"/>
                    </a:lnTo>
                    <a:lnTo>
                      <a:pt x="90" y="129"/>
                    </a:lnTo>
                    <a:lnTo>
                      <a:pt x="91" y="128"/>
                    </a:lnTo>
                    <a:lnTo>
                      <a:pt x="92" y="128"/>
                    </a:lnTo>
                    <a:lnTo>
                      <a:pt x="93" y="127"/>
                    </a:lnTo>
                    <a:lnTo>
                      <a:pt x="94" y="127"/>
                    </a:lnTo>
                    <a:lnTo>
                      <a:pt x="95" y="127"/>
                    </a:lnTo>
                    <a:lnTo>
                      <a:pt x="96" y="126"/>
                    </a:lnTo>
                    <a:lnTo>
                      <a:pt x="97" y="126"/>
                    </a:lnTo>
                    <a:lnTo>
                      <a:pt x="98" y="125"/>
                    </a:lnTo>
                    <a:lnTo>
                      <a:pt x="99" y="125"/>
                    </a:lnTo>
                    <a:lnTo>
                      <a:pt x="100" y="124"/>
                    </a:lnTo>
                    <a:lnTo>
                      <a:pt x="101" y="123"/>
                    </a:lnTo>
                    <a:lnTo>
                      <a:pt x="102" y="123"/>
                    </a:lnTo>
                    <a:lnTo>
                      <a:pt x="103" y="122"/>
                    </a:lnTo>
                    <a:lnTo>
                      <a:pt x="104" y="121"/>
                    </a:lnTo>
                    <a:lnTo>
                      <a:pt x="105" y="121"/>
                    </a:lnTo>
                    <a:lnTo>
                      <a:pt x="106" y="120"/>
                    </a:lnTo>
                    <a:lnTo>
                      <a:pt x="107" y="119"/>
                    </a:lnTo>
                    <a:lnTo>
                      <a:pt x="108" y="118"/>
                    </a:lnTo>
                    <a:lnTo>
                      <a:pt x="109" y="118"/>
                    </a:lnTo>
                    <a:lnTo>
                      <a:pt x="110" y="117"/>
                    </a:lnTo>
                    <a:lnTo>
                      <a:pt x="111" y="116"/>
                    </a:lnTo>
                    <a:lnTo>
                      <a:pt x="112" y="115"/>
                    </a:lnTo>
                    <a:lnTo>
                      <a:pt x="113" y="114"/>
                    </a:lnTo>
                    <a:lnTo>
                      <a:pt x="114" y="113"/>
                    </a:lnTo>
                    <a:lnTo>
                      <a:pt x="115" y="112"/>
                    </a:lnTo>
                    <a:lnTo>
                      <a:pt x="116" y="111"/>
                    </a:lnTo>
                    <a:lnTo>
                      <a:pt x="117" y="110"/>
                    </a:lnTo>
                    <a:lnTo>
                      <a:pt x="118" y="109"/>
                    </a:lnTo>
                    <a:lnTo>
                      <a:pt x="118" y="108"/>
                    </a:lnTo>
                    <a:lnTo>
                      <a:pt x="119" y="107"/>
                    </a:lnTo>
                    <a:lnTo>
                      <a:pt x="120" y="106"/>
                    </a:lnTo>
                    <a:lnTo>
                      <a:pt x="121" y="105"/>
                    </a:lnTo>
                    <a:lnTo>
                      <a:pt x="121" y="104"/>
                    </a:lnTo>
                    <a:lnTo>
                      <a:pt x="122" y="103"/>
                    </a:lnTo>
                    <a:lnTo>
                      <a:pt x="123" y="102"/>
                    </a:lnTo>
                    <a:lnTo>
                      <a:pt x="123" y="101"/>
                    </a:lnTo>
                    <a:lnTo>
                      <a:pt x="124" y="100"/>
                    </a:lnTo>
                    <a:lnTo>
                      <a:pt x="125" y="99"/>
                    </a:lnTo>
                    <a:lnTo>
                      <a:pt x="125" y="98"/>
                    </a:lnTo>
                    <a:lnTo>
                      <a:pt x="126" y="97"/>
                    </a:lnTo>
                    <a:lnTo>
                      <a:pt x="126" y="96"/>
                    </a:lnTo>
                    <a:lnTo>
                      <a:pt x="127" y="95"/>
                    </a:lnTo>
                    <a:lnTo>
                      <a:pt x="127" y="94"/>
                    </a:lnTo>
                    <a:lnTo>
                      <a:pt x="127" y="93"/>
                    </a:lnTo>
                    <a:lnTo>
                      <a:pt x="128" y="92"/>
                    </a:lnTo>
                    <a:lnTo>
                      <a:pt x="128" y="91"/>
                    </a:lnTo>
                    <a:lnTo>
                      <a:pt x="129" y="90"/>
                    </a:lnTo>
                    <a:lnTo>
                      <a:pt x="129" y="89"/>
                    </a:lnTo>
                    <a:lnTo>
                      <a:pt x="129" y="88"/>
                    </a:lnTo>
                    <a:lnTo>
                      <a:pt x="130" y="87"/>
                    </a:lnTo>
                    <a:lnTo>
                      <a:pt x="130" y="86"/>
                    </a:lnTo>
                    <a:lnTo>
                      <a:pt x="130" y="85"/>
                    </a:lnTo>
                    <a:lnTo>
                      <a:pt x="131" y="84"/>
                    </a:lnTo>
                    <a:lnTo>
                      <a:pt x="131" y="83"/>
                    </a:lnTo>
                    <a:lnTo>
                      <a:pt x="131" y="82"/>
                    </a:lnTo>
                    <a:lnTo>
                      <a:pt x="131" y="81"/>
                    </a:lnTo>
                    <a:lnTo>
                      <a:pt x="132" y="80"/>
                    </a:lnTo>
                    <a:lnTo>
                      <a:pt x="132" y="79"/>
                    </a:lnTo>
                    <a:lnTo>
                      <a:pt x="132" y="78"/>
                    </a:lnTo>
                    <a:lnTo>
                      <a:pt x="132" y="77"/>
                    </a:lnTo>
                    <a:lnTo>
                      <a:pt x="132" y="76"/>
                    </a:lnTo>
                    <a:lnTo>
                      <a:pt x="132" y="75"/>
                    </a:lnTo>
                    <a:lnTo>
                      <a:pt x="133" y="74"/>
                    </a:lnTo>
                    <a:lnTo>
                      <a:pt x="133" y="73"/>
                    </a:lnTo>
                    <a:lnTo>
                      <a:pt x="133" y="72"/>
                    </a:lnTo>
                    <a:lnTo>
                      <a:pt x="133" y="71"/>
                    </a:lnTo>
                    <a:lnTo>
                      <a:pt x="133" y="70"/>
                    </a:lnTo>
                    <a:lnTo>
                      <a:pt x="133" y="69"/>
                    </a:lnTo>
                    <a:lnTo>
                      <a:pt x="133" y="68"/>
                    </a:lnTo>
                    <a:lnTo>
                      <a:pt x="133" y="67"/>
                    </a:lnTo>
                    <a:lnTo>
                      <a:pt x="133" y="66"/>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73" name="Freeform 293"/>
              <p:cNvSpPr>
                <a:spLocks/>
              </p:cNvSpPr>
              <p:nvPr/>
            </p:nvSpPr>
            <p:spPr bwMode="auto">
              <a:xfrm>
                <a:off x="5219" y="3186"/>
                <a:ext cx="211" cy="211"/>
              </a:xfrm>
              <a:custGeom>
                <a:avLst/>
                <a:gdLst>
                  <a:gd name="T0" fmla="*/ 133 w 133"/>
                  <a:gd name="T1" fmla="*/ 61 h 133"/>
                  <a:gd name="T2" fmla="*/ 132 w 133"/>
                  <a:gd name="T3" fmla="*/ 55 h 133"/>
                  <a:gd name="T4" fmla="*/ 131 w 133"/>
                  <a:gd name="T5" fmla="*/ 49 h 133"/>
                  <a:gd name="T6" fmla="*/ 129 w 133"/>
                  <a:gd name="T7" fmla="*/ 43 h 133"/>
                  <a:gd name="T8" fmla="*/ 126 w 133"/>
                  <a:gd name="T9" fmla="*/ 37 h 133"/>
                  <a:gd name="T10" fmla="*/ 123 w 133"/>
                  <a:gd name="T11" fmla="*/ 31 h 133"/>
                  <a:gd name="T12" fmla="*/ 118 w 133"/>
                  <a:gd name="T13" fmla="*/ 25 h 133"/>
                  <a:gd name="T14" fmla="*/ 113 w 133"/>
                  <a:gd name="T15" fmla="*/ 19 h 133"/>
                  <a:gd name="T16" fmla="*/ 107 w 133"/>
                  <a:gd name="T17" fmla="*/ 14 h 133"/>
                  <a:gd name="T18" fmla="*/ 101 w 133"/>
                  <a:gd name="T19" fmla="*/ 10 h 133"/>
                  <a:gd name="T20" fmla="*/ 95 w 133"/>
                  <a:gd name="T21" fmla="*/ 6 h 133"/>
                  <a:gd name="T22" fmla="*/ 89 w 133"/>
                  <a:gd name="T23" fmla="*/ 4 h 133"/>
                  <a:gd name="T24" fmla="*/ 83 w 133"/>
                  <a:gd name="T25" fmla="*/ 2 h 133"/>
                  <a:gd name="T26" fmla="*/ 77 w 133"/>
                  <a:gd name="T27" fmla="*/ 1 h 133"/>
                  <a:gd name="T28" fmla="*/ 71 w 133"/>
                  <a:gd name="T29" fmla="*/ 0 h 133"/>
                  <a:gd name="T30" fmla="*/ 65 w 133"/>
                  <a:gd name="T31" fmla="*/ 0 h 133"/>
                  <a:gd name="T32" fmla="*/ 59 w 133"/>
                  <a:gd name="T33" fmla="*/ 0 h 133"/>
                  <a:gd name="T34" fmla="*/ 53 w 133"/>
                  <a:gd name="T35" fmla="*/ 1 h 133"/>
                  <a:gd name="T36" fmla="*/ 47 w 133"/>
                  <a:gd name="T37" fmla="*/ 3 h 133"/>
                  <a:gd name="T38" fmla="*/ 41 w 133"/>
                  <a:gd name="T39" fmla="*/ 5 h 133"/>
                  <a:gd name="T40" fmla="*/ 35 w 133"/>
                  <a:gd name="T41" fmla="*/ 8 h 133"/>
                  <a:gd name="T42" fmla="*/ 29 w 133"/>
                  <a:gd name="T43" fmla="*/ 12 h 133"/>
                  <a:gd name="T44" fmla="*/ 23 w 133"/>
                  <a:gd name="T45" fmla="*/ 16 h 133"/>
                  <a:gd name="T46" fmla="*/ 17 w 133"/>
                  <a:gd name="T47" fmla="*/ 22 h 133"/>
                  <a:gd name="T48" fmla="*/ 12 w 133"/>
                  <a:gd name="T49" fmla="*/ 28 h 133"/>
                  <a:gd name="T50" fmla="*/ 8 w 133"/>
                  <a:gd name="T51" fmla="*/ 34 h 133"/>
                  <a:gd name="T52" fmla="*/ 6 w 133"/>
                  <a:gd name="T53" fmla="*/ 40 h 133"/>
                  <a:gd name="T54" fmla="*/ 3 w 133"/>
                  <a:gd name="T55" fmla="*/ 46 h 133"/>
                  <a:gd name="T56" fmla="*/ 2 w 133"/>
                  <a:gd name="T57" fmla="*/ 52 h 133"/>
                  <a:gd name="T58" fmla="*/ 1 w 133"/>
                  <a:gd name="T59" fmla="*/ 58 h 133"/>
                  <a:gd name="T60" fmla="*/ 0 w 133"/>
                  <a:gd name="T61" fmla="*/ 64 h 133"/>
                  <a:gd name="T62" fmla="*/ 0 w 133"/>
                  <a:gd name="T63" fmla="*/ 70 h 133"/>
                  <a:gd name="T64" fmla="*/ 1 w 133"/>
                  <a:gd name="T65" fmla="*/ 76 h 133"/>
                  <a:gd name="T66" fmla="*/ 2 w 133"/>
                  <a:gd name="T67" fmla="*/ 82 h 133"/>
                  <a:gd name="T68" fmla="*/ 4 w 133"/>
                  <a:gd name="T69" fmla="*/ 88 h 133"/>
                  <a:gd name="T70" fmla="*/ 6 w 133"/>
                  <a:gd name="T71" fmla="*/ 94 h 133"/>
                  <a:gd name="T72" fmla="*/ 9 w 133"/>
                  <a:gd name="T73" fmla="*/ 100 h 133"/>
                  <a:gd name="T74" fmla="*/ 13 w 133"/>
                  <a:gd name="T75" fmla="*/ 106 h 133"/>
                  <a:gd name="T76" fmla="*/ 18 w 133"/>
                  <a:gd name="T77" fmla="*/ 112 h 133"/>
                  <a:gd name="T78" fmla="*/ 24 w 133"/>
                  <a:gd name="T79" fmla="*/ 118 h 133"/>
                  <a:gd name="T80" fmla="*/ 30 w 133"/>
                  <a:gd name="T81" fmla="*/ 122 h 133"/>
                  <a:gd name="T82" fmla="*/ 36 w 133"/>
                  <a:gd name="T83" fmla="*/ 126 h 133"/>
                  <a:gd name="T84" fmla="*/ 42 w 133"/>
                  <a:gd name="T85" fmla="*/ 128 h 133"/>
                  <a:gd name="T86" fmla="*/ 48 w 133"/>
                  <a:gd name="T87" fmla="*/ 130 h 133"/>
                  <a:gd name="T88" fmla="*/ 54 w 133"/>
                  <a:gd name="T89" fmla="*/ 132 h 133"/>
                  <a:gd name="T90" fmla="*/ 60 w 133"/>
                  <a:gd name="T91" fmla="*/ 133 h 133"/>
                  <a:gd name="T92" fmla="*/ 66 w 133"/>
                  <a:gd name="T93" fmla="*/ 133 h 133"/>
                  <a:gd name="T94" fmla="*/ 72 w 133"/>
                  <a:gd name="T95" fmla="*/ 133 h 133"/>
                  <a:gd name="T96" fmla="*/ 78 w 133"/>
                  <a:gd name="T97" fmla="*/ 132 h 133"/>
                  <a:gd name="T98" fmla="*/ 84 w 133"/>
                  <a:gd name="T99" fmla="*/ 131 h 133"/>
                  <a:gd name="T100" fmla="*/ 90 w 133"/>
                  <a:gd name="T101" fmla="*/ 129 h 133"/>
                  <a:gd name="T102" fmla="*/ 96 w 133"/>
                  <a:gd name="T103" fmla="*/ 126 h 133"/>
                  <a:gd name="T104" fmla="*/ 102 w 133"/>
                  <a:gd name="T105" fmla="*/ 123 h 133"/>
                  <a:gd name="T106" fmla="*/ 108 w 133"/>
                  <a:gd name="T107" fmla="*/ 118 h 133"/>
                  <a:gd name="T108" fmla="*/ 114 w 133"/>
                  <a:gd name="T109" fmla="*/ 113 h 133"/>
                  <a:gd name="T110" fmla="*/ 119 w 133"/>
                  <a:gd name="T111" fmla="*/ 107 h 133"/>
                  <a:gd name="T112" fmla="*/ 123 w 133"/>
                  <a:gd name="T113" fmla="*/ 101 h 133"/>
                  <a:gd name="T114" fmla="*/ 127 w 133"/>
                  <a:gd name="T115" fmla="*/ 95 h 133"/>
                  <a:gd name="T116" fmla="*/ 129 w 133"/>
                  <a:gd name="T117" fmla="*/ 89 h 133"/>
                  <a:gd name="T118" fmla="*/ 131 w 133"/>
                  <a:gd name="T119" fmla="*/ 83 h 133"/>
                  <a:gd name="T120" fmla="*/ 132 w 133"/>
                  <a:gd name="T121" fmla="*/ 77 h 133"/>
                  <a:gd name="T122" fmla="*/ 133 w 133"/>
                  <a:gd name="T123" fmla="*/ 7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133">
                    <a:moveTo>
                      <a:pt x="133" y="66"/>
                    </a:moveTo>
                    <a:lnTo>
                      <a:pt x="133" y="65"/>
                    </a:lnTo>
                    <a:lnTo>
                      <a:pt x="133" y="64"/>
                    </a:lnTo>
                    <a:lnTo>
                      <a:pt x="133" y="63"/>
                    </a:lnTo>
                    <a:lnTo>
                      <a:pt x="133" y="62"/>
                    </a:lnTo>
                    <a:lnTo>
                      <a:pt x="133" y="61"/>
                    </a:lnTo>
                    <a:lnTo>
                      <a:pt x="133" y="60"/>
                    </a:lnTo>
                    <a:lnTo>
                      <a:pt x="133" y="59"/>
                    </a:lnTo>
                    <a:lnTo>
                      <a:pt x="132" y="58"/>
                    </a:lnTo>
                    <a:lnTo>
                      <a:pt x="132" y="57"/>
                    </a:lnTo>
                    <a:lnTo>
                      <a:pt x="132" y="56"/>
                    </a:lnTo>
                    <a:lnTo>
                      <a:pt x="132" y="55"/>
                    </a:lnTo>
                    <a:lnTo>
                      <a:pt x="132" y="54"/>
                    </a:lnTo>
                    <a:lnTo>
                      <a:pt x="132" y="53"/>
                    </a:lnTo>
                    <a:lnTo>
                      <a:pt x="131" y="52"/>
                    </a:lnTo>
                    <a:lnTo>
                      <a:pt x="131" y="51"/>
                    </a:lnTo>
                    <a:lnTo>
                      <a:pt x="131" y="50"/>
                    </a:lnTo>
                    <a:lnTo>
                      <a:pt x="131" y="49"/>
                    </a:lnTo>
                    <a:lnTo>
                      <a:pt x="130" y="48"/>
                    </a:lnTo>
                    <a:lnTo>
                      <a:pt x="130" y="47"/>
                    </a:lnTo>
                    <a:lnTo>
                      <a:pt x="130" y="46"/>
                    </a:lnTo>
                    <a:lnTo>
                      <a:pt x="129" y="45"/>
                    </a:lnTo>
                    <a:lnTo>
                      <a:pt x="129" y="44"/>
                    </a:lnTo>
                    <a:lnTo>
                      <a:pt x="129" y="43"/>
                    </a:lnTo>
                    <a:lnTo>
                      <a:pt x="128" y="42"/>
                    </a:lnTo>
                    <a:lnTo>
                      <a:pt x="128" y="41"/>
                    </a:lnTo>
                    <a:lnTo>
                      <a:pt x="127" y="40"/>
                    </a:lnTo>
                    <a:lnTo>
                      <a:pt x="127" y="39"/>
                    </a:lnTo>
                    <a:lnTo>
                      <a:pt x="127" y="38"/>
                    </a:lnTo>
                    <a:lnTo>
                      <a:pt x="126" y="37"/>
                    </a:lnTo>
                    <a:lnTo>
                      <a:pt x="126" y="36"/>
                    </a:lnTo>
                    <a:lnTo>
                      <a:pt x="125" y="35"/>
                    </a:lnTo>
                    <a:lnTo>
                      <a:pt x="125" y="34"/>
                    </a:lnTo>
                    <a:lnTo>
                      <a:pt x="124" y="33"/>
                    </a:lnTo>
                    <a:lnTo>
                      <a:pt x="123" y="32"/>
                    </a:lnTo>
                    <a:lnTo>
                      <a:pt x="123" y="31"/>
                    </a:lnTo>
                    <a:lnTo>
                      <a:pt x="122" y="30"/>
                    </a:lnTo>
                    <a:lnTo>
                      <a:pt x="121" y="29"/>
                    </a:lnTo>
                    <a:lnTo>
                      <a:pt x="121" y="28"/>
                    </a:lnTo>
                    <a:lnTo>
                      <a:pt x="120" y="27"/>
                    </a:lnTo>
                    <a:lnTo>
                      <a:pt x="119" y="26"/>
                    </a:lnTo>
                    <a:lnTo>
                      <a:pt x="118" y="25"/>
                    </a:lnTo>
                    <a:lnTo>
                      <a:pt x="118" y="24"/>
                    </a:lnTo>
                    <a:lnTo>
                      <a:pt x="117" y="23"/>
                    </a:lnTo>
                    <a:lnTo>
                      <a:pt x="116" y="22"/>
                    </a:lnTo>
                    <a:lnTo>
                      <a:pt x="115" y="21"/>
                    </a:lnTo>
                    <a:lnTo>
                      <a:pt x="114" y="20"/>
                    </a:lnTo>
                    <a:lnTo>
                      <a:pt x="113" y="19"/>
                    </a:lnTo>
                    <a:lnTo>
                      <a:pt x="112" y="18"/>
                    </a:lnTo>
                    <a:lnTo>
                      <a:pt x="111" y="17"/>
                    </a:lnTo>
                    <a:lnTo>
                      <a:pt x="110" y="16"/>
                    </a:lnTo>
                    <a:lnTo>
                      <a:pt x="109" y="15"/>
                    </a:lnTo>
                    <a:lnTo>
                      <a:pt x="108" y="15"/>
                    </a:lnTo>
                    <a:lnTo>
                      <a:pt x="107" y="14"/>
                    </a:lnTo>
                    <a:lnTo>
                      <a:pt x="106" y="13"/>
                    </a:lnTo>
                    <a:lnTo>
                      <a:pt x="105" y="12"/>
                    </a:lnTo>
                    <a:lnTo>
                      <a:pt x="104" y="12"/>
                    </a:lnTo>
                    <a:lnTo>
                      <a:pt x="103" y="11"/>
                    </a:lnTo>
                    <a:lnTo>
                      <a:pt x="102" y="10"/>
                    </a:lnTo>
                    <a:lnTo>
                      <a:pt x="101" y="10"/>
                    </a:lnTo>
                    <a:lnTo>
                      <a:pt x="100" y="9"/>
                    </a:lnTo>
                    <a:lnTo>
                      <a:pt x="99" y="8"/>
                    </a:lnTo>
                    <a:lnTo>
                      <a:pt x="98" y="8"/>
                    </a:lnTo>
                    <a:lnTo>
                      <a:pt x="97" y="7"/>
                    </a:lnTo>
                    <a:lnTo>
                      <a:pt x="96" y="7"/>
                    </a:lnTo>
                    <a:lnTo>
                      <a:pt x="95" y="6"/>
                    </a:lnTo>
                    <a:lnTo>
                      <a:pt x="94" y="6"/>
                    </a:lnTo>
                    <a:lnTo>
                      <a:pt x="93" y="6"/>
                    </a:lnTo>
                    <a:lnTo>
                      <a:pt x="92" y="5"/>
                    </a:lnTo>
                    <a:lnTo>
                      <a:pt x="91" y="5"/>
                    </a:lnTo>
                    <a:lnTo>
                      <a:pt x="90" y="4"/>
                    </a:lnTo>
                    <a:lnTo>
                      <a:pt x="89" y="4"/>
                    </a:lnTo>
                    <a:lnTo>
                      <a:pt x="88" y="4"/>
                    </a:lnTo>
                    <a:lnTo>
                      <a:pt x="87" y="3"/>
                    </a:lnTo>
                    <a:lnTo>
                      <a:pt x="86" y="3"/>
                    </a:lnTo>
                    <a:lnTo>
                      <a:pt x="85" y="3"/>
                    </a:lnTo>
                    <a:lnTo>
                      <a:pt x="84" y="2"/>
                    </a:lnTo>
                    <a:lnTo>
                      <a:pt x="83" y="2"/>
                    </a:lnTo>
                    <a:lnTo>
                      <a:pt x="82" y="2"/>
                    </a:lnTo>
                    <a:lnTo>
                      <a:pt x="81" y="2"/>
                    </a:lnTo>
                    <a:lnTo>
                      <a:pt x="80" y="1"/>
                    </a:lnTo>
                    <a:lnTo>
                      <a:pt x="79" y="1"/>
                    </a:lnTo>
                    <a:lnTo>
                      <a:pt x="78" y="1"/>
                    </a:lnTo>
                    <a:lnTo>
                      <a:pt x="77" y="1"/>
                    </a:lnTo>
                    <a:lnTo>
                      <a:pt x="76" y="1"/>
                    </a:lnTo>
                    <a:lnTo>
                      <a:pt x="75" y="1"/>
                    </a:lnTo>
                    <a:lnTo>
                      <a:pt x="74" y="0"/>
                    </a:lnTo>
                    <a:lnTo>
                      <a:pt x="73" y="0"/>
                    </a:lnTo>
                    <a:lnTo>
                      <a:pt x="72" y="0"/>
                    </a:lnTo>
                    <a:lnTo>
                      <a:pt x="71" y="0"/>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1"/>
                    </a:lnTo>
                    <a:lnTo>
                      <a:pt x="57" y="1"/>
                    </a:lnTo>
                    <a:lnTo>
                      <a:pt x="56" y="1"/>
                    </a:lnTo>
                    <a:lnTo>
                      <a:pt x="55" y="1"/>
                    </a:lnTo>
                    <a:lnTo>
                      <a:pt x="54" y="1"/>
                    </a:lnTo>
                    <a:lnTo>
                      <a:pt x="53" y="1"/>
                    </a:lnTo>
                    <a:lnTo>
                      <a:pt x="52" y="2"/>
                    </a:lnTo>
                    <a:lnTo>
                      <a:pt x="51" y="2"/>
                    </a:lnTo>
                    <a:lnTo>
                      <a:pt x="50" y="2"/>
                    </a:lnTo>
                    <a:lnTo>
                      <a:pt x="49" y="2"/>
                    </a:lnTo>
                    <a:lnTo>
                      <a:pt x="48" y="3"/>
                    </a:lnTo>
                    <a:lnTo>
                      <a:pt x="47" y="3"/>
                    </a:lnTo>
                    <a:lnTo>
                      <a:pt x="46" y="3"/>
                    </a:lnTo>
                    <a:lnTo>
                      <a:pt x="45" y="4"/>
                    </a:lnTo>
                    <a:lnTo>
                      <a:pt x="44" y="4"/>
                    </a:lnTo>
                    <a:lnTo>
                      <a:pt x="43" y="4"/>
                    </a:lnTo>
                    <a:lnTo>
                      <a:pt x="42" y="5"/>
                    </a:lnTo>
                    <a:lnTo>
                      <a:pt x="41" y="5"/>
                    </a:lnTo>
                    <a:lnTo>
                      <a:pt x="40" y="6"/>
                    </a:lnTo>
                    <a:lnTo>
                      <a:pt x="39" y="6"/>
                    </a:lnTo>
                    <a:lnTo>
                      <a:pt x="38" y="6"/>
                    </a:lnTo>
                    <a:lnTo>
                      <a:pt x="37" y="7"/>
                    </a:lnTo>
                    <a:lnTo>
                      <a:pt x="36" y="7"/>
                    </a:lnTo>
                    <a:lnTo>
                      <a:pt x="35" y="8"/>
                    </a:lnTo>
                    <a:lnTo>
                      <a:pt x="34" y="8"/>
                    </a:lnTo>
                    <a:lnTo>
                      <a:pt x="33" y="9"/>
                    </a:lnTo>
                    <a:lnTo>
                      <a:pt x="32" y="10"/>
                    </a:lnTo>
                    <a:lnTo>
                      <a:pt x="31" y="10"/>
                    </a:lnTo>
                    <a:lnTo>
                      <a:pt x="30" y="11"/>
                    </a:lnTo>
                    <a:lnTo>
                      <a:pt x="29" y="12"/>
                    </a:lnTo>
                    <a:lnTo>
                      <a:pt x="28" y="12"/>
                    </a:lnTo>
                    <a:lnTo>
                      <a:pt x="27" y="13"/>
                    </a:lnTo>
                    <a:lnTo>
                      <a:pt x="26" y="14"/>
                    </a:lnTo>
                    <a:lnTo>
                      <a:pt x="25" y="15"/>
                    </a:lnTo>
                    <a:lnTo>
                      <a:pt x="24" y="15"/>
                    </a:lnTo>
                    <a:lnTo>
                      <a:pt x="23" y="16"/>
                    </a:lnTo>
                    <a:lnTo>
                      <a:pt x="22" y="17"/>
                    </a:lnTo>
                    <a:lnTo>
                      <a:pt x="21" y="18"/>
                    </a:lnTo>
                    <a:lnTo>
                      <a:pt x="20" y="19"/>
                    </a:lnTo>
                    <a:lnTo>
                      <a:pt x="19" y="20"/>
                    </a:lnTo>
                    <a:lnTo>
                      <a:pt x="18" y="21"/>
                    </a:lnTo>
                    <a:lnTo>
                      <a:pt x="17" y="22"/>
                    </a:lnTo>
                    <a:lnTo>
                      <a:pt x="16" y="23"/>
                    </a:lnTo>
                    <a:lnTo>
                      <a:pt x="15" y="24"/>
                    </a:lnTo>
                    <a:lnTo>
                      <a:pt x="15" y="25"/>
                    </a:lnTo>
                    <a:lnTo>
                      <a:pt x="14" y="26"/>
                    </a:lnTo>
                    <a:lnTo>
                      <a:pt x="13" y="27"/>
                    </a:lnTo>
                    <a:lnTo>
                      <a:pt x="12" y="28"/>
                    </a:lnTo>
                    <a:lnTo>
                      <a:pt x="12" y="29"/>
                    </a:lnTo>
                    <a:lnTo>
                      <a:pt x="11" y="30"/>
                    </a:lnTo>
                    <a:lnTo>
                      <a:pt x="10" y="31"/>
                    </a:lnTo>
                    <a:lnTo>
                      <a:pt x="10" y="32"/>
                    </a:lnTo>
                    <a:lnTo>
                      <a:pt x="9" y="33"/>
                    </a:lnTo>
                    <a:lnTo>
                      <a:pt x="8" y="34"/>
                    </a:lnTo>
                    <a:lnTo>
                      <a:pt x="8" y="35"/>
                    </a:lnTo>
                    <a:lnTo>
                      <a:pt x="7" y="36"/>
                    </a:lnTo>
                    <a:lnTo>
                      <a:pt x="7" y="37"/>
                    </a:lnTo>
                    <a:lnTo>
                      <a:pt x="6" y="38"/>
                    </a:lnTo>
                    <a:lnTo>
                      <a:pt x="6" y="39"/>
                    </a:lnTo>
                    <a:lnTo>
                      <a:pt x="6" y="40"/>
                    </a:lnTo>
                    <a:lnTo>
                      <a:pt x="5" y="41"/>
                    </a:lnTo>
                    <a:lnTo>
                      <a:pt x="5" y="42"/>
                    </a:lnTo>
                    <a:lnTo>
                      <a:pt x="4" y="43"/>
                    </a:lnTo>
                    <a:lnTo>
                      <a:pt x="4" y="44"/>
                    </a:lnTo>
                    <a:lnTo>
                      <a:pt x="4" y="45"/>
                    </a:lnTo>
                    <a:lnTo>
                      <a:pt x="3" y="46"/>
                    </a:lnTo>
                    <a:lnTo>
                      <a:pt x="3" y="47"/>
                    </a:lnTo>
                    <a:lnTo>
                      <a:pt x="3" y="48"/>
                    </a:lnTo>
                    <a:lnTo>
                      <a:pt x="2" y="49"/>
                    </a:lnTo>
                    <a:lnTo>
                      <a:pt x="2" y="50"/>
                    </a:lnTo>
                    <a:lnTo>
                      <a:pt x="2" y="51"/>
                    </a:lnTo>
                    <a:lnTo>
                      <a:pt x="2" y="52"/>
                    </a:lnTo>
                    <a:lnTo>
                      <a:pt x="1" y="53"/>
                    </a:lnTo>
                    <a:lnTo>
                      <a:pt x="1" y="54"/>
                    </a:lnTo>
                    <a:lnTo>
                      <a:pt x="1" y="55"/>
                    </a:lnTo>
                    <a:lnTo>
                      <a:pt x="1" y="56"/>
                    </a:lnTo>
                    <a:lnTo>
                      <a:pt x="1" y="57"/>
                    </a:lnTo>
                    <a:lnTo>
                      <a:pt x="1"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0" y="71"/>
                    </a:lnTo>
                    <a:lnTo>
                      <a:pt x="0" y="72"/>
                    </a:lnTo>
                    <a:lnTo>
                      <a:pt x="0" y="73"/>
                    </a:lnTo>
                    <a:lnTo>
                      <a:pt x="0" y="74"/>
                    </a:lnTo>
                    <a:lnTo>
                      <a:pt x="1" y="75"/>
                    </a:lnTo>
                    <a:lnTo>
                      <a:pt x="1" y="76"/>
                    </a:lnTo>
                    <a:lnTo>
                      <a:pt x="1" y="77"/>
                    </a:lnTo>
                    <a:lnTo>
                      <a:pt x="1" y="78"/>
                    </a:lnTo>
                    <a:lnTo>
                      <a:pt x="1" y="79"/>
                    </a:lnTo>
                    <a:lnTo>
                      <a:pt x="1" y="80"/>
                    </a:lnTo>
                    <a:lnTo>
                      <a:pt x="2" y="81"/>
                    </a:lnTo>
                    <a:lnTo>
                      <a:pt x="2" y="82"/>
                    </a:lnTo>
                    <a:lnTo>
                      <a:pt x="2" y="83"/>
                    </a:lnTo>
                    <a:lnTo>
                      <a:pt x="2" y="84"/>
                    </a:lnTo>
                    <a:lnTo>
                      <a:pt x="3" y="85"/>
                    </a:lnTo>
                    <a:lnTo>
                      <a:pt x="3" y="86"/>
                    </a:lnTo>
                    <a:lnTo>
                      <a:pt x="3" y="87"/>
                    </a:lnTo>
                    <a:lnTo>
                      <a:pt x="4" y="88"/>
                    </a:lnTo>
                    <a:lnTo>
                      <a:pt x="4" y="89"/>
                    </a:lnTo>
                    <a:lnTo>
                      <a:pt x="4" y="90"/>
                    </a:lnTo>
                    <a:lnTo>
                      <a:pt x="5" y="91"/>
                    </a:lnTo>
                    <a:lnTo>
                      <a:pt x="5" y="92"/>
                    </a:lnTo>
                    <a:lnTo>
                      <a:pt x="6" y="93"/>
                    </a:lnTo>
                    <a:lnTo>
                      <a:pt x="6" y="94"/>
                    </a:lnTo>
                    <a:lnTo>
                      <a:pt x="6" y="95"/>
                    </a:lnTo>
                    <a:lnTo>
                      <a:pt x="7" y="96"/>
                    </a:lnTo>
                    <a:lnTo>
                      <a:pt x="7" y="97"/>
                    </a:lnTo>
                    <a:lnTo>
                      <a:pt x="8" y="98"/>
                    </a:lnTo>
                    <a:lnTo>
                      <a:pt x="8" y="99"/>
                    </a:lnTo>
                    <a:lnTo>
                      <a:pt x="9" y="100"/>
                    </a:lnTo>
                    <a:lnTo>
                      <a:pt x="10" y="101"/>
                    </a:lnTo>
                    <a:lnTo>
                      <a:pt x="10" y="102"/>
                    </a:lnTo>
                    <a:lnTo>
                      <a:pt x="11" y="103"/>
                    </a:lnTo>
                    <a:lnTo>
                      <a:pt x="12" y="104"/>
                    </a:lnTo>
                    <a:lnTo>
                      <a:pt x="12" y="105"/>
                    </a:lnTo>
                    <a:lnTo>
                      <a:pt x="13" y="106"/>
                    </a:lnTo>
                    <a:lnTo>
                      <a:pt x="14" y="107"/>
                    </a:lnTo>
                    <a:lnTo>
                      <a:pt x="15" y="108"/>
                    </a:lnTo>
                    <a:lnTo>
                      <a:pt x="15" y="109"/>
                    </a:lnTo>
                    <a:lnTo>
                      <a:pt x="16" y="110"/>
                    </a:lnTo>
                    <a:lnTo>
                      <a:pt x="17" y="111"/>
                    </a:lnTo>
                    <a:lnTo>
                      <a:pt x="18" y="112"/>
                    </a:lnTo>
                    <a:lnTo>
                      <a:pt x="19" y="113"/>
                    </a:lnTo>
                    <a:lnTo>
                      <a:pt x="20" y="114"/>
                    </a:lnTo>
                    <a:lnTo>
                      <a:pt x="21" y="115"/>
                    </a:lnTo>
                    <a:lnTo>
                      <a:pt x="22" y="116"/>
                    </a:lnTo>
                    <a:lnTo>
                      <a:pt x="23" y="117"/>
                    </a:lnTo>
                    <a:lnTo>
                      <a:pt x="24" y="118"/>
                    </a:lnTo>
                    <a:lnTo>
                      <a:pt x="25" y="118"/>
                    </a:lnTo>
                    <a:lnTo>
                      <a:pt x="26" y="119"/>
                    </a:lnTo>
                    <a:lnTo>
                      <a:pt x="27" y="120"/>
                    </a:lnTo>
                    <a:lnTo>
                      <a:pt x="28" y="121"/>
                    </a:lnTo>
                    <a:lnTo>
                      <a:pt x="29" y="121"/>
                    </a:lnTo>
                    <a:lnTo>
                      <a:pt x="30" y="122"/>
                    </a:lnTo>
                    <a:lnTo>
                      <a:pt x="31" y="123"/>
                    </a:lnTo>
                    <a:lnTo>
                      <a:pt x="32" y="123"/>
                    </a:lnTo>
                    <a:lnTo>
                      <a:pt x="33" y="124"/>
                    </a:lnTo>
                    <a:lnTo>
                      <a:pt x="34" y="125"/>
                    </a:lnTo>
                    <a:lnTo>
                      <a:pt x="35" y="125"/>
                    </a:lnTo>
                    <a:lnTo>
                      <a:pt x="36" y="126"/>
                    </a:lnTo>
                    <a:lnTo>
                      <a:pt x="37" y="126"/>
                    </a:lnTo>
                    <a:lnTo>
                      <a:pt x="38" y="127"/>
                    </a:lnTo>
                    <a:lnTo>
                      <a:pt x="39" y="127"/>
                    </a:lnTo>
                    <a:lnTo>
                      <a:pt x="40" y="127"/>
                    </a:lnTo>
                    <a:lnTo>
                      <a:pt x="41" y="128"/>
                    </a:lnTo>
                    <a:lnTo>
                      <a:pt x="42" y="128"/>
                    </a:lnTo>
                    <a:lnTo>
                      <a:pt x="43" y="129"/>
                    </a:lnTo>
                    <a:lnTo>
                      <a:pt x="44" y="129"/>
                    </a:lnTo>
                    <a:lnTo>
                      <a:pt x="45" y="129"/>
                    </a:lnTo>
                    <a:lnTo>
                      <a:pt x="46" y="130"/>
                    </a:lnTo>
                    <a:lnTo>
                      <a:pt x="47" y="130"/>
                    </a:lnTo>
                    <a:lnTo>
                      <a:pt x="48" y="130"/>
                    </a:lnTo>
                    <a:lnTo>
                      <a:pt x="49" y="131"/>
                    </a:lnTo>
                    <a:lnTo>
                      <a:pt x="50" y="131"/>
                    </a:lnTo>
                    <a:lnTo>
                      <a:pt x="51" y="131"/>
                    </a:lnTo>
                    <a:lnTo>
                      <a:pt x="52" y="131"/>
                    </a:lnTo>
                    <a:lnTo>
                      <a:pt x="53" y="132"/>
                    </a:lnTo>
                    <a:lnTo>
                      <a:pt x="54" y="132"/>
                    </a:lnTo>
                    <a:lnTo>
                      <a:pt x="55" y="132"/>
                    </a:lnTo>
                    <a:lnTo>
                      <a:pt x="56" y="132"/>
                    </a:lnTo>
                    <a:lnTo>
                      <a:pt x="57" y="132"/>
                    </a:lnTo>
                    <a:lnTo>
                      <a:pt x="58" y="132"/>
                    </a:lnTo>
                    <a:lnTo>
                      <a:pt x="59" y="133"/>
                    </a:lnTo>
                    <a:lnTo>
                      <a:pt x="60" y="133"/>
                    </a:lnTo>
                    <a:lnTo>
                      <a:pt x="61" y="133"/>
                    </a:lnTo>
                    <a:lnTo>
                      <a:pt x="62" y="133"/>
                    </a:lnTo>
                    <a:lnTo>
                      <a:pt x="63" y="133"/>
                    </a:lnTo>
                    <a:lnTo>
                      <a:pt x="64" y="133"/>
                    </a:lnTo>
                    <a:lnTo>
                      <a:pt x="65" y="133"/>
                    </a:lnTo>
                    <a:lnTo>
                      <a:pt x="66" y="133"/>
                    </a:lnTo>
                    <a:lnTo>
                      <a:pt x="67" y="133"/>
                    </a:lnTo>
                    <a:lnTo>
                      <a:pt x="68" y="133"/>
                    </a:lnTo>
                    <a:lnTo>
                      <a:pt x="69" y="133"/>
                    </a:lnTo>
                    <a:lnTo>
                      <a:pt x="70" y="133"/>
                    </a:lnTo>
                    <a:lnTo>
                      <a:pt x="71" y="133"/>
                    </a:lnTo>
                    <a:lnTo>
                      <a:pt x="72" y="133"/>
                    </a:lnTo>
                    <a:lnTo>
                      <a:pt x="73" y="133"/>
                    </a:lnTo>
                    <a:lnTo>
                      <a:pt x="74" y="133"/>
                    </a:lnTo>
                    <a:lnTo>
                      <a:pt x="75" y="132"/>
                    </a:lnTo>
                    <a:lnTo>
                      <a:pt x="76" y="132"/>
                    </a:lnTo>
                    <a:lnTo>
                      <a:pt x="77" y="132"/>
                    </a:lnTo>
                    <a:lnTo>
                      <a:pt x="78" y="132"/>
                    </a:lnTo>
                    <a:lnTo>
                      <a:pt x="79" y="132"/>
                    </a:lnTo>
                    <a:lnTo>
                      <a:pt x="80" y="132"/>
                    </a:lnTo>
                    <a:lnTo>
                      <a:pt x="81" y="131"/>
                    </a:lnTo>
                    <a:lnTo>
                      <a:pt x="82" y="131"/>
                    </a:lnTo>
                    <a:lnTo>
                      <a:pt x="83" y="131"/>
                    </a:lnTo>
                    <a:lnTo>
                      <a:pt x="84" y="131"/>
                    </a:lnTo>
                    <a:lnTo>
                      <a:pt x="85" y="130"/>
                    </a:lnTo>
                    <a:lnTo>
                      <a:pt x="86" y="130"/>
                    </a:lnTo>
                    <a:lnTo>
                      <a:pt x="87" y="130"/>
                    </a:lnTo>
                    <a:lnTo>
                      <a:pt x="88" y="129"/>
                    </a:lnTo>
                    <a:lnTo>
                      <a:pt x="89" y="129"/>
                    </a:lnTo>
                    <a:lnTo>
                      <a:pt x="90" y="129"/>
                    </a:lnTo>
                    <a:lnTo>
                      <a:pt x="91" y="128"/>
                    </a:lnTo>
                    <a:lnTo>
                      <a:pt x="92" y="128"/>
                    </a:lnTo>
                    <a:lnTo>
                      <a:pt x="93" y="127"/>
                    </a:lnTo>
                    <a:lnTo>
                      <a:pt x="94" y="127"/>
                    </a:lnTo>
                    <a:lnTo>
                      <a:pt x="95" y="127"/>
                    </a:lnTo>
                    <a:lnTo>
                      <a:pt x="96" y="126"/>
                    </a:lnTo>
                    <a:lnTo>
                      <a:pt x="97" y="126"/>
                    </a:lnTo>
                    <a:lnTo>
                      <a:pt x="98" y="125"/>
                    </a:lnTo>
                    <a:lnTo>
                      <a:pt x="99" y="125"/>
                    </a:lnTo>
                    <a:lnTo>
                      <a:pt x="100" y="124"/>
                    </a:lnTo>
                    <a:lnTo>
                      <a:pt x="101" y="123"/>
                    </a:lnTo>
                    <a:lnTo>
                      <a:pt x="102" y="123"/>
                    </a:lnTo>
                    <a:lnTo>
                      <a:pt x="103" y="122"/>
                    </a:lnTo>
                    <a:lnTo>
                      <a:pt x="104" y="121"/>
                    </a:lnTo>
                    <a:lnTo>
                      <a:pt x="105" y="121"/>
                    </a:lnTo>
                    <a:lnTo>
                      <a:pt x="106" y="120"/>
                    </a:lnTo>
                    <a:lnTo>
                      <a:pt x="107" y="119"/>
                    </a:lnTo>
                    <a:lnTo>
                      <a:pt x="108" y="118"/>
                    </a:lnTo>
                    <a:lnTo>
                      <a:pt x="109" y="118"/>
                    </a:lnTo>
                    <a:lnTo>
                      <a:pt x="110" y="117"/>
                    </a:lnTo>
                    <a:lnTo>
                      <a:pt x="111" y="116"/>
                    </a:lnTo>
                    <a:lnTo>
                      <a:pt x="112" y="115"/>
                    </a:lnTo>
                    <a:lnTo>
                      <a:pt x="113" y="114"/>
                    </a:lnTo>
                    <a:lnTo>
                      <a:pt x="114" y="113"/>
                    </a:lnTo>
                    <a:lnTo>
                      <a:pt x="115" y="112"/>
                    </a:lnTo>
                    <a:lnTo>
                      <a:pt x="116" y="111"/>
                    </a:lnTo>
                    <a:lnTo>
                      <a:pt x="117" y="110"/>
                    </a:lnTo>
                    <a:lnTo>
                      <a:pt x="118" y="109"/>
                    </a:lnTo>
                    <a:lnTo>
                      <a:pt x="118" y="108"/>
                    </a:lnTo>
                    <a:lnTo>
                      <a:pt x="119" y="107"/>
                    </a:lnTo>
                    <a:lnTo>
                      <a:pt x="120" y="106"/>
                    </a:lnTo>
                    <a:lnTo>
                      <a:pt x="121" y="105"/>
                    </a:lnTo>
                    <a:lnTo>
                      <a:pt x="121" y="104"/>
                    </a:lnTo>
                    <a:lnTo>
                      <a:pt x="122" y="103"/>
                    </a:lnTo>
                    <a:lnTo>
                      <a:pt x="123" y="102"/>
                    </a:lnTo>
                    <a:lnTo>
                      <a:pt x="123" y="101"/>
                    </a:lnTo>
                    <a:lnTo>
                      <a:pt x="124" y="100"/>
                    </a:lnTo>
                    <a:lnTo>
                      <a:pt x="125" y="99"/>
                    </a:lnTo>
                    <a:lnTo>
                      <a:pt x="125" y="98"/>
                    </a:lnTo>
                    <a:lnTo>
                      <a:pt x="126" y="97"/>
                    </a:lnTo>
                    <a:lnTo>
                      <a:pt x="126" y="96"/>
                    </a:lnTo>
                    <a:lnTo>
                      <a:pt x="127" y="95"/>
                    </a:lnTo>
                    <a:lnTo>
                      <a:pt x="127" y="94"/>
                    </a:lnTo>
                    <a:lnTo>
                      <a:pt x="127" y="93"/>
                    </a:lnTo>
                    <a:lnTo>
                      <a:pt x="128" y="92"/>
                    </a:lnTo>
                    <a:lnTo>
                      <a:pt x="128" y="91"/>
                    </a:lnTo>
                    <a:lnTo>
                      <a:pt x="129" y="90"/>
                    </a:lnTo>
                    <a:lnTo>
                      <a:pt x="129" y="89"/>
                    </a:lnTo>
                    <a:lnTo>
                      <a:pt x="129" y="88"/>
                    </a:lnTo>
                    <a:lnTo>
                      <a:pt x="130" y="87"/>
                    </a:lnTo>
                    <a:lnTo>
                      <a:pt x="130" y="86"/>
                    </a:lnTo>
                    <a:lnTo>
                      <a:pt x="130" y="85"/>
                    </a:lnTo>
                    <a:lnTo>
                      <a:pt x="131" y="84"/>
                    </a:lnTo>
                    <a:lnTo>
                      <a:pt x="131" y="83"/>
                    </a:lnTo>
                    <a:lnTo>
                      <a:pt x="131" y="82"/>
                    </a:lnTo>
                    <a:lnTo>
                      <a:pt x="131" y="81"/>
                    </a:lnTo>
                    <a:lnTo>
                      <a:pt x="132" y="80"/>
                    </a:lnTo>
                    <a:lnTo>
                      <a:pt x="132" y="79"/>
                    </a:lnTo>
                    <a:lnTo>
                      <a:pt x="132" y="78"/>
                    </a:lnTo>
                    <a:lnTo>
                      <a:pt x="132" y="77"/>
                    </a:lnTo>
                    <a:lnTo>
                      <a:pt x="132" y="76"/>
                    </a:lnTo>
                    <a:lnTo>
                      <a:pt x="132" y="75"/>
                    </a:lnTo>
                    <a:lnTo>
                      <a:pt x="133" y="74"/>
                    </a:lnTo>
                    <a:lnTo>
                      <a:pt x="133" y="73"/>
                    </a:lnTo>
                    <a:lnTo>
                      <a:pt x="133" y="72"/>
                    </a:lnTo>
                    <a:lnTo>
                      <a:pt x="133" y="71"/>
                    </a:lnTo>
                    <a:lnTo>
                      <a:pt x="133" y="70"/>
                    </a:lnTo>
                    <a:lnTo>
                      <a:pt x="133" y="69"/>
                    </a:lnTo>
                    <a:lnTo>
                      <a:pt x="133" y="68"/>
                    </a:lnTo>
                    <a:lnTo>
                      <a:pt x="133" y="67"/>
                    </a:lnTo>
                    <a:lnTo>
                      <a:pt x="133" y="66"/>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74" name="Freeform 293"/>
              <p:cNvSpPr>
                <a:spLocks/>
              </p:cNvSpPr>
              <p:nvPr/>
            </p:nvSpPr>
            <p:spPr bwMode="auto">
              <a:xfrm>
                <a:off x="5346" y="3672"/>
                <a:ext cx="211" cy="211"/>
              </a:xfrm>
              <a:custGeom>
                <a:avLst/>
                <a:gdLst>
                  <a:gd name="T0" fmla="*/ 133 w 133"/>
                  <a:gd name="T1" fmla="*/ 61 h 133"/>
                  <a:gd name="T2" fmla="*/ 132 w 133"/>
                  <a:gd name="T3" fmla="*/ 55 h 133"/>
                  <a:gd name="T4" fmla="*/ 131 w 133"/>
                  <a:gd name="T5" fmla="*/ 49 h 133"/>
                  <a:gd name="T6" fmla="*/ 129 w 133"/>
                  <a:gd name="T7" fmla="*/ 43 h 133"/>
                  <a:gd name="T8" fmla="*/ 126 w 133"/>
                  <a:gd name="T9" fmla="*/ 37 h 133"/>
                  <a:gd name="T10" fmla="*/ 123 w 133"/>
                  <a:gd name="T11" fmla="*/ 31 h 133"/>
                  <a:gd name="T12" fmla="*/ 118 w 133"/>
                  <a:gd name="T13" fmla="*/ 25 h 133"/>
                  <a:gd name="T14" fmla="*/ 113 w 133"/>
                  <a:gd name="T15" fmla="*/ 19 h 133"/>
                  <a:gd name="T16" fmla="*/ 107 w 133"/>
                  <a:gd name="T17" fmla="*/ 14 h 133"/>
                  <a:gd name="T18" fmla="*/ 101 w 133"/>
                  <a:gd name="T19" fmla="*/ 10 h 133"/>
                  <a:gd name="T20" fmla="*/ 95 w 133"/>
                  <a:gd name="T21" fmla="*/ 6 h 133"/>
                  <a:gd name="T22" fmla="*/ 89 w 133"/>
                  <a:gd name="T23" fmla="*/ 4 h 133"/>
                  <a:gd name="T24" fmla="*/ 83 w 133"/>
                  <a:gd name="T25" fmla="*/ 2 h 133"/>
                  <a:gd name="T26" fmla="*/ 77 w 133"/>
                  <a:gd name="T27" fmla="*/ 1 h 133"/>
                  <a:gd name="T28" fmla="*/ 71 w 133"/>
                  <a:gd name="T29" fmla="*/ 0 h 133"/>
                  <a:gd name="T30" fmla="*/ 65 w 133"/>
                  <a:gd name="T31" fmla="*/ 0 h 133"/>
                  <a:gd name="T32" fmla="*/ 59 w 133"/>
                  <a:gd name="T33" fmla="*/ 0 h 133"/>
                  <a:gd name="T34" fmla="*/ 53 w 133"/>
                  <a:gd name="T35" fmla="*/ 1 h 133"/>
                  <a:gd name="T36" fmla="*/ 47 w 133"/>
                  <a:gd name="T37" fmla="*/ 3 h 133"/>
                  <a:gd name="T38" fmla="*/ 41 w 133"/>
                  <a:gd name="T39" fmla="*/ 5 h 133"/>
                  <a:gd name="T40" fmla="*/ 35 w 133"/>
                  <a:gd name="T41" fmla="*/ 8 h 133"/>
                  <a:gd name="T42" fmla="*/ 29 w 133"/>
                  <a:gd name="T43" fmla="*/ 12 h 133"/>
                  <a:gd name="T44" fmla="*/ 23 w 133"/>
                  <a:gd name="T45" fmla="*/ 16 h 133"/>
                  <a:gd name="T46" fmla="*/ 17 w 133"/>
                  <a:gd name="T47" fmla="*/ 22 h 133"/>
                  <a:gd name="T48" fmla="*/ 12 w 133"/>
                  <a:gd name="T49" fmla="*/ 28 h 133"/>
                  <a:gd name="T50" fmla="*/ 8 w 133"/>
                  <a:gd name="T51" fmla="*/ 34 h 133"/>
                  <a:gd name="T52" fmla="*/ 6 w 133"/>
                  <a:gd name="T53" fmla="*/ 40 h 133"/>
                  <a:gd name="T54" fmla="*/ 3 w 133"/>
                  <a:gd name="T55" fmla="*/ 46 h 133"/>
                  <a:gd name="T56" fmla="*/ 2 w 133"/>
                  <a:gd name="T57" fmla="*/ 52 h 133"/>
                  <a:gd name="T58" fmla="*/ 1 w 133"/>
                  <a:gd name="T59" fmla="*/ 58 h 133"/>
                  <a:gd name="T60" fmla="*/ 0 w 133"/>
                  <a:gd name="T61" fmla="*/ 64 h 133"/>
                  <a:gd name="T62" fmla="*/ 0 w 133"/>
                  <a:gd name="T63" fmla="*/ 70 h 133"/>
                  <a:gd name="T64" fmla="*/ 1 w 133"/>
                  <a:gd name="T65" fmla="*/ 76 h 133"/>
                  <a:gd name="T66" fmla="*/ 2 w 133"/>
                  <a:gd name="T67" fmla="*/ 82 h 133"/>
                  <a:gd name="T68" fmla="*/ 4 w 133"/>
                  <a:gd name="T69" fmla="*/ 88 h 133"/>
                  <a:gd name="T70" fmla="*/ 6 w 133"/>
                  <a:gd name="T71" fmla="*/ 94 h 133"/>
                  <a:gd name="T72" fmla="*/ 9 w 133"/>
                  <a:gd name="T73" fmla="*/ 100 h 133"/>
                  <a:gd name="T74" fmla="*/ 13 w 133"/>
                  <a:gd name="T75" fmla="*/ 106 h 133"/>
                  <a:gd name="T76" fmla="*/ 18 w 133"/>
                  <a:gd name="T77" fmla="*/ 112 h 133"/>
                  <a:gd name="T78" fmla="*/ 24 w 133"/>
                  <a:gd name="T79" fmla="*/ 118 h 133"/>
                  <a:gd name="T80" fmla="*/ 30 w 133"/>
                  <a:gd name="T81" fmla="*/ 122 h 133"/>
                  <a:gd name="T82" fmla="*/ 36 w 133"/>
                  <a:gd name="T83" fmla="*/ 126 h 133"/>
                  <a:gd name="T84" fmla="*/ 42 w 133"/>
                  <a:gd name="T85" fmla="*/ 128 h 133"/>
                  <a:gd name="T86" fmla="*/ 48 w 133"/>
                  <a:gd name="T87" fmla="*/ 130 h 133"/>
                  <a:gd name="T88" fmla="*/ 54 w 133"/>
                  <a:gd name="T89" fmla="*/ 132 h 133"/>
                  <a:gd name="T90" fmla="*/ 60 w 133"/>
                  <a:gd name="T91" fmla="*/ 133 h 133"/>
                  <a:gd name="T92" fmla="*/ 66 w 133"/>
                  <a:gd name="T93" fmla="*/ 133 h 133"/>
                  <a:gd name="T94" fmla="*/ 72 w 133"/>
                  <a:gd name="T95" fmla="*/ 133 h 133"/>
                  <a:gd name="T96" fmla="*/ 78 w 133"/>
                  <a:gd name="T97" fmla="*/ 132 h 133"/>
                  <a:gd name="T98" fmla="*/ 84 w 133"/>
                  <a:gd name="T99" fmla="*/ 131 h 133"/>
                  <a:gd name="T100" fmla="*/ 90 w 133"/>
                  <a:gd name="T101" fmla="*/ 129 h 133"/>
                  <a:gd name="T102" fmla="*/ 96 w 133"/>
                  <a:gd name="T103" fmla="*/ 126 h 133"/>
                  <a:gd name="T104" fmla="*/ 102 w 133"/>
                  <a:gd name="T105" fmla="*/ 123 h 133"/>
                  <a:gd name="T106" fmla="*/ 108 w 133"/>
                  <a:gd name="T107" fmla="*/ 118 h 133"/>
                  <a:gd name="T108" fmla="*/ 114 w 133"/>
                  <a:gd name="T109" fmla="*/ 113 h 133"/>
                  <a:gd name="T110" fmla="*/ 119 w 133"/>
                  <a:gd name="T111" fmla="*/ 107 h 133"/>
                  <a:gd name="T112" fmla="*/ 123 w 133"/>
                  <a:gd name="T113" fmla="*/ 101 h 133"/>
                  <a:gd name="T114" fmla="*/ 127 w 133"/>
                  <a:gd name="T115" fmla="*/ 95 h 133"/>
                  <a:gd name="T116" fmla="*/ 129 w 133"/>
                  <a:gd name="T117" fmla="*/ 89 h 133"/>
                  <a:gd name="T118" fmla="*/ 131 w 133"/>
                  <a:gd name="T119" fmla="*/ 83 h 133"/>
                  <a:gd name="T120" fmla="*/ 132 w 133"/>
                  <a:gd name="T121" fmla="*/ 77 h 133"/>
                  <a:gd name="T122" fmla="*/ 133 w 133"/>
                  <a:gd name="T123" fmla="*/ 7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133">
                    <a:moveTo>
                      <a:pt x="133" y="66"/>
                    </a:moveTo>
                    <a:lnTo>
                      <a:pt x="133" y="65"/>
                    </a:lnTo>
                    <a:lnTo>
                      <a:pt x="133" y="64"/>
                    </a:lnTo>
                    <a:lnTo>
                      <a:pt x="133" y="63"/>
                    </a:lnTo>
                    <a:lnTo>
                      <a:pt x="133" y="62"/>
                    </a:lnTo>
                    <a:lnTo>
                      <a:pt x="133" y="61"/>
                    </a:lnTo>
                    <a:lnTo>
                      <a:pt x="133" y="60"/>
                    </a:lnTo>
                    <a:lnTo>
                      <a:pt x="133" y="59"/>
                    </a:lnTo>
                    <a:lnTo>
                      <a:pt x="132" y="58"/>
                    </a:lnTo>
                    <a:lnTo>
                      <a:pt x="132" y="57"/>
                    </a:lnTo>
                    <a:lnTo>
                      <a:pt x="132" y="56"/>
                    </a:lnTo>
                    <a:lnTo>
                      <a:pt x="132" y="55"/>
                    </a:lnTo>
                    <a:lnTo>
                      <a:pt x="132" y="54"/>
                    </a:lnTo>
                    <a:lnTo>
                      <a:pt x="132" y="53"/>
                    </a:lnTo>
                    <a:lnTo>
                      <a:pt x="131" y="52"/>
                    </a:lnTo>
                    <a:lnTo>
                      <a:pt x="131" y="51"/>
                    </a:lnTo>
                    <a:lnTo>
                      <a:pt x="131" y="50"/>
                    </a:lnTo>
                    <a:lnTo>
                      <a:pt x="131" y="49"/>
                    </a:lnTo>
                    <a:lnTo>
                      <a:pt x="130" y="48"/>
                    </a:lnTo>
                    <a:lnTo>
                      <a:pt x="130" y="47"/>
                    </a:lnTo>
                    <a:lnTo>
                      <a:pt x="130" y="46"/>
                    </a:lnTo>
                    <a:lnTo>
                      <a:pt x="129" y="45"/>
                    </a:lnTo>
                    <a:lnTo>
                      <a:pt x="129" y="44"/>
                    </a:lnTo>
                    <a:lnTo>
                      <a:pt x="129" y="43"/>
                    </a:lnTo>
                    <a:lnTo>
                      <a:pt x="128" y="42"/>
                    </a:lnTo>
                    <a:lnTo>
                      <a:pt x="128" y="41"/>
                    </a:lnTo>
                    <a:lnTo>
                      <a:pt x="127" y="40"/>
                    </a:lnTo>
                    <a:lnTo>
                      <a:pt x="127" y="39"/>
                    </a:lnTo>
                    <a:lnTo>
                      <a:pt x="127" y="38"/>
                    </a:lnTo>
                    <a:lnTo>
                      <a:pt x="126" y="37"/>
                    </a:lnTo>
                    <a:lnTo>
                      <a:pt x="126" y="36"/>
                    </a:lnTo>
                    <a:lnTo>
                      <a:pt x="125" y="35"/>
                    </a:lnTo>
                    <a:lnTo>
                      <a:pt x="125" y="34"/>
                    </a:lnTo>
                    <a:lnTo>
                      <a:pt x="124" y="33"/>
                    </a:lnTo>
                    <a:lnTo>
                      <a:pt x="123" y="32"/>
                    </a:lnTo>
                    <a:lnTo>
                      <a:pt x="123" y="31"/>
                    </a:lnTo>
                    <a:lnTo>
                      <a:pt x="122" y="30"/>
                    </a:lnTo>
                    <a:lnTo>
                      <a:pt x="121" y="29"/>
                    </a:lnTo>
                    <a:lnTo>
                      <a:pt x="121" y="28"/>
                    </a:lnTo>
                    <a:lnTo>
                      <a:pt x="120" y="27"/>
                    </a:lnTo>
                    <a:lnTo>
                      <a:pt x="119" y="26"/>
                    </a:lnTo>
                    <a:lnTo>
                      <a:pt x="118" y="25"/>
                    </a:lnTo>
                    <a:lnTo>
                      <a:pt x="118" y="24"/>
                    </a:lnTo>
                    <a:lnTo>
                      <a:pt x="117" y="23"/>
                    </a:lnTo>
                    <a:lnTo>
                      <a:pt x="116" y="22"/>
                    </a:lnTo>
                    <a:lnTo>
                      <a:pt x="115" y="21"/>
                    </a:lnTo>
                    <a:lnTo>
                      <a:pt x="114" y="20"/>
                    </a:lnTo>
                    <a:lnTo>
                      <a:pt x="113" y="19"/>
                    </a:lnTo>
                    <a:lnTo>
                      <a:pt x="112" y="18"/>
                    </a:lnTo>
                    <a:lnTo>
                      <a:pt x="111" y="17"/>
                    </a:lnTo>
                    <a:lnTo>
                      <a:pt x="110" y="16"/>
                    </a:lnTo>
                    <a:lnTo>
                      <a:pt x="109" y="15"/>
                    </a:lnTo>
                    <a:lnTo>
                      <a:pt x="108" y="15"/>
                    </a:lnTo>
                    <a:lnTo>
                      <a:pt x="107" y="14"/>
                    </a:lnTo>
                    <a:lnTo>
                      <a:pt x="106" y="13"/>
                    </a:lnTo>
                    <a:lnTo>
                      <a:pt x="105" y="12"/>
                    </a:lnTo>
                    <a:lnTo>
                      <a:pt x="104" y="12"/>
                    </a:lnTo>
                    <a:lnTo>
                      <a:pt x="103" y="11"/>
                    </a:lnTo>
                    <a:lnTo>
                      <a:pt x="102" y="10"/>
                    </a:lnTo>
                    <a:lnTo>
                      <a:pt x="101" y="10"/>
                    </a:lnTo>
                    <a:lnTo>
                      <a:pt x="100" y="9"/>
                    </a:lnTo>
                    <a:lnTo>
                      <a:pt x="99" y="8"/>
                    </a:lnTo>
                    <a:lnTo>
                      <a:pt x="98" y="8"/>
                    </a:lnTo>
                    <a:lnTo>
                      <a:pt x="97" y="7"/>
                    </a:lnTo>
                    <a:lnTo>
                      <a:pt x="96" y="7"/>
                    </a:lnTo>
                    <a:lnTo>
                      <a:pt x="95" y="6"/>
                    </a:lnTo>
                    <a:lnTo>
                      <a:pt x="94" y="6"/>
                    </a:lnTo>
                    <a:lnTo>
                      <a:pt x="93" y="6"/>
                    </a:lnTo>
                    <a:lnTo>
                      <a:pt x="92" y="5"/>
                    </a:lnTo>
                    <a:lnTo>
                      <a:pt x="91" y="5"/>
                    </a:lnTo>
                    <a:lnTo>
                      <a:pt x="90" y="4"/>
                    </a:lnTo>
                    <a:lnTo>
                      <a:pt x="89" y="4"/>
                    </a:lnTo>
                    <a:lnTo>
                      <a:pt x="88" y="4"/>
                    </a:lnTo>
                    <a:lnTo>
                      <a:pt x="87" y="3"/>
                    </a:lnTo>
                    <a:lnTo>
                      <a:pt x="86" y="3"/>
                    </a:lnTo>
                    <a:lnTo>
                      <a:pt x="85" y="3"/>
                    </a:lnTo>
                    <a:lnTo>
                      <a:pt x="84" y="2"/>
                    </a:lnTo>
                    <a:lnTo>
                      <a:pt x="83" y="2"/>
                    </a:lnTo>
                    <a:lnTo>
                      <a:pt x="82" y="2"/>
                    </a:lnTo>
                    <a:lnTo>
                      <a:pt x="81" y="2"/>
                    </a:lnTo>
                    <a:lnTo>
                      <a:pt x="80" y="1"/>
                    </a:lnTo>
                    <a:lnTo>
                      <a:pt x="79" y="1"/>
                    </a:lnTo>
                    <a:lnTo>
                      <a:pt x="78" y="1"/>
                    </a:lnTo>
                    <a:lnTo>
                      <a:pt x="77" y="1"/>
                    </a:lnTo>
                    <a:lnTo>
                      <a:pt x="76" y="1"/>
                    </a:lnTo>
                    <a:lnTo>
                      <a:pt x="75" y="1"/>
                    </a:lnTo>
                    <a:lnTo>
                      <a:pt x="74" y="0"/>
                    </a:lnTo>
                    <a:lnTo>
                      <a:pt x="73" y="0"/>
                    </a:lnTo>
                    <a:lnTo>
                      <a:pt x="72" y="0"/>
                    </a:lnTo>
                    <a:lnTo>
                      <a:pt x="71" y="0"/>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1"/>
                    </a:lnTo>
                    <a:lnTo>
                      <a:pt x="57" y="1"/>
                    </a:lnTo>
                    <a:lnTo>
                      <a:pt x="56" y="1"/>
                    </a:lnTo>
                    <a:lnTo>
                      <a:pt x="55" y="1"/>
                    </a:lnTo>
                    <a:lnTo>
                      <a:pt x="54" y="1"/>
                    </a:lnTo>
                    <a:lnTo>
                      <a:pt x="53" y="1"/>
                    </a:lnTo>
                    <a:lnTo>
                      <a:pt x="52" y="2"/>
                    </a:lnTo>
                    <a:lnTo>
                      <a:pt x="51" y="2"/>
                    </a:lnTo>
                    <a:lnTo>
                      <a:pt x="50" y="2"/>
                    </a:lnTo>
                    <a:lnTo>
                      <a:pt x="49" y="2"/>
                    </a:lnTo>
                    <a:lnTo>
                      <a:pt x="48" y="3"/>
                    </a:lnTo>
                    <a:lnTo>
                      <a:pt x="47" y="3"/>
                    </a:lnTo>
                    <a:lnTo>
                      <a:pt x="46" y="3"/>
                    </a:lnTo>
                    <a:lnTo>
                      <a:pt x="45" y="4"/>
                    </a:lnTo>
                    <a:lnTo>
                      <a:pt x="44" y="4"/>
                    </a:lnTo>
                    <a:lnTo>
                      <a:pt x="43" y="4"/>
                    </a:lnTo>
                    <a:lnTo>
                      <a:pt x="42" y="5"/>
                    </a:lnTo>
                    <a:lnTo>
                      <a:pt x="41" y="5"/>
                    </a:lnTo>
                    <a:lnTo>
                      <a:pt x="40" y="6"/>
                    </a:lnTo>
                    <a:lnTo>
                      <a:pt x="39" y="6"/>
                    </a:lnTo>
                    <a:lnTo>
                      <a:pt x="38" y="6"/>
                    </a:lnTo>
                    <a:lnTo>
                      <a:pt x="37" y="7"/>
                    </a:lnTo>
                    <a:lnTo>
                      <a:pt x="36" y="7"/>
                    </a:lnTo>
                    <a:lnTo>
                      <a:pt x="35" y="8"/>
                    </a:lnTo>
                    <a:lnTo>
                      <a:pt x="34" y="8"/>
                    </a:lnTo>
                    <a:lnTo>
                      <a:pt x="33" y="9"/>
                    </a:lnTo>
                    <a:lnTo>
                      <a:pt x="32" y="10"/>
                    </a:lnTo>
                    <a:lnTo>
                      <a:pt x="31" y="10"/>
                    </a:lnTo>
                    <a:lnTo>
                      <a:pt x="30" y="11"/>
                    </a:lnTo>
                    <a:lnTo>
                      <a:pt x="29" y="12"/>
                    </a:lnTo>
                    <a:lnTo>
                      <a:pt x="28" y="12"/>
                    </a:lnTo>
                    <a:lnTo>
                      <a:pt x="27" y="13"/>
                    </a:lnTo>
                    <a:lnTo>
                      <a:pt x="26" y="14"/>
                    </a:lnTo>
                    <a:lnTo>
                      <a:pt x="25" y="15"/>
                    </a:lnTo>
                    <a:lnTo>
                      <a:pt x="24" y="15"/>
                    </a:lnTo>
                    <a:lnTo>
                      <a:pt x="23" y="16"/>
                    </a:lnTo>
                    <a:lnTo>
                      <a:pt x="22" y="17"/>
                    </a:lnTo>
                    <a:lnTo>
                      <a:pt x="21" y="18"/>
                    </a:lnTo>
                    <a:lnTo>
                      <a:pt x="20" y="19"/>
                    </a:lnTo>
                    <a:lnTo>
                      <a:pt x="19" y="20"/>
                    </a:lnTo>
                    <a:lnTo>
                      <a:pt x="18" y="21"/>
                    </a:lnTo>
                    <a:lnTo>
                      <a:pt x="17" y="22"/>
                    </a:lnTo>
                    <a:lnTo>
                      <a:pt x="16" y="23"/>
                    </a:lnTo>
                    <a:lnTo>
                      <a:pt x="15" y="24"/>
                    </a:lnTo>
                    <a:lnTo>
                      <a:pt x="15" y="25"/>
                    </a:lnTo>
                    <a:lnTo>
                      <a:pt x="14" y="26"/>
                    </a:lnTo>
                    <a:lnTo>
                      <a:pt x="13" y="27"/>
                    </a:lnTo>
                    <a:lnTo>
                      <a:pt x="12" y="28"/>
                    </a:lnTo>
                    <a:lnTo>
                      <a:pt x="12" y="29"/>
                    </a:lnTo>
                    <a:lnTo>
                      <a:pt x="11" y="30"/>
                    </a:lnTo>
                    <a:lnTo>
                      <a:pt x="10" y="31"/>
                    </a:lnTo>
                    <a:lnTo>
                      <a:pt x="10" y="32"/>
                    </a:lnTo>
                    <a:lnTo>
                      <a:pt x="9" y="33"/>
                    </a:lnTo>
                    <a:lnTo>
                      <a:pt x="8" y="34"/>
                    </a:lnTo>
                    <a:lnTo>
                      <a:pt x="8" y="35"/>
                    </a:lnTo>
                    <a:lnTo>
                      <a:pt x="7" y="36"/>
                    </a:lnTo>
                    <a:lnTo>
                      <a:pt x="7" y="37"/>
                    </a:lnTo>
                    <a:lnTo>
                      <a:pt x="6" y="38"/>
                    </a:lnTo>
                    <a:lnTo>
                      <a:pt x="6" y="39"/>
                    </a:lnTo>
                    <a:lnTo>
                      <a:pt x="6" y="40"/>
                    </a:lnTo>
                    <a:lnTo>
                      <a:pt x="5" y="41"/>
                    </a:lnTo>
                    <a:lnTo>
                      <a:pt x="5" y="42"/>
                    </a:lnTo>
                    <a:lnTo>
                      <a:pt x="4" y="43"/>
                    </a:lnTo>
                    <a:lnTo>
                      <a:pt x="4" y="44"/>
                    </a:lnTo>
                    <a:lnTo>
                      <a:pt x="4" y="45"/>
                    </a:lnTo>
                    <a:lnTo>
                      <a:pt x="3" y="46"/>
                    </a:lnTo>
                    <a:lnTo>
                      <a:pt x="3" y="47"/>
                    </a:lnTo>
                    <a:lnTo>
                      <a:pt x="3" y="48"/>
                    </a:lnTo>
                    <a:lnTo>
                      <a:pt x="2" y="49"/>
                    </a:lnTo>
                    <a:lnTo>
                      <a:pt x="2" y="50"/>
                    </a:lnTo>
                    <a:lnTo>
                      <a:pt x="2" y="51"/>
                    </a:lnTo>
                    <a:lnTo>
                      <a:pt x="2" y="52"/>
                    </a:lnTo>
                    <a:lnTo>
                      <a:pt x="1" y="53"/>
                    </a:lnTo>
                    <a:lnTo>
                      <a:pt x="1" y="54"/>
                    </a:lnTo>
                    <a:lnTo>
                      <a:pt x="1" y="55"/>
                    </a:lnTo>
                    <a:lnTo>
                      <a:pt x="1" y="56"/>
                    </a:lnTo>
                    <a:lnTo>
                      <a:pt x="1" y="57"/>
                    </a:lnTo>
                    <a:lnTo>
                      <a:pt x="1"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0" y="71"/>
                    </a:lnTo>
                    <a:lnTo>
                      <a:pt x="0" y="72"/>
                    </a:lnTo>
                    <a:lnTo>
                      <a:pt x="0" y="73"/>
                    </a:lnTo>
                    <a:lnTo>
                      <a:pt x="0" y="74"/>
                    </a:lnTo>
                    <a:lnTo>
                      <a:pt x="1" y="75"/>
                    </a:lnTo>
                    <a:lnTo>
                      <a:pt x="1" y="76"/>
                    </a:lnTo>
                    <a:lnTo>
                      <a:pt x="1" y="77"/>
                    </a:lnTo>
                    <a:lnTo>
                      <a:pt x="1" y="78"/>
                    </a:lnTo>
                    <a:lnTo>
                      <a:pt x="1" y="79"/>
                    </a:lnTo>
                    <a:lnTo>
                      <a:pt x="1" y="80"/>
                    </a:lnTo>
                    <a:lnTo>
                      <a:pt x="2" y="81"/>
                    </a:lnTo>
                    <a:lnTo>
                      <a:pt x="2" y="82"/>
                    </a:lnTo>
                    <a:lnTo>
                      <a:pt x="2" y="83"/>
                    </a:lnTo>
                    <a:lnTo>
                      <a:pt x="2" y="84"/>
                    </a:lnTo>
                    <a:lnTo>
                      <a:pt x="3" y="85"/>
                    </a:lnTo>
                    <a:lnTo>
                      <a:pt x="3" y="86"/>
                    </a:lnTo>
                    <a:lnTo>
                      <a:pt x="3" y="87"/>
                    </a:lnTo>
                    <a:lnTo>
                      <a:pt x="4" y="88"/>
                    </a:lnTo>
                    <a:lnTo>
                      <a:pt x="4" y="89"/>
                    </a:lnTo>
                    <a:lnTo>
                      <a:pt x="4" y="90"/>
                    </a:lnTo>
                    <a:lnTo>
                      <a:pt x="5" y="91"/>
                    </a:lnTo>
                    <a:lnTo>
                      <a:pt x="5" y="92"/>
                    </a:lnTo>
                    <a:lnTo>
                      <a:pt x="6" y="93"/>
                    </a:lnTo>
                    <a:lnTo>
                      <a:pt x="6" y="94"/>
                    </a:lnTo>
                    <a:lnTo>
                      <a:pt x="6" y="95"/>
                    </a:lnTo>
                    <a:lnTo>
                      <a:pt x="7" y="96"/>
                    </a:lnTo>
                    <a:lnTo>
                      <a:pt x="7" y="97"/>
                    </a:lnTo>
                    <a:lnTo>
                      <a:pt x="8" y="98"/>
                    </a:lnTo>
                    <a:lnTo>
                      <a:pt x="8" y="99"/>
                    </a:lnTo>
                    <a:lnTo>
                      <a:pt x="9" y="100"/>
                    </a:lnTo>
                    <a:lnTo>
                      <a:pt x="10" y="101"/>
                    </a:lnTo>
                    <a:lnTo>
                      <a:pt x="10" y="102"/>
                    </a:lnTo>
                    <a:lnTo>
                      <a:pt x="11" y="103"/>
                    </a:lnTo>
                    <a:lnTo>
                      <a:pt x="12" y="104"/>
                    </a:lnTo>
                    <a:lnTo>
                      <a:pt x="12" y="105"/>
                    </a:lnTo>
                    <a:lnTo>
                      <a:pt x="13" y="106"/>
                    </a:lnTo>
                    <a:lnTo>
                      <a:pt x="14" y="107"/>
                    </a:lnTo>
                    <a:lnTo>
                      <a:pt x="15" y="108"/>
                    </a:lnTo>
                    <a:lnTo>
                      <a:pt x="15" y="109"/>
                    </a:lnTo>
                    <a:lnTo>
                      <a:pt x="16" y="110"/>
                    </a:lnTo>
                    <a:lnTo>
                      <a:pt x="17" y="111"/>
                    </a:lnTo>
                    <a:lnTo>
                      <a:pt x="18" y="112"/>
                    </a:lnTo>
                    <a:lnTo>
                      <a:pt x="19" y="113"/>
                    </a:lnTo>
                    <a:lnTo>
                      <a:pt x="20" y="114"/>
                    </a:lnTo>
                    <a:lnTo>
                      <a:pt x="21" y="115"/>
                    </a:lnTo>
                    <a:lnTo>
                      <a:pt x="22" y="116"/>
                    </a:lnTo>
                    <a:lnTo>
                      <a:pt x="23" y="117"/>
                    </a:lnTo>
                    <a:lnTo>
                      <a:pt x="24" y="118"/>
                    </a:lnTo>
                    <a:lnTo>
                      <a:pt x="25" y="118"/>
                    </a:lnTo>
                    <a:lnTo>
                      <a:pt x="26" y="119"/>
                    </a:lnTo>
                    <a:lnTo>
                      <a:pt x="27" y="120"/>
                    </a:lnTo>
                    <a:lnTo>
                      <a:pt x="28" y="121"/>
                    </a:lnTo>
                    <a:lnTo>
                      <a:pt x="29" y="121"/>
                    </a:lnTo>
                    <a:lnTo>
                      <a:pt x="30" y="122"/>
                    </a:lnTo>
                    <a:lnTo>
                      <a:pt x="31" y="123"/>
                    </a:lnTo>
                    <a:lnTo>
                      <a:pt x="32" y="123"/>
                    </a:lnTo>
                    <a:lnTo>
                      <a:pt x="33" y="124"/>
                    </a:lnTo>
                    <a:lnTo>
                      <a:pt x="34" y="125"/>
                    </a:lnTo>
                    <a:lnTo>
                      <a:pt x="35" y="125"/>
                    </a:lnTo>
                    <a:lnTo>
                      <a:pt x="36" y="126"/>
                    </a:lnTo>
                    <a:lnTo>
                      <a:pt x="37" y="126"/>
                    </a:lnTo>
                    <a:lnTo>
                      <a:pt x="38" y="127"/>
                    </a:lnTo>
                    <a:lnTo>
                      <a:pt x="39" y="127"/>
                    </a:lnTo>
                    <a:lnTo>
                      <a:pt x="40" y="127"/>
                    </a:lnTo>
                    <a:lnTo>
                      <a:pt x="41" y="128"/>
                    </a:lnTo>
                    <a:lnTo>
                      <a:pt x="42" y="128"/>
                    </a:lnTo>
                    <a:lnTo>
                      <a:pt x="43" y="129"/>
                    </a:lnTo>
                    <a:lnTo>
                      <a:pt x="44" y="129"/>
                    </a:lnTo>
                    <a:lnTo>
                      <a:pt x="45" y="129"/>
                    </a:lnTo>
                    <a:lnTo>
                      <a:pt x="46" y="130"/>
                    </a:lnTo>
                    <a:lnTo>
                      <a:pt x="47" y="130"/>
                    </a:lnTo>
                    <a:lnTo>
                      <a:pt x="48" y="130"/>
                    </a:lnTo>
                    <a:lnTo>
                      <a:pt x="49" y="131"/>
                    </a:lnTo>
                    <a:lnTo>
                      <a:pt x="50" y="131"/>
                    </a:lnTo>
                    <a:lnTo>
                      <a:pt x="51" y="131"/>
                    </a:lnTo>
                    <a:lnTo>
                      <a:pt x="52" y="131"/>
                    </a:lnTo>
                    <a:lnTo>
                      <a:pt x="53" y="132"/>
                    </a:lnTo>
                    <a:lnTo>
                      <a:pt x="54" y="132"/>
                    </a:lnTo>
                    <a:lnTo>
                      <a:pt x="55" y="132"/>
                    </a:lnTo>
                    <a:lnTo>
                      <a:pt x="56" y="132"/>
                    </a:lnTo>
                    <a:lnTo>
                      <a:pt x="57" y="132"/>
                    </a:lnTo>
                    <a:lnTo>
                      <a:pt x="58" y="132"/>
                    </a:lnTo>
                    <a:lnTo>
                      <a:pt x="59" y="133"/>
                    </a:lnTo>
                    <a:lnTo>
                      <a:pt x="60" y="133"/>
                    </a:lnTo>
                    <a:lnTo>
                      <a:pt x="61" y="133"/>
                    </a:lnTo>
                    <a:lnTo>
                      <a:pt x="62" y="133"/>
                    </a:lnTo>
                    <a:lnTo>
                      <a:pt x="63" y="133"/>
                    </a:lnTo>
                    <a:lnTo>
                      <a:pt x="64" y="133"/>
                    </a:lnTo>
                    <a:lnTo>
                      <a:pt x="65" y="133"/>
                    </a:lnTo>
                    <a:lnTo>
                      <a:pt x="66" y="133"/>
                    </a:lnTo>
                    <a:lnTo>
                      <a:pt x="67" y="133"/>
                    </a:lnTo>
                    <a:lnTo>
                      <a:pt x="68" y="133"/>
                    </a:lnTo>
                    <a:lnTo>
                      <a:pt x="69" y="133"/>
                    </a:lnTo>
                    <a:lnTo>
                      <a:pt x="70" y="133"/>
                    </a:lnTo>
                    <a:lnTo>
                      <a:pt x="71" y="133"/>
                    </a:lnTo>
                    <a:lnTo>
                      <a:pt x="72" y="133"/>
                    </a:lnTo>
                    <a:lnTo>
                      <a:pt x="73" y="133"/>
                    </a:lnTo>
                    <a:lnTo>
                      <a:pt x="74" y="133"/>
                    </a:lnTo>
                    <a:lnTo>
                      <a:pt x="75" y="132"/>
                    </a:lnTo>
                    <a:lnTo>
                      <a:pt x="76" y="132"/>
                    </a:lnTo>
                    <a:lnTo>
                      <a:pt x="77" y="132"/>
                    </a:lnTo>
                    <a:lnTo>
                      <a:pt x="78" y="132"/>
                    </a:lnTo>
                    <a:lnTo>
                      <a:pt x="79" y="132"/>
                    </a:lnTo>
                    <a:lnTo>
                      <a:pt x="80" y="132"/>
                    </a:lnTo>
                    <a:lnTo>
                      <a:pt x="81" y="131"/>
                    </a:lnTo>
                    <a:lnTo>
                      <a:pt x="82" y="131"/>
                    </a:lnTo>
                    <a:lnTo>
                      <a:pt x="83" y="131"/>
                    </a:lnTo>
                    <a:lnTo>
                      <a:pt x="84" y="131"/>
                    </a:lnTo>
                    <a:lnTo>
                      <a:pt x="85" y="130"/>
                    </a:lnTo>
                    <a:lnTo>
                      <a:pt x="86" y="130"/>
                    </a:lnTo>
                    <a:lnTo>
                      <a:pt x="87" y="130"/>
                    </a:lnTo>
                    <a:lnTo>
                      <a:pt x="88" y="129"/>
                    </a:lnTo>
                    <a:lnTo>
                      <a:pt x="89" y="129"/>
                    </a:lnTo>
                    <a:lnTo>
                      <a:pt x="90" y="129"/>
                    </a:lnTo>
                    <a:lnTo>
                      <a:pt x="91" y="128"/>
                    </a:lnTo>
                    <a:lnTo>
                      <a:pt x="92" y="128"/>
                    </a:lnTo>
                    <a:lnTo>
                      <a:pt x="93" y="127"/>
                    </a:lnTo>
                    <a:lnTo>
                      <a:pt x="94" y="127"/>
                    </a:lnTo>
                    <a:lnTo>
                      <a:pt x="95" y="127"/>
                    </a:lnTo>
                    <a:lnTo>
                      <a:pt x="96" y="126"/>
                    </a:lnTo>
                    <a:lnTo>
                      <a:pt x="97" y="126"/>
                    </a:lnTo>
                    <a:lnTo>
                      <a:pt x="98" y="125"/>
                    </a:lnTo>
                    <a:lnTo>
                      <a:pt x="99" y="125"/>
                    </a:lnTo>
                    <a:lnTo>
                      <a:pt x="100" y="124"/>
                    </a:lnTo>
                    <a:lnTo>
                      <a:pt x="101" y="123"/>
                    </a:lnTo>
                    <a:lnTo>
                      <a:pt x="102" y="123"/>
                    </a:lnTo>
                    <a:lnTo>
                      <a:pt x="103" y="122"/>
                    </a:lnTo>
                    <a:lnTo>
                      <a:pt x="104" y="121"/>
                    </a:lnTo>
                    <a:lnTo>
                      <a:pt x="105" y="121"/>
                    </a:lnTo>
                    <a:lnTo>
                      <a:pt x="106" y="120"/>
                    </a:lnTo>
                    <a:lnTo>
                      <a:pt x="107" y="119"/>
                    </a:lnTo>
                    <a:lnTo>
                      <a:pt x="108" y="118"/>
                    </a:lnTo>
                    <a:lnTo>
                      <a:pt x="109" y="118"/>
                    </a:lnTo>
                    <a:lnTo>
                      <a:pt x="110" y="117"/>
                    </a:lnTo>
                    <a:lnTo>
                      <a:pt x="111" y="116"/>
                    </a:lnTo>
                    <a:lnTo>
                      <a:pt x="112" y="115"/>
                    </a:lnTo>
                    <a:lnTo>
                      <a:pt x="113" y="114"/>
                    </a:lnTo>
                    <a:lnTo>
                      <a:pt x="114" y="113"/>
                    </a:lnTo>
                    <a:lnTo>
                      <a:pt x="115" y="112"/>
                    </a:lnTo>
                    <a:lnTo>
                      <a:pt x="116" y="111"/>
                    </a:lnTo>
                    <a:lnTo>
                      <a:pt x="117" y="110"/>
                    </a:lnTo>
                    <a:lnTo>
                      <a:pt x="118" y="109"/>
                    </a:lnTo>
                    <a:lnTo>
                      <a:pt x="118" y="108"/>
                    </a:lnTo>
                    <a:lnTo>
                      <a:pt x="119" y="107"/>
                    </a:lnTo>
                    <a:lnTo>
                      <a:pt x="120" y="106"/>
                    </a:lnTo>
                    <a:lnTo>
                      <a:pt x="121" y="105"/>
                    </a:lnTo>
                    <a:lnTo>
                      <a:pt x="121" y="104"/>
                    </a:lnTo>
                    <a:lnTo>
                      <a:pt x="122" y="103"/>
                    </a:lnTo>
                    <a:lnTo>
                      <a:pt x="123" y="102"/>
                    </a:lnTo>
                    <a:lnTo>
                      <a:pt x="123" y="101"/>
                    </a:lnTo>
                    <a:lnTo>
                      <a:pt x="124" y="100"/>
                    </a:lnTo>
                    <a:lnTo>
                      <a:pt x="125" y="99"/>
                    </a:lnTo>
                    <a:lnTo>
                      <a:pt x="125" y="98"/>
                    </a:lnTo>
                    <a:lnTo>
                      <a:pt x="126" y="97"/>
                    </a:lnTo>
                    <a:lnTo>
                      <a:pt x="126" y="96"/>
                    </a:lnTo>
                    <a:lnTo>
                      <a:pt x="127" y="95"/>
                    </a:lnTo>
                    <a:lnTo>
                      <a:pt x="127" y="94"/>
                    </a:lnTo>
                    <a:lnTo>
                      <a:pt x="127" y="93"/>
                    </a:lnTo>
                    <a:lnTo>
                      <a:pt x="128" y="92"/>
                    </a:lnTo>
                    <a:lnTo>
                      <a:pt x="128" y="91"/>
                    </a:lnTo>
                    <a:lnTo>
                      <a:pt x="129" y="90"/>
                    </a:lnTo>
                    <a:lnTo>
                      <a:pt x="129" y="89"/>
                    </a:lnTo>
                    <a:lnTo>
                      <a:pt x="129" y="88"/>
                    </a:lnTo>
                    <a:lnTo>
                      <a:pt x="130" y="87"/>
                    </a:lnTo>
                    <a:lnTo>
                      <a:pt x="130" y="86"/>
                    </a:lnTo>
                    <a:lnTo>
                      <a:pt x="130" y="85"/>
                    </a:lnTo>
                    <a:lnTo>
                      <a:pt x="131" y="84"/>
                    </a:lnTo>
                    <a:lnTo>
                      <a:pt x="131" y="83"/>
                    </a:lnTo>
                    <a:lnTo>
                      <a:pt x="131" y="82"/>
                    </a:lnTo>
                    <a:lnTo>
                      <a:pt x="131" y="81"/>
                    </a:lnTo>
                    <a:lnTo>
                      <a:pt x="132" y="80"/>
                    </a:lnTo>
                    <a:lnTo>
                      <a:pt x="132" y="79"/>
                    </a:lnTo>
                    <a:lnTo>
                      <a:pt x="132" y="78"/>
                    </a:lnTo>
                    <a:lnTo>
                      <a:pt x="132" y="77"/>
                    </a:lnTo>
                    <a:lnTo>
                      <a:pt x="132" y="76"/>
                    </a:lnTo>
                    <a:lnTo>
                      <a:pt x="132" y="75"/>
                    </a:lnTo>
                    <a:lnTo>
                      <a:pt x="133" y="74"/>
                    </a:lnTo>
                    <a:lnTo>
                      <a:pt x="133" y="73"/>
                    </a:lnTo>
                    <a:lnTo>
                      <a:pt x="133" y="72"/>
                    </a:lnTo>
                    <a:lnTo>
                      <a:pt x="133" y="71"/>
                    </a:lnTo>
                    <a:lnTo>
                      <a:pt x="133" y="70"/>
                    </a:lnTo>
                    <a:lnTo>
                      <a:pt x="133" y="69"/>
                    </a:lnTo>
                    <a:lnTo>
                      <a:pt x="133" y="68"/>
                    </a:lnTo>
                    <a:lnTo>
                      <a:pt x="133" y="67"/>
                    </a:lnTo>
                    <a:lnTo>
                      <a:pt x="133" y="66"/>
                    </a:lnTo>
                    <a:close/>
                  </a:path>
                </a:pathLst>
              </a:custGeom>
              <a:solidFill>
                <a:srgbClr val="E69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96" name="Rectangle 393"/>
              <p:cNvSpPr>
                <a:spLocks noChangeArrowheads="1"/>
              </p:cNvSpPr>
              <p:nvPr/>
            </p:nvSpPr>
            <p:spPr bwMode="auto">
              <a:xfrm>
                <a:off x="2514" y="3165"/>
                <a:ext cx="171" cy="68"/>
              </a:xfrm>
              <a:prstGeom prst="rect">
                <a:avLst/>
              </a:prstGeom>
              <a:solidFill>
                <a:srgbClr val="E698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97" name="Rectangle 394"/>
              <p:cNvSpPr>
                <a:spLocks noChangeArrowheads="1"/>
              </p:cNvSpPr>
              <p:nvPr/>
            </p:nvSpPr>
            <p:spPr bwMode="auto">
              <a:xfrm>
                <a:off x="2753" y="3156"/>
                <a:ext cx="624"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kern="1200" dirty="0">
                    <a:solidFill>
                      <a:srgbClr val="000000"/>
                    </a:solidFill>
                    <a:ea typeface="+mn-ea"/>
                    <a:cs typeface="Arial" panose="020B0604020202020204" pitchFamily="34" charset="0"/>
                  </a:rPr>
                  <a:t>Inclusive Finance</a:t>
                </a:r>
                <a:endParaRPr lang="en-US" altLang="en-US" sz="813" kern="1200" dirty="0">
                  <a:solidFill>
                    <a:prstClr val="black"/>
                  </a:solidFill>
                  <a:ea typeface="+mn-ea"/>
                  <a:cs typeface="Arial" panose="020B0604020202020204" pitchFamily="34" charset="0"/>
                </a:endParaRPr>
              </a:p>
            </p:txBody>
          </p:sp>
        </p:grpSp>
        <p:sp>
          <p:nvSpPr>
            <p:cNvPr id="8" name="Rectangle 407"/>
            <p:cNvSpPr>
              <a:spLocks noChangeArrowheads="1"/>
            </p:cNvSpPr>
            <p:nvPr/>
          </p:nvSpPr>
          <p:spPr bwMode="auto">
            <a:xfrm>
              <a:off x="2712" y="3474"/>
              <a:ext cx="546"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kern="1200" dirty="0">
                  <a:solidFill>
                    <a:srgbClr val="000000"/>
                  </a:solidFill>
                  <a:ea typeface="+mn-ea"/>
                  <a:cs typeface="Arial" panose="020B0604020202020204" pitchFamily="34" charset="0"/>
                </a:rPr>
                <a:t>State capability</a:t>
              </a:r>
              <a:endParaRPr lang="en-US" altLang="en-US" sz="813" kern="1200" dirty="0">
                <a:solidFill>
                  <a:prstClr val="black"/>
                </a:solidFill>
                <a:ea typeface="+mn-ea"/>
                <a:cs typeface="Arial" panose="020B0604020202020204" pitchFamily="34" charset="0"/>
              </a:endParaRPr>
            </a:p>
          </p:txBody>
        </p:sp>
        <p:sp>
          <p:nvSpPr>
            <p:cNvPr id="9" name="Rectangle 408"/>
            <p:cNvSpPr>
              <a:spLocks noChangeArrowheads="1"/>
            </p:cNvSpPr>
            <p:nvPr/>
          </p:nvSpPr>
          <p:spPr bwMode="auto">
            <a:xfrm>
              <a:off x="2521" y="3598"/>
              <a:ext cx="171" cy="68"/>
            </a:xfrm>
            <a:prstGeom prst="rect">
              <a:avLst/>
            </a:prstGeom>
            <a:solidFill>
              <a:srgbClr val="E64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0" name="Rectangle 409"/>
            <p:cNvSpPr>
              <a:spLocks noChangeArrowheads="1"/>
            </p:cNvSpPr>
            <p:nvPr/>
          </p:nvSpPr>
          <p:spPr bwMode="auto">
            <a:xfrm>
              <a:off x="2722" y="3579"/>
              <a:ext cx="416"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kern="1200" dirty="0">
                  <a:solidFill>
                    <a:srgbClr val="000000"/>
                  </a:solidFill>
                  <a:ea typeface="+mn-ea"/>
                  <a:cs typeface="Arial" panose="020B0604020202020204" pitchFamily="34" charset="0"/>
                </a:rPr>
                <a:t>Agro dealer</a:t>
              </a:r>
              <a:endParaRPr lang="en-US" altLang="en-US" sz="813" kern="1200" dirty="0">
                <a:solidFill>
                  <a:prstClr val="black"/>
                </a:solidFill>
                <a:ea typeface="+mn-ea"/>
                <a:cs typeface="Arial" panose="020B0604020202020204" pitchFamily="34" charset="0"/>
              </a:endParaRPr>
            </a:p>
          </p:txBody>
        </p:sp>
        <p:sp>
          <p:nvSpPr>
            <p:cNvPr id="11" name="Rectangle 410"/>
            <p:cNvSpPr>
              <a:spLocks noChangeArrowheads="1"/>
            </p:cNvSpPr>
            <p:nvPr/>
          </p:nvSpPr>
          <p:spPr bwMode="auto">
            <a:xfrm>
              <a:off x="2530" y="3705"/>
              <a:ext cx="171" cy="68"/>
            </a:xfrm>
            <a:prstGeom prst="rect">
              <a:avLst/>
            </a:prstGeom>
            <a:solidFill>
              <a:srgbClr val="004C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2" name="Rectangle 411"/>
            <p:cNvSpPr>
              <a:spLocks noChangeArrowheads="1"/>
            </p:cNvSpPr>
            <p:nvPr/>
          </p:nvSpPr>
          <p:spPr bwMode="auto">
            <a:xfrm>
              <a:off x="2732" y="3688"/>
              <a:ext cx="354"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kern="1200" dirty="0">
                  <a:solidFill>
                    <a:srgbClr val="000000"/>
                  </a:solidFill>
                  <a:ea typeface="+mn-ea"/>
                  <a:cs typeface="Arial" panose="020B0604020202020204" pitchFamily="34" charset="0"/>
                </a:rPr>
                <a:t>Extension</a:t>
              </a:r>
              <a:endParaRPr lang="en-US" altLang="en-US" sz="813" kern="1200" dirty="0">
                <a:solidFill>
                  <a:prstClr val="black"/>
                </a:solidFill>
                <a:ea typeface="+mn-ea"/>
                <a:cs typeface="Arial" panose="020B0604020202020204" pitchFamily="34" charset="0"/>
              </a:endParaRPr>
            </a:p>
          </p:txBody>
        </p:sp>
        <p:sp>
          <p:nvSpPr>
            <p:cNvPr id="13" name="Rectangle 412"/>
            <p:cNvSpPr>
              <a:spLocks noChangeArrowheads="1"/>
            </p:cNvSpPr>
            <p:nvPr/>
          </p:nvSpPr>
          <p:spPr bwMode="auto">
            <a:xfrm>
              <a:off x="2542" y="3819"/>
              <a:ext cx="171" cy="68"/>
            </a:xfrm>
            <a:prstGeom prst="rect">
              <a:avLst/>
            </a:prstGeom>
            <a:solidFill>
              <a:srgbClr val="2892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14" name="Rectangle 413"/>
            <p:cNvSpPr>
              <a:spLocks noChangeArrowheads="1"/>
            </p:cNvSpPr>
            <p:nvPr/>
          </p:nvSpPr>
          <p:spPr bwMode="auto">
            <a:xfrm>
              <a:off x="2744" y="3783"/>
              <a:ext cx="22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kern="1200" dirty="0">
                  <a:solidFill>
                    <a:srgbClr val="000000"/>
                  </a:solidFill>
                  <a:ea typeface="+mn-ea"/>
                  <a:cs typeface="Arial" panose="020B0604020202020204" pitchFamily="34" charset="0"/>
                </a:rPr>
                <a:t>Seeds</a:t>
              </a:r>
              <a:endParaRPr lang="en-US" altLang="en-US" sz="813" kern="1200" dirty="0">
                <a:solidFill>
                  <a:prstClr val="black"/>
                </a:solidFill>
                <a:ea typeface="+mn-ea"/>
                <a:cs typeface="Arial" panose="020B0604020202020204" pitchFamily="34" charset="0"/>
              </a:endParaRPr>
            </a:p>
          </p:txBody>
        </p:sp>
        <p:sp>
          <p:nvSpPr>
            <p:cNvPr id="19" name="Rectangle 418"/>
            <p:cNvSpPr>
              <a:spLocks noChangeArrowheads="1"/>
            </p:cNvSpPr>
            <p:nvPr/>
          </p:nvSpPr>
          <p:spPr bwMode="auto">
            <a:xfrm>
              <a:off x="2525" y="3911"/>
              <a:ext cx="91" cy="113"/>
            </a:xfrm>
            <a:prstGeom prst="rect">
              <a:avLst/>
            </a:prstGeom>
            <a:solidFill>
              <a:srgbClr val="B4D79E"/>
            </a:solidFill>
            <a:ln w="4763">
              <a:solidFill>
                <a:srgbClr val="686868"/>
              </a:solidFill>
              <a:prstDash val="solid"/>
              <a:miter lim="800000"/>
              <a:headEnd/>
              <a:tailEnd/>
            </a:ln>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0" name="Rectangle 419"/>
            <p:cNvSpPr>
              <a:spLocks noChangeArrowheads="1"/>
            </p:cNvSpPr>
            <p:nvPr/>
          </p:nvSpPr>
          <p:spPr bwMode="auto">
            <a:xfrm>
              <a:off x="5881" y="3642"/>
              <a:ext cx="0"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endParaRPr lang="en-US" altLang="en-US" sz="1463" kern="1200" dirty="0">
                <a:solidFill>
                  <a:prstClr val="black"/>
                </a:solidFill>
                <a:ea typeface="+mn-ea"/>
                <a:cs typeface="Arial" panose="020B0604020202020204" pitchFamily="34" charset="0"/>
              </a:endParaRPr>
            </a:p>
          </p:txBody>
        </p:sp>
        <p:sp>
          <p:nvSpPr>
            <p:cNvPr id="21" name="Rectangle 420"/>
            <p:cNvSpPr>
              <a:spLocks noChangeArrowheads="1"/>
            </p:cNvSpPr>
            <p:nvPr/>
          </p:nvSpPr>
          <p:spPr bwMode="auto">
            <a:xfrm>
              <a:off x="2630" y="3906"/>
              <a:ext cx="91" cy="118"/>
            </a:xfrm>
            <a:prstGeom prst="rect">
              <a:avLst/>
            </a:prstGeom>
            <a:solidFill>
              <a:srgbClr val="D3FFBE"/>
            </a:solidFill>
            <a:ln w="4763">
              <a:solidFill>
                <a:srgbClr val="6E6E6E"/>
              </a:solidFill>
              <a:prstDash val="solid"/>
              <a:miter lim="800000"/>
              <a:headEnd/>
              <a:tailEnd/>
            </a:ln>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2" name="Rectangle 421"/>
            <p:cNvSpPr>
              <a:spLocks noChangeArrowheads="1"/>
            </p:cNvSpPr>
            <p:nvPr/>
          </p:nvSpPr>
          <p:spPr bwMode="auto">
            <a:xfrm>
              <a:off x="5881" y="3758"/>
              <a:ext cx="0"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endParaRPr lang="en-US" altLang="en-US" sz="1463" kern="1200" dirty="0">
                <a:solidFill>
                  <a:prstClr val="black"/>
                </a:solidFill>
                <a:ea typeface="+mn-ea"/>
                <a:cs typeface="Arial" panose="020B0604020202020204" pitchFamily="34" charset="0"/>
              </a:endParaRPr>
            </a:p>
          </p:txBody>
        </p:sp>
        <p:sp>
          <p:nvSpPr>
            <p:cNvPr id="23" name="Rectangle 422"/>
            <p:cNvSpPr>
              <a:spLocks noChangeArrowheads="1"/>
            </p:cNvSpPr>
            <p:nvPr/>
          </p:nvSpPr>
          <p:spPr bwMode="auto">
            <a:xfrm>
              <a:off x="2570" y="4078"/>
              <a:ext cx="91" cy="113"/>
            </a:xfrm>
            <a:prstGeom prst="rect">
              <a:avLst/>
            </a:prstGeom>
            <a:solidFill>
              <a:srgbClr val="E1E1E1"/>
            </a:solidFill>
            <a:ln w="4763">
              <a:solidFill>
                <a:srgbClr val="6E6E6E"/>
              </a:solidFill>
              <a:prstDash val="solid"/>
              <a:miter lim="800000"/>
              <a:headEnd/>
              <a:tailEnd/>
            </a:ln>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24" name="Rectangle 423"/>
            <p:cNvSpPr>
              <a:spLocks noChangeArrowheads="1"/>
            </p:cNvSpPr>
            <p:nvPr/>
          </p:nvSpPr>
          <p:spPr bwMode="auto">
            <a:xfrm>
              <a:off x="5881" y="3875"/>
              <a:ext cx="0"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endParaRPr lang="en-US" altLang="en-US" sz="1463" kern="1200" dirty="0">
                <a:solidFill>
                  <a:prstClr val="black"/>
                </a:solidFill>
                <a:ea typeface="+mn-ea"/>
                <a:cs typeface="Arial" panose="020B0604020202020204" pitchFamily="34" charset="0"/>
              </a:endParaRPr>
            </a:p>
          </p:txBody>
        </p:sp>
        <p:sp>
          <p:nvSpPr>
            <p:cNvPr id="430" name="Rectangle 413"/>
            <p:cNvSpPr>
              <a:spLocks noChangeArrowheads="1"/>
            </p:cNvSpPr>
            <p:nvPr/>
          </p:nvSpPr>
          <p:spPr bwMode="auto">
            <a:xfrm>
              <a:off x="2782" y="3953"/>
              <a:ext cx="108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dirty="0">
                  <a:solidFill>
                    <a:srgbClr val="000000"/>
                  </a:solidFill>
                  <a:ea typeface="+mn-ea"/>
                  <a:cs typeface="Arial" panose="020B0604020202020204" pitchFamily="34" charset="0"/>
                </a:rPr>
                <a:t>AGRA  Selected Regions</a:t>
              </a:r>
              <a:endParaRPr lang="en-US" altLang="en-US" sz="975" kern="1200" dirty="0">
                <a:solidFill>
                  <a:prstClr val="black"/>
                </a:solidFill>
                <a:ea typeface="+mn-ea"/>
                <a:cs typeface="Arial" panose="020B0604020202020204" pitchFamily="34" charset="0"/>
              </a:endParaRPr>
            </a:p>
          </p:txBody>
        </p:sp>
        <p:sp>
          <p:nvSpPr>
            <p:cNvPr id="431" name="Rectangle 413"/>
            <p:cNvSpPr>
              <a:spLocks noChangeArrowheads="1"/>
            </p:cNvSpPr>
            <p:nvPr/>
          </p:nvSpPr>
          <p:spPr bwMode="auto">
            <a:xfrm>
              <a:off x="2721" y="4103"/>
              <a:ext cx="62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kern="1200" dirty="0">
                  <a:solidFill>
                    <a:srgbClr val="000000"/>
                  </a:solidFill>
                  <a:ea typeface="+mn-ea"/>
                  <a:cs typeface="Arial" panose="020B0604020202020204" pitchFamily="34" charset="0"/>
                </a:rPr>
                <a:t>Other Regions</a:t>
              </a:r>
              <a:endParaRPr lang="en-US" altLang="en-US" sz="975" kern="1200" dirty="0">
                <a:solidFill>
                  <a:prstClr val="black"/>
                </a:solidFill>
                <a:ea typeface="+mn-ea"/>
                <a:cs typeface="Arial" panose="020B0604020202020204" pitchFamily="34" charset="0"/>
              </a:endParaRPr>
            </a:p>
          </p:txBody>
        </p:sp>
      </p:grpSp>
      <p:sp>
        <p:nvSpPr>
          <p:cNvPr id="426" name="TextBox 425"/>
          <p:cNvSpPr txBox="1"/>
          <p:nvPr/>
        </p:nvSpPr>
        <p:spPr>
          <a:xfrm>
            <a:off x="131398" y="1324895"/>
            <a:ext cx="3076277" cy="780342"/>
          </a:xfrm>
          <a:prstGeom prst="rect">
            <a:avLst/>
          </a:prstGeom>
          <a:noFill/>
        </p:spPr>
        <p:txBody>
          <a:bodyPr wrap="square" rtlCol="0">
            <a:spAutoFit/>
          </a:bodyPr>
          <a:lstStyle/>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Consortium(Kagera)</a:t>
            </a:r>
          </a:p>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 </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Agricultural Transformation for increased income and improved food security and livelihood among smallholder farmers in </a:t>
            </a:r>
            <a:r>
              <a:rPr lang="en-GB" sz="894" kern="1200" dirty="0" err="1">
                <a:solidFill>
                  <a:prstClr val="black">
                    <a:lumMod val="95000"/>
                    <a:lumOff val="5000"/>
                  </a:prstClr>
                </a:solidFill>
                <a:latin typeface="Arial" panose="020B0604020202020204" pitchFamily="34" charset="0"/>
                <a:ea typeface="+mn-ea"/>
                <a:cs typeface="Arial" panose="020B0604020202020204" pitchFamily="34" charset="0"/>
              </a:rPr>
              <a:t>Kagera</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 </a:t>
            </a:r>
            <a:r>
              <a:rPr lang="en-GB" sz="894" kern="1200" dirty="0" smtClean="0">
                <a:solidFill>
                  <a:prstClr val="black">
                    <a:lumMod val="95000"/>
                    <a:lumOff val="5000"/>
                  </a:prstClr>
                </a:solidFill>
                <a:latin typeface="Arial" panose="020B0604020202020204" pitchFamily="34" charset="0"/>
                <a:ea typeface="+mn-ea"/>
                <a:cs typeface="Arial" panose="020B0604020202020204" pitchFamily="34" charset="0"/>
              </a:rPr>
              <a:t>Region. </a:t>
            </a: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894" kern="1200" dirty="0">
                <a:solidFill>
                  <a:prstClr val="black"/>
                </a:solidFill>
                <a:latin typeface="Arial" panose="020B0604020202020204" pitchFamily="34" charset="0"/>
                <a:ea typeface="+mn-ea"/>
                <a:cs typeface="Arial" panose="020B0604020202020204" pitchFamily="34" charset="0"/>
              </a:rPr>
              <a:t>: </a:t>
            </a:r>
            <a:r>
              <a:rPr lang="en-US" sz="894" kern="1200" dirty="0" err="1" smtClean="0">
                <a:solidFill>
                  <a:prstClr val="black">
                    <a:lumMod val="95000"/>
                    <a:lumOff val="5000"/>
                  </a:prstClr>
                </a:solidFill>
                <a:latin typeface="Arial" panose="020B0604020202020204" pitchFamily="34" charset="0"/>
                <a:ea typeface="+mn-ea"/>
                <a:cs typeface="Arial" panose="020B0604020202020204" pitchFamily="34" charset="0"/>
              </a:rPr>
              <a:t>Kagera</a:t>
            </a:r>
            <a:endParaRPr lang="en-GB" sz="894" kern="1200" dirty="0">
              <a:solidFill>
                <a:prstClr val="black"/>
              </a:solidFill>
              <a:latin typeface="Arial" panose="020B0604020202020204" pitchFamily="34" charset="0"/>
              <a:ea typeface="+mn-ea"/>
              <a:cs typeface="Arial" panose="020B0604020202020204" pitchFamily="34" charset="0"/>
            </a:endParaRPr>
          </a:p>
        </p:txBody>
      </p:sp>
      <p:sp>
        <p:nvSpPr>
          <p:cNvPr id="427" name="TextBox 426"/>
          <p:cNvSpPr txBox="1"/>
          <p:nvPr/>
        </p:nvSpPr>
        <p:spPr>
          <a:xfrm>
            <a:off x="125763" y="3693596"/>
            <a:ext cx="2787908" cy="780342"/>
          </a:xfrm>
          <a:prstGeom prst="rect">
            <a:avLst/>
          </a:prstGeom>
          <a:noFill/>
        </p:spPr>
        <p:txBody>
          <a:bodyPr wrap="square" rtlCol="0">
            <a:spAutoFit/>
          </a:bodyPr>
          <a:lstStyle/>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894" b="1" kern="1200" dirty="0" smtClean="0">
                <a:solidFill>
                  <a:prstClr val="black">
                    <a:lumMod val="95000"/>
                    <a:lumOff val="5000"/>
                  </a:prstClr>
                </a:solidFill>
                <a:latin typeface="Arial" panose="020B0604020202020204" pitchFamily="34" charset="0"/>
                <a:ea typeface="+mn-ea"/>
                <a:cs typeface="Arial" panose="020B0604020202020204" pitchFamily="34" charset="0"/>
              </a:rPr>
              <a:t>Consortium (</a:t>
            </a: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Kigoma)</a:t>
            </a:r>
          </a:p>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 </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Integrated Project to Increase Income and Improve Food Security and Livelihood among Smallholder Farmers in the Western Tanzania, </a:t>
            </a:r>
            <a:r>
              <a:rPr lang="en-GB" sz="894" kern="1200" dirty="0" err="1">
                <a:solidFill>
                  <a:prstClr val="black">
                    <a:lumMod val="95000"/>
                    <a:lumOff val="5000"/>
                  </a:prstClr>
                </a:solidFill>
                <a:latin typeface="Arial" panose="020B0604020202020204" pitchFamily="34" charset="0"/>
                <a:ea typeface="+mn-ea"/>
                <a:cs typeface="Arial" panose="020B0604020202020204" pitchFamily="34" charset="0"/>
              </a:rPr>
              <a:t>Kigoma</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 </a:t>
            </a:r>
            <a:r>
              <a:rPr lang="en-GB" sz="894" kern="1200" dirty="0" smtClean="0">
                <a:solidFill>
                  <a:prstClr val="black">
                    <a:lumMod val="95000"/>
                    <a:lumOff val="5000"/>
                  </a:prstClr>
                </a:solidFill>
                <a:latin typeface="Arial" panose="020B0604020202020204" pitchFamily="34" charset="0"/>
                <a:ea typeface="+mn-ea"/>
                <a:cs typeface="Arial" panose="020B0604020202020204" pitchFamily="34" charset="0"/>
              </a:rPr>
              <a:t>Region;  </a:t>
            </a: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894" kern="1200" dirty="0">
                <a:solidFill>
                  <a:prstClr val="black"/>
                </a:solidFill>
                <a:latin typeface="Arial" panose="020B0604020202020204" pitchFamily="34" charset="0"/>
                <a:ea typeface="+mn-ea"/>
                <a:cs typeface="Arial" panose="020B0604020202020204" pitchFamily="34" charset="0"/>
              </a:rPr>
              <a:t>: </a:t>
            </a:r>
            <a:r>
              <a:rPr lang="en-US" sz="894" kern="1200" dirty="0" err="1" smtClean="0">
                <a:solidFill>
                  <a:prstClr val="black">
                    <a:lumMod val="95000"/>
                    <a:lumOff val="5000"/>
                  </a:prstClr>
                </a:solidFill>
                <a:latin typeface="Arial" panose="020B0604020202020204" pitchFamily="34" charset="0"/>
                <a:ea typeface="+mn-ea"/>
                <a:cs typeface="Arial" panose="020B0604020202020204" pitchFamily="34" charset="0"/>
              </a:rPr>
              <a:t>Kigoma</a:t>
            </a:r>
            <a:endParaRPr lang="en-GB" sz="894" kern="1200" dirty="0">
              <a:solidFill>
                <a:prstClr val="black"/>
              </a:solidFill>
              <a:latin typeface="Arial" panose="020B0604020202020204" pitchFamily="34" charset="0"/>
              <a:ea typeface="+mn-ea"/>
              <a:cs typeface="Arial" panose="020B0604020202020204" pitchFamily="34" charset="0"/>
            </a:endParaRPr>
          </a:p>
        </p:txBody>
      </p:sp>
      <p:sp>
        <p:nvSpPr>
          <p:cNvPr id="428" name="TextBox 427"/>
          <p:cNvSpPr txBox="1"/>
          <p:nvPr/>
        </p:nvSpPr>
        <p:spPr>
          <a:xfrm>
            <a:off x="112933" y="4453226"/>
            <a:ext cx="2972408" cy="642740"/>
          </a:xfrm>
          <a:prstGeom prst="rect">
            <a:avLst/>
          </a:prstGeom>
          <a:noFill/>
        </p:spPr>
        <p:txBody>
          <a:bodyPr wrap="square" rtlCol="0">
            <a:spAutoFit/>
          </a:bodyPr>
          <a:lstStyle/>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894" b="1" kern="1200" dirty="0" smtClean="0">
                <a:solidFill>
                  <a:prstClr val="black">
                    <a:lumMod val="95000"/>
                    <a:lumOff val="5000"/>
                  </a:prstClr>
                </a:solidFill>
                <a:latin typeface="Arial" panose="020B0604020202020204" pitchFamily="34" charset="0"/>
                <a:ea typeface="+mn-ea"/>
                <a:cs typeface="Arial" panose="020B0604020202020204" pitchFamily="34" charset="0"/>
              </a:rPr>
              <a:t>Consortium (</a:t>
            </a:r>
            <a:r>
              <a:rPr lang="en-US" sz="894" b="1" kern="1200" dirty="0" err="1" smtClean="0">
                <a:solidFill>
                  <a:prstClr val="black">
                    <a:lumMod val="95000"/>
                    <a:lumOff val="5000"/>
                  </a:prstClr>
                </a:solidFill>
                <a:latin typeface="Arial" panose="020B0604020202020204" pitchFamily="34" charset="0"/>
                <a:ea typeface="+mn-ea"/>
                <a:cs typeface="Arial" panose="020B0604020202020204" pitchFamily="34" charset="0"/>
              </a:rPr>
              <a:t>Sumbawanga</a:t>
            </a: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a:t>
            </a:r>
          </a:p>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 </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Promoting Market led Approach to improve profitability of beans, Maize and Rice in </a:t>
            </a:r>
            <a:r>
              <a:rPr lang="en-GB" sz="894" kern="1200" dirty="0" err="1">
                <a:solidFill>
                  <a:prstClr val="black">
                    <a:lumMod val="95000"/>
                    <a:lumOff val="5000"/>
                  </a:prstClr>
                </a:solidFill>
                <a:latin typeface="Arial" panose="020B0604020202020204" pitchFamily="34" charset="0"/>
                <a:ea typeface="+mn-ea"/>
                <a:cs typeface="Arial" panose="020B0604020202020204" pitchFamily="34" charset="0"/>
              </a:rPr>
              <a:t>Sumbawanga</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 </a:t>
            </a:r>
            <a:r>
              <a:rPr lang="en-GB" sz="894" kern="1200" dirty="0" smtClean="0">
                <a:solidFill>
                  <a:prstClr val="black">
                    <a:lumMod val="95000"/>
                    <a:lumOff val="5000"/>
                  </a:prstClr>
                </a:solidFill>
                <a:latin typeface="Arial" panose="020B0604020202020204" pitchFamily="34" charset="0"/>
                <a:ea typeface="+mn-ea"/>
                <a:cs typeface="Arial" panose="020B0604020202020204" pitchFamily="34" charset="0"/>
              </a:rPr>
              <a:t>cluster; </a:t>
            </a:r>
            <a:r>
              <a:rPr lang="en-US" sz="894" b="1" kern="1200" dirty="0" smtClean="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894" kern="1200" dirty="0">
                <a:solidFill>
                  <a:prstClr val="black"/>
                </a:solidFill>
                <a:latin typeface="Arial" panose="020B0604020202020204" pitchFamily="34" charset="0"/>
                <a:ea typeface="+mn-ea"/>
                <a:cs typeface="Arial" panose="020B0604020202020204" pitchFamily="34" charset="0"/>
              </a:rPr>
              <a:t>: </a:t>
            </a:r>
            <a:r>
              <a:rPr lang="en-US" sz="894" kern="1200" dirty="0" err="1" smtClean="0">
                <a:solidFill>
                  <a:prstClr val="black">
                    <a:lumMod val="95000"/>
                    <a:lumOff val="5000"/>
                  </a:prstClr>
                </a:solidFill>
                <a:latin typeface="Arial" panose="020B0604020202020204" pitchFamily="34" charset="0"/>
                <a:ea typeface="+mn-ea"/>
                <a:cs typeface="Arial" panose="020B0604020202020204" pitchFamily="34" charset="0"/>
              </a:rPr>
              <a:t>Sumbawanga</a:t>
            </a:r>
            <a:endParaRPr lang="en-US" sz="894" kern="1200" dirty="0">
              <a:solidFill>
                <a:prstClr val="black"/>
              </a:solidFill>
              <a:latin typeface="Arial" panose="020B0604020202020204" pitchFamily="34" charset="0"/>
              <a:ea typeface="+mn-ea"/>
              <a:cs typeface="Arial" panose="020B0604020202020204" pitchFamily="34" charset="0"/>
            </a:endParaRPr>
          </a:p>
        </p:txBody>
      </p:sp>
      <p:sp>
        <p:nvSpPr>
          <p:cNvPr id="429" name="TextBox 428"/>
          <p:cNvSpPr txBox="1"/>
          <p:nvPr/>
        </p:nvSpPr>
        <p:spPr>
          <a:xfrm>
            <a:off x="101225" y="2835672"/>
            <a:ext cx="2566173" cy="780342"/>
          </a:xfrm>
          <a:prstGeom prst="rect">
            <a:avLst/>
          </a:prstGeom>
          <a:noFill/>
        </p:spPr>
        <p:txBody>
          <a:bodyPr wrap="square" rtlCol="0">
            <a:spAutoFit/>
          </a:bodyPr>
          <a:lstStyle/>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Gap-filling grant</a:t>
            </a:r>
          </a:p>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a:t>
            </a:r>
            <a:r>
              <a:rPr lang="en-GB" sz="894" b="1" kern="1200" dirty="0">
                <a:solidFill>
                  <a:prstClr val="black">
                    <a:lumMod val="95000"/>
                    <a:lumOff val="5000"/>
                  </a:prstClr>
                </a:solidFill>
                <a:latin typeface="Arial" panose="020B0604020202020204" pitchFamily="34" charset="0"/>
                <a:ea typeface="+mn-ea"/>
                <a:cs typeface="Arial" panose="020B0604020202020204" pitchFamily="34" charset="0"/>
              </a:rPr>
              <a:t> </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Production, promotion and distribution of improved seeds of maize, sunflower and beans varieties to smallholder </a:t>
            </a:r>
            <a:r>
              <a:rPr lang="en-GB" sz="894" kern="1200" dirty="0" smtClean="0">
                <a:solidFill>
                  <a:prstClr val="black">
                    <a:lumMod val="95000"/>
                    <a:lumOff val="5000"/>
                  </a:prstClr>
                </a:solidFill>
                <a:latin typeface="Arial" panose="020B0604020202020204" pitchFamily="34" charset="0"/>
                <a:ea typeface="+mn-ea"/>
                <a:cs typeface="Arial" panose="020B0604020202020204" pitchFamily="34" charset="0"/>
              </a:rPr>
              <a:t>farmers; </a:t>
            </a:r>
            <a:r>
              <a:rPr lang="en-US" sz="894" b="1" kern="1200" dirty="0" smtClean="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894" kern="1200" dirty="0">
                <a:solidFill>
                  <a:prstClr val="black"/>
                </a:solidFill>
                <a:latin typeface="Arial" panose="020B0604020202020204" pitchFamily="34" charset="0"/>
                <a:ea typeface="+mn-ea"/>
                <a:cs typeface="Arial" panose="020B0604020202020204" pitchFamily="34" charset="0"/>
              </a:rPr>
              <a:t>: </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Kigoma and </a:t>
            </a:r>
            <a:r>
              <a:rPr lang="en-GB" sz="894" kern="1200" dirty="0" err="1">
                <a:solidFill>
                  <a:prstClr val="black">
                    <a:lumMod val="95000"/>
                    <a:lumOff val="5000"/>
                  </a:prstClr>
                </a:solidFill>
                <a:latin typeface="Arial" panose="020B0604020202020204" pitchFamily="34" charset="0"/>
                <a:ea typeface="+mn-ea"/>
                <a:cs typeface="Arial" panose="020B0604020202020204" pitchFamily="34" charset="0"/>
              </a:rPr>
              <a:t>Kagera</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 </a:t>
            </a:r>
          </a:p>
        </p:txBody>
      </p:sp>
      <p:sp>
        <p:nvSpPr>
          <p:cNvPr id="432" name="TextBox 431"/>
          <p:cNvSpPr txBox="1"/>
          <p:nvPr/>
        </p:nvSpPr>
        <p:spPr>
          <a:xfrm>
            <a:off x="6396337" y="1334507"/>
            <a:ext cx="3532882" cy="642740"/>
          </a:xfrm>
          <a:prstGeom prst="rect">
            <a:avLst/>
          </a:prstGeom>
          <a:noFill/>
        </p:spPr>
        <p:txBody>
          <a:bodyPr wrap="square" rtlCol="0">
            <a:spAutoFit/>
          </a:bodyPr>
          <a:lstStyle/>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Gap-filling grant</a:t>
            </a:r>
          </a:p>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 </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Agricultural sector development programme (ASDP I &amp; II</a:t>
            </a:r>
            <a:r>
              <a:rPr lang="en-GB" sz="894" kern="1200" dirty="0" smtClean="0">
                <a:solidFill>
                  <a:prstClr val="black">
                    <a:lumMod val="95000"/>
                    <a:lumOff val="5000"/>
                  </a:prstClr>
                </a:solidFill>
                <a:latin typeface="Arial" panose="020B0604020202020204" pitchFamily="34" charset="0"/>
                <a:ea typeface="+mn-ea"/>
                <a:cs typeface="Arial" panose="020B0604020202020204" pitchFamily="34" charset="0"/>
              </a:rPr>
              <a:t>); </a:t>
            </a:r>
            <a:r>
              <a:rPr lang="en-US" sz="894" b="1" kern="1200" dirty="0" smtClean="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894" kern="1200" dirty="0">
                <a:solidFill>
                  <a:prstClr val="black"/>
                </a:solidFill>
                <a:latin typeface="Arial" panose="020B0604020202020204" pitchFamily="34" charset="0"/>
                <a:ea typeface="+mn-ea"/>
                <a:cs typeface="Arial" panose="020B0604020202020204" pitchFamily="34" charset="0"/>
              </a:rPr>
              <a:t>: </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National</a:t>
            </a:r>
            <a:endParaRPr lang="en-US" sz="894" kern="1200" dirty="0">
              <a:solidFill>
                <a:prstClr val="black"/>
              </a:solidFill>
              <a:latin typeface="Arial" panose="020B0604020202020204" pitchFamily="34" charset="0"/>
              <a:ea typeface="+mn-ea"/>
              <a:cs typeface="Arial" panose="020B0604020202020204" pitchFamily="34" charset="0"/>
            </a:endParaRPr>
          </a:p>
          <a:p>
            <a:pPr algn="just" defTabSz="742950">
              <a:buClrTx/>
            </a:pPr>
            <a:endParaRPr lang="en-GB" sz="894" kern="1200" dirty="0">
              <a:solidFill>
                <a:prstClr val="black"/>
              </a:solidFill>
              <a:latin typeface="Arial" panose="020B0604020202020204" pitchFamily="34" charset="0"/>
              <a:ea typeface="+mn-ea"/>
              <a:cs typeface="Arial" panose="020B0604020202020204" pitchFamily="34" charset="0"/>
            </a:endParaRPr>
          </a:p>
        </p:txBody>
      </p:sp>
      <p:sp>
        <p:nvSpPr>
          <p:cNvPr id="435" name="TextBox 434"/>
          <p:cNvSpPr txBox="1"/>
          <p:nvPr/>
        </p:nvSpPr>
        <p:spPr>
          <a:xfrm>
            <a:off x="6983216" y="1962258"/>
            <a:ext cx="2839969" cy="642740"/>
          </a:xfrm>
          <a:prstGeom prst="rect">
            <a:avLst/>
          </a:prstGeom>
          <a:noFill/>
        </p:spPr>
        <p:txBody>
          <a:bodyPr wrap="square" rtlCol="0">
            <a:spAutoFit/>
          </a:bodyPr>
          <a:lstStyle/>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Gap-filling grant</a:t>
            </a:r>
          </a:p>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a:t>
            </a:r>
            <a:r>
              <a:rPr lang="en-GB" sz="894" b="1" kern="1200" dirty="0">
                <a:solidFill>
                  <a:prstClr val="black">
                    <a:lumMod val="95000"/>
                    <a:lumOff val="5000"/>
                  </a:prstClr>
                </a:solidFill>
                <a:latin typeface="Arial" panose="020B0604020202020204" pitchFamily="34" charset="0"/>
                <a:ea typeface="+mn-ea"/>
                <a:cs typeface="Arial" panose="020B0604020202020204" pitchFamily="34" charset="0"/>
              </a:rPr>
              <a:t> </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Establishing a Mechanism to Monitor and Regulate Food Crop Commodity </a:t>
            </a:r>
            <a:r>
              <a:rPr lang="en-GB" sz="894" kern="1200" dirty="0" smtClean="0">
                <a:solidFill>
                  <a:prstClr val="black">
                    <a:lumMod val="95000"/>
                    <a:lumOff val="5000"/>
                  </a:prstClr>
                </a:solidFill>
                <a:latin typeface="Arial" panose="020B0604020202020204" pitchFamily="34" charset="0"/>
                <a:ea typeface="+mn-ea"/>
                <a:cs typeface="Arial" panose="020B0604020202020204" pitchFamily="34" charset="0"/>
              </a:rPr>
              <a:t>Exports; </a:t>
            </a: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894" kern="1200" dirty="0">
                <a:solidFill>
                  <a:prstClr val="black"/>
                </a:solidFill>
                <a:latin typeface="Arial" panose="020B0604020202020204" pitchFamily="34" charset="0"/>
                <a:ea typeface="+mn-ea"/>
                <a:cs typeface="Arial" panose="020B0604020202020204" pitchFamily="34" charset="0"/>
              </a:rPr>
              <a:t>: </a:t>
            </a:r>
            <a:r>
              <a:rPr lang="en-US" sz="894" kern="1200" dirty="0" smtClean="0">
                <a:solidFill>
                  <a:prstClr val="black">
                    <a:lumMod val="95000"/>
                    <a:lumOff val="5000"/>
                  </a:prstClr>
                </a:solidFill>
                <a:latin typeface="Arial" panose="020B0604020202020204" pitchFamily="34" charset="0"/>
                <a:ea typeface="+mn-ea"/>
                <a:cs typeface="Arial" panose="020B0604020202020204" pitchFamily="34" charset="0"/>
              </a:rPr>
              <a:t>National</a:t>
            </a:r>
            <a:endParaRPr lang="en-GB" sz="894" kern="1200" dirty="0">
              <a:solidFill>
                <a:prstClr val="black"/>
              </a:solidFill>
              <a:latin typeface="Arial" panose="020B0604020202020204" pitchFamily="34" charset="0"/>
              <a:ea typeface="+mn-ea"/>
              <a:cs typeface="Arial" panose="020B0604020202020204" pitchFamily="34" charset="0"/>
            </a:endParaRPr>
          </a:p>
        </p:txBody>
      </p:sp>
      <p:sp>
        <p:nvSpPr>
          <p:cNvPr id="436" name="TextBox 435"/>
          <p:cNvSpPr txBox="1"/>
          <p:nvPr/>
        </p:nvSpPr>
        <p:spPr>
          <a:xfrm>
            <a:off x="7403705" y="2620914"/>
            <a:ext cx="2471342" cy="642740"/>
          </a:xfrm>
          <a:prstGeom prst="rect">
            <a:avLst/>
          </a:prstGeom>
          <a:noFill/>
        </p:spPr>
        <p:txBody>
          <a:bodyPr wrap="square" rtlCol="0">
            <a:spAutoFit/>
          </a:bodyPr>
          <a:lstStyle/>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Gap-filling grant</a:t>
            </a:r>
          </a:p>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 </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Policy Advocacy to Strengthen &amp; Accelerate Agricultural Reforms in </a:t>
            </a:r>
            <a:r>
              <a:rPr lang="en-GB" sz="894" kern="1200" dirty="0" smtClean="0">
                <a:solidFill>
                  <a:prstClr val="black">
                    <a:lumMod val="95000"/>
                    <a:lumOff val="5000"/>
                  </a:prstClr>
                </a:solidFill>
                <a:latin typeface="Arial" panose="020B0604020202020204" pitchFamily="34" charset="0"/>
                <a:ea typeface="+mn-ea"/>
                <a:cs typeface="Arial" panose="020B0604020202020204" pitchFamily="34" charset="0"/>
              </a:rPr>
              <a:t>Tanzania; </a:t>
            </a:r>
            <a:r>
              <a:rPr lang="en-US" sz="894" b="1" kern="1200" dirty="0" smtClean="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894" kern="1200" dirty="0">
                <a:solidFill>
                  <a:prstClr val="black"/>
                </a:solidFill>
                <a:latin typeface="Arial" panose="020B0604020202020204" pitchFamily="34" charset="0"/>
                <a:ea typeface="+mn-ea"/>
                <a:cs typeface="Arial" panose="020B0604020202020204" pitchFamily="34" charset="0"/>
              </a:rPr>
              <a:t>: </a:t>
            </a:r>
            <a:r>
              <a:rPr lang="en-US" sz="894" kern="1200" dirty="0" smtClean="0">
                <a:solidFill>
                  <a:prstClr val="black">
                    <a:lumMod val="95000"/>
                    <a:lumOff val="5000"/>
                  </a:prstClr>
                </a:solidFill>
                <a:latin typeface="Arial" panose="020B0604020202020204" pitchFamily="34" charset="0"/>
                <a:ea typeface="+mn-ea"/>
                <a:cs typeface="Arial" panose="020B0604020202020204" pitchFamily="34" charset="0"/>
              </a:rPr>
              <a:t>National</a:t>
            </a:r>
            <a:endParaRPr lang="en-GB" sz="894" kern="1200" dirty="0">
              <a:solidFill>
                <a:prstClr val="black"/>
              </a:solidFill>
              <a:latin typeface="Arial" panose="020B0604020202020204" pitchFamily="34" charset="0"/>
              <a:ea typeface="+mn-ea"/>
              <a:cs typeface="Arial" panose="020B0604020202020204" pitchFamily="34" charset="0"/>
            </a:endParaRPr>
          </a:p>
        </p:txBody>
      </p:sp>
      <p:sp>
        <p:nvSpPr>
          <p:cNvPr id="437" name="TextBox 436"/>
          <p:cNvSpPr txBox="1"/>
          <p:nvPr/>
        </p:nvSpPr>
        <p:spPr>
          <a:xfrm>
            <a:off x="7482518" y="3911416"/>
            <a:ext cx="2339643" cy="642740"/>
          </a:xfrm>
          <a:prstGeom prst="rect">
            <a:avLst/>
          </a:prstGeom>
          <a:noFill/>
        </p:spPr>
        <p:txBody>
          <a:bodyPr wrap="square" rtlCol="0">
            <a:spAutoFit/>
          </a:bodyPr>
          <a:lstStyle/>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Gap-filling grant</a:t>
            </a:r>
          </a:p>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 Start-up Grants to Rural Agro-Dealers in Sumbawanga and </a:t>
            </a:r>
            <a:r>
              <a:rPr lang="en-GB" sz="894" kern="1200" dirty="0" err="1">
                <a:solidFill>
                  <a:prstClr val="black">
                    <a:lumMod val="95000"/>
                    <a:lumOff val="5000"/>
                  </a:prstClr>
                </a:solidFill>
                <a:latin typeface="Arial" panose="020B0604020202020204" pitchFamily="34" charset="0"/>
                <a:ea typeface="+mn-ea"/>
                <a:cs typeface="Arial" panose="020B0604020202020204" pitchFamily="34" charset="0"/>
              </a:rPr>
              <a:t>Katavi</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 </a:t>
            </a:r>
            <a:r>
              <a:rPr lang="en-GB" sz="894" kern="1200" dirty="0" smtClean="0">
                <a:solidFill>
                  <a:prstClr val="black">
                    <a:lumMod val="95000"/>
                    <a:lumOff val="5000"/>
                  </a:prstClr>
                </a:solidFill>
                <a:latin typeface="Arial" panose="020B0604020202020204" pitchFamily="34" charset="0"/>
                <a:ea typeface="+mn-ea"/>
                <a:cs typeface="Arial" panose="020B0604020202020204" pitchFamily="34" charset="0"/>
              </a:rPr>
              <a:t>Regions</a:t>
            </a:r>
            <a:endParaRPr lang="en-GB" sz="894" kern="1200" dirty="0">
              <a:solidFill>
                <a:prstClr val="black"/>
              </a:solidFill>
              <a:latin typeface="Arial" panose="020B0604020202020204" pitchFamily="34" charset="0"/>
              <a:ea typeface="+mn-ea"/>
              <a:cs typeface="Arial" panose="020B0604020202020204" pitchFamily="34" charset="0"/>
            </a:endParaRPr>
          </a:p>
        </p:txBody>
      </p:sp>
      <p:sp>
        <p:nvSpPr>
          <p:cNvPr id="438" name="TextBox 437"/>
          <p:cNvSpPr txBox="1"/>
          <p:nvPr/>
        </p:nvSpPr>
        <p:spPr>
          <a:xfrm>
            <a:off x="109503" y="5227502"/>
            <a:ext cx="2853134" cy="780342"/>
          </a:xfrm>
          <a:prstGeom prst="rect">
            <a:avLst/>
          </a:prstGeom>
          <a:noFill/>
        </p:spPr>
        <p:txBody>
          <a:bodyPr wrap="square" rtlCol="0">
            <a:spAutoFit/>
          </a:bodyPr>
          <a:lstStyle/>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894" b="1" kern="1200" dirty="0" smtClean="0">
                <a:solidFill>
                  <a:prstClr val="black">
                    <a:lumMod val="95000"/>
                    <a:lumOff val="5000"/>
                  </a:prstClr>
                </a:solidFill>
                <a:latin typeface="Arial" panose="020B0604020202020204" pitchFamily="34" charset="0"/>
                <a:ea typeface="+mn-ea"/>
                <a:cs typeface="Arial" panose="020B0604020202020204" pitchFamily="34" charset="0"/>
              </a:rPr>
              <a:t>Consortium (</a:t>
            </a:r>
            <a:r>
              <a:rPr lang="en-US" sz="894" b="1" kern="1200" dirty="0" err="1">
                <a:solidFill>
                  <a:prstClr val="black">
                    <a:lumMod val="95000"/>
                    <a:lumOff val="5000"/>
                  </a:prstClr>
                </a:solidFill>
                <a:latin typeface="Arial" panose="020B0604020202020204" pitchFamily="34" charset="0"/>
                <a:ea typeface="+mn-ea"/>
                <a:cs typeface="Arial" panose="020B0604020202020204" pitchFamily="34" charset="0"/>
              </a:rPr>
              <a:t>Ihemi</a:t>
            </a: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 Ludewa)</a:t>
            </a:r>
          </a:p>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 </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Linking farmers to input and out markets to spur maize, beans and soybean productivity in </a:t>
            </a:r>
            <a:r>
              <a:rPr lang="en-GB" sz="894" kern="1200" dirty="0" err="1">
                <a:solidFill>
                  <a:prstClr val="black">
                    <a:lumMod val="95000"/>
                    <a:lumOff val="5000"/>
                  </a:prstClr>
                </a:solidFill>
                <a:latin typeface="Arial" panose="020B0604020202020204" pitchFamily="34" charset="0"/>
                <a:ea typeface="+mn-ea"/>
                <a:cs typeface="Arial" panose="020B0604020202020204" pitchFamily="34" charset="0"/>
              </a:rPr>
              <a:t>Ihemi-Ludewa</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  </a:t>
            </a:r>
            <a:r>
              <a:rPr lang="en-GB" sz="894" kern="1200" dirty="0" smtClean="0">
                <a:solidFill>
                  <a:prstClr val="black">
                    <a:lumMod val="95000"/>
                    <a:lumOff val="5000"/>
                  </a:prstClr>
                </a:solidFill>
                <a:latin typeface="Arial" panose="020B0604020202020204" pitchFamily="34" charset="0"/>
                <a:ea typeface="+mn-ea"/>
                <a:cs typeface="Arial" panose="020B0604020202020204" pitchFamily="34" charset="0"/>
              </a:rPr>
              <a:t>Cluster;   </a:t>
            </a: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894" kern="1200" dirty="0">
                <a:solidFill>
                  <a:prstClr val="black"/>
                </a:solidFill>
                <a:latin typeface="Arial" panose="020B0604020202020204" pitchFamily="34" charset="0"/>
                <a:ea typeface="+mn-ea"/>
                <a:cs typeface="Arial" panose="020B0604020202020204" pitchFamily="34" charset="0"/>
              </a:rPr>
              <a:t>: </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Ihemi-Ludewa  Cluster </a:t>
            </a:r>
          </a:p>
        </p:txBody>
      </p:sp>
      <p:sp>
        <p:nvSpPr>
          <p:cNvPr id="439" name="TextBox 438"/>
          <p:cNvSpPr txBox="1"/>
          <p:nvPr/>
        </p:nvSpPr>
        <p:spPr>
          <a:xfrm>
            <a:off x="120757" y="2055324"/>
            <a:ext cx="3012274" cy="780342"/>
          </a:xfrm>
          <a:prstGeom prst="rect">
            <a:avLst/>
          </a:prstGeom>
          <a:noFill/>
        </p:spPr>
        <p:txBody>
          <a:bodyPr wrap="square" rtlCol="0">
            <a:spAutoFit/>
          </a:bodyPr>
          <a:lstStyle/>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Gap-filling grant</a:t>
            </a:r>
          </a:p>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 </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Scaling up Local Seed Production and Distribution of Nitrogen Use Efficient  and Drought Tolerant Maize </a:t>
            </a:r>
            <a:r>
              <a:rPr lang="en-GB" sz="894" kern="1200" dirty="0" smtClean="0">
                <a:solidFill>
                  <a:prstClr val="black">
                    <a:lumMod val="95000"/>
                    <a:lumOff val="5000"/>
                  </a:prstClr>
                </a:solidFill>
                <a:latin typeface="Arial" panose="020B0604020202020204" pitchFamily="34" charset="0"/>
                <a:ea typeface="+mn-ea"/>
                <a:cs typeface="Arial" panose="020B0604020202020204" pitchFamily="34" charset="0"/>
              </a:rPr>
              <a:t>Varieties; </a:t>
            </a:r>
            <a:r>
              <a:rPr lang="en-US" sz="894" b="1" kern="1200" dirty="0" smtClean="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894" kern="1200" dirty="0">
                <a:solidFill>
                  <a:prstClr val="black"/>
                </a:solidFill>
                <a:latin typeface="Arial" panose="020B0604020202020204" pitchFamily="34" charset="0"/>
                <a:ea typeface="+mn-ea"/>
                <a:cs typeface="Arial" panose="020B0604020202020204" pitchFamily="34" charset="0"/>
              </a:rPr>
              <a:t>: North Western Zone </a:t>
            </a:r>
            <a:r>
              <a:rPr lang="en-US" sz="894" kern="1200" dirty="0" smtClean="0">
                <a:solidFill>
                  <a:prstClr val="black"/>
                </a:solidFill>
                <a:latin typeface="Arial" panose="020B0604020202020204" pitchFamily="34" charset="0"/>
                <a:ea typeface="+mn-ea"/>
                <a:cs typeface="Arial" panose="020B0604020202020204" pitchFamily="34" charset="0"/>
              </a:rPr>
              <a:t>Regions</a:t>
            </a:r>
            <a:endParaRPr lang="en-US" sz="894" kern="1200" dirty="0">
              <a:solidFill>
                <a:prstClr val="black"/>
              </a:solidFill>
              <a:latin typeface="Arial" panose="020B0604020202020204" pitchFamily="34" charset="0"/>
              <a:ea typeface="+mn-ea"/>
              <a:cs typeface="Arial" panose="020B0604020202020204" pitchFamily="34" charset="0"/>
            </a:endParaRPr>
          </a:p>
        </p:txBody>
      </p:sp>
      <p:sp>
        <p:nvSpPr>
          <p:cNvPr id="440" name="Oval 439"/>
          <p:cNvSpPr/>
          <p:nvPr/>
        </p:nvSpPr>
        <p:spPr>
          <a:xfrm>
            <a:off x="-64967" y="1514851"/>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1</a:t>
            </a:r>
            <a:endParaRPr lang="en-GB" sz="1050" b="1" kern="1200" dirty="0">
              <a:solidFill>
                <a:prstClr val="black"/>
              </a:solidFill>
              <a:latin typeface="Arial" panose="020B0604020202020204" pitchFamily="34" charset="0"/>
              <a:cs typeface="Arial" panose="020B0604020202020204" pitchFamily="34" charset="0"/>
            </a:endParaRPr>
          </a:p>
        </p:txBody>
      </p:sp>
      <p:sp>
        <p:nvSpPr>
          <p:cNvPr id="441" name="Oval 440"/>
          <p:cNvSpPr/>
          <p:nvPr/>
        </p:nvSpPr>
        <p:spPr>
          <a:xfrm>
            <a:off x="-74543" y="2208752"/>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2</a:t>
            </a:r>
            <a:endParaRPr lang="en-GB" sz="1050" b="1" kern="1200" dirty="0">
              <a:solidFill>
                <a:prstClr val="black"/>
              </a:solidFill>
              <a:latin typeface="Arial" panose="020B0604020202020204" pitchFamily="34" charset="0"/>
              <a:cs typeface="Arial" panose="020B0604020202020204" pitchFamily="34" charset="0"/>
            </a:endParaRPr>
          </a:p>
        </p:txBody>
      </p:sp>
      <p:sp>
        <p:nvSpPr>
          <p:cNvPr id="442" name="Oval 441"/>
          <p:cNvSpPr/>
          <p:nvPr/>
        </p:nvSpPr>
        <p:spPr>
          <a:xfrm>
            <a:off x="-72286" y="3071888"/>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3</a:t>
            </a:r>
            <a:endParaRPr lang="en-GB" sz="1050" b="1" kern="1200" dirty="0">
              <a:solidFill>
                <a:prstClr val="black"/>
              </a:solidFill>
              <a:latin typeface="Arial" panose="020B0604020202020204" pitchFamily="34" charset="0"/>
              <a:cs typeface="Arial" panose="020B0604020202020204" pitchFamily="34" charset="0"/>
            </a:endParaRPr>
          </a:p>
        </p:txBody>
      </p:sp>
      <p:sp>
        <p:nvSpPr>
          <p:cNvPr id="443" name="Oval 442"/>
          <p:cNvSpPr/>
          <p:nvPr/>
        </p:nvSpPr>
        <p:spPr>
          <a:xfrm>
            <a:off x="-39985" y="3923628"/>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4</a:t>
            </a:r>
            <a:endParaRPr lang="en-GB" sz="1050" b="1" kern="1200" dirty="0">
              <a:solidFill>
                <a:prstClr val="black"/>
              </a:solidFill>
              <a:latin typeface="Arial" panose="020B0604020202020204" pitchFamily="34" charset="0"/>
              <a:cs typeface="Arial" panose="020B0604020202020204" pitchFamily="34" charset="0"/>
            </a:endParaRPr>
          </a:p>
        </p:txBody>
      </p:sp>
      <p:sp>
        <p:nvSpPr>
          <p:cNvPr id="444" name="Oval 443"/>
          <p:cNvSpPr/>
          <p:nvPr/>
        </p:nvSpPr>
        <p:spPr>
          <a:xfrm>
            <a:off x="-64967" y="4622724"/>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5</a:t>
            </a:r>
            <a:endParaRPr lang="en-GB" sz="1050" b="1" kern="1200" dirty="0">
              <a:solidFill>
                <a:prstClr val="black"/>
              </a:solidFill>
              <a:latin typeface="Arial" panose="020B0604020202020204" pitchFamily="34" charset="0"/>
              <a:cs typeface="Arial" panose="020B0604020202020204" pitchFamily="34" charset="0"/>
            </a:endParaRPr>
          </a:p>
        </p:txBody>
      </p:sp>
      <p:sp>
        <p:nvSpPr>
          <p:cNvPr id="445" name="Oval 444"/>
          <p:cNvSpPr/>
          <p:nvPr/>
        </p:nvSpPr>
        <p:spPr>
          <a:xfrm>
            <a:off x="-64967" y="5398593"/>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6</a:t>
            </a:r>
            <a:endParaRPr lang="en-GB" sz="1050" b="1" kern="1200" dirty="0">
              <a:solidFill>
                <a:prstClr val="black"/>
              </a:solidFill>
              <a:latin typeface="Arial" panose="020B0604020202020204" pitchFamily="34" charset="0"/>
              <a:cs typeface="Arial" panose="020B0604020202020204" pitchFamily="34" charset="0"/>
            </a:endParaRPr>
          </a:p>
        </p:txBody>
      </p:sp>
      <p:sp>
        <p:nvSpPr>
          <p:cNvPr id="446" name="Oval 445"/>
          <p:cNvSpPr/>
          <p:nvPr/>
        </p:nvSpPr>
        <p:spPr>
          <a:xfrm>
            <a:off x="6231880" y="1480005"/>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78</a:t>
            </a:r>
            <a:endParaRPr lang="en-GB" sz="1050" b="1" kern="1200" dirty="0">
              <a:solidFill>
                <a:prstClr val="black"/>
              </a:solidFill>
              <a:latin typeface="Arial" panose="020B0604020202020204" pitchFamily="34" charset="0"/>
              <a:cs typeface="Arial" panose="020B0604020202020204" pitchFamily="34" charset="0"/>
            </a:endParaRPr>
          </a:p>
        </p:txBody>
      </p:sp>
      <p:sp>
        <p:nvSpPr>
          <p:cNvPr id="447" name="Oval 446"/>
          <p:cNvSpPr/>
          <p:nvPr/>
        </p:nvSpPr>
        <p:spPr>
          <a:xfrm>
            <a:off x="6790897" y="2156541"/>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9</a:t>
            </a:r>
            <a:endParaRPr lang="en-GB" sz="1050" b="1" kern="1200" dirty="0">
              <a:solidFill>
                <a:prstClr val="black"/>
              </a:solidFill>
              <a:latin typeface="Arial" panose="020B0604020202020204" pitchFamily="34" charset="0"/>
              <a:cs typeface="Arial" panose="020B0604020202020204" pitchFamily="34" charset="0"/>
            </a:endParaRPr>
          </a:p>
        </p:txBody>
      </p:sp>
      <p:sp>
        <p:nvSpPr>
          <p:cNvPr id="448" name="Oval 447"/>
          <p:cNvSpPr/>
          <p:nvPr/>
        </p:nvSpPr>
        <p:spPr>
          <a:xfrm>
            <a:off x="7101264" y="2758198"/>
            <a:ext cx="530070"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10</a:t>
            </a:r>
            <a:endParaRPr lang="en-GB" sz="1050" b="1" kern="1200" dirty="0">
              <a:solidFill>
                <a:prstClr val="black"/>
              </a:solidFill>
              <a:latin typeface="Arial" panose="020B0604020202020204" pitchFamily="34" charset="0"/>
              <a:cs typeface="Arial" panose="020B0604020202020204" pitchFamily="34" charset="0"/>
            </a:endParaRPr>
          </a:p>
        </p:txBody>
      </p:sp>
      <p:sp>
        <p:nvSpPr>
          <p:cNvPr id="449" name="Oval 448"/>
          <p:cNvSpPr/>
          <p:nvPr/>
        </p:nvSpPr>
        <p:spPr>
          <a:xfrm>
            <a:off x="7167796" y="4003717"/>
            <a:ext cx="495189" cy="316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12</a:t>
            </a:r>
            <a:endParaRPr lang="en-GB" sz="1050" b="1" kern="1200" dirty="0">
              <a:solidFill>
                <a:prstClr val="black"/>
              </a:solidFill>
              <a:latin typeface="Arial" panose="020B0604020202020204" pitchFamily="34" charset="0"/>
              <a:cs typeface="Arial" panose="020B0604020202020204" pitchFamily="34" charset="0"/>
            </a:endParaRPr>
          </a:p>
        </p:txBody>
      </p:sp>
      <p:cxnSp>
        <p:nvCxnSpPr>
          <p:cNvPr id="453" name="Straight Arrow Connector 452"/>
          <p:cNvCxnSpPr>
            <a:stCxn id="376" idx="6"/>
          </p:cNvCxnSpPr>
          <p:nvPr/>
        </p:nvCxnSpPr>
        <p:spPr>
          <a:xfrm flipH="1" flipV="1">
            <a:off x="3074666" y="1652398"/>
            <a:ext cx="320204" cy="201703"/>
          </a:xfrm>
          <a:prstGeom prst="straightConnector1">
            <a:avLst/>
          </a:prstGeom>
          <a:ln>
            <a:solidFill>
              <a:srgbClr val="33993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5" name="Straight Arrow Connector 454"/>
          <p:cNvCxnSpPr>
            <a:stCxn id="113" idx="31"/>
          </p:cNvCxnSpPr>
          <p:nvPr/>
        </p:nvCxnSpPr>
        <p:spPr>
          <a:xfrm flipH="1">
            <a:off x="3144639" y="2164139"/>
            <a:ext cx="371476" cy="45960"/>
          </a:xfrm>
          <a:prstGeom prst="straightConnector1">
            <a:avLst/>
          </a:prstGeom>
          <a:ln>
            <a:solidFill>
              <a:srgbClr val="33993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0" name="Straight Arrow Connector 459"/>
          <p:cNvCxnSpPr>
            <a:stCxn id="115" idx="32"/>
          </p:cNvCxnSpPr>
          <p:nvPr/>
        </p:nvCxnSpPr>
        <p:spPr>
          <a:xfrm flipH="1">
            <a:off x="2495204" y="2462132"/>
            <a:ext cx="848072" cy="514391"/>
          </a:xfrm>
          <a:prstGeom prst="straightConnector1">
            <a:avLst/>
          </a:prstGeom>
          <a:ln>
            <a:solidFill>
              <a:srgbClr val="33993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2" name="Straight Arrow Connector 461"/>
          <p:cNvCxnSpPr/>
          <p:nvPr/>
        </p:nvCxnSpPr>
        <p:spPr>
          <a:xfrm flipH="1">
            <a:off x="2486819" y="3151735"/>
            <a:ext cx="562374" cy="697755"/>
          </a:xfrm>
          <a:prstGeom prst="straightConnector1">
            <a:avLst/>
          </a:prstGeom>
          <a:ln>
            <a:solidFill>
              <a:srgbClr val="339933"/>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4" name="Straight Arrow Connector 463"/>
          <p:cNvCxnSpPr>
            <a:stCxn id="120" idx="26"/>
          </p:cNvCxnSpPr>
          <p:nvPr/>
        </p:nvCxnSpPr>
        <p:spPr>
          <a:xfrm flipH="1">
            <a:off x="2162822" y="4083014"/>
            <a:ext cx="1167129" cy="442721"/>
          </a:xfrm>
          <a:prstGeom prst="straightConnector1">
            <a:avLst/>
          </a:prstGeom>
          <a:ln>
            <a:solidFill>
              <a:srgbClr val="33993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8" name="Elbow Connector 467"/>
          <p:cNvCxnSpPr/>
          <p:nvPr/>
        </p:nvCxnSpPr>
        <p:spPr>
          <a:xfrm flipH="1">
            <a:off x="2482951" y="4345591"/>
            <a:ext cx="2815640" cy="1062297"/>
          </a:xfrm>
          <a:prstGeom prst="bentConnector3">
            <a:avLst>
              <a:gd name="adj1" fmla="val 79894"/>
            </a:avLst>
          </a:prstGeom>
          <a:ln>
            <a:solidFill>
              <a:srgbClr val="33993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1" name="Straight Arrow Connector 470"/>
          <p:cNvCxnSpPr>
            <a:stCxn id="116" idx="5"/>
          </p:cNvCxnSpPr>
          <p:nvPr/>
        </p:nvCxnSpPr>
        <p:spPr>
          <a:xfrm flipV="1">
            <a:off x="5689677" y="1592854"/>
            <a:ext cx="608631" cy="99717"/>
          </a:xfrm>
          <a:prstGeom prst="straightConnector1">
            <a:avLst/>
          </a:prstGeom>
          <a:ln>
            <a:solidFill>
              <a:srgbClr val="33993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2" name="Straight Arrow Connector 481"/>
          <p:cNvCxnSpPr>
            <a:stCxn id="450" idx="2"/>
          </p:cNvCxnSpPr>
          <p:nvPr/>
        </p:nvCxnSpPr>
        <p:spPr>
          <a:xfrm>
            <a:off x="7090050" y="2861130"/>
            <a:ext cx="211756" cy="22267"/>
          </a:xfrm>
          <a:prstGeom prst="straightConnector1">
            <a:avLst/>
          </a:prstGeom>
          <a:ln>
            <a:solidFill>
              <a:srgbClr val="33993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4" name="Straight Arrow Connector 483"/>
          <p:cNvCxnSpPr/>
          <p:nvPr/>
        </p:nvCxnSpPr>
        <p:spPr>
          <a:xfrm>
            <a:off x="6339583" y="4111945"/>
            <a:ext cx="1000917" cy="139976"/>
          </a:xfrm>
          <a:prstGeom prst="straightConnector1">
            <a:avLst/>
          </a:prstGeom>
          <a:ln>
            <a:solidFill>
              <a:srgbClr val="33993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494" name="TextBox 493"/>
          <p:cNvSpPr txBox="1"/>
          <p:nvPr/>
        </p:nvSpPr>
        <p:spPr>
          <a:xfrm>
            <a:off x="3139412" y="5574011"/>
            <a:ext cx="617836" cy="242374"/>
          </a:xfrm>
          <a:prstGeom prst="rect">
            <a:avLst/>
          </a:prstGeom>
          <a:noFill/>
        </p:spPr>
        <p:txBody>
          <a:bodyPr wrap="square" rtlCol="0">
            <a:spAutoFit/>
          </a:bodyPr>
          <a:lstStyle/>
          <a:p>
            <a:pPr defTabSz="742950">
              <a:buClrTx/>
            </a:pPr>
            <a:r>
              <a:rPr lang="en-US" sz="975" kern="1200" dirty="0">
                <a:solidFill>
                  <a:prstClr val="black"/>
                </a:solidFill>
                <a:latin typeface="Arial" panose="020B0604020202020204" pitchFamily="34" charset="0"/>
                <a:ea typeface="+mn-ea"/>
                <a:cs typeface="Arial" panose="020B0604020202020204" pitchFamily="34" charset="0"/>
              </a:rPr>
              <a:t>Grants</a:t>
            </a:r>
            <a:endParaRPr lang="en-GB" sz="975" kern="1200" dirty="0">
              <a:solidFill>
                <a:prstClr val="black"/>
              </a:solidFill>
              <a:latin typeface="Arial" panose="020B0604020202020204" pitchFamily="34" charset="0"/>
              <a:ea typeface="+mn-ea"/>
              <a:cs typeface="Arial" panose="020B0604020202020204" pitchFamily="34" charset="0"/>
            </a:endParaRPr>
          </a:p>
        </p:txBody>
      </p:sp>
      <p:sp>
        <p:nvSpPr>
          <p:cNvPr id="2" name="Rectangle 1"/>
          <p:cNvSpPr/>
          <p:nvPr/>
        </p:nvSpPr>
        <p:spPr>
          <a:xfrm>
            <a:off x="4933653" y="6057828"/>
            <a:ext cx="4576107" cy="584775"/>
          </a:xfrm>
          <a:prstGeom prst="rect">
            <a:avLst/>
          </a:prstGeom>
        </p:spPr>
        <p:txBody>
          <a:bodyPr wrap="square">
            <a:spAutoFit/>
          </a:bodyPr>
          <a:lstStyle/>
          <a:p>
            <a:pPr defTabSz="742950">
              <a:buClrTx/>
            </a:pPr>
            <a:r>
              <a:rPr lang="en-US" sz="800" i="1" u="sng" kern="1200" dirty="0">
                <a:solidFill>
                  <a:prstClr val="black"/>
                </a:solidFill>
                <a:latin typeface="Arial" panose="020B0604020202020204" pitchFamily="34" charset="0"/>
                <a:ea typeface="+mn-ea"/>
                <a:cs typeface="Arial" panose="020B0604020202020204" pitchFamily="34" charset="0"/>
              </a:rPr>
              <a:t>Notes</a:t>
            </a:r>
          </a:p>
          <a:p>
            <a:pPr defTabSz="742950">
              <a:buClrTx/>
            </a:pPr>
            <a:r>
              <a:rPr lang="en-US" sz="800" i="1" kern="1200" dirty="0">
                <a:solidFill>
                  <a:prstClr val="black"/>
                </a:solidFill>
                <a:latin typeface="Arial" panose="020B0604020202020204" pitchFamily="34" charset="0"/>
                <a:ea typeface="+mn-ea"/>
                <a:cs typeface="Arial" panose="020B0604020202020204" pitchFamily="34" charset="0"/>
              </a:rPr>
              <a:t>*Bigger Circles/Pie charts shows consortium grants</a:t>
            </a:r>
          </a:p>
          <a:p>
            <a:pPr defTabSz="742950">
              <a:buClrTx/>
            </a:pPr>
            <a:r>
              <a:rPr lang="en-US" sz="800" i="1" kern="1200" dirty="0">
                <a:solidFill>
                  <a:prstClr val="black"/>
                </a:solidFill>
                <a:latin typeface="Arial" panose="020B0604020202020204" pitchFamily="34" charset="0"/>
                <a:ea typeface="+mn-ea"/>
                <a:cs typeface="Arial" panose="020B0604020202020204" pitchFamily="34" charset="0"/>
              </a:rPr>
              <a:t>*Smaller circle shows stand alone/gap filling grants.</a:t>
            </a:r>
          </a:p>
          <a:p>
            <a:pPr defTabSz="742950">
              <a:buClrTx/>
            </a:pPr>
            <a:r>
              <a:rPr lang="en-US" sz="800" i="1" kern="1200" dirty="0">
                <a:solidFill>
                  <a:prstClr val="black"/>
                </a:solidFill>
                <a:latin typeface="Arial" panose="020B0604020202020204" pitchFamily="34" charset="0"/>
                <a:ea typeface="+mn-ea"/>
                <a:cs typeface="Arial" panose="020B0604020202020204" pitchFamily="34" charset="0"/>
              </a:rPr>
              <a:t>*Circles/Pie charts leaning on the county outline illustrate grants covering multiple locations</a:t>
            </a:r>
            <a:endParaRPr lang="en-GB" sz="800" i="1" kern="1200" dirty="0">
              <a:solidFill>
                <a:prstClr val="black"/>
              </a:solidFill>
              <a:latin typeface="Arial" panose="020B0604020202020204" pitchFamily="34" charset="0"/>
              <a:ea typeface="+mn-ea"/>
              <a:cs typeface="Arial" panose="020B0604020202020204" pitchFamily="34" charset="0"/>
            </a:endParaRPr>
          </a:p>
        </p:txBody>
      </p:sp>
      <p:sp>
        <p:nvSpPr>
          <p:cNvPr id="433" name="TextBox 432"/>
          <p:cNvSpPr txBox="1"/>
          <p:nvPr/>
        </p:nvSpPr>
        <p:spPr>
          <a:xfrm>
            <a:off x="7318578" y="3293817"/>
            <a:ext cx="2583554" cy="642740"/>
          </a:xfrm>
          <a:prstGeom prst="rect">
            <a:avLst/>
          </a:prstGeom>
          <a:noFill/>
        </p:spPr>
        <p:txBody>
          <a:bodyPr wrap="square" rtlCol="0">
            <a:spAutoFit/>
          </a:bodyPr>
          <a:lstStyle/>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Gap-filling grant</a:t>
            </a:r>
          </a:p>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 SAGCOT Integrated Knowledge and Information for Agriculture (SIKIA); </a:t>
            </a: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Coverage</a:t>
            </a:r>
            <a:r>
              <a:rPr lang="en-US" sz="894" kern="1200" dirty="0">
                <a:solidFill>
                  <a:prstClr val="black"/>
                </a:solidFill>
                <a:latin typeface="Arial" panose="020B0604020202020204" pitchFamily="34" charset="0"/>
                <a:ea typeface="+mn-ea"/>
                <a:cs typeface="Arial" panose="020B0604020202020204" pitchFamily="34" charset="0"/>
              </a:rPr>
              <a:t>: </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SAGCOT Region; </a:t>
            </a:r>
            <a:endParaRPr lang="en-GB" sz="894" kern="1200" dirty="0">
              <a:solidFill>
                <a:prstClr val="black"/>
              </a:solidFill>
              <a:latin typeface="Arial" panose="020B0604020202020204" pitchFamily="34" charset="0"/>
              <a:ea typeface="+mn-ea"/>
              <a:cs typeface="Arial" panose="020B0604020202020204" pitchFamily="34" charset="0"/>
            </a:endParaRPr>
          </a:p>
        </p:txBody>
      </p:sp>
      <p:sp>
        <p:nvSpPr>
          <p:cNvPr id="434" name="Oval 433"/>
          <p:cNvSpPr/>
          <p:nvPr/>
        </p:nvSpPr>
        <p:spPr>
          <a:xfrm>
            <a:off x="6998749" y="3415429"/>
            <a:ext cx="495189" cy="316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11</a:t>
            </a:r>
            <a:endParaRPr lang="en-GB" sz="1050" b="1" kern="1200" dirty="0">
              <a:solidFill>
                <a:prstClr val="black"/>
              </a:solidFill>
              <a:latin typeface="Arial" panose="020B0604020202020204" pitchFamily="34" charset="0"/>
              <a:cs typeface="Arial" panose="020B0604020202020204" pitchFamily="34" charset="0"/>
            </a:endParaRPr>
          </a:p>
        </p:txBody>
      </p:sp>
      <p:cxnSp>
        <p:nvCxnSpPr>
          <p:cNvPr id="133" name="Straight Arrow Connector 132"/>
          <p:cNvCxnSpPr>
            <a:stCxn id="451" idx="0"/>
            <a:endCxn id="447" idx="2"/>
          </p:cNvCxnSpPr>
          <p:nvPr/>
        </p:nvCxnSpPr>
        <p:spPr>
          <a:xfrm>
            <a:off x="6433743" y="2211097"/>
            <a:ext cx="357155" cy="86710"/>
          </a:xfrm>
          <a:prstGeom prst="straightConnector1">
            <a:avLst/>
          </a:prstGeom>
          <a:ln>
            <a:solidFill>
              <a:srgbClr val="70AD47"/>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p:nvPr/>
        </p:nvCxnSpPr>
        <p:spPr>
          <a:xfrm>
            <a:off x="7172824" y="3357387"/>
            <a:ext cx="73519" cy="164483"/>
          </a:xfrm>
          <a:prstGeom prst="straightConnector1">
            <a:avLst/>
          </a:prstGeom>
          <a:ln>
            <a:solidFill>
              <a:srgbClr val="70AD47"/>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2" name="Straight Arrow Connector 451"/>
          <p:cNvCxnSpPr>
            <a:stCxn id="478" idx="7"/>
          </p:cNvCxnSpPr>
          <p:nvPr/>
        </p:nvCxnSpPr>
        <p:spPr>
          <a:xfrm flipV="1">
            <a:off x="5857531" y="1642282"/>
            <a:ext cx="390473" cy="132033"/>
          </a:xfrm>
          <a:prstGeom prst="straightConnector1">
            <a:avLst/>
          </a:prstGeom>
          <a:ln>
            <a:solidFill>
              <a:srgbClr val="33993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463" name="TextBox 462"/>
          <p:cNvSpPr txBox="1"/>
          <p:nvPr/>
        </p:nvSpPr>
        <p:spPr>
          <a:xfrm>
            <a:off x="7577836" y="4510250"/>
            <a:ext cx="2339643" cy="505138"/>
          </a:xfrm>
          <a:prstGeom prst="rect">
            <a:avLst/>
          </a:prstGeom>
          <a:noFill/>
        </p:spPr>
        <p:txBody>
          <a:bodyPr wrap="square" rtlCol="0">
            <a:spAutoFit/>
          </a:bodyPr>
          <a:lstStyle/>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Gap-filling grant</a:t>
            </a:r>
          </a:p>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 Empowering Smallholders through Mechanized </a:t>
            </a:r>
            <a:r>
              <a:rPr lang="en-GB" sz="894" kern="1200" dirty="0" smtClean="0">
                <a:solidFill>
                  <a:prstClr val="black">
                    <a:lumMod val="95000"/>
                    <a:lumOff val="5000"/>
                  </a:prstClr>
                </a:solidFill>
                <a:latin typeface="Arial" panose="020B0604020202020204" pitchFamily="34" charset="0"/>
                <a:ea typeface="+mn-ea"/>
                <a:cs typeface="Arial" panose="020B0604020202020204" pitchFamily="34" charset="0"/>
              </a:rPr>
              <a:t>Agriculture</a:t>
            </a:r>
            <a:endParaRPr lang="en-GB" sz="894" kern="1200" dirty="0">
              <a:solidFill>
                <a:prstClr val="black"/>
              </a:solidFill>
              <a:latin typeface="Arial" panose="020B0604020202020204" pitchFamily="34" charset="0"/>
              <a:ea typeface="+mn-ea"/>
              <a:cs typeface="Arial" panose="020B0604020202020204" pitchFamily="34" charset="0"/>
            </a:endParaRPr>
          </a:p>
        </p:txBody>
      </p:sp>
      <p:sp>
        <p:nvSpPr>
          <p:cNvPr id="465" name="TextBox 464"/>
          <p:cNvSpPr txBox="1"/>
          <p:nvPr/>
        </p:nvSpPr>
        <p:spPr>
          <a:xfrm>
            <a:off x="7493938" y="4964795"/>
            <a:ext cx="2339643" cy="505138"/>
          </a:xfrm>
          <a:prstGeom prst="rect">
            <a:avLst/>
          </a:prstGeom>
          <a:noFill/>
        </p:spPr>
        <p:txBody>
          <a:bodyPr wrap="square" rtlCol="0">
            <a:spAutoFit/>
          </a:bodyPr>
          <a:lstStyle/>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Gap-filling grant</a:t>
            </a:r>
          </a:p>
          <a:p>
            <a:pPr algn="just"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 e-Verification system for Agricultural Inputs in </a:t>
            </a:r>
            <a:r>
              <a:rPr lang="en-GB" sz="894" kern="1200" dirty="0" smtClean="0">
                <a:solidFill>
                  <a:prstClr val="black">
                    <a:lumMod val="95000"/>
                    <a:lumOff val="5000"/>
                  </a:prstClr>
                </a:solidFill>
                <a:latin typeface="Arial" panose="020B0604020202020204" pitchFamily="34" charset="0"/>
                <a:ea typeface="+mn-ea"/>
                <a:cs typeface="Arial" panose="020B0604020202020204" pitchFamily="34" charset="0"/>
              </a:rPr>
              <a:t>Tanzania</a:t>
            </a:r>
            <a:endParaRPr lang="en-GB" sz="894" kern="1200" dirty="0">
              <a:solidFill>
                <a:prstClr val="black"/>
              </a:solidFill>
              <a:latin typeface="Arial" panose="020B0604020202020204" pitchFamily="34" charset="0"/>
              <a:ea typeface="+mn-ea"/>
              <a:cs typeface="Arial" panose="020B0604020202020204" pitchFamily="34" charset="0"/>
            </a:endParaRPr>
          </a:p>
        </p:txBody>
      </p:sp>
      <p:sp>
        <p:nvSpPr>
          <p:cNvPr id="466" name="TextBox 465"/>
          <p:cNvSpPr txBox="1"/>
          <p:nvPr/>
        </p:nvSpPr>
        <p:spPr>
          <a:xfrm>
            <a:off x="7718561" y="5452089"/>
            <a:ext cx="2339643" cy="642740"/>
          </a:xfrm>
          <a:prstGeom prst="rect">
            <a:avLst/>
          </a:prstGeom>
          <a:noFill/>
        </p:spPr>
        <p:txBody>
          <a:bodyPr wrap="square" rtlCol="0">
            <a:spAutoFit/>
          </a:bodyPr>
          <a:lstStyle/>
          <a:p>
            <a:pPr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ype: </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Gap-filling grant</a:t>
            </a:r>
          </a:p>
          <a:p>
            <a:pPr defTabSz="742950">
              <a:buClrTx/>
            </a:pPr>
            <a:r>
              <a:rPr lang="en-US" sz="894" b="1" kern="1200" dirty="0">
                <a:solidFill>
                  <a:prstClr val="black">
                    <a:lumMod val="95000"/>
                    <a:lumOff val="5000"/>
                  </a:prstClr>
                </a:solidFill>
                <a:latin typeface="Arial" panose="020B0604020202020204" pitchFamily="34" charset="0"/>
                <a:ea typeface="+mn-ea"/>
                <a:cs typeface="Arial" panose="020B0604020202020204" pitchFamily="34" charset="0"/>
              </a:rPr>
              <a:t>Grant Title</a:t>
            </a:r>
            <a:r>
              <a:rPr lang="en-US" sz="894" kern="1200" dirty="0">
                <a:solidFill>
                  <a:prstClr val="black">
                    <a:lumMod val="95000"/>
                    <a:lumOff val="5000"/>
                  </a:prstClr>
                </a:solidFill>
                <a:latin typeface="Arial" panose="020B0604020202020204" pitchFamily="34" charset="0"/>
                <a:ea typeface="+mn-ea"/>
                <a:cs typeface="Arial" panose="020B0604020202020204" pitchFamily="34" charset="0"/>
              </a:rPr>
              <a:t>:</a:t>
            </a:r>
            <a:r>
              <a:rPr lang="en-GB" sz="894" kern="1200" dirty="0">
                <a:solidFill>
                  <a:prstClr val="black">
                    <a:lumMod val="95000"/>
                    <a:lumOff val="5000"/>
                  </a:prstClr>
                </a:solidFill>
                <a:latin typeface="Arial" panose="020B0604020202020204" pitchFamily="34" charset="0"/>
                <a:ea typeface="+mn-ea"/>
                <a:cs typeface="Arial" panose="020B0604020202020204" pitchFamily="34" charset="0"/>
              </a:rPr>
              <a:t> SHF Seasonal Income  Smoothening  and   Produce Market  Access</a:t>
            </a:r>
            <a:r>
              <a:rPr lang="en-GB" sz="894" kern="1200" dirty="0" smtClean="0">
                <a:solidFill>
                  <a:prstClr val="black">
                    <a:lumMod val="95000"/>
                    <a:lumOff val="5000"/>
                  </a:prstClr>
                </a:solidFill>
                <a:latin typeface="Arial" panose="020B0604020202020204" pitchFamily="34" charset="0"/>
                <a:ea typeface="+mn-ea"/>
                <a:cs typeface="Arial" panose="020B0604020202020204" pitchFamily="34" charset="0"/>
              </a:rPr>
              <a:t>.</a:t>
            </a:r>
            <a:endParaRPr lang="en-GB" sz="894" kern="1200" dirty="0">
              <a:solidFill>
                <a:prstClr val="black"/>
              </a:solidFill>
              <a:latin typeface="Arial" panose="020B0604020202020204" pitchFamily="34" charset="0"/>
              <a:ea typeface="+mn-ea"/>
              <a:cs typeface="Arial" panose="020B0604020202020204" pitchFamily="34" charset="0"/>
            </a:endParaRPr>
          </a:p>
        </p:txBody>
      </p:sp>
      <p:sp>
        <p:nvSpPr>
          <p:cNvPr id="467" name="Oval 466"/>
          <p:cNvSpPr/>
          <p:nvPr/>
        </p:nvSpPr>
        <p:spPr>
          <a:xfrm>
            <a:off x="7201256" y="4591151"/>
            <a:ext cx="495189" cy="316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13</a:t>
            </a:r>
            <a:endParaRPr lang="en-GB" sz="1050" b="1" kern="1200" dirty="0">
              <a:solidFill>
                <a:prstClr val="black"/>
              </a:solidFill>
              <a:latin typeface="Arial" panose="020B0604020202020204" pitchFamily="34" charset="0"/>
              <a:cs typeface="Arial" panose="020B0604020202020204" pitchFamily="34" charset="0"/>
            </a:endParaRPr>
          </a:p>
        </p:txBody>
      </p:sp>
      <p:sp>
        <p:nvSpPr>
          <p:cNvPr id="469" name="Oval 468"/>
          <p:cNvSpPr/>
          <p:nvPr/>
        </p:nvSpPr>
        <p:spPr>
          <a:xfrm>
            <a:off x="7170887" y="5013163"/>
            <a:ext cx="495189" cy="316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14</a:t>
            </a:r>
            <a:endParaRPr lang="en-GB" sz="1050" b="1" kern="1200" dirty="0">
              <a:solidFill>
                <a:prstClr val="black"/>
              </a:solidFill>
              <a:latin typeface="Arial" panose="020B0604020202020204" pitchFamily="34" charset="0"/>
              <a:cs typeface="Arial" panose="020B0604020202020204" pitchFamily="34" charset="0"/>
            </a:endParaRPr>
          </a:p>
        </p:txBody>
      </p:sp>
      <p:sp>
        <p:nvSpPr>
          <p:cNvPr id="470" name="Oval 469"/>
          <p:cNvSpPr/>
          <p:nvPr/>
        </p:nvSpPr>
        <p:spPr>
          <a:xfrm>
            <a:off x="7419238" y="5550505"/>
            <a:ext cx="495189" cy="31606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buClrTx/>
            </a:pPr>
            <a:r>
              <a:rPr lang="en-US" sz="1050" b="1" kern="1200" dirty="0">
                <a:solidFill>
                  <a:prstClr val="black"/>
                </a:solidFill>
                <a:latin typeface="Arial" panose="020B0604020202020204" pitchFamily="34" charset="0"/>
                <a:cs typeface="Arial" panose="020B0604020202020204" pitchFamily="34" charset="0"/>
              </a:rPr>
              <a:t>15</a:t>
            </a:r>
            <a:endParaRPr lang="en-GB" sz="1050" b="1" kern="1200" dirty="0">
              <a:solidFill>
                <a:prstClr val="black"/>
              </a:solidFill>
              <a:latin typeface="Arial" panose="020B0604020202020204" pitchFamily="34" charset="0"/>
              <a:cs typeface="Arial" panose="020B0604020202020204" pitchFamily="34" charset="0"/>
            </a:endParaRPr>
          </a:p>
        </p:txBody>
      </p:sp>
      <p:cxnSp>
        <p:nvCxnSpPr>
          <p:cNvPr id="475" name="Straight Arrow Connector 474"/>
          <p:cNvCxnSpPr/>
          <p:nvPr/>
        </p:nvCxnSpPr>
        <p:spPr>
          <a:xfrm>
            <a:off x="7288855" y="4586344"/>
            <a:ext cx="347667" cy="39241"/>
          </a:xfrm>
          <a:prstGeom prst="straightConnector1">
            <a:avLst/>
          </a:prstGeom>
          <a:ln>
            <a:solidFill>
              <a:srgbClr val="33993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6" name="Straight Arrow Connector 475"/>
          <p:cNvCxnSpPr/>
          <p:nvPr/>
        </p:nvCxnSpPr>
        <p:spPr>
          <a:xfrm>
            <a:off x="7377910" y="4995927"/>
            <a:ext cx="179453" cy="65034"/>
          </a:xfrm>
          <a:prstGeom prst="straightConnector1">
            <a:avLst/>
          </a:prstGeom>
          <a:ln>
            <a:solidFill>
              <a:srgbClr val="33993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7" name="Straight Arrow Connector 476"/>
          <p:cNvCxnSpPr>
            <a:stCxn id="474" idx="4"/>
          </p:cNvCxnSpPr>
          <p:nvPr/>
        </p:nvCxnSpPr>
        <p:spPr>
          <a:xfrm flipV="1">
            <a:off x="7524814" y="5561758"/>
            <a:ext cx="275007" cy="17025"/>
          </a:xfrm>
          <a:prstGeom prst="straightConnector1">
            <a:avLst/>
          </a:prstGeom>
          <a:ln>
            <a:solidFill>
              <a:srgbClr val="339933"/>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3145263" y="5045378"/>
            <a:ext cx="426939" cy="425243"/>
            <a:chOff x="3729832" y="5373319"/>
            <a:chExt cx="525463" cy="523376"/>
          </a:xfrm>
        </p:grpSpPr>
        <p:grpSp>
          <p:nvGrpSpPr>
            <p:cNvPr id="144" name="Group 143"/>
            <p:cNvGrpSpPr/>
            <p:nvPr/>
          </p:nvGrpSpPr>
          <p:grpSpPr>
            <a:xfrm>
              <a:off x="3729904" y="5374407"/>
              <a:ext cx="447675" cy="522288"/>
              <a:chOff x="3729904" y="5374407"/>
              <a:chExt cx="447675" cy="522288"/>
            </a:xfrm>
          </p:grpSpPr>
          <p:sp>
            <p:nvSpPr>
              <p:cNvPr id="479" name="Freeform 417"/>
              <p:cNvSpPr>
                <a:spLocks/>
              </p:cNvSpPr>
              <p:nvPr/>
            </p:nvSpPr>
            <p:spPr bwMode="auto">
              <a:xfrm>
                <a:off x="3991841" y="5374407"/>
                <a:ext cx="185738" cy="260350"/>
              </a:xfrm>
              <a:custGeom>
                <a:avLst/>
                <a:gdLst>
                  <a:gd name="T0" fmla="*/ 73 w 74"/>
                  <a:gd name="T1" fmla="*/ 29 h 104"/>
                  <a:gd name="T2" fmla="*/ 71 w 74"/>
                  <a:gd name="T3" fmla="*/ 27 h 104"/>
                  <a:gd name="T4" fmla="*/ 69 w 74"/>
                  <a:gd name="T5" fmla="*/ 25 h 104"/>
                  <a:gd name="T6" fmla="*/ 67 w 74"/>
                  <a:gd name="T7" fmla="*/ 24 h 104"/>
                  <a:gd name="T8" fmla="*/ 65 w 74"/>
                  <a:gd name="T9" fmla="*/ 22 h 104"/>
                  <a:gd name="T10" fmla="*/ 63 w 74"/>
                  <a:gd name="T11" fmla="*/ 21 h 104"/>
                  <a:gd name="T12" fmla="*/ 61 w 74"/>
                  <a:gd name="T13" fmla="*/ 19 h 104"/>
                  <a:gd name="T14" fmla="*/ 59 w 74"/>
                  <a:gd name="T15" fmla="*/ 18 h 104"/>
                  <a:gd name="T16" fmla="*/ 57 w 74"/>
                  <a:gd name="T17" fmla="*/ 17 h 104"/>
                  <a:gd name="T18" fmla="*/ 55 w 74"/>
                  <a:gd name="T19" fmla="*/ 15 h 104"/>
                  <a:gd name="T20" fmla="*/ 53 w 74"/>
                  <a:gd name="T21" fmla="*/ 14 h 104"/>
                  <a:gd name="T22" fmla="*/ 51 w 74"/>
                  <a:gd name="T23" fmla="*/ 13 h 104"/>
                  <a:gd name="T24" fmla="*/ 49 w 74"/>
                  <a:gd name="T25" fmla="*/ 12 h 104"/>
                  <a:gd name="T26" fmla="*/ 47 w 74"/>
                  <a:gd name="T27" fmla="*/ 11 h 104"/>
                  <a:gd name="T28" fmla="*/ 45 w 74"/>
                  <a:gd name="T29" fmla="*/ 10 h 104"/>
                  <a:gd name="T30" fmla="*/ 43 w 74"/>
                  <a:gd name="T31" fmla="*/ 9 h 104"/>
                  <a:gd name="T32" fmla="*/ 41 w 74"/>
                  <a:gd name="T33" fmla="*/ 8 h 104"/>
                  <a:gd name="T34" fmla="*/ 39 w 74"/>
                  <a:gd name="T35" fmla="*/ 7 h 104"/>
                  <a:gd name="T36" fmla="*/ 37 w 74"/>
                  <a:gd name="T37" fmla="*/ 7 h 104"/>
                  <a:gd name="T38" fmla="*/ 35 w 74"/>
                  <a:gd name="T39" fmla="*/ 6 h 104"/>
                  <a:gd name="T40" fmla="*/ 33 w 74"/>
                  <a:gd name="T41" fmla="*/ 5 h 104"/>
                  <a:gd name="T42" fmla="*/ 31 w 74"/>
                  <a:gd name="T43" fmla="*/ 5 h 104"/>
                  <a:gd name="T44" fmla="*/ 29 w 74"/>
                  <a:gd name="T45" fmla="*/ 4 h 104"/>
                  <a:gd name="T46" fmla="*/ 27 w 74"/>
                  <a:gd name="T47" fmla="*/ 3 h 104"/>
                  <a:gd name="T48" fmla="*/ 25 w 74"/>
                  <a:gd name="T49" fmla="*/ 3 h 104"/>
                  <a:gd name="T50" fmla="*/ 23 w 74"/>
                  <a:gd name="T51" fmla="*/ 2 h 104"/>
                  <a:gd name="T52" fmla="*/ 21 w 74"/>
                  <a:gd name="T53" fmla="*/ 2 h 104"/>
                  <a:gd name="T54" fmla="*/ 19 w 74"/>
                  <a:gd name="T55" fmla="*/ 2 h 104"/>
                  <a:gd name="T56" fmla="*/ 17 w 74"/>
                  <a:gd name="T57" fmla="*/ 1 h 104"/>
                  <a:gd name="T58" fmla="*/ 15 w 74"/>
                  <a:gd name="T59" fmla="*/ 1 h 104"/>
                  <a:gd name="T60" fmla="*/ 13 w 74"/>
                  <a:gd name="T61" fmla="*/ 1 h 104"/>
                  <a:gd name="T62" fmla="*/ 11 w 74"/>
                  <a:gd name="T63" fmla="*/ 1 h 104"/>
                  <a:gd name="T64" fmla="*/ 9 w 74"/>
                  <a:gd name="T65" fmla="*/ 0 h 104"/>
                  <a:gd name="T66" fmla="*/ 7 w 74"/>
                  <a:gd name="T67" fmla="*/ 0 h 104"/>
                  <a:gd name="T68" fmla="*/ 5 w 74"/>
                  <a:gd name="T69" fmla="*/ 0 h 104"/>
                  <a:gd name="T70" fmla="*/ 3 w 74"/>
                  <a:gd name="T71" fmla="*/ 0 h 104"/>
                  <a:gd name="T72" fmla="*/ 1 w 74"/>
                  <a:gd name="T73" fmla="*/ 0 h 104"/>
                  <a:gd name="T74" fmla="*/ 0 w 74"/>
                  <a:gd name="T75" fmla="*/ 0 h 104"/>
                  <a:gd name="T76" fmla="*/ 74 w 74"/>
                  <a:gd name="T77"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4" h="104">
                    <a:moveTo>
                      <a:pt x="74" y="30"/>
                    </a:moveTo>
                    <a:lnTo>
                      <a:pt x="73" y="29"/>
                    </a:lnTo>
                    <a:lnTo>
                      <a:pt x="72" y="28"/>
                    </a:lnTo>
                    <a:lnTo>
                      <a:pt x="71" y="27"/>
                    </a:lnTo>
                    <a:lnTo>
                      <a:pt x="70" y="26"/>
                    </a:lnTo>
                    <a:lnTo>
                      <a:pt x="69" y="25"/>
                    </a:lnTo>
                    <a:lnTo>
                      <a:pt x="68" y="25"/>
                    </a:lnTo>
                    <a:lnTo>
                      <a:pt x="67" y="24"/>
                    </a:lnTo>
                    <a:lnTo>
                      <a:pt x="66" y="23"/>
                    </a:lnTo>
                    <a:lnTo>
                      <a:pt x="65" y="22"/>
                    </a:lnTo>
                    <a:lnTo>
                      <a:pt x="64" y="21"/>
                    </a:lnTo>
                    <a:lnTo>
                      <a:pt x="63" y="21"/>
                    </a:lnTo>
                    <a:lnTo>
                      <a:pt x="62" y="20"/>
                    </a:lnTo>
                    <a:lnTo>
                      <a:pt x="61" y="19"/>
                    </a:lnTo>
                    <a:lnTo>
                      <a:pt x="60" y="19"/>
                    </a:lnTo>
                    <a:lnTo>
                      <a:pt x="59" y="18"/>
                    </a:lnTo>
                    <a:lnTo>
                      <a:pt x="58" y="17"/>
                    </a:lnTo>
                    <a:lnTo>
                      <a:pt x="57" y="17"/>
                    </a:lnTo>
                    <a:lnTo>
                      <a:pt x="56" y="16"/>
                    </a:lnTo>
                    <a:lnTo>
                      <a:pt x="55" y="15"/>
                    </a:lnTo>
                    <a:lnTo>
                      <a:pt x="54" y="15"/>
                    </a:lnTo>
                    <a:lnTo>
                      <a:pt x="53" y="14"/>
                    </a:lnTo>
                    <a:lnTo>
                      <a:pt x="52" y="14"/>
                    </a:lnTo>
                    <a:lnTo>
                      <a:pt x="51" y="13"/>
                    </a:lnTo>
                    <a:lnTo>
                      <a:pt x="50" y="12"/>
                    </a:lnTo>
                    <a:lnTo>
                      <a:pt x="49" y="12"/>
                    </a:lnTo>
                    <a:lnTo>
                      <a:pt x="48" y="11"/>
                    </a:lnTo>
                    <a:lnTo>
                      <a:pt x="47" y="11"/>
                    </a:lnTo>
                    <a:lnTo>
                      <a:pt x="46" y="10"/>
                    </a:lnTo>
                    <a:lnTo>
                      <a:pt x="45" y="10"/>
                    </a:lnTo>
                    <a:lnTo>
                      <a:pt x="44" y="9"/>
                    </a:lnTo>
                    <a:lnTo>
                      <a:pt x="43" y="9"/>
                    </a:lnTo>
                    <a:lnTo>
                      <a:pt x="42" y="9"/>
                    </a:lnTo>
                    <a:lnTo>
                      <a:pt x="41" y="8"/>
                    </a:lnTo>
                    <a:lnTo>
                      <a:pt x="40" y="8"/>
                    </a:lnTo>
                    <a:lnTo>
                      <a:pt x="39" y="7"/>
                    </a:lnTo>
                    <a:lnTo>
                      <a:pt x="38" y="7"/>
                    </a:lnTo>
                    <a:lnTo>
                      <a:pt x="37" y="7"/>
                    </a:lnTo>
                    <a:lnTo>
                      <a:pt x="36" y="6"/>
                    </a:lnTo>
                    <a:lnTo>
                      <a:pt x="35" y="6"/>
                    </a:lnTo>
                    <a:lnTo>
                      <a:pt x="34" y="5"/>
                    </a:lnTo>
                    <a:lnTo>
                      <a:pt x="33" y="5"/>
                    </a:lnTo>
                    <a:lnTo>
                      <a:pt x="32" y="5"/>
                    </a:lnTo>
                    <a:lnTo>
                      <a:pt x="31" y="5"/>
                    </a:lnTo>
                    <a:lnTo>
                      <a:pt x="30" y="4"/>
                    </a:lnTo>
                    <a:lnTo>
                      <a:pt x="29" y="4"/>
                    </a:lnTo>
                    <a:lnTo>
                      <a:pt x="28" y="4"/>
                    </a:lnTo>
                    <a:lnTo>
                      <a:pt x="27" y="3"/>
                    </a:lnTo>
                    <a:lnTo>
                      <a:pt x="26" y="3"/>
                    </a:lnTo>
                    <a:lnTo>
                      <a:pt x="25" y="3"/>
                    </a:lnTo>
                    <a:lnTo>
                      <a:pt x="24" y="3"/>
                    </a:lnTo>
                    <a:lnTo>
                      <a:pt x="23" y="2"/>
                    </a:lnTo>
                    <a:lnTo>
                      <a:pt x="22" y="2"/>
                    </a:lnTo>
                    <a:lnTo>
                      <a:pt x="21" y="2"/>
                    </a:lnTo>
                    <a:lnTo>
                      <a:pt x="20" y="2"/>
                    </a:lnTo>
                    <a:lnTo>
                      <a:pt x="19" y="2"/>
                    </a:lnTo>
                    <a:lnTo>
                      <a:pt x="18" y="1"/>
                    </a:lnTo>
                    <a:lnTo>
                      <a:pt x="17" y="1"/>
                    </a:lnTo>
                    <a:lnTo>
                      <a:pt x="16" y="1"/>
                    </a:lnTo>
                    <a:lnTo>
                      <a:pt x="15" y="1"/>
                    </a:lnTo>
                    <a:lnTo>
                      <a:pt x="14" y="1"/>
                    </a:lnTo>
                    <a:lnTo>
                      <a:pt x="13" y="1"/>
                    </a:lnTo>
                    <a:lnTo>
                      <a:pt x="12" y="1"/>
                    </a:lnTo>
                    <a:lnTo>
                      <a:pt x="11" y="1"/>
                    </a:lnTo>
                    <a:lnTo>
                      <a:pt x="10" y="0"/>
                    </a:lnTo>
                    <a:lnTo>
                      <a:pt x="9" y="0"/>
                    </a:lnTo>
                    <a:lnTo>
                      <a:pt x="8" y="0"/>
                    </a:lnTo>
                    <a:lnTo>
                      <a:pt x="7" y="0"/>
                    </a:lnTo>
                    <a:lnTo>
                      <a:pt x="6" y="0"/>
                    </a:lnTo>
                    <a:lnTo>
                      <a:pt x="5" y="0"/>
                    </a:lnTo>
                    <a:lnTo>
                      <a:pt x="4" y="0"/>
                    </a:lnTo>
                    <a:lnTo>
                      <a:pt x="3" y="0"/>
                    </a:lnTo>
                    <a:lnTo>
                      <a:pt x="2" y="0"/>
                    </a:lnTo>
                    <a:lnTo>
                      <a:pt x="1" y="0"/>
                    </a:lnTo>
                    <a:lnTo>
                      <a:pt x="0" y="0"/>
                    </a:lnTo>
                    <a:lnTo>
                      <a:pt x="0" y="0"/>
                    </a:lnTo>
                    <a:lnTo>
                      <a:pt x="0" y="104"/>
                    </a:lnTo>
                    <a:lnTo>
                      <a:pt x="74" y="30"/>
                    </a:lnTo>
                    <a:close/>
                  </a:path>
                </a:pathLst>
              </a:custGeom>
              <a:solidFill>
                <a:srgbClr val="98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80" name="Freeform 419"/>
              <p:cNvSpPr>
                <a:spLocks/>
              </p:cNvSpPr>
              <p:nvPr/>
            </p:nvSpPr>
            <p:spPr bwMode="auto">
              <a:xfrm>
                <a:off x="3729904" y="5449020"/>
                <a:ext cx="261938" cy="185738"/>
              </a:xfrm>
              <a:custGeom>
                <a:avLst/>
                <a:gdLst>
                  <a:gd name="T0" fmla="*/ 30 w 104"/>
                  <a:gd name="T1" fmla="*/ 1 h 74"/>
                  <a:gd name="T2" fmla="*/ 28 w 104"/>
                  <a:gd name="T3" fmla="*/ 3 h 74"/>
                  <a:gd name="T4" fmla="*/ 26 w 104"/>
                  <a:gd name="T5" fmla="*/ 5 h 74"/>
                  <a:gd name="T6" fmla="*/ 25 w 104"/>
                  <a:gd name="T7" fmla="*/ 7 h 74"/>
                  <a:gd name="T8" fmla="*/ 23 w 104"/>
                  <a:gd name="T9" fmla="*/ 9 h 74"/>
                  <a:gd name="T10" fmla="*/ 21 w 104"/>
                  <a:gd name="T11" fmla="*/ 11 h 74"/>
                  <a:gd name="T12" fmla="*/ 20 w 104"/>
                  <a:gd name="T13" fmla="*/ 13 h 74"/>
                  <a:gd name="T14" fmla="*/ 18 w 104"/>
                  <a:gd name="T15" fmla="*/ 15 h 74"/>
                  <a:gd name="T16" fmla="*/ 17 w 104"/>
                  <a:gd name="T17" fmla="*/ 17 h 74"/>
                  <a:gd name="T18" fmla="*/ 16 w 104"/>
                  <a:gd name="T19" fmla="*/ 19 h 74"/>
                  <a:gd name="T20" fmla="*/ 15 w 104"/>
                  <a:gd name="T21" fmla="*/ 21 h 74"/>
                  <a:gd name="T22" fmla="*/ 13 w 104"/>
                  <a:gd name="T23" fmla="*/ 23 h 74"/>
                  <a:gd name="T24" fmla="*/ 12 w 104"/>
                  <a:gd name="T25" fmla="*/ 25 h 74"/>
                  <a:gd name="T26" fmla="*/ 11 w 104"/>
                  <a:gd name="T27" fmla="*/ 27 h 74"/>
                  <a:gd name="T28" fmla="*/ 10 w 104"/>
                  <a:gd name="T29" fmla="*/ 29 h 74"/>
                  <a:gd name="T30" fmla="*/ 9 w 104"/>
                  <a:gd name="T31" fmla="*/ 31 h 74"/>
                  <a:gd name="T32" fmla="*/ 8 w 104"/>
                  <a:gd name="T33" fmla="*/ 33 h 74"/>
                  <a:gd name="T34" fmla="*/ 8 w 104"/>
                  <a:gd name="T35" fmla="*/ 35 h 74"/>
                  <a:gd name="T36" fmla="*/ 7 w 104"/>
                  <a:gd name="T37" fmla="*/ 37 h 74"/>
                  <a:gd name="T38" fmla="*/ 6 w 104"/>
                  <a:gd name="T39" fmla="*/ 39 h 74"/>
                  <a:gd name="T40" fmla="*/ 5 w 104"/>
                  <a:gd name="T41" fmla="*/ 41 h 74"/>
                  <a:gd name="T42" fmla="*/ 5 w 104"/>
                  <a:gd name="T43" fmla="*/ 43 h 74"/>
                  <a:gd name="T44" fmla="*/ 4 w 104"/>
                  <a:gd name="T45" fmla="*/ 45 h 74"/>
                  <a:gd name="T46" fmla="*/ 4 w 104"/>
                  <a:gd name="T47" fmla="*/ 47 h 74"/>
                  <a:gd name="T48" fmla="*/ 3 w 104"/>
                  <a:gd name="T49" fmla="*/ 49 h 74"/>
                  <a:gd name="T50" fmla="*/ 3 w 104"/>
                  <a:gd name="T51" fmla="*/ 51 h 74"/>
                  <a:gd name="T52" fmla="*/ 2 w 104"/>
                  <a:gd name="T53" fmla="*/ 53 h 74"/>
                  <a:gd name="T54" fmla="*/ 2 w 104"/>
                  <a:gd name="T55" fmla="*/ 55 h 74"/>
                  <a:gd name="T56" fmla="*/ 1 w 104"/>
                  <a:gd name="T57" fmla="*/ 57 h 74"/>
                  <a:gd name="T58" fmla="*/ 1 w 104"/>
                  <a:gd name="T59" fmla="*/ 59 h 74"/>
                  <a:gd name="T60" fmla="*/ 1 w 104"/>
                  <a:gd name="T61" fmla="*/ 61 h 74"/>
                  <a:gd name="T62" fmla="*/ 1 w 104"/>
                  <a:gd name="T63" fmla="*/ 63 h 74"/>
                  <a:gd name="T64" fmla="*/ 0 w 104"/>
                  <a:gd name="T65" fmla="*/ 65 h 74"/>
                  <a:gd name="T66" fmla="*/ 0 w 104"/>
                  <a:gd name="T67" fmla="*/ 67 h 74"/>
                  <a:gd name="T68" fmla="*/ 0 w 104"/>
                  <a:gd name="T69" fmla="*/ 69 h 74"/>
                  <a:gd name="T70" fmla="*/ 0 w 104"/>
                  <a:gd name="T71" fmla="*/ 71 h 74"/>
                  <a:gd name="T72" fmla="*/ 0 w 104"/>
                  <a:gd name="T73" fmla="*/ 73 h 74"/>
                  <a:gd name="T74" fmla="*/ 0 w 104"/>
                  <a:gd name="T75" fmla="*/ 74 h 74"/>
                  <a:gd name="T76" fmla="*/ 31 w 104"/>
                  <a:gd name="T7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 h="74">
                    <a:moveTo>
                      <a:pt x="31" y="0"/>
                    </a:moveTo>
                    <a:lnTo>
                      <a:pt x="30" y="1"/>
                    </a:lnTo>
                    <a:lnTo>
                      <a:pt x="29" y="2"/>
                    </a:lnTo>
                    <a:lnTo>
                      <a:pt x="28" y="3"/>
                    </a:lnTo>
                    <a:lnTo>
                      <a:pt x="27" y="4"/>
                    </a:lnTo>
                    <a:lnTo>
                      <a:pt x="26" y="5"/>
                    </a:lnTo>
                    <a:lnTo>
                      <a:pt x="25" y="6"/>
                    </a:lnTo>
                    <a:lnTo>
                      <a:pt x="25" y="7"/>
                    </a:lnTo>
                    <a:lnTo>
                      <a:pt x="24" y="8"/>
                    </a:lnTo>
                    <a:lnTo>
                      <a:pt x="23" y="9"/>
                    </a:lnTo>
                    <a:lnTo>
                      <a:pt x="22" y="10"/>
                    </a:lnTo>
                    <a:lnTo>
                      <a:pt x="21" y="11"/>
                    </a:lnTo>
                    <a:lnTo>
                      <a:pt x="21" y="12"/>
                    </a:lnTo>
                    <a:lnTo>
                      <a:pt x="20" y="13"/>
                    </a:lnTo>
                    <a:lnTo>
                      <a:pt x="19" y="14"/>
                    </a:lnTo>
                    <a:lnTo>
                      <a:pt x="18" y="15"/>
                    </a:lnTo>
                    <a:lnTo>
                      <a:pt x="18" y="16"/>
                    </a:lnTo>
                    <a:lnTo>
                      <a:pt x="17" y="17"/>
                    </a:lnTo>
                    <a:lnTo>
                      <a:pt x="16" y="18"/>
                    </a:lnTo>
                    <a:lnTo>
                      <a:pt x="16" y="19"/>
                    </a:lnTo>
                    <a:lnTo>
                      <a:pt x="15" y="20"/>
                    </a:lnTo>
                    <a:lnTo>
                      <a:pt x="15" y="21"/>
                    </a:lnTo>
                    <a:lnTo>
                      <a:pt x="14" y="22"/>
                    </a:lnTo>
                    <a:lnTo>
                      <a:pt x="13" y="23"/>
                    </a:lnTo>
                    <a:lnTo>
                      <a:pt x="13" y="24"/>
                    </a:lnTo>
                    <a:lnTo>
                      <a:pt x="12" y="25"/>
                    </a:lnTo>
                    <a:lnTo>
                      <a:pt x="12" y="26"/>
                    </a:lnTo>
                    <a:lnTo>
                      <a:pt x="11" y="27"/>
                    </a:lnTo>
                    <a:lnTo>
                      <a:pt x="11" y="28"/>
                    </a:lnTo>
                    <a:lnTo>
                      <a:pt x="10" y="29"/>
                    </a:lnTo>
                    <a:lnTo>
                      <a:pt x="10" y="30"/>
                    </a:lnTo>
                    <a:lnTo>
                      <a:pt x="9" y="31"/>
                    </a:lnTo>
                    <a:lnTo>
                      <a:pt x="9" y="32"/>
                    </a:lnTo>
                    <a:lnTo>
                      <a:pt x="8" y="33"/>
                    </a:lnTo>
                    <a:lnTo>
                      <a:pt x="8" y="34"/>
                    </a:lnTo>
                    <a:lnTo>
                      <a:pt x="8" y="35"/>
                    </a:lnTo>
                    <a:lnTo>
                      <a:pt x="7" y="36"/>
                    </a:lnTo>
                    <a:lnTo>
                      <a:pt x="7" y="37"/>
                    </a:lnTo>
                    <a:lnTo>
                      <a:pt x="6" y="38"/>
                    </a:lnTo>
                    <a:lnTo>
                      <a:pt x="6" y="39"/>
                    </a:lnTo>
                    <a:lnTo>
                      <a:pt x="6" y="40"/>
                    </a:lnTo>
                    <a:lnTo>
                      <a:pt x="5" y="41"/>
                    </a:lnTo>
                    <a:lnTo>
                      <a:pt x="5" y="42"/>
                    </a:lnTo>
                    <a:lnTo>
                      <a:pt x="5" y="43"/>
                    </a:lnTo>
                    <a:lnTo>
                      <a:pt x="4" y="44"/>
                    </a:lnTo>
                    <a:lnTo>
                      <a:pt x="4" y="45"/>
                    </a:lnTo>
                    <a:lnTo>
                      <a:pt x="4" y="46"/>
                    </a:lnTo>
                    <a:lnTo>
                      <a:pt x="4" y="47"/>
                    </a:lnTo>
                    <a:lnTo>
                      <a:pt x="3" y="48"/>
                    </a:lnTo>
                    <a:lnTo>
                      <a:pt x="3" y="49"/>
                    </a:lnTo>
                    <a:lnTo>
                      <a:pt x="3" y="50"/>
                    </a:lnTo>
                    <a:lnTo>
                      <a:pt x="3" y="51"/>
                    </a:lnTo>
                    <a:lnTo>
                      <a:pt x="2" y="52"/>
                    </a:lnTo>
                    <a:lnTo>
                      <a:pt x="2" y="53"/>
                    </a:lnTo>
                    <a:lnTo>
                      <a:pt x="2" y="54"/>
                    </a:lnTo>
                    <a:lnTo>
                      <a:pt x="2" y="55"/>
                    </a:lnTo>
                    <a:lnTo>
                      <a:pt x="2" y="56"/>
                    </a:lnTo>
                    <a:lnTo>
                      <a:pt x="1" y="57"/>
                    </a:lnTo>
                    <a:lnTo>
                      <a:pt x="1" y="58"/>
                    </a:lnTo>
                    <a:lnTo>
                      <a:pt x="1" y="59"/>
                    </a:lnTo>
                    <a:lnTo>
                      <a:pt x="1" y="60"/>
                    </a:lnTo>
                    <a:lnTo>
                      <a:pt x="1" y="61"/>
                    </a:lnTo>
                    <a:lnTo>
                      <a:pt x="1" y="62"/>
                    </a:lnTo>
                    <a:lnTo>
                      <a:pt x="1" y="63"/>
                    </a:lnTo>
                    <a:lnTo>
                      <a:pt x="0" y="64"/>
                    </a:lnTo>
                    <a:lnTo>
                      <a:pt x="0" y="65"/>
                    </a:lnTo>
                    <a:lnTo>
                      <a:pt x="0" y="66"/>
                    </a:lnTo>
                    <a:lnTo>
                      <a:pt x="0" y="67"/>
                    </a:lnTo>
                    <a:lnTo>
                      <a:pt x="0" y="68"/>
                    </a:lnTo>
                    <a:lnTo>
                      <a:pt x="0" y="69"/>
                    </a:lnTo>
                    <a:lnTo>
                      <a:pt x="0" y="70"/>
                    </a:lnTo>
                    <a:lnTo>
                      <a:pt x="0" y="71"/>
                    </a:lnTo>
                    <a:lnTo>
                      <a:pt x="0" y="72"/>
                    </a:lnTo>
                    <a:lnTo>
                      <a:pt x="0" y="73"/>
                    </a:lnTo>
                    <a:lnTo>
                      <a:pt x="0" y="74"/>
                    </a:lnTo>
                    <a:lnTo>
                      <a:pt x="0" y="74"/>
                    </a:lnTo>
                    <a:lnTo>
                      <a:pt x="104" y="74"/>
                    </a:lnTo>
                    <a:lnTo>
                      <a:pt x="31" y="0"/>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81" name="Freeform 421"/>
              <p:cNvSpPr>
                <a:spLocks/>
              </p:cNvSpPr>
              <p:nvPr/>
            </p:nvSpPr>
            <p:spPr bwMode="auto">
              <a:xfrm>
                <a:off x="3807691" y="5634757"/>
                <a:ext cx="184150" cy="261938"/>
              </a:xfrm>
              <a:custGeom>
                <a:avLst/>
                <a:gdLst>
                  <a:gd name="T0" fmla="*/ 1 w 73"/>
                  <a:gd name="T1" fmla="*/ 75 h 104"/>
                  <a:gd name="T2" fmla="*/ 3 w 73"/>
                  <a:gd name="T3" fmla="*/ 77 h 104"/>
                  <a:gd name="T4" fmla="*/ 5 w 73"/>
                  <a:gd name="T5" fmla="*/ 79 h 104"/>
                  <a:gd name="T6" fmla="*/ 7 w 73"/>
                  <a:gd name="T7" fmla="*/ 80 h 104"/>
                  <a:gd name="T8" fmla="*/ 9 w 73"/>
                  <a:gd name="T9" fmla="*/ 82 h 104"/>
                  <a:gd name="T10" fmla="*/ 11 w 73"/>
                  <a:gd name="T11" fmla="*/ 83 h 104"/>
                  <a:gd name="T12" fmla="*/ 13 w 73"/>
                  <a:gd name="T13" fmla="*/ 85 h 104"/>
                  <a:gd name="T14" fmla="*/ 15 w 73"/>
                  <a:gd name="T15" fmla="*/ 86 h 104"/>
                  <a:gd name="T16" fmla="*/ 17 w 73"/>
                  <a:gd name="T17" fmla="*/ 87 h 104"/>
                  <a:gd name="T18" fmla="*/ 19 w 73"/>
                  <a:gd name="T19" fmla="*/ 89 h 104"/>
                  <a:gd name="T20" fmla="*/ 21 w 73"/>
                  <a:gd name="T21" fmla="*/ 90 h 104"/>
                  <a:gd name="T22" fmla="*/ 23 w 73"/>
                  <a:gd name="T23" fmla="*/ 91 h 104"/>
                  <a:gd name="T24" fmla="*/ 25 w 73"/>
                  <a:gd name="T25" fmla="*/ 92 h 104"/>
                  <a:gd name="T26" fmla="*/ 27 w 73"/>
                  <a:gd name="T27" fmla="*/ 93 h 104"/>
                  <a:gd name="T28" fmla="*/ 29 w 73"/>
                  <a:gd name="T29" fmla="*/ 94 h 104"/>
                  <a:gd name="T30" fmla="*/ 31 w 73"/>
                  <a:gd name="T31" fmla="*/ 95 h 104"/>
                  <a:gd name="T32" fmla="*/ 33 w 73"/>
                  <a:gd name="T33" fmla="*/ 96 h 104"/>
                  <a:gd name="T34" fmla="*/ 35 w 73"/>
                  <a:gd name="T35" fmla="*/ 97 h 104"/>
                  <a:gd name="T36" fmla="*/ 37 w 73"/>
                  <a:gd name="T37" fmla="*/ 97 h 104"/>
                  <a:gd name="T38" fmla="*/ 39 w 73"/>
                  <a:gd name="T39" fmla="*/ 98 h 104"/>
                  <a:gd name="T40" fmla="*/ 41 w 73"/>
                  <a:gd name="T41" fmla="*/ 99 h 104"/>
                  <a:gd name="T42" fmla="*/ 43 w 73"/>
                  <a:gd name="T43" fmla="*/ 99 h 104"/>
                  <a:gd name="T44" fmla="*/ 45 w 73"/>
                  <a:gd name="T45" fmla="*/ 100 h 104"/>
                  <a:gd name="T46" fmla="*/ 47 w 73"/>
                  <a:gd name="T47" fmla="*/ 101 h 104"/>
                  <a:gd name="T48" fmla="*/ 49 w 73"/>
                  <a:gd name="T49" fmla="*/ 101 h 104"/>
                  <a:gd name="T50" fmla="*/ 51 w 73"/>
                  <a:gd name="T51" fmla="*/ 102 h 104"/>
                  <a:gd name="T52" fmla="*/ 53 w 73"/>
                  <a:gd name="T53" fmla="*/ 102 h 104"/>
                  <a:gd name="T54" fmla="*/ 55 w 73"/>
                  <a:gd name="T55" fmla="*/ 102 h 104"/>
                  <a:gd name="T56" fmla="*/ 57 w 73"/>
                  <a:gd name="T57" fmla="*/ 103 h 104"/>
                  <a:gd name="T58" fmla="*/ 59 w 73"/>
                  <a:gd name="T59" fmla="*/ 103 h 104"/>
                  <a:gd name="T60" fmla="*/ 61 w 73"/>
                  <a:gd name="T61" fmla="*/ 103 h 104"/>
                  <a:gd name="T62" fmla="*/ 63 w 73"/>
                  <a:gd name="T63" fmla="*/ 103 h 104"/>
                  <a:gd name="T64" fmla="*/ 65 w 73"/>
                  <a:gd name="T65" fmla="*/ 104 h 104"/>
                  <a:gd name="T66" fmla="*/ 67 w 73"/>
                  <a:gd name="T67" fmla="*/ 104 h 104"/>
                  <a:gd name="T68" fmla="*/ 69 w 73"/>
                  <a:gd name="T69" fmla="*/ 104 h 104"/>
                  <a:gd name="T70" fmla="*/ 71 w 73"/>
                  <a:gd name="T71" fmla="*/ 104 h 104"/>
                  <a:gd name="T72" fmla="*/ 73 w 73"/>
                  <a:gd name="T73" fmla="*/ 104 h 104"/>
                  <a:gd name="T74" fmla="*/ 73 w 73"/>
                  <a:gd name="T7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104">
                    <a:moveTo>
                      <a:pt x="0" y="74"/>
                    </a:moveTo>
                    <a:lnTo>
                      <a:pt x="1" y="75"/>
                    </a:lnTo>
                    <a:lnTo>
                      <a:pt x="2" y="76"/>
                    </a:lnTo>
                    <a:lnTo>
                      <a:pt x="3" y="77"/>
                    </a:lnTo>
                    <a:lnTo>
                      <a:pt x="4" y="78"/>
                    </a:lnTo>
                    <a:lnTo>
                      <a:pt x="5" y="79"/>
                    </a:lnTo>
                    <a:lnTo>
                      <a:pt x="6" y="79"/>
                    </a:lnTo>
                    <a:lnTo>
                      <a:pt x="7" y="80"/>
                    </a:lnTo>
                    <a:lnTo>
                      <a:pt x="8" y="81"/>
                    </a:lnTo>
                    <a:lnTo>
                      <a:pt x="9" y="82"/>
                    </a:lnTo>
                    <a:lnTo>
                      <a:pt x="10" y="83"/>
                    </a:lnTo>
                    <a:lnTo>
                      <a:pt x="11" y="83"/>
                    </a:lnTo>
                    <a:lnTo>
                      <a:pt x="12" y="84"/>
                    </a:lnTo>
                    <a:lnTo>
                      <a:pt x="13" y="85"/>
                    </a:lnTo>
                    <a:lnTo>
                      <a:pt x="14" y="85"/>
                    </a:lnTo>
                    <a:lnTo>
                      <a:pt x="15" y="86"/>
                    </a:lnTo>
                    <a:lnTo>
                      <a:pt x="16" y="87"/>
                    </a:lnTo>
                    <a:lnTo>
                      <a:pt x="17" y="87"/>
                    </a:lnTo>
                    <a:lnTo>
                      <a:pt x="18" y="88"/>
                    </a:lnTo>
                    <a:lnTo>
                      <a:pt x="19" y="89"/>
                    </a:lnTo>
                    <a:lnTo>
                      <a:pt x="20" y="89"/>
                    </a:lnTo>
                    <a:lnTo>
                      <a:pt x="21" y="90"/>
                    </a:lnTo>
                    <a:lnTo>
                      <a:pt x="22" y="90"/>
                    </a:lnTo>
                    <a:lnTo>
                      <a:pt x="23" y="91"/>
                    </a:lnTo>
                    <a:lnTo>
                      <a:pt x="24" y="92"/>
                    </a:lnTo>
                    <a:lnTo>
                      <a:pt x="25" y="92"/>
                    </a:lnTo>
                    <a:lnTo>
                      <a:pt x="26" y="93"/>
                    </a:lnTo>
                    <a:lnTo>
                      <a:pt x="27" y="93"/>
                    </a:lnTo>
                    <a:lnTo>
                      <a:pt x="28" y="94"/>
                    </a:lnTo>
                    <a:lnTo>
                      <a:pt x="29" y="94"/>
                    </a:lnTo>
                    <a:lnTo>
                      <a:pt x="30" y="95"/>
                    </a:lnTo>
                    <a:lnTo>
                      <a:pt x="31" y="95"/>
                    </a:lnTo>
                    <a:lnTo>
                      <a:pt x="32" y="95"/>
                    </a:lnTo>
                    <a:lnTo>
                      <a:pt x="33" y="96"/>
                    </a:lnTo>
                    <a:lnTo>
                      <a:pt x="34" y="96"/>
                    </a:lnTo>
                    <a:lnTo>
                      <a:pt x="35" y="97"/>
                    </a:lnTo>
                    <a:lnTo>
                      <a:pt x="36" y="97"/>
                    </a:lnTo>
                    <a:lnTo>
                      <a:pt x="37" y="97"/>
                    </a:lnTo>
                    <a:lnTo>
                      <a:pt x="38" y="98"/>
                    </a:lnTo>
                    <a:lnTo>
                      <a:pt x="39" y="98"/>
                    </a:lnTo>
                    <a:lnTo>
                      <a:pt x="40" y="99"/>
                    </a:lnTo>
                    <a:lnTo>
                      <a:pt x="41" y="99"/>
                    </a:lnTo>
                    <a:lnTo>
                      <a:pt x="42" y="99"/>
                    </a:lnTo>
                    <a:lnTo>
                      <a:pt x="43" y="99"/>
                    </a:lnTo>
                    <a:lnTo>
                      <a:pt x="44" y="100"/>
                    </a:lnTo>
                    <a:lnTo>
                      <a:pt x="45" y="100"/>
                    </a:lnTo>
                    <a:lnTo>
                      <a:pt x="46" y="100"/>
                    </a:lnTo>
                    <a:lnTo>
                      <a:pt x="47" y="101"/>
                    </a:lnTo>
                    <a:lnTo>
                      <a:pt x="48" y="101"/>
                    </a:lnTo>
                    <a:lnTo>
                      <a:pt x="49" y="101"/>
                    </a:lnTo>
                    <a:lnTo>
                      <a:pt x="50" y="101"/>
                    </a:lnTo>
                    <a:lnTo>
                      <a:pt x="51" y="102"/>
                    </a:lnTo>
                    <a:lnTo>
                      <a:pt x="52" y="102"/>
                    </a:lnTo>
                    <a:lnTo>
                      <a:pt x="53" y="102"/>
                    </a:lnTo>
                    <a:lnTo>
                      <a:pt x="54" y="102"/>
                    </a:lnTo>
                    <a:lnTo>
                      <a:pt x="55" y="102"/>
                    </a:lnTo>
                    <a:lnTo>
                      <a:pt x="56" y="103"/>
                    </a:lnTo>
                    <a:lnTo>
                      <a:pt x="57" y="103"/>
                    </a:lnTo>
                    <a:lnTo>
                      <a:pt x="58" y="103"/>
                    </a:lnTo>
                    <a:lnTo>
                      <a:pt x="59" y="103"/>
                    </a:lnTo>
                    <a:lnTo>
                      <a:pt x="60" y="103"/>
                    </a:lnTo>
                    <a:lnTo>
                      <a:pt x="61" y="103"/>
                    </a:lnTo>
                    <a:lnTo>
                      <a:pt x="62" y="103"/>
                    </a:lnTo>
                    <a:lnTo>
                      <a:pt x="63" y="103"/>
                    </a:lnTo>
                    <a:lnTo>
                      <a:pt x="64" y="104"/>
                    </a:lnTo>
                    <a:lnTo>
                      <a:pt x="65" y="104"/>
                    </a:lnTo>
                    <a:lnTo>
                      <a:pt x="66" y="104"/>
                    </a:lnTo>
                    <a:lnTo>
                      <a:pt x="67" y="104"/>
                    </a:lnTo>
                    <a:lnTo>
                      <a:pt x="68" y="104"/>
                    </a:lnTo>
                    <a:lnTo>
                      <a:pt x="69" y="104"/>
                    </a:lnTo>
                    <a:lnTo>
                      <a:pt x="70" y="104"/>
                    </a:lnTo>
                    <a:lnTo>
                      <a:pt x="71" y="104"/>
                    </a:lnTo>
                    <a:lnTo>
                      <a:pt x="72" y="104"/>
                    </a:lnTo>
                    <a:lnTo>
                      <a:pt x="73" y="104"/>
                    </a:lnTo>
                    <a:lnTo>
                      <a:pt x="73" y="104"/>
                    </a:lnTo>
                    <a:lnTo>
                      <a:pt x="73" y="0"/>
                    </a:lnTo>
                    <a:lnTo>
                      <a:pt x="0" y="74"/>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83" name="Freeform 422"/>
              <p:cNvSpPr>
                <a:spLocks/>
              </p:cNvSpPr>
              <p:nvPr/>
            </p:nvSpPr>
            <p:spPr bwMode="auto">
              <a:xfrm>
                <a:off x="3991841" y="5634757"/>
                <a:ext cx="185738" cy="261938"/>
              </a:xfrm>
              <a:custGeom>
                <a:avLst/>
                <a:gdLst>
                  <a:gd name="T0" fmla="*/ 1 w 74"/>
                  <a:gd name="T1" fmla="*/ 104 h 104"/>
                  <a:gd name="T2" fmla="*/ 3 w 74"/>
                  <a:gd name="T3" fmla="*/ 104 h 104"/>
                  <a:gd name="T4" fmla="*/ 5 w 74"/>
                  <a:gd name="T5" fmla="*/ 104 h 104"/>
                  <a:gd name="T6" fmla="*/ 7 w 74"/>
                  <a:gd name="T7" fmla="*/ 104 h 104"/>
                  <a:gd name="T8" fmla="*/ 9 w 74"/>
                  <a:gd name="T9" fmla="*/ 104 h 104"/>
                  <a:gd name="T10" fmla="*/ 11 w 74"/>
                  <a:gd name="T11" fmla="*/ 103 h 104"/>
                  <a:gd name="T12" fmla="*/ 13 w 74"/>
                  <a:gd name="T13" fmla="*/ 103 h 104"/>
                  <a:gd name="T14" fmla="*/ 15 w 74"/>
                  <a:gd name="T15" fmla="*/ 103 h 104"/>
                  <a:gd name="T16" fmla="*/ 17 w 74"/>
                  <a:gd name="T17" fmla="*/ 103 h 104"/>
                  <a:gd name="T18" fmla="*/ 19 w 74"/>
                  <a:gd name="T19" fmla="*/ 102 h 104"/>
                  <a:gd name="T20" fmla="*/ 21 w 74"/>
                  <a:gd name="T21" fmla="*/ 102 h 104"/>
                  <a:gd name="T22" fmla="*/ 23 w 74"/>
                  <a:gd name="T23" fmla="*/ 102 h 104"/>
                  <a:gd name="T24" fmla="*/ 25 w 74"/>
                  <a:gd name="T25" fmla="*/ 101 h 104"/>
                  <a:gd name="T26" fmla="*/ 27 w 74"/>
                  <a:gd name="T27" fmla="*/ 101 h 104"/>
                  <a:gd name="T28" fmla="*/ 29 w 74"/>
                  <a:gd name="T29" fmla="*/ 100 h 104"/>
                  <a:gd name="T30" fmla="*/ 31 w 74"/>
                  <a:gd name="T31" fmla="*/ 99 h 104"/>
                  <a:gd name="T32" fmla="*/ 33 w 74"/>
                  <a:gd name="T33" fmla="*/ 99 h 104"/>
                  <a:gd name="T34" fmla="*/ 35 w 74"/>
                  <a:gd name="T35" fmla="*/ 98 h 104"/>
                  <a:gd name="T36" fmla="*/ 37 w 74"/>
                  <a:gd name="T37" fmla="*/ 97 h 104"/>
                  <a:gd name="T38" fmla="*/ 39 w 74"/>
                  <a:gd name="T39" fmla="*/ 97 h 104"/>
                  <a:gd name="T40" fmla="*/ 41 w 74"/>
                  <a:gd name="T41" fmla="*/ 96 h 104"/>
                  <a:gd name="T42" fmla="*/ 43 w 74"/>
                  <a:gd name="T43" fmla="*/ 95 h 104"/>
                  <a:gd name="T44" fmla="*/ 45 w 74"/>
                  <a:gd name="T45" fmla="*/ 94 h 104"/>
                  <a:gd name="T46" fmla="*/ 47 w 74"/>
                  <a:gd name="T47" fmla="*/ 93 h 104"/>
                  <a:gd name="T48" fmla="*/ 49 w 74"/>
                  <a:gd name="T49" fmla="*/ 92 h 104"/>
                  <a:gd name="T50" fmla="*/ 51 w 74"/>
                  <a:gd name="T51" fmla="*/ 91 h 104"/>
                  <a:gd name="T52" fmla="*/ 53 w 74"/>
                  <a:gd name="T53" fmla="*/ 90 h 104"/>
                  <a:gd name="T54" fmla="*/ 55 w 74"/>
                  <a:gd name="T55" fmla="*/ 89 h 104"/>
                  <a:gd name="T56" fmla="*/ 57 w 74"/>
                  <a:gd name="T57" fmla="*/ 87 h 104"/>
                  <a:gd name="T58" fmla="*/ 59 w 74"/>
                  <a:gd name="T59" fmla="*/ 86 h 104"/>
                  <a:gd name="T60" fmla="*/ 61 w 74"/>
                  <a:gd name="T61" fmla="*/ 85 h 104"/>
                  <a:gd name="T62" fmla="*/ 63 w 74"/>
                  <a:gd name="T63" fmla="*/ 83 h 104"/>
                  <a:gd name="T64" fmla="*/ 65 w 74"/>
                  <a:gd name="T65" fmla="*/ 82 h 104"/>
                  <a:gd name="T66" fmla="*/ 67 w 74"/>
                  <a:gd name="T67" fmla="*/ 80 h 104"/>
                  <a:gd name="T68" fmla="*/ 69 w 74"/>
                  <a:gd name="T69" fmla="*/ 79 h 104"/>
                  <a:gd name="T70" fmla="*/ 71 w 74"/>
                  <a:gd name="T71" fmla="*/ 77 h 104"/>
                  <a:gd name="T72" fmla="*/ 73 w 74"/>
                  <a:gd name="T73" fmla="*/ 75 h 104"/>
                  <a:gd name="T74" fmla="*/ 74 w 74"/>
                  <a:gd name="T75" fmla="*/ 74 h 104"/>
                  <a:gd name="T76" fmla="*/ 0 w 74"/>
                  <a:gd name="T7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4" h="104">
                    <a:moveTo>
                      <a:pt x="0" y="104"/>
                    </a:moveTo>
                    <a:lnTo>
                      <a:pt x="1" y="104"/>
                    </a:lnTo>
                    <a:lnTo>
                      <a:pt x="2" y="104"/>
                    </a:lnTo>
                    <a:lnTo>
                      <a:pt x="3" y="104"/>
                    </a:lnTo>
                    <a:lnTo>
                      <a:pt x="4" y="104"/>
                    </a:lnTo>
                    <a:lnTo>
                      <a:pt x="5" y="104"/>
                    </a:lnTo>
                    <a:lnTo>
                      <a:pt x="6" y="104"/>
                    </a:lnTo>
                    <a:lnTo>
                      <a:pt x="7" y="104"/>
                    </a:lnTo>
                    <a:lnTo>
                      <a:pt x="8" y="104"/>
                    </a:lnTo>
                    <a:lnTo>
                      <a:pt x="9" y="104"/>
                    </a:lnTo>
                    <a:lnTo>
                      <a:pt x="10" y="104"/>
                    </a:lnTo>
                    <a:lnTo>
                      <a:pt x="11" y="103"/>
                    </a:lnTo>
                    <a:lnTo>
                      <a:pt x="12" y="103"/>
                    </a:lnTo>
                    <a:lnTo>
                      <a:pt x="13" y="103"/>
                    </a:lnTo>
                    <a:lnTo>
                      <a:pt x="14" y="103"/>
                    </a:lnTo>
                    <a:lnTo>
                      <a:pt x="15" y="103"/>
                    </a:lnTo>
                    <a:lnTo>
                      <a:pt x="16" y="103"/>
                    </a:lnTo>
                    <a:lnTo>
                      <a:pt x="17" y="103"/>
                    </a:lnTo>
                    <a:lnTo>
                      <a:pt x="18" y="103"/>
                    </a:lnTo>
                    <a:lnTo>
                      <a:pt x="19" y="102"/>
                    </a:lnTo>
                    <a:lnTo>
                      <a:pt x="20" y="102"/>
                    </a:lnTo>
                    <a:lnTo>
                      <a:pt x="21" y="102"/>
                    </a:lnTo>
                    <a:lnTo>
                      <a:pt x="22" y="102"/>
                    </a:lnTo>
                    <a:lnTo>
                      <a:pt x="23" y="102"/>
                    </a:lnTo>
                    <a:lnTo>
                      <a:pt x="24" y="101"/>
                    </a:lnTo>
                    <a:lnTo>
                      <a:pt x="25" y="101"/>
                    </a:lnTo>
                    <a:lnTo>
                      <a:pt x="26" y="101"/>
                    </a:lnTo>
                    <a:lnTo>
                      <a:pt x="27" y="101"/>
                    </a:lnTo>
                    <a:lnTo>
                      <a:pt x="28" y="100"/>
                    </a:lnTo>
                    <a:lnTo>
                      <a:pt x="29" y="100"/>
                    </a:lnTo>
                    <a:lnTo>
                      <a:pt x="30" y="100"/>
                    </a:lnTo>
                    <a:lnTo>
                      <a:pt x="31" y="99"/>
                    </a:lnTo>
                    <a:lnTo>
                      <a:pt x="32" y="99"/>
                    </a:lnTo>
                    <a:lnTo>
                      <a:pt x="33" y="99"/>
                    </a:lnTo>
                    <a:lnTo>
                      <a:pt x="34" y="99"/>
                    </a:lnTo>
                    <a:lnTo>
                      <a:pt x="35" y="98"/>
                    </a:lnTo>
                    <a:lnTo>
                      <a:pt x="36" y="98"/>
                    </a:lnTo>
                    <a:lnTo>
                      <a:pt x="37" y="97"/>
                    </a:lnTo>
                    <a:lnTo>
                      <a:pt x="38" y="97"/>
                    </a:lnTo>
                    <a:lnTo>
                      <a:pt x="39" y="97"/>
                    </a:lnTo>
                    <a:lnTo>
                      <a:pt x="40" y="96"/>
                    </a:lnTo>
                    <a:lnTo>
                      <a:pt x="41" y="96"/>
                    </a:lnTo>
                    <a:lnTo>
                      <a:pt x="42" y="95"/>
                    </a:lnTo>
                    <a:lnTo>
                      <a:pt x="43" y="95"/>
                    </a:lnTo>
                    <a:lnTo>
                      <a:pt x="44" y="95"/>
                    </a:lnTo>
                    <a:lnTo>
                      <a:pt x="45" y="94"/>
                    </a:lnTo>
                    <a:lnTo>
                      <a:pt x="46" y="94"/>
                    </a:lnTo>
                    <a:lnTo>
                      <a:pt x="47" y="93"/>
                    </a:lnTo>
                    <a:lnTo>
                      <a:pt x="48" y="93"/>
                    </a:lnTo>
                    <a:lnTo>
                      <a:pt x="49" y="92"/>
                    </a:lnTo>
                    <a:lnTo>
                      <a:pt x="50" y="92"/>
                    </a:lnTo>
                    <a:lnTo>
                      <a:pt x="51" y="91"/>
                    </a:lnTo>
                    <a:lnTo>
                      <a:pt x="52" y="90"/>
                    </a:lnTo>
                    <a:lnTo>
                      <a:pt x="53" y="90"/>
                    </a:lnTo>
                    <a:lnTo>
                      <a:pt x="54" y="89"/>
                    </a:lnTo>
                    <a:lnTo>
                      <a:pt x="55" y="89"/>
                    </a:lnTo>
                    <a:lnTo>
                      <a:pt x="56" y="88"/>
                    </a:lnTo>
                    <a:lnTo>
                      <a:pt x="57" y="87"/>
                    </a:lnTo>
                    <a:lnTo>
                      <a:pt x="58" y="87"/>
                    </a:lnTo>
                    <a:lnTo>
                      <a:pt x="59" y="86"/>
                    </a:lnTo>
                    <a:lnTo>
                      <a:pt x="60" y="85"/>
                    </a:lnTo>
                    <a:lnTo>
                      <a:pt x="61" y="85"/>
                    </a:lnTo>
                    <a:lnTo>
                      <a:pt x="62" y="84"/>
                    </a:lnTo>
                    <a:lnTo>
                      <a:pt x="63" y="83"/>
                    </a:lnTo>
                    <a:lnTo>
                      <a:pt x="64" y="83"/>
                    </a:lnTo>
                    <a:lnTo>
                      <a:pt x="65" y="82"/>
                    </a:lnTo>
                    <a:lnTo>
                      <a:pt x="66" y="81"/>
                    </a:lnTo>
                    <a:lnTo>
                      <a:pt x="67" y="80"/>
                    </a:lnTo>
                    <a:lnTo>
                      <a:pt x="68" y="79"/>
                    </a:lnTo>
                    <a:lnTo>
                      <a:pt x="69" y="79"/>
                    </a:lnTo>
                    <a:lnTo>
                      <a:pt x="70" y="78"/>
                    </a:lnTo>
                    <a:lnTo>
                      <a:pt x="71" y="77"/>
                    </a:lnTo>
                    <a:lnTo>
                      <a:pt x="72" y="76"/>
                    </a:lnTo>
                    <a:lnTo>
                      <a:pt x="73" y="75"/>
                    </a:lnTo>
                    <a:lnTo>
                      <a:pt x="74" y="74"/>
                    </a:lnTo>
                    <a:lnTo>
                      <a:pt x="74" y="74"/>
                    </a:lnTo>
                    <a:lnTo>
                      <a:pt x="0" y="0"/>
                    </a:lnTo>
                    <a:lnTo>
                      <a:pt x="0" y="104"/>
                    </a:lnTo>
                    <a:close/>
                  </a:path>
                </a:pathLst>
              </a:custGeom>
              <a:solidFill>
                <a:srgbClr val="E69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grpSp>
        <p:grpSp>
          <p:nvGrpSpPr>
            <p:cNvPr id="142" name="Group 141"/>
            <p:cNvGrpSpPr/>
            <p:nvPr/>
          </p:nvGrpSpPr>
          <p:grpSpPr>
            <a:xfrm>
              <a:off x="3729832" y="5373319"/>
              <a:ext cx="525463" cy="447675"/>
              <a:chOff x="5638006" y="3197475"/>
              <a:chExt cx="525463" cy="447675"/>
            </a:xfrm>
          </p:grpSpPr>
          <p:sp>
            <p:nvSpPr>
              <p:cNvPr id="485" name="Freeform 416"/>
              <p:cNvSpPr>
                <a:spLocks/>
              </p:cNvSpPr>
              <p:nvPr/>
            </p:nvSpPr>
            <p:spPr bwMode="auto">
              <a:xfrm>
                <a:off x="5899944" y="3272087"/>
                <a:ext cx="263525" cy="185738"/>
              </a:xfrm>
              <a:custGeom>
                <a:avLst/>
                <a:gdLst>
                  <a:gd name="T0" fmla="*/ 105 w 105"/>
                  <a:gd name="T1" fmla="*/ 73 h 74"/>
                  <a:gd name="T2" fmla="*/ 105 w 105"/>
                  <a:gd name="T3" fmla="*/ 71 h 74"/>
                  <a:gd name="T4" fmla="*/ 105 w 105"/>
                  <a:gd name="T5" fmla="*/ 69 h 74"/>
                  <a:gd name="T6" fmla="*/ 105 w 105"/>
                  <a:gd name="T7" fmla="*/ 67 h 74"/>
                  <a:gd name="T8" fmla="*/ 105 w 105"/>
                  <a:gd name="T9" fmla="*/ 65 h 74"/>
                  <a:gd name="T10" fmla="*/ 104 w 105"/>
                  <a:gd name="T11" fmla="*/ 63 h 74"/>
                  <a:gd name="T12" fmla="*/ 104 w 105"/>
                  <a:gd name="T13" fmla="*/ 61 h 74"/>
                  <a:gd name="T14" fmla="*/ 104 w 105"/>
                  <a:gd name="T15" fmla="*/ 59 h 74"/>
                  <a:gd name="T16" fmla="*/ 104 w 105"/>
                  <a:gd name="T17" fmla="*/ 57 h 74"/>
                  <a:gd name="T18" fmla="*/ 103 w 105"/>
                  <a:gd name="T19" fmla="*/ 55 h 74"/>
                  <a:gd name="T20" fmla="*/ 103 w 105"/>
                  <a:gd name="T21" fmla="*/ 53 h 74"/>
                  <a:gd name="T22" fmla="*/ 102 w 105"/>
                  <a:gd name="T23" fmla="*/ 51 h 74"/>
                  <a:gd name="T24" fmla="*/ 102 w 105"/>
                  <a:gd name="T25" fmla="*/ 49 h 74"/>
                  <a:gd name="T26" fmla="*/ 101 w 105"/>
                  <a:gd name="T27" fmla="*/ 47 h 74"/>
                  <a:gd name="T28" fmla="*/ 101 w 105"/>
                  <a:gd name="T29" fmla="*/ 45 h 74"/>
                  <a:gd name="T30" fmla="*/ 100 w 105"/>
                  <a:gd name="T31" fmla="*/ 43 h 74"/>
                  <a:gd name="T32" fmla="*/ 100 w 105"/>
                  <a:gd name="T33" fmla="*/ 41 h 74"/>
                  <a:gd name="T34" fmla="*/ 99 w 105"/>
                  <a:gd name="T35" fmla="*/ 39 h 74"/>
                  <a:gd name="T36" fmla="*/ 98 w 105"/>
                  <a:gd name="T37" fmla="*/ 37 h 74"/>
                  <a:gd name="T38" fmla="*/ 97 w 105"/>
                  <a:gd name="T39" fmla="*/ 35 h 74"/>
                  <a:gd name="T40" fmla="*/ 97 w 105"/>
                  <a:gd name="T41" fmla="*/ 33 h 74"/>
                  <a:gd name="T42" fmla="*/ 96 w 105"/>
                  <a:gd name="T43" fmla="*/ 31 h 74"/>
                  <a:gd name="T44" fmla="*/ 95 w 105"/>
                  <a:gd name="T45" fmla="*/ 29 h 74"/>
                  <a:gd name="T46" fmla="*/ 94 w 105"/>
                  <a:gd name="T47" fmla="*/ 27 h 74"/>
                  <a:gd name="T48" fmla="*/ 93 w 105"/>
                  <a:gd name="T49" fmla="*/ 25 h 74"/>
                  <a:gd name="T50" fmla="*/ 92 w 105"/>
                  <a:gd name="T51" fmla="*/ 23 h 74"/>
                  <a:gd name="T52" fmla="*/ 90 w 105"/>
                  <a:gd name="T53" fmla="*/ 21 h 74"/>
                  <a:gd name="T54" fmla="*/ 89 w 105"/>
                  <a:gd name="T55" fmla="*/ 19 h 74"/>
                  <a:gd name="T56" fmla="*/ 88 w 105"/>
                  <a:gd name="T57" fmla="*/ 17 h 74"/>
                  <a:gd name="T58" fmla="*/ 87 w 105"/>
                  <a:gd name="T59" fmla="*/ 15 h 74"/>
                  <a:gd name="T60" fmla="*/ 85 w 105"/>
                  <a:gd name="T61" fmla="*/ 13 h 74"/>
                  <a:gd name="T62" fmla="*/ 84 w 105"/>
                  <a:gd name="T63" fmla="*/ 11 h 74"/>
                  <a:gd name="T64" fmla="*/ 82 w 105"/>
                  <a:gd name="T65" fmla="*/ 9 h 74"/>
                  <a:gd name="T66" fmla="*/ 80 w 105"/>
                  <a:gd name="T67" fmla="*/ 7 h 74"/>
                  <a:gd name="T68" fmla="*/ 79 w 105"/>
                  <a:gd name="T69" fmla="*/ 5 h 74"/>
                  <a:gd name="T70" fmla="*/ 77 w 105"/>
                  <a:gd name="T71" fmla="*/ 3 h 74"/>
                  <a:gd name="T72" fmla="*/ 75 w 105"/>
                  <a:gd name="T73" fmla="*/ 1 h 74"/>
                  <a:gd name="T74" fmla="*/ 74 w 105"/>
                  <a:gd name="T75" fmla="*/ 0 h 74"/>
                  <a:gd name="T76" fmla="*/ 105 w 105"/>
                  <a:gd name="T7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5" h="74">
                    <a:moveTo>
                      <a:pt x="105" y="74"/>
                    </a:moveTo>
                    <a:lnTo>
                      <a:pt x="105" y="73"/>
                    </a:lnTo>
                    <a:lnTo>
                      <a:pt x="105" y="72"/>
                    </a:lnTo>
                    <a:lnTo>
                      <a:pt x="105" y="71"/>
                    </a:lnTo>
                    <a:lnTo>
                      <a:pt x="105" y="70"/>
                    </a:lnTo>
                    <a:lnTo>
                      <a:pt x="105" y="69"/>
                    </a:lnTo>
                    <a:lnTo>
                      <a:pt x="105" y="68"/>
                    </a:lnTo>
                    <a:lnTo>
                      <a:pt x="105" y="67"/>
                    </a:lnTo>
                    <a:lnTo>
                      <a:pt x="105" y="66"/>
                    </a:lnTo>
                    <a:lnTo>
                      <a:pt x="105" y="65"/>
                    </a:lnTo>
                    <a:lnTo>
                      <a:pt x="105" y="64"/>
                    </a:lnTo>
                    <a:lnTo>
                      <a:pt x="104" y="63"/>
                    </a:lnTo>
                    <a:lnTo>
                      <a:pt x="104" y="62"/>
                    </a:lnTo>
                    <a:lnTo>
                      <a:pt x="104" y="61"/>
                    </a:lnTo>
                    <a:lnTo>
                      <a:pt x="104" y="60"/>
                    </a:lnTo>
                    <a:lnTo>
                      <a:pt x="104" y="59"/>
                    </a:lnTo>
                    <a:lnTo>
                      <a:pt x="104" y="58"/>
                    </a:lnTo>
                    <a:lnTo>
                      <a:pt x="104" y="57"/>
                    </a:lnTo>
                    <a:lnTo>
                      <a:pt x="103" y="56"/>
                    </a:lnTo>
                    <a:lnTo>
                      <a:pt x="103" y="55"/>
                    </a:lnTo>
                    <a:lnTo>
                      <a:pt x="103" y="54"/>
                    </a:lnTo>
                    <a:lnTo>
                      <a:pt x="103" y="53"/>
                    </a:lnTo>
                    <a:lnTo>
                      <a:pt x="103" y="52"/>
                    </a:lnTo>
                    <a:lnTo>
                      <a:pt x="102" y="51"/>
                    </a:lnTo>
                    <a:lnTo>
                      <a:pt x="102" y="50"/>
                    </a:lnTo>
                    <a:lnTo>
                      <a:pt x="102" y="49"/>
                    </a:lnTo>
                    <a:lnTo>
                      <a:pt x="102" y="48"/>
                    </a:lnTo>
                    <a:lnTo>
                      <a:pt x="101" y="47"/>
                    </a:lnTo>
                    <a:lnTo>
                      <a:pt x="101" y="46"/>
                    </a:lnTo>
                    <a:lnTo>
                      <a:pt x="101" y="45"/>
                    </a:lnTo>
                    <a:lnTo>
                      <a:pt x="101" y="44"/>
                    </a:lnTo>
                    <a:lnTo>
                      <a:pt x="100" y="43"/>
                    </a:lnTo>
                    <a:lnTo>
                      <a:pt x="100" y="42"/>
                    </a:lnTo>
                    <a:lnTo>
                      <a:pt x="100" y="41"/>
                    </a:lnTo>
                    <a:lnTo>
                      <a:pt x="99" y="40"/>
                    </a:lnTo>
                    <a:lnTo>
                      <a:pt x="99" y="39"/>
                    </a:lnTo>
                    <a:lnTo>
                      <a:pt x="99" y="38"/>
                    </a:lnTo>
                    <a:lnTo>
                      <a:pt x="98" y="37"/>
                    </a:lnTo>
                    <a:lnTo>
                      <a:pt x="98" y="36"/>
                    </a:lnTo>
                    <a:lnTo>
                      <a:pt x="97" y="35"/>
                    </a:lnTo>
                    <a:lnTo>
                      <a:pt x="97" y="34"/>
                    </a:lnTo>
                    <a:lnTo>
                      <a:pt x="97" y="33"/>
                    </a:lnTo>
                    <a:lnTo>
                      <a:pt x="96" y="32"/>
                    </a:lnTo>
                    <a:lnTo>
                      <a:pt x="96" y="31"/>
                    </a:lnTo>
                    <a:lnTo>
                      <a:pt x="95" y="30"/>
                    </a:lnTo>
                    <a:lnTo>
                      <a:pt x="95" y="29"/>
                    </a:lnTo>
                    <a:lnTo>
                      <a:pt x="94" y="28"/>
                    </a:lnTo>
                    <a:lnTo>
                      <a:pt x="94" y="27"/>
                    </a:lnTo>
                    <a:lnTo>
                      <a:pt x="93" y="26"/>
                    </a:lnTo>
                    <a:lnTo>
                      <a:pt x="93" y="25"/>
                    </a:lnTo>
                    <a:lnTo>
                      <a:pt x="92" y="24"/>
                    </a:lnTo>
                    <a:lnTo>
                      <a:pt x="92" y="23"/>
                    </a:lnTo>
                    <a:lnTo>
                      <a:pt x="91" y="22"/>
                    </a:lnTo>
                    <a:lnTo>
                      <a:pt x="90" y="21"/>
                    </a:lnTo>
                    <a:lnTo>
                      <a:pt x="90" y="20"/>
                    </a:lnTo>
                    <a:lnTo>
                      <a:pt x="89" y="19"/>
                    </a:lnTo>
                    <a:lnTo>
                      <a:pt x="89" y="18"/>
                    </a:lnTo>
                    <a:lnTo>
                      <a:pt x="88" y="17"/>
                    </a:lnTo>
                    <a:lnTo>
                      <a:pt x="87" y="16"/>
                    </a:lnTo>
                    <a:lnTo>
                      <a:pt x="87" y="15"/>
                    </a:lnTo>
                    <a:lnTo>
                      <a:pt x="86" y="14"/>
                    </a:lnTo>
                    <a:lnTo>
                      <a:pt x="85" y="13"/>
                    </a:lnTo>
                    <a:lnTo>
                      <a:pt x="84" y="12"/>
                    </a:lnTo>
                    <a:lnTo>
                      <a:pt x="84" y="11"/>
                    </a:lnTo>
                    <a:lnTo>
                      <a:pt x="83" y="10"/>
                    </a:lnTo>
                    <a:lnTo>
                      <a:pt x="82" y="9"/>
                    </a:lnTo>
                    <a:lnTo>
                      <a:pt x="81" y="8"/>
                    </a:lnTo>
                    <a:lnTo>
                      <a:pt x="80" y="7"/>
                    </a:lnTo>
                    <a:lnTo>
                      <a:pt x="80" y="6"/>
                    </a:lnTo>
                    <a:lnTo>
                      <a:pt x="79" y="5"/>
                    </a:lnTo>
                    <a:lnTo>
                      <a:pt x="78" y="4"/>
                    </a:lnTo>
                    <a:lnTo>
                      <a:pt x="77" y="3"/>
                    </a:lnTo>
                    <a:lnTo>
                      <a:pt x="76" y="2"/>
                    </a:lnTo>
                    <a:lnTo>
                      <a:pt x="75" y="1"/>
                    </a:lnTo>
                    <a:lnTo>
                      <a:pt x="74" y="0"/>
                    </a:lnTo>
                    <a:lnTo>
                      <a:pt x="74" y="0"/>
                    </a:lnTo>
                    <a:lnTo>
                      <a:pt x="0" y="74"/>
                    </a:lnTo>
                    <a:lnTo>
                      <a:pt x="105" y="74"/>
                    </a:lnTo>
                    <a:close/>
                  </a:path>
                </a:pathLst>
              </a:custGeom>
              <a:solidFill>
                <a:srgbClr val="0073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86" name="Freeform 418"/>
              <p:cNvSpPr>
                <a:spLocks/>
              </p:cNvSpPr>
              <p:nvPr/>
            </p:nvSpPr>
            <p:spPr bwMode="auto">
              <a:xfrm>
                <a:off x="5715794" y="3197475"/>
                <a:ext cx="184150" cy="260350"/>
              </a:xfrm>
              <a:custGeom>
                <a:avLst/>
                <a:gdLst>
                  <a:gd name="T0" fmla="*/ 72 w 73"/>
                  <a:gd name="T1" fmla="*/ 0 h 104"/>
                  <a:gd name="T2" fmla="*/ 70 w 73"/>
                  <a:gd name="T3" fmla="*/ 0 h 104"/>
                  <a:gd name="T4" fmla="*/ 68 w 73"/>
                  <a:gd name="T5" fmla="*/ 0 h 104"/>
                  <a:gd name="T6" fmla="*/ 66 w 73"/>
                  <a:gd name="T7" fmla="*/ 0 h 104"/>
                  <a:gd name="T8" fmla="*/ 64 w 73"/>
                  <a:gd name="T9" fmla="*/ 0 h 104"/>
                  <a:gd name="T10" fmla="*/ 62 w 73"/>
                  <a:gd name="T11" fmla="*/ 1 h 104"/>
                  <a:gd name="T12" fmla="*/ 60 w 73"/>
                  <a:gd name="T13" fmla="*/ 1 h 104"/>
                  <a:gd name="T14" fmla="*/ 58 w 73"/>
                  <a:gd name="T15" fmla="*/ 1 h 104"/>
                  <a:gd name="T16" fmla="*/ 56 w 73"/>
                  <a:gd name="T17" fmla="*/ 1 h 104"/>
                  <a:gd name="T18" fmla="*/ 54 w 73"/>
                  <a:gd name="T19" fmla="*/ 2 h 104"/>
                  <a:gd name="T20" fmla="*/ 52 w 73"/>
                  <a:gd name="T21" fmla="*/ 2 h 104"/>
                  <a:gd name="T22" fmla="*/ 50 w 73"/>
                  <a:gd name="T23" fmla="*/ 3 h 104"/>
                  <a:gd name="T24" fmla="*/ 48 w 73"/>
                  <a:gd name="T25" fmla="*/ 3 h 104"/>
                  <a:gd name="T26" fmla="*/ 46 w 73"/>
                  <a:gd name="T27" fmla="*/ 4 h 104"/>
                  <a:gd name="T28" fmla="*/ 44 w 73"/>
                  <a:gd name="T29" fmla="*/ 4 h 104"/>
                  <a:gd name="T30" fmla="*/ 42 w 73"/>
                  <a:gd name="T31" fmla="*/ 5 h 104"/>
                  <a:gd name="T32" fmla="*/ 40 w 73"/>
                  <a:gd name="T33" fmla="*/ 5 h 104"/>
                  <a:gd name="T34" fmla="*/ 38 w 73"/>
                  <a:gd name="T35" fmla="*/ 6 h 104"/>
                  <a:gd name="T36" fmla="*/ 36 w 73"/>
                  <a:gd name="T37" fmla="*/ 7 h 104"/>
                  <a:gd name="T38" fmla="*/ 34 w 73"/>
                  <a:gd name="T39" fmla="*/ 8 h 104"/>
                  <a:gd name="T40" fmla="*/ 32 w 73"/>
                  <a:gd name="T41" fmla="*/ 9 h 104"/>
                  <a:gd name="T42" fmla="*/ 30 w 73"/>
                  <a:gd name="T43" fmla="*/ 9 h 104"/>
                  <a:gd name="T44" fmla="*/ 28 w 73"/>
                  <a:gd name="T45" fmla="*/ 10 h 104"/>
                  <a:gd name="T46" fmla="*/ 26 w 73"/>
                  <a:gd name="T47" fmla="*/ 11 h 104"/>
                  <a:gd name="T48" fmla="*/ 24 w 73"/>
                  <a:gd name="T49" fmla="*/ 12 h 104"/>
                  <a:gd name="T50" fmla="*/ 22 w 73"/>
                  <a:gd name="T51" fmla="*/ 14 h 104"/>
                  <a:gd name="T52" fmla="*/ 20 w 73"/>
                  <a:gd name="T53" fmla="*/ 15 h 104"/>
                  <a:gd name="T54" fmla="*/ 18 w 73"/>
                  <a:gd name="T55" fmla="*/ 16 h 104"/>
                  <a:gd name="T56" fmla="*/ 16 w 73"/>
                  <a:gd name="T57" fmla="*/ 17 h 104"/>
                  <a:gd name="T58" fmla="*/ 14 w 73"/>
                  <a:gd name="T59" fmla="*/ 19 h 104"/>
                  <a:gd name="T60" fmla="*/ 12 w 73"/>
                  <a:gd name="T61" fmla="*/ 20 h 104"/>
                  <a:gd name="T62" fmla="*/ 10 w 73"/>
                  <a:gd name="T63" fmla="*/ 21 h 104"/>
                  <a:gd name="T64" fmla="*/ 8 w 73"/>
                  <a:gd name="T65" fmla="*/ 23 h 104"/>
                  <a:gd name="T66" fmla="*/ 6 w 73"/>
                  <a:gd name="T67" fmla="*/ 25 h 104"/>
                  <a:gd name="T68" fmla="*/ 4 w 73"/>
                  <a:gd name="T69" fmla="*/ 26 h 104"/>
                  <a:gd name="T70" fmla="*/ 2 w 73"/>
                  <a:gd name="T71" fmla="*/ 28 h 104"/>
                  <a:gd name="T72" fmla="*/ 0 w 73"/>
                  <a:gd name="T73" fmla="*/ 30 h 104"/>
                  <a:gd name="T74" fmla="*/ 73 w 73"/>
                  <a:gd name="T7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104">
                    <a:moveTo>
                      <a:pt x="73" y="0"/>
                    </a:moveTo>
                    <a:lnTo>
                      <a:pt x="72" y="0"/>
                    </a:lnTo>
                    <a:lnTo>
                      <a:pt x="71" y="0"/>
                    </a:lnTo>
                    <a:lnTo>
                      <a:pt x="70" y="0"/>
                    </a:lnTo>
                    <a:lnTo>
                      <a:pt x="69" y="0"/>
                    </a:lnTo>
                    <a:lnTo>
                      <a:pt x="68" y="0"/>
                    </a:lnTo>
                    <a:lnTo>
                      <a:pt x="67" y="0"/>
                    </a:lnTo>
                    <a:lnTo>
                      <a:pt x="66" y="0"/>
                    </a:lnTo>
                    <a:lnTo>
                      <a:pt x="65" y="0"/>
                    </a:lnTo>
                    <a:lnTo>
                      <a:pt x="64" y="0"/>
                    </a:lnTo>
                    <a:lnTo>
                      <a:pt x="63" y="1"/>
                    </a:lnTo>
                    <a:lnTo>
                      <a:pt x="62" y="1"/>
                    </a:lnTo>
                    <a:lnTo>
                      <a:pt x="61" y="1"/>
                    </a:lnTo>
                    <a:lnTo>
                      <a:pt x="60" y="1"/>
                    </a:lnTo>
                    <a:lnTo>
                      <a:pt x="59" y="1"/>
                    </a:lnTo>
                    <a:lnTo>
                      <a:pt x="58" y="1"/>
                    </a:lnTo>
                    <a:lnTo>
                      <a:pt x="57" y="1"/>
                    </a:lnTo>
                    <a:lnTo>
                      <a:pt x="56" y="1"/>
                    </a:lnTo>
                    <a:lnTo>
                      <a:pt x="55" y="2"/>
                    </a:lnTo>
                    <a:lnTo>
                      <a:pt x="54" y="2"/>
                    </a:lnTo>
                    <a:lnTo>
                      <a:pt x="53" y="2"/>
                    </a:lnTo>
                    <a:lnTo>
                      <a:pt x="52" y="2"/>
                    </a:lnTo>
                    <a:lnTo>
                      <a:pt x="51" y="2"/>
                    </a:lnTo>
                    <a:lnTo>
                      <a:pt x="50" y="3"/>
                    </a:lnTo>
                    <a:lnTo>
                      <a:pt x="49" y="3"/>
                    </a:lnTo>
                    <a:lnTo>
                      <a:pt x="48" y="3"/>
                    </a:lnTo>
                    <a:lnTo>
                      <a:pt x="47" y="3"/>
                    </a:lnTo>
                    <a:lnTo>
                      <a:pt x="46" y="4"/>
                    </a:lnTo>
                    <a:lnTo>
                      <a:pt x="45" y="4"/>
                    </a:lnTo>
                    <a:lnTo>
                      <a:pt x="44" y="4"/>
                    </a:lnTo>
                    <a:lnTo>
                      <a:pt x="43" y="5"/>
                    </a:lnTo>
                    <a:lnTo>
                      <a:pt x="42" y="5"/>
                    </a:lnTo>
                    <a:lnTo>
                      <a:pt x="41" y="5"/>
                    </a:lnTo>
                    <a:lnTo>
                      <a:pt x="40" y="5"/>
                    </a:lnTo>
                    <a:lnTo>
                      <a:pt x="39" y="6"/>
                    </a:lnTo>
                    <a:lnTo>
                      <a:pt x="38" y="6"/>
                    </a:lnTo>
                    <a:lnTo>
                      <a:pt x="37" y="7"/>
                    </a:lnTo>
                    <a:lnTo>
                      <a:pt x="36" y="7"/>
                    </a:lnTo>
                    <a:lnTo>
                      <a:pt x="35" y="7"/>
                    </a:lnTo>
                    <a:lnTo>
                      <a:pt x="34" y="8"/>
                    </a:lnTo>
                    <a:lnTo>
                      <a:pt x="33" y="8"/>
                    </a:lnTo>
                    <a:lnTo>
                      <a:pt x="32" y="9"/>
                    </a:lnTo>
                    <a:lnTo>
                      <a:pt x="31" y="9"/>
                    </a:lnTo>
                    <a:lnTo>
                      <a:pt x="30" y="9"/>
                    </a:lnTo>
                    <a:lnTo>
                      <a:pt x="29" y="10"/>
                    </a:lnTo>
                    <a:lnTo>
                      <a:pt x="28" y="10"/>
                    </a:lnTo>
                    <a:lnTo>
                      <a:pt x="27" y="11"/>
                    </a:lnTo>
                    <a:lnTo>
                      <a:pt x="26" y="11"/>
                    </a:lnTo>
                    <a:lnTo>
                      <a:pt x="25" y="12"/>
                    </a:lnTo>
                    <a:lnTo>
                      <a:pt x="24" y="12"/>
                    </a:lnTo>
                    <a:lnTo>
                      <a:pt x="23" y="13"/>
                    </a:lnTo>
                    <a:lnTo>
                      <a:pt x="22" y="14"/>
                    </a:lnTo>
                    <a:lnTo>
                      <a:pt x="21" y="14"/>
                    </a:lnTo>
                    <a:lnTo>
                      <a:pt x="20" y="15"/>
                    </a:lnTo>
                    <a:lnTo>
                      <a:pt x="19" y="15"/>
                    </a:lnTo>
                    <a:lnTo>
                      <a:pt x="18" y="16"/>
                    </a:lnTo>
                    <a:lnTo>
                      <a:pt x="17" y="17"/>
                    </a:lnTo>
                    <a:lnTo>
                      <a:pt x="16" y="17"/>
                    </a:lnTo>
                    <a:lnTo>
                      <a:pt x="15" y="18"/>
                    </a:lnTo>
                    <a:lnTo>
                      <a:pt x="14" y="19"/>
                    </a:lnTo>
                    <a:lnTo>
                      <a:pt x="13" y="19"/>
                    </a:lnTo>
                    <a:lnTo>
                      <a:pt x="12" y="20"/>
                    </a:lnTo>
                    <a:lnTo>
                      <a:pt x="11" y="21"/>
                    </a:lnTo>
                    <a:lnTo>
                      <a:pt x="10" y="21"/>
                    </a:lnTo>
                    <a:lnTo>
                      <a:pt x="9" y="22"/>
                    </a:lnTo>
                    <a:lnTo>
                      <a:pt x="8" y="23"/>
                    </a:lnTo>
                    <a:lnTo>
                      <a:pt x="7" y="24"/>
                    </a:lnTo>
                    <a:lnTo>
                      <a:pt x="6" y="25"/>
                    </a:lnTo>
                    <a:lnTo>
                      <a:pt x="5" y="25"/>
                    </a:lnTo>
                    <a:lnTo>
                      <a:pt x="4" y="26"/>
                    </a:lnTo>
                    <a:lnTo>
                      <a:pt x="3" y="27"/>
                    </a:lnTo>
                    <a:lnTo>
                      <a:pt x="2" y="28"/>
                    </a:lnTo>
                    <a:lnTo>
                      <a:pt x="1" y="29"/>
                    </a:lnTo>
                    <a:lnTo>
                      <a:pt x="0" y="30"/>
                    </a:lnTo>
                    <a:lnTo>
                      <a:pt x="0" y="30"/>
                    </a:lnTo>
                    <a:lnTo>
                      <a:pt x="73" y="104"/>
                    </a:lnTo>
                    <a:lnTo>
                      <a:pt x="73" y="0"/>
                    </a:lnTo>
                    <a:close/>
                  </a:path>
                </a:pathLst>
              </a:custGeom>
              <a:solidFill>
                <a:srgbClr val="E64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93" name="Freeform 420"/>
              <p:cNvSpPr>
                <a:spLocks/>
              </p:cNvSpPr>
              <p:nvPr/>
            </p:nvSpPr>
            <p:spPr bwMode="auto">
              <a:xfrm>
                <a:off x="5638006" y="3457825"/>
                <a:ext cx="261938" cy="187325"/>
              </a:xfrm>
              <a:custGeom>
                <a:avLst/>
                <a:gdLst>
                  <a:gd name="T0" fmla="*/ 0 w 104"/>
                  <a:gd name="T1" fmla="*/ 1 h 74"/>
                  <a:gd name="T2" fmla="*/ 0 w 104"/>
                  <a:gd name="T3" fmla="*/ 3 h 74"/>
                  <a:gd name="T4" fmla="*/ 0 w 104"/>
                  <a:gd name="T5" fmla="*/ 5 h 74"/>
                  <a:gd name="T6" fmla="*/ 0 w 104"/>
                  <a:gd name="T7" fmla="*/ 7 h 74"/>
                  <a:gd name="T8" fmla="*/ 0 w 104"/>
                  <a:gd name="T9" fmla="*/ 9 h 74"/>
                  <a:gd name="T10" fmla="*/ 1 w 104"/>
                  <a:gd name="T11" fmla="*/ 11 h 74"/>
                  <a:gd name="T12" fmla="*/ 1 w 104"/>
                  <a:gd name="T13" fmla="*/ 13 h 74"/>
                  <a:gd name="T14" fmla="*/ 1 w 104"/>
                  <a:gd name="T15" fmla="*/ 15 h 74"/>
                  <a:gd name="T16" fmla="*/ 1 w 104"/>
                  <a:gd name="T17" fmla="*/ 17 h 74"/>
                  <a:gd name="T18" fmla="*/ 2 w 104"/>
                  <a:gd name="T19" fmla="*/ 19 h 74"/>
                  <a:gd name="T20" fmla="*/ 2 w 104"/>
                  <a:gd name="T21" fmla="*/ 21 h 74"/>
                  <a:gd name="T22" fmla="*/ 3 w 104"/>
                  <a:gd name="T23" fmla="*/ 23 h 74"/>
                  <a:gd name="T24" fmla="*/ 3 w 104"/>
                  <a:gd name="T25" fmla="*/ 25 h 74"/>
                  <a:gd name="T26" fmla="*/ 4 w 104"/>
                  <a:gd name="T27" fmla="*/ 27 h 74"/>
                  <a:gd name="T28" fmla="*/ 4 w 104"/>
                  <a:gd name="T29" fmla="*/ 29 h 74"/>
                  <a:gd name="T30" fmla="*/ 5 w 104"/>
                  <a:gd name="T31" fmla="*/ 31 h 74"/>
                  <a:gd name="T32" fmla="*/ 5 w 104"/>
                  <a:gd name="T33" fmla="*/ 33 h 74"/>
                  <a:gd name="T34" fmla="*/ 6 w 104"/>
                  <a:gd name="T35" fmla="*/ 35 h 74"/>
                  <a:gd name="T36" fmla="*/ 7 w 104"/>
                  <a:gd name="T37" fmla="*/ 37 h 74"/>
                  <a:gd name="T38" fmla="*/ 8 w 104"/>
                  <a:gd name="T39" fmla="*/ 39 h 74"/>
                  <a:gd name="T40" fmla="*/ 8 w 104"/>
                  <a:gd name="T41" fmla="*/ 41 h 74"/>
                  <a:gd name="T42" fmla="*/ 9 w 104"/>
                  <a:gd name="T43" fmla="*/ 43 h 74"/>
                  <a:gd name="T44" fmla="*/ 10 w 104"/>
                  <a:gd name="T45" fmla="*/ 45 h 74"/>
                  <a:gd name="T46" fmla="*/ 11 w 104"/>
                  <a:gd name="T47" fmla="*/ 47 h 74"/>
                  <a:gd name="T48" fmla="*/ 12 w 104"/>
                  <a:gd name="T49" fmla="*/ 49 h 74"/>
                  <a:gd name="T50" fmla="*/ 13 w 104"/>
                  <a:gd name="T51" fmla="*/ 51 h 74"/>
                  <a:gd name="T52" fmla="*/ 15 w 104"/>
                  <a:gd name="T53" fmla="*/ 53 h 74"/>
                  <a:gd name="T54" fmla="*/ 16 w 104"/>
                  <a:gd name="T55" fmla="*/ 55 h 74"/>
                  <a:gd name="T56" fmla="*/ 17 w 104"/>
                  <a:gd name="T57" fmla="*/ 57 h 74"/>
                  <a:gd name="T58" fmla="*/ 18 w 104"/>
                  <a:gd name="T59" fmla="*/ 59 h 74"/>
                  <a:gd name="T60" fmla="*/ 20 w 104"/>
                  <a:gd name="T61" fmla="*/ 61 h 74"/>
                  <a:gd name="T62" fmla="*/ 21 w 104"/>
                  <a:gd name="T63" fmla="*/ 63 h 74"/>
                  <a:gd name="T64" fmla="*/ 23 w 104"/>
                  <a:gd name="T65" fmla="*/ 65 h 74"/>
                  <a:gd name="T66" fmla="*/ 25 w 104"/>
                  <a:gd name="T67" fmla="*/ 67 h 74"/>
                  <a:gd name="T68" fmla="*/ 26 w 104"/>
                  <a:gd name="T69" fmla="*/ 69 h 74"/>
                  <a:gd name="T70" fmla="*/ 28 w 104"/>
                  <a:gd name="T71" fmla="*/ 71 h 74"/>
                  <a:gd name="T72" fmla="*/ 30 w 104"/>
                  <a:gd name="T73" fmla="*/ 73 h 74"/>
                  <a:gd name="T74" fmla="*/ 31 w 104"/>
                  <a:gd name="T75" fmla="*/ 74 h 74"/>
                  <a:gd name="T76" fmla="*/ 0 w 104"/>
                  <a:gd name="T7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 h="74">
                    <a:moveTo>
                      <a:pt x="0" y="0"/>
                    </a:moveTo>
                    <a:lnTo>
                      <a:pt x="0" y="1"/>
                    </a:lnTo>
                    <a:lnTo>
                      <a:pt x="0" y="2"/>
                    </a:lnTo>
                    <a:lnTo>
                      <a:pt x="0" y="3"/>
                    </a:lnTo>
                    <a:lnTo>
                      <a:pt x="0" y="4"/>
                    </a:lnTo>
                    <a:lnTo>
                      <a:pt x="0" y="5"/>
                    </a:lnTo>
                    <a:lnTo>
                      <a:pt x="0" y="6"/>
                    </a:lnTo>
                    <a:lnTo>
                      <a:pt x="0" y="7"/>
                    </a:lnTo>
                    <a:lnTo>
                      <a:pt x="0" y="8"/>
                    </a:lnTo>
                    <a:lnTo>
                      <a:pt x="0" y="9"/>
                    </a:lnTo>
                    <a:lnTo>
                      <a:pt x="0" y="10"/>
                    </a:lnTo>
                    <a:lnTo>
                      <a:pt x="1" y="11"/>
                    </a:lnTo>
                    <a:lnTo>
                      <a:pt x="1" y="12"/>
                    </a:lnTo>
                    <a:lnTo>
                      <a:pt x="1" y="13"/>
                    </a:lnTo>
                    <a:lnTo>
                      <a:pt x="1" y="14"/>
                    </a:lnTo>
                    <a:lnTo>
                      <a:pt x="1" y="15"/>
                    </a:lnTo>
                    <a:lnTo>
                      <a:pt x="1" y="16"/>
                    </a:lnTo>
                    <a:lnTo>
                      <a:pt x="1" y="17"/>
                    </a:lnTo>
                    <a:lnTo>
                      <a:pt x="2" y="18"/>
                    </a:lnTo>
                    <a:lnTo>
                      <a:pt x="2" y="19"/>
                    </a:lnTo>
                    <a:lnTo>
                      <a:pt x="2" y="20"/>
                    </a:lnTo>
                    <a:lnTo>
                      <a:pt x="2" y="21"/>
                    </a:lnTo>
                    <a:lnTo>
                      <a:pt x="2" y="22"/>
                    </a:lnTo>
                    <a:lnTo>
                      <a:pt x="3" y="23"/>
                    </a:lnTo>
                    <a:lnTo>
                      <a:pt x="3" y="24"/>
                    </a:lnTo>
                    <a:lnTo>
                      <a:pt x="3" y="25"/>
                    </a:lnTo>
                    <a:lnTo>
                      <a:pt x="3" y="26"/>
                    </a:lnTo>
                    <a:lnTo>
                      <a:pt x="4" y="27"/>
                    </a:lnTo>
                    <a:lnTo>
                      <a:pt x="4" y="28"/>
                    </a:lnTo>
                    <a:lnTo>
                      <a:pt x="4" y="29"/>
                    </a:lnTo>
                    <a:lnTo>
                      <a:pt x="4" y="30"/>
                    </a:lnTo>
                    <a:lnTo>
                      <a:pt x="5" y="31"/>
                    </a:lnTo>
                    <a:lnTo>
                      <a:pt x="5" y="32"/>
                    </a:lnTo>
                    <a:lnTo>
                      <a:pt x="5" y="33"/>
                    </a:lnTo>
                    <a:lnTo>
                      <a:pt x="6" y="34"/>
                    </a:lnTo>
                    <a:lnTo>
                      <a:pt x="6" y="35"/>
                    </a:lnTo>
                    <a:lnTo>
                      <a:pt x="6" y="36"/>
                    </a:lnTo>
                    <a:lnTo>
                      <a:pt x="7" y="37"/>
                    </a:lnTo>
                    <a:lnTo>
                      <a:pt x="7" y="38"/>
                    </a:lnTo>
                    <a:lnTo>
                      <a:pt x="8" y="39"/>
                    </a:lnTo>
                    <a:lnTo>
                      <a:pt x="8" y="40"/>
                    </a:lnTo>
                    <a:lnTo>
                      <a:pt x="8" y="41"/>
                    </a:lnTo>
                    <a:lnTo>
                      <a:pt x="9" y="42"/>
                    </a:lnTo>
                    <a:lnTo>
                      <a:pt x="9" y="43"/>
                    </a:lnTo>
                    <a:lnTo>
                      <a:pt x="10" y="44"/>
                    </a:lnTo>
                    <a:lnTo>
                      <a:pt x="10" y="45"/>
                    </a:lnTo>
                    <a:lnTo>
                      <a:pt x="11" y="46"/>
                    </a:lnTo>
                    <a:lnTo>
                      <a:pt x="11" y="47"/>
                    </a:lnTo>
                    <a:lnTo>
                      <a:pt x="12" y="48"/>
                    </a:lnTo>
                    <a:lnTo>
                      <a:pt x="12" y="49"/>
                    </a:lnTo>
                    <a:lnTo>
                      <a:pt x="13" y="50"/>
                    </a:lnTo>
                    <a:lnTo>
                      <a:pt x="13" y="51"/>
                    </a:lnTo>
                    <a:lnTo>
                      <a:pt x="14" y="52"/>
                    </a:lnTo>
                    <a:lnTo>
                      <a:pt x="15" y="53"/>
                    </a:lnTo>
                    <a:lnTo>
                      <a:pt x="15" y="54"/>
                    </a:lnTo>
                    <a:lnTo>
                      <a:pt x="16" y="55"/>
                    </a:lnTo>
                    <a:lnTo>
                      <a:pt x="16" y="56"/>
                    </a:lnTo>
                    <a:lnTo>
                      <a:pt x="17" y="57"/>
                    </a:lnTo>
                    <a:lnTo>
                      <a:pt x="18" y="58"/>
                    </a:lnTo>
                    <a:lnTo>
                      <a:pt x="18" y="59"/>
                    </a:lnTo>
                    <a:lnTo>
                      <a:pt x="19" y="60"/>
                    </a:lnTo>
                    <a:lnTo>
                      <a:pt x="20" y="61"/>
                    </a:lnTo>
                    <a:lnTo>
                      <a:pt x="21" y="62"/>
                    </a:lnTo>
                    <a:lnTo>
                      <a:pt x="21" y="63"/>
                    </a:lnTo>
                    <a:lnTo>
                      <a:pt x="22" y="64"/>
                    </a:lnTo>
                    <a:lnTo>
                      <a:pt x="23" y="65"/>
                    </a:lnTo>
                    <a:lnTo>
                      <a:pt x="24" y="66"/>
                    </a:lnTo>
                    <a:lnTo>
                      <a:pt x="25" y="67"/>
                    </a:lnTo>
                    <a:lnTo>
                      <a:pt x="25" y="68"/>
                    </a:lnTo>
                    <a:lnTo>
                      <a:pt x="26" y="69"/>
                    </a:lnTo>
                    <a:lnTo>
                      <a:pt x="27" y="70"/>
                    </a:lnTo>
                    <a:lnTo>
                      <a:pt x="28" y="71"/>
                    </a:lnTo>
                    <a:lnTo>
                      <a:pt x="29" y="72"/>
                    </a:lnTo>
                    <a:lnTo>
                      <a:pt x="30" y="73"/>
                    </a:lnTo>
                    <a:lnTo>
                      <a:pt x="31" y="74"/>
                    </a:lnTo>
                    <a:lnTo>
                      <a:pt x="31" y="74"/>
                    </a:lnTo>
                    <a:lnTo>
                      <a:pt x="104" y="0"/>
                    </a:lnTo>
                    <a:lnTo>
                      <a:pt x="0" y="0"/>
                    </a:lnTo>
                    <a:close/>
                  </a:path>
                </a:pathLst>
              </a:custGeom>
              <a:solidFill>
                <a:srgbClr val="289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sp>
            <p:nvSpPr>
              <p:cNvPr id="495" name="Freeform 423"/>
              <p:cNvSpPr>
                <a:spLocks/>
              </p:cNvSpPr>
              <p:nvPr/>
            </p:nvSpPr>
            <p:spPr bwMode="auto">
              <a:xfrm>
                <a:off x="5899944" y="3457825"/>
                <a:ext cx="263525" cy="187325"/>
              </a:xfrm>
              <a:custGeom>
                <a:avLst/>
                <a:gdLst>
                  <a:gd name="T0" fmla="*/ 75 w 105"/>
                  <a:gd name="T1" fmla="*/ 73 h 74"/>
                  <a:gd name="T2" fmla="*/ 77 w 105"/>
                  <a:gd name="T3" fmla="*/ 71 h 74"/>
                  <a:gd name="T4" fmla="*/ 79 w 105"/>
                  <a:gd name="T5" fmla="*/ 69 h 74"/>
                  <a:gd name="T6" fmla="*/ 80 w 105"/>
                  <a:gd name="T7" fmla="*/ 67 h 74"/>
                  <a:gd name="T8" fmla="*/ 82 w 105"/>
                  <a:gd name="T9" fmla="*/ 65 h 74"/>
                  <a:gd name="T10" fmla="*/ 84 w 105"/>
                  <a:gd name="T11" fmla="*/ 63 h 74"/>
                  <a:gd name="T12" fmla="*/ 85 w 105"/>
                  <a:gd name="T13" fmla="*/ 61 h 74"/>
                  <a:gd name="T14" fmla="*/ 87 w 105"/>
                  <a:gd name="T15" fmla="*/ 59 h 74"/>
                  <a:gd name="T16" fmla="*/ 88 w 105"/>
                  <a:gd name="T17" fmla="*/ 57 h 74"/>
                  <a:gd name="T18" fmla="*/ 89 w 105"/>
                  <a:gd name="T19" fmla="*/ 55 h 74"/>
                  <a:gd name="T20" fmla="*/ 90 w 105"/>
                  <a:gd name="T21" fmla="*/ 53 h 74"/>
                  <a:gd name="T22" fmla="*/ 92 w 105"/>
                  <a:gd name="T23" fmla="*/ 51 h 74"/>
                  <a:gd name="T24" fmla="*/ 93 w 105"/>
                  <a:gd name="T25" fmla="*/ 49 h 74"/>
                  <a:gd name="T26" fmla="*/ 94 w 105"/>
                  <a:gd name="T27" fmla="*/ 47 h 74"/>
                  <a:gd name="T28" fmla="*/ 95 w 105"/>
                  <a:gd name="T29" fmla="*/ 45 h 74"/>
                  <a:gd name="T30" fmla="*/ 96 w 105"/>
                  <a:gd name="T31" fmla="*/ 43 h 74"/>
                  <a:gd name="T32" fmla="*/ 97 w 105"/>
                  <a:gd name="T33" fmla="*/ 41 h 74"/>
                  <a:gd name="T34" fmla="*/ 97 w 105"/>
                  <a:gd name="T35" fmla="*/ 39 h 74"/>
                  <a:gd name="T36" fmla="*/ 98 w 105"/>
                  <a:gd name="T37" fmla="*/ 37 h 74"/>
                  <a:gd name="T38" fmla="*/ 99 w 105"/>
                  <a:gd name="T39" fmla="*/ 35 h 74"/>
                  <a:gd name="T40" fmla="*/ 100 w 105"/>
                  <a:gd name="T41" fmla="*/ 33 h 74"/>
                  <a:gd name="T42" fmla="*/ 100 w 105"/>
                  <a:gd name="T43" fmla="*/ 31 h 74"/>
                  <a:gd name="T44" fmla="*/ 101 w 105"/>
                  <a:gd name="T45" fmla="*/ 29 h 74"/>
                  <a:gd name="T46" fmla="*/ 101 w 105"/>
                  <a:gd name="T47" fmla="*/ 27 h 74"/>
                  <a:gd name="T48" fmla="*/ 102 w 105"/>
                  <a:gd name="T49" fmla="*/ 25 h 74"/>
                  <a:gd name="T50" fmla="*/ 102 w 105"/>
                  <a:gd name="T51" fmla="*/ 23 h 74"/>
                  <a:gd name="T52" fmla="*/ 103 w 105"/>
                  <a:gd name="T53" fmla="*/ 21 h 74"/>
                  <a:gd name="T54" fmla="*/ 103 w 105"/>
                  <a:gd name="T55" fmla="*/ 19 h 74"/>
                  <a:gd name="T56" fmla="*/ 104 w 105"/>
                  <a:gd name="T57" fmla="*/ 17 h 74"/>
                  <a:gd name="T58" fmla="*/ 104 w 105"/>
                  <a:gd name="T59" fmla="*/ 15 h 74"/>
                  <a:gd name="T60" fmla="*/ 104 w 105"/>
                  <a:gd name="T61" fmla="*/ 13 h 74"/>
                  <a:gd name="T62" fmla="*/ 104 w 105"/>
                  <a:gd name="T63" fmla="*/ 11 h 74"/>
                  <a:gd name="T64" fmla="*/ 105 w 105"/>
                  <a:gd name="T65" fmla="*/ 9 h 74"/>
                  <a:gd name="T66" fmla="*/ 105 w 105"/>
                  <a:gd name="T67" fmla="*/ 7 h 74"/>
                  <a:gd name="T68" fmla="*/ 105 w 105"/>
                  <a:gd name="T69" fmla="*/ 5 h 74"/>
                  <a:gd name="T70" fmla="*/ 105 w 105"/>
                  <a:gd name="T71" fmla="*/ 3 h 74"/>
                  <a:gd name="T72" fmla="*/ 105 w 105"/>
                  <a:gd name="T73" fmla="*/ 1 h 74"/>
                  <a:gd name="T74" fmla="*/ 105 w 105"/>
                  <a:gd name="T75" fmla="*/ 0 h 74"/>
                  <a:gd name="T76" fmla="*/ 74 w 105"/>
                  <a:gd name="T7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5" h="74">
                    <a:moveTo>
                      <a:pt x="74" y="74"/>
                    </a:moveTo>
                    <a:lnTo>
                      <a:pt x="75" y="73"/>
                    </a:lnTo>
                    <a:lnTo>
                      <a:pt x="76" y="72"/>
                    </a:lnTo>
                    <a:lnTo>
                      <a:pt x="77" y="71"/>
                    </a:lnTo>
                    <a:lnTo>
                      <a:pt x="78" y="70"/>
                    </a:lnTo>
                    <a:lnTo>
                      <a:pt x="79" y="69"/>
                    </a:lnTo>
                    <a:lnTo>
                      <a:pt x="80" y="68"/>
                    </a:lnTo>
                    <a:lnTo>
                      <a:pt x="80" y="67"/>
                    </a:lnTo>
                    <a:lnTo>
                      <a:pt x="81" y="66"/>
                    </a:lnTo>
                    <a:lnTo>
                      <a:pt x="82" y="65"/>
                    </a:lnTo>
                    <a:lnTo>
                      <a:pt x="83" y="64"/>
                    </a:lnTo>
                    <a:lnTo>
                      <a:pt x="84" y="63"/>
                    </a:lnTo>
                    <a:lnTo>
                      <a:pt x="84" y="62"/>
                    </a:lnTo>
                    <a:lnTo>
                      <a:pt x="85" y="61"/>
                    </a:lnTo>
                    <a:lnTo>
                      <a:pt x="86" y="60"/>
                    </a:lnTo>
                    <a:lnTo>
                      <a:pt x="87" y="59"/>
                    </a:lnTo>
                    <a:lnTo>
                      <a:pt x="87" y="58"/>
                    </a:lnTo>
                    <a:lnTo>
                      <a:pt x="88" y="57"/>
                    </a:lnTo>
                    <a:lnTo>
                      <a:pt x="89" y="56"/>
                    </a:lnTo>
                    <a:lnTo>
                      <a:pt x="89" y="55"/>
                    </a:lnTo>
                    <a:lnTo>
                      <a:pt x="90" y="54"/>
                    </a:lnTo>
                    <a:lnTo>
                      <a:pt x="90" y="53"/>
                    </a:lnTo>
                    <a:lnTo>
                      <a:pt x="91" y="52"/>
                    </a:lnTo>
                    <a:lnTo>
                      <a:pt x="92" y="51"/>
                    </a:lnTo>
                    <a:lnTo>
                      <a:pt x="92" y="50"/>
                    </a:lnTo>
                    <a:lnTo>
                      <a:pt x="93" y="49"/>
                    </a:lnTo>
                    <a:lnTo>
                      <a:pt x="93" y="48"/>
                    </a:lnTo>
                    <a:lnTo>
                      <a:pt x="94" y="47"/>
                    </a:lnTo>
                    <a:lnTo>
                      <a:pt x="94" y="46"/>
                    </a:lnTo>
                    <a:lnTo>
                      <a:pt x="95" y="45"/>
                    </a:lnTo>
                    <a:lnTo>
                      <a:pt x="95" y="44"/>
                    </a:lnTo>
                    <a:lnTo>
                      <a:pt x="96" y="43"/>
                    </a:lnTo>
                    <a:lnTo>
                      <a:pt x="96" y="42"/>
                    </a:lnTo>
                    <a:lnTo>
                      <a:pt x="97" y="41"/>
                    </a:lnTo>
                    <a:lnTo>
                      <a:pt x="97" y="40"/>
                    </a:lnTo>
                    <a:lnTo>
                      <a:pt x="97" y="39"/>
                    </a:lnTo>
                    <a:lnTo>
                      <a:pt x="98" y="38"/>
                    </a:lnTo>
                    <a:lnTo>
                      <a:pt x="98" y="37"/>
                    </a:lnTo>
                    <a:lnTo>
                      <a:pt x="99" y="36"/>
                    </a:lnTo>
                    <a:lnTo>
                      <a:pt x="99" y="35"/>
                    </a:lnTo>
                    <a:lnTo>
                      <a:pt x="99" y="34"/>
                    </a:lnTo>
                    <a:lnTo>
                      <a:pt x="100" y="33"/>
                    </a:lnTo>
                    <a:lnTo>
                      <a:pt x="100" y="32"/>
                    </a:lnTo>
                    <a:lnTo>
                      <a:pt x="100" y="31"/>
                    </a:lnTo>
                    <a:lnTo>
                      <a:pt x="101" y="30"/>
                    </a:lnTo>
                    <a:lnTo>
                      <a:pt x="101" y="29"/>
                    </a:lnTo>
                    <a:lnTo>
                      <a:pt x="101" y="28"/>
                    </a:lnTo>
                    <a:lnTo>
                      <a:pt x="101" y="27"/>
                    </a:lnTo>
                    <a:lnTo>
                      <a:pt x="102" y="26"/>
                    </a:lnTo>
                    <a:lnTo>
                      <a:pt x="102" y="25"/>
                    </a:lnTo>
                    <a:lnTo>
                      <a:pt x="102" y="24"/>
                    </a:lnTo>
                    <a:lnTo>
                      <a:pt x="102" y="23"/>
                    </a:lnTo>
                    <a:lnTo>
                      <a:pt x="103" y="22"/>
                    </a:lnTo>
                    <a:lnTo>
                      <a:pt x="103" y="21"/>
                    </a:lnTo>
                    <a:lnTo>
                      <a:pt x="103" y="20"/>
                    </a:lnTo>
                    <a:lnTo>
                      <a:pt x="103" y="19"/>
                    </a:lnTo>
                    <a:lnTo>
                      <a:pt x="103" y="18"/>
                    </a:lnTo>
                    <a:lnTo>
                      <a:pt x="104" y="17"/>
                    </a:lnTo>
                    <a:lnTo>
                      <a:pt x="104" y="16"/>
                    </a:lnTo>
                    <a:lnTo>
                      <a:pt x="104" y="15"/>
                    </a:lnTo>
                    <a:lnTo>
                      <a:pt x="104" y="14"/>
                    </a:lnTo>
                    <a:lnTo>
                      <a:pt x="104" y="13"/>
                    </a:lnTo>
                    <a:lnTo>
                      <a:pt x="104" y="12"/>
                    </a:lnTo>
                    <a:lnTo>
                      <a:pt x="104" y="11"/>
                    </a:lnTo>
                    <a:lnTo>
                      <a:pt x="105" y="10"/>
                    </a:lnTo>
                    <a:lnTo>
                      <a:pt x="105" y="9"/>
                    </a:lnTo>
                    <a:lnTo>
                      <a:pt x="105" y="8"/>
                    </a:lnTo>
                    <a:lnTo>
                      <a:pt x="105" y="7"/>
                    </a:lnTo>
                    <a:lnTo>
                      <a:pt x="105" y="6"/>
                    </a:lnTo>
                    <a:lnTo>
                      <a:pt x="105" y="5"/>
                    </a:lnTo>
                    <a:lnTo>
                      <a:pt x="105" y="4"/>
                    </a:lnTo>
                    <a:lnTo>
                      <a:pt x="105" y="3"/>
                    </a:lnTo>
                    <a:lnTo>
                      <a:pt x="105" y="2"/>
                    </a:lnTo>
                    <a:lnTo>
                      <a:pt x="105" y="1"/>
                    </a:lnTo>
                    <a:lnTo>
                      <a:pt x="105" y="0"/>
                    </a:lnTo>
                    <a:lnTo>
                      <a:pt x="105" y="0"/>
                    </a:lnTo>
                    <a:lnTo>
                      <a:pt x="0" y="0"/>
                    </a:lnTo>
                    <a:lnTo>
                      <a:pt x="74" y="7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defTabSz="742950">
                  <a:buClrTx/>
                </a:pPr>
                <a:endParaRPr lang="en-GB" sz="1463" kern="1200">
                  <a:solidFill>
                    <a:prstClr val="black"/>
                  </a:solidFill>
                  <a:latin typeface="Arial" panose="020B0604020202020204" pitchFamily="34" charset="0"/>
                  <a:ea typeface="+mn-ea"/>
                  <a:cs typeface="Arial" panose="020B0604020202020204" pitchFamily="34" charset="0"/>
                </a:endParaRPr>
              </a:p>
            </p:txBody>
          </p:sp>
        </p:grpSp>
      </p:grpSp>
      <p:sp>
        <p:nvSpPr>
          <p:cNvPr id="3" name="Title 2"/>
          <p:cNvSpPr>
            <a:spLocks noGrp="1"/>
          </p:cNvSpPr>
          <p:nvPr>
            <p:ph type="title"/>
          </p:nvPr>
        </p:nvSpPr>
        <p:spPr/>
        <p:txBody>
          <a:bodyPr/>
          <a:lstStyle/>
          <a:p>
            <a:r>
              <a:rPr lang="en-US" altLang="en-US" sz="2000" kern="1200" dirty="0">
                <a:solidFill>
                  <a:srgbClr val="000000"/>
                </a:solidFill>
                <a:cs typeface="Arial" panose="020B0604020202020204" pitchFamily="34" charset="0"/>
              </a:rPr>
              <a:t>Approved Grants, </a:t>
            </a:r>
            <a:r>
              <a:rPr lang="en-US" altLang="en-US" sz="2000" kern="1200" dirty="0" smtClean="0">
                <a:solidFill>
                  <a:srgbClr val="000000"/>
                </a:solidFill>
                <a:cs typeface="Arial" panose="020B0604020202020204" pitchFamily="34" charset="0"/>
              </a:rPr>
              <a:t>Tanzania</a:t>
            </a:r>
            <a:endParaRPr lang="en-US" dirty="0"/>
          </a:p>
        </p:txBody>
      </p:sp>
    </p:spTree>
    <p:extLst>
      <p:ext uri="{BB962C8B-B14F-4D97-AF65-F5344CB8AC3E}">
        <p14:creationId xmlns:p14="http://schemas.microsoft.com/office/powerpoint/2010/main" val="93467060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878341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76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4" name="Text Placeholder 3"/>
          <p:cNvSpPr>
            <a:spLocks noGrp="1"/>
          </p:cNvSpPr>
          <p:nvPr>
            <p:ph type="body" idx="1"/>
          </p:nvPr>
        </p:nvSpPr>
        <p:spPr/>
        <p:txBody>
          <a:bodyPr/>
          <a:lstStyle/>
          <a:p>
            <a:r>
              <a:rPr lang="en-US" dirty="0" smtClean="0"/>
              <a:t>  </a:t>
            </a:r>
            <a:endParaRPr lang="en-US" dirty="0"/>
          </a:p>
        </p:txBody>
      </p:sp>
      <p:sp>
        <p:nvSpPr>
          <p:cNvPr id="3" name="Title 2"/>
          <p:cNvSpPr>
            <a:spLocks noGrp="1"/>
          </p:cNvSpPr>
          <p:nvPr>
            <p:ph type="title"/>
          </p:nvPr>
        </p:nvSpPr>
        <p:spPr>
          <a:noFill/>
          <a:ln>
            <a:noFill/>
          </a:ln>
        </p:spPr>
        <p:txBody>
          <a:bodyPr spcFirstLastPara="1" wrap="square" lIns="0" tIns="0" rIns="0" bIns="0" anchor="b" anchorCtr="0"/>
          <a:lstStyle/>
          <a:p>
            <a:pPr defTabSz="914395"/>
            <a:r>
              <a:rPr lang="en-US" dirty="0">
                <a:solidFill>
                  <a:schemeClr val="tx1"/>
                </a:solidFill>
              </a:rPr>
              <a:t>Tanzania </a:t>
            </a:r>
            <a:r>
              <a:rPr lang="en-US" dirty="0" smtClean="0">
                <a:solidFill>
                  <a:schemeClr val="tx1"/>
                </a:solidFill>
              </a:rPr>
              <a:t>Cropping Seasons </a:t>
            </a:r>
            <a:endParaRPr lang="en-US" dirty="0">
              <a:solidFill>
                <a:schemeClr val="tx1"/>
              </a:solidFill>
            </a:endParaRPr>
          </a:p>
        </p:txBody>
      </p:sp>
      <p:pic>
        <p:nvPicPr>
          <p:cNvPr id="5" name="Picture 4"/>
          <p:cNvPicPr/>
          <p:nvPr/>
        </p:nvPicPr>
        <p:blipFill>
          <a:blip r:embed="rId7">
            <a:extLst>
              <a:ext uri="{28A0092B-C50C-407E-A947-70E740481C1C}">
                <a14:useLocalDpi xmlns:a14="http://schemas.microsoft.com/office/drawing/2010/main" val="0"/>
              </a:ext>
            </a:extLst>
          </a:blip>
          <a:srcRect/>
          <a:stretch>
            <a:fillRect/>
          </a:stretch>
        </p:blipFill>
        <p:spPr bwMode="auto">
          <a:xfrm>
            <a:off x="8552121" y="1506279"/>
            <a:ext cx="951230" cy="534035"/>
          </a:xfrm>
          <a:prstGeom prst="rect">
            <a:avLst/>
          </a:prstGeom>
          <a:noFill/>
          <a:ln>
            <a:noFill/>
          </a:ln>
        </p:spPr>
      </p:pic>
      <p:pic>
        <p:nvPicPr>
          <p:cNvPr id="6" name="Picture 5"/>
          <p:cNvPicPr/>
          <p:nvPr/>
        </p:nvPicPr>
        <p:blipFill>
          <a:blip r:embed="rId8">
            <a:extLst>
              <a:ext uri="{28A0092B-C50C-407E-A947-70E740481C1C}">
                <a14:useLocalDpi xmlns:a14="http://schemas.microsoft.com/office/drawing/2010/main" val="0"/>
              </a:ext>
            </a:extLst>
          </a:blip>
          <a:srcRect/>
          <a:stretch>
            <a:fillRect/>
          </a:stretch>
        </p:blipFill>
        <p:spPr bwMode="auto">
          <a:xfrm>
            <a:off x="457200" y="1103087"/>
            <a:ext cx="7848600" cy="4746170"/>
          </a:xfrm>
          <a:prstGeom prst="rect">
            <a:avLst/>
          </a:prstGeom>
          <a:noFill/>
          <a:ln>
            <a:noFill/>
          </a:ln>
        </p:spPr>
      </p:pic>
    </p:spTree>
    <p:extLst>
      <p:ext uri="{BB962C8B-B14F-4D97-AF65-F5344CB8AC3E}">
        <p14:creationId xmlns:p14="http://schemas.microsoft.com/office/powerpoint/2010/main" val="131446935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50740" y="134053"/>
            <a:ext cx="7245459" cy="582389"/>
          </a:xfrm>
          <a:prstGeom prst="rect">
            <a:avLst/>
          </a:prstGeom>
          <a:noFill/>
          <a:ln>
            <a:noFill/>
          </a:ln>
        </p:spPr>
        <p:txBody>
          <a:bodyPr spcFirstLastPara="1" wrap="square" lIns="0" tIns="0" rIns="0" bIns="0" anchor="b" anchorCtr="0"/>
          <a:lstStyle>
            <a:defPPr marR="0" lvl="0" algn="l" rtl="0">
              <a:lnSpc>
                <a:spcPct val="100000"/>
              </a:lnSpc>
              <a:spcBef>
                <a:spcPts val="0"/>
              </a:spcBef>
              <a:spcAft>
                <a:spcPts val="0"/>
              </a:spcAft>
            </a:defPPr>
            <a:lvl1pPr marL="0" indent="0" defTabSz="914395" eaLnBrk="1" fontAlgn="auto" latinLnBrk="0" hangingPunct="1">
              <a:lnSpc>
                <a:spcPct val="90000"/>
              </a:lnSpc>
              <a:buClr>
                <a:schemeClr val="dk1"/>
              </a:buClr>
              <a:buSzPts val="2200"/>
              <a:buNone/>
              <a:tabLst/>
              <a:defRPr lang="en-US" sz="2200" b="1" smtClean="0">
                <a:solidFill>
                  <a:schemeClr val="dk1"/>
                </a:solidFill>
              </a:defRPr>
            </a:lvl1pPr>
          </a:lstStyle>
          <a:p>
            <a:r>
              <a:rPr lang="en-US" dirty="0"/>
              <a:t>Details of Existing Portfolio of Investments in </a:t>
            </a:r>
            <a:r>
              <a:rPr lang="en-US" dirty="0" smtClean="0"/>
              <a:t>Tanzania</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261697488"/>
              </p:ext>
            </p:extLst>
          </p:nvPr>
        </p:nvGraphicFramePr>
        <p:xfrm>
          <a:off x="332509" y="1025244"/>
          <a:ext cx="9088582" cy="5697840"/>
        </p:xfrm>
        <a:graphic>
          <a:graphicData uri="http://schemas.openxmlformats.org/drawingml/2006/table">
            <a:tbl>
              <a:tblPr>
                <a:tableStyleId>{333DCFE8-B7AC-4D4A-B88C-A1AB9587156B}</a:tableStyleId>
              </a:tblPr>
              <a:tblGrid>
                <a:gridCol w="1255659">
                  <a:extLst>
                    <a:ext uri="{9D8B030D-6E8A-4147-A177-3AD203B41FA5}">
                      <a16:colId xmlns:a16="http://schemas.microsoft.com/office/drawing/2014/main" xmlns="" val="2824755321"/>
                    </a:ext>
                  </a:extLst>
                </a:gridCol>
                <a:gridCol w="3898766">
                  <a:extLst>
                    <a:ext uri="{9D8B030D-6E8A-4147-A177-3AD203B41FA5}">
                      <a16:colId xmlns:a16="http://schemas.microsoft.com/office/drawing/2014/main" xmlns="" val="1936335954"/>
                    </a:ext>
                  </a:extLst>
                </a:gridCol>
                <a:gridCol w="2270164">
                  <a:extLst>
                    <a:ext uri="{9D8B030D-6E8A-4147-A177-3AD203B41FA5}">
                      <a16:colId xmlns:a16="http://schemas.microsoft.com/office/drawing/2014/main" xmlns="" val="2982135752"/>
                    </a:ext>
                  </a:extLst>
                </a:gridCol>
                <a:gridCol w="1663993">
                  <a:extLst>
                    <a:ext uri="{9D8B030D-6E8A-4147-A177-3AD203B41FA5}">
                      <a16:colId xmlns:a16="http://schemas.microsoft.com/office/drawing/2014/main" xmlns="" val="2878420629"/>
                    </a:ext>
                  </a:extLst>
                </a:gridCol>
              </a:tblGrid>
              <a:tr h="94693">
                <a:tc>
                  <a:txBody>
                    <a:bodyPr/>
                    <a:lstStyle/>
                    <a:p>
                      <a:pPr algn="l" fontAlgn="b"/>
                      <a:r>
                        <a:rPr lang="en-US" sz="1200" u="none" strike="noStrike" dirty="0">
                          <a:effectLst/>
                        </a:rPr>
                        <a:t>Area of work</a:t>
                      </a:r>
                      <a:endParaRPr lang="en-US" sz="1200" b="1" i="0" u="none" strike="noStrike" dirty="0">
                        <a:effectLst/>
                        <a:latin typeface="Calibri" panose="020F0502020204030204" pitchFamily="34" charset="0"/>
                      </a:endParaRPr>
                    </a:p>
                  </a:txBody>
                  <a:tcPr marL="1904" marR="1904" marT="1904" marB="0" anchor="b"/>
                </a:tc>
                <a:tc>
                  <a:txBody>
                    <a:bodyPr/>
                    <a:lstStyle/>
                    <a:p>
                      <a:pPr algn="l" fontAlgn="b"/>
                      <a:r>
                        <a:rPr lang="en-US" sz="1200" u="none" strike="noStrike">
                          <a:effectLst/>
                        </a:rPr>
                        <a:t>Description</a:t>
                      </a:r>
                      <a:endParaRPr lang="en-US" sz="1200" b="1" i="0" u="none" strike="noStrike">
                        <a:effectLst/>
                        <a:latin typeface="Calibri" panose="020F0502020204030204" pitchFamily="34" charset="0"/>
                      </a:endParaRPr>
                    </a:p>
                  </a:txBody>
                  <a:tcPr marL="1904" marR="1904" marT="1904" marB="0" anchor="b"/>
                </a:tc>
                <a:tc>
                  <a:txBody>
                    <a:bodyPr/>
                    <a:lstStyle/>
                    <a:p>
                      <a:pPr algn="l" fontAlgn="b"/>
                      <a:r>
                        <a:rPr lang="en-US" sz="1200" u="none" strike="noStrike">
                          <a:effectLst/>
                        </a:rPr>
                        <a:t>Partners</a:t>
                      </a:r>
                      <a:endParaRPr lang="en-US" sz="1200" b="1" i="0" u="none" strike="noStrike">
                        <a:effectLst/>
                        <a:latin typeface="Calibri" panose="020F0502020204030204" pitchFamily="34" charset="0"/>
                      </a:endParaRPr>
                    </a:p>
                  </a:txBody>
                  <a:tcPr marL="1904" marR="1904" marT="1904" marB="0" anchor="b"/>
                </a:tc>
                <a:tc>
                  <a:txBody>
                    <a:bodyPr/>
                    <a:lstStyle/>
                    <a:p>
                      <a:pPr algn="l" fontAlgn="b"/>
                      <a:r>
                        <a:rPr lang="en-US" sz="1200" u="none" strike="noStrike">
                          <a:effectLst/>
                        </a:rPr>
                        <a:t>Crops/value chain</a:t>
                      </a:r>
                      <a:endParaRPr lang="en-US" sz="1200" b="1" i="0" u="none" strike="noStrike">
                        <a:effectLst/>
                        <a:latin typeface="Calibri" panose="020F0502020204030204" pitchFamily="34" charset="0"/>
                      </a:endParaRPr>
                    </a:p>
                  </a:txBody>
                  <a:tcPr marL="1904" marR="1904" marT="1904" marB="0" anchor="b"/>
                </a:tc>
                <a:extLst>
                  <a:ext uri="{0D108BD9-81ED-4DB2-BD59-A6C34878D82A}">
                    <a16:rowId xmlns:a16="http://schemas.microsoft.com/office/drawing/2014/main" xmlns="" val="1330352"/>
                  </a:ext>
                </a:extLst>
              </a:tr>
              <a:tr h="135275">
                <a:tc>
                  <a:txBody>
                    <a:bodyPr/>
                    <a:lstStyle/>
                    <a:p>
                      <a:pPr algn="l" fontAlgn="b"/>
                      <a:r>
                        <a:rPr lang="en-US" sz="1200" u="none" strike="noStrike">
                          <a:effectLst/>
                        </a:rPr>
                        <a:t>Tanzani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To support a follow up survey on adoption of SOPs and use of MLN rapid diagnostics kits</a:t>
                      </a:r>
                      <a:br>
                        <a:rPr lang="en-US" sz="1200" u="none" strike="noStrike" dirty="0">
                          <a:effectLst/>
                        </a:rPr>
                      </a:br>
                      <a:r>
                        <a:rPr lang="en-US" sz="1200" u="none" strike="noStrike" dirty="0">
                          <a:effectLst/>
                        </a:rPr>
                        <a:t>(</a:t>
                      </a:r>
                      <a:r>
                        <a:rPr lang="en-US" sz="1200" u="none" strike="noStrike" dirty="0" err="1">
                          <a:effectLst/>
                        </a:rPr>
                        <a:t>Agristrips</a:t>
                      </a:r>
                      <a:r>
                        <a:rPr lang="en-US" sz="1200" u="none" strike="noStrike" dirty="0">
                          <a:effectLst/>
                        </a:rPr>
                        <a:t>) that were specifically piloted in 2018.</a:t>
                      </a:r>
                      <a:endParaRPr lang="en-US" sz="1200" b="0" i="0" u="none" strike="noStrike" dirty="0">
                        <a:effectLst/>
                        <a:latin typeface="Calibri" panose="020F0502020204030204" pitchFamily="34" charset="0"/>
                      </a:endParaRPr>
                    </a:p>
                  </a:txBody>
                  <a:tcPr marL="1904" marR="1904" marT="1904" marB="0" anchor="b"/>
                </a:tc>
                <a:tc>
                  <a:txBody>
                    <a:bodyPr/>
                    <a:lstStyle/>
                    <a:p>
                      <a:pPr algn="l" fontAlgn="b"/>
                      <a:r>
                        <a:rPr lang="en-US" sz="1200" u="none" strike="noStrike" dirty="0">
                          <a:effectLst/>
                        </a:rPr>
                        <a:t>Agricultural </a:t>
                      </a:r>
                      <a:r>
                        <a:rPr lang="en-US" sz="1200" u="none" strike="noStrike" dirty="0" smtClean="0">
                          <a:effectLst/>
                        </a:rPr>
                        <a:t>Research </a:t>
                      </a:r>
                      <a:r>
                        <a:rPr lang="en-US" sz="1200" u="none" strike="noStrike" dirty="0">
                          <a:effectLst/>
                        </a:rPr>
                        <a:t>Institute-</a:t>
                      </a:r>
                      <a:r>
                        <a:rPr lang="en-US" sz="1200" u="none" strike="noStrike" dirty="0" err="1">
                          <a:effectLst/>
                        </a:rPr>
                        <a:t>Ukiriguru</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Maize</a:t>
                      </a:r>
                      <a:endParaRPr lang="en-US" sz="1200" b="0" i="0" u="none" strike="noStrike">
                        <a:effectLst/>
                        <a:latin typeface="Calibri" panose="020F0502020204030204" pitchFamily="34" charset="0"/>
                      </a:endParaRPr>
                    </a:p>
                  </a:txBody>
                  <a:tcPr marL="1904" marR="1904" marT="1904" marB="0"/>
                </a:tc>
                <a:extLst>
                  <a:ext uri="{0D108BD9-81ED-4DB2-BD59-A6C34878D82A}">
                    <a16:rowId xmlns:a16="http://schemas.microsoft.com/office/drawing/2014/main" xmlns="" val="2256937715"/>
                  </a:ext>
                </a:extLst>
              </a:tr>
              <a:tr h="135275">
                <a:tc>
                  <a:txBody>
                    <a:bodyPr/>
                    <a:lstStyle/>
                    <a:p>
                      <a:pPr algn="l" fontAlgn="b"/>
                      <a:r>
                        <a:rPr lang="en-US" sz="1200" u="none" strike="noStrike" dirty="0" smtClean="0">
                          <a:effectLst/>
                        </a:rPr>
                        <a:t>Tanzania                       </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cap="none" dirty="0" smtClean="0">
                          <a:effectLst/>
                          <a:sym typeface="Arial"/>
                        </a:rPr>
                        <a:t>e-Verification system for Agricultural Inputs in Tanzania</a:t>
                      </a:r>
                      <a:endParaRPr lang="en-US" sz="1200" b="0" i="0" u="none" strike="noStrike" dirty="0">
                        <a:effectLst/>
                        <a:latin typeface="Calibri" panose="020F0502020204030204" pitchFamily="34" charset="0"/>
                      </a:endParaRPr>
                    </a:p>
                  </a:txBody>
                  <a:tcPr marL="1904" marR="1904" marT="1904" marB="0" anchor="b"/>
                </a:tc>
                <a:tc>
                  <a:txBody>
                    <a:bodyPr/>
                    <a:lstStyle/>
                    <a:p>
                      <a:pPr algn="l" fontAlgn="b"/>
                      <a:r>
                        <a:rPr lang="en-US" sz="1200" u="none" strike="noStrike" dirty="0" err="1" smtClean="0">
                          <a:effectLst/>
                        </a:rPr>
                        <a:t>Quincewood</a:t>
                      </a:r>
                      <a:r>
                        <a:rPr lang="en-US" sz="1200" u="none" strike="noStrike" baseline="0" dirty="0" smtClean="0">
                          <a:effectLst/>
                        </a:rPr>
                        <a:t> </a:t>
                      </a:r>
                      <a:endParaRPr lang="en-US" sz="1200" b="0" i="0" u="none" strike="noStrike" dirty="0">
                        <a:effectLst/>
                        <a:latin typeface="+mn-lt"/>
                      </a:endParaRPr>
                    </a:p>
                  </a:txBody>
                  <a:tcPr marL="1904" marR="1904" marT="1904" marB="0"/>
                </a:tc>
                <a:tc>
                  <a:txBody>
                    <a:bodyPr/>
                    <a:lstStyle/>
                    <a:p>
                      <a:pPr algn="l" fontAlgn="b"/>
                      <a:r>
                        <a:rPr lang="en-US" sz="1200" u="none" strike="noStrike" dirty="0" smtClean="0">
                          <a:effectLst/>
                        </a:rPr>
                        <a:t>Inclusive Finance</a:t>
                      </a:r>
                      <a:endParaRPr lang="en-US" sz="1200" b="0" i="0" u="none" strike="noStrike" dirty="0">
                        <a:effectLst/>
                        <a:latin typeface="+mn-lt"/>
                      </a:endParaRPr>
                    </a:p>
                  </a:txBody>
                  <a:tcPr marL="1904" marR="1904" marT="1904" marB="0"/>
                </a:tc>
                <a:extLst>
                  <a:ext uri="{0D108BD9-81ED-4DB2-BD59-A6C34878D82A}">
                    <a16:rowId xmlns:a16="http://schemas.microsoft.com/office/drawing/2014/main" xmlns="" val="10002"/>
                  </a:ext>
                </a:extLst>
              </a:tr>
              <a:tr h="135275">
                <a:tc>
                  <a:txBody>
                    <a:bodyPr/>
                    <a:lstStyle/>
                    <a:p>
                      <a:pPr algn="l" fontAlgn="b"/>
                      <a:r>
                        <a:rPr lang="en-US" sz="1200" u="none" strike="noStrike" dirty="0" smtClean="0">
                          <a:effectLst/>
                        </a:rPr>
                        <a:t>Tanzania</a:t>
                      </a:r>
                      <a:endParaRPr lang="en-US" sz="1200" b="0" i="0" u="none" strike="noStrike" dirty="0">
                        <a:effectLst/>
                        <a:latin typeface="Arial" panose="020B0604020202020204" pitchFamily="34" charset="0"/>
                        <a:cs typeface="Arial" panose="020B0604020202020204" pitchFamily="34" charset="0"/>
                      </a:endParaRPr>
                    </a:p>
                  </a:txBody>
                  <a:tcPr marL="1904" marR="1904" marT="1904" marB="0"/>
                </a:tc>
                <a:tc>
                  <a:txBody>
                    <a:bodyPr/>
                    <a:lstStyle/>
                    <a:p>
                      <a:pPr algn="l" fontAlgn="b"/>
                      <a:r>
                        <a:rPr lang="en-US" sz="1200" u="none" strike="noStrike" dirty="0" smtClean="0">
                          <a:effectLst/>
                        </a:rPr>
                        <a:t>Income</a:t>
                      </a:r>
                      <a:r>
                        <a:rPr lang="en-US" sz="1200" u="none" strike="noStrike" baseline="0" dirty="0" smtClean="0">
                          <a:effectLst/>
                        </a:rPr>
                        <a:t> smoothening for smallholder farmers and Produce market access.</a:t>
                      </a:r>
                      <a:endParaRPr lang="en-US" sz="1200" b="0" i="0" u="none" strike="noStrike" dirty="0">
                        <a:effectLst/>
                        <a:latin typeface="Arial" panose="020B0604020202020204" pitchFamily="34" charset="0"/>
                        <a:cs typeface="Arial" panose="020B0604020202020204" pitchFamily="34" charset="0"/>
                      </a:endParaRPr>
                    </a:p>
                  </a:txBody>
                  <a:tcPr marL="1904" marR="1904" marT="1904" marB="0" anchor="b"/>
                </a:tc>
                <a:tc>
                  <a:txBody>
                    <a:bodyPr/>
                    <a:lstStyle/>
                    <a:p>
                      <a:pPr algn="l" fontAlgn="b"/>
                      <a:r>
                        <a:rPr lang="en-US" sz="1200" u="none" strike="noStrike" dirty="0" smtClean="0">
                          <a:effectLst/>
                        </a:rPr>
                        <a:t>SELF MF</a:t>
                      </a:r>
                      <a:endParaRPr lang="en-US" sz="1200" b="0" i="0" u="none" strike="noStrike" dirty="0">
                        <a:effectLst/>
                        <a:latin typeface="Arial" panose="020B0604020202020204" pitchFamily="34" charset="0"/>
                        <a:cs typeface="Arial" panose="020B0604020202020204" pitchFamily="34" charset="0"/>
                      </a:endParaRPr>
                    </a:p>
                  </a:txBody>
                  <a:tcPr marL="1904" marR="1904" marT="1904" marB="0"/>
                </a:tc>
                <a:tc>
                  <a:txBody>
                    <a:bodyPr/>
                    <a:lstStyle/>
                    <a:p>
                      <a:pPr marL="0" marR="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1200" u="none" strike="noStrike" dirty="0" smtClean="0">
                          <a:effectLst/>
                        </a:rPr>
                        <a:t>Inclusive Finance</a:t>
                      </a:r>
                    </a:p>
                    <a:p>
                      <a:pPr algn="l" fontAlgn="b"/>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10003"/>
                  </a:ext>
                </a:extLst>
              </a:tr>
              <a:tr h="135275">
                <a:tc>
                  <a:txBody>
                    <a:bodyPr/>
                    <a:lstStyle/>
                    <a:p>
                      <a:pPr algn="l" fontAlgn="b"/>
                      <a:r>
                        <a:rPr lang="en-US" sz="1200" u="none" strike="noStrike">
                          <a:effectLst/>
                        </a:rPr>
                        <a:t>Tanzani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Improving Smallholder Farmers Resilience through crop insurance '</a:t>
                      </a:r>
                      <a:r>
                        <a:rPr lang="en-US" sz="1200" u="none" strike="noStrike" dirty="0" err="1">
                          <a:effectLst/>
                        </a:rPr>
                        <a:t>Wekeza</a:t>
                      </a:r>
                      <a:r>
                        <a:rPr lang="en-US" sz="1200" u="none" strike="noStrike" dirty="0">
                          <a:effectLst/>
                        </a:rPr>
                        <a:t> </a:t>
                      </a:r>
                      <a:r>
                        <a:rPr lang="en-US" sz="1200" u="none" strike="noStrike" dirty="0" err="1">
                          <a:effectLst/>
                        </a:rPr>
                        <a:t>Kwa</a:t>
                      </a:r>
                      <a:r>
                        <a:rPr lang="en-US" sz="1200" u="none" strike="noStrike" dirty="0">
                          <a:effectLst/>
                        </a:rPr>
                        <a:t> </a:t>
                      </a:r>
                      <a:r>
                        <a:rPr lang="en-US" sz="1200" u="none" strike="noStrike" dirty="0" err="1">
                          <a:effectLst/>
                        </a:rPr>
                        <a:t>Uhakika</a:t>
                      </a:r>
                      <a:r>
                        <a:rPr lang="en-US" sz="1200" u="none" strike="noStrike" dirty="0">
                          <a:effectLst/>
                        </a:rPr>
                        <a:t> (WEKU)'.</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smtClean="0">
                          <a:effectLst/>
                        </a:rPr>
                        <a:t>Reliance Insurance Company and Tanzania </a:t>
                      </a:r>
                      <a:r>
                        <a:rPr lang="en-US" sz="1200" u="none" strike="noStrike" dirty="0">
                          <a:effectLst/>
                        </a:rPr>
                        <a:t>Association of Professional BDS Providers Company Limited</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smtClean="0">
                          <a:effectLst/>
                        </a:rPr>
                        <a:t>Inclusive Finance</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1037452085"/>
                  </a:ext>
                </a:extLst>
              </a:tr>
              <a:tr h="90183">
                <a:tc>
                  <a:txBody>
                    <a:bodyPr/>
                    <a:lstStyle/>
                    <a:p>
                      <a:pPr algn="l" fontAlgn="b"/>
                      <a:r>
                        <a:rPr lang="en-US" sz="1200" u="none" strike="noStrike">
                          <a:effectLst/>
                        </a:rPr>
                        <a:t>Tanzani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Tanzania Potato Systems Improvement.</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Crop Bioscience Solutions </a:t>
                      </a:r>
                      <a:r>
                        <a:rPr lang="en-US" sz="1200" u="none" strike="noStrike" dirty="0" smtClean="0">
                          <a:effectLst/>
                        </a:rPr>
                        <a:t>Ltd.</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Potatoe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917304536"/>
                  </a:ext>
                </a:extLst>
              </a:tr>
              <a:tr h="135275">
                <a:tc>
                  <a:txBody>
                    <a:bodyPr/>
                    <a:lstStyle/>
                    <a:p>
                      <a:pPr algn="l" fontAlgn="b"/>
                      <a:r>
                        <a:rPr lang="en-US" sz="1200" u="none" strike="noStrike">
                          <a:effectLst/>
                        </a:rPr>
                        <a:t>Katavi Region</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Upgrading and Strengthening Input Distribution Systems through Start-up Grants to Rural Agro-Dealers in </a:t>
                      </a:r>
                      <a:r>
                        <a:rPr lang="en-US" sz="1200" u="none" strike="noStrike" dirty="0" err="1">
                          <a:effectLst/>
                        </a:rPr>
                        <a:t>Sumbawanga</a:t>
                      </a:r>
                      <a:r>
                        <a:rPr lang="en-US" sz="1200" u="none" strike="noStrike" dirty="0">
                          <a:effectLst/>
                        </a:rPr>
                        <a:t> and </a:t>
                      </a:r>
                      <a:r>
                        <a:rPr lang="en-US" sz="1200" u="none" strike="noStrike" dirty="0" err="1">
                          <a:effectLst/>
                        </a:rPr>
                        <a:t>Katavi</a:t>
                      </a:r>
                      <a:r>
                        <a:rPr lang="en-US" sz="1200" u="none" strike="noStrike" dirty="0">
                          <a:effectLst/>
                        </a:rPr>
                        <a:t> Regions</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Agricultural Council of Tanzania</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Agro-dealer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3103331667"/>
                  </a:ext>
                </a:extLst>
              </a:tr>
              <a:tr h="135275">
                <a:tc>
                  <a:txBody>
                    <a:bodyPr/>
                    <a:lstStyle/>
                    <a:p>
                      <a:pPr algn="l" fontAlgn="b"/>
                      <a:r>
                        <a:rPr lang="en-US" sz="1200" u="none" strike="noStrike">
                          <a:effectLst/>
                        </a:rPr>
                        <a:t>Kager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New Agro-dealers Development Support in the </a:t>
                      </a:r>
                      <a:r>
                        <a:rPr lang="en-US" sz="1200" u="none" strike="noStrike" dirty="0" err="1">
                          <a:effectLst/>
                        </a:rPr>
                        <a:t>Kagera</a:t>
                      </a:r>
                      <a:r>
                        <a:rPr lang="en-US" sz="1200" u="none" strike="noStrike" dirty="0">
                          <a:effectLst/>
                        </a:rPr>
                        <a:t> Region of Tanzania.</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Ruvuma Commercialization and Diversification of Agriculture</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Agro-dealer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2244546663"/>
                  </a:ext>
                </a:extLst>
              </a:tr>
              <a:tr h="135275">
                <a:tc>
                  <a:txBody>
                    <a:bodyPr/>
                    <a:lstStyle/>
                    <a:p>
                      <a:pPr algn="l" fontAlgn="b"/>
                      <a:r>
                        <a:rPr lang="en-US" sz="1200" u="none" strike="noStrike">
                          <a:effectLst/>
                        </a:rPr>
                        <a:t>Kigom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Commercializing smallholder farmers through agro-dealer support project in western-</a:t>
                      </a:r>
                      <a:r>
                        <a:rPr lang="en-US" sz="1200" u="none" strike="noStrike" dirty="0" err="1">
                          <a:effectLst/>
                        </a:rPr>
                        <a:t>Kigoma</a:t>
                      </a:r>
                      <a:r>
                        <a:rPr lang="en-US" sz="1200" u="none" strike="noStrike" dirty="0">
                          <a:effectLst/>
                        </a:rPr>
                        <a:t> Tanzania.</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Ruvuma Commercialization and Diversification of Agriculture</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Agro-dealer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2679635512"/>
                  </a:ext>
                </a:extLst>
              </a:tr>
              <a:tr h="90183">
                <a:tc>
                  <a:txBody>
                    <a:bodyPr/>
                    <a:lstStyle/>
                    <a:p>
                      <a:pPr algn="l" fontAlgn="b"/>
                      <a:r>
                        <a:rPr lang="en-US" sz="1200" u="none" strike="noStrike">
                          <a:effectLst/>
                        </a:rPr>
                        <a:t>Southern Highlands</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Mobile to Mechanization Leading to More Money for All</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fr-FR" sz="1200" u="none" strike="noStrike" dirty="0">
                          <a:effectLst/>
                        </a:rPr>
                        <a:t>ETC Agro </a:t>
                      </a:r>
                      <a:r>
                        <a:rPr lang="fr-FR" sz="1200" u="none" strike="noStrike" dirty="0" err="1">
                          <a:effectLst/>
                        </a:rPr>
                        <a:t>Tractors</a:t>
                      </a:r>
                      <a:r>
                        <a:rPr lang="fr-FR" sz="1200" u="none" strike="noStrike" dirty="0">
                          <a:effectLst/>
                        </a:rPr>
                        <a:t> &amp; </a:t>
                      </a:r>
                      <a:r>
                        <a:rPr lang="fr-FR" sz="1200" u="none" strike="noStrike" dirty="0" err="1">
                          <a:effectLst/>
                        </a:rPr>
                        <a:t>Implements</a:t>
                      </a:r>
                      <a:r>
                        <a:rPr lang="fr-FR" sz="1200" u="none" strike="noStrike" dirty="0">
                          <a:effectLst/>
                        </a:rPr>
                        <a:t> Ltd </a:t>
                      </a:r>
                      <a:endParaRPr lang="fr-FR"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smtClean="0">
                          <a:effectLst/>
                        </a:rPr>
                        <a:t>Inclusive</a:t>
                      </a:r>
                      <a:r>
                        <a:rPr lang="en-US" sz="1200" u="none" strike="noStrike" baseline="0" dirty="0" smtClean="0">
                          <a:effectLst/>
                        </a:rPr>
                        <a:t> Finance</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2891943083"/>
                  </a:ext>
                </a:extLst>
              </a:tr>
              <a:tr h="135275">
                <a:tc>
                  <a:txBody>
                    <a:bodyPr/>
                    <a:lstStyle/>
                    <a:p>
                      <a:pPr algn="l" fontAlgn="b"/>
                      <a:r>
                        <a:rPr lang="en-US" sz="1200" u="none" strike="noStrike">
                          <a:effectLst/>
                        </a:rPr>
                        <a:t>Tanzani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Policy Advocacy to Strengthen &amp; Accelerate Agricultural Reforms in Tanzania (PASAAR-Tanzania)</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Agricultural Non-State Actors Forum</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Policy &amp; advocacy</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2373154616"/>
                  </a:ext>
                </a:extLst>
              </a:tr>
              <a:tr h="90183">
                <a:tc>
                  <a:txBody>
                    <a:bodyPr/>
                    <a:lstStyle/>
                    <a:p>
                      <a:pPr algn="l" fontAlgn="b"/>
                      <a:r>
                        <a:rPr lang="en-US" sz="1200" u="none" strike="noStrike">
                          <a:effectLst/>
                        </a:rPr>
                        <a:t>Tanzani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Establishing a Mechanism to Monitor and Regulate Food Crop Commodity Exports  </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Economic and Social Research Foundation</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Policy &amp; advocacy</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3674391307"/>
                  </a:ext>
                </a:extLst>
              </a:tr>
              <a:tr h="180366">
                <a:tc>
                  <a:txBody>
                    <a:bodyPr/>
                    <a:lstStyle/>
                    <a:p>
                      <a:pPr algn="l" fontAlgn="b"/>
                      <a:r>
                        <a:rPr lang="en-US" sz="1200" u="none" strike="noStrike">
                          <a:effectLst/>
                        </a:rPr>
                        <a:t>Tanzani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Increased Financial Inclusion for Smallholder farmers through refurbishing of transactional and mobile accounts (Savings, Transactions and Credit).</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Foundation For Agriculture Development </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Inclusive finance</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1019367036"/>
                  </a:ext>
                </a:extLst>
              </a:tr>
              <a:tr h="0">
                <a:tc>
                  <a:txBody>
                    <a:bodyPr/>
                    <a:lstStyle/>
                    <a:p>
                      <a:pPr algn="l" fontAlgn="b"/>
                      <a:r>
                        <a:rPr lang="en-US" sz="1200" u="none" strike="noStrike">
                          <a:effectLst/>
                        </a:rPr>
                        <a:t>Tanzani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AGRA-TADB Matching Grants Portfolio</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Tanzania Agricultural Development Bank </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Inclusive finance</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2559557549"/>
                  </a:ext>
                </a:extLst>
              </a:tr>
              <a:tr h="45092">
                <a:tc>
                  <a:txBody>
                    <a:bodyPr/>
                    <a:lstStyle/>
                    <a:p>
                      <a:pPr algn="l" fontAlgn="b"/>
                      <a:r>
                        <a:rPr lang="en-US" sz="1200" u="none" strike="noStrike" dirty="0">
                          <a:effectLst/>
                        </a:rPr>
                        <a:t>Tanzania</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Agricultural lending scheme agreement.</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TPB BANK PLC </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Inclusive finance</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4031388661"/>
                  </a:ext>
                </a:extLst>
              </a:tr>
            </a:tbl>
          </a:graphicData>
        </a:graphic>
      </p:graphicFrame>
    </p:spTree>
    <p:extLst>
      <p:ext uri="{BB962C8B-B14F-4D97-AF65-F5344CB8AC3E}">
        <p14:creationId xmlns:p14="http://schemas.microsoft.com/office/powerpoint/2010/main" val="181544848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50740" y="134053"/>
            <a:ext cx="7245459" cy="582389"/>
          </a:xfrm>
          <a:prstGeom prst="rect">
            <a:avLst/>
          </a:prstGeom>
          <a:noFill/>
          <a:ln>
            <a:noFill/>
          </a:ln>
        </p:spPr>
        <p:txBody>
          <a:bodyPr spcFirstLastPara="1" wrap="square" lIns="0" tIns="0" rIns="0" bIns="0" anchor="b" anchorCtr="0"/>
          <a:lstStyle>
            <a:defPPr marR="0" lvl="0" algn="l" rtl="0">
              <a:lnSpc>
                <a:spcPct val="100000"/>
              </a:lnSpc>
              <a:spcBef>
                <a:spcPts val="0"/>
              </a:spcBef>
              <a:spcAft>
                <a:spcPts val="0"/>
              </a:spcAft>
            </a:defPPr>
            <a:lvl1pPr marL="0" indent="0" defTabSz="914395" eaLnBrk="1" fontAlgn="auto" latinLnBrk="0" hangingPunct="1">
              <a:lnSpc>
                <a:spcPct val="90000"/>
              </a:lnSpc>
              <a:buClr>
                <a:schemeClr val="dk1"/>
              </a:buClr>
              <a:buSzPts val="2200"/>
              <a:buNone/>
              <a:tabLst/>
              <a:defRPr lang="en-US" sz="2200" b="1" smtClean="0">
                <a:solidFill>
                  <a:schemeClr val="dk1"/>
                </a:solidFill>
              </a:defRPr>
            </a:lvl1pPr>
          </a:lstStyle>
          <a:p>
            <a:r>
              <a:rPr lang="en-US" dirty="0"/>
              <a:t>Details of Existing Portfolio of Investments in </a:t>
            </a:r>
            <a:r>
              <a:rPr lang="en-US" dirty="0" smtClean="0"/>
              <a:t>Tanzania</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141592702"/>
              </p:ext>
            </p:extLst>
          </p:nvPr>
        </p:nvGraphicFramePr>
        <p:xfrm>
          <a:off x="332509" y="1025244"/>
          <a:ext cx="9088582" cy="5322560"/>
        </p:xfrm>
        <a:graphic>
          <a:graphicData uri="http://schemas.openxmlformats.org/drawingml/2006/table">
            <a:tbl>
              <a:tblPr>
                <a:tableStyleId>{333DCFE8-B7AC-4D4A-B88C-A1AB9587156B}</a:tableStyleId>
              </a:tblPr>
              <a:tblGrid>
                <a:gridCol w="1319313">
                  <a:extLst>
                    <a:ext uri="{9D8B030D-6E8A-4147-A177-3AD203B41FA5}">
                      <a16:colId xmlns:a16="http://schemas.microsoft.com/office/drawing/2014/main" xmlns="" val="2824755321"/>
                    </a:ext>
                  </a:extLst>
                </a:gridCol>
                <a:gridCol w="3835112">
                  <a:extLst>
                    <a:ext uri="{9D8B030D-6E8A-4147-A177-3AD203B41FA5}">
                      <a16:colId xmlns:a16="http://schemas.microsoft.com/office/drawing/2014/main" xmlns="" val="1936335954"/>
                    </a:ext>
                  </a:extLst>
                </a:gridCol>
                <a:gridCol w="2270164">
                  <a:extLst>
                    <a:ext uri="{9D8B030D-6E8A-4147-A177-3AD203B41FA5}">
                      <a16:colId xmlns:a16="http://schemas.microsoft.com/office/drawing/2014/main" xmlns="" val="2982135752"/>
                    </a:ext>
                  </a:extLst>
                </a:gridCol>
                <a:gridCol w="1663993">
                  <a:extLst>
                    <a:ext uri="{9D8B030D-6E8A-4147-A177-3AD203B41FA5}">
                      <a16:colId xmlns:a16="http://schemas.microsoft.com/office/drawing/2014/main" xmlns="" val="2878420629"/>
                    </a:ext>
                  </a:extLst>
                </a:gridCol>
              </a:tblGrid>
              <a:tr h="94693">
                <a:tc>
                  <a:txBody>
                    <a:bodyPr/>
                    <a:lstStyle/>
                    <a:p>
                      <a:pPr algn="l" fontAlgn="b"/>
                      <a:r>
                        <a:rPr lang="en-US" sz="1200" u="none" strike="noStrike" dirty="0">
                          <a:effectLst/>
                        </a:rPr>
                        <a:t>Area of work</a:t>
                      </a:r>
                      <a:endParaRPr lang="en-US" sz="1200" b="1" i="0" u="none" strike="noStrike" dirty="0">
                        <a:effectLst/>
                        <a:latin typeface="Calibri" panose="020F0502020204030204" pitchFamily="34" charset="0"/>
                      </a:endParaRPr>
                    </a:p>
                  </a:txBody>
                  <a:tcPr marL="1904" marR="1904" marT="1904" marB="0" anchor="b"/>
                </a:tc>
                <a:tc>
                  <a:txBody>
                    <a:bodyPr/>
                    <a:lstStyle/>
                    <a:p>
                      <a:pPr algn="l" fontAlgn="b"/>
                      <a:r>
                        <a:rPr lang="en-US" sz="1200" u="none" strike="noStrike">
                          <a:effectLst/>
                        </a:rPr>
                        <a:t>Description</a:t>
                      </a:r>
                      <a:endParaRPr lang="en-US" sz="1200" b="1" i="0" u="none" strike="noStrike">
                        <a:effectLst/>
                        <a:latin typeface="Calibri" panose="020F0502020204030204" pitchFamily="34" charset="0"/>
                      </a:endParaRPr>
                    </a:p>
                  </a:txBody>
                  <a:tcPr marL="1904" marR="1904" marT="1904" marB="0" anchor="b"/>
                </a:tc>
                <a:tc>
                  <a:txBody>
                    <a:bodyPr/>
                    <a:lstStyle/>
                    <a:p>
                      <a:pPr algn="l" fontAlgn="b"/>
                      <a:r>
                        <a:rPr lang="en-US" sz="1200" u="none" strike="noStrike">
                          <a:effectLst/>
                        </a:rPr>
                        <a:t>Partners</a:t>
                      </a:r>
                      <a:endParaRPr lang="en-US" sz="1200" b="1" i="0" u="none" strike="noStrike">
                        <a:effectLst/>
                        <a:latin typeface="Calibri" panose="020F0502020204030204" pitchFamily="34" charset="0"/>
                      </a:endParaRPr>
                    </a:p>
                  </a:txBody>
                  <a:tcPr marL="1904" marR="1904" marT="1904" marB="0" anchor="b"/>
                </a:tc>
                <a:tc>
                  <a:txBody>
                    <a:bodyPr/>
                    <a:lstStyle/>
                    <a:p>
                      <a:pPr algn="l" fontAlgn="b"/>
                      <a:r>
                        <a:rPr lang="en-US" sz="1200" u="none" strike="noStrike">
                          <a:effectLst/>
                        </a:rPr>
                        <a:t>Crops/value chain</a:t>
                      </a:r>
                      <a:endParaRPr lang="en-US" sz="1200" b="1" i="0" u="none" strike="noStrike">
                        <a:effectLst/>
                        <a:latin typeface="Calibri" panose="020F0502020204030204" pitchFamily="34" charset="0"/>
                      </a:endParaRPr>
                    </a:p>
                  </a:txBody>
                  <a:tcPr marL="1904" marR="1904" marT="1904" marB="0" anchor="b"/>
                </a:tc>
                <a:extLst>
                  <a:ext uri="{0D108BD9-81ED-4DB2-BD59-A6C34878D82A}">
                    <a16:rowId xmlns:a16="http://schemas.microsoft.com/office/drawing/2014/main" xmlns="" val="1330352"/>
                  </a:ext>
                </a:extLst>
              </a:tr>
              <a:tr h="180366">
                <a:tc>
                  <a:txBody>
                    <a:bodyPr/>
                    <a:lstStyle/>
                    <a:p>
                      <a:pPr algn="l" fontAlgn="b"/>
                      <a:r>
                        <a:rPr lang="en-US" sz="1200" u="none" strike="noStrike" dirty="0">
                          <a:effectLst/>
                        </a:rPr>
                        <a:t>Kigoma Region</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Integrated Project to Increase Income and Improve Food Security and Livelihood among Smallholder Farmers in the Western Tanzania, Kigoma Region</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Faida Market Link Company</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cassava, bean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2730233127"/>
                  </a:ext>
                </a:extLst>
              </a:tr>
              <a:tr h="180366">
                <a:tc>
                  <a:txBody>
                    <a:bodyPr/>
                    <a:lstStyle/>
                    <a:p>
                      <a:pPr algn="l" fontAlgn="b"/>
                      <a:r>
                        <a:rPr lang="en-US" sz="1200" u="none" strike="noStrike" dirty="0" err="1">
                          <a:effectLst/>
                        </a:rPr>
                        <a:t>Kigoma</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Integrated Project to Increase Income and Improve Food Security and Livelihood among Smallholder Farmers in the Western Tanzania, </a:t>
                      </a:r>
                      <a:r>
                        <a:rPr lang="en-US" sz="1200" u="none" strike="noStrike" dirty="0" err="1">
                          <a:effectLst/>
                        </a:rPr>
                        <a:t>Kigoma</a:t>
                      </a:r>
                      <a:r>
                        <a:rPr lang="en-US" sz="1200" u="none" strike="noStrike" dirty="0">
                          <a:effectLst/>
                        </a:rPr>
                        <a:t> Region</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Farm Radio International </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cassava, bean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1307865523"/>
                  </a:ext>
                </a:extLst>
              </a:tr>
              <a:tr h="180366">
                <a:tc>
                  <a:txBody>
                    <a:bodyPr/>
                    <a:lstStyle/>
                    <a:p>
                      <a:pPr algn="l" fontAlgn="b"/>
                      <a:r>
                        <a:rPr lang="it-IT" sz="1200" u="none" strike="noStrike" dirty="0" smtClean="0">
                          <a:effectLst/>
                        </a:rPr>
                        <a:t>Tanzania, </a:t>
                      </a:r>
                      <a:r>
                        <a:rPr lang="it-IT" sz="1200" u="none" strike="noStrike" dirty="0">
                          <a:effectLst/>
                        </a:rPr>
                        <a:t>North Western Zone Regions</a:t>
                      </a:r>
                      <a:endParaRPr lang="it-IT"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Scaling up Local Seed Production and Distribution of Nitrogen Use Efficient  and Drought Tolerant Maize Varieties in North Western Zone Regions of  Tanzania</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Meru Agro-Tours and Consultants Co. Ltd.</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cassava, bean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4154976196"/>
                  </a:ext>
                </a:extLst>
              </a:tr>
              <a:tr h="180366">
                <a:tc>
                  <a:txBody>
                    <a:bodyPr/>
                    <a:lstStyle/>
                    <a:p>
                      <a:pPr algn="l" fontAlgn="b"/>
                      <a:r>
                        <a:rPr lang="en-US" sz="1200" u="none" strike="noStrike" dirty="0" err="1">
                          <a:effectLst/>
                        </a:rPr>
                        <a:t>Kigoma</a:t>
                      </a:r>
                      <a:r>
                        <a:rPr lang="en-US" sz="1200" u="none" strike="noStrike" dirty="0">
                          <a:effectLst/>
                        </a:rPr>
                        <a:t> Region</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Integrated Project to Increase Income and Improve Food Security and Livelihood among Smallholder Farmers in the Western Tanzania, Kigoma Region</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err="1">
                          <a:effectLst/>
                        </a:rPr>
                        <a:t>Nyakitonto</a:t>
                      </a:r>
                      <a:r>
                        <a:rPr lang="en-US" sz="1200" u="none" strike="noStrike" dirty="0">
                          <a:effectLst/>
                        </a:rPr>
                        <a:t> Youth for Development Tanzania (NYDT)</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cassava, bean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3626335070"/>
                  </a:ext>
                </a:extLst>
              </a:tr>
              <a:tr h="180366">
                <a:tc>
                  <a:txBody>
                    <a:bodyPr/>
                    <a:lstStyle/>
                    <a:p>
                      <a:pPr algn="l" fontAlgn="b"/>
                      <a:r>
                        <a:rPr lang="en-US" sz="1200" u="none" strike="noStrike" dirty="0">
                          <a:effectLst/>
                        </a:rPr>
                        <a:t>Kigoma Region</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Integrated Project to Increase Income and Improve Food Security and Livelihood among Smallholder Farmers in the Western Tanzania, Kigoma Region.</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Ruvuma Commercialization and Diversification of Agriculture</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Maize, cassava, beans</a:t>
                      </a:r>
                      <a:endParaRPr lang="en-US" sz="1200" b="0" i="0" u="none" strike="noStrike">
                        <a:effectLst/>
                        <a:latin typeface="Calibri" panose="020F0502020204030204" pitchFamily="34" charset="0"/>
                      </a:endParaRPr>
                    </a:p>
                  </a:txBody>
                  <a:tcPr marL="1904" marR="1904" marT="1904" marB="0"/>
                </a:tc>
                <a:extLst>
                  <a:ext uri="{0D108BD9-81ED-4DB2-BD59-A6C34878D82A}">
                    <a16:rowId xmlns:a16="http://schemas.microsoft.com/office/drawing/2014/main" xmlns="" val="338200399"/>
                  </a:ext>
                </a:extLst>
              </a:tr>
              <a:tr h="225459">
                <a:tc>
                  <a:txBody>
                    <a:bodyPr/>
                    <a:lstStyle/>
                    <a:p>
                      <a:pPr algn="l" fontAlgn="b"/>
                      <a:r>
                        <a:rPr lang="en-US" sz="1200" u="none" strike="noStrike" dirty="0" err="1">
                          <a:effectLst/>
                        </a:rPr>
                        <a:t>Kigoma</a:t>
                      </a:r>
                      <a:r>
                        <a:rPr lang="en-US" sz="1200" u="none" strike="noStrike" dirty="0">
                          <a:effectLst/>
                        </a:rPr>
                        <a:t> and </a:t>
                      </a:r>
                      <a:r>
                        <a:rPr lang="en-US" sz="1200" u="none" strike="noStrike" dirty="0" err="1">
                          <a:effectLst/>
                        </a:rPr>
                        <a:t>Kagera</a:t>
                      </a:r>
                      <a:r>
                        <a:rPr lang="en-US" sz="1200" u="none" strike="noStrike" dirty="0">
                          <a:effectLst/>
                        </a:rPr>
                        <a:t> Region</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Production, promotion and distribution of improved seeds of maize, sunflower and beans varieties to smallholder farmers in Kigoma and Kagera regions of Tanzania for enhanced productivity, accessibility and affordable prices.</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Suba Agro-Trading &amp; Engineering Co. Ltd</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Maize, sunflower, beans</a:t>
                      </a:r>
                      <a:endParaRPr lang="en-US" sz="1200" b="0" i="0" u="none" strike="noStrike">
                        <a:effectLst/>
                        <a:latin typeface="Calibri" panose="020F0502020204030204" pitchFamily="34" charset="0"/>
                      </a:endParaRPr>
                    </a:p>
                  </a:txBody>
                  <a:tcPr marL="1904" marR="1904" marT="1904" marB="0"/>
                </a:tc>
                <a:extLst>
                  <a:ext uri="{0D108BD9-81ED-4DB2-BD59-A6C34878D82A}">
                    <a16:rowId xmlns:a16="http://schemas.microsoft.com/office/drawing/2014/main" xmlns="" val="1866044648"/>
                  </a:ext>
                </a:extLst>
              </a:tr>
              <a:tr h="180366">
                <a:tc>
                  <a:txBody>
                    <a:bodyPr/>
                    <a:lstStyle/>
                    <a:p>
                      <a:pPr algn="l" fontAlgn="b"/>
                      <a:r>
                        <a:rPr lang="en-US" sz="1200" u="none" strike="noStrike" dirty="0" err="1">
                          <a:effectLst/>
                        </a:rPr>
                        <a:t>Kigoma</a:t>
                      </a:r>
                      <a:r>
                        <a:rPr lang="en-US" sz="1200" u="none" strike="noStrike" dirty="0">
                          <a:effectLst/>
                        </a:rPr>
                        <a:t> Region</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Integrated Project to Increase Income and Improve Food Security and Livelihood among Smallholder Farmers in the Western Tanzania, Kigoma Region.</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Tanzania Chamber of Commerce, Industry and Agriculture </a:t>
                      </a:r>
                      <a:r>
                        <a:rPr lang="en-US" sz="1200" u="none" strike="noStrike" dirty="0" err="1">
                          <a:effectLst/>
                        </a:rPr>
                        <a:t>Limited,TCCIA</a:t>
                      </a:r>
                      <a:r>
                        <a:rPr lang="en-US" sz="1200" u="none" strike="noStrike" dirty="0">
                          <a:effectLst/>
                        </a:rPr>
                        <a:t> Regional Chamber KIGOMA</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beans, cassava</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2766987201"/>
                  </a:ext>
                </a:extLst>
              </a:tr>
              <a:tr h="135275">
                <a:tc>
                  <a:txBody>
                    <a:bodyPr/>
                    <a:lstStyle/>
                    <a:p>
                      <a:pPr algn="l" fontAlgn="b"/>
                      <a:r>
                        <a:rPr lang="en-US" sz="1200" u="none" strike="noStrike" dirty="0" err="1">
                          <a:effectLst/>
                        </a:rPr>
                        <a:t>Rukwa</a:t>
                      </a:r>
                      <a:r>
                        <a:rPr lang="en-US" sz="1200" u="none" strike="noStrike" dirty="0">
                          <a:effectLst/>
                        </a:rPr>
                        <a:t> Region</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Promoting Market led Approach to improve profitability of beans, Maize and Rice in Sumbawanga cluster</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Actions for Development Programmes – Mbozi</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beans, rice</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3041611430"/>
                  </a:ext>
                </a:extLst>
              </a:tr>
              <a:tr h="225459">
                <a:tc>
                  <a:txBody>
                    <a:bodyPr/>
                    <a:lstStyle/>
                    <a:p>
                      <a:pPr algn="l" fontAlgn="b"/>
                      <a:r>
                        <a:rPr lang="en-US" sz="1200" u="none" strike="noStrike" dirty="0" err="1">
                          <a:effectLst/>
                        </a:rPr>
                        <a:t>Rukwa</a:t>
                      </a:r>
                      <a:r>
                        <a:rPr lang="en-US" sz="1200" u="none" strike="noStrike" dirty="0">
                          <a:effectLst/>
                        </a:rPr>
                        <a:t> Region</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Promoting Market led Approach to improve profitability of beans, Maize and Rice in Sumbawanga cluster</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Agricultural Council of Tanzania </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beans, rice</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3494963300"/>
                  </a:ext>
                </a:extLst>
              </a:tr>
            </a:tbl>
          </a:graphicData>
        </a:graphic>
      </p:graphicFrame>
    </p:spTree>
    <p:extLst>
      <p:ext uri="{BB962C8B-B14F-4D97-AF65-F5344CB8AC3E}">
        <p14:creationId xmlns:p14="http://schemas.microsoft.com/office/powerpoint/2010/main" val="358419729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50740" y="134053"/>
            <a:ext cx="7245459" cy="582389"/>
          </a:xfrm>
          <a:prstGeom prst="rect">
            <a:avLst/>
          </a:prstGeom>
          <a:noFill/>
          <a:ln>
            <a:noFill/>
          </a:ln>
        </p:spPr>
        <p:txBody>
          <a:bodyPr spcFirstLastPara="1" wrap="square" lIns="0" tIns="0" rIns="0" bIns="0" anchor="b" anchorCtr="0"/>
          <a:lstStyle>
            <a:defPPr marR="0" lvl="0" algn="l" rtl="0">
              <a:lnSpc>
                <a:spcPct val="100000"/>
              </a:lnSpc>
              <a:spcBef>
                <a:spcPts val="0"/>
              </a:spcBef>
              <a:spcAft>
                <a:spcPts val="0"/>
              </a:spcAft>
            </a:defPPr>
            <a:lvl1pPr marL="0" indent="0" defTabSz="914395" eaLnBrk="1" fontAlgn="auto" latinLnBrk="0" hangingPunct="1">
              <a:lnSpc>
                <a:spcPct val="90000"/>
              </a:lnSpc>
              <a:buClr>
                <a:schemeClr val="dk1"/>
              </a:buClr>
              <a:buSzPts val="2200"/>
              <a:buNone/>
              <a:tabLst/>
              <a:defRPr lang="en-US" sz="2200" b="1" smtClean="0">
                <a:solidFill>
                  <a:schemeClr val="dk1"/>
                </a:solidFill>
              </a:defRPr>
            </a:lvl1pPr>
          </a:lstStyle>
          <a:p>
            <a:r>
              <a:rPr lang="en-US" dirty="0"/>
              <a:t>Details of Existing Portfolio of Investments in </a:t>
            </a:r>
            <a:r>
              <a:rPr lang="en-US" dirty="0" smtClean="0"/>
              <a:t>Tanzania</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244160323"/>
              </p:ext>
            </p:extLst>
          </p:nvPr>
        </p:nvGraphicFramePr>
        <p:xfrm>
          <a:off x="332509" y="716442"/>
          <a:ext cx="9088582" cy="5875008"/>
        </p:xfrm>
        <a:graphic>
          <a:graphicData uri="http://schemas.openxmlformats.org/drawingml/2006/table">
            <a:tbl>
              <a:tblPr>
                <a:tableStyleId>{616DA210-FB5B-4158-B5E0-FEB733F419BA}</a:tableStyleId>
              </a:tblPr>
              <a:tblGrid>
                <a:gridCol w="1319313">
                  <a:extLst>
                    <a:ext uri="{9D8B030D-6E8A-4147-A177-3AD203B41FA5}">
                      <a16:colId xmlns:a16="http://schemas.microsoft.com/office/drawing/2014/main" xmlns="" val="2824755321"/>
                    </a:ext>
                  </a:extLst>
                </a:gridCol>
                <a:gridCol w="3835112">
                  <a:extLst>
                    <a:ext uri="{9D8B030D-6E8A-4147-A177-3AD203B41FA5}">
                      <a16:colId xmlns:a16="http://schemas.microsoft.com/office/drawing/2014/main" xmlns="" val="1936335954"/>
                    </a:ext>
                  </a:extLst>
                </a:gridCol>
                <a:gridCol w="2270164">
                  <a:extLst>
                    <a:ext uri="{9D8B030D-6E8A-4147-A177-3AD203B41FA5}">
                      <a16:colId xmlns:a16="http://schemas.microsoft.com/office/drawing/2014/main" xmlns="" val="2982135752"/>
                    </a:ext>
                  </a:extLst>
                </a:gridCol>
                <a:gridCol w="1663993">
                  <a:extLst>
                    <a:ext uri="{9D8B030D-6E8A-4147-A177-3AD203B41FA5}">
                      <a16:colId xmlns:a16="http://schemas.microsoft.com/office/drawing/2014/main" xmlns="" val="2878420629"/>
                    </a:ext>
                  </a:extLst>
                </a:gridCol>
              </a:tblGrid>
              <a:tr h="94693">
                <a:tc>
                  <a:txBody>
                    <a:bodyPr/>
                    <a:lstStyle/>
                    <a:p>
                      <a:pPr algn="l" fontAlgn="b"/>
                      <a:r>
                        <a:rPr lang="en-US" sz="1200" u="none" strike="noStrike" dirty="0">
                          <a:effectLst/>
                        </a:rPr>
                        <a:t>Area of work</a:t>
                      </a:r>
                      <a:endParaRPr lang="en-US" sz="1200" b="1" i="0" u="none" strike="noStrike" dirty="0">
                        <a:effectLst/>
                        <a:latin typeface="Calibri" panose="020F0502020204030204" pitchFamily="34" charset="0"/>
                      </a:endParaRPr>
                    </a:p>
                  </a:txBody>
                  <a:tcPr marL="1904" marR="1904" marT="1904" marB="0" anchor="b"/>
                </a:tc>
                <a:tc>
                  <a:txBody>
                    <a:bodyPr/>
                    <a:lstStyle/>
                    <a:p>
                      <a:pPr algn="l" fontAlgn="b"/>
                      <a:r>
                        <a:rPr lang="en-US" sz="1200" u="none" strike="noStrike">
                          <a:effectLst/>
                        </a:rPr>
                        <a:t>Description</a:t>
                      </a:r>
                      <a:endParaRPr lang="en-US" sz="1200" b="1" i="0" u="none" strike="noStrike">
                        <a:effectLst/>
                        <a:latin typeface="Calibri" panose="020F0502020204030204" pitchFamily="34" charset="0"/>
                      </a:endParaRPr>
                    </a:p>
                  </a:txBody>
                  <a:tcPr marL="1904" marR="1904" marT="1904" marB="0" anchor="b"/>
                </a:tc>
                <a:tc>
                  <a:txBody>
                    <a:bodyPr/>
                    <a:lstStyle/>
                    <a:p>
                      <a:pPr algn="l" fontAlgn="b"/>
                      <a:r>
                        <a:rPr lang="en-US" sz="1200" u="none" strike="noStrike">
                          <a:effectLst/>
                        </a:rPr>
                        <a:t>Partners</a:t>
                      </a:r>
                      <a:endParaRPr lang="en-US" sz="1200" b="1" i="0" u="none" strike="noStrike">
                        <a:effectLst/>
                        <a:latin typeface="Calibri" panose="020F0502020204030204" pitchFamily="34" charset="0"/>
                      </a:endParaRPr>
                    </a:p>
                  </a:txBody>
                  <a:tcPr marL="1904" marR="1904" marT="1904" marB="0" anchor="b"/>
                </a:tc>
                <a:tc>
                  <a:txBody>
                    <a:bodyPr/>
                    <a:lstStyle/>
                    <a:p>
                      <a:pPr algn="l" fontAlgn="b"/>
                      <a:r>
                        <a:rPr lang="en-US" sz="1200" u="none" strike="noStrike">
                          <a:effectLst/>
                        </a:rPr>
                        <a:t>Crops/value chain</a:t>
                      </a:r>
                      <a:endParaRPr lang="en-US" sz="1200" b="1" i="0" u="none" strike="noStrike">
                        <a:effectLst/>
                        <a:latin typeface="Calibri" panose="020F0502020204030204" pitchFamily="34" charset="0"/>
                      </a:endParaRPr>
                    </a:p>
                  </a:txBody>
                  <a:tcPr marL="1904" marR="1904" marT="1904" marB="0" anchor="b"/>
                </a:tc>
                <a:extLst>
                  <a:ext uri="{0D108BD9-81ED-4DB2-BD59-A6C34878D82A}">
                    <a16:rowId xmlns:a16="http://schemas.microsoft.com/office/drawing/2014/main" xmlns="" val="1330352"/>
                  </a:ext>
                </a:extLst>
              </a:tr>
              <a:tr h="135275">
                <a:tc>
                  <a:txBody>
                    <a:bodyPr/>
                    <a:lstStyle/>
                    <a:p>
                      <a:pPr algn="l" fontAlgn="b"/>
                      <a:r>
                        <a:rPr lang="en-US" sz="1200" u="none" strike="noStrike" dirty="0">
                          <a:effectLst/>
                        </a:rPr>
                        <a:t>Rukwa Region</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Promoting Market led Approach to improve profitability of beans, Maize and Rice in Sumbawanga cluster</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Building Rural Incomes Through Enterprise</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Maize, beans, rice</a:t>
                      </a:r>
                      <a:endParaRPr lang="en-US" sz="1200" b="0" i="0" u="none" strike="noStrike">
                        <a:effectLst/>
                        <a:latin typeface="Calibri" panose="020F0502020204030204" pitchFamily="34" charset="0"/>
                      </a:endParaRPr>
                    </a:p>
                  </a:txBody>
                  <a:tcPr marL="1904" marR="1904" marT="1904" marB="0"/>
                </a:tc>
                <a:extLst>
                  <a:ext uri="{0D108BD9-81ED-4DB2-BD59-A6C34878D82A}">
                    <a16:rowId xmlns:a16="http://schemas.microsoft.com/office/drawing/2014/main" xmlns="" val="2985494917"/>
                  </a:ext>
                </a:extLst>
              </a:tr>
              <a:tr h="180366">
                <a:tc>
                  <a:txBody>
                    <a:bodyPr/>
                    <a:lstStyle/>
                    <a:p>
                      <a:pPr algn="l" fontAlgn="b"/>
                      <a:r>
                        <a:rPr lang="en-US" sz="1200" u="none" strike="noStrike" dirty="0" err="1">
                          <a:effectLst/>
                        </a:rPr>
                        <a:t>Kagera</a:t>
                      </a:r>
                      <a:r>
                        <a:rPr lang="en-US" sz="1200" u="none" strike="noStrike" dirty="0">
                          <a:effectLst/>
                        </a:rPr>
                        <a:t> Region</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Agricultural Transformation for increased income and improved food security and livelihood among smallholder farmers in Kagera Region of Western Tanzania</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Farm Radio International </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bean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938144097"/>
                  </a:ext>
                </a:extLst>
              </a:tr>
              <a:tr h="180366">
                <a:tc>
                  <a:txBody>
                    <a:bodyPr/>
                    <a:lstStyle/>
                    <a:p>
                      <a:pPr algn="l" fontAlgn="b"/>
                      <a:r>
                        <a:rPr lang="en-US" sz="1200" u="none" strike="noStrike">
                          <a:effectLst/>
                        </a:rPr>
                        <a:t>Kagera Region</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Agricultural Transformation for increased income and improved food security and livelihood among smallholder farmers in </a:t>
                      </a:r>
                      <a:r>
                        <a:rPr lang="en-US" sz="1200" u="none" strike="noStrike" dirty="0" err="1">
                          <a:effectLst/>
                        </a:rPr>
                        <a:t>Kagera</a:t>
                      </a:r>
                      <a:r>
                        <a:rPr lang="en-US" sz="1200" u="none" strike="noStrike" dirty="0">
                          <a:effectLst/>
                        </a:rPr>
                        <a:t> </a:t>
                      </a:r>
                      <a:r>
                        <a:rPr lang="en-US" sz="1200" u="none" strike="noStrike" dirty="0" err="1">
                          <a:effectLst/>
                        </a:rPr>
                        <a:t>Region,Western</a:t>
                      </a:r>
                      <a:r>
                        <a:rPr lang="en-US" sz="1200" u="none" strike="noStrike" dirty="0">
                          <a:effectLst/>
                        </a:rPr>
                        <a:t> Tanzania</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Karagwe Development and Relief Services (KADERES)</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bean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249747168"/>
                  </a:ext>
                </a:extLst>
              </a:tr>
              <a:tr h="180366">
                <a:tc>
                  <a:txBody>
                    <a:bodyPr/>
                    <a:lstStyle/>
                    <a:p>
                      <a:pPr algn="l" fontAlgn="b"/>
                      <a:r>
                        <a:rPr lang="en-US" sz="1200" u="none" strike="noStrike">
                          <a:effectLst/>
                        </a:rPr>
                        <a:t>Kagera Region</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Agricultural transformation for increased income and improved food security and livelihood among smallholder farmers in </a:t>
                      </a:r>
                      <a:r>
                        <a:rPr lang="en-US" sz="1200" u="none" strike="noStrike" dirty="0" err="1">
                          <a:effectLst/>
                        </a:rPr>
                        <a:t>kagera</a:t>
                      </a:r>
                      <a:r>
                        <a:rPr lang="en-US" sz="1200" u="none" strike="noStrike" dirty="0">
                          <a:effectLst/>
                        </a:rPr>
                        <a:t> region, Western Tanzania </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err="1">
                          <a:effectLst/>
                        </a:rPr>
                        <a:t>Maruku</a:t>
                      </a:r>
                      <a:r>
                        <a:rPr lang="en-US" sz="1200" u="none" strike="noStrike" dirty="0">
                          <a:effectLst/>
                        </a:rPr>
                        <a:t> Agricultural Research Institute</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bean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3142878648"/>
                  </a:ext>
                </a:extLst>
              </a:tr>
              <a:tr h="135275">
                <a:tc>
                  <a:txBody>
                    <a:bodyPr/>
                    <a:lstStyle/>
                    <a:p>
                      <a:pPr algn="l" fontAlgn="b"/>
                      <a:r>
                        <a:rPr lang="en-US" sz="1200" u="none" strike="noStrike">
                          <a:effectLst/>
                        </a:rPr>
                        <a:t>Rukwa Region</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Promoting Market led Approach to improve profitability of beans, Maize and Rice in Sumbawanga cluster</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err="1">
                          <a:effectLst/>
                        </a:rPr>
                        <a:t>Mbozi</a:t>
                      </a:r>
                      <a:r>
                        <a:rPr lang="en-US" sz="1200" u="none" strike="noStrike" dirty="0">
                          <a:effectLst/>
                        </a:rPr>
                        <a:t>-</a:t>
                      </a:r>
                      <a:r>
                        <a:rPr lang="en-US" sz="1200" u="none" strike="noStrike" dirty="0" err="1">
                          <a:effectLst/>
                        </a:rPr>
                        <a:t>Ileje</a:t>
                      </a:r>
                      <a:r>
                        <a:rPr lang="en-US" sz="1200" u="none" strike="noStrike" dirty="0">
                          <a:effectLst/>
                        </a:rPr>
                        <a:t>-</a:t>
                      </a:r>
                      <a:r>
                        <a:rPr lang="en-US" sz="1200" u="none" strike="noStrike" dirty="0" err="1">
                          <a:effectLst/>
                        </a:rPr>
                        <a:t>Isangati</a:t>
                      </a:r>
                      <a:r>
                        <a:rPr lang="en-US" sz="1200" u="none" strike="noStrike" dirty="0">
                          <a:effectLst/>
                        </a:rPr>
                        <a:t>-Consortium(MIICO)</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Maize, beans and rice</a:t>
                      </a:r>
                      <a:endParaRPr lang="en-US" sz="1200" b="0" i="0" u="none" strike="noStrike">
                        <a:effectLst/>
                        <a:latin typeface="Calibri" panose="020F0502020204030204" pitchFamily="34" charset="0"/>
                      </a:endParaRPr>
                    </a:p>
                  </a:txBody>
                  <a:tcPr marL="1904" marR="1904" marT="1904" marB="0"/>
                </a:tc>
                <a:extLst>
                  <a:ext uri="{0D108BD9-81ED-4DB2-BD59-A6C34878D82A}">
                    <a16:rowId xmlns:a16="http://schemas.microsoft.com/office/drawing/2014/main" xmlns="" val="4016562501"/>
                  </a:ext>
                </a:extLst>
              </a:tr>
              <a:tr h="180366">
                <a:tc>
                  <a:txBody>
                    <a:bodyPr/>
                    <a:lstStyle/>
                    <a:p>
                      <a:pPr algn="l" fontAlgn="b"/>
                      <a:r>
                        <a:rPr lang="en-US" sz="1200" u="none" strike="noStrike">
                          <a:effectLst/>
                        </a:rPr>
                        <a:t>Kagera Region</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Agricultural Transformation for increased income and improved food security and livelihood among smallholder farmers in Kagera Region,Western Tanzani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Ruvuma Commercialization and Diversification of Agriculture</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a:effectLst/>
                        </a:rPr>
                        <a:t>Maize, beans</a:t>
                      </a:r>
                      <a:endParaRPr lang="en-US" sz="1200" b="0" i="0" u="none" strike="noStrike">
                        <a:effectLst/>
                        <a:latin typeface="Calibri" panose="020F0502020204030204" pitchFamily="34" charset="0"/>
                      </a:endParaRPr>
                    </a:p>
                  </a:txBody>
                  <a:tcPr marL="1904" marR="1904" marT="1904" marB="0"/>
                </a:tc>
                <a:extLst>
                  <a:ext uri="{0D108BD9-81ED-4DB2-BD59-A6C34878D82A}">
                    <a16:rowId xmlns:a16="http://schemas.microsoft.com/office/drawing/2014/main" xmlns="" val="3104363038"/>
                  </a:ext>
                </a:extLst>
              </a:tr>
              <a:tr h="180366">
                <a:tc>
                  <a:txBody>
                    <a:bodyPr/>
                    <a:lstStyle/>
                    <a:p>
                      <a:pPr algn="l" fontAlgn="b"/>
                      <a:r>
                        <a:rPr lang="en-US" sz="1200" u="none" strike="noStrike">
                          <a:effectLst/>
                        </a:rPr>
                        <a:t>Kagera Region</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Agricultural Transformation for increased income and improved food security and livelihood among smallholder farmers in Kagera Region,Western Tanzani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err="1">
                          <a:effectLst/>
                        </a:rPr>
                        <a:t>Faida</a:t>
                      </a:r>
                      <a:r>
                        <a:rPr lang="en-US" sz="1200" u="none" strike="noStrike" dirty="0">
                          <a:effectLst/>
                        </a:rPr>
                        <a:t> Market Link Company</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bean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2361767084"/>
                  </a:ext>
                </a:extLst>
              </a:tr>
              <a:tr h="180366">
                <a:tc>
                  <a:txBody>
                    <a:bodyPr/>
                    <a:lstStyle/>
                    <a:p>
                      <a:pPr algn="l" fontAlgn="b"/>
                      <a:r>
                        <a:rPr lang="en-US" sz="1200" u="none" strike="noStrike">
                          <a:effectLst/>
                        </a:rPr>
                        <a:t>Iringa and Njombe Regions</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Linking farmers to input and out markets to spur maize, beans and soybean productivity in Ihemi-Ludewa  Cluster of Iringa and Njombe Regions of Tanzani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Building Rural Incomes Through Enterprise</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beans, </a:t>
                      </a:r>
                      <a:r>
                        <a:rPr lang="en-US" sz="1200" u="none" strike="noStrike" dirty="0" smtClean="0">
                          <a:effectLst/>
                        </a:rPr>
                        <a:t>soybean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2284656332"/>
                  </a:ext>
                </a:extLst>
              </a:tr>
              <a:tr h="277315">
                <a:tc>
                  <a:txBody>
                    <a:bodyPr/>
                    <a:lstStyle/>
                    <a:p>
                      <a:pPr algn="l" fontAlgn="b"/>
                      <a:r>
                        <a:rPr lang="en-US" sz="1200" u="none" strike="noStrike">
                          <a:effectLst/>
                        </a:rPr>
                        <a:t>Iringa and Njombe Regions</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Linking farmers to input and out markets to spur maize, beans and soybean productivity in Ihemi-Ludewa cluster of Iringa and Njombe Regions of Tanzani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Division of Research and Training, Ministry of Agriculture, Food Security and Cooperatives</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beans, </a:t>
                      </a:r>
                      <a:r>
                        <a:rPr lang="en-US" sz="1200" u="none" strike="noStrike" dirty="0" smtClean="0">
                          <a:effectLst/>
                        </a:rPr>
                        <a:t>soybean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3297817424"/>
                  </a:ext>
                </a:extLst>
              </a:tr>
              <a:tr h="180366">
                <a:tc>
                  <a:txBody>
                    <a:bodyPr/>
                    <a:lstStyle/>
                    <a:p>
                      <a:pPr algn="l" fontAlgn="b"/>
                      <a:r>
                        <a:rPr lang="en-US" sz="1200" u="none" strike="noStrike">
                          <a:effectLst/>
                        </a:rPr>
                        <a:t>Iringa and Njombe Regions</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Linking farmers to input and out markets to spur maize, beans and soybean productivity in Ihemi-Ludewa  Cluster of Iringa and Njombe Regions of Tanzania</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a:effectLst/>
                        </a:rPr>
                        <a:t>Eastern Africa Grain Council</a:t>
                      </a:r>
                      <a:endParaRPr lang="en-US" sz="1200" b="0" i="0" u="none" strike="noStrike">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beans, </a:t>
                      </a:r>
                      <a:r>
                        <a:rPr lang="en-US" sz="1200" u="none" strike="noStrike" dirty="0" smtClean="0">
                          <a:effectLst/>
                        </a:rPr>
                        <a:t>soybean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4115338000"/>
                  </a:ext>
                </a:extLst>
              </a:tr>
              <a:tr h="180366">
                <a:tc>
                  <a:txBody>
                    <a:bodyPr/>
                    <a:lstStyle/>
                    <a:p>
                      <a:pPr algn="l" fontAlgn="b"/>
                      <a:r>
                        <a:rPr lang="en-US" sz="1200" u="none" strike="noStrike" dirty="0">
                          <a:effectLst/>
                        </a:rPr>
                        <a:t>Iringa and Njombe Regions</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Linking farmers to input and out markets to spur maize, beans and soybean productivity in Ihemi-Ludewa cluster of Iringa and Njombe Regions of Tanzania</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Tanzania Association of Professional BDS Providers Company Limited</a:t>
                      </a:r>
                      <a:endParaRPr lang="en-US" sz="1200" b="0" i="0" u="none" strike="noStrike" dirty="0">
                        <a:effectLst/>
                        <a:latin typeface="Calibri" panose="020F0502020204030204" pitchFamily="34" charset="0"/>
                      </a:endParaRPr>
                    </a:p>
                  </a:txBody>
                  <a:tcPr marL="1904" marR="1904" marT="1904" marB="0"/>
                </a:tc>
                <a:tc>
                  <a:txBody>
                    <a:bodyPr/>
                    <a:lstStyle/>
                    <a:p>
                      <a:pPr algn="l" fontAlgn="b"/>
                      <a:r>
                        <a:rPr lang="en-US" sz="1200" u="none" strike="noStrike" dirty="0">
                          <a:effectLst/>
                        </a:rPr>
                        <a:t>Maize, beans, </a:t>
                      </a:r>
                      <a:r>
                        <a:rPr lang="en-US" sz="1200" u="none" strike="noStrike" dirty="0" smtClean="0">
                          <a:effectLst/>
                        </a:rPr>
                        <a:t>soybeans</a:t>
                      </a:r>
                      <a:endParaRPr lang="en-US" sz="1200" b="0" i="0" u="none" strike="noStrike" dirty="0">
                        <a:effectLst/>
                        <a:latin typeface="Calibri" panose="020F0502020204030204" pitchFamily="34" charset="0"/>
                      </a:endParaRPr>
                    </a:p>
                  </a:txBody>
                  <a:tcPr marL="1904" marR="1904" marT="1904" marB="0"/>
                </a:tc>
                <a:extLst>
                  <a:ext uri="{0D108BD9-81ED-4DB2-BD59-A6C34878D82A}">
                    <a16:rowId xmlns:a16="http://schemas.microsoft.com/office/drawing/2014/main" xmlns="" val="2931038491"/>
                  </a:ext>
                </a:extLst>
              </a:tr>
            </a:tbl>
          </a:graphicData>
        </a:graphic>
      </p:graphicFrame>
    </p:spTree>
    <p:extLst>
      <p:ext uri="{BB962C8B-B14F-4D97-AF65-F5344CB8AC3E}">
        <p14:creationId xmlns:p14="http://schemas.microsoft.com/office/powerpoint/2010/main" val="121096735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6C7484A-B3B8-4004-B2C1-4743CB5F43B2}"/>
              </a:ext>
            </a:extLst>
          </p:cNvPr>
          <p:cNvSpPr>
            <a:spLocks noGrp="1"/>
          </p:cNvSpPr>
          <p:nvPr>
            <p:ph type="title"/>
          </p:nvPr>
        </p:nvSpPr>
        <p:spPr>
          <a:xfrm>
            <a:off x="426656" y="0"/>
            <a:ext cx="7245459" cy="582389"/>
          </a:xfrm>
        </p:spPr>
        <p:txBody>
          <a:bodyPr/>
          <a:lstStyle/>
          <a:p>
            <a:r>
              <a:rPr lang="en-US" dirty="0"/>
              <a:t>Results from Investments in Tanzania </a:t>
            </a:r>
            <a:r>
              <a:rPr lang="en-US" dirty="0" smtClean="0"/>
              <a:t>To Date</a:t>
            </a:r>
            <a:endParaRPr lang="en-ZA" dirty="0"/>
          </a:p>
        </p:txBody>
      </p:sp>
      <p:graphicFrame>
        <p:nvGraphicFramePr>
          <p:cNvPr id="4" name="Table 3">
            <a:extLst>
              <a:ext uri="{FF2B5EF4-FFF2-40B4-BE49-F238E27FC236}">
                <a16:creationId xmlns:a16="http://schemas.microsoft.com/office/drawing/2014/main" xmlns="" id="{2FB9C89F-CF99-4EE0-8D16-FFCFFD737CBE}"/>
              </a:ext>
            </a:extLst>
          </p:cNvPr>
          <p:cNvGraphicFramePr>
            <a:graphicFrameLocks noGrp="1"/>
          </p:cNvGraphicFramePr>
          <p:nvPr>
            <p:extLst>
              <p:ext uri="{D42A27DB-BD31-4B8C-83A1-F6EECF244321}">
                <p14:modId xmlns:p14="http://schemas.microsoft.com/office/powerpoint/2010/main" val="3861914723"/>
              </p:ext>
            </p:extLst>
          </p:nvPr>
        </p:nvGraphicFramePr>
        <p:xfrm>
          <a:off x="217715" y="765690"/>
          <a:ext cx="9550400" cy="5983738"/>
        </p:xfrm>
        <a:graphic>
          <a:graphicData uri="http://schemas.openxmlformats.org/drawingml/2006/table">
            <a:tbl>
              <a:tblPr firstRow="1" bandRow="1">
                <a:tableStyleId>{FABFCF23-3B69-468F-B69F-88F6DE6A72F2}</a:tableStyleId>
              </a:tblPr>
              <a:tblGrid>
                <a:gridCol w="6058073">
                  <a:extLst>
                    <a:ext uri="{9D8B030D-6E8A-4147-A177-3AD203B41FA5}">
                      <a16:colId xmlns:a16="http://schemas.microsoft.com/office/drawing/2014/main" xmlns="" val="20000"/>
                    </a:ext>
                  </a:extLst>
                </a:gridCol>
                <a:gridCol w="3492327">
                  <a:extLst>
                    <a:ext uri="{9D8B030D-6E8A-4147-A177-3AD203B41FA5}">
                      <a16:colId xmlns:a16="http://schemas.microsoft.com/office/drawing/2014/main" xmlns="" val="3085491679"/>
                    </a:ext>
                  </a:extLst>
                </a:gridCol>
              </a:tblGrid>
              <a:tr h="354400">
                <a:tc>
                  <a:txBody>
                    <a:bodyPr/>
                    <a:lstStyle/>
                    <a:p>
                      <a:pPr marL="0" algn="l" defTabSz="914395" rtl="0" eaLnBrk="1" fontAlgn="t" latinLnBrk="0" hangingPunct="1"/>
                      <a:r>
                        <a:rPr lang="en-US" sz="1200" u="none" strike="noStrike" kern="1200" dirty="0">
                          <a:effectLst/>
                          <a:latin typeface="+mn-lt"/>
                        </a:rPr>
                        <a:t>Indicator</a:t>
                      </a:r>
                      <a:endParaRPr lang="en-US" sz="1200" b="1" i="0" u="none" strike="noStrike" kern="1200" dirty="0">
                        <a:solidFill>
                          <a:schemeClr val="bg1"/>
                        </a:solidFill>
                        <a:effectLst/>
                        <a:latin typeface="+mn-lt"/>
                        <a:ea typeface="+mn-ea"/>
                        <a:cs typeface="+mn-cs"/>
                      </a:endParaRPr>
                    </a:p>
                  </a:txBody>
                  <a:tcPr marL="74295" marR="74295" marT="37148" marB="37148" anchor="ctr"/>
                </a:tc>
                <a:tc>
                  <a:txBody>
                    <a:bodyPr/>
                    <a:lstStyle/>
                    <a:p>
                      <a:pPr marL="0" algn="ctr" defTabSz="914395" rtl="0" eaLnBrk="1" fontAlgn="t" latinLnBrk="0" hangingPunct="1"/>
                      <a:r>
                        <a:rPr lang="en-US" sz="1200" u="none" strike="noStrike" kern="1200" dirty="0">
                          <a:effectLst/>
                          <a:latin typeface="+mn-lt"/>
                        </a:rPr>
                        <a:t>Actual to date </a:t>
                      </a:r>
                      <a:endParaRPr lang="en-US" sz="1200" b="1" i="0" u="none" strike="noStrike" kern="1200" dirty="0">
                        <a:solidFill>
                          <a:schemeClr val="bg1"/>
                        </a:solidFill>
                        <a:effectLst/>
                        <a:latin typeface="+mn-lt"/>
                        <a:ea typeface="+mn-ea"/>
                        <a:cs typeface="+mn-cs"/>
                      </a:endParaRPr>
                    </a:p>
                  </a:txBody>
                  <a:tcPr marL="74295" marR="74295" marT="37148" marB="37148" anchor="ctr"/>
                </a:tc>
                <a:extLst>
                  <a:ext uri="{0D108BD9-81ED-4DB2-BD59-A6C34878D82A}">
                    <a16:rowId xmlns:a16="http://schemas.microsoft.com/office/drawing/2014/main" xmlns="" val="10000"/>
                  </a:ext>
                </a:extLst>
              </a:tr>
              <a:tr h="383325">
                <a:tc>
                  <a:txBody>
                    <a:bodyPr/>
                    <a:lstStyle/>
                    <a:p>
                      <a:pPr lvl="1" algn="l" fontAlgn="t"/>
                      <a:r>
                        <a:rPr lang="en-US" sz="1400" b="0" i="0" u="none" strike="noStrike" dirty="0">
                          <a:solidFill>
                            <a:srgbClr val="000000"/>
                          </a:solidFill>
                          <a:effectLst/>
                          <a:latin typeface="Calibri" panose="020F0502020204030204" pitchFamily="34" charset="0"/>
                        </a:rPr>
                        <a:t>Number of farmers reached </a:t>
                      </a:r>
                    </a:p>
                  </a:txBody>
                  <a:tcPr marL="7620" marR="7620" marT="7620" marB="0"/>
                </a:tc>
                <a:tc>
                  <a:txBody>
                    <a:bodyPr/>
                    <a:lstStyle/>
                    <a:p>
                      <a:pPr algn="ctr" fontAlgn="b"/>
                      <a:r>
                        <a:rPr lang="en-US" sz="1400" b="0" i="0" u="none" strike="noStrike" dirty="0">
                          <a:solidFill>
                            <a:srgbClr val="000000"/>
                          </a:solidFill>
                          <a:effectLst/>
                          <a:latin typeface="Calibri" panose="020F0502020204030204" pitchFamily="34" charset="0"/>
                        </a:rPr>
                        <a:t>             </a:t>
                      </a:r>
                      <a:r>
                        <a:rPr lang="en-US" sz="1400" b="0" i="0" u="none" strike="noStrike" dirty="0" smtClean="0">
                          <a:solidFill>
                            <a:srgbClr val="000000"/>
                          </a:solidFill>
                          <a:effectLst/>
                          <a:latin typeface="Calibri" panose="020F0502020204030204" pitchFamily="34" charset="0"/>
                        </a:rPr>
                        <a:t>742,865</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xmlns="" val="10001"/>
                  </a:ext>
                </a:extLst>
              </a:tr>
              <a:tr h="420369">
                <a:tc>
                  <a:txBody>
                    <a:bodyPr/>
                    <a:lstStyle/>
                    <a:p>
                      <a:pPr lvl="1" algn="l" fontAlgn="t"/>
                      <a:r>
                        <a:rPr lang="en-US" sz="1400" b="0" i="0" u="none" strike="noStrike" dirty="0">
                          <a:solidFill>
                            <a:srgbClr val="000000"/>
                          </a:solidFill>
                          <a:effectLst/>
                          <a:latin typeface="Calibri" panose="020F0502020204030204" pitchFamily="34" charset="0"/>
                        </a:rPr>
                        <a:t>Quantity of Early Generation Seeds produced(MT</a:t>
                      </a:r>
                      <a:r>
                        <a:rPr lang="en-US" sz="1400" b="0" i="0" u="none" strike="noStrike" dirty="0" smtClean="0">
                          <a:solidFill>
                            <a:srgbClr val="000000"/>
                          </a:solidFill>
                          <a:effectLst/>
                          <a:latin typeface="Calibri" panose="020F0502020204030204" pitchFamily="34" charset="0"/>
                        </a:rPr>
                        <a:t>)</a:t>
                      </a:r>
                    </a:p>
                    <a:p>
                      <a:pPr lvl="1" algn="l" fontAlgn="t"/>
                      <a:endParaRPr lang="en-US" sz="1400" b="0" i="0" u="none" strike="noStrike" dirty="0">
                        <a:solidFill>
                          <a:srgbClr val="000000"/>
                        </a:solidFill>
                        <a:effectLst/>
                        <a:latin typeface="Calibri" panose="020F0502020204030204" pitchFamily="34" charset="0"/>
                      </a:endParaRPr>
                    </a:p>
                  </a:txBody>
                  <a:tcPr marL="7620" marR="7620" marT="7620" marB="0"/>
                </a:tc>
                <a:tc>
                  <a:txBody>
                    <a:bodyPr/>
                    <a:lstStyle/>
                    <a:p>
                      <a:pPr algn="ctr" fontAlgn="b"/>
                      <a:r>
                        <a:rPr lang="en-US" sz="1400" b="0" i="0" u="none" strike="noStrike" dirty="0">
                          <a:solidFill>
                            <a:srgbClr val="000000"/>
                          </a:solidFill>
                          <a:effectLst/>
                          <a:latin typeface="Calibri" panose="020F0502020204030204" pitchFamily="34" charset="0"/>
                        </a:rPr>
                        <a:t>                    </a:t>
                      </a:r>
                      <a:r>
                        <a:rPr lang="en-US" sz="1400" b="0" i="0" u="none" strike="noStrike" dirty="0" smtClean="0">
                          <a:solidFill>
                            <a:srgbClr val="000000"/>
                          </a:solidFill>
                          <a:effectLst/>
                          <a:latin typeface="Calibri" panose="020F0502020204030204" pitchFamily="34" charset="0"/>
                        </a:rPr>
                        <a:t>153</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xmlns="" val="527636985"/>
                  </a:ext>
                </a:extLst>
              </a:tr>
              <a:tr h="420369">
                <a:tc>
                  <a:txBody>
                    <a:bodyPr/>
                    <a:lstStyle/>
                    <a:p>
                      <a:pPr lvl="1" algn="l" fontAlgn="t"/>
                      <a:r>
                        <a:rPr lang="en-US" sz="1400" b="0" i="0" u="none" strike="noStrike" dirty="0">
                          <a:solidFill>
                            <a:srgbClr val="000000"/>
                          </a:solidFill>
                          <a:effectLst/>
                          <a:latin typeface="Calibri" panose="020F0502020204030204" pitchFamily="34" charset="0"/>
                        </a:rPr>
                        <a:t>Quantity of certified seeds produced by seed companies </a:t>
                      </a:r>
                      <a:endParaRPr lang="en-US" sz="1400" b="0" i="0" u="none" strike="noStrike" dirty="0" smtClean="0">
                        <a:solidFill>
                          <a:srgbClr val="000000"/>
                        </a:solidFill>
                        <a:effectLst/>
                        <a:latin typeface="Calibri" panose="020F0502020204030204" pitchFamily="34" charset="0"/>
                      </a:endParaRPr>
                    </a:p>
                    <a:p>
                      <a:pPr lvl="1" algn="l" fontAlgn="t"/>
                      <a:endParaRPr lang="en-US" sz="1400" b="0" i="0" u="none" strike="noStrike" dirty="0">
                        <a:solidFill>
                          <a:srgbClr val="000000"/>
                        </a:solidFill>
                        <a:effectLst/>
                        <a:latin typeface="Calibri" panose="020F0502020204030204" pitchFamily="34" charset="0"/>
                      </a:endParaRPr>
                    </a:p>
                  </a:txBody>
                  <a:tcPr marL="7620" marR="7620" marT="7620" marB="0"/>
                </a:tc>
                <a:tc>
                  <a:txBody>
                    <a:bodyPr/>
                    <a:lstStyle/>
                    <a:p>
                      <a:pPr algn="ctr" fontAlgn="b"/>
                      <a:r>
                        <a:rPr lang="en-US" sz="1400" b="0" i="0" u="none" strike="noStrike" dirty="0">
                          <a:solidFill>
                            <a:srgbClr val="000000"/>
                          </a:solidFill>
                          <a:effectLst/>
                          <a:latin typeface="Calibri" panose="020F0502020204030204" pitchFamily="34" charset="0"/>
                        </a:rPr>
                        <a:t>                 </a:t>
                      </a:r>
                      <a:r>
                        <a:rPr lang="en-US" sz="1400" b="0" i="0" u="none" strike="noStrike" dirty="0" smtClean="0">
                          <a:solidFill>
                            <a:srgbClr val="000000"/>
                          </a:solidFill>
                          <a:effectLst/>
                          <a:latin typeface="Calibri" panose="020F0502020204030204" pitchFamily="34" charset="0"/>
                        </a:rPr>
                        <a:t>1,737</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xmlns="" val="1622130540"/>
                  </a:ext>
                </a:extLst>
              </a:tr>
              <a:tr h="420369">
                <a:tc>
                  <a:txBody>
                    <a:bodyPr/>
                    <a:lstStyle/>
                    <a:p>
                      <a:pPr lvl="1" algn="l" fontAlgn="t"/>
                      <a:r>
                        <a:rPr lang="en-US" sz="1400" b="0" i="0" u="none" strike="noStrike" dirty="0">
                          <a:solidFill>
                            <a:srgbClr val="000000"/>
                          </a:solidFill>
                          <a:effectLst/>
                          <a:latin typeface="Calibri" panose="020F0502020204030204" pitchFamily="34" charset="0"/>
                        </a:rPr>
                        <a:t>Quantity of certified seeds sold as a result of AGRA support </a:t>
                      </a:r>
                      <a:endParaRPr lang="en-US" sz="1400" b="0" i="0" u="none" strike="noStrike" dirty="0" smtClean="0">
                        <a:solidFill>
                          <a:srgbClr val="000000"/>
                        </a:solidFill>
                        <a:effectLst/>
                        <a:latin typeface="Calibri" panose="020F0502020204030204" pitchFamily="34" charset="0"/>
                      </a:endParaRPr>
                    </a:p>
                    <a:p>
                      <a:pPr lvl="1" algn="l" fontAlgn="t"/>
                      <a:endParaRPr lang="en-US" sz="1400" b="0" i="0" u="none" strike="noStrike" dirty="0">
                        <a:solidFill>
                          <a:srgbClr val="000000"/>
                        </a:solidFill>
                        <a:effectLst/>
                        <a:latin typeface="Calibri" panose="020F0502020204030204" pitchFamily="34" charset="0"/>
                      </a:endParaRPr>
                    </a:p>
                  </a:txBody>
                  <a:tcPr marL="7620" marR="7620" marT="7620" marB="0"/>
                </a:tc>
                <a:tc>
                  <a:txBody>
                    <a:bodyPr/>
                    <a:lstStyle/>
                    <a:p>
                      <a:pPr algn="ctr" fontAlgn="b"/>
                      <a:r>
                        <a:rPr lang="en-US" sz="1400" b="0" i="0" u="none" strike="noStrike" dirty="0">
                          <a:solidFill>
                            <a:srgbClr val="000000"/>
                          </a:solidFill>
                          <a:effectLst/>
                          <a:latin typeface="Calibri" panose="020F0502020204030204" pitchFamily="34" charset="0"/>
                        </a:rPr>
                        <a:t>                 1,082.2 </a:t>
                      </a:r>
                    </a:p>
                  </a:txBody>
                  <a:tcPr marL="7620" marR="7620" marT="7620" marB="0" anchor="b"/>
                </a:tc>
                <a:extLst>
                  <a:ext uri="{0D108BD9-81ED-4DB2-BD59-A6C34878D82A}">
                    <a16:rowId xmlns:a16="http://schemas.microsoft.com/office/drawing/2014/main" xmlns="" val="2820107641"/>
                  </a:ext>
                </a:extLst>
              </a:tr>
              <a:tr h="420369">
                <a:tc>
                  <a:txBody>
                    <a:bodyPr/>
                    <a:lstStyle/>
                    <a:p>
                      <a:pPr lvl="1" algn="l" fontAlgn="t"/>
                      <a:r>
                        <a:rPr lang="en-US" sz="1400" b="0" i="0" u="none" strike="noStrike" dirty="0">
                          <a:solidFill>
                            <a:srgbClr val="000000"/>
                          </a:solidFill>
                          <a:effectLst/>
                          <a:latin typeface="Calibri" panose="020F0502020204030204" pitchFamily="34" charset="0"/>
                        </a:rPr>
                        <a:t>Number of VBAs selected and </a:t>
                      </a:r>
                      <a:r>
                        <a:rPr lang="en-US" sz="1400" b="0" i="0" u="none" strike="noStrike" dirty="0" smtClean="0">
                          <a:solidFill>
                            <a:srgbClr val="000000"/>
                          </a:solidFill>
                          <a:effectLst/>
                          <a:latin typeface="Calibri" panose="020F0502020204030204" pitchFamily="34" charset="0"/>
                        </a:rPr>
                        <a:t>trained</a:t>
                      </a:r>
                    </a:p>
                    <a:p>
                      <a:pPr lvl="1" algn="l" fontAlgn="t"/>
                      <a:endParaRPr lang="en-US" sz="1400" b="0" i="0" u="none" strike="noStrike" dirty="0">
                        <a:solidFill>
                          <a:srgbClr val="000000"/>
                        </a:solidFill>
                        <a:effectLst/>
                        <a:latin typeface="Calibri" panose="020F0502020204030204" pitchFamily="34" charset="0"/>
                      </a:endParaRPr>
                    </a:p>
                  </a:txBody>
                  <a:tcPr marL="7620" marR="7620" marT="7620" marB="0"/>
                </a:tc>
                <a:tc>
                  <a:txBody>
                    <a:bodyPr/>
                    <a:lstStyle/>
                    <a:p>
                      <a:pPr algn="ctr" fontAlgn="b"/>
                      <a:r>
                        <a:rPr lang="en-US" sz="1400" b="0" i="0" u="none" strike="noStrike" dirty="0">
                          <a:solidFill>
                            <a:srgbClr val="000000"/>
                          </a:solidFill>
                          <a:effectLst/>
                          <a:latin typeface="Calibri" panose="020F0502020204030204" pitchFamily="34" charset="0"/>
                        </a:rPr>
                        <a:t>                 </a:t>
                      </a:r>
                      <a:r>
                        <a:rPr lang="en-US" sz="1400" b="0" i="0" u="none" strike="noStrike" dirty="0" smtClean="0">
                          <a:solidFill>
                            <a:srgbClr val="000000"/>
                          </a:solidFill>
                          <a:effectLst/>
                          <a:latin typeface="Calibri" panose="020F0502020204030204" pitchFamily="34" charset="0"/>
                        </a:rPr>
                        <a:t>4,971</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xmlns="" val="1319125070"/>
                  </a:ext>
                </a:extLst>
              </a:tr>
              <a:tr h="420369">
                <a:tc>
                  <a:txBody>
                    <a:bodyPr/>
                    <a:lstStyle/>
                    <a:p>
                      <a:pPr lvl="1" algn="l" fontAlgn="t"/>
                      <a:r>
                        <a:rPr lang="en-US" sz="1400" b="0" i="0" u="none" strike="noStrike" dirty="0">
                          <a:solidFill>
                            <a:srgbClr val="000000"/>
                          </a:solidFill>
                          <a:effectLst/>
                          <a:latin typeface="Calibri" panose="020F0502020204030204" pitchFamily="34" charset="0"/>
                        </a:rPr>
                        <a:t>Small packs </a:t>
                      </a:r>
                      <a:r>
                        <a:rPr lang="en-US" sz="1400" b="0" i="0" u="none" strike="noStrike" dirty="0" smtClean="0">
                          <a:solidFill>
                            <a:srgbClr val="000000"/>
                          </a:solidFill>
                          <a:effectLst/>
                          <a:latin typeface="Calibri" panose="020F0502020204030204" pitchFamily="34" charset="0"/>
                        </a:rPr>
                        <a:t>distributed</a:t>
                      </a:r>
                    </a:p>
                    <a:p>
                      <a:pPr lvl="1" algn="l" fontAlgn="t"/>
                      <a:endParaRPr lang="en-US" sz="1400" b="0" i="0" u="none" strike="noStrike" dirty="0">
                        <a:solidFill>
                          <a:srgbClr val="000000"/>
                        </a:solidFill>
                        <a:effectLst/>
                        <a:latin typeface="Calibri" panose="020F0502020204030204" pitchFamily="34" charset="0"/>
                      </a:endParaRPr>
                    </a:p>
                  </a:txBody>
                  <a:tcPr marL="7620" marR="7620" marT="7620" marB="0"/>
                </a:tc>
                <a:tc>
                  <a:txBody>
                    <a:bodyPr/>
                    <a:lstStyle/>
                    <a:p>
                      <a:pPr algn="ctr" fontAlgn="b"/>
                      <a:r>
                        <a:rPr lang="en-US" sz="1400" b="0" i="0" u="none" strike="noStrike" dirty="0">
                          <a:solidFill>
                            <a:srgbClr val="000000"/>
                          </a:solidFill>
                          <a:effectLst/>
                          <a:latin typeface="Calibri" panose="020F0502020204030204" pitchFamily="34" charset="0"/>
                        </a:rPr>
                        <a:t>             </a:t>
                      </a:r>
                      <a:r>
                        <a:rPr lang="en-US" sz="1400" b="0" i="0" u="none" strike="noStrike" dirty="0" smtClean="0">
                          <a:solidFill>
                            <a:srgbClr val="000000"/>
                          </a:solidFill>
                          <a:effectLst/>
                          <a:latin typeface="Calibri" panose="020F0502020204030204" pitchFamily="34" charset="0"/>
                        </a:rPr>
                        <a:t>188,907</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xmlns="" val="253601123"/>
                  </a:ext>
                </a:extLst>
              </a:tr>
              <a:tr h="420369">
                <a:tc>
                  <a:txBody>
                    <a:bodyPr/>
                    <a:lstStyle/>
                    <a:p>
                      <a:pPr lvl="1" algn="l" fontAlgn="t"/>
                      <a:r>
                        <a:rPr lang="en-US" sz="1400" b="0" i="0" u="none" strike="noStrike" dirty="0">
                          <a:solidFill>
                            <a:srgbClr val="000000"/>
                          </a:solidFill>
                          <a:effectLst/>
                          <a:latin typeface="Calibri" panose="020F0502020204030204" pitchFamily="34" charset="0"/>
                        </a:rPr>
                        <a:t>Extension events – demos, field days </a:t>
                      </a:r>
                      <a:r>
                        <a:rPr lang="en-US" sz="1400" b="0" i="0" u="none" strike="noStrike" dirty="0" err="1" smtClean="0">
                          <a:solidFill>
                            <a:srgbClr val="000000"/>
                          </a:solidFill>
                          <a:effectLst/>
                          <a:latin typeface="Calibri" panose="020F0502020204030204" pitchFamily="34" charset="0"/>
                        </a:rPr>
                        <a:t>etc</a:t>
                      </a:r>
                      <a:endParaRPr lang="en-US" sz="1400" b="0" i="0" u="none" strike="noStrike" dirty="0" smtClean="0">
                        <a:solidFill>
                          <a:srgbClr val="000000"/>
                        </a:solidFill>
                        <a:effectLst/>
                        <a:latin typeface="Calibri" panose="020F0502020204030204" pitchFamily="34" charset="0"/>
                      </a:endParaRPr>
                    </a:p>
                    <a:p>
                      <a:pPr lvl="1" algn="l" fontAlgn="t"/>
                      <a:endParaRPr lang="en-US" sz="1400" b="0" i="0" u="none" strike="noStrike" dirty="0">
                        <a:solidFill>
                          <a:srgbClr val="000000"/>
                        </a:solidFill>
                        <a:effectLst/>
                        <a:latin typeface="Calibri" panose="020F0502020204030204" pitchFamily="34" charset="0"/>
                      </a:endParaRPr>
                    </a:p>
                  </a:txBody>
                  <a:tcPr marL="7620" marR="7620" marT="7620" marB="0"/>
                </a:tc>
                <a:tc>
                  <a:txBody>
                    <a:bodyPr/>
                    <a:lstStyle/>
                    <a:p>
                      <a:pPr algn="ctr" fontAlgn="b"/>
                      <a:r>
                        <a:rPr lang="en-US" sz="1400" b="0" i="0" u="none" strike="noStrike" dirty="0">
                          <a:solidFill>
                            <a:srgbClr val="000000"/>
                          </a:solidFill>
                          <a:effectLst/>
                          <a:latin typeface="Calibri" panose="020F0502020204030204" pitchFamily="34" charset="0"/>
                        </a:rPr>
                        <a:t>                 </a:t>
                      </a:r>
                      <a:r>
                        <a:rPr lang="en-US" sz="1400" b="0" i="0" u="none" strike="noStrike" dirty="0" smtClean="0">
                          <a:solidFill>
                            <a:srgbClr val="000000"/>
                          </a:solidFill>
                          <a:effectLst/>
                          <a:latin typeface="Calibri" panose="020F0502020204030204" pitchFamily="34" charset="0"/>
                        </a:rPr>
                        <a:t>6,639</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xmlns="" val="10005"/>
                  </a:ext>
                </a:extLst>
              </a:tr>
              <a:tr h="358923">
                <a:tc>
                  <a:txBody>
                    <a:bodyPr/>
                    <a:lstStyle/>
                    <a:p>
                      <a:pPr lvl="1" algn="l" fontAlgn="t"/>
                      <a:r>
                        <a:rPr lang="en-US" sz="1400" b="0" i="0" u="none" strike="noStrike" dirty="0">
                          <a:solidFill>
                            <a:srgbClr val="000000"/>
                          </a:solidFill>
                          <a:effectLst/>
                          <a:latin typeface="Calibri" panose="020F0502020204030204" pitchFamily="34" charset="0"/>
                        </a:rPr>
                        <a:t>Number of farmers reached by extension</a:t>
                      </a:r>
                    </a:p>
                  </a:txBody>
                  <a:tcPr marL="7620" marR="7620" marT="7620" marB="0"/>
                </a:tc>
                <a:tc>
                  <a:txBody>
                    <a:bodyPr/>
                    <a:lstStyle/>
                    <a:p>
                      <a:pPr algn="ctr" fontAlgn="b"/>
                      <a:r>
                        <a:rPr lang="en-US" sz="1400" b="0" i="0" u="none" strike="noStrike" dirty="0">
                          <a:solidFill>
                            <a:srgbClr val="000000"/>
                          </a:solidFill>
                          <a:effectLst/>
                          <a:latin typeface="Calibri" panose="020F0502020204030204" pitchFamily="34" charset="0"/>
                        </a:rPr>
                        <a:t>             </a:t>
                      </a:r>
                      <a:r>
                        <a:rPr lang="en-US" sz="1400" b="0" i="0" u="none" strike="noStrike" dirty="0" smtClean="0">
                          <a:solidFill>
                            <a:srgbClr val="000000"/>
                          </a:solidFill>
                          <a:effectLst/>
                          <a:latin typeface="Calibri" panose="020F0502020204030204" pitchFamily="34" charset="0"/>
                        </a:rPr>
                        <a:t>453,644</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xmlns="" val="10006"/>
                  </a:ext>
                </a:extLst>
              </a:tr>
              <a:tr h="543690">
                <a:tc>
                  <a:txBody>
                    <a:bodyPr/>
                    <a:lstStyle/>
                    <a:p>
                      <a:pPr lvl="1" algn="l" fontAlgn="t"/>
                      <a:r>
                        <a:rPr lang="en-US" sz="1400" b="0" i="0" u="none" strike="noStrike" dirty="0">
                          <a:solidFill>
                            <a:srgbClr val="000000"/>
                          </a:solidFill>
                          <a:effectLst/>
                          <a:latin typeface="Calibri" panose="020F0502020204030204" pitchFamily="34" charset="0"/>
                        </a:rPr>
                        <a:t>Number of  SHF assessing mechanization services</a:t>
                      </a:r>
                    </a:p>
                  </a:txBody>
                  <a:tcPr marL="7620" marR="7620" marT="7620" marB="0"/>
                </a:tc>
                <a:tc>
                  <a:txBody>
                    <a:bodyPr/>
                    <a:lstStyle/>
                    <a:p>
                      <a:pPr algn="ctr" fontAlgn="b"/>
                      <a:r>
                        <a:rPr lang="en-US" sz="1400" b="0" i="0" u="none" strike="noStrike" dirty="0">
                          <a:solidFill>
                            <a:srgbClr val="000000"/>
                          </a:solidFill>
                          <a:effectLst/>
                          <a:latin typeface="Calibri" panose="020F0502020204030204" pitchFamily="34" charset="0"/>
                        </a:rPr>
                        <a:t>                 </a:t>
                      </a:r>
                      <a:r>
                        <a:rPr lang="en-US" sz="1400" b="0" i="0" u="none" strike="noStrike" dirty="0" smtClean="0">
                          <a:solidFill>
                            <a:srgbClr val="000000"/>
                          </a:solidFill>
                          <a:effectLst/>
                          <a:latin typeface="Calibri" panose="020F0502020204030204" pitchFamily="34" charset="0"/>
                        </a:rPr>
                        <a:t>7,939</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xmlns="" val="10007"/>
                  </a:ext>
                </a:extLst>
              </a:tr>
              <a:tr h="420369">
                <a:tc>
                  <a:txBody>
                    <a:bodyPr/>
                    <a:lstStyle/>
                    <a:p>
                      <a:pPr lvl="1" algn="l" fontAlgn="t"/>
                      <a:r>
                        <a:rPr lang="en-US" sz="1400" b="0" i="0" u="none" strike="noStrike" dirty="0">
                          <a:solidFill>
                            <a:srgbClr val="000000"/>
                          </a:solidFill>
                          <a:effectLst/>
                          <a:latin typeface="Calibri" panose="020F0502020204030204" pitchFamily="34" charset="0"/>
                        </a:rPr>
                        <a:t> Cubic meters of storage space developed or </a:t>
                      </a:r>
                      <a:r>
                        <a:rPr lang="en-US" sz="1400" b="0" i="0" u="none" strike="noStrike" dirty="0" smtClean="0">
                          <a:solidFill>
                            <a:srgbClr val="000000"/>
                          </a:solidFill>
                          <a:effectLst/>
                          <a:latin typeface="Calibri" panose="020F0502020204030204" pitchFamily="34" charset="0"/>
                        </a:rPr>
                        <a:t>refurbished</a:t>
                      </a:r>
                    </a:p>
                    <a:p>
                      <a:pPr lvl="1" algn="l" fontAlgn="t"/>
                      <a:endParaRPr lang="en-US" sz="1400" b="0" i="0" u="none" strike="noStrike" dirty="0">
                        <a:solidFill>
                          <a:srgbClr val="000000"/>
                        </a:solidFill>
                        <a:effectLst/>
                        <a:latin typeface="Calibri" panose="020F0502020204030204" pitchFamily="34" charset="0"/>
                      </a:endParaRPr>
                    </a:p>
                  </a:txBody>
                  <a:tcPr marL="7620" marR="7620" marT="7620" marB="0"/>
                </a:tc>
                <a:tc>
                  <a:txBody>
                    <a:bodyPr/>
                    <a:lstStyle/>
                    <a:p>
                      <a:pPr algn="ctr" fontAlgn="b"/>
                      <a:r>
                        <a:rPr lang="en-US" sz="1400" b="0" i="0" u="none" strike="noStrike" dirty="0">
                          <a:solidFill>
                            <a:srgbClr val="000000"/>
                          </a:solidFill>
                          <a:effectLst/>
                          <a:latin typeface="Calibri" panose="020F0502020204030204" pitchFamily="34" charset="0"/>
                        </a:rPr>
                        <a:t>               </a:t>
                      </a:r>
                      <a:r>
                        <a:rPr lang="en-US" sz="1400" b="0" i="0" u="none" strike="noStrike" dirty="0" smtClean="0">
                          <a:solidFill>
                            <a:srgbClr val="000000"/>
                          </a:solidFill>
                          <a:effectLst/>
                          <a:latin typeface="Calibri" panose="020F0502020204030204" pitchFamily="34" charset="0"/>
                        </a:rPr>
                        <a:t>52,858</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xmlns="" val="3105230183"/>
                  </a:ext>
                </a:extLst>
              </a:tr>
              <a:tr h="420369">
                <a:tc>
                  <a:txBody>
                    <a:bodyPr/>
                    <a:lstStyle/>
                    <a:p>
                      <a:pPr lvl="1" algn="l" fontAlgn="t"/>
                      <a:r>
                        <a:rPr lang="en-US" sz="1400" b="0" i="0" u="none" strike="noStrike" dirty="0">
                          <a:solidFill>
                            <a:srgbClr val="000000"/>
                          </a:solidFill>
                          <a:effectLst/>
                          <a:latin typeface="Calibri" panose="020F0502020204030204" pitchFamily="34" charset="0"/>
                        </a:rPr>
                        <a:t>Quantity (MT) of produce </a:t>
                      </a:r>
                      <a:r>
                        <a:rPr lang="en-US" sz="1400" b="0" i="0" u="none" strike="noStrike" dirty="0" smtClean="0">
                          <a:solidFill>
                            <a:srgbClr val="000000"/>
                          </a:solidFill>
                          <a:effectLst/>
                          <a:latin typeface="Calibri" panose="020F0502020204030204" pitchFamily="34" charset="0"/>
                        </a:rPr>
                        <a:t>aggregated</a:t>
                      </a:r>
                    </a:p>
                    <a:p>
                      <a:pPr lvl="1" algn="l" fontAlgn="t"/>
                      <a:endParaRPr lang="en-US" sz="1400" b="0" i="0" u="none" strike="noStrike" dirty="0">
                        <a:solidFill>
                          <a:srgbClr val="000000"/>
                        </a:solidFill>
                        <a:effectLst/>
                        <a:latin typeface="Calibri" panose="020F0502020204030204" pitchFamily="34" charset="0"/>
                      </a:endParaRPr>
                    </a:p>
                  </a:txBody>
                  <a:tcPr marL="7620" marR="7620" marT="7620" marB="0"/>
                </a:tc>
                <a:tc>
                  <a:txBody>
                    <a:bodyPr/>
                    <a:lstStyle/>
                    <a:p>
                      <a:pPr algn="ctr" fontAlgn="b"/>
                      <a:r>
                        <a:rPr lang="en-US" sz="1400" b="0" i="0" u="none" strike="noStrike" dirty="0">
                          <a:solidFill>
                            <a:srgbClr val="000000"/>
                          </a:solidFill>
                          <a:effectLst/>
                          <a:latin typeface="Calibri" panose="020F0502020204030204" pitchFamily="34" charset="0"/>
                        </a:rPr>
                        <a:t>               </a:t>
                      </a:r>
                      <a:r>
                        <a:rPr lang="en-US" sz="1400" b="0" i="0" u="none" strike="noStrike" dirty="0" smtClean="0">
                          <a:solidFill>
                            <a:srgbClr val="000000"/>
                          </a:solidFill>
                          <a:effectLst/>
                          <a:latin typeface="Calibri" panose="020F0502020204030204" pitchFamily="34" charset="0"/>
                        </a:rPr>
                        <a:t>322,905</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xmlns="" val="2673211732"/>
                  </a:ext>
                </a:extLst>
              </a:tr>
              <a:tr h="420369">
                <a:tc>
                  <a:txBody>
                    <a:bodyPr/>
                    <a:lstStyle/>
                    <a:p>
                      <a:pPr lvl="1" algn="l" fontAlgn="t"/>
                      <a:r>
                        <a:rPr lang="en-US" sz="1400" b="0" i="0" u="none" strike="noStrike" dirty="0">
                          <a:solidFill>
                            <a:srgbClr val="000000"/>
                          </a:solidFill>
                          <a:effectLst/>
                          <a:latin typeface="Calibri" panose="020F0502020204030204" pitchFamily="34" charset="0"/>
                        </a:rPr>
                        <a:t>Quantity (MT) of produce </a:t>
                      </a:r>
                      <a:r>
                        <a:rPr lang="en-US" sz="1400" b="0" i="0" u="none" strike="noStrike" dirty="0" smtClean="0">
                          <a:solidFill>
                            <a:srgbClr val="000000"/>
                          </a:solidFill>
                          <a:effectLst/>
                          <a:latin typeface="Calibri" panose="020F0502020204030204" pitchFamily="34" charset="0"/>
                        </a:rPr>
                        <a:t>sold</a:t>
                      </a:r>
                    </a:p>
                    <a:p>
                      <a:pPr lvl="1" algn="l" fontAlgn="t"/>
                      <a:endParaRPr lang="en-US" sz="1400" b="0" i="0" u="none" strike="noStrike" dirty="0">
                        <a:solidFill>
                          <a:srgbClr val="000000"/>
                        </a:solidFill>
                        <a:effectLst/>
                        <a:latin typeface="Calibri" panose="020F0502020204030204" pitchFamily="34" charset="0"/>
                      </a:endParaRPr>
                    </a:p>
                  </a:txBody>
                  <a:tcPr marL="7620" marR="7620" marT="7620" marB="0"/>
                </a:tc>
                <a:tc>
                  <a:txBody>
                    <a:bodyPr/>
                    <a:lstStyle/>
                    <a:p>
                      <a:pPr algn="ctr" fontAlgn="b"/>
                      <a:r>
                        <a:rPr lang="en-US" sz="1400" b="0" i="0" u="none" strike="noStrike" dirty="0">
                          <a:solidFill>
                            <a:srgbClr val="000000"/>
                          </a:solidFill>
                          <a:effectLst/>
                          <a:latin typeface="Calibri" panose="020F0502020204030204" pitchFamily="34" charset="0"/>
                        </a:rPr>
                        <a:t>               </a:t>
                      </a:r>
                      <a:r>
                        <a:rPr lang="en-US" sz="1400" b="0" i="0" u="none" strike="noStrike" dirty="0" smtClean="0">
                          <a:solidFill>
                            <a:srgbClr val="000000"/>
                          </a:solidFill>
                          <a:effectLst/>
                          <a:latin typeface="Calibri" panose="020F0502020204030204" pitchFamily="34" charset="0"/>
                        </a:rPr>
                        <a:t>292,623</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xmlns="" val="967028417"/>
                  </a:ext>
                </a:extLst>
              </a:tr>
              <a:tr h="420369">
                <a:tc>
                  <a:txBody>
                    <a:bodyPr/>
                    <a:lstStyle/>
                    <a:p>
                      <a:pPr lvl="1" algn="l" fontAlgn="t"/>
                      <a:r>
                        <a:rPr lang="en-US" sz="1400" b="0" i="0" u="none" strike="noStrike" dirty="0">
                          <a:solidFill>
                            <a:srgbClr val="000000"/>
                          </a:solidFill>
                          <a:effectLst/>
                          <a:latin typeface="Calibri" panose="020F0502020204030204" pitchFamily="34" charset="0"/>
                        </a:rPr>
                        <a:t>Value of produce ($US) sold to </a:t>
                      </a:r>
                      <a:r>
                        <a:rPr lang="en-US" sz="1400" b="0" i="0" u="none" strike="noStrike" dirty="0" smtClean="0">
                          <a:solidFill>
                            <a:srgbClr val="000000"/>
                          </a:solidFill>
                          <a:effectLst/>
                          <a:latin typeface="Calibri" panose="020F0502020204030204" pitchFamily="34" charset="0"/>
                        </a:rPr>
                        <a:t>markets</a:t>
                      </a:r>
                    </a:p>
                    <a:p>
                      <a:pPr lvl="1" algn="l" fontAlgn="t"/>
                      <a:endParaRPr lang="en-US" sz="1400" b="0" i="0" u="none" strike="noStrike" dirty="0">
                        <a:solidFill>
                          <a:srgbClr val="000000"/>
                        </a:solidFill>
                        <a:effectLst/>
                        <a:latin typeface="Calibri" panose="020F0502020204030204" pitchFamily="34" charset="0"/>
                      </a:endParaRPr>
                    </a:p>
                  </a:txBody>
                  <a:tcPr marL="7620" marR="7620" marT="7620" marB="0"/>
                </a:tc>
                <a:tc>
                  <a:txBody>
                    <a:bodyPr/>
                    <a:lstStyle/>
                    <a:p>
                      <a:pPr algn="ctr" fontAlgn="b"/>
                      <a:r>
                        <a:rPr lang="en-US" sz="1400" b="0" i="0" u="none" strike="noStrike" dirty="0">
                          <a:solidFill>
                            <a:srgbClr val="000000"/>
                          </a:solidFill>
                          <a:effectLst/>
                          <a:latin typeface="Calibri" panose="020F0502020204030204" pitchFamily="34" charset="0"/>
                        </a:rPr>
                        <a:t>         </a:t>
                      </a:r>
                      <a:r>
                        <a:rPr lang="en-US" sz="1400" b="0" i="0" u="none" strike="noStrike" dirty="0" smtClean="0">
                          <a:solidFill>
                            <a:srgbClr val="000000"/>
                          </a:solidFill>
                          <a:effectLst/>
                          <a:latin typeface="Calibri" panose="020F0502020204030204" pitchFamily="34" charset="0"/>
                        </a:rPr>
                        <a:t>837,647,424</a:t>
                      </a:r>
                      <a:endParaRPr lang="en-US" sz="14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xmlns="" val="4096947216"/>
                  </a:ext>
                </a:extLst>
              </a:tr>
            </a:tbl>
          </a:graphicData>
        </a:graphic>
      </p:graphicFrame>
    </p:spTree>
    <p:extLst>
      <p:ext uri="{BB962C8B-B14F-4D97-AF65-F5344CB8AC3E}">
        <p14:creationId xmlns:p14="http://schemas.microsoft.com/office/powerpoint/2010/main" val="287907020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50740" y="134053"/>
            <a:ext cx="7245459" cy="582389"/>
          </a:xfrm>
          <a:prstGeom prst="rect">
            <a:avLst/>
          </a:prstGeom>
          <a:noFill/>
          <a:ln>
            <a:noFill/>
          </a:ln>
        </p:spPr>
        <p:txBody>
          <a:bodyPr spcFirstLastPara="1" wrap="square" lIns="0" tIns="0" rIns="0" bIns="0" anchor="b" anchorCtr="0"/>
          <a:lstStyle>
            <a:defPPr marR="0" lvl="0" algn="l" rtl="0">
              <a:lnSpc>
                <a:spcPct val="100000"/>
              </a:lnSpc>
              <a:spcBef>
                <a:spcPts val="0"/>
              </a:spcBef>
              <a:spcAft>
                <a:spcPts val="0"/>
              </a:spcAft>
            </a:defPPr>
            <a:lvl1pPr marL="0" indent="0" defTabSz="914395" eaLnBrk="1" fontAlgn="auto" latinLnBrk="0" hangingPunct="1">
              <a:lnSpc>
                <a:spcPct val="90000"/>
              </a:lnSpc>
              <a:buClr>
                <a:schemeClr val="dk1"/>
              </a:buClr>
              <a:buSzPts val="2200"/>
              <a:buNone/>
              <a:tabLst/>
              <a:defRPr lang="en-US" sz="2200" b="1" smtClean="0">
                <a:solidFill>
                  <a:schemeClr val="dk1"/>
                </a:solidFill>
              </a:defRPr>
            </a:lvl1pPr>
          </a:lstStyle>
          <a:p>
            <a:r>
              <a:rPr lang="en-US" dirty="0"/>
              <a:t>Details of Proposed Investments in </a:t>
            </a:r>
            <a:r>
              <a:rPr lang="en-US" dirty="0" smtClean="0"/>
              <a:t>Tanzania</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065232460"/>
              </p:ext>
            </p:extLst>
          </p:nvPr>
        </p:nvGraphicFramePr>
        <p:xfrm>
          <a:off x="376313" y="1729230"/>
          <a:ext cx="9132730" cy="4577080"/>
        </p:xfrm>
        <a:graphic>
          <a:graphicData uri="http://schemas.openxmlformats.org/drawingml/2006/table">
            <a:tbl>
              <a:tblPr firstRow="1" bandRow="1">
                <a:tableStyleId>{41E0FAD3-7C2D-4B5A-B7BA-DEB1A53D0DEB}</a:tableStyleId>
              </a:tblPr>
              <a:tblGrid>
                <a:gridCol w="1177500">
                  <a:extLst>
                    <a:ext uri="{9D8B030D-6E8A-4147-A177-3AD203B41FA5}">
                      <a16:colId xmlns:a16="http://schemas.microsoft.com/office/drawing/2014/main" xmlns="" val="20000"/>
                    </a:ext>
                  </a:extLst>
                </a:gridCol>
                <a:gridCol w="2483958">
                  <a:extLst>
                    <a:ext uri="{9D8B030D-6E8A-4147-A177-3AD203B41FA5}">
                      <a16:colId xmlns:a16="http://schemas.microsoft.com/office/drawing/2014/main" xmlns="" val="20001"/>
                    </a:ext>
                  </a:extLst>
                </a:gridCol>
                <a:gridCol w="3959049">
                  <a:extLst>
                    <a:ext uri="{9D8B030D-6E8A-4147-A177-3AD203B41FA5}">
                      <a16:colId xmlns:a16="http://schemas.microsoft.com/office/drawing/2014/main" xmlns="" val="20003"/>
                    </a:ext>
                  </a:extLst>
                </a:gridCol>
                <a:gridCol w="1512223">
                  <a:extLst>
                    <a:ext uri="{9D8B030D-6E8A-4147-A177-3AD203B41FA5}">
                      <a16:colId xmlns:a16="http://schemas.microsoft.com/office/drawing/2014/main" xmlns="" val="4101559693"/>
                    </a:ext>
                  </a:extLst>
                </a:gridCol>
              </a:tblGrid>
              <a:tr h="370840">
                <a:tc>
                  <a:txBody>
                    <a:bodyPr/>
                    <a:lstStyle/>
                    <a:p>
                      <a:r>
                        <a:rPr lang="en-US" sz="1200" dirty="0" smtClean="0">
                          <a:latin typeface="+mn-lt"/>
                        </a:rPr>
                        <a:t>Area of Work</a:t>
                      </a:r>
                      <a:endParaRPr lang="en-US" sz="1200" dirty="0">
                        <a:latin typeface="+mn-lt"/>
                      </a:endParaRPr>
                    </a:p>
                  </a:txBody>
                  <a:tcPr/>
                </a:tc>
                <a:tc>
                  <a:txBody>
                    <a:bodyPr/>
                    <a:lstStyle/>
                    <a:p>
                      <a:r>
                        <a:rPr lang="en-US" sz="1200" smtClean="0">
                          <a:latin typeface="+mn-lt"/>
                        </a:rPr>
                        <a:t>Description</a:t>
                      </a:r>
                      <a:endParaRPr lang="en-US" sz="1200">
                        <a:latin typeface="+mn-lt"/>
                      </a:endParaRPr>
                    </a:p>
                  </a:txBody>
                  <a:tcPr/>
                </a:tc>
                <a:tc>
                  <a:txBody>
                    <a:bodyPr/>
                    <a:lstStyle/>
                    <a:p>
                      <a:r>
                        <a:rPr lang="en-US" sz="1200" smtClean="0">
                          <a:latin typeface="+mn-lt"/>
                        </a:rPr>
                        <a:t>Rationale</a:t>
                      </a:r>
                      <a:endParaRPr lang="en-US" sz="1200">
                        <a:latin typeface="+mn-lt"/>
                      </a:endParaRPr>
                    </a:p>
                  </a:txBody>
                  <a:tcPr/>
                </a:tc>
                <a:tc>
                  <a:txBody>
                    <a:bodyPr/>
                    <a:lstStyle/>
                    <a:p>
                      <a:r>
                        <a:rPr lang="en-US" sz="1200" smtClean="0">
                          <a:latin typeface="+mn-lt"/>
                        </a:rPr>
                        <a:t>Target</a:t>
                      </a:r>
                      <a:r>
                        <a:rPr lang="en-US" sz="1200" baseline="0" smtClean="0">
                          <a:latin typeface="+mn-lt"/>
                        </a:rPr>
                        <a:t> Population</a:t>
                      </a:r>
                      <a:endParaRPr lang="en-US" sz="1200">
                        <a:latin typeface="+mn-lt"/>
                      </a:endParaRPr>
                    </a:p>
                  </a:txBody>
                  <a:tcPr/>
                </a:tc>
                <a:extLst>
                  <a:ext uri="{0D108BD9-81ED-4DB2-BD59-A6C34878D82A}">
                    <a16:rowId xmlns:a16="http://schemas.microsoft.com/office/drawing/2014/main" xmlns="" val="10000"/>
                  </a:ext>
                </a:extLst>
              </a:tr>
              <a:tr h="370840">
                <a:tc rowSpan="3">
                  <a:txBody>
                    <a:bodyPr/>
                    <a:lstStyle/>
                    <a:p>
                      <a:r>
                        <a:rPr lang="en-US" sz="1200" b="1" smtClean="0">
                          <a:latin typeface="+mn-lt"/>
                        </a:rPr>
                        <a:t>Policy and State Capacity </a:t>
                      </a:r>
                      <a:endParaRPr lang="en-US" sz="1200" b="1">
                        <a:latin typeface="+mn-lt"/>
                      </a:endParaRPr>
                    </a:p>
                  </a:txBody>
                  <a:tcPr/>
                </a:tc>
                <a:tc>
                  <a:txBody>
                    <a:bodyPr/>
                    <a:lstStyle/>
                    <a:p>
                      <a:r>
                        <a:rPr lang="en-US" sz="1200" dirty="0" smtClean="0">
                          <a:latin typeface="+mn-lt"/>
                        </a:rPr>
                        <a:t>Strengthening</a:t>
                      </a:r>
                      <a:r>
                        <a:rPr lang="en-US" sz="1200" baseline="0" dirty="0" smtClean="0">
                          <a:latin typeface="+mn-lt"/>
                        </a:rPr>
                        <a:t> Coordination of ASDPII at the LGAs SCALGA)</a:t>
                      </a:r>
                      <a:endParaRPr lang="en-US" sz="1200" dirty="0" smtClean="0">
                        <a:latin typeface="+mn-lt"/>
                      </a:endParaRPr>
                    </a:p>
                  </a:txBody>
                  <a:tcPr/>
                </a:tc>
                <a:tc>
                  <a:txBody>
                    <a:bodyPr/>
                    <a:lstStyle/>
                    <a:p>
                      <a:pPr marL="171450" indent="-171450">
                        <a:buFont typeface="Arial" panose="020B0604020202020204" pitchFamily="34" charset="0"/>
                        <a:buChar char="•"/>
                      </a:pPr>
                      <a:r>
                        <a:rPr lang="en-US" sz="1200" dirty="0" smtClean="0">
                          <a:latin typeface="+mn-lt"/>
                        </a:rPr>
                        <a:t>Effective</a:t>
                      </a:r>
                      <a:r>
                        <a:rPr lang="en-US" sz="1200" baseline="0" dirty="0" smtClean="0">
                          <a:latin typeface="+mn-lt"/>
                        </a:rPr>
                        <a:t> and efficient implementation of ASDPII will drive a more inclusive agricultural transformation in Tanzania</a:t>
                      </a:r>
                      <a:endParaRPr lang="en-US" sz="1200" dirty="0">
                        <a:latin typeface="+mn-lt"/>
                      </a:endParaRPr>
                    </a:p>
                  </a:txBody>
                  <a:tcPr/>
                </a:tc>
                <a:tc>
                  <a:txBody>
                    <a:bodyPr/>
                    <a:lstStyle/>
                    <a:p>
                      <a:r>
                        <a:rPr lang="en-US" sz="1200" dirty="0" smtClean="0">
                          <a:latin typeface="+mn-lt"/>
                        </a:rPr>
                        <a:t>Twelve Regions</a:t>
                      </a:r>
                      <a:r>
                        <a:rPr lang="en-US" sz="1200" baseline="0" dirty="0" smtClean="0">
                          <a:latin typeface="+mn-lt"/>
                        </a:rPr>
                        <a:t> and Thirty LGAs across Tanzania</a:t>
                      </a:r>
                      <a:endParaRPr lang="en-US" sz="1200" dirty="0">
                        <a:latin typeface="+mn-lt"/>
                      </a:endParaRPr>
                    </a:p>
                  </a:txBody>
                  <a:tcPr/>
                </a:tc>
                <a:extLst>
                  <a:ext uri="{0D108BD9-81ED-4DB2-BD59-A6C34878D82A}">
                    <a16:rowId xmlns:a16="http://schemas.microsoft.com/office/drawing/2014/main" xmlns="" val="10001"/>
                  </a:ext>
                </a:extLst>
              </a:tr>
              <a:tr h="185420">
                <a:tc vMerge="1">
                  <a:txBody>
                    <a:bodyPr/>
                    <a:lstStyle/>
                    <a:p>
                      <a:endParaRPr lang="en-US" sz="12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smtClean="0">
                          <a:latin typeface="+mn-lt"/>
                        </a:rPr>
                        <a:t>Micro-reforms</a:t>
                      </a:r>
                      <a:r>
                        <a:rPr lang="en-US" sz="1200" baseline="0" dirty="0" smtClean="0">
                          <a:latin typeface="+mn-lt"/>
                        </a:rPr>
                        <a:t> in the seed sector to promote widespread adoption of improved seed technology</a:t>
                      </a:r>
                      <a:endParaRPr lang="en-US" sz="1200" dirty="0" smtClean="0">
                        <a:latin typeface="+mn-lt"/>
                      </a:endParaRPr>
                    </a:p>
                  </a:txBody>
                  <a:tcPr/>
                </a:tc>
                <a:tc>
                  <a:txBody>
                    <a:bodyPr/>
                    <a:lstStyle/>
                    <a:p>
                      <a:pPr marL="171450" indent="-171450">
                        <a:buFont typeface="Arial" panose="020B0604020202020204" pitchFamily="34" charset="0"/>
                        <a:buChar char="•"/>
                      </a:pPr>
                      <a:r>
                        <a:rPr lang="en-US" sz="1200" dirty="0" smtClean="0">
                          <a:latin typeface="+mn-lt"/>
                        </a:rPr>
                        <a:t>Improved seeds is critical to enhanced production and productivity</a:t>
                      </a:r>
                      <a:r>
                        <a:rPr lang="en-US" sz="1200" baseline="0" dirty="0" smtClean="0">
                          <a:latin typeface="+mn-lt"/>
                        </a:rPr>
                        <a:t> of the agricultural sector</a:t>
                      </a:r>
                      <a:endParaRPr lang="en-US" sz="1200" dirty="0">
                        <a:latin typeface="+mn-lt"/>
                      </a:endParaRPr>
                    </a:p>
                  </a:txBody>
                  <a:tcPr/>
                </a:tc>
                <a:tc>
                  <a:txBody>
                    <a:bodyPr/>
                    <a:lstStyle/>
                    <a:p>
                      <a:r>
                        <a:rPr lang="en-US" sz="1200" dirty="0" smtClean="0">
                          <a:latin typeface="+mn-lt"/>
                        </a:rPr>
                        <a:t>Tanzania</a:t>
                      </a:r>
                      <a:endParaRPr lang="en-US" sz="1200" dirty="0">
                        <a:latin typeface="+mn-lt"/>
                      </a:endParaRPr>
                    </a:p>
                  </a:txBody>
                  <a:tcPr/>
                </a:tc>
                <a:extLst>
                  <a:ext uri="{0D108BD9-81ED-4DB2-BD59-A6C34878D82A}">
                    <a16:rowId xmlns:a16="http://schemas.microsoft.com/office/drawing/2014/main" xmlns="" val="10002"/>
                  </a:ext>
                </a:extLst>
              </a:tr>
              <a:tr h="185420">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200" dirty="0" smtClean="0">
                          <a:latin typeface="+mn-lt"/>
                        </a:rPr>
                        <a:t>Support NACOTE</a:t>
                      </a:r>
                      <a:r>
                        <a:rPr lang="en-US" sz="1200" baseline="0" dirty="0" smtClean="0">
                          <a:latin typeface="+mn-lt"/>
                        </a:rPr>
                        <a:t> in prioritizing problem policies and regulations policy analysis </a:t>
                      </a:r>
                      <a:endParaRPr lang="en-US" sz="1200" dirty="0" smtClean="0">
                        <a:latin typeface="+mn-lt"/>
                      </a:endParaRPr>
                    </a:p>
                  </a:txBody>
                  <a:tcPr/>
                </a:tc>
                <a:tc>
                  <a:txBody>
                    <a:bodyPr/>
                    <a:lstStyle/>
                    <a:p>
                      <a:pPr marL="171450" indent="-171450">
                        <a:buFont typeface="Arial" panose="020B0604020202020204" pitchFamily="34" charset="0"/>
                        <a:buChar char="•"/>
                      </a:pPr>
                      <a:endParaRPr lang="en-US" sz="1200" dirty="0">
                        <a:latin typeface="+mn-lt"/>
                      </a:endParaRPr>
                    </a:p>
                  </a:txBody>
                  <a:tcPr/>
                </a:tc>
                <a:tc>
                  <a:txBody>
                    <a:bodyPr/>
                    <a:lstStyle/>
                    <a:p>
                      <a:r>
                        <a:rPr lang="en-US" sz="1200" dirty="0" smtClean="0">
                          <a:latin typeface="+mn-lt"/>
                        </a:rPr>
                        <a:t>Tanzania</a:t>
                      </a:r>
                      <a:endParaRPr lang="en-US" sz="1200" dirty="0">
                        <a:latin typeface="+mn-lt"/>
                      </a:endParaRPr>
                    </a:p>
                  </a:txBody>
                  <a:tcPr/>
                </a:tc>
                <a:extLst>
                  <a:ext uri="{0D108BD9-81ED-4DB2-BD59-A6C34878D82A}">
                    <a16:rowId xmlns:a16="http://schemas.microsoft.com/office/drawing/2014/main" xmlns="" val="2996827350"/>
                  </a:ext>
                </a:extLst>
              </a:tr>
              <a:tr h="247227">
                <a:tc>
                  <a:txBody>
                    <a:bodyPr/>
                    <a:lstStyle/>
                    <a:p>
                      <a:r>
                        <a:rPr lang="en-US" sz="1200" b="1" i="0" u="none" strike="noStrike" cap="none" dirty="0" smtClean="0">
                          <a:solidFill>
                            <a:schemeClr val="dk1"/>
                          </a:solidFill>
                          <a:latin typeface="Calibri"/>
                          <a:ea typeface="Calibri"/>
                          <a:cs typeface="Calibri"/>
                          <a:sym typeface="Arial"/>
                        </a:rPr>
                        <a:t>Systems Development</a:t>
                      </a:r>
                      <a:endParaRPr lang="en-US" sz="1200" b="1" i="0" u="none" strike="noStrike" cap="none" dirty="0">
                        <a:solidFill>
                          <a:schemeClr val="dk1"/>
                        </a:solidFill>
                        <a:latin typeface="Calibri"/>
                        <a:ea typeface="Calibri"/>
                        <a:cs typeface="Calibri"/>
                        <a:sym typeface="Arial"/>
                      </a:endParaRPr>
                    </a:p>
                  </a:txBody>
                  <a:tcPr/>
                </a:tc>
                <a:tc rowSpan="2">
                  <a:txBody>
                    <a:bodyPr/>
                    <a:lstStyle/>
                    <a:p>
                      <a:r>
                        <a:rPr lang="en-US" sz="1200" dirty="0" smtClean="0">
                          <a:latin typeface="+mn-lt"/>
                        </a:rPr>
                        <a:t>Improvement in soil health through</a:t>
                      </a:r>
                      <a:r>
                        <a:rPr lang="en-US" sz="1200" baseline="0" dirty="0" smtClean="0">
                          <a:latin typeface="+mn-lt"/>
                        </a:rPr>
                        <a:t> interventions that reduce soil acidity (Lime project)</a:t>
                      </a:r>
                      <a:endParaRPr lang="en-US" sz="1200" dirty="0">
                        <a:latin typeface="+mn-lt"/>
                      </a:endParaRPr>
                    </a:p>
                  </a:txBody>
                  <a:tcPr/>
                </a:tc>
                <a:tc rowSpan="2">
                  <a:txBody>
                    <a:bodyPr/>
                    <a:lstStyle/>
                    <a:p>
                      <a:pPr marL="171450" indent="-171450">
                        <a:buFont typeface="Arial" panose="020B0604020202020204" pitchFamily="34" charset="0"/>
                        <a:buChar char="•"/>
                      </a:pPr>
                      <a:r>
                        <a:rPr lang="en-US" sz="1200" dirty="0" smtClean="0">
                          <a:latin typeface="+mn-lt"/>
                        </a:rPr>
                        <a:t>Soil acidity has emerged as a big bottleneck</a:t>
                      </a:r>
                      <a:r>
                        <a:rPr lang="en-US" sz="1200" baseline="0" dirty="0" smtClean="0">
                          <a:latin typeface="+mn-lt"/>
                        </a:rPr>
                        <a:t> to productivity and production enhancement in the Southern Corridor of Tanzania</a:t>
                      </a:r>
                      <a:endParaRPr lang="en-US" sz="1200" dirty="0">
                        <a:latin typeface="+mn-lt"/>
                      </a:endParaRPr>
                    </a:p>
                  </a:txBody>
                  <a:tcPr/>
                </a:tc>
                <a:tc rowSpan="2">
                  <a:txBody>
                    <a:bodyPr/>
                    <a:lstStyle/>
                    <a:p>
                      <a:r>
                        <a:rPr lang="en-US" sz="1200" dirty="0" smtClean="0">
                          <a:latin typeface="+mn-lt"/>
                        </a:rPr>
                        <a:t>Southern Highlands</a:t>
                      </a:r>
                      <a:endParaRPr lang="en-US" sz="1200" dirty="0">
                        <a:latin typeface="+mn-lt"/>
                      </a:endParaRPr>
                    </a:p>
                  </a:txBody>
                  <a:tcPr/>
                </a:tc>
                <a:extLst>
                  <a:ext uri="{0D108BD9-81ED-4DB2-BD59-A6C34878D82A}">
                    <a16:rowId xmlns:a16="http://schemas.microsoft.com/office/drawing/2014/main" xmlns="" val="10003"/>
                  </a:ext>
                </a:extLst>
              </a:tr>
              <a:tr h="123613">
                <a:tc rowSpan="2">
                  <a:txBody>
                    <a:bodyPr/>
                    <a:lstStyle/>
                    <a:p>
                      <a:endParaRPr lang="en-US" sz="1200" b="1" dirty="0">
                        <a:latin typeface="+mn-lt"/>
                      </a:endParaRPr>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2992093635"/>
                  </a:ext>
                </a:extLst>
              </a:tr>
              <a:tr h="123613">
                <a:tc vMerge="1">
                  <a:txBody>
                    <a:bodyPr/>
                    <a:lstStyle/>
                    <a:p>
                      <a:endParaRPr lang="en-US" sz="1200" dirty="0">
                        <a:latin typeface="+mn-lt"/>
                      </a:endParaRPr>
                    </a:p>
                  </a:txBody>
                  <a:tcPr/>
                </a:tc>
                <a:tc>
                  <a:txBody>
                    <a:bodyPr/>
                    <a:lstStyle/>
                    <a:p>
                      <a:pPr marL="0" indent="0">
                        <a:buFont typeface="Arial" panose="020B0604020202020204" pitchFamily="34" charset="0"/>
                        <a:buNone/>
                      </a:pPr>
                      <a:r>
                        <a:rPr lang="en-US" sz="1200" dirty="0" smtClean="0">
                          <a:latin typeface="+mn-lt"/>
                        </a:rPr>
                        <a:t>Expanding maize</a:t>
                      </a:r>
                      <a:r>
                        <a:rPr lang="en-US" sz="1200" baseline="0" dirty="0" smtClean="0">
                          <a:latin typeface="+mn-lt"/>
                        </a:rPr>
                        <a:t> markets through demand pull from non-traditional uses of maize (EMMA-project)</a:t>
                      </a:r>
                      <a:endParaRPr lang="en-US" sz="1200" dirty="0">
                        <a:latin typeface="+mn-lt"/>
                      </a:endParaRPr>
                    </a:p>
                  </a:txBody>
                  <a:tcPr/>
                </a:tc>
                <a:tc>
                  <a:txBody>
                    <a:bodyPr/>
                    <a:lstStyle/>
                    <a:p>
                      <a:pPr marL="171450" indent="-171450">
                        <a:buFont typeface="Arial" panose="020B0604020202020204" pitchFamily="34" charset="0"/>
                        <a:buChar char="•"/>
                      </a:pPr>
                      <a:r>
                        <a:rPr lang="en-US" sz="1200" dirty="0" smtClean="0">
                          <a:latin typeface="+mn-lt"/>
                        </a:rPr>
                        <a:t>With increasing</a:t>
                      </a:r>
                      <a:r>
                        <a:rPr lang="en-US" sz="1200" baseline="0" dirty="0" smtClean="0">
                          <a:latin typeface="+mn-lt"/>
                        </a:rPr>
                        <a:t> production and productivity of maize, market access remains a big access. Non-traditional uses such as feed manufacture provide options for expanding demand</a:t>
                      </a:r>
                      <a:endParaRPr lang="en-US" sz="1200" dirty="0">
                        <a:latin typeface="+mn-lt"/>
                      </a:endParaRPr>
                    </a:p>
                  </a:txBody>
                  <a:tcPr/>
                </a:tc>
                <a:tc>
                  <a:txBody>
                    <a:bodyPr/>
                    <a:lstStyle/>
                    <a:p>
                      <a:r>
                        <a:rPr lang="en-US" sz="1200" dirty="0" smtClean="0">
                          <a:latin typeface="+mn-lt"/>
                        </a:rPr>
                        <a:t>Maize</a:t>
                      </a:r>
                      <a:r>
                        <a:rPr lang="en-US" sz="1200" baseline="0" dirty="0" smtClean="0">
                          <a:latin typeface="+mn-lt"/>
                        </a:rPr>
                        <a:t> growing areas</a:t>
                      </a:r>
                      <a:endParaRPr lang="en-US" sz="1200" dirty="0">
                        <a:latin typeface="+mn-lt"/>
                      </a:endParaRPr>
                    </a:p>
                  </a:txBody>
                  <a:tcPr/>
                </a:tc>
                <a:extLst>
                  <a:ext uri="{0D108BD9-81ED-4DB2-BD59-A6C34878D82A}">
                    <a16:rowId xmlns:a16="http://schemas.microsoft.com/office/drawing/2014/main" xmlns="" val="10004"/>
                  </a:ext>
                </a:extLst>
              </a:tr>
              <a:tr h="150707">
                <a:tc rowSpan="2">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1" i="0" u="none" strike="noStrike" cap="none" dirty="0" smtClean="0">
                          <a:solidFill>
                            <a:schemeClr val="dk1"/>
                          </a:solidFill>
                          <a:latin typeface="Calibri"/>
                          <a:ea typeface="Calibri"/>
                          <a:cs typeface="Calibri"/>
                          <a:sym typeface="Arial"/>
                        </a:rPr>
                        <a:t>Country Delivery and Partnership </a:t>
                      </a:r>
                    </a:p>
                    <a:p>
                      <a:endParaRPr lang="en-US" sz="1200" b="1" dirty="0">
                        <a:latin typeface="+mn-lt"/>
                      </a:endParaRPr>
                    </a:p>
                  </a:txBody>
                  <a:tcPr/>
                </a:tc>
                <a:tc>
                  <a:txBody>
                    <a:bodyPr/>
                    <a:lstStyle/>
                    <a:p>
                      <a:pPr marL="171450" indent="-171450">
                        <a:buFont typeface="Arial" panose="020B0604020202020204" pitchFamily="34" charset="0"/>
                        <a:buChar char="•"/>
                      </a:pPr>
                      <a:endParaRPr lang="en-US" sz="1200" dirty="0">
                        <a:latin typeface="+mn-lt"/>
                      </a:endParaRPr>
                    </a:p>
                  </a:txBody>
                  <a:tcPr/>
                </a:tc>
                <a:tc>
                  <a:txBody>
                    <a:bodyPr/>
                    <a:lstStyle/>
                    <a:p>
                      <a:endParaRPr lang="en-US" sz="1200" dirty="0">
                        <a:latin typeface="+mn-lt"/>
                      </a:endParaRPr>
                    </a:p>
                  </a:txBody>
                  <a:tcPr/>
                </a:tc>
                <a:tc>
                  <a:txBody>
                    <a:bodyPr/>
                    <a:lstStyle/>
                    <a:p>
                      <a:endParaRPr lang="en-US" sz="1200" dirty="0">
                        <a:latin typeface="+mn-lt"/>
                      </a:endParaRPr>
                    </a:p>
                  </a:txBody>
                  <a:tcPr/>
                </a:tc>
                <a:extLst>
                  <a:ext uri="{0D108BD9-81ED-4DB2-BD59-A6C34878D82A}">
                    <a16:rowId xmlns:a16="http://schemas.microsoft.com/office/drawing/2014/main" xmlns="" val="1793065659"/>
                  </a:ext>
                </a:extLst>
              </a:tr>
              <a:tr h="123613">
                <a:tc vMerge="1">
                  <a:txBody>
                    <a:bodyPr/>
                    <a:lstStyle/>
                    <a:p>
                      <a:endParaRPr lang="en-US"/>
                    </a:p>
                  </a:txBody>
                  <a:tcPr/>
                </a:tc>
                <a:tc>
                  <a:txBody>
                    <a:bodyPr/>
                    <a:lstStyle/>
                    <a:p>
                      <a:pPr marL="171450" indent="-171450">
                        <a:buFont typeface="Arial" panose="020B0604020202020204" pitchFamily="34" charset="0"/>
                        <a:buChar char="•"/>
                      </a:pPr>
                      <a:endParaRPr lang="en-US" sz="1200" dirty="0">
                        <a:latin typeface="+mn-lt"/>
                      </a:endParaRPr>
                    </a:p>
                  </a:txBody>
                  <a:tcPr/>
                </a:tc>
                <a:tc>
                  <a:txBody>
                    <a:bodyPr/>
                    <a:lstStyle/>
                    <a:p>
                      <a:endParaRPr lang="en-US" sz="1200" dirty="0">
                        <a:latin typeface="+mn-lt"/>
                      </a:endParaRPr>
                    </a:p>
                  </a:txBody>
                  <a:tcPr/>
                </a:tc>
                <a:tc>
                  <a:txBody>
                    <a:bodyPr/>
                    <a:lstStyle/>
                    <a:p>
                      <a:endParaRPr lang="en-US" sz="1200" dirty="0">
                        <a:latin typeface="+mn-lt"/>
                      </a:endParaRPr>
                    </a:p>
                  </a:txBody>
                  <a:tcPr/>
                </a:tc>
                <a:extLst>
                  <a:ext uri="{0D108BD9-81ED-4DB2-BD59-A6C34878D82A}">
                    <a16:rowId xmlns:a16="http://schemas.microsoft.com/office/drawing/2014/main" xmlns="" val="236229108"/>
                  </a:ext>
                </a:extLst>
              </a:tr>
            </a:tbl>
          </a:graphicData>
        </a:graphic>
      </p:graphicFrame>
      <p:sp>
        <p:nvSpPr>
          <p:cNvPr id="7" name="Google Shape;335;p46"/>
          <p:cNvSpPr/>
          <p:nvPr/>
        </p:nvSpPr>
        <p:spPr>
          <a:xfrm>
            <a:off x="376313" y="1021684"/>
            <a:ext cx="9132730" cy="607420"/>
          </a:xfrm>
          <a:prstGeom prst="rect">
            <a:avLst/>
          </a:prstGeom>
          <a:noFill/>
          <a:ln w="9525" cap="flat" cmpd="sng">
            <a:solidFill>
              <a:srgbClr val="00B050"/>
            </a:solidFill>
            <a:prstDash val="solid"/>
            <a:miter lim="800000"/>
            <a:headEnd type="none" w="sm" len="sm"/>
            <a:tailEnd type="none" w="sm" len="sm"/>
          </a:ln>
        </p:spPr>
        <p:txBody>
          <a:bodyPr spcFirstLastPara="1" wrap="square" lIns="91425" tIns="45700" rIns="91425" bIns="45700" anchor="ctr" anchorCtr="0">
            <a:noAutofit/>
          </a:bodyPr>
          <a:lstStyle/>
          <a:p>
            <a:r>
              <a:rPr lang="en-US" sz="1100" dirty="0" smtClean="0">
                <a:solidFill>
                  <a:schemeClr val="tx1"/>
                </a:solidFill>
                <a:latin typeface="+mn-lt"/>
                <a:ea typeface="Calibri"/>
                <a:cs typeface="Calibri"/>
                <a:sym typeface="Calibri"/>
              </a:rPr>
              <a:t>As outlined in </a:t>
            </a:r>
            <a:r>
              <a:rPr lang="en-US" sz="1100" dirty="0" err="1" smtClean="0">
                <a:solidFill>
                  <a:schemeClr val="tx1"/>
                </a:solidFill>
                <a:latin typeface="+mn-lt"/>
                <a:ea typeface="Calibri"/>
                <a:cs typeface="Calibri"/>
                <a:sym typeface="Calibri"/>
              </a:rPr>
              <a:t>AGRA’s</a:t>
            </a:r>
            <a:r>
              <a:rPr lang="en-US" sz="1100" dirty="0" smtClean="0">
                <a:solidFill>
                  <a:schemeClr val="tx1"/>
                </a:solidFill>
                <a:latin typeface="+mn-lt"/>
                <a:ea typeface="Calibri"/>
                <a:cs typeface="Calibri"/>
                <a:sym typeface="Calibri"/>
              </a:rPr>
              <a:t> Tanzania strategy, the focus on Policy and State Capability investments will be on  implementation of f</a:t>
            </a:r>
            <a:r>
              <a:rPr lang="en-US" sz="1100" dirty="0" smtClean="0">
                <a:latin typeface="+mn-lt"/>
              </a:rPr>
              <a:t>lagships designed in the </a:t>
            </a:r>
            <a:r>
              <a:rPr lang="en-US" sz="1100" dirty="0" err="1" smtClean="0">
                <a:latin typeface="+mn-lt"/>
              </a:rPr>
              <a:t>NAIP</a:t>
            </a:r>
            <a:r>
              <a:rPr lang="en-US" sz="1100" dirty="0" smtClean="0">
                <a:latin typeface="+mn-lt"/>
              </a:rPr>
              <a:t>, strengthening monitoring and evaluation in the ministry, digitization and policy reforms to ensure an enabling environment for Ag, transformation. The proposed investment for this body of work in 2019 are outlined below: </a:t>
            </a:r>
            <a:endParaRPr sz="1100" dirty="0">
              <a:solidFill>
                <a:schemeClr val="tx1"/>
              </a:solidFill>
              <a:latin typeface="+mn-lt"/>
              <a:ea typeface="Calibri"/>
              <a:cs typeface="Calibri"/>
              <a:sym typeface="Calibri"/>
            </a:endParaRPr>
          </a:p>
        </p:txBody>
      </p:sp>
    </p:spTree>
    <p:extLst>
      <p:ext uri="{BB962C8B-B14F-4D97-AF65-F5344CB8AC3E}">
        <p14:creationId xmlns:p14="http://schemas.microsoft.com/office/powerpoint/2010/main" val="207213280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30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b="1" dirty="0" smtClean="0">
              <a:solidFill>
                <a:schemeClr val="accent6">
                  <a:lumMod val="50000"/>
                </a:schemeClr>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49142" y="184856"/>
            <a:ext cx="7867758" cy="582389"/>
          </a:xfrm>
        </p:spPr>
        <p:txBody>
          <a:bodyPr/>
          <a:lstStyle/>
          <a:p>
            <a:r>
              <a:rPr lang="en-US" sz="2000" dirty="0" smtClean="0"/>
              <a:t>Emerging issues/Lessons Learned Leading to Opportunities</a:t>
            </a:r>
            <a:endParaRPr lang="en-US" sz="2000" dirty="0"/>
          </a:p>
        </p:txBody>
      </p:sp>
      <p:graphicFrame>
        <p:nvGraphicFramePr>
          <p:cNvPr id="21" name="Table 20"/>
          <p:cNvGraphicFramePr>
            <a:graphicFrameLocks noGrp="1"/>
          </p:cNvGraphicFramePr>
          <p:nvPr>
            <p:extLst/>
          </p:nvPr>
        </p:nvGraphicFramePr>
        <p:xfrm>
          <a:off x="152400" y="894080"/>
          <a:ext cx="9372600" cy="5506720"/>
        </p:xfrm>
        <a:graphic>
          <a:graphicData uri="http://schemas.openxmlformats.org/drawingml/2006/table">
            <a:tbl>
              <a:tblPr firstRow="1" bandRow="1">
                <a:tableStyleId>{2A488322-F2BA-4B5B-9748-0D474271808F}</a:tableStyleId>
              </a:tblPr>
              <a:tblGrid>
                <a:gridCol w="4686300">
                  <a:extLst>
                    <a:ext uri="{9D8B030D-6E8A-4147-A177-3AD203B41FA5}">
                      <a16:colId xmlns:a16="http://schemas.microsoft.com/office/drawing/2014/main" xmlns="" val="20000"/>
                    </a:ext>
                  </a:extLst>
                </a:gridCol>
                <a:gridCol w="4686300">
                  <a:extLst>
                    <a:ext uri="{9D8B030D-6E8A-4147-A177-3AD203B41FA5}">
                      <a16:colId xmlns:a16="http://schemas.microsoft.com/office/drawing/2014/main" xmlns="" val="20001"/>
                    </a:ext>
                  </a:extLst>
                </a:gridCol>
              </a:tblGrid>
              <a:tr h="420933">
                <a:tc>
                  <a:txBody>
                    <a:bodyPr/>
                    <a:lstStyle/>
                    <a:p>
                      <a:r>
                        <a:rPr lang="en-US" sz="1200" dirty="0" smtClean="0">
                          <a:latin typeface="Arial" panose="020B0604020202020204" pitchFamily="34" charset="0"/>
                          <a:cs typeface="Arial" panose="020B0604020202020204" pitchFamily="34" charset="0"/>
                        </a:rPr>
                        <a:t>Issue</a:t>
                      </a:r>
                      <a:endParaRPr lang="en-US" sz="1200" dirty="0">
                        <a:latin typeface="Arial" panose="020B0604020202020204" pitchFamily="34" charset="0"/>
                        <a:cs typeface="Arial" panose="020B0604020202020204" pitchFamily="34" charset="0"/>
                      </a:endParaRPr>
                    </a:p>
                  </a:txBody>
                  <a:tcPr/>
                </a:tc>
                <a:tc>
                  <a:txBody>
                    <a:bodyPr/>
                    <a:lstStyle/>
                    <a:p>
                      <a:r>
                        <a:rPr lang="en-US" sz="1200" dirty="0" smtClean="0">
                          <a:latin typeface="Arial" panose="020B0604020202020204" pitchFamily="34" charset="0"/>
                          <a:cs typeface="Arial" panose="020B0604020202020204" pitchFamily="34" charset="0"/>
                        </a:rPr>
                        <a:t>Proposed Mitigation</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934124">
                <a:tc>
                  <a:txBody>
                    <a:bodyPr/>
                    <a:lstStyle/>
                    <a:p>
                      <a:pPr marL="0" algn="l" defTabSz="914395" rtl="0" eaLnBrk="1" latinLnBrk="0" hangingPunct="1"/>
                      <a:r>
                        <a:rPr lang="en-US" sz="1200" kern="1200" dirty="0" smtClean="0">
                          <a:solidFill>
                            <a:srgbClr val="000000"/>
                          </a:solidFill>
                          <a:latin typeface="+mn-lt"/>
                          <a:ea typeface="+mn-ea"/>
                          <a:cs typeface="+mn-cs"/>
                        </a:rPr>
                        <a:t>Capacity for</a:t>
                      </a:r>
                      <a:r>
                        <a:rPr lang="en-US" sz="1200" kern="1200" baseline="0" dirty="0" smtClean="0">
                          <a:solidFill>
                            <a:srgbClr val="000000"/>
                          </a:solidFill>
                          <a:latin typeface="+mn-lt"/>
                          <a:ea typeface="+mn-ea"/>
                          <a:cs typeface="+mn-cs"/>
                        </a:rPr>
                        <a:t> LGAs to plan, coordinate and implement agricultural transformation activities</a:t>
                      </a:r>
                      <a:endParaRPr lang="en-US" sz="1200" kern="1200" dirty="0">
                        <a:solidFill>
                          <a:srgbClr val="000000"/>
                        </a:solidFill>
                        <a:latin typeface="+mn-lt"/>
                        <a:ea typeface="+mn-ea"/>
                        <a:cs typeface="+mn-cs"/>
                      </a:endParaRPr>
                    </a:p>
                  </a:txBody>
                  <a:tcPr/>
                </a:tc>
                <a:tc>
                  <a:txBody>
                    <a:bodyPr/>
                    <a:lstStyle/>
                    <a:p>
                      <a:pPr marL="0" algn="l" defTabSz="914395" rtl="0" eaLnBrk="1" latinLnBrk="0" hangingPunct="1"/>
                      <a:r>
                        <a:rPr lang="en-GB" sz="1200" kern="1200" dirty="0" smtClean="0">
                          <a:solidFill>
                            <a:srgbClr val="000000"/>
                          </a:solidFill>
                          <a:latin typeface="+mn-lt"/>
                          <a:ea typeface="+mn-ea"/>
                          <a:cs typeface="+mn-cs"/>
                        </a:rPr>
                        <a:t>Strengthen Coordination of ASDPII, planning</a:t>
                      </a:r>
                      <a:r>
                        <a:rPr lang="en-GB" sz="1200" kern="1200" baseline="0" dirty="0" smtClean="0">
                          <a:solidFill>
                            <a:srgbClr val="000000"/>
                          </a:solidFill>
                          <a:latin typeface="+mn-lt"/>
                          <a:ea typeface="+mn-ea"/>
                          <a:cs typeface="+mn-cs"/>
                        </a:rPr>
                        <a:t> and resource mobilization at</a:t>
                      </a:r>
                      <a:r>
                        <a:rPr lang="en-GB" sz="1200" kern="1200" dirty="0" smtClean="0">
                          <a:solidFill>
                            <a:srgbClr val="000000"/>
                          </a:solidFill>
                          <a:latin typeface="+mn-lt"/>
                          <a:ea typeface="+mn-ea"/>
                          <a:cs typeface="+mn-cs"/>
                        </a:rPr>
                        <a:t> at the Local Government Level is important scaling</a:t>
                      </a:r>
                      <a:r>
                        <a:rPr lang="en-GB" sz="1200" kern="1200" baseline="0" dirty="0" smtClean="0">
                          <a:solidFill>
                            <a:srgbClr val="000000"/>
                          </a:solidFill>
                          <a:latin typeface="+mn-lt"/>
                          <a:ea typeface="+mn-ea"/>
                          <a:cs typeface="+mn-cs"/>
                        </a:rPr>
                        <a:t> and sustaining AGRA models</a:t>
                      </a:r>
                      <a:endParaRPr lang="en-US" sz="1200" kern="1200" dirty="0">
                        <a:solidFill>
                          <a:srgbClr val="000000"/>
                        </a:solidFill>
                        <a:latin typeface="+mn-lt"/>
                        <a:ea typeface="+mn-ea"/>
                        <a:cs typeface="+mn-cs"/>
                      </a:endParaRPr>
                    </a:p>
                  </a:txBody>
                  <a:tcPr/>
                </a:tc>
                <a:extLst>
                  <a:ext uri="{0D108BD9-81ED-4DB2-BD59-A6C34878D82A}">
                    <a16:rowId xmlns:a16="http://schemas.microsoft.com/office/drawing/2014/main" xmlns="" val="10001"/>
                  </a:ext>
                </a:extLst>
              </a:tr>
              <a:tr h="934124">
                <a:tc>
                  <a:txBody>
                    <a:bodyPr/>
                    <a:lstStyle/>
                    <a:p>
                      <a:pPr marL="0" algn="l" defTabSz="914395" rtl="0" eaLnBrk="1" latinLnBrk="0" hangingPunct="1"/>
                      <a:r>
                        <a:rPr lang="en-US" sz="1200" kern="1200" dirty="0" smtClean="0">
                          <a:solidFill>
                            <a:srgbClr val="000000"/>
                          </a:solidFill>
                          <a:latin typeface="+mn-lt"/>
                          <a:ea typeface="+mn-ea"/>
                          <a:cs typeface="+mn-cs"/>
                        </a:rPr>
                        <a:t>Donor resources not well coordinated at</a:t>
                      </a:r>
                      <a:r>
                        <a:rPr lang="en-US" sz="1200" kern="1200" baseline="0" dirty="0" smtClean="0">
                          <a:solidFill>
                            <a:srgbClr val="000000"/>
                          </a:solidFill>
                          <a:latin typeface="+mn-lt"/>
                          <a:ea typeface="+mn-ea"/>
                          <a:cs typeface="+mn-cs"/>
                        </a:rPr>
                        <a:t> implementing partners’ level</a:t>
                      </a:r>
                      <a:endParaRPr lang="en-US" sz="1200" kern="1200" dirty="0">
                        <a:solidFill>
                          <a:srgbClr val="000000"/>
                        </a:solidFill>
                        <a:latin typeface="+mn-lt"/>
                        <a:ea typeface="+mn-ea"/>
                        <a:cs typeface="+mn-cs"/>
                      </a:endParaRPr>
                    </a:p>
                  </a:txBody>
                  <a:tcPr/>
                </a:tc>
                <a:tc>
                  <a:txBody>
                    <a:bodyPr/>
                    <a:lstStyle/>
                    <a:p>
                      <a:pPr marL="0" marR="0" indent="0" algn="l" defTabSz="914395" rtl="0" eaLnBrk="1" fontAlgn="auto" latinLnBrk="0" hangingPunct="1">
                        <a:lnSpc>
                          <a:spcPct val="100000"/>
                        </a:lnSpc>
                        <a:spcBef>
                          <a:spcPts val="0"/>
                        </a:spcBef>
                        <a:spcAft>
                          <a:spcPts val="0"/>
                        </a:spcAft>
                        <a:buClrTx/>
                        <a:buSzTx/>
                        <a:buFontTx/>
                        <a:buNone/>
                        <a:tabLst/>
                        <a:defRPr/>
                      </a:pPr>
                      <a:r>
                        <a:rPr lang="en-GB" sz="1200" kern="1200" dirty="0" smtClean="0">
                          <a:solidFill>
                            <a:srgbClr val="000000"/>
                          </a:solidFill>
                          <a:latin typeface="+mn-lt"/>
                          <a:ea typeface="+mn-ea"/>
                          <a:cs typeface="+mn-cs"/>
                        </a:rPr>
                        <a:t>CAC and active engagements in ASWG is essential for improving efficiency and effectiveness of interventions</a:t>
                      </a:r>
                    </a:p>
                    <a:p>
                      <a:pPr marL="0" algn="l" defTabSz="914395" rtl="0" eaLnBrk="1" latinLnBrk="0" hangingPunct="1"/>
                      <a:endParaRPr lang="en-US" sz="1200" kern="1200" dirty="0">
                        <a:solidFill>
                          <a:srgbClr val="000000"/>
                        </a:solidFill>
                        <a:latin typeface="+mn-lt"/>
                        <a:ea typeface="+mn-ea"/>
                        <a:cs typeface="+mn-cs"/>
                      </a:endParaRPr>
                    </a:p>
                  </a:txBody>
                  <a:tcPr/>
                </a:tc>
                <a:extLst>
                  <a:ext uri="{0D108BD9-81ED-4DB2-BD59-A6C34878D82A}">
                    <a16:rowId xmlns:a16="http://schemas.microsoft.com/office/drawing/2014/main" xmlns="" val="10002"/>
                  </a:ext>
                </a:extLst>
              </a:tr>
              <a:tr h="726541">
                <a:tc>
                  <a:txBody>
                    <a:bodyPr/>
                    <a:lstStyle/>
                    <a:p>
                      <a:pPr marL="0" algn="l" defTabSz="914395" rtl="0" eaLnBrk="1" latinLnBrk="0" hangingPunct="1"/>
                      <a:r>
                        <a:rPr lang="en-US" sz="1200" kern="1200" dirty="0" smtClean="0">
                          <a:solidFill>
                            <a:srgbClr val="000000"/>
                          </a:solidFill>
                          <a:latin typeface="+mn-lt"/>
                          <a:ea typeface="+mn-ea"/>
                          <a:cs typeface="+mn-cs"/>
                        </a:rPr>
                        <a:t>Limited Private sector service delivery models to enhance access to mechanization services to</a:t>
                      </a:r>
                      <a:r>
                        <a:rPr lang="en-US" sz="1200" kern="1200" baseline="0" dirty="0" smtClean="0">
                          <a:solidFill>
                            <a:srgbClr val="000000"/>
                          </a:solidFill>
                          <a:latin typeface="+mn-lt"/>
                          <a:ea typeface="+mn-ea"/>
                          <a:cs typeface="+mn-cs"/>
                        </a:rPr>
                        <a:t> smallholder </a:t>
                      </a:r>
                      <a:r>
                        <a:rPr lang="en-US" sz="1200" kern="1200" dirty="0" smtClean="0">
                          <a:solidFill>
                            <a:srgbClr val="000000"/>
                          </a:solidFill>
                          <a:latin typeface="+mn-lt"/>
                          <a:ea typeface="+mn-ea"/>
                          <a:cs typeface="+mn-cs"/>
                        </a:rPr>
                        <a:t>farmers </a:t>
                      </a:r>
                      <a:endParaRPr lang="en-US" sz="1200" kern="1200" dirty="0">
                        <a:solidFill>
                          <a:srgbClr val="000000"/>
                        </a:solidFill>
                        <a:latin typeface="+mn-lt"/>
                        <a:ea typeface="+mn-ea"/>
                        <a:cs typeface="+mn-cs"/>
                      </a:endParaRPr>
                    </a:p>
                  </a:txBody>
                  <a:tcPr/>
                </a:tc>
                <a:tc>
                  <a:txBody>
                    <a:bodyPr/>
                    <a:lstStyle/>
                    <a:p>
                      <a:pPr marL="0" algn="l" defTabSz="914395" rtl="0" eaLnBrk="1" latinLnBrk="0" hangingPunct="1"/>
                      <a:r>
                        <a:rPr lang="en-US" sz="1200" kern="1200" dirty="0" smtClean="0">
                          <a:solidFill>
                            <a:srgbClr val="000000"/>
                          </a:solidFill>
                          <a:latin typeface="+mn-lt"/>
                          <a:ea typeface="+mn-ea"/>
                          <a:cs typeface="+mn-cs"/>
                        </a:rPr>
                        <a:t>Develop structured</a:t>
                      </a:r>
                      <a:r>
                        <a:rPr lang="en-US" sz="1200" kern="1200" baseline="0" dirty="0" smtClean="0">
                          <a:solidFill>
                            <a:srgbClr val="000000"/>
                          </a:solidFill>
                          <a:latin typeface="+mn-lt"/>
                          <a:ea typeface="+mn-ea"/>
                          <a:cs typeface="+mn-cs"/>
                        </a:rPr>
                        <a:t> and customized mechanization requirements for supported farmers</a:t>
                      </a:r>
                      <a:endParaRPr lang="en-US" sz="1200" kern="1200" dirty="0">
                        <a:solidFill>
                          <a:srgbClr val="000000"/>
                        </a:solidFill>
                        <a:latin typeface="+mn-lt"/>
                        <a:ea typeface="+mn-ea"/>
                        <a:cs typeface="+mn-cs"/>
                      </a:endParaRPr>
                    </a:p>
                  </a:txBody>
                  <a:tcPr/>
                </a:tc>
                <a:extLst>
                  <a:ext uri="{0D108BD9-81ED-4DB2-BD59-A6C34878D82A}">
                    <a16:rowId xmlns:a16="http://schemas.microsoft.com/office/drawing/2014/main" xmlns="" val="10003"/>
                  </a:ext>
                </a:extLst>
              </a:tr>
              <a:tr h="934124">
                <a:tc>
                  <a:txBody>
                    <a:bodyPr/>
                    <a:lstStyle/>
                    <a:p>
                      <a:pPr marL="0" marR="0" indent="0" algn="l" defTabSz="914395" rtl="0" eaLnBrk="1" fontAlgn="auto" latinLnBrk="0" hangingPunct="1">
                        <a:lnSpc>
                          <a:spcPct val="100000"/>
                        </a:lnSpc>
                        <a:spcBef>
                          <a:spcPts val="0"/>
                        </a:spcBef>
                        <a:spcAft>
                          <a:spcPts val="0"/>
                        </a:spcAft>
                        <a:buClrTx/>
                        <a:buSzTx/>
                        <a:buFontTx/>
                        <a:buNone/>
                        <a:tabLst/>
                        <a:defRPr/>
                      </a:pPr>
                      <a:r>
                        <a:rPr lang="en-GB" sz="1200" kern="1200" dirty="0" smtClean="0">
                          <a:solidFill>
                            <a:srgbClr val="000000"/>
                          </a:solidFill>
                          <a:latin typeface="+mn-lt"/>
                          <a:ea typeface="+mn-ea"/>
                          <a:cs typeface="+mn-cs"/>
                        </a:rPr>
                        <a:t>Achieving results in market led interventions requires maximum and constant engagement with private sector partners (market actors)</a:t>
                      </a:r>
                    </a:p>
                    <a:p>
                      <a:pPr marL="0" algn="l" defTabSz="914395" rtl="0" eaLnBrk="1" latinLnBrk="0" hangingPunct="1"/>
                      <a:endParaRPr lang="en-US" sz="1200" kern="1200" dirty="0">
                        <a:solidFill>
                          <a:srgbClr val="000000"/>
                        </a:solidFill>
                        <a:latin typeface="+mn-lt"/>
                        <a:ea typeface="+mn-ea"/>
                        <a:cs typeface="+mn-cs"/>
                      </a:endParaRPr>
                    </a:p>
                  </a:txBody>
                  <a:tcPr/>
                </a:tc>
                <a:tc>
                  <a:txBody>
                    <a:bodyPr/>
                    <a:lstStyle/>
                    <a:p>
                      <a:pPr marL="0" algn="l" defTabSz="914395" rtl="0" eaLnBrk="1" latinLnBrk="0" hangingPunct="1"/>
                      <a:r>
                        <a:rPr lang="en-US" sz="1200" kern="1200" dirty="0" smtClean="0">
                          <a:solidFill>
                            <a:srgbClr val="000000"/>
                          </a:solidFill>
                          <a:latin typeface="+mn-lt"/>
                          <a:ea typeface="+mn-ea"/>
                          <a:cs typeface="+mn-cs"/>
                        </a:rPr>
                        <a:t>Identify and</a:t>
                      </a:r>
                      <a:r>
                        <a:rPr lang="en-US" sz="1200" kern="1200" baseline="0" dirty="0" smtClean="0">
                          <a:solidFill>
                            <a:srgbClr val="000000"/>
                          </a:solidFill>
                          <a:latin typeface="+mn-lt"/>
                          <a:ea typeface="+mn-ea"/>
                          <a:cs typeface="+mn-cs"/>
                        </a:rPr>
                        <a:t> engage prime movers of crop produce volumes in order to sustain off-take of excess production thus sustaining improved  productivity and adoption levels</a:t>
                      </a:r>
                      <a:endParaRPr lang="en-US" sz="1200" kern="1200" dirty="0">
                        <a:solidFill>
                          <a:srgbClr val="000000"/>
                        </a:solidFill>
                        <a:latin typeface="+mn-lt"/>
                        <a:ea typeface="+mn-ea"/>
                        <a:cs typeface="+mn-cs"/>
                      </a:endParaRPr>
                    </a:p>
                  </a:txBody>
                  <a:tcPr/>
                </a:tc>
                <a:extLst>
                  <a:ext uri="{0D108BD9-81ED-4DB2-BD59-A6C34878D82A}">
                    <a16:rowId xmlns:a16="http://schemas.microsoft.com/office/drawing/2014/main" xmlns="" val="10004"/>
                  </a:ext>
                </a:extLst>
              </a:tr>
              <a:tr h="1556874">
                <a:tc>
                  <a:txBody>
                    <a:bodyPr/>
                    <a:lstStyle/>
                    <a:p>
                      <a:pPr marL="0" marR="0" indent="0" algn="l" defTabSz="914395" rtl="0" eaLnBrk="1" fontAlgn="auto" latinLnBrk="0" hangingPunct="1">
                        <a:lnSpc>
                          <a:spcPct val="100000"/>
                        </a:lnSpc>
                        <a:spcBef>
                          <a:spcPts val="0"/>
                        </a:spcBef>
                        <a:spcAft>
                          <a:spcPts val="0"/>
                        </a:spcAft>
                        <a:buClrTx/>
                        <a:buSzTx/>
                        <a:buFontTx/>
                        <a:buNone/>
                        <a:tabLst/>
                        <a:defRPr/>
                      </a:pPr>
                      <a:r>
                        <a:rPr lang="en-US" sz="1200" kern="1200" dirty="0" smtClean="0">
                          <a:solidFill>
                            <a:srgbClr val="000000"/>
                          </a:solidFill>
                          <a:latin typeface="+mn-lt"/>
                          <a:ea typeface="+mn-ea"/>
                          <a:cs typeface="+mn-cs"/>
                        </a:rPr>
                        <a:t>Evidence is required to support and justify policy reforms required to enhance policy and regulatory environment for inclusive agricultural transformation. </a:t>
                      </a:r>
                    </a:p>
                    <a:p>
                      <a:pPr marL="0" algn="l" defTabSz="914395" rtl="0" eaLnBrk="1" latinLnBrk="0" hangingPunct="1"/>
                      <a:endParaRPr lang="en-US" sz="1200" kern="1200" dirty="0">
                        <a:solidFill>
                          <a:srgbClr val="000000"/>
                        </a:solidFill>
                        <a:latin typeface="+mn-lt"/>
                        <a:ea typeface="+mn-ea"/>
                        <a:cs typeface="+mn-cs"/>
                      </a:endParaRPr>
                    </a:p>
                  </a:txBody>
                  <a:tcPr/>
                </a:tc>
                <a:tc>
                  <a:txBody>
                    <a:bodyPr/>
                    <a:lstStyle/>
                    <a:p>
                      <a:pPr marL="0" marR="0" indent="0" algn="l" defTabSz="914395" rtl="0" eaLnBrk="1" fontAlgn="auto" latinLnBrk="0" hangingPunct="1">
                        <a:lnSpc>
                          <a:spcPct val="100000"/>
                        </a:lnSpc>
                        <a:spcBef>
                          <a:spcPts val="0"/>
                        </a:spcBef>
                        <a:spcAft>
                          <a:spcPts val="0"/>
                        </a:spcAft>
                        <a:buClrTx/>
                        <a:buSzTx/>
                        <a:buFontTx/>
                        <a:buNone/>
                        <a:tabLst/>
                        <a:defRPr/>
                      </a:pPr>
                      <a:r>
                        <a:rPr lang="en-US" sz="1200" kern="1200" dirty="0" smtClean="0">
                          <a:solidFill>
                            <a:srgbClr val="000000"/>
                          </a:solidFill>
                          <a:latin typeface="+mn-lt"/>
                          <a:ea typeface="+mn-ea"/>
                          <a:cs typeface="+mn-cs"/>
                        </a:rPr>
                        <a:t>Evidence building: Undertaking political economy analysis, economic and legal analyses to generate evidence is required to support and justify policy reforms required to enhance policy and regulatory environment for inclusive agricultural transformation. </a:t>
                      </a:r>
                    </a:p>
                    <a:p>
                      <a:pPr marL="0" algn="l" defTabSz="914395" rtl="0" eaLnBrk="1" latinLnBrk="0" hangingPunct="1"/>
                      <a:endParaRPr lang="en-US" sz="1200" kern="1200" dirty="0">
                        <a:solidFill>
                          <a:srgbClr val="000000"/>
                        </a:solidFill>
                        <a:latin typeface="+mn-lt"/>
                        <a:ea typeface="+mn-ea"/>
                        <a:cs typeface="+mn-cs"/>
                      </a:endParaRPr>
                    </a:p>
                  </a:txBody>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256116960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b"/>
          <a:lstStyle/>
          <a:p>
            <a:pPr defTabSz="914395">
              <a:spcBef>
                <a:spcPct val="0"/>
              </a:spcBef>
              <a:buClrTx/>
              <a:buSzTx/>
              <a:buFontTx/>
            </a:pPr>
            <a:r>
              <a:rPr lang="en-US" dirty="0">
                <a:solidFill>
                  <a:schemeClr val="tx1"/>
                </a:solidFill>
                <a:latin typeface="Arial" panose="020B0604020202020204" pitchFamily="34" charset="0"/>
                <a:cs typeface="Arial" panose="020B0604020202020204" pitchFamily="34" charset="0"/>
              </a:rPr>
              <a:t>Emerging Opportunities for </a:t>
            </a:r>
            <a:r>
              <a:rPr lang="en-US" dirty="0" smtClean="0">
                <a:solidFill>
                  <a:schemeClr val="tx1"/>
                </a:solidFill>
                <a:latin typeface="Arial" panose="020B0604020202020204" pitchFamily="34" charset="0"/>
                <a:cs typeface="Arial" panose="020B0604020202020204" pitchFamily="34" charset="0"/>
              </a:rPr>
              <a:t>Tanzania</a:t>
            </a:r>
            <a:endParaRPr lang="en-US" dirty="0">
              <a:solidFill>
                <a:schemeClr val="tx1"/>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345645566"/>
              </p:ext>
            </p:extLst>
          </p:nvPr>
        </p:nvGraphicFramePr>
        <p:xfrm>
          <a:off x="404655" y="1014249"/>
          <a:ext cx="9079587" cy="4469899"/>
        </p:xfrm>
        <a:graphic>
          <a:graphicData uri="http://schemas.openxmlformats.org/drawingml/2006/table">
            <a:tbl>
              <a:tblPr firstRow="1" bandRow="1">
                <a:tableStyleId>{912C8C85-51F0-491E-9774-3900AFEF0FD7}</a:tableStyleId>
              </a:tblPr>
              <a:tblGrid>
                <a:gridCol w="9079587">
                  <a:extLst>
                    <a:ext uri="{9D8B030D-6E8A-4147-A177-3AD203B41FA5}">
                      <a16:colId xmlns:a16="http://schemas.microsoft.com/office/drawing/2014/main" xmlns="" val="218853500"/>
                    </a:ext>
                  </a:extLst>
                </a:gridCol>
              </a:tblGrid>
              <a:tr h="0">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smtClean="0">
                          <a:latin typeface="+mn-lt"/>
                        </a:rPr>
                        <a:t>Opportunity</a:t>
                      </a:r>
                      <a:endParaRPr lang="en-US" sz="1200" b="1" dirty="0" smtClean="0">
                        <a:solidFill>
                          <a:schemeClr val="tx1"/>
                        </a:solidFill>
                        <a:latin typeface="+mn-lt"/>
                        <a:cs typeface="Arial" panose="020B0604020202020204" pitchFamily="34" charset="0"/>
                      </a:endParaRPr>
                    </a:p>
                  </a:txBody>
                  <a:tcPr/>
                </a:tc>
                <a:extLst>
                  <a:ext uri="{0D108BD9-81ED-4DB2-BD59-A6C34878D82A}">
                    <a16:rowId xmlns:a16="http://schemas.microsoft.com/office/drawing/2014/main" xmlns="" val="2806127866"/>
                  </a:ext>
                </a:extLst>
              </a:tr>
              <a:tr h="377788">
                <a:tc>
                  <a:txBody>
                    <a:bodyPr/>
                    <a:lstStyle/>
                    <a:p>
                      <a:pPr marL="0" marR="0" indent="0" algn="l" defTabSz="914400" rtl="0" eaLnBrk="1" fontAlgn="auto" latinLnBrk="0" hangingPunct="1">
                        <a:lnSpc>
                          <a:spcPts val="1400"/>
                        </a:lnSpc>
                        <a:spcBef>
                          <a:spcPts val="0"/>
                        </a:spcBef>
                        <a:spcAft>
                          <a:spcPts val="600"/>
                        </a:spcAft>
                        <a:buClr>
                          <a:srgbClr val="000000"/>
                        </a:buClr>
                        <a:buSzTx/>
                        <a:buFont typeface="+mj-lt"/>
                        <a:buNone/>
                        <a:tabLst/>
                        <a:defRPr/>
                      </a:pPr>
                      <a:r>
                        <a:rPr lang="en-ZA" sz="1200" b="1" dirty="0" smtClean="0"/>
                        <a:t>1. Maize: </a:t>
                      </a:r>
                      <a:r>
                        <a:rPr lang="en-ZA" sz="1200" dirty="0" smtClean="0"/>
                        <a:t>The past agricultural season was characterised by a bumper harvest across the whole East Africa region</a:t>
                      </a:r>
                      <a:r>
                        <a:rPr lang="en-US" sz="1200" dirty="0" smtClean="0"/>
                        <a:t>. This led a to a significant drop in the market price for maize and limited availability of export market opportunities for maize farmers. </a:t>
                      </a:r>
                      <a:r>
                        <a:rPr lang="en-US" sz="1200" b="1" dirty="0" smtClean="0"/>
                        <a:t>There is need to look at local processing opportunities for maize in Tanzania. AGRA can support with the development of a PPP strategy for investment in milling and processing plants</a:t>
                      </a:r>
                      <a:r>
                        <a:rPr lang="en-US" sz="1200" dirty="0" smtClean="0"/>
                        <a:t>. </a:t>
                      </a:r>
                    </a:p>
                  </a:txBody>
                  <a:tcPr/>
                </a:tc>
                <a:extLst>
                  <a:ext uri="{0D108BD9-81ED-4DB2-BD59-A6C34878D82A}">
                    <a16:rowId xmlns:a16="http://schemas.microsoft.com/office/drawing/2014/main" xmlns="" val="2330181215"/>
                  </a:ext>
                </a:extLst>
              </a:tr>
              <a:tr h="491432">
                <a:tc>
                  <a:txBody>
                    <a:bodyPr/>
                    <a:lstStyle/>
                    <a:p>
                      <a:pPr marL="0" marR="0" indent="0" algn="l" defTabSz="914400" rtl="0" eaLnBrk="1" fontAlgn="auto" latinLnBrk="0" hangingPunct="1">
                        <a:lnSpc>
                          <a:spcPts val="1400"/>
                        </a:lnSpc>
                        <a:spcBef>
                          <a:spcPts val="0"/>
                        </a:spcBef>
                        <a:spcAft>
                          <a:spcPts val="600"/>
                        </a:spcAft>
                        <a:buClr>
                          <a:srgbClr val="000000"/>
                        </a:buClr>
                        <a:buSzTx/>
                        <a:buFont typeface="+mj-lt"/>
                        <a:buNone/>
                        <a:tabLst/>
                        <a:defRPr/>
                      </a:pPr>
                      <a:r>
                        <a:rPr lang="en-US" sz="1200" b="1" dirty="0" smtClean="0"/>
                        <a:t>2. Rice</a:t>
                      </a:r>
                      <a:r>
                        <a:rPr lang="en-US" sz="1200" dirty="0" smtClean="0"/>
                        <a:t>: The World Bank and the Japan International Cooperation Agency have invested in irrigation infrastructure. This is expected to increase productivity. AGRA has also  put $3 million into the rice value chain to help increase competitiveness and reduce the amount of imports. </a:t>
                      </a:r>
                    </a:p>
                  </a:txBody>
                  <a:tcPr/>
                </a:tc>
                <a:extLst>
                  <a:ext uri="{0D108BD9-81ED-4DB2-BD59-A6C34878D82A}">
                    <a16:rowId xmlns:a16="http://schemas.microsoft.com/office/drawing/2014/main" xmlns="" val="2937987614"/>
                  </a:ext>
                </a:extLst>
              </a:tr>
              <a:tr h="446539">
                <a:tc>
                  <a:txBody>
                    <a:bodyPr/>
                    <a:lstStyle/>
                    <a:p>
                      <a:pPr marL="0" marR="0" indent="0" algn="l" defTabSz="914400" rtl="0" eaLnBrk="1" fontAlgn="auto" latinLnBrk="0" hangingPunct="1">
                        <a:lnSpc>
                          <a:spcPts val="1400"/>
                        </a:lnSpc>
                        <a:spcBef>
                          <a:spcPts val="0"/>
                        </a:spcBef>
                        <a:spcAft>
                          <a:spcPts val="600"/>
                        </a:spcAft>
                        <a:buClr>
                          <a:srgbClr val="000000"/>
                        </a:buClr>
                        <a:buSzTx/>
                        <a:buFont typeface="+mj-lt"/>
                        <a:buNone/>
                        <a:tabLst/>
                        <a:defRPr/>
                      </a:pPr>
                      <a:r>
                        <a:rPr lang="en-US" sz="1200" b="1" dirty="0" smtClean="0"/>
                        <a:t>3. Soybean: </a:t>
                      </a:r>
                      <a:r>
                        <a:rPr lang="en-US" sz="1200" dirty="0" smtClean="0"/>
                        <a:t>Demand for soybean has been increasing driven mainly by animal feed producers. There is still a huge supply gap as productivity remains low. The number of soybean farmers remains low as soybean is not a popular crop in Tanzania. Promotion of soybean as a commercial crop is key to ensuring that the market demand is met. </a:t>
                      </a:r>
                    </a:p>
                  </a:txBody>
                  <a:tcPr/>
                </a:tc>
                <a:extLst>
                  <a:ext uri="{0D108BD9-81ED-4DB2-BD59-A6C34878D82A}">
                    <a16:rowId xmlns:a16="http://schemas.microsoft.com/office/drawing/2014/main" xmlns="" val="3925673634"/>
                  </a:ext>
                </a:extLst>
              </a:tr>
              <a:tr h="446539">
                <a:tc>
                  <a:txBody>
                    <a:bodyPr/>
                    <a:lstStyle/>
                    <a:p>
                      <a:pPr marL="0" marR="0" indent="0" algn="l" defTabSz="914400" rtl="0" eaLnBrk="1" fontAlgn="auto" latinLnBrk="0" hangingPunct="1">
                        <a:lnSpc>
                          <a:spcPts val="1400"/>
                        </a:lnSpc>
                        <a:spcBef>
                          <a:spcPts val="0"/>
                        </a:spcBef>
                        <a:spcAft>
                          <a:spcPts val="600"/>
                        </a:spcAft>
                        <a:buClr>
                          <a:srgbClr val="000000"/>
                        </a:buClr>
                        <a:buSzTx/>
                        <a:buFont typeface="+mj-lt"/>
                        <a:buNone/>
                        <a:tabLst/>
                        <a:defRPr/>
                      </a:pPr>
                      <a:r>
                        <a:rPr lang="en-US" sz="1200" b="1" dirty="0" smtClean="0"/>
                        <a:t>4. Potatoes: </a:t>
                      </a:r>
                      <a:r>
                        <a:rPr lang="en-US" sz="1200" dirty="0" smtClean="0"/>
                        <a:t>Seed companies continue to lack capacity to supply certified seed demanded in the market. There is a need to support these companies to increase their capacity to meet the demand for potato seed. AGRA has set aside US$ 3 million for this initiative. </a:t>
                      </a:r>
                    </a:p>
                  </a:txBody>
                  <a:tcPr/>
                </a:tc>
                <a:extLst>
                  <a:ext uri="{0D108BD9-81ED-4DB2-BD59-A6C34878D82A}">
                    <a16:rowId xmlns:a16="http://schemas.microsoft.com/office/drawing/2014/main" xmlns="" val="3467196171"/>
                  </a:ext>
                </a:extLst>
              </a:tr>
              <a:tr h="446539">
                <a:tc>
                  <a:txBody>
                    <a:bodyPr/>
                    <a:lstStyle/>
                    <a:p>
                      <a:pPr marL="0" marR="0" indent="0" algn="l" defTabSz="914400" rtl="0" eaLnBrk="1" fontAlgn="auto" latinLnBrk="0" hangingPunct="1">
                        <a:lnSpc>
                          <a:spcPts val="1400"/>
                        </a:lnSpc>
                        <a:spcBef>
                          <a:spcPts val="0"/>
                        </a:spcBef>
                        <a:spcAft>
                          <a:spcPts val="600"/>
                        </a:spcAft>
                        <a:buClr>
                          <a:srgbClr val="000000"/>
                        </a:buClr>
                        <a:buSzTx/>
                        <a:buFont typeface="+mj-lt"/>
                        <a:buNone/>
                        <a:tabLst/>
                        <a:defRPr/>
                      </a:pPr>
                      <a:r>
                        <a:rPr lang="en-US" sz="1200" b="1" dirty="0" smtClean="0"/>
                        <a:t>5. Cassava</a:t>
                      </a:r>
                      <a:r>
                        <a:rPr lang="en-US" sz="1200" dirty="0" smtClean="0"/>
                        <a:t>: The market for cassava has grown significantly driven mainly by China which is purchasing most of the cassava produced in Tanzania. The Bill and Melinda Gates Foundation has been supporting cassava farmers to increase their productivity. AGRA is also working with government to develop a comprehensive cassava investment plan. </a:t>
                      </a:r>
                    </a:p>
                  </a:txBody>
                  <a:tcPr/>
                </a:tc>
                <a:extLst>
                  <a:ext uri="{0D108BD9-81ED-4DB2-BD59-A6C34878D82A}">
                    <a16:rowId xmlns:a16="http://schemas.microsoft.com/office/drawing/2014/main" xmlns="" val="856211987"/>
                  </a:ext>
                </a:extLst>
              </a:tr>
              <a:tr h="446539">
                <a:tc>
                  <a:txBody>
                    <a:bodyPr/>
                    <a:lstStyle/>
                    <a:p>
                      <a:pPr marL="0" marR="0" indent="0" algn="l" defTabSz="914400" rtl="0" eaLnBrk="1" fontAlgn="auto" latinLnBrk="0" hangingPunct="1">
                        <a:lnSpc>
                          <a:spcPts val="1400"/>
                        </a:lnSpc>
                        <a:spcBef>
                          <a:spcPts val="0"/>
                        </a:spcBef>
                        <a:spcAft>
                          <a:spcPts val="600"/>
                        </a:spcAft>
                        <a:buClr>
                          <a:srgbClr val="000000"/>
                        </a:buClr>
                        <a:buSzTx/>
                        <a:buFont typeface="+mj-lt"/>
                        <a:buNone/>
                        <a:tabLst/>
                        <a:defRPr/>
                      </a:pPr>
                      <a:r>
                        <a:rPr lang="en-US" sz="1200" b="1" dirty="0" smtClean="0"/>
                        <a:t>6. Country Support and Policy Engagement</a:t>
                      </a:r>
                      <a:r>
                        <a:rPr lang="en-US" sz="1200" dirty="0" smtClean="0"/>
                        <a:t>: Government is looking at options to eliminate export bans and ensure food security. Specifically the government is looking for tools that can help them estimate the amount of food available currently. AGRA has funded this project through the Economic and Social Research Fund</a:t>
                      </a:r>
                    </a:p>
                  </a:txBody>
                  <a:tcPr/>
                </a:tc>
                <a:extLst>
                  <a:ext uri="{0D108BD9-81ED-4DB2-BD59-A6C34878D82A}">
                    <a16:rowId xmlns:a16="http://schemas.microsoft.com/office/drawing/2014/main" xmlns="" val="276248690"/>
                  </a:ext>
                </a:extLst>
              </a:tr>
              <a:tr h="446539">
                <a:tc>
                  <a:txBody>
                    <a:bodyPr/>
                    <a:lstStyle/>
                    <a:p>
                      <a:pPr marL="228600" marR="0" indent="-228600" algn="l" defTabSz="914400" rtl="0" eaLnBrk="1" fontAlgn="auto" latinLnBrk="0" hangingPunct="1">
                        <a:lnSpc>
                          <a:spcPts val="1400"/>
                        </a:lnSpc>
                        <a:spcBef>
                          <a:spcPts val="0"/>
                        </a:spcBef>
                        <a:spcAft>
                          <a:spcPts val="600"/>
                        </a:spcAft>
                        <a:buClr>
                          <a:srgbClr val="000000"/>
                        </a:buClr>
                        <a:buSzTx/>
                        <a:buFont typeface="+mj-lt"/>
                        <a:buAutoNum type="arabicPeriod" startAt="3"/>
                        <a:tabLst/>
                        <a:defRPr/>
                      </a:pPr>
                      <a:endParaRPr lang="en-US" sz="1200" b="0" i="0" u="none" strike="noStrike" cap="none" baseline="0" dirty="0" smtClean="0">
                        <a:solidFill>
                          <a:schemeClr val="tx1"/>
                        </a:solidFill>
                        <a:latin typeface="+mn-lt"/>
                        <a:ea typeface="+mn-ea"/>
                        <a:cs typeface="Arial" panose="020B0604020202020204" pitchFamily="34" charset="0"/>
                        <a:sym typeface="Calibri"/>
                      </a:endParaRPr>
                    </a:p>
                  </a:txBody>
                  <a:tcPr/>
                </a:tc>
                <a:extLst>
                  <a:ext uri="{0D108BD9-81ED-4DB2-BD59-A6C34878D82A}">
                    <a16:rowId xmlns:a16="http://schemas.microsoft.com/office/drawing/2014/main" xmlns="" val="3799345741"/>
                  </a:ext>
                </a:extLst>
              </a:tr>
            </a:tbl>
          </a:graphicData>
        </a:graphic>
      </p:graphicFrame>
    </p:spTree>
    <p:extLst>
      <p:ext uri="{BB962C8B-B14F-4D97-AF65-F5344CB8AC3E}">
        <p14:creationId xmlns:p14="http://schemas.microsoft.com/office/powerpoint/2010/main" val="8343922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81563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816" name="think-cell Slide" r:id="rId6" imgW="530" imgH="531" progId="TCLayout.ActiveDocument.1">
                  <p:embed/>
                </p:oleObj>
              </mc:Choice>
              <mc:Fallback>
                <p:oleObj name="think-cell Slide" r:id="rId6" imgW="530" imgH="531"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xecutive Summary</a:t>
            </a:r>
          </a:p>
        </p:txBody>
      </p:sp>
      <p:sp>
        <p:nvSpPr>
          <p:cNvPr id="5" name="Text Placeholder 4"/>
          <p:cNvSpPr>
            <a:spLocks noGrp="1"/>
          </p:cNvSpPr>
          <p:nvPr>
            <p:ph type="body" idx="1"/>
          </p:nvPr>
        </p:nvSpPr>
        <p:spPr>
          <a:xfrm>
            <a:off x="450276" y="844731"/>
            <a:ext cx="9005453" cy="5098869"/>
          </a:xfrm>
        </p:spPr>
        <p:txBody>
          <a:bodyPr/>
          <a:lstStyle/>
          <a:p>
            <a:pPr marL="0" indent="0">
              <a:lnSpc>
                <a:spcPts val="1200"/>
              </a:lnSpc>
              <a:spcBef>
                <a:spcPts val="600"/>
              </a:spcBef>
              <a:buNone/>
            </a:pPr>
            <a:r>
              <a:rPr lang="en-US" sz="1200" dirty="0">
                <a:solidFill>
                  <a:schemeClr val="tx1"/>
                </a:solidFill>
              </a:rPr>
              <a:t>There are also policy gaps that hinder transformation of the sector. The go</a:t>
            </a:r>
            <a:r>
              <a:rPr lang="en-US" sz="1200" dirty="0">
                <a:solidFill>
                  <a:srgbClr val="000000"/>
                </a:solidFill>
              </a:rPr>
              <a:t>vernment needs support towards </a:t>
            </a:r>
            <a:r>
              <a:rPr lang="en-US" sz="1200" dirty="0" err="1">
                <a:solidFill>
                  <a:srgbClr val="000000"/>
                </a:solidFill>
              </a:rPr>
              <a:t>ASDPII</a:t>
            </a:r>
            <a:r>
              <a:rPr lang="en-US" sz="1200" dirty="0">
                <a:solidFill>
                  <a:srgbClr val="000000"/>
                </a:solidFill>
              </a:rPr>
              <a:t> implementation at the Local Government Authority (</a:t>
            </a:r>
            <a:r>
              <a:rPr lang="en-US" sz="1200" dirty="0" err="1">
                <a:solidFill>
                  <a:srgbClr val="000000"/>
                </a:solidFill>
              </a:rPr>
              <a:t>LGA</a:t>
            </a:r>
            <a:r>
              <a:rPr lang="en-US" sz="1200" dirty="0">
                <a:solidFill>
                  <a:srgbClr val="000000"/>
                </a:solidFill>
              </a:rPr>
              <a:t>) Level, Improvement in the </a:t>
            </a:r>
            <a:r>
              <a:rPr lang="en-US" sz="1200" dirty="0" err="1">
                <a:solidFill>
                  <a:srgbClr val="000000"/>
                </a:solidFill>
              </a:rPr>
              <a:t>CAADP</a:t>
            </a:r>
            <a:r>
              <a:rPr lang="en-US" sz="1200" dirty="0">
                <a:solidFill>
                  <a:srgbClr val="000000"/>
                </a:solidFill>
              </a:rPr>
              <a:t> country process with the focus of improving Tanzania’s performance in the biennial review process, and strengthening policy analysis and reforms for an enhanced enabling policy environment</a:t>
            </a:r>
            <a:r>
              <a:rPr lang="en-US" sz="1200" dirty="0" smtClean="0">
                <a:solidFill>
                  <a:srgbClr val="000000"/>
                </a:solidFill>
              </a:rPr>
              <a:t>.</a:t>
            </a:r>
          </a:p>
          <a:p>
            <a:pPr marL="0" indent="0">
              <a:lnSpc>
                <a:spcPts val="1400"/>
              </a:lnSpc>
              <a:spcBef>
                <a:spcPts val="600"/>
              </a:spcBef>
              <a:buNone/>
            </a:pPr>
            <a:r>
              <a:rPr lang="en-US" sz="1200" dirty="0">
                <a:solidFill>
                  <a:srgbClr val="000000"/>
                </a:solidFill>
              </a:rPr>
              <a:t>AGRA’s 2017 – 2021 strategy seeks to catalyze and sustain an inclusive agriculture transformation in 11 priority countries including </a:t>
            </a:r>
            <a:r>
              <a:rPr lang="en-US" sz="1200" dirty="0" smtClean="0">
                <a:solidFill>
                  <a:srgbClr val="000000"/>
                </a:solidFill>
              </a:rPr>
              <a:t>Tanzania. </a:t>
            </a:r>
            <a:r>
              <a:rPr lang="en-US" sz="1200" dirty="0">
                <a:solidFill>
                  <a:srgbClr val="000000"/>
                </a:solidFill>
              </a:rPr>
              <a:t>Our theory of change is that unlocking sustainable transformation will required a combination of {</a:t>
            </a:r>
            <a:r>
              <a:rPr lang="en-US" sz="1200" dirty="0" err="1">
                <a:solidFill>
                  <a:srgbClr val="000000"/>
                </a:solidFill>
              </a:rPr>
              <a:t>i</a:t>
            </a:r>
            <a:r>
              <a:rPr lang="en-US" sz="1200" dirty="0">
                <a:solidFill>
                  <a:srgbClr val="000000"/>
                </a:solidFill>
              </a:rPr>
              <a:t>} Policy and State Capability: working with government to strengthen execution capacity while enhancing the transparency, accountability systems and policy environment for increased public and private sector investment in agriculture; {ii} Systems Development: investments to build downstream delivery systems closer to smallholder farmers while providing support to local private sector to scale technologies and services which deliver better productivity and incomes; and Partnerships: investments to facilitate the alignment between government priorities and private sector interests; improving integration and coordination which lead to investments beneficial to smallholder farmers</a:t>
            </a:r>
          </a:p>
          <a:p>
            <a:pPr marL="0" indent="0">
              <a:lnSpc>
                <a:spcPts val="1400"/>
              </a:lnSpc>
              <a:spcBef>
                <a:spcPts val="600"/>
              </a:spcBef>
              <a:buNone/>
            </a:pPr>
            <a:r>
              <a:rPr lang="en-US" sz="1200" dirty="0">
                <a:solidFill>
                  <a:srgbClr val="000000"/>
                </a:solidFill>
              </a:rPr>
              <a:t>In </a:t>
            </a:r>
            <a:r>
              <a:rPr lang="en-US" sz="1200" dirty="0" smtClean="0">
                <a:solidFill>
                  <a:srgbClr val="000000"/>
                </a:solidFill>
              </a:rPr>
              <a:t>Tanzania, </a:t>
            </a:r>
            <a:r>
              <a:rPr lang="en-US" sz="1200" dirty="0" err="1">
                <a:solidFill>
                  <a:srgbClr val="000000"/>
                </a:solidFill>
              </a:rPr>
              <a:t>AGRA’s</a:t>
            </a:r>
            <a:r>
              <a:rPr lang="en-US" sz="1200" dirty="0">
                <a:solidFill>
                  <a:srgbClr val="000000"/>
                </a:solidFill>
              </a:rPr>
              <a:t> focus will be on</a:t>
            </a:r>
            <a:r>
              <a:rPr lang="en-US" sz="1200" dirty="0" smtClean="0">
                <a:solidFill>
                  <a:srgbClr val="000000"/>
                </a:solidFill>
              </a:rPr>
              <a:t>:</a:t>
            </a:r>
          </a:p>
          <a:p>
            <a:pPr marL="285750" indent="-285750">
              <a:lnSpc>
                <a:spcPts val="1200"/>
              </a:lnSpc>
              <a:spcBef>
                <a:spcPts val="600"/>
              </a:spcBef>
              <a:buSzPct val="100000"/>
              <a:buFont typeface="+mj-lt"/>
              <a:buAutoNum type="romanLcPeriod"/>
            </a:pPr>
            <a:r>
              <a:rPr lang="en-US" sz="1200" dirty="0" smtClean="0">
                <a:solidFill>
                  <a:schemeClr val="tx1"/>
                </a:solidFill>
              </a:rPr>
              <a:t>Support government in the implementation of the ASDPII at the LGA level focusing on activities that strengthen planning and implementation of the DADPs and crowding-in investments. Development of flagship programme to catalyze the implementation of ASDPII will also be an important areas of focus. In Policy, AGRA will focus on micro-reforms of problem policies and regulations, political economy assessments, with a focus on trade, the seed sector and fiscal policies touching on agribusinesses. AGRA will also support government in the review of Agriculture Policy 2013.</a:t>
            </a:r>
            <a:endParaRPr lang="en-US" sz="1200" dirty="0">
              <a:solidFill>
                <a:schemeClr val="tx1"/>
              </a:solidFill>
            </a:endParaRPr>
          </a:p>
          <a:p>
            <a:pPr marL="285750" indent="-285750">
              <a:lnSpc>
                <a:spcPts val="1200"/>
              </a:lnSpc>
              <a:spcBef>
                <a:spcPts val="600"/>
              </a:spcBef>
              <a:buSzPct val="100000"/>
              <a:buFont typeface="+mj-lt"/>
              <a:buAutoNum type="romanLcPeriod"/>
            </a:pPr>
            <a:r>
              <a:rPr lang="en-US" sz="1200" dirty="0" smtClean="0">
                <a:solidFill>
                  <a:schemeClr val="tx1"/>
                </a:solidFill>
              </a:rPr>
              <a:t>Successful implementation of the consortia program. Embedded and complementing consortia program are the YieldWise project and inclusive finance. Specific activities will focus on the roll </a:t>
            </a:r>
            <a:r>
              <a:rPr lang="en-US" sz="1200" dirty="0">
                <a:solidFill>
                  <a:schemeClr val="tx1"/>
                </a:solidFill>
              </a:rPr>
              <a:t>out </a:t>
            </a:r>
            <a:r>
              <a:rPr lang="en-US" sz="1200" dirty="0" smtClean="0">
                <a:solidFill>
                  <a:schemeClr val="tx1"/>
                </a:solidFill>
              </a:rPr>
              <a:t>of VBA </a:t>
            </a:r>
            <a:r>
              <a:rPr lang="en-US" sz="1200" dirty="0">
                <a:solidFill>
                  <a:schemeClr val="tx1"/>
                </a:solidFill>
              </a:rPr>
              <a:t>operations, mechanization, equipment finance model, </a:t>
            </a:r>
            <a:r>
              <a:rPr lang="en-US" sz="1200" dirty="0" smtClean="0">
                <a:solidFill>
                  <a:schemeClr val="tx1"/>
                </a:solidFill>
              </a:rPr>
              <a:t>Competitive </a:t>
            </a:r>
            <a:r>
              <a:rPr lang="en-US" sz="1200" dirty="0">
                <a:solidFill>
                  <a:schemeClr val="tx1"/>
                </a:solidFill>
              </a:rPr>
              <a:t>African Rice </a:t>
            </a:r>
            <a:r>
              <a:rPr lang="en-US" sz="1200" dirty="0" smtClean="0">
                <a:solidFill>
                  <a:schemeClr val="tx1"/>
                </a:solidFill>
              </a:rPr>
              <a:t>Initiative (CARI) for </a:t>
            </a:r>
            <a:r>
              <a:rPr lang="en-US" sz="1200" dirty="0">
                <a:solidFill>
                  <a:schemeClr val="tx1"/>
                </a:solidFill>
              </a:rPr>
              <a:t>EAC countries, input authentication operationalization, input-output structuring and systems development and agro dealer development for efficient and robust down-stream delivery of inputs</a:t>
            </a:r>
          </a:p>
          <a:p>
            <a:pPr marL="285750" indent="-285750">
              <a:lnSpc>
                <a:spcPts val="1200"/>
              </a:lnSpc>
              <a:spcBef>
                <a:spcPts val="600"/>
              </a:spcBef>
              <a:buSzPct val="100000"/>
              <a:buFont typeface="+mj-lt"/>
              <a:buAutoNum type="romanLcPeriod"/>
            </a:pPr>
            <a:r>
              <a:rPr lang="en-US" sz="1200" dirty="0" smtClean="0">
                <a:solidFill>
                  <a:schemeClr val="tx1"/>
                </a:solidFill>
              </a:rPr>
              <a:t>Build partnerships that will help bring to scale innovations and products developed and tested at the consortia program and other AGRA investments. Specific partnerships </a:t>
            </a:r>
            <a:r>
              <a:rPr lang="en-US" sz="1200" dirty="0" smtClean="0">
                <a:solidFill>
                  <a:schemeClr val="tx1"/>
                </a:solidFill>
                <a:sym typeface="Calibri"/>
              </a:rPr>
              <a:t>Mechanization </a:t>
            </a:r>
            <a:r>
              <a:rPr lang="en-US" sz="1200" dirty="0">
                <a:solidFill>
                  <a:schemeClr val="tx1"/>
                </a:solidFill>
                <a:sym typeface="Calibri"/>
              </a:rPr>
              <a:t>options, potato partnership, cassava commercialization, expanding maize markets and  CARI-EA</a:t>
            </a:r>
            <a:endParaRPr lang="en-US" sz="1200" dirty="0">
              <a:solidFill>
                <a:schemeClr val="tx1"/>
              </a:solidFill>
            </a:endParaRPr>
          </a:p>
          <a:p>
            <a:pPr marL="0" indent="0">
              <a:lnSpc>
                <a:spcPts val="1400"/>
              </a:lnSpc>
              <a:spcBef>
                <a:spcPts val="600"/>
              </a:spcBef>
              <a:buNone/>
            </a:pPr>
            <a:r>
              <a:rPr lang="en-US" sz="1200" dirty="0" smtClean="0">
                <a:solidFill>
                  <a:srgbClr val="000000"/>
                </a:solidFill>
              </a:rPr>
              <a:t>AGRA </a:t>
            </a:r>
            <a:r>
              <a:rPr lang="en-US" sz="1200" dirty="0">
                <a:solidFill>
                  <a:srgbClr val="000000"/>
                </a:solidFill>
              </a:rPr>
              <a:t>has prioritized three regions with the highest potential for impact: Western, Southern and Northern Highlands targeting three primary crops (maize, rice and beans) and two secondary crops (cassava and potatoes</a:t>
            </a:r>
            <a:r>
              <a:rPr lang="en-US" sz="1200" dirty="0" smtClean="0">
                <a:solidFill>
                  <a:srgbClr val="000000"/>
                </a:solidFill>
              </a:rPr>
              <a:t>). By </a:t>
            </a:r>
            <a:r>
              <a:rPr lang="en-US" sz="1200" dirty="0">
                <a:solidFill>
                  <a:srgbClr val="000000"/>
                </a:solidFill>
              </a:rPr>
              <a:t>executing this strategy, </a:t>
            </a:r>
            <a:r>
              <a:rPr lang="en-US" sz="1200" dirty="0" smtClean="0">
                <a:solidFill>
                  <a:srgbClr val="000000"/>
                </a:solidFill>
              </a:rPr>
              <a:t>an </a:t>
            </a:r>
            <a:r>
              <a:rPr lang="en-US" sz="1200" dirty="0">
                <a:solidFill>
                  <a:srgbClr val="000000"/>
                </a:solidFill>
              </a:rPr>
              <a:t>inclusive agricultural transformation </a:t>
            </a:r>
            <a:r>
              <a:rPr lang="en-US" sz="1200" dirty="0" smtClean="0">
                <a:solidFill>
                  <a:srgbClr val="000000"/>
                </a:solidFill>
              </a:rPr>
              <a:t>will be catalyzed </a:t>
            </a:r>
            <a:r>
              <a:rPr lang="en-US" sz="1200" dirty="0">
                <a:solidFill>
                  <a:srgbClr val="000000"/>
                </a:solidFill>
              </a:rPr>
              <a:t>and </a:t>
            </a:r>
            <a:r>
              <a:rPr lang="en-US" sz="1200" dirty="0" smtClean="0">
                <a:solidFill>
                  <a:srgbClr val="000000"/>
                </a:solidFill>
              </a:rPr>
              <a:t>sustained resulting in increased </a:t>
            </a:r>
            <a:r>
              <a:rPr lang="en-US" sz="1200" dirty="0">
                <a:solidFill>
                  <a:srgbClr val="000000"/>
                </a:solidFill>
              </a:rPr>
              <a:t>income, food security and nutrition for at least 627,000 smallholder </a:t>
            </a:r>
            <a:r>
              <a:rPr lang="en-US" sz="1200" dirty="0" smtClean="0">
                <a:solidFill>
                  <a:srgbClr val="000000"/>
                </a:solidFill>
              </a:rPr>
              <a:t>households</a:t>
            </a:r>
            <a:r>
              <a:rPr lang="en-US" sz="1200" dirty="0">
                <a:solidFill>
                  <a:srgbClr val="000000"/>
                </a:solidFill>
              </a:rPr>
              <a:t> </a:t>
            </a:r>
            <a:r>
              <a:rPr lang="en-US" sz="1200" dirty="0" smtClean="0">
                <a:solidFill>
                  <a:srgbClr val="000000"/>
                </a:solidFill>
              </a:rPr>
              <a:t>directly and a further 2.5 million indirectly.</a:t>
            </a:r>
            <a:endParaRPr lang="en-US" sz="1200" dirty="0">
              <a:solidFill>
                <a:srgbClr val="000000"/>
              </a:solidFill>
            </a:endParaRPr>
          </a:p>
          <a:p>
            <a:pPr marL="0" indent="0">
              <a:lnSpc>
                <a:spcPts val="1400"/>
              </a:lnSpc>
              <a:spcBef>
                <a:spcPts val="600"/>
              </a:spcBef>
              <a:buNone/>
            </a:pPr>
            <a:endParaRPr lang="en-US" sz="1200" dirty="0">
              <a:solidFill>
                <a:srgbClr val="000000"/>
              </a:solidFill>
            </a:endParaRPr>
          </a:p>
          <a:p>
            <a:pPr marL="0" indent="0">
              <a:lnSpc>
                <a:spcPts val="1200"/>
              </a:lnSpc>
              <a:spcBef>
                <a:spcPts val="600"/>
              </a:spcBef>
              <a:buNone/>
            </a:pPr>
            <a:endParaRPr lang="en-ZA" sz="1200" dirty="0">
              <a:solidFill>
                <a:srgbClr val="000000"/>
              </a:solidFill>
            </a:endParaRPr>
          </a:p>
          <a:p>
            <a:pPr marL="0" indent="0">
              <a:lnSpc>
                <a:spcPts val="1400"/>
              </a:lnSpc>
              <a:spcBef>
                <a:spcPts val="600"/>
              </a:spcBef>
              <a:buNone/>
            </a:pPr>
            <a:endParaRPr lang="en-US" sz="1200" dirty="0">
              <a:solidFill>
                <a:srgbClr val="000000"/>
              </a:solidFill>
            </a:endParaRPr>
          </a:p>
        </p:txBody>
      </p:sp>
      <p:sp>
        <p:nvSpPr>
          <p:cNvPr id="7" name="Text Placeholder 6"/>
          <p:cNvSpPr>
            <a:spLocks noGrp="1"/>
          </p:cNvSpPr>
          <p:nvPr>
            <p:ph type="body" idx="2"/>
          </p:nvPr>
        </p:nvSpPr>
        <p:spPr>
          <a:xfrm>
            <a:off x="512621" y="6182725"/>
            <a:ext cx="7702813" cy="386679"/>
          </a:xfrm>
        </p:spPr>
        <p:txBody>
          <a:bodyPr/>
          <a:lstStyle/>
          <a:p>
            <a:endParaRPr lang="en-US"/>
          </a:p>
        </p:txBody>
      </p:sp>
    </p:spTree>
    <p:extLst>
      <p:ext uri="{BB962C8B-B14F-4D97-AF65-F5344CB8AC3E}">
        <p14:creationId xmlns:p14="http://schemas.microsoft.com/office/powerpoint/2010/main" val="278586356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he Team</a:t>
            </a:r>
            <a:endParaRPr lang="en-US"/>
          </a:p>
        </p:txBody>
      </p:sp>
    </p:spTree>
    <p:extLst>
      <p:ext uri="{BB962C8B-B14F-4D97-AF65-F5344CB8AC3E}">
        <p14:creationId xmlns:p14="http://schemas.microsoft.com/office/powerpoint/2010/main" val="85602762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b"/>
          <a:lstStyle/>
          <a:p>
            <a:pPr defTabSz="914395">
              <a:spcBef>
                <a:spcPct val="0"/>
              </a:spcBef>
              <a:buClrTx/>
              <a:buSzTx/>
              <a:buFontTx/>
            </a:pPr>
            <a:r>
              <a:rPr lang="en-US">
                <a:solidFill>
                  <a:schemeClr val="tx1"/>
                </a:solidFill>
                <a:latin typeface="Arial" panose="020B0604020202020204" pitchFamily="34" charset="0"/>
                <a:cs typeface="Arial" panose="020B0604020202020204" pitchFamily="34" charset="0"/>
              </a:rPr>
              <a:t>The Team</a:t>
            </a:r>
          </a:p>
        </p:txBody>
      </p:sp>
      <p:sp>
        <p:nvSpPr>
          <p:cNvPr id="4" name="Rectangle 3"/>
          <p:cNvSpPr/>
          <p:nvPr/>
        </p:nvSpPr>
        <p:spPr>
          <a:xfrm>
            <a:off x="3579255" y="914874"/>
            <a:ext cx="1371600" cy="548640"/>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smtClean="0">
                <a:solidFill>
                  <a:schemeClr val="bg1"/>
                </a:solidFill>
                <a:cs typeface="Arial" panose="020B0604020202020204" pitchFamily="34" charset="0"/>
              </a:rPr>
              <a:t>Regional Head: Prof. Nuhu Hatibu</a:t>
            </a:r>
          </a:p>
        </p:txBody>
      </p:sp>
      <p:sp>
        <p:nvSpPr>
          <p:cNvPr id="7" name="Rectangle 6"/>
          <p:cNvSpPr/>
          <p:nvPr/>
        </p:nvSpPr>
        <p:spPr>
          <a:xfrm>
            <a:off x="3579253" y="1624660"/>
            <a:ext cx="1371601" cy="645044"/>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1000" dirty="0">
                <a:solidFill>
                  <a:schemeClr val="bg1"/>
                </a:solidFill>
                <a:cs typeface="Arial" panose="020B0604020202020204" pitchFamily="34" charset="0"/>
              </a:rPr>
              <a:t>Country </a:t>
            </a:r>
            <a:r>
              <a:rPr lang="en-US" sz="1000" dirty="0" smtClean="0">
                <a:solidFill>
                  <a:schemeClr val="bg1"/>
                </a:solidFill>
                <a:cs typeface="Arial" panose="020B0604020202020204" pitchFamily="34" charset="0"/>
              </a:rPr>
              <a:t>Manager: </a:t>
            </a:r>
            <a:r>
              <a:rPr lang="en-US" sz="1000" dirty="0">
                <a:solidFill>
                  <a:schemeClr val="bg1"/>
                </a:solidFill>
              </a:rPr>
              <a:t>Vianey </a:t>
            </a:r>
            <a:r>
              <a:rPr lang="en-US" sz="1000" dirty="0" smtClean="0">
                <a:solidFill>
                  <a:schemeClr val="bg1"/>
                </a:solidFill>
              </a:rPr>
              <a:t>Rweyendela</a:t>
            </a:r>
            <a:endParaRPr lang="en-US" sz="1000" dirty="0">
              <a:solidFill>
                <a:schemeClr val="bg1"/>
              </a:solidFill>
            </a:endParaRPr>
          </a:p>
        </p:txBody>
      </p:sp>
      <p:cxnSp>
        <p:nvCxnSpPr>
          <p:cNvPr id="15" name="Straight Arrow Connector 14"/>
          <p:cNvCxnSpPr>
            <a:stCxn id="4" idx="2"/>
            <a:endCxn id="7" idx="0"/>
          </p:cNvCxnSpPr>
          <p:nvPr/>
        </p:nvCxnSpPr>
        <p:spPr>
          <a:xfrm flipH="1">
            <a:off x="4265054" y="1463514"/>
            <a:ext cx="1" cy="16114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p:cNvCxnSpPr>
            <a:stCxn id="7" idx="2"/>
            <a:endCxn id="82" idx="0"/>
          </p:cNvCxnSpPr>
          <p:nvPr/>
        </p:nvCxnSpPr>
        <p:spPr>
          <a:xfrm rot="16200000" flipH="1">
            <a:off x="4149479" y="2385279"/>
            <a:ext cx="1039638" cy="808488"/>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45" name="Straight Arrow Connector 44"/>
          <p:cNvCxnSpPr>
            <a:stCxn id="7" idx="2"/>
            <a:endCxn id="100" idx="0"/>
          </p:cNvCxnSpPr>
          <p:nvPr/>
        </p:nvCxnSpPr>
        <p:spPr>
          <a:xfrm rot="16200000" flipH="1">
            <a:off x="4851047" y="1683711"/>
            <a:ext cx="2341152" cy="3513138"/>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54" name="Rectangle 53"/>
          <p:cNvSpPr/>
          <p:nvPr/>
        </p:nvSpPr>
        <p:spPr>
          <a:xfrm>
            <a:off x="7110662" y="3325229"/>
            <a:ext cx="983291" cy="651348"/>
          </a:xfrm>
          <a:prstGeom prst="rect">
            <a:avLst/>
          </a:prstGeom>
          <a:solidFill>
            <a:srgbClr val="0070C0"/>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anchor="ctr"/>
          <a:lstStyle/>
          <a:p>
            <a:pPr lvl="0" algn="ctr"/>
            <a:r>
              <a:rPr lang="en-US" sz="1000" dirty="0">
                <a:solidFill>
                  <a:schemeClr val="bg1"/>
                </a:solidFill>
              </a:rPr>
              <a:t>Associate Program </a:t>
            </a:r>
            <a:r>
              <a:rPr lang="en-US" sz="1000" dirty="0" smtClean="0">
                <a:solidFill>
                  <a:schemeClr val="bg1"/>
                </a:solidFill>
              </a:rPr>
              <a:t>Officer-North</a:t>
            </a:r>
            <a:endParaRPr lang="en-US" sz="1000" dirty="0">
              <a:solidFill>
                <a:schemeClr val="bg1"/>
              </a:solidFill>
            </a:endParaRPr>
          </a:p>
          <a:p>
            <a:pPr lvl="0" algn="ctr"/>
            <a:r>
              <a:rPr lang="en-US" sz="1000" dirty="0" err="1" smtClean="0">
                <a:solidFill>
                  <a:schemeClr val="bg1"/>
                </a:solidFill>
              </a:rPr>
              <a:t>Seleman</a:t>
            </a:r>
            <a:r>
              <a:rPr lang="en-US" sz="1000" dirty="0" smtClean="0">
                <a:solidFill>
                  <a:schemeClr val="bg1"/>
                </a:solidFill>
              </a:rPr>
              <a:t> Kaoneka</a:t>
            </a:r>
            <a:endParaRPr lang="en-US" sz="1000" dirty="0">
              <a:solidFill>
                <a:schemeClr val="bg1"/>
              </a:solidFill>
            </a:endParaRPr>
          </a:p>
        </p:txBody>
      </p:sp>
      <p:sp>
        <p:nvSpPr>
          <p:cNvPr id="50" name="Rectangle 49"/>
          <p:cNvSpPr/>
          <p:nvPr/>
        </p:nvSpPr>
        <p:spPr>
          <a:xfrm>
            <a:off x="5800784" y="3314756"/>
            <a:ext cx="1087003" cy="651348"/>
          </a:xfrm>
          <a:prstGeom prst="rect">
            <a:avLst/>
          </a:prstGeom>
          <a:solidFill>
            <a:srgbClr val="0070C0"/>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anchor="ctr"/>
          <a:lstStyle/>
          <a:p>
            <a:pPr lvl="0" algn="ctr"/>
            <a:r>
              <a:rPr lang="en-US" sz="1000" dirty="0">
                <a:solidFill>
                  <a:schemeClr val="bg1"/>
                </a:solidFill>
              </a:rPr>
              <a:t>Program Officer - Policy</a:t>
            </a:r>
          </a:p>
          <a:p>
            <a:pPr lvl="0" algn="ctr"/>
            <a:r>
              <a:rPr lang="en-US" sz="1000" dirty="0">
                <a:solidFill>
                  <a:schemeClr val="bg1"/>
                </a:solidFill>
              </a:rPr>
              <a:t>Liston Njoroge</a:t>
            </a:r>
          </a:p>
        </p:txBody>
      </p:sp>
      <p:sp>
        <p:nvSpPr>
          <p:cNvPr id="63" name="Rectangle 62"/>
          <p:cNvSpPr/>
          <p:nvPr/>
        </p:nvSpPr>
        <p:spPr>
          <a:xfrm>
            <a:off x="930719" y="3260305"/>
            <a:ext cx="920727" cy="810688"/>
          </a:xfrm>
          <a:prstGeom prst="rect">
            <a:avLst/>
          </a:prstGeom>
          <a:solidFill>
            <a:srgbClr val="0070C0"/>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anchor="ctr"/>
          <a:lstStyle/>
          <a:p>
            <a:pPr lvl="0" algn="ctr"/>
            <a:r>
              <a:rPr lang="en-US" sz="1000" dirty="0">
                <a:solidFill>
                  <a:schemeClr val="bg1"/>
                </a:solidFill>
              </a:rPr>
              <a:t>Program </a:t>
            </a:r>
            <a:r>
              <a:rPr lang="en-US" sz="1000" dirty="0" smtClean="0">
                <a:solidFill>
                  <a:schemeClr val="bg1"/>
                </a:solidFill>
              </a:rPr>
              <a:t>Officer-FtMA and PHM</a:t>
            </a:r>
            <a:endParaRPr lang="en-US" sz="1000" dirty="0">
              <a:solidFill>
                <a:schemeClr val="bg1"/>
              </a:solidFill>
            </a:endParaRPr>
          </a:p>
          <a:p>
            <a:pPr lvl="0" algn="ctr"/>
            <a:r>
              <a:rPr lang="en-US" sz="1000" dirty="0">
                <a:solidFill>
                  <a:schemeClr val="bg1"/>
                </a:solidFill>
              </a:rPr>
              <a:t>Edward </a:t>
            </a:r>
            <a:r>
              <a:rPr lang="en-US" sz="1000" dirty="0" err="1">
                <a:solidFill>
                  <a:schemeClr val="bg1"/>
                </a:solidFill>
              </a:rPr>
              <a:t>Agaba</a:t>
            </a:r>
            <a:endParaRPr lang="en-US" sz="1000" dirty="0">
              <a:solidFill>
                <a:schemeClr val="bg1"/>
              </a:solidFill>
            </a:endParaRPr>
          </a:p>
        </p:txBody>
      </p:sp>
      <p:sp>
        <p:nvSpPr>
          <p:cNvPr id="61" name="Rectangle 60"/>
          <p:cNvSpPr/>
          <p:nvPr/>
        </p:nvSpPr>
        <p:spPr>
          <a:xfrm>
            <a:off x="2248454" y="3325229"/>
            <a:ext cx="856423" cy="718722"/>
          </a:xfrm>
          <a:prstGeom prst="rect">
            <a:avLst/>
          </a:prstGeom>
          <a:solidFill>
            <a:srgbClr val="0070C0"/>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anchor="ctr"/>
          <a:lstStyle/>
          <a:p>
            <a:pPr lvl="0" algn="ctr"/>
            <a:r>
              <a:rPr lang="en-US" sz="1000" dirty="0">
                <a:solidFill>
                  <a:schemeClr val="bg1"/>
                </a:solidFill>
              </a:rPr>
              <a:t>Program </a:t>
            </a:r>
            <a:r>
              <a:rPr lang="en-US" sz="1000" dirty="0" smtClean="0">
                <a:solidFill>
                  <a:schemeClr val="bg1"/>
                </a:solidFill>
              </a:rPr>
              <a:t>Officer-YWS/Ihemi</a:t>
            </a:r>
            <a:endParaRPr lang="en-US" sz="1000" dirty="0">
              <a:solidFill>
                <a:schemeClr val="bg1"/>
              </a:solidFill>
            </a:endParaRPr>
          </a:p>
          <a:p>
            <a:pPr lvl="0" algn="ctr"/>
            <a:r>
              <a:rPr lang="en-US" sz="1000" dirty="0">
                <a:solidFill>
                  <a:schemeClr val="bg1"/>
                </a:solidFill>
              </a:rPr>
              <a:t>Stella </a:t>
            </a:r>
            <a:r>
              <a:rPr lang="en-US" sz="1000" dirty="0" err="1">
                <a:solidFill>
                  <a:schemeClr val="bg1"/>
                </a:solidFill>
              </a:rPr>
              <a:t>Rwiza</a:t>
            </a:r>
            <a:endParaRPr lang="en-US" sz="1000" dirty="0">
              <a:solidFill>
                <a:schemeClr val="bg1"/>
              </a:solidFill>
            </a:endParaRPr>
          </a:p>
        </p:txBody>
      </p:sp>
      <p:sp>
        <p:nvSpPr>
          <p:cNvPr id="59" name="Rectangle 58"/>
          <p:cNvSpPr/>
          <p:nvPr/>
        </p:nvSpPr>
        <p:spPr>
          <a:xfrm>
            <a:off x="8218967" y="3328150"/>
            <a:ext cx="1141101" cy="651348"/>
          </a:xfrm>
          <a:prstGeom prst="rect">
            <a:avLst/>
          </a:prstGeom>
          <a:solidFill>
            <a:srgbClr val="0070C0"/>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anchor="ctr"/>
          <a:lstStyle/>
          <a:p>
            <a:pPr lvl="0" algn="ctr"/>
            <a:r>
              <a:rPr lang="en-US" sz="1000" dirty="0">
                <a:solidFill>
                  <a:schemeClr val="bg1"/>
                </a:solidFill>
              </a:rPr>
              <a:t>GST Finance Administrator Frederick Sangawe</a:t>
            </a:r>
          </a:p>
        </p:txBody>
      </p:sp>
      <p:cxnSp>
        <p:nvCxnSpPr>
          <p:cNvPr id="72" name="Straight Arrow Connector 71"/>
          <p:cNvCxnSpPr/>
          <p:nvPr/>
        </p:nvCxnSpPr>
        <p:spPr>
          <a:xfrm rot="5400000">
            <a:off x="1351383" y="1444167"/>
            <a:ext cx="2234725" cy="3592615"/>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76" name="Straight Arrow Connector 72"/>
          <p:cNvCxnSpPr/>
          <p:nvPr/>
        </p:nvCxnSpPr>
        <p:spPr>
          <a:xfrm rot="10800000" flipV="1">
            <a:off x="1604836" y="2805096"/>
            <a:ext cx="2351875" cy="433208"/>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77" name="Straight Arrow Connector 72"/>
          <p:cNvCxnSpPr>
            <a:stCxn id="7" idx="2"/>
            <a:endCxn id="59" idx="0"/>
          </p:cNvCxnSpPr>
          <p:nvPr/>
        </p:nvCxnSpPr>
        <p:spPr>
          <a:xfrm rot="16200000" flipH="1">
            <a:off x="5998063" y="536695"/>
            <a:ext cx="1058446" cy="4524464"/>
          </a:xfrm>
          <a:prstGeom prst="bentConnector3">
            <a:avLst>
              <a:gd name="adj1" fmla="val 50000"/>
            </a:avLst>
          </a:prstGeom>
          <a:ln w="9525">
            <a:prstDash val="solid"/>
            <a:tailEnd type="triangle"/>
          </a:ln>
        </p:spPr>
        <p:style>
          <a:lnRef idx="1">
            <a:schemeClr val="dk1"/>
          </a:lnRef>
          <a:fillRef idx="0">
            <a:schemeClr val="dk1"/>
          </a:fillRef>
          <a:effectRef idx="0">
            <a:schemeClr val="dk1"/>
          </a:effectRef>
          <a:fontRef idx="minor">
            <a:schemeClr val="tx1"/>
          </a:fontRef>
        </p:style>
      </p:cxnSp>
      <p:cxnSp>
        <p:nvCxnSpPr>
          <p:cNvPr id="78" name="Straight Arrow Connector 72"/>
          <p:cNvCxnSpPr>
            <a:stCxn id="7" idx="2"/>
            <a:endCxn id="54" idx="0"/>
          </p:cNvCxnSpPr>
          <p:nvPr/>
        </p:nvCxnSpPr>
        <p:spPr>
          <a:xfrm rot="16200000" flipH="1">
            <a:off x="5405919" y="1128839"/>
            <a:ext cx="1055525" cy="3337254"/>
          </a:xfrm>
          <a:prstGeom prst="bentConnector3">
            <a:avLst>
              <a:gd name="adj1" fmla="val 50000"/>
            </a:avLst>
          </a:prstGeom>
          <a:ln w="9525">
            <a:prstDash val="solid"/>
            <a:tailEnd type="triangle"/>
          </a:ln>
        </p:spPr>
        <p:style>
          <a:lnRef idx="1">
            <a:schemeClr val="dk1"/>
          </a:lnRef>
          <a:fillRef idx="0">
            <a:schemeClr val="dk1"/>
          </a:fillRef>
          <a:effectRef idx="0">
            <a:schemeClr val="dk1"/>
          </a:effectRef>
          <a:fontRef idx="minor">
            <a:schemeClr val="tx1"/>
          </a:fontRef>
        </p:style>
      </p:cxnSp>
      <p:cxnSp>
        <p:nvCxnSpPr>
          <p:cNvPr id="79" name="Straight Arrow Connector 72"/>
          <p:cNvCxnSpPr/>
          <p:nvPr/>
        </p:nvCxnSpPr>
        <p:spPr>
          <a:xfrm rot="10800000" flipV="1">
            <a:off x="3137742" y="2803786"/>
            <a:ext cx="1088651" cy="433208"/>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80" name="Straight Arrow Connector 72"/>
          <p:cNvCxnSpPr>
            <a:stCxn id="7" idx="2"/>
            <a:endCxn id="50" idx="0"/>
          </p:cNvCxnSpPr>
          <p:nvPr/>
        </p:nvCxnSpPr>
        <p:spPr>
          <a:xfrm rot="16200000" flipH="1">
            <a:off x="4782144" y="1752614"/>
            <a:ext cx="1045052" cy="2079232"/>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02" name="Rectangle 101"/>
          <p:cNvSpPr/>
          <p:nvPr/>
        </p:nvSpPr>
        <p:spPr>
          <a:xfrm>
            <a:off x="5963161" y="4587965"/>
            <a:ext cx="1045964" cy="581045"/>
          </a:xfrm>
          <a:prstGeom prst="rect">
            <a:avLst/>
          </a:prstGeom>
          <a:solidFill>
            <a:srgbClr val="0070C0"/>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anchor="ctr"/>
          <a:lstStyle/>
          <a:p>
            <a:pPr algn="ctr"/>
            <a:r>
              <a:rPr lang="en-US" sz="1000" dirty="0">
                <a:solidFill>
                  <a:schemeClr val="bg1"/>
                </a:solidFill>
              </a:rPr>
              <a:t>Admin Assistant</a:t>
            </a:r>
          </a:p>
          <a:p>
            <a:pPr algn="ctr"/>
            <a:r>
              <a:rPr lang="en-US" sz="1000" dirty="0">
                <a:solidFill>
                  <a:schemeClr val="bg1"/>
                </a:solidFill>
              </a:rPr>
              <a:t>Agnes Mwaisaka</a:t>
            </a:r>
          </a:p>
        </p:txBody>
      </p:sp>
      <p:sp>
        <p:nvSpPr>
          <p:cNvPr id="100" name="Rectangle 99"/>
          <p:cNvSpPr/>
          <p:nvPr/>
        </p:nvSpPr>
        <p:spPr>
          <a:xfrm>
            <a:off x="7265784" y="4610856"/>
            <a:ext cx="1024815" cy="578518"/>
          </a:xfrm>
          <a:prstGeom prst="rect">
            <a:avLst/>
          </a:prstGeom>
          <a:solidFill>
            <a:srgbClr val="0070C0"/>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anchor="ctr"/>
          <a:lstStyle/>
          <a:p>
            <a:pPr algn="ctr"/>
            <a:r>
              <a:rPr lang="en-US" sz="1000" dirty="0">
                <a:solidFill>
                  <a:schemeClr val="bg1"/>
                </a:solidFill>
              </a:rPr>
              <a:t>Driver</a:t>
            </a:r>
          </a:p>
          <a:p>
            <a:pPr algn="ctr"/>
            <a:r>
              <a:rPr lang="en-US" sz="1000" dirty="0" err="1">
                <a:solidFill>
                  <a:schemeClr val="bg1"/>
                </a:solidFill>
              </a:rPr>
              <a:t>Ramadhani</a:t>
            </a:r>
            <a:r>
              <a:rPr lang="en-US" sz="1000" dirty="0">
                <a:solidFill>
                  <a:schemeClr val="bg1"/>
                </a:solidFill>
              </a:rPr>
              <a:t> </a:t>
            </a:r>
            <a:r>
              <a:rPr lang="en-US" sz="1000" dirty="0" err="1">
                <a:solidFill>
                  <a:schemeClr val="bg1"/>
                </a:solidFill>
              </a:rPr>
              <a:t>Vuai</a:t>
            </a:r>
            <a:endParaRPr lang="en-US" sz="1000" dirty="0">
              <a:solidFill>
                <a:schemeClr val="bg1"/>
              </a:solidFill>
            </a:endParaRPr>
          </a:p>
        </p:txBody>
      </p:sp>
      <p:sp>
        <p:nvSpPr>
          <p:cNvPr id="98" name="Rectangle 97"/>
          <p:cNvSpPr/>
          <p:nvPr/>
        </p:nvSpPr>
        <p:spPr>
          <a:xfrm>
            <a:off x="2676665" y="4390297"/>
            <a:ext cx="1184595" cy="606367"/>
          </a:xfrm>
          <a:prstGeom prst="rect">
            <a:avLst/>
          </a:prstGeom>
          <a:solidFill>
            <a:srgbClr val="0070C0"/>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anchor="ctr"/>
          <a:lstStyle/>
          <a:p>
            <a:pPr lvl="0" algn="ctr"/>
            <a:r>
              <a:rPr lang="en-US" sz="1000" dirty="0">
                <a:solidFill>
                  <a:schemeClr val="bg1"/>
                </a:solidFill>
              </a:rPr>
              <a:t>Associate Program </a:t>
            </a:r>
            <a:r>
              <a:rPr lang="en-US" sz="1000" dirty="0" smtClean="0">
                <a:solidFill>
                  <a:schemeClr val="bg1"/>
                </a:solidFill>
              </a:rPr>
              <a:t>Officer  IF - Lilian </a:t>
            </a:r>
            <a:r>
              <a:rPr lang="en-US" sz="1000" dirty="0" err="1">
                <a:solidFill>
                  <a:schemeClr val="bg1"/>
                </a:solidFill>
              </a:rPr>
              <a:t>Mwamdanga</a:t>
            </a:r>
            <a:endParaRPr lang="en-US" sz="1000" dirty="0">
              <a:solidFill>
                <a:schemeClr val="bg1"/>
              </a:solidFill>
            </a:endParaRPr>
          </a:p>
        </p:txBody>
      </p:sp>
      <p:cxnSp>
        <p:nvCxnSpPr>
          <p:cNvPr id="30" name="Straight Arrow Connector 29"/>
          <p:cNvCxnSpPr/>
          <p:nvPr/>
        </p:nvCxnSpPr>
        <p:spPr>
          <a:xfrm>
            <a:off x="416069" y="1459215"/>
            <a:ext cx="62753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416069" y="1722831"/>
            <a:ext cx="627539"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019011" y="1343799"/>
            <a:ext cx="1107997" cy="246221"/>
          </a:xfrm>
          <a:prstGeom prst="rect">
            <a:avLst/>
          </a:prstGeom>
        </p:spPr>
        <p:txBody>
          <a:bodyPr wrap="none">
            <a:spAutoFit/>
          </a:bodyPr>
          <a:lstStyle/>
          <a:p>
            <a:pPr algn="ctr"/>
            <a:r>
              <a:rPr lang="en-US" sz="1000" smtClean="0">
                <a:solidFill>
                  <a:schemeClr val="tx1"/>
                </a:solidFill>
                <a:latin typeface="Arial" panose="020B0604020202020204" pitchFamily="34" charset="0"/>
                <a:cs typeface="Arial" panose="020B0604020202020204" pitchFamily="34" charset="0"/>
              </a:rPr>
              <a:t>Direct Reporting</a:t>
            </a:r>
            <a:endParaRPr lang="en-US" sz="1000">
              <a:solidFill>
                <a:schemeClr val="tx1"/>
              </a:solidFill>
              <a:latin typeface="Arial" panose="020B0604020202020204" pitchFamily="34" charset="0"/>
              <a:cs typeface="Arial" panose="020B0604020202020204" pitchFamily="34" charset="0"/>
            </a:endParaRPr>
          </a:p>
        </p:txBody>
      </p:sp>
      <p:sp>
        <p:nvSpPr>
          <p:cNvPr id="33" name="Rectangle 32"/>
          <p:cNvSpPr/>
          <p:nvPr/>
        </p:nvSpPr>
        <p:spPr>
          <a:xfrm>
            <a:off x="1021416" y="1607415"/>
            <a:ext cx="1071127" cy="246221"/>
          </a:xfrm>
          <a:prstGeom prst="rect">
            <a:avLst/>
          </a:prstGeom>
        </p:spPr>
        <p:txBody>
          <a:bodyPr wrap="none">
            <a:spAutoFit/>
          </a:bodyPr>
          <a:lstStyle/>
          <a:p>
            <a:pPr algn="ctr"/>
            <a:r>
              <a:rPr lang="en-US" sz="1000" smtClean="0">
                <a:solidFill>
                  <a:schemeClr val="tx1"/>
                </a:solidFill>
                <a:latin typeface="Arial" panose="020B0604020202020204" pitchFamily="34" charset="0"/>
                <a:cs typeface="Arial" panose="020B0604020202020204" pitchFamily="34" charset="0"/>
              </a:rPr>
              <a:t>Dual Reporting </a:t>
            </a:r>
            <a:endParaRPr lang="en-US" sz="1000">
              <a:solidFill>
                <a:schemeClr val="tx1"/>
              </a:solidFill>
              <a:latin typeface="Arial" panose="020B0604020202020204" pitchFamily="34" charset="0"/>
              <a:cs typeface="Arial" panose="020B0604020202020204" pitchFamily="34" charset="0"/>
            </a:endParaRPr>
          </a:p>
        </p:txBody>
      </p:sp>
      <p:sp>
        <p:nvSpPr>
          <p:cNvPr id="35" name="Rectangle 34"/>
          <p:cNvSpPr/>
          <p:nvPr/>
        </p:nvSpPr>
        <p:spPr>
          <a:xfrm>
            <a:off x="1286832" y="4357837"/>
            <a:ext cx="1184595" cy="606367"/>
          </a:xfrm>
          <a:prstGeom prst="rect">
            <a:avLst/>
          </a:prstGeom>
          <a:solidFill>
            <a:srgbClr val="0070C0"/>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anchor="ctr"/>
          <a:lstStyle/>
          <a:p>
            <a:pPr lvl="0" algn="ctr"/>
            <a:r>
              <a:rPr lang="en-US" sz="1000" dirty="0">
                <a:solidFill>
                  <a:schemeClr val="bg1"/>
                </a:solidFill>
              </a:rPr>
              <a:t>Associate Program Officer</a:t>
            </a:r>
          </a:p>
          <a:p>
            <a:pPr lvl="0" algn="ctr"/>
            <a:r>
              <a:rPr lang="en-US" sz="1000" dirty="0" err="1">
                <a:solidFill>
                  <a:schemeClr val="bg1"/>
                </a:solidFill>
              </a:rPr>
              <a:t>Ipyana</a:t>
            </a:r>
            <a:r>
              <a:rPr lang="en-US" sz="1000" dirty="0">
                <a:solidFill>
                  <a:schemeClr val="bg1"/>
                </a:solidFill>
              </a:rPr>
              <a:t> </a:t>
            </a:r>
            <a:r>
              <a:rPr lang="en-US" sz="1000" dirty="0" err="1">
                <a:solidFill>
                  <a:schemeClr val="bg1"/>
                </a:solidFill>
              </a:rPr>
              <a:t>Mwakasaka</a:t>
            </a:r>
            <a:endParaRPr lang="en-US" sz="1000" dirty="0">
              <a:solidFill>
                <a:schemeClr val="bg1"/>
              </a:solidFill>
            </a:endParaRPr>
          </a:p>
        </p:txBody>
      </p:sp>
      <p:sp>
        <p:nvSpPr>
          <p:cNvPr id="36" name="Rectangle 35"/>
          <p:cNvSpPr/>
          <p:nvPr/>
        </p:nvSpPr>
        <p:spPr>
          <a:xfrm>
            <a:off x="36370" y="4347033"/>
            <a:ext cx="1184595" cy="606367"/>
          </a:xfrm>
          <a:prstGeom prst="rect">
            <a:avLst/>
          </a:prstGeom>
          <a:solidFill>
            <a:srgbClr val="0070C0"/>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anchor="ctr"/>
          <a:lstStyle/>
          <a:p>
            <a:pPr lvl="0" algn="ctr"/>
            <a:r>
              <a:rPr lang="en-US" sz="1000" dirty="0">
                <a:solidFill>
                  <a:schemeClr val="bg1"/>
                </a:solidFill>
              </a:rPr>
              <a:t>Associate Program Officer</a:t>
            </a:r>
          </a:p>
          <a:p>
            <a:pPr lvl="0" algn="ctr"/>
            <a:r>
              <a:rPr lang="en-US" sz="1000" dirty="0">
                <a:solidFill>
                  <a:schemeClr val="bg1"/>
                </a:solidFill>
              </a:rPr>
              <a:t>Donald </a:t>
            </a:r>
            <a:r>
              <a:rPr lang="en-US" sz="1000" dirty="0" err="1">
                <a:solidFill>
                  <a:schemeClr val="bg1"/>
                </a:solidFill>
              </a:rPr>
              <a:t>Mizambwa</a:t>
            </a:r>
            <a:endParaRPr lang="en-US" sz="1000" dirty="0">
              <a:solidFill>
                <a:schemeClr val="bg1"/>
              </a:solidFill>
            </a:endParaRPr>
          </a:p>
        </p:txBody>
      </p:sp>
      <p:sp>
        <p:nvSpPr>
          <p:cNvPr id="49" name="Rectangle 48"/>
          <p:cNvSpPr/>
          <p:nvPr/>
        </p:nvSpPr>
        <p:spPr>
          <a:xfrm>
            <a:off x="4451909" y="4583007"/>
            <a:ext cx="1184595" cy="606367"/>
          </a:xfrm>
          <a:prstGeom prst="rect">
            <a:avLst/>
          </a:prstGeom>
          <a:solidFill>
            <a:srgbClr val="0070C0"/>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anchor="ctr"/>
          <a:lstStyle/>
          <a:p>
            <a:pPr lvl="0" algn="ctr"/>
            <a:r>
              <a:rPr lang="en-US" sz="1000" dirty="0">
                <a:solidFill>
                  <a:schemeClr val="bg1"/>
                </a:solidFill>
              </a:rPr>
              <a:t>Associate Program Officer</a:t>
            </a:r>
          </a:p>
          <a:p>
            <a:pPr lvl="0" algn="ctr"/>
            <a:r>
              <a:rPr lang="en-US" sz="1000" dirty="0">
                <a:solidFill>
                  <a:schemeClr val="bg1"/>
                </a:solidFill>
              </a:rPr>
              <a:t>Japhet </a:t>
            </a:r>
            <a:r>
              <a:rPr lang="en-US" sz="1000" dirty="0" smtClean="0">
                <a:solidFill>
                  <a:schemeClr val="bg1"/>
                </a:solidFill>
              </a:rPr>
              <a:t>Laizer</a:t>
            </a:r>
            <a:endParaRPr lang="en-US" sz="1000" dirty="0">
              <a:solidFill>
                <a:schemeClr val="bg1"/>
              </a:solidFill>
            </a:endParaRPr>
          </a:p>
        </p:txBody>
      </p:sp>
      <p:cxnSp>
        <p:nvCxnSpPr>
          <p:cNvPr id="56" name="Straight Arrow Connector 71"/>
          <p:cNvCxnSpPr/>
          <p:nvPr/>
        </p:nvCxnSpPr>
        <p:spPr>
          <a:xfrm rot="5400000">
            <a:off x="1956472" y="2073270"/>
            <a:ext cx="2234725" cy="2356049"/>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57" name="Straight Arrow Connector 71"/>
          <p:cNvCxnSpPr/>
          <p:nvPr/>
        </p:nvCxnSpPr>
        <p:spPr>
          <a:xfrm rot="5400000">
            <a:off x="2633470" y="2747894"/>
            <a:ext cx="2234725" cy="1028442"/>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68" name="Straight Arrow Connector 40"/>
          <p:cNvCxnSpPr>
            <a:stCxn id="7" idx="2"/>
            <a:endCxn id="49" idx="0"/>
          </p:cNvCxnSpPr>
          <p:nvPr/>
        </p:nvCxnSpPr>
        <p:spPr>
          <a:xfrm rot="16200000" flipH="1">
            <a:off x="3497979" y="3036778"/>
            <a:ext cx="2313303" cy="779153"/>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82" name="Rectangle 81"/>
          <p:cNvSpPr/>
          <p:nvPr/>
        </p:nvSpPr>
        <p:spPr>
          <a:xfrm>
            <a:off x="4662062" y="3309342"/>
            <a:ext cx="822960" cy="651348"/>
          </a:xfrm>
          <a:prstGeom prst="rect">
            <a:avLst/>
          </a:prstGeom>
          <a:solidFill>
            <a:schemeClr val="accent1">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smtClean="0">
                <a:solidFill>
                  <a:schemeClr val="bg1"/>
                </a:solidFill>
              </a:rPr>
              <a:t>GST  3 Grants Gilbert Moshi</a:t>
            </a:r>
            <a:endParaRPr lang="en-US" sz="1000" dirty="0">
              <a:solidFill>
                <a:schemeClr val="bg1"/>
              </a:solidFill>
            </a:endParaRPr>
          </a:p>
        </p:txBody>
      </p:sp>
      <p:sp>
        <p:nvSpPr>
          <p:cNvPr id="85" name="Rectangle 84"/>
          <p:cNvSpPr/>
          <p:nvPr/>
        </p:nvSpPr>
        <p:spPr>
          <a:xfrm>
            <a:off x="3340248" y="3341336"/>
            <a:ext cx="836341" cy="702615"/>
          </a:xfrm>
          <a:prstGeom prst="rect">
            <a:avLst/>
          </a:prstGeom>
          <a:solidFill>
            <a:srgbClr val="0070C0"/>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txBody>
          <a:bodyPr anchor="ctr"/>
          <a:lstStyle/>
          <a:p>
            <a:pPr lvl="0" algn="ctr"/>
            <a:r>
              <a:rPr lang="en-US" sz="1000" dirty="0" smtClean="0">
                <a:solidFill>
                  <a:schemeClr val="bg1"/>
                </a:solidFill>
              </a:rPr>
              <a:t>GST 3 M&amp;E </a:t>
            </a:r>
            <a:r>
              <a:rPr lang="en-US" sz="1000" dirty="0">
                <a:solidFill>
                  <a:schemeClr val="bg1"/>
                </a:solidFill>
              </a:rPr>
              <a:t>Officer</a:t>
            </a:r>
          </a:p>
          <a:p>
            <a:pPr lvl="0" algn="ctr"/>
            <a:r>
              <a:rPr lang="en-US" sz="1000" dirty="0">
                <a:solidFill>
                  <a:schemeClr val="bg1"/>
                </a:solidFill>
              </a:rPr>
              <a:t>Nicholas </a:t>
            </a:r>
            <a:r>
              <a:rPr lang="en-US" sz="1000" dirty="0" smtClean="0">
                <a:solidFill>
                  <a:schemeClr val="bg1"/>
                </a:solidFill>
              </a:rPr>
              <a:t>Obare</a:t>
            </a:r>
            <a:endParaRPr lang="en-US" sz="1000" dirty="0">
              <a:solidFill>
                <a:schemeClr val="bg1"/>
              </a:solidFill>
            </a:endParaRPr>
          </a:p>
        </p:txBody>
      </p:sp>
      <p:cxnSp>
        <p:nvCxnSpPr>
          <p:cNvPr id="106" name="Straight Arrow Connector 72"/>
          <p:cNvCxnSpPr/>
          <p:nvPr/>
        </p:nvCxnSpPr>
        <p:spPr>
          <a:xfrm rot="16200000" flipH="1">
            <a:off x="4213872" y="2323396"/>
            <a:ext cx="2338625" cy="2205916"/>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723731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1980713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139" name="think-cell Slide" r:id="rId25" imgW="360" imgH="360" progId="TCLayout.ActiveDocument.1">
                  <p:embed/>
                </p:oleObj>
              </mc:Choice>
              <mc:Fallback>
                <p:oleObj name="think-cell Slide" r:id="rId25" imgW="360" imgH="360"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200" b="1" dirty="0" smtClean="0">
              <a:solidFill>
                <a:schemeClr val="accent6">
                  <a:lumMod val="50000"/>
                </a:schemeClr>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Tanzania and East Africa Organogram </a:t>
            </a:r>
            <a:endParaRPr lang="en-US" dirty="0"/>
          </a:p>
        </p:txBody>
      </p:sp>
      <p:grpSp>
        <p:nvGrpSpPr>
          <p:cNvPr id="3" name="Group 2"/>
          <p:cNvGrpSpPr/>
          <p:nvPr/>
        </p:nvGrpSpPr>
        <p:grpSpPr>
          <a:xfrm>
            <a:off x="1391213" y="1377123"/>
            <a:ext cx="1559552" cy="543554"/>
            <a:chOff x="2887876" y="380"/>
            <a:chExt cx="1919448" cy="668990"/>
          </a:xfrm>
        </p:grpSpPr>
        <p:sp>
          <p:nvSpPr>
            <p:cNvPr id="4" name="Rectangle 3"/>
            <p:cNvSpPr/>
            <p:nvPr/>
          </p:nvSpPr>
          <p:spPr>
            <a:xfrm>
              <a:off x="2887876" y="41565"/>
              <a:ext cx="1919447" cy="616284"/>
            </a:xfrm>
            <a:prstGeom prst="rect">
              <a:avLst/>
            </a:prstGeom>
            <a:solidFill>
              <a:srgbClr val="FFC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 name="Rectangle 4"/>
            <p:cNvSpPr/>
            <p:nvPr/>
          </p:nvSpPr>
          <p:spPr>
            <a:xfrm>
              <a:off x="2887877" y="380"/>
              <a:ext cx="1919447" cy="668990"/>
            </a:xfrm>
            <a:prstGeom prst="rect">
              <a:avLst/>
            </a:prstGeom>
            <a:solidFill>
              <a:schemeClr val="accent1">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5675" tIns="5675" rIns="5675" bIns="5675" numCol="1" spcCol="1270" anchor="ctr" anchorCtr="0">
              <a:noAutofit/>
            </a:bodyPr>
            <a:lstStyle/>
            <a:p>
              <a:pPr algn="ctr" defTabSz="397272">
                <a:lnSpc>
                  <a:spcPct val="90000"/>
                </a:lnSpc>
                <a:spcBef>
                  <a:spcPct val="0"/>
                </a:spcBef>
                <a:spcAft>
                  <a:spcPct val="35000"/>
                </a:spcAft>
              </a:pPr>
              <a:r>
                <a:rPr lang="en-US" sz="894" kern="1200" dirty="0">
                  <a:solidFill>
                    <a:schemeClr val="bg1"/>
                  </a:solidFill>
                  <a:latin typeface="+mj-lt"/>
                </a:rPr>
                <a:t>Regional Head, </a:t>
              </a:r>
              <a:r>
                <a:rPr lang="en-US" sz="894" dirty="0">
                  <a:solidFill>
                    <a:schemeClr val="bg1"/>
                  </a:solidFill>
                  <a:latin typeface="+mj-lt"/>
                </a:rPr>
                <a:t>East Africa</a:t>
              </a:r>
              <a:endParaRPr lang="en-US" sz="894" kern="1200" dirty="0">
                <a:solidFill>
                  <a:schemeClr val="bg1"/>
                </a:solidFill>
                <a:latin typeface="+mj-lt"/>
              </a:endParaRPr>
            </a:p>
            <a:p>
              <a:pPr algn="ctr" defTabSz="397272">
                <a:lnSpc>
                  <a:spcPct val="90000"/>
                </a:lnSpc>
                <a:spcBef>
                  <a:spcPct val="0"/>
                </a:spcBef>
                <a:spcAft>
                  <a:spcPct val="35000"/>
                </a:spcAft>
              </a:pPr>
              <a:r>
                <a:rPr lang="en-US" sz="894" b="1" dirty="0">
                  <a:solidFill>
                    <a:schemeClr val="bg1"/>
                  </a:solidFill>
                  <a:latin typeface="+mj-lt"/>
                </a:rPr>
                <a:t>Nuhu Hatibu</a:t>
              </a:r>
              <a:endParaRPr lang="en-US" sz="894" b="1" kern="1200" dirty="0">
                <a:solidFill>
                  <a:schemeClr val="bg1"/>
                </a:solidFill>
                <a:latin typeface="+mj-lt"/>
              </a:endParaRPr>
            </a:p>
          </p:txBody>
        </p:sp>
      </p:grpSp>
      <p:grpSp>
        <p:nvGrpSpPr>
          <p:cNvPr id="6" name="Group 5"/>
          <p:cNvGrpSpPr/>
          <p:nvPr/>
        </p:nvGrpSpPr>
        <p:grpSpPr>
          <a:xfrm>
            <a:off x="1612981" y="2097140"/>
            <a:ext cx="1070969" cy="361608"/>
            <a:chOff x="3228609" y="1077385"/>
            <a:chExt cx="1318116" cy="445056"/>
          </a:xfrm>
          <a:solidFill>
            <a:schemeClr val="accent1">
              <a:lumMod val="75000"/>
            </a:schemeClr>
          </a:solidFill>
        </p:grpSpPr>
        <p:sp>
          <p:nvSpPr>
            <p:cNvPr id="7" name="Rectangle 6"/>
            <p:cNvSpPr/>
            <p:nvPr/>
          </p:nvSpPr>
          <p:spPr>
            <a:xfrm>
              <a:off x="3228609" y="1077385"/>
              <a:ext cx="1318116" cy="445056"/>
            </a:xfrm>
            <a:prstGeom prst="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Rectangle 7"/>
            <p:cNvSpPr/>
            <p:nvPr/>
          </p:nvSpPr>
          <p:spPr>
            <a:xfrm>
              <a:off x="3228609" y="1077385"/>
              <a:ext cx="1318116" cy="445056"/>
            </a:xfrm>
            <a:prstGeom prst="rect">
              <a:avLst/>
            </a:prstGeom>
            <a:grpFill/>
            <a:ln>
              <a:solidFill>
                <a:schemeClr val="accent1">
                  <a:lumMod val="7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5159" tIns="5159" rIns="5159" bIns="5159" numCol="1" spcCol="1270" anchor="ctr" anchorCtr="0">
              <a:noAutofit/>
            </a:bodyPr>
            <a:lstStyle/>
            <a:p>
              <a:pPr algn="ctr" defTabSz="361156">
                <a:lnSpc>
                  <a:spcPct val="90000"/>
                </a:lnSpc>
                <a:spcBef>
                  <a:spcPct val="0"/>
                </a:spcBef>
                <a:spcAft>
                  <a:spcPct val="35000"/>
                </a:spcAft>
              </a:pPr>
              <a:endParaRPr lang="en-US" sz="813" kern="1200" dirty="0">
                <a:solidFill>
                  <a:schemeClr val="tx1"/>
                </a:solidFill>
                <a:latin typeface="+mj-lt"/>
              </a:endParaRPr>
            </a:p>
            <a:p>
              <a:pPr algn="ctr" defTabSz="361156">
                <a:lnSpc>
                  <a:spcPct val="90000"/>
                </a:lnSpc>
                <a:spcBef>
                  <a:spcPct val="0"/>
                </a:spcBef>
                <a:spcAft>
                  <a:spcPct val="35000"/>
                </a:spcAft>
              </a:pPr>
              <a:r>
                <a:rPr lang="en-US" sz="813" kern="1200" dirty="0">
                  <a:solidFill>
                    <a:schemeClr val="bg1"/>
                  </a:solidFill>
                  <a:latin typeface="+mj-lt"/>
                </a:rPr>
                <a:t>Country Manager</a:t>
              </a:r>
            </a:p>
            <a:p>
              <a:pPr algn="ctr" defTabSz="361156">
                <a:lnSpc>
                  <a:spcPct val="90000"/>
                </a:lnSpc>
                <a:spcBef>
                  <a:spcPct val="0"/>
                </a:spcBef>
                <a:spcAft>
                  <a:spcPct val="35000"/>
                </a:spcAft>
              </a:pPr>
              <a:r>
                <a:rPr lang="en-US" sz="813" b="1" dirty="0">
                  <a:solidFill>
                    <a:schemeClr val="bg1"/>
                  </a:solidFill>
                  <a:latin typeface="+mj-lt"/>
                </a:rPr>
                <a:t>Vianey Rweyendela</a:t>
              </a:r>
              <a:endParaRPr lang="en-US" sz="813" b="1" kern="1200" dirty="0">
                <a:solidFill>
                  <a:schemeClr val="bg1"/>
                </a:solidFill>
                <a:latin typeface="+mj-lt"/>
              </a:endParaRPr>
            </a:p>
            <a:p>
              <a:pPr algn="ctr" defTabSz="361156">
                <a:lnSpc>
                  <a:spcPct val="90000"/>
                </a:lnSpc>
                <a:spcBef>
                  <a:spcPct val="0"/>
                </a:spcBef>
                <a:spcAft>
                  <a:spcPct val="35000"/>
                </a:spcAft>
              </a:pPr>
              <a:endParaRPr lang="en-US" sz="813" b="1" kern="1200" dirty="0">
                <a:solidFill>
                  <a:schemeClr val="tx1"/>
                </a:solidFill>
                <a:latin typeface="+mj-lt"/>
              </a:endParaRPr>
            </a:p>
          </p:txBody>
        </p:sp>
      </p:grpSp>
      <p:grpSp>
        <p:nvGrpSpPr>
          <p:cNvPr id="9" name="Group 8"/>
          <p:cNvGrpSpPr/>
          <p:nvPr/>
        </p:nvGrpSpPr>
        <p:grpSpPr>
          <a:xfrm>
            <a:off x="2909276" y="2152559"/>
            <a:ext cx="1390645" cy="335851"/>
            <a:chOff x="3874236" y="1642877"/>
            <a:chExt cx="1507471" cy="413355"/>
          </a:xfrm>
        </p:grpSpPr>
        <p:sp>
          <p:nvSpPr>
            <p:cNvPr id="10" name="Rectangle 9"/>
            <p:cNvSpPr/>
            <p:nvPr/>
          </p:nvSpPr>
          <p:spPr>
            <a:xfrm>
              <a:off x="3874236" y="1642877"/>
              <a:ext cx="1507471" cy="405311"/>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Rectangle 10"/>
            <p:cNvSpPr/>
            <p:nvPr/>
          </p:nvSpPr>
          <p:spPr>
            <a:xfrm>
              <a:off x="3874236" y="1650921"/>
              <a:ext cx="1507471" cy="405311"/>
            </a:xfrm>
            <a:prstGeom prst="rect">
              <a:avLst/>
            </a:prstGeom>
            <a:solidFill>
              <a:schemeClr val="accent1">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5159" tIns="5159" rIns="5159" bIns="5159" numCol="1" spcCol="1270" anchor="ctr" anchorCtr="0">
              <a:noAutofit/>
            </a:bodyPr>
            <a:lstStyle/>
            <a:p>
              <a:pPr algn="ctr" defTabSz="361156">
                <a:lnSpc>
                  <a:spcPct val="90000"/>
                </a:lnSpc>
                <a:spcBef>
                  <a:spcPct val="0"/>
                </a:spcBef>
                <a:spcAft>
                  <a:spcPct val="35000"/>
                </a:spcAft>
              </a:pPr>
              <a:endParaRPr lang="en-US" sz="813" kern="1200" dirty="0">
                <a:solidFill>
                  <a:schemeClr val="bg1"/>
                </a:solidFill>
                <a:latin typeface="+mj-lt"/>
              </a:endParaRPr>
            </a:p>
            <a:p>
              <a:pPr algn="ctr" defTabSz="361156">
                <a:lnSpc>
                  <a:spcPct val="90000"/>
                </a:lnSpc>
                <a:spcBef>
                  <a:spcPct val="0"/>
                </a:spcBef>
                <a:spcAft>
                  <a:spcPct val="35000"/>
                </a:spcAft>
              </a:pPr>
              <a:endParaRPr lang="en-US" sz="813" kern="1200" dirty="0">
                <a:solidFill>
                  <a:schemeClr val="bg1"/>
                </a:solidFill>
                <a:latin typeface="+mj-lt"/>
              </a:endParaRPr>
            </a:p>
            <a:p>
              <a:pPr algn="ctr" defTabSz="361156">
                <a:lnSpc>
                  <a:spcPct val="90000"/>
                </a:lnSpc>
                <a:spcBef>
                  <a:spcPct val="0"/>
                </a:spcBef>
                <a:spcAft>
                  <a:spcPct val="35000"/>
                </a:spcAft>
              </a:pPr>
              <a:r>
                <a:rPr lang="en-US" sz="813" kern="1200" dirty="0">
                  <a:solidFill>
                    <a:schemeClr val="bg1"/>
                  </a:solidFill>
                  <a:latin typeface="+mj-lt"/>
                </a:rPr>
                <a:t>Program Coordinator</a:t>
              </a:r>
            </a:p>
            <a:p>
              <a:pPr algn="ctr" defTabSz="361156">
                <a:lnSpc>
                  <a:spcPct val="90000"/>
                </a:lnSpc>
                <a:spcBef>
                  <a:spcPct val="0"/>
                </a:spcBef>
                <a:spcAft>
                  <a:spcPct val="35000"/>
                </a:spcAft>
              </a:pPr>
              <a:r>
                <a:rPr lang="en-US" sz="813" b="1" dirty="0">
                  <a:solidFill>
                    <a:schemeClr val="bg1"/>
                  </a:solidFill>
                  <a:latin typeface="+mj-lt"/>
                </a:rPr>
                <a:t>Agnes Mwaisaka</a:t>
              </a:r>
              <a:endParaRPr lang="en-US" sz="813" b="1" kern="1200" dirty="0">
                <a:solidFill>
                  <a:schemeClr val="bg1"/>
                </a:solidFill>
                <a:latin typeface="+mj-lt"/>
              </a:endParaRPr>
            </a:p>
            <a:p>
              <a:pPr algn="ctr" defTabSz="361156">
                <a:lnSpc>
                  <a:spcPct val="90000"/>
                </a:lnSpc>
                <a:spcBef>
                  <a:spcPct val="0"/>
                </a:spcBef>
                <a:spcAft>
                  <a:spcPct val="35000"/>
                </a:spcAft>
              </a:pPr>
              <a:endParaRPr lang="en-US" sz="813" kern="1200" dirty="0">
                <a:solidFill>
                  <a:schemeClr val="bg1"/>
                </a:solidFill>
                <a:latin typeface="+mj-lt"/>
              </a:endParaRPr>
            </a:p>
            <a:p>
              <a:pPr algn="ctr" defTabSz="361156">
                <a:lnSpc>
                  <a:spcPct val="90000"/>
                </a:lnSpc>
                <a:spcBef>
                  <a:spcPct val="0"/>
                </a:spcBef>
                <a:spcAft>
                  <a:spcPct val="35000"/>
                </a:spcAft>
              </a:pPr>
              <a:endParaRPr lang="en-US" sz="813" kern="1200" dirty="0">
                <a:solidFill>
                  <a:schemeClr val="bg1"/>
                </a:solidFill>
                <a:latin typeface="+mj-lt"/>
              </a:endParaRPr>
            </a:p>
          </p:txBody>
        </p:sp>
      </p:grpSp>
      <p:grpSp>
        <p:nvGrpSpPr>
          <p:cNvPr id="12" name="Group 11"/>
          <p:cNvGrpSpPr/>
          <p:nvPr/>
        </p:nvGrpSpPr>
        <p:grpSpPr>
          <a:xfrm>
            <a:off x="2916014" y="2551643"/>
            <a:ext cx="1383906" cy="403831"/>
            <a:chOff x="5864211" y="1735023"/>
            <a:chExt cx="1703270" cy="497023"/>
          </a:xfrm>
        </p:grpSpPr>
        <p:sp>
          <p:nvSpPr>
            <p:cNvPr id="13" name="Rectangle 12"/>
            <p:cNvSpPr/>
            <p:nvPr/>
          </p:nvSpPr>
          <p:spPr>
            <a:xfrm>
              <a:off x="5864212" y="1837955"/>
              <a:ext cx="988908" cy="340107"/>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Rectangle 13"/>
            <p:cNvSpPr/>
            <p:nvPr/>
          </p:nvSpPr>
          <p:spPr>
            <a:xfrm>
              <a:off x="5864211" y="1735023"/>
              <a:ext cx="1703270" cy="497023"/>
            </a:xfrm>
            <a:prstGeom prst="rect">
              <a:avLst/>
            </a:prstGeom>
            <a:solidFill>
              <a:schemeClr val="accent1">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5159" tIns="5159" rIns="5159" bIns="5159" numCol="1" spcCol="1270" anchor="ctr" anchorCtr="0">
              <a:noAutofit/>
            </a:bodyPr>
            <a:lstStyle/>
            <a:p>
              <a:pPr algn="ctr" defTabSz="361156">
                <a:lnSpc>
                  <a:spcPct val="90000"/>
                </a:lnSpc>
                <a:spcBef>
                  <a:spcPct val="0"/>
                </a:spcBef>
                <a:spcAft>
                  <a:spcPct val="35000"/>
                </a:spcAft>
              </a:pPr>
              <a:endParaRPr lang="en-US" sz="813" b="1" dirty="0">
                <a:solidFill>
                  <a:schemeClr val="bg1"/>
                </a:solidFill>
                <a:latin typeface="+mj-lt"/>
              </a:endParaRPr>
            </a:p>
            <a:p>
              <a:pPr algn="ctr" defTabSz="361156">
                <a:lnSpc>
                  <a:spcPct val="90000"/>
                </a:lnSpc>
                <a:spcBef>
                  <a:spcPct val="0"/>
                </a:spcBef>
                <a:spcAft>
                  <a:spcPct val="35000"/>
                </a:spcAft>
              </a:pPr>
              <a:r>
                <a:rPr lang="en-US" sz="813" b="1" dirty="0">
                  <a:solidFill>
                    <a:schemeClr val="bg1"/>
                  </a:solidFill>
                  <a:latin typeface="+mj-lt"/>
                </a:rPr>
                <a:t>Driver</a:t>
              </a:r>
            </a:p>
            <a:p>
              <a:pPr algn="ctr" defTabSz="361156">
                <a:lnSpc>
                  <a:spcPct val="90000"/>
                </a:lnSpc>
                <a:spcBef>
                  <a:spcPct val="0"/>
                </a:spcBef>
                <a:spcAft>
                  <a:spcPct val="35000"/>
                </a:spcAft>
              </a:pPr>
              <a:r>
                <a:rPr lang="en-US" sz="813" b="1" dirty="0">
                  <a:solidFill>
                    <a:schemeClr val="bg1"/>
                  </a:solidFill>
                  <a:latin typeface="+mj-lt"/>
                </a:rPr>
                <a:t>Ramadhan Vuai</a:t>
              </a:r>
              <a:endParaRPr lang="en-US" sz="813" b="1" kern="1200" dirty="0">
                <a:solidFill>
                  <a:schemeClr val="bg1"/>
                </a:solidFill>
                <a:latin typeface="+mj-lt"/>
              </a:endParaRPr>
            </a:p>
            <a:p>
              <a:pPr algn="ctr" defTabSz="361156">
                <a:lnSpc>
                  <a:spcPct val="90000"/>
                </a:lnSpc>
                <a:spcBef>
                  <a:spcPct val="0"/>
                </a:spcBef>
                <a:spcAft>
                  <a:spcPct val="35000"/>
                </a:spcAft>
              </a:pPr>
              <a:endParaRPr lang="en-US" sz="813" kern="1200" dirty="0">
                <a:solidFill>
                  <a:schemeClr val="tx1"/>
                </a:solidFill>
                <a:latin typeface="+mj-lt"/>
              </a:endParaRPr>
            </a:p>
            <a:p>
              <a:pPr algn="ctr" defTabSz="361156">
                <a:lnSpc>
                  <a:spcPct val="90000"/>
                </a:lnSpc>
                <a:spcBef>
                  <a:spcPct val="0"/>
                </a:spcBef>
                <a:spcAft>
                  <a:spcPct val="35000"/>
                </a:spcAft>
              </a:pPr>
              <a:endParaRPr lang="en-US" sz="813" kern="1200" dirty="0">
                <a:solidFill>
                  <a:schemeClr val="tx1"/>
                </a:solidFill>
                <a:latin typeface="+mj-lt"/>
              </a:endParaRPr>
            </a:p>
          </p:txBody>
        </p:sp>
      </p:grpSp>
      <p:sp>
        <p:nvSpPr>
          <p:cNvPr id="19" name="Rectangle 18"/>
          <p:cNvSpPr/>
          <p:nvPr/>
        </p:nvSpPr>
        <p:spPr>
          <a:xfrm>
            <a:off x="178981" y="3471645"/>
            <a:ext cx="1350278" cy="289772"/>
          </a:xfrm>
          <a:prstGeom prst="rect">
            <a:avLst/>
          </a:prstGeom>
          <a:solidFill>
            <a:schemeClr val="accent3">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a:r>
              <a:rPr lang="en-US" sz="731" dirty="0"/>
              <a:t>M &amp; E </a:t>
            </a:r>
            <a:r>
              <a:rPr lang="en-US" sz="813" dirty="0">
                <a:solidFill>
                  <a:schemeClr val="bg1"/>
                </a:solidFill>
                <a:latin typeface="+mj-lt"/>
              </a:rPr>
              <a:t>Officer</a:t>
            </a:r>
          </a:p>
          <a:p>
            <a:pPr algn="ctr"/>
            <a:r>
              <a:rPr lang="en-US" sz="731" dirty="0"/>
              <a:t>Nicolas Obare</a:t>
            </a:r>
          </a:p>
        </p:txBody>
      </p:sp>
      <p:sp>
        <p:nvSpPr>
          <p:cNvPr id="22" name="Rectangle 21"/>
          <p:cNvSpPr/>
          <p:nvPr/>
        </p:nvSpPr>
        <p:spPr>
          <a:xfrm>
            <a:off x="178980" y="3041626"/>
            <a:ext cx="1350279" cy="341166"/>
          </a:xfrm>
          <a:prstGeom prst="rect">
            <a:avLst/>
          </a:prstGeom>
          <a:solidFill>
            <a:schemeClr val="accent3">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a:r>
              <a:rPr lang="en-US" sz="813" dirty="0">
                <a:solidFill>
                  <a:schemeClr val="bg1"/>
                </a:solidFill>
              </a:rPr>
              <a:t>Grants Officer</a:t>
            </a:r>
          </a:p>
          <a:p>
            <a:pPr algn="ctr"/>
            <a:r>
              <a:rPr lang="en-US" sz="813" dirty="0">
                <a:solidFill>
                  <a:schemeClr val="bg1"/>
                </a:solidFill>
              </a:rPr>
              <a:t>Gilbert Moshi</a:t>
            </a:r>
          </a:p>
        </p:txBody>
      </p:sp>
      <p:sp>
        <p:nvSpPr>
          <p:cNvPr id="28" name="Rectangle 27"/>
          <p:cNvSpPr/>
          <p:nvPr/>
        </p:nvSpPr>
        <p:spPr>
          <a:xfrm>
            <a:off x="178981" y="3809985"/>
            <a:ext cx="1350278" cy="416476"/>
          </a:xfrm>
          <a:prstGeom prst="rect">
            <a:avLst/>
          </a:prstGeom>
          <a:solidFill>
            <a:schemeClr val="accent3">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a:r>
              <a:rPr lang="en-US" sz="813" dirty="0"/>
              <a:t>Finance Administrator</a:t>
            </a:r>
          </a:p>
          <a:p>
            <a:pPr algn="ctr"/>
            <a:r>
              <a:rPr lang="en-US" sz="813" dirty="0"/>
              <a:t>Fredrick Sangawe</a:t>
            </a:r>
          </a:p>
        </p:txBody>
      </p:sp>
      <p:grpSp>
        <p:nvGrpSpPr>
          <p:cNvPr id="40" name="Group 39"/>
          <p:cNvGrpSpPr/>
          <p:nvPr/>
        </p:nvGrpSpPr>
        <p:grpSpPr>
          <a:xfrm>
            <a:off x="2861247" y="3277172"/>
            <a:ext cx="1445460" cy="422331"/>
            <a:chOff x="0" y="3767489"/>
            <a:chExt cx="1564633" cy="341039"/>
          </a:xfrm>
          <a:solidFill>
            <a:schemeClr val="accent4"/>
          </a:solidFill>
        </p:grpSpPr>
        <p:sp>
          <p:nvSpPr>
            <p:cNvPr id="41" name="Rectangle 40"/>
            <p:cNvSpPr/>
            <p:nvPr/>
          </p:nvSpPr>
          <p:spPr>
            <a:xfrm>
              <a:off x="0" y="3767489"/>
              <a:ext cx="1470718" cy="341039"/>
            </a:xfrm>
            <a:prstGeom prst="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2" name="Rectangle 41"/>
            <p:cNvSpPr/>
            <p:nvPr/>
          </p:nvSpPr>
          <p:spPr>
            <a:xfrm>
              <a:off x="0" y="3767489"/>
              <a:ext cx="1564633" cy="341039"/>
            </a:xfrm>
            <a:prstGeom prst="rect">
              <a:avLst/>
            </a:prstGeom>
            <a:solidFill>
              <a:schemeClr val="accent1">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5159" tIns="5159" rIns="5159" bIns="5159" numCol="1" spcCol="1270" anchor="ctr" anchorCtr="0">
              <a:noAutofit/>
            </a:bodyPr>
            <a:lstStyle/>
            <a:p>
              <a:pPr algn="ctr" defTabSz="361156">
                <a:lnSpc>
                  <a:spcPct val="90000"/>
                </a:lnSpc>
                <a:spcBef>
                  <a:spcPct val="0"/>
                </a:spcBef>
                <a:spcAft>
                  <a:spcPct val="35000"/>
                </a:spcAft>
              </a:pPr>
              <a:r>
                <a:rPr lang="en-US" sz="813" kern="1200" dirty="0">
                  <a:solidFill>
                    <a:schemeClr val="bg1"/>
                  </a:solidFill>
                  <a:latin typeface="+mj-lt"/>
                </a:rPr>
                <a:t>Program Officer-</a:t>
              </a:r>
              <a:r>
                <a:rPr lang="en-US" sz="813" kern="1200" dirty="0" err="1">
                  <a:solidFill>
                    <a:schemeClr val="bg1"/>
                  </a:solidFill>
                  <a:latin typeface="+mj-lt"/>
                </a:rPr>
                <a:t>PFtMA</a:t>
              </a:r>
              <a:r>
                <a:rPr lang="en-US" sz="813" kern="1200" dirty="0">
                  <a:solidFill>
                    <a:schemeClr val="bg1"/>
                  </a:solidFill>
                  <a:latin typeface="+mj-lt"/>
                </a:rPr>
                <a:t>/PHM</a:t>
              </a:r>
            </a:p>
            <a:p>
              <a:pPr algn="ctr" defTabSz="361156">
                <a:lnSpc>
                  <a:spcPct val="90000"/>
                </a:lnSpc>
                <a:spcBef>
                  <a:spcPct val="0"/>
                </a:spcBef>
                <a:spcAft>
                  <a:spcPct val="35000"/>
                </a:spcAft>
              </a:pPr>
              <a:r>
                <a:rPr lang="en-US" sz="813" b="1" kern="1200" dirty="0">
                  <a:solidFill>
                    <a:schemeClr val="bg1"/>
                  </a:solidFill>
                  <a:latin typeface="+mj-lt"/>
                </a:rPr>
                <a:t>Edward Agaba</a:t>
              </a:r>
            </a:p>
          </p:txBody>
        </p:sp>
      </p:grpSp>
      <p:grpSp>
        <p:nvGrpSpPr>
          <p:cNvPr id="43" name="Group 42"/>
          <p:cNvGrpSpPr/>
          <p:nvPr/>
        </p:nvGrpSpPr>
        <p:grpSpPr>
          <a:xfrm>
            <a:off x="2848275" y="3813250"/>
            <a:ext cx="1458433" cy="302043"/>
            <a:chOff x="1554212" y="3748850"/>
            <a:chExt cx="1565893" cy="371745"/>
          </a:xfrm>
          <a:solidFill>
            <a:schemeClr val="accent4"/>
          </a:solidFill>
        </p:grpSpPr>
        <p:sp>
          <p:nvSpPr>
            <p:cNvPr id="44" name="Rectangle 43"/>
            <p:cNvSpPr/>
            <p:nvPr/>
          </p:nvSpPr>
          <p:spPr>
            <a:xfrm>
              <a:off x="1554212" y="3748850"/>
              <a:ext cx="1472738" cy="371745"/>
            </a:xfrm>
            <a:prstGeom prst="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Rectangle 44"/>
            <p:cNvSpPr/>
            <p:nvPr/>
          </p:nvSpPr>
          <p:spPr>
            <a:xfrm>
              <a:off x="1554212" y="3748850"/>
              <a:ext cx="1565893" cy="371745"/>
            </a:xfrm>
            <a:prstGeom prst="rect">
              <a:avLst/>
            </a:prstGeom>
            <a:solidFill>
              <a:schemeClr val="accent3">
                <a:lumMod val="50000"/>
              </a:schemeClr>
            </a:solidFill>
          </p:spPr>
          <p:style>
            <a:lnRef idx="0">
              <a:scrgbClr r="0" g="0" b="0"/>
            </a:lnRef>
            <a:fillRef idx="0">
              <a:scrgbClr r="0" g="0" b="0"/>
            </a:fillRef>
            <a:effectRef idx="0">
              <a:scrgbClr r="0" g="0" b="0"/>
            </a:effectRef>
            <a:fontRef idx="minor">
              <a:schemeClr val="lt1"/>
            </a:fontRef>
          </p:style>
          <p:txBody>
            <a:bodyPr spcFirstLastPara="0" vert="horz" wrap="square" lIns="5159" tIns="5159" rIns="5159" bIns="5159" numCol="1" spcCol="1270" anchor="ctr" anchorCtr="0">
              <a:noAutofit/>
            </a:bodyPr>
            <a:lstStyle/>
            <a:p>
              <a:pPr algn="ctr" defTabSz="361156">
                <a:lnSpc>
                  <a:spcPct val="90000"/>
                </a:lnSpc>
                <a:spcBef>
                  <a:spcPct val="0"/>
                </a:spcBef>
                <a:spcAft>
                  <a:spcPct val="35000"/>
                </a:spcAft>
              </a:pPr>
              <a:r>
                <a:rPr lang="en-US" sz="813" kern="1200" dirty="0">
                  <a:solidFill>
                    <a:schemeClr val="bg1"/>
                  </a:solidFill>
                  <a:latin typeface="+mj-lt"/>
                </a:rPr>
                <a:t>Program Officer</a:t>
              </a:r>
              <a:r>
                <a:rPr lang="en-US" sz="813" dirty="0">
                  <a:solidFill>
                    <a:schemeClr val="bg1"/>
                  </a:solidFill>
                  <a:latin typeface="+mj-lt"/>
                </a:rPr>
                <a:t>-Ihemi/PHM</a:t>
              </a:r>
              <a:endParaRPr lang="en-US" sz="813" kern="1200" dirty="0">
                <a:solidFill>
                  <a:schemeClr val="bg1"/>
                </a:solidFill>
                <a:latin typeface="+mj-lt"/>
              </a:endParaRPr>
            </a:p>
            <a:p>
              <a:pPr algn="ctr" defTabSz="361156">
                <a:lnSpc>
                  <a:spcPct val="90000"/>
                </a:lnSpc>
                <a:spcBef>
                  <a:spcPct val="0"/>
                </a:spcBef>
                <a:spcAft>
                  <a:spcPct val="35000"/>
                </a:spcAft>
              </a:pPr>
              <a:r>
                <a:rPr lang="en-US" sz="813" b="1" kern="1200" dirty="0">
                  <a:solidFill>
                    <a:schemeClr val="bg1"/>
                  </a:solidFill>
                  <a:latin typeface="+mj-lt"/>
                </a:rPr>
                <a:t>Stella Rwiza</a:t>
              </a:r>
            </a:p>
          </p:txBody>
        </p:sp>
      </p:grpSp>
      <p:sp>
        <p:nvSpPr>
          <p:cNvPr id="48" name="Rectangle 47"/>
          <p:cNvSpPr/>
          <p:nvPr/>
        </p:nvSpPr>
        <p:spPr>
          <a:xfrm>
            <a:off x="2847134" y="4133917"/>
            <a:ext cx="1459573" cy="375963"/>
          </a:xfrm>
          <a:prstGeom prst="rect">
            <a:avLst/>
          </a:prstGeom>
          <a:solidFill>
            <a:schemeClr val="accent1">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5159" tIns="5159" rIns="5159" bIns="5159" numCol="1" spcCol="1270" anchor="ctr" anchorCtr="0">
            <a:noAutofit/>
          </a:bodyPr>
          <a:lstStyle/>
          <a:p>
            <a:pPr algn="ctr" defTabSz="361156">
              <a:lnSpc>
                <a:spcPct val="90000"/>
              </a:lnSpc>
              <a:spcBef>
                <a:spcPct val="0"/>
              </a:spcBef>
              <a:spcAft>
                <a:spcPct val="35000"/>
              </a:spcAft>
            </a:pPr>
            <a:r>
              <a:rPr lang="en-US" sz="813" kern="1200" dirty="0">
                <a:solidFill>
                  <a:schemeClr val="bg1"/>
                </a:solidFill>
                <a:latin typeface="+mj-lt"/>
              </a:rPr>
              <a:t>Associate Program Officer  - Inclusive Finance</a:t>
            </a:r>
          </a:p>
          <a:p>
            <a:pPr algn="ctr" defTabSz="361156">
              <a:lnSpc>
                <a:spcPct val="90000"/>
              </a:lnSpc>
              <a:spcBef>
                <a:spcPct val="0"/>
              </a:spcBef>
              <a:spcAft>
                <a:spcPct val="35000"/>
              </a:spcAft>
            </a:pPr>
            <a:r>
              <a:rPr lang="en-US" sz="813" b="1" kern="1200" dirty="0">
                <a:solidFill>
                  <a:schemeClr val="bg1"/>
                </a:solidFill>
                <a:latin typeface="+mj-lt"/>
              </a:rPr>
              <a:t>Lilian Mwamdanga</a:t>
            </a:r>
          </a:p>
        </p:txBody>
      </p:sp>
      <p:sp>
        <p:nvSpPr>
          <p:cNvPr id="57" name="Rectangle 56"/>
          <p:cNvSpPr/>
          <p:nvPr/>
        </p:nvSpPr>
        <p:spPr>
          <a:xfrm>
            <a:off x="2822600" y="4544744"/>
            <a:ext cx="1484108" cy="413211"/>
          </a:xfrm>
          <a:prstGeom prst="rect">
            <a:avLst/>
          </a:prstGeom>
          <a:solidFill>
            <a:schemeClr val="accent3">
              <a:lumMod val="50000"/>
            </a:schemeClr>
          </a:solidFill>
        </p:spPr>
        <p:style>
          <a:lnRef idx="0">
            <a:scrgbClr r="0" g="0" b="0"/>
          </a:lnRef>
          <a:fillRef idx="0">
            <a:scrgbClr r="0" g="0" b="0"/>
          </a:fillRef>
          <a:effectRef idx="0">
            <a:scrgbClr r="0" g="0" b="0"/>
          </a:effectRef>
          <a:fontRef idx="minor">
            <a:schemeClr val="lt1"/>
          </a:fontRef>
        </p:style>
        <p:txBody>
          <a:bodyPr spcFirstLastPara="0" vert="horz" wrap="square" lIns="5159" tIns="5159" rIns="5159" bIns="5159" numCol="1" spcCol="1270" anchor="ctr" anchorCtr="0">
            <a:noAutofit/>
          </a:bodyPr>
          <a:lstStyle/>
          <a:p>
            <a:pPr algn="ctr" defTabSz="361156">
              <a:lnSpc>
                <a:spcPct val="90000"/>
              </a:lnSpc>
              <a:spcBef>
                <a:spcPct val="0"/>
              </a:spcBef>
              <a:spcAft>
                <a:spcPct val="35000"/>
              </a:spcAft>
            </a:pPr>
            <a:r>
              <a:rPr lang="en-US" sz="813" kern="1200" dirty="0">
                <a:solidFill>
                  <a:schemeClr val="bg1"/>
                </a:solidFill>
                <a:latin typeface="+mj-lt"/>
              </a:rPr>
              <a:t>Associate Program Officer –</a:t>
            </a:r>
            <a:r>
              <a:rPr lang="en-US" sz="813" dirty="0">
                <a:solidFill>
                  <a:schemeClr val="bg1"/>
                </a:solidFill>
                <a:latin typeface="+mj-lt"/>
              </a:rPr>
              <a:t>Kagera</a:t>
            </a:r>
            <a:endParaRPr lang="en-US" sz="813" kern="1200" dirty="0">
              <a:solidFill>
                <a:schemeClr val="bg1"/>
              </a:solidFill>
              <a:latin typeface="+mj-lt"/>
            </a:endParaRPr>
          </a:p>
          <a:p>
            <a:pPr algn="ctr" defTabSz="361156">
              <a:lnSpc>
                <a:spcPct val="90000"/>
              </a:lnSpc>
              <a:spcBef>
                <a:spcPct val="0"/>
              </a:spcBef>
              <a:spcAft>
                <a:spcPct val="35000"/>
              </a:spcAft>
            </a:pPr>
            <a:r>
              <a:rPr lang="en-US" sz="813" b="1" dirty="0">
                <a:solidFill>
                  <a:schemeClr val="bg1"/>
                </a:solidFill>
                <a:latin typeface="+mj-lt"/>
              </a:rPr>
              <a:t>Ipyana Mwakasaka</a:t>
            </a:r>
            <a:endParaRPr lang="en-US" sz="813" b="1" kern="1200" dirty="0">
              <a:solidFill>
                <a:schemeClr val="bg1"/>
              </a:solidFill>
              <a:latin typeface="+mj-lt"/>
            </a:endParaRPr>
          </a:p>
        </p:txBody>
      </p:sp>
      <p:sp>
        <p:nvSpPr>
          <p:cNvPr id="58" name="Rectangle 57"/>
          <p:cNvSpPr/>
          <p:nvPr/>
        </p:nvSpPr>
        <p:spPr>
          <a:xfrm>
            <a:off x="2840347" y="5013835"/>
            <a:ext cx="1459573" cy="347237"/>
          </a:xfrm>
          <a:prstGeom prst="rect">
            <a:avLst/>
          </a:prstGeom>
          <a:solidFill>
            <a:schemeClr val="accent3">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13" dirty="0">
                <a:solidFill>
                  <a:schemeClr val="bg1"/>
                </a:solidFill>
                <a:latin typeface="+mj-lt"/>
              </a:rPr>
              <a:t>Associate Program Officer – Kigoma</a:t>
            </a:r>
          </a:p>
          <a:p>
            <a:pPr algn="ctr"/>
            <a:r>
              <a:rPr lang="en-US" sz="813" dirty="0">
                <a:solidFill>
                  <a:schemeClr val="bg1"/>
                </a:solidFill>
                <a:latin typeface="+mj-lt"/>
              </a:rPr>
              <a:t>Donald Mizambwa</a:t>
            </a:r>
          </a:p>
        </p:txBody>
      </p:sp>
      <p:sp>
        <p:nvSpPr>
          <p:cNvPr id="59" name="Rectangle 58"/>
          <p:cNvSpPr/>
          <p:nvPr/>
        </p:nvSpPr>
        <p:spPr>
          <a:xfrm>
            <a:off x="2852535" y="5383480"/>
            <a:ext cx="1448771" cy="421081"/>
          </a:xfrm>
          <a:prstGeom prst="rect">
            <a:avLst/>
          </a:prstGeom>
          <a:solidFill>
            <a:schemeClr val="accent3">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13" dirty="0">
                <a:solidFill>
                  <a:schemeClr val="bg1"/>
                </a:solidFill>
                <a:latin typeface="+mj-lt"/>
              </a:rPr>
              <a:t>Associate Program Officer – SUKA-Japhet Laizer</a:t>
            </a:r>
          </a:p>
        </p:txBody>
      </p:sp>
      <p:cxnSp>
        <p:nvCxnSpPr>
          <p:cNvPr id="63" name="Straight Connector 62"/>
          <p:cNvCxnSpPr>
            <a:stCxn id="8" idx="2"/>
          </p:cNvCxnSpPr>
          <p:nvPr/>
        </p:nvCxnSpPr>
        <p:spPr>
          <a:xfrm flipH="1">
            <a:off x="2121840" y="2458749"/>
            <a:ext cx="26626" cy="363727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510117" y="4759112"/>
            <a:ext cx="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2150089" y="3686150"/>
            <a:ext cx="690259" cy="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2155975" y="4007914"/>
            <a:ext cx="668617" cy="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2152444" y="4455862"/>
            <a:ext cx="68790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2147402" y="4758083"/>
            <a:ext cx="667477"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2138281" y="5197346"/>
            <a:ext cx="6857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2142775" y="5730727"/>
            <a:ext cx="701333" cy="1075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a:stCxn id="10" idx="1"/>
          </p:cNvCxnSpPr>
          <p:nvPr/>
        </p:nvCxnSpPr>
        <p:spPr>
          <a:xfrm flipH="1">
            <a:off x="2700021" y="2317216"/>
            <a:ext cx="20925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2" name="TextBox 121"/>
          <p:cNvSpPr txBox="1">
            <a:spLocks/>
          </p:cNvSpPr>
          <p:nvPr>
            <p:custDataLst>
              <p:tags r:id="rId4"/>
            </p:custDataLst>
          </p:nvPr>
        </p:nvSpPr>
        <p:spPr>
          <a:xfrm>
            <a:off x="6832948" y="2372485"/>
            <a:ext cx="1141691" cy="336069"/>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buClr>
                <a:schemeClr val="tx2"/>
              </a:buClr>
              <a:buSzPct val="125000"/>
              <a:buFont typeface="Arial" charset="0"/>
              <a:buNone/>
              <a:defRPr sz="850">
                <a:latin typeface="Times New Roman" panose="02020603050405020304" pitchFamily="18" charset="0"/>
                <a:cs typeface="Times New Roman" panose="02020603050405020304" pitchFamily="18" charset="0"/>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r>
              <a:rPr lang="en-GB" sz="691" dirty="0">
                <a:latin typeface="+mj-lt"/>
              </a:rPr>
              <a:t>PIATA Chief of Party </a:t>
            </a:r>
          </a:p>
          <a:p>
            <a:pPr lvl="1"/>
            <a:r>
              <a:rPr lang="en-GB" sz="691" b="1" dirty="0">
                <a:latin typeface="+mj-lt"/>
              </a:rPr>
              <a:t>Vanessa Adams</a:t>
            </a:r>
            <a:endParaRPr lang="en-US" sz="691" b="1" dirty="0">
              <a:latin typeface="+mj-lt"/>
            </a:endParaRPr>
          </a:p>
        </p:txBody>
      </p:sp>
      <p:sp>
        <p:nvSpPr>
          <p:cNvPr id="123" name="TextBox 122"/>
          <p:cNvSpPr txBox="1">
            <a:spLocks/>
          </p:cNvSpPr>
          <p:nvPr>
            <p:custDataLst>
              <p:tags r:id="rId5"/>
            </p:custDataLst>
          </p:nvPr>
        </p:nvSpPr>
        <p:spPr>
          <a:xfrm>
            <a:off x="6823217" y="3066820"/>
            <a:ext cx="1151422" cy="302141"/>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lnSpc>
                <a:spcPct val="90000"/>
              </a:lnSpc>
              <a:buNone/>
            </a:pPr>
            <a:r>
              <a:rPr lang="en-GB" sz="691" dirty="0">
                <a:latin typeface="+mj-lt"/>
                <a:cs typeface="Times New Roman" panose="02020603050405020304" pitchFamily="18" charset="0"/>
              </a:rPr>
              <a:t>Head of Seed Research &amp; Systems Development</a:t>
            </a:r>
            <a:r>
              <a:rPr lang="en-GB" sz="691" dirty="0">
                <a:solidFill>
                  <a:srgbClr val="FF0000"/>
                </a:solidFill>
                <a:latin typeface="+mj-lt"/>
                <a:cs typeface="Times New Roman" panose="02020603050405020304" pitchFamily="18" charset="0"/>
              </a:rPr>
              <a:t> </a:t>
            </a:r>
            <a:r>
              <a:rPr lang="en-GB" sz="691" b="1" dirty="0">
                <a:latin typeface="+mj-lt"/>
                <a:cs typeface="Times New Roman" panose="02020603050405020304" pitchFamily="18" charset="0"/>
              </a:rPr>
              <a:t>George Bigirwa</a:t>
            </a:r>
            <a:endParaRPr lang="en-ZA" sz="691" b="1" dirty="0">
              <a:solidFill>
                <a:srgbClr val="FF0000"/>
              </a:solidFill>
              <a:latin typeface="+mj-lt"/>
              <a:cs typeface="Times New Roman" panose="02020603050405020304" pitchFamily="18" charset="0"/>
            </a:endParaRPr>
          </a:p>
        </p:txBody>
      </p:sp>
      <p:sp>
        <p:nvSpPr>
          <p:cNvPr id="124" name="TextBox 123"/>
          <p:cNvSpPr txBox="1">
            <a:spLocks/>
          </p:cNvSpPr>
          <p:nvPr>
            <p:custDataLst>
              <p:tags r:id="rId6"/>
            </p:custDataLst>
          </p:nvPr>
        </p:nvSpPr>
        <p:spPr>
          <a:xfrm>
            <a:off x="6827728" y="3408438"/>
            <a:ext cx="1146911" cy="290122"/>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buNone/>
            </a:pPr>
            <a:r>
              <a:rPr lang="en-US" sz="691" dirty="0">
                <a:latin typeface="+mj-lt"/>
                <a:cs typeface="Times New Roman" panose="02020603050405020304" pitchFamily="18" charset="0"/>
              </a:rPr>
              <a:t>Head of Policy and Advocacy, </a:t>
            </a:r>
            <a:r>
              <a:rPr lang="en-US" sz="691" b="1" dirty="0">
                <a:latin typeface="+mj-lt"/>
                <a:cs typeface="Times New Roman" panose="02020603050405020304" pitchFamily="18" charset="0"/>
              </a:rPr>
              <a:t>Boaz Keizire</a:t>
            </a:r>
            <a:endParaRPr lang="en-US" sz="691" b="1" dirty="0">
              <a:solidFill>
                <a:srgbClr val="FF0000"/>
              </a:solidFill>
              <a:latin typeface="+mj-lt"/>
              <a:cs typeface="Times New Roman" panose="02020603050405020304" pitchFamily="18" charset="0"/>
            </a:endParaRPr>
          </a:p>
          <a:p>
            <a:pPr marL="1289" lvl="1" indent="0">
              <a:buNone/>
            </a:pPr>
            <a:endParaRPr lang="en-US" sz="691" dirty="0">
              <a:latin typeface="+mj-lt"/>
              <a:cs typeface="Times New Roman" panose="02020603050405020304" pitchFamily="18" charset="0"/>
            </a:endParaRPr>
          </a:p>
        </p:txBody>
      </p:sp>
      <p:sp>
        <p:nvSpPr>
          <p:cNvPr id="125" name="TextBox 124"/>
          <p:cNvSpPr txBox="1">
            <a:spLocks/>
          </p:cNvSpPr>
          <p:nvPr>
            <p:custDataLst>
              <p:tags r:id="rId7"/>
            </p:custDataLst>
          </p:nvPr>
        </p:nvSpPr>
        <p:spPr>
          <a:xfrm>
            <a:off x="6838218" y="4095213"/>
            <a:ext cx="1148271" cy="336851"/>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buNone/>
            </a:pPr>
            <a:r>
              <a:rPr lang="en-GB" sz="691" dirty="0">
                <a:latin typeface="+mj-lt"/>
                <a:cs typeface="Times New Roman" panose="02020603050405020304" pitchFamily="18" charset="0"/>
              </a:rPr>
              <a:t>Head of Inclusive Finance </a:t>
            </a:r>
          </a:p>
          <a:p>
            <a:pPr marL="1289" lvl="1" indent="0">
              <a:buNone/>
            </a:pPr>
            <a:r>
              <a:rPr lang="en-US" sz="691" b="1" dirty="0">
                <a:latin typeface="+mj-lt"/>
                <a:cs typeface="Times New Roman" panose="02020603050405020304" pitchFamily="18" charset="0"/>
              </a:rPr>
              <a:t>Hedwig Siewertsen</a:t>
            </a:r>
            <a:endParaRPr lang="en-GB" sz="691" dirty="0">
              <a:latin typeface="+mj-lt"/>
              <a:cs typeface="Times New Roman" panose="02020603050405020304" pitchFamily="18" charset="0"/>
            </a:endParaRPr>
          </a:p>
        </p:txBody>
      </p:sp>
      <p:sp>
        <p:nvSpPr>
          <p:cNvPr id="126" name="TextBox 125"/>
          <p:cNvSpPr txBox="1">
            <a:spLocks/>
          </p:cNvSpPr>
          <p:nvPr>
            <p:custDataLst>
              <p:tags r:id="rId8"/>
            </p:custDataLst>
          </p:nvPr>
        </p:nvSpPr>
        <p:spPr>
          <a:xfrm>
            <a:off x="6838218" y="3729690"/>
            <a:ext cx="1148271" cy="341645"/>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buNone/>
            </a:pPr>
            <a:endParaRPr lang="en-US" sz="691" dirty="0">
              <a:latin typeface="+mj-lt"/>
              <a:cs typeface="Times New Roman" panose="02020603050405020304" pitchFamily="18" charset="0"/>
            </a:endParaRPr>
          </a:p>
          <a:p>
            <a:pPr marL="1289" lvl="1" indent="0">
              <a:buNone/>
            </a:pPr>
            <a:r>
              <a:rPr lang="en-US" sz="691" dirty="0">
                <a:latin typeface="+mj-lt"/>
                <a:cs typeface="Times New Roman" panose="02020603050405020304" pitchFamily="18" charset="0"/>
              </a:rPr>
              <a:t>Head of Gender</a:t>
            </a:r>
          </a:p>
          <a:p>
            <a:pPr marL="1289" lvl="1" indent="0">
              <a:buNone/>
            </a:pPr>
            <a:r>
              <a:rPr lang="en-US" sz="691" b="1" dirty="0">
                <a:latin typeface="+mj-lt"/>
                <a:cs typeface="Times New Roman" panose="02020603050405020304" pitchFamily="18" charset="0"/>
              </a:rPr>
              <a:t>Amanda Satterly</a:t>
            </a:r>
            <a:endParaRPr lang="en-US" sz="691" b="1" dirty="0">
              <a:solidFill>
                <a:srgbClr val="FF0000"/>
              </a:solidFill>
              <a:latin typeface="+mj-lt"/>
              <a:cs typeface="Times New Roman" panose="02020603050405020304" pitchFamily="18" charset="0"/>
            </a:endParaRPr>
          </a:p>
          <a:p>
            <a:pPr marL="1289" lvl="1" indent="0">
              <a:buNone/>
            </a:pPr>
            <a:endParaRPr lang="en-US" sz="691" dirty="0">
              <a:latin typeface="+mj-lt"/>
              <a:cs typeface="Times New Roman" panose="02020603050405020304" pitchFamily="18" charset="0"/>
            </a:endParaRPr>
          </a:p>
        </p:txBody>
      </p:sp>
      <p:sp>
        <p:nvSpPr>
          <p:cNvPr id="127" name="TextBox 126"/>
          <p:cNvSpPr txBox="1">
            <a:spLocks/>
          </p:cNvSpPr>
          <p:nvPr>
            <p:custDataLst>
              <p:tags r:id="rId9"/>
            </p:custDataLst>
          </p:nvPr>
        </p:nvSpPr>
        <p:spPr>
          <a:xfrm>
            <a:off x="6838219" y="5140527"/>
            <a:ext cx="1148271" cy="305912"/>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buClr>
                <a:schemeClr val="tx2"/>
              </a:buClr>
              <a:buSzPct val="125000"/>
              <a:buFont typeface="Arial" charset="0"/>
              <a:buNone/>
              <a:defRPr sz="850">
                <a:latin typeface="Times New Roman" panose="02020603050405020304" pitchFamily="18" charset="0"/>
                <a:cs typeface="Times New Roman" panose="02020603050405020304" pitchFamily="18" charset="0"/>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r>
              <a:rPr lang="en-GB" sz="691" dirty="0">
                <a:latin typeface="+mj-lt"/>
              </a:rPr>
              <a:t>Head of Country Support</a:t>
            </a:r>
          </a:p>
          <a:p>
            <a:pPr lvl="1"/>
            <a:r>
              <a:rPr lang="en-GB" sz="691" b="1" dirty="0">
                <a:latin typeface="+mj-lt"/>
              </a:rPr>
              <a:t>Thierry </a:t>
            </a:r>
            <a:r>
              <a:rPr lang="en-GB" sz="691" b="1" dirty="0" err="1">
                <a:latin typeface="+mj-lt"/>
              </a:rPr>
              <a:t>Ngoga</a:t>
            </a:r>
            <a:endParaRPr lang="en-US" sz="691" b="1" dirty="0">
              <a:latin typeface="+mj-lt"/>
            </a:endParaRPr>
          </a:p>
        </p:txBody>
      </p:sp>
      <p:sp>
        <p:nvSpPr>
          <p:cNvPr id="128" name="TextBox 127"/>
          <p:cNvSpPr txBox="1">
            <a:spLocks/>
          </p:cNvSpPr>
          <p:nvPr>
            <p:custDataLst>
              <p:tags r:id="rId10"/>
            </p:custDataLst>
          </p:nvPr>
        </p:nvSpPr>
        <p:spPr>
          <a:xfrm>
            <a:off x="8214199" y="2827029"/>
            <a:ext cx="1239267" cy="418113"/>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buNone/>
            </a:pPr>
            <a:r>
              <a:rPr lang="en-US" sz="691" dirty="0">
                <a:latin typeface="+mj-lt"/>
                <a:cs typeface="Times New Roman" panose="02020603050405020304" pitchFamily="18" charset="0"/>
              </a:rPr>
              <a:t>Head of Grants Management</a:t>
            </a:r>
          </a:p>
          <a:p>
            <a:pPr marL="1289" lvl="1" indent="0">
              <a:buNone/>
            </a:pPr>
            <a:r>
              <a:rPr lang="en-US" sz="691" b="1" dirty="0">
                <a:latin typeface="+mj-lt"/>
                <a:cs typeface="Times New Roman" panose="02020603050405020304" pitchFamily="18" charset="0"/>
              </a:rPr>
              <a:t>Ignatius Mutula </a:t>
            </a:r>
          </a:p>
        </p:txBody>
      </p:sp>
      <p:sp>
        <p:nvSpPr>
          <p:cNvPr id="130" name="TextBox 129"/>
          <p:cNvSpPr txBox="1">
            <a:spLocks/>
          </p:cNvSpPr>
          <p:nvPr>
            <p:custDataLst>
              <p:tags r:id="rId11"/>
            </p:custDataLst>
          </p:nvPr>
        </p:nvSpPr>
        <p:spPr>
          <a:xfrm>
            <a:off x="6838219" y="4455942"/>
            <a:ext cx="1148271" cy="302141"/>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lnSpc>
                <a:spcPct val="90000"/>
              </a:lnSpc>
              <a:buNone/>
            </a:pPr>
            <a:r>
              <a:rPr lang="en-GB" sz="691" dirty="0">
                <a:latin typeface="+mj-lt"/>
                <a:cs typeface="Times New Roman" panose="02020603050405020304" pitchFamily="18" charset="0"/>
              </a:rPr>
              <a:t>Head of Soil Fertility &amp; Fertilizer Systems </a:t>
            </a:r>
          </a:p>
          <a:p>
            <a:pPr marL="1289" lvl="1" indent="0">
              <a:lnSpc>
                <a:spcPct val="90000"/>
              </a:lnSpc>
              <a:buNone/>
            </a:pPr>
            <a:r>
              <a:rPr lang="en-GB" sz="691" b="1" dirty="0">
                <a:latin typeface="+mj-lt"/>
                <a:cs typeface="Times New Roman" panose="02020603050405020304" pitchFamily="18" charset="0"/>
              </a:rPr>
              <a:t>Rebbie Harawa</a:t>
            </a:r>
            <a:endParaRPr lang="en-ZA" sz="691" b="1" baseline="30000" dirty="0">
              <a:solidFill>
                <a:srgbClr val="FF0000"/>
              </a:solidFill>
              <a:latin typeface="+mj-lt"/>
              <a:cs typeface="Times New Roman" panose="02020603050405020304" pitchFamily="18" charset="0"/>
            </a:endParaRPr>
          </a:p>
        </p:txBody>
      </p:sp>
      <p:sp>
        <p:nvSpPr>
          <p:cNvPr id="131" name="TextBox 130"/>
          <p:cNvSpPr txBox="1">
            <a:spLocks/>
          </p:cNvSpPr>
          <p:nvPr>
            <p:custDataLst>
              <p:tags r:id="rId12"/>
            </p:custDataLst>
          </p:nvPr>
        </p:nvSpPr>
        <p:spPr>
          <a:xfrm>
            <a:off x="6832948" y="4809753"/>
            <a:ext cx="1153541" cy="302141"/>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lnSpc>
                <a:spcPct val="90000"/>
              </a:lnSpc>
              <a:buNone/>
            </a:pPr>
            <a:r>
              <a:rPr lang="en-GB" sz="691" dirty="0">
                <a:latin typeface="+mj-lt"/>
                <a:cs typeface="Times New Roman" panose="02020603050405020304" pitchFamily="18" charset="0"/>
              </a:rPr>
              <a:t>Head of Extension &amp; Capacity Building</a:t>
            </a:r>
          </a:p>
          <a:p>
            <a:pPr marL="1289" lvl="1" indent="0">
              <a:lnSpc>
                <a:spcPct val="90000"/>
              </a:lnSpc>
              <a:buNone/>
            </a:pPr>
            <a:r>
              <a:rPr lang="en-GB" sz="691" b="1" dirty="0">
                <a:latin typeface="+mj-lt"/>
                <a:cs typeface="Times New Roman" panose="02020603050405020304" pitchFamily="18" charset="0"/>
              </a:rPr>
              <a:t>Paul Seward</a:t>
            </a:r>
            <a:endParaRPr lang="en-ZA" sz="691" b="1" dirty="0">
              <a:solidFill>
                <a:srgbClr val="FF0000"/>
              </a:solidFill>
              <a:latin typeface="+mj-lt"/>
              <a:cs typeface="Times New Roman" panose="02020603050405020304" pitchFamily="18" charset="0"/>
            </a:endParaRPr>
          </a:p>
        </p:txBody>
      </p:sp>
      <p:sp>
        <p:nvSpPr>
          <p:cNvPr id="137" name="TextBox 136"/>
          <p:cNvSpPr txBox="1">
            <a:spLocks/>
          </p:cNvSpPr>
          <p:nvPr>
            <p:custDataLst>
              <p:tags r:id="rId13"/>
            </p:custDataLst>
          </p:nvPr>
        </p:nvSpPr>
        <p:spPr>
          <a:xfrm>
            <a:off x="6832949" y="5831420"/>
            <a:ext cx="1141690" cy="264601"/>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buNone/>
            </a:pPr>
            <a:r>
              <a:rPr lang="en-US" sz="691" dirty="0">
                <a:latin typeface="+mj-lt"/>
                <a:cs typeface="Times New Roman" panose="02020603050405020304" pitchFamily="18" charset="0"/>
              </a:rPr>
              <a:t>Compliance Officer</a:t>
            </a:r>
          </a:p>
          <a:p>
            <a:pPr marL="1289" lvl="1" indent="0">
              <a:buNone/>
            </a:pPr>
            <a:r>
              <a:rPr lang="en-US" sz="691" b="1" dirty="0">
                <a:latin typeface="+mj-lt"/>
                <a:cs typeface="Times New Roman" panose="02020603050405020304" pitchFamily="18" charset="0"/>
              </a:rPr>
              <a:t>Grace Mwai</a:t>
            </a:r>
            <a:endParaRPr lang="en-US" sz="691" b="1" dirty="0">
              <a:solidFill>
                <a:srgbClr val="FF0000"/>
              </a:solidFill>
              <a:latin typeface="+mj-lt"/>
              <a:cs typeface="Times New Roman" panose="02020603050405020304" pitchFamily="18" charset="0"/>
            </a:endParaRPr>
          </a:p>
        </p:txBody>
      </p:sp>
      <p:sp>
        <p:nvSpPr>
          <p:cNvPr id="140" name="TextBox 139"/>
          <p:cNvSpPr txBox="1">
            <a:spLocks/>
          </p:cNvSpPr>
          <p:nvPr>
            <p:custDataLst>
              <p:tags r:id="rId14"/>
            </p:custDataLst>
          </p:nvPr>
        </p:nvSpPr>
        <p:spPr>
          <a:xfrm>
            <a:off x="8249291" y="2396485"/>
            <a:ext cx="1204175" cy="359823"/>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buNone/>
            </a:pPr>
            <a:endParaRPr lang="en-US" sz="691" dirty="0">
              <a:latin typeface="+mj-lt"/>
              <a:cs typeface="Times New Roman" panose="02020603050405020304" pitchFamily="18" charset="0"/>
            </a:endParaRPr>
          </a:p>
          <a:p>
            <a:pPr marL="1289" lvl="1" indent="0">
              <a:buNone/>
            </a:pPr>
            <a:r>
              <a:rPr lang="en-US" sz="691" dirty="0">
                <a:latin typeface="+mj-lt"/>
                <a:cs typeface="Times New Roman" panose="02020603050405020304" pitchFamily="18" charset="0"/>
              </a:rPr>
              <a:t>Head of Procurement</a:t>
            </a:r>
          </a:p>
          <a:p>
            <a:pPr marL="1289" lvl="1" indent="0">
              <a:buNone/>
            </a:pPr>
            <a:r>
              <a:rPr lang="en-US" sz="691" b="1" dirty="0">
                <a:latin typeface="+mj-lt"/>
                <a:cs typeface="Times New Roman" panose="02020603050405020304" pitchFamily="18" charset="0"/>
              </a:rPr>
              <a:t>Frank </a:t>
            </a:r>
            <a:r>
              <a:rPr lang="en-US" sz="691" b="1" dirty="0" err="1">
                <a:latin typeface="+mj-lt"/>
                <a:cs typeface="Times New Roman" panose="02020603050405020304" pitchFamily="18" charset="0"/>
              </a:rPr>
              <a:t>Muvinyi</a:t>
            </a:r>
            <a:endParaRPr lang="en-US" sz="691" b="1" dirty="0">
              <a:latin typeface="+mj-lt"/>
              <a:cs typeface="Times New Roman" panose="02020603050405020304" pitchFamily="18" charset="0"/>
            </a:endParaRPr>
          </a:p>
          <a:p>
            <a:pPr marL="1289" lvl="1" indent="0">
              <a:buNone/>
            </a:pPr>
            <a:endParaRPr lang="en-US" sz="691" dirty="0">
              <a:latin typeface="+mj-lt"/>
              <a:cs typeface="Times New Roman" panose="02020603050405020304" pitchFamily="18" charset="0"/>
            </a:endParaRPr>
          </a:p>
        </p:txBody>
      </p:sp>
      <p:sp>
        <p:nvSpPr>
          <p:cNvPr id="143" name="TextBox 142"/>
          <p:cNvSpPr txBox="1">
            <a:spLocks/>
          </p:cNvSpPr>
          <p:nvPr>
            <p:custDataLst>
              <p:tags r:id="rId15"/>
            </p:custDataLst>
          </p:nvPr>
        </p:nvSpPr>
        <p:spPr>
          <a:xfrm>
            <a:off x="6838219" y="5481948"/>
            <a:ext cx="1136421" cy="325116"/>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buNone/>
            </a:pPr>
            <a:r>
              <a:rPr lang="en-US" sz="691" dirty="0">
                <a:latin typeface="+mj-lt"/>
                <a:cs typeface="Times New Roman" panose="02020603050405020304" pitchFamily="18" charset="0"/>
              </a:rPr>
              <a:t>Head of M&amp;E and Knowledge Management , </a:t>
            </a:r>
            <a:r>
              <a:rPr lang="en-US" sz="691" b="1" dirty="0">
                <a:latin typeface="+mj-lt"/>
                <a:cs typeface="Times New Roman" panose="02020603050405020304" pitchFamily="18" charset="0"/>
              </a:rPr>
              <a:t>Daudi Sumba</a:t>
            </a:r>
            <a:endParaRPr lang="en-US" sz="691" b="1" dirty="0">
              <a:solidFill>
                <a:srgbClr val="FF0000"/>
              </a:solidFill>
              <a:latin typeface="+mj-lt"/>
              <a:cs typeface="Times New Roman" panose="02020603050405020304" pitchFamily="18" charset="0"/>
            </a:endParaRPr>
          </a:p>
        </p:txBody>
      </p:sp>
      <p:sp>
        <p:nvSpPr>
          <p:cNvPr id="146" name="TextBox 145"/>
          <p:cNvSpPr txBox="1">
            <a:spLocks/>
          </p:cNvSpPr>
          <p:nvPr>
            <p:custDataLst>
              <p:tags r:id="rId16"/>
            </p:custDataLst>
          </p:nvPr>
        </p:nvSpPr>
        <p:spPr>
          <a:xfrm>
            <a:off x="8214199" y="3303890"/>
            <a:ext cx="1239267" cy="335510"/>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lnSpc>
                <a:spcPct val="89000"/>
              </a:lnSpc>
              <a:buClr>
                <a:schemeClr val="tx2"/>
              </a:buClr>
              <a:buSzPct val="125000"/>
              <a:buFont typeface="Arial" charset="0"/>
              <a:buNone/>
              <a:defRPr sz="800">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nSpc>
                <a:spcPct val="100000"/>
              </a:lnSpc>
            </a:pPr>
            <a:r>
              <a:rPr lang="en-US" sz="691" dirty="0">
                <a:latin typeface="+mj-lt"/>
                <a:cs typeface="Times New Roman" panose="02020603050405020304" pitchFamily="18" charset="0"/>
              </a:rPr>
              <a:t>Head of Communications</a:t>
            </a:r>
          </a:p>
          <a:p>
            <a:pPr lvl="1">
              <a:lnSpc>
                <a:spcPct val="100000"/>
              </a:lnSpc>
            </a:pPr>
            <a:r>
              <a:rPr lang="en-US" sz="691" b="1" dirty="0">
                <a:latin typeface="+mj-lt"/>
                <a:cs typeface="Times New Roman" panose="02020603050405020304" pitchFamily="18" charset="0"/>
              </a:rPr>
              <a:t>Waiganjo Njoroge (interim)</a:t>
            </a:r>
          </a:p>
        </p:txBody>
      </p:sp>
      <p:sp>
        <p:nvSpPr>
          <p:cNvPr id="147" name="TextBox 146"/>
          <p:cNvSpPr txBox="1">
            <a:spLocks/>
          </p:cNvSpPr>
          <p:nvPr>
            <p:custDataLst>
              <p:tags r:id="rId17"/>
            </p:custDataLst>
          </p:nvPr>
        </p:nvSpPr>
        <p:spPr>
          <a:xfrm>
            <a:off x="8227799" y="3672549"/>
            <a:ext cx="1225667" cy="302141"/>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buNone/>
            </a:pPr>
            <a:r>
              <a:rPr lang="en-US" sz="691" dirty="0">
                <a:latin typeface="+mj-lt"/>
                <a:cs typeface="Times New Roman" panose="02020603050405020304" pitchFamily="18" charset="0"/>
              </a:rPr>
              <a:t>Chief Finance Officer</a:t>
            </a:r>
          </a:p>
          <a:p>
            <a:pPr marL="1289" lvl="1" indent="0">
              <a:buNone/>
            </a:pPr>
            <a:r>
              <a:rPr lang="en-US" sz="691" b="1" dirty="0">
                <a:latin typeface="+mj-lt"/>
                <a:cs typeface="Times New Roman" panose="02020603050405020304" pitchFamily="18" charset="0"/>
              </a:rPr>
              <a:t>Lilian Nyang’aya </a:t>
            </a:r>
          </a:p>
        </p:txBody>
      </p:sp>
      <p:sp>
        <p:nvSpPr>
          <p:cNvPr id="86" name="Rectangle 85"/>
          <p:cNvSpPr/>
          <p:nvPr/>
        </p:nvSpPr>
        <p:spPr>
          <a:xfrm>
            <a:off x="2847134" y="2948576"/>
            <a:ext cx="1459573" cy="315162"/>
          </a:xfrm>
          <a:prstGeom prst="rect">
            <a:avLst/>
          </a:prstGeom>
          <a:solidFill>
            <a:schemeClr val="accent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r>
              <a:rPr lang="en-US" sz="813" b="1" dirty="0">
                <a:solidFill>
                  <a:schemeClr val="bg1"/>
                </a:solidFill>
                <a:latin typeface="+mj-lt"/>
              </a:rPr>
              <a:t>Program Officer – State Capability-Liston Njoroge</a:t>
            </a:r>
          </a:p>
        </p:txBody>
      </p:sp>
      <p:cxnSp>
        <p:nvCxnSpPr>
          <p:cNvPr id="96" name="Straight Connector 95"/>
          <p:cNvCxnSpPr/>
          <p:nvPr/>
        </p:nvCxnSpPr>
        <p:spPr>
          <a:xfrm>
            <a:off x="2155975" y="3045508"/>
            <a:ext cx="7600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2" name="TextBox 101"/>
          <p:cNvSpPr txBox="1">
            <a:spLocks/>
          </p:cNvSpPr>
          <p:nvPr>
            <p:custDataLst>
              <p:tags r:id="rId18"/>
            </p:custDataLst>
          </p:nvPr>
        </p:nvSpPr>
        <p:spPr>
          <a:xfrm>
            <a:off x="6838219" y="2733011"/>
            <a:ext cx="1148271" cy="290622"/>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buClr>
                <a:schemeClr val="tx2"/>
              </a:buClr>
              <a:buSzPct val="125000"/>
              <a:buFont typeface="Arial" charset="0"/>
              <a:buNone/>
              <a:defRPr sz="850">
                <a:latin typeface="Times New Roman" panose="02020603050405020304" pitchFamily="18" charset="0"/>
                <a:cs typeface="Times New Roman" panose="02020603050405020304" pitchFamily="18" charset="0"/>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r>
              <a:rPr lang="en-GB" sz="691" dirty="0">
                <a:latin typeface="+mj-lt"/>
              </a:rPr>
              <a:t>PIATA Deputy Chief of Party </a:t>
            </a:r>
            <a:r>
              <a:rPr lang="en-GB" sz="691" b="1" dirty="0">
                <a:latin typeface="+mj-lt"/>
              </a:rPr>
              <a:t>Tadele Gelan</a:t>
            </a:r>
            <a:endParaRPr lang="en-US" sz="691" b="1" dirty="0">
              <a:latin typeface="+mj-lt"/>
            </a:endParaRPr>
          </a:p>
        </p:txBody>
      </p:sp>
      <p:cxnSp>
        <p:nvCxnSpPr>
          <p:cNvPr id="103" name="Straight Connector 102"/>
          <p:cNvCxnSpPr/>
          <p:nvPr/>
        </p:nvCxnSpPr>
        <p:spPr>
          <a:xfrm>
            <a:off x="2155974" y="1920615"/>
            <a:ext cx="0" cy="17652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5" name="Down Arrow Callout 24"/>
          <p:cNvSpPr/>
          <p:nvPr/>
        </p:nvSpPr>
        <p:spPr>
          <a:xfrm>
            <a:off x="6575769" y="1865357"/>
            <a:ext cx="1367942" cy="494127"/>
          </a:xfrm>
          <a:prstGeom prst="downArrowCallout">
            <a:avLst/>
          </a:prstGeom>
          <a:solidFill>
            <a:srgbClr val="FFC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94" dirty="0">
                <a:solidFill>
                  <a:schemeClr val="tx1"/>
                </a:solidFill>
                <a:latin typeface="+mj-lt"/>
              </a:rPr>
              <a:t>HQ- based Technical Support</a:t>
            </a:r>
          </a:p>
        </p:txBody>
      </p:sp>
      <p:sp>
        <p:nvSpPr>
          <p:cNvPr id="108" name="Down Arrow Callout 107"/>
          <p:cNvSpPr/>
          <p:nvPr/>
        </p:nvSpPr>
        <p:spPr>
          <a:xfrm>
            <a:off x="8249291" y="1904267"/>
            <a:ext cx="1348611" cy="455218"/>
          </a:xfrm>
          <a:prstGeom prst="downArrowCallout">
            <a:avLst/>
          </a:prstGeom>
          <a:solidFill>
            <a:srgbClr val="FFC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94" dirty="0">
                <a:solidFill>
                  <a:schemeClr val="tx1"/>
                </a:solidFill>
                <a:latin typeface="+mj-lt"/>
              </a:rPr>
              <a:t>HQ Administrative</a:t>
            </a:r>
          </a:p>
        </p:txBody>
      </p:sp>
      <p:cxnSp>
        <p:nvCxnSpPr>
          <p:cNvPr id="52" name="Straight Connector 51"/>
          <p:cNvCxnSpPr/>
          <p:nvPr/>
        </p:nvCxnSpPr>
        <p:spPr>
          <a:xfrm flipV="1">
            <a:off x="2861248" y="1865357"/>
            <a:ext cx="4148333" cy="51370"/>
          </a:xfrm>
          <a:prstGeom prst="line">
            <a:avLst/>
          </a:prstGeom>
          <a:ln/>
        </p:spPr>
        <p:style>
          <a:lnRef idx="1">
            <a:schemeClr val="dk1"/>
          </a:lnRef>
          <a:fillRef idx="0">
            <a:schemeClr val="dk1"/>
          </a:fillRef>
          <a:effectRef idx="0">
            <a:schemeClr val="dk1"/>
          </a:effectRef>
          <a:fontRef idx="minor">
            <a:schemeClr val="tx1"/>
          </a:fontRef>
        </p:style>
      </p:cxnSp>
      <p:sp>
        <p:nvSpPr>
          <p:cNvPr id="114" name="TextBox 113"/>
          <p:cNvSpPr txBox="1">
            <a:spLocks/>
          </p:cNvSpPr>
          <p:nvPr>
            <p:custDataLst>
              <p:tags r:id="rId19"/>
            </p:custDataLst>
          </p:nvPr>
        </p:nvSpPr>
        <p:spPr>
          <a:xfrm>
            <a:off x="8475449" y="4309299"/>
            <a:ext cx="944620" cy="293126"/>
          </a:xfrm>
          <a:prstGeom prst="rect">
            <a:avLst/>
          </a:prstGeom>
          <a:solidFill>
            <a:schemeClr val="accent3">
              <a:lumMod val="60000"/>
              <a:lumOff val="40000"/>
            </a:schemeClr>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buNone/>
            </a:pPr>
            <a:r>
              <a:rPr lang="en-US" sz="975" b="1" dirty="0">
                <a:latin typeface="+mj-lt"/>
                <a:cs typeface="Times New Roman" panose="02020603050405020304" pitchFamily="18" charset="0"/>
              </a:rPr>
              <a:t>Key</a:t>
            </a:r>
          </a:p>
        </p:txBody>
      </p:sp>
      <p:sp>
        <p:nvSpPr>
          <p:cNvPr id="115" name="TextBox 114"/>
          <p:cNvSpPr txBox="1">
            <a:spLocks/>
          </p:cNvSpPr>
          <p:nvPr>
            <p:custDataLst>
              <p:tags r:id="rId20"/>
            </p:custDataLst>
          </p:nvPr>
        </p:nvSpPr>
        <p:spPr>
          <a:xfrm>
            <a:off x="8475449" y="5136708"/>
            <a:ext cx="956525" cy="306243"/>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buNone/>
            </a:pPr>
            <a:r>
              <a:rPr lang="en-US" sz="691" dirty="0">
                <a:latin typeface="+mj-lt"/>
                <a:cs typeface="Times New Roman" panose="02020603050405020304" pitchFamily="18" charset="0"/>
              </a:rPr>
              <a:t>Based in Nairobi</a:t>
            </a:r>
            <a:endParaRPr lang="en-US" sz="691" b="1" dirty="0">
              <a:latin typeface="+mj-lt"/>
              <a:cs typeface="Times New Roman" panose="02020603050405020304" pitchFamily="18" charset="0"/>
            </a:endParaRPr>
          </a:p>
        </p:txBody>
      </p:sp>
      <p:sp>
        <p:nvSpPr>
          <p:cNvPr id="116" name="TextBox 115"/>
          <p:cNvSpPr txBox="1">
            <a:spLocks/>
          </p:cNvSpPr>
          <p:nvPr>
            <p:custDataLst>
              <p:tags r:id="rId21"/>
            </p:custDataLst>
          </p:nvPr>
        </p:nvSpPr>
        <p:spPr>
          <a:xfrm>
            <a:off x="8475449" y="4644590"/>
            <a:ext cx="978017" cy="342624"/>
          </a:xfrm>
          <a:prstGeom prst="rect">
            <a:avLst/>
          </a:prstGeom>
          <a:solidFill>
            <a:schemeClr val="accent3">
              <a:lumMod val="50000"/>
            </a:schemeClr>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buNone/>
            </a:pPr>
            <a:r>
              <a:rPr lang="en-US" sz="691" dirty="0">
                <a:solidFill>
                  <a:schemeClr val="bg1"/>
                </a:solidFill>
                <a:latin typeface="+mj-lt"/>
                <a:cs typeface="Times New Roman" panose="02020603050405020304" pitchFamily="18" charset="0"/>
              </a:rPr>
              <a:t>Field Based staff</a:t>
            </a:r>
            <a:endParaRPr lang="en-US" sz="691" b="1" dirty="0">
              <a:solidFill>
                <a:schemeClr val="bg1"/>
              </a:solidFill>
              <a:latin typeface="+mj-lt"/>
              <a:cs typeface="Times New Roman" panose="02020603050405020304" pitchFamily="18" charset="0"/>
            </a:endParaRPr>
          </a:p>
        </p:txBody>
      </p:sp>
      <p:sp>
        <p:nvSpPr>
          <p:cNvPr id="117" name="TextBox 116"/>
          <p:cNvSpPr txBox="1">
            <a:spLocks/>
          </p:cNvSpPr>
          <p:nvPr>
            <p:custDataLst>
              <p:tags r:id="rId22"/>
            </p:custDataLst>
          </p:nvPr>
        </p:nvSpPr>
        <p:spPr>
          <a:xfrm>
            <a:off x="8475449" y="5588170"/>
            <a:ext cx="956525" cy="293126"/>
          </a:xfrm>
          <a:prstGeom prst="rect">
            <a:avLst/>
          </a:prstGeom>
          <a:solidFill>
            <a:schemeClr val="accent1">
              <a:lumMod val="75000"/>
            </a:schemeClr>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289" lvl="1" indent="0">
              <a:buNone/>
            </a:pPr>
            <a:r>
              <a:rPr lang="en-US" sz="691" dirty="0">
                <a:solidFill>
                  <a:schemeClr val="bg1"/>
                </a:solidFill>
                <a:latin typeface="+mj-lt"/>
                <a:cs typeface="Times New Roman" panose="02020603050405020304" pitchFamily="18" charset="0"/>
              </a:rPr>
              <a:t>Dar es salaam Based Staff</a:t>
            </a:r>
            <a:endParaRPr lang="en-US" sz="691" b="1" dirty="0">
              <a:solidFill>
                <a:schemeClr val="bg1"/>
              </a:solidFill>
              <a:latin typeface="+mj-lt"/>
              <a:cs typeface="Times New Roman" panose="02020603050405020304" pitchFamily="18" charset="0"/>
            </a:endParaRPr>
          </a:p>
        </p:txBody>
      </p:sp>
      <p:cxnSp>
        <p:nvCxnSpPr>
          <p:cNvPr id="132" name="Straight Connector 131"/>
          <p:cNvCxnSpPr/>
          <p:nvPr/>
        </p:nvCxnSpPr>
        <p:spPr>
          <a:xfrm flipV="1">
            <a:off x="1497420" y="3234766"/>
            <a:ext cx="630312" cy="387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flipV="1">
            <a:off x="1517090" y="3649892"/>
            <a:ext cx="630312" cy="387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flipV="1">
            <a:off x="1508781" y="3964271"/>
            <a:ext cx="630312" cy="387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2130474" y="6087589"/>
            <a:ext cx="701333" cy="1075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a:xfrm>
            <a:off x="2851150" y="5832710"/>
            <a:ext cx="1448771" cy="421081"/>
          </a:xfrm>
          <a:prstGeom prst="rect">
            <a:avLst/>
          </a:prstGeom>
          <a:solidFill>
            <a:schemeClr val="accent3">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13" dirty="0">
                <a:solidFill>
                  <a:schemeClr val="bg1"/>
                </a:solidFill>
                <a:latin typeface="+mj-lt"/>
              </a:rPr>
              <a:t>Associate Program Officer – North Selemani Kaoneka</a:t>
            </a:r>
          </a:p>
        </p:txBody>
      </p:sp>
      <p:sp>
        <p:nvSpPr>
          <p:cNvPr id="69" name="TextBox 68"/>
          <p:cNvSpPr txBox="1">
            <a:spLocks/>
          </p:cNvSpPr>
          <p:nvPr>
            <p:custDataLst>
              <p:tags r:id="rId23"/>
            </p:custDataLst>
          </p:nvPr>
        </p:nvSpPr>
        <p:spPr>
          <a:xfrm>
            <a:off x="6832948" y="6190392"/>
            <a:ext cx="1153541" cy="320040"/>
          </a:xfrm>
          <a:prstGeom prst="rect">
            <a:avLst/>
          </a:prstGeom>
          <a:solidFill>
            <a:srgbClr val="FFC000"/>
          </a:solidFill>
          <a:ln>
            <a:solidFill>
              <a:schemeClr val="bg1"/>
            </a:solidFill>
          </a:ln>
          <a:effectLst/>
          <a:extLst/>
        </p:spPr>
        <p:txBody>
          <a:bodyPr vert="horz" wrap="square" lIns="37148" tIns="37148" rIns="37148" bIns="37148" numCol="1" anchor="ctr" anchorCtr="0" compatLnSpc="1">
            <a:prstTxWarp prst="textNoShape">
              <a:avLst/>
            </a:prstTxWarp>
            <a:noAutofit/>
          </a:bodyPr>
          <a:lstStyle>
            <a:defPPr marR="0" lvl="0" algn="l" rtl="0">
              <a:lnSpc>
                <a:spcPct val="100000"/>
              </a:lnSpc>
              <a:spcBef>
                <a:spcPts val="0"/>
              </a:spcBef>
              <a:spcAft>
                <a:spcPts val="0"/>
              </a:spcAft>
            </a:defPPr>
            <a:lvl1pPr marL="0" indent="0" defTabSz="895350" eaLnBrk="1" hangingPunct="1">
              <a:buClr>
                <a:schemeClr val="tx2"/>
              </a:buClr>
              <a:defRPr sz="1100">
                <a:latin typeface="+mn-lt"/>
              </a:defRPr>
            </a:lvl1pPr>
            <a:lvl2pPr marL="1289" indent="0" defTabSz="895350" eaLnBrk="1" hangingPunct="1">
              <a:buClr>
                <a:schemeClr val="tx2"/>
              </a:buClr>
              <a:buSzPct val="125000"/>
              <a:buFont typeface="Arial" charset="0"/>
              <a:buNone/>
              <a:defRPr sz="691">
                <a:latin typeface="+mj-lt"/>
                <a:cs typeface="Times New Roman" panose="02020603050405020304" pitchFamily="18" charset="0"/>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r>
              <a:rPr lang="en-US" dirty="0"/>
              <a:t>Head of Strategy and </a:t>
            </a:r>
            <a:r>
              <a:rPr lang="en-US" dirty="0" smtClean="0"/>
              <a:t>Analytics</a:t>
            </a:r>
          </a:p>
          <a:p>
            <a:pPr lvl="1"/>
            <a:r>
              <a:rPr lang="en-US" dirty="0" smtClean="0"/>
              <a:t>Anne Maria</a:t>
            </a:r>
            <a:endParaRPr lang="en-US" dirty="0"/>
          </a:p>
        </p:txBody>
      </p:sp>
    </p:spTree>
    <p:extLst>
      <p:ext uri="{BB962C8B-B14F-4D97-AF65-F5344CB8AC3E}">
        <p14:creationId xmlns:p14="http://schemas.microsoft.com/office/powerpoint/2010/main" val="319517589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541"/>
        <p:cNvGrpSpPr/>
        <p:nvPr/>
      </p:nvGrpSpPr>
      <p:grpSpPr>
        <a:xfrm>
          <a:off x="0" y="0"/>
          <a:ext cx="0" cy="0"/>
          <a:chOff x="0" y="0"/>
          <a:chExt cx="0" cy="0"/>
        </a:xfrm>
      </p:grpSpPr>
      <p:pic>
        <p:nvPicPr>
          <p:cNvPr id="542" name="Google Shape;542;p62"/>
          <p:cNvPicPr preferRelativeResize="0"/>
          <p:nvPr/>
        </p:nvPicPr>
        <p:blipFill rotWithShape="1">
          <a:blip r:embed="rId3">
            <a:alphaModFix/>
          </a:blip>
          <a:srcRect/>
          <a:stretch/>
        </p:blipFill>
        <p:spPr>
          <a:xfrm>
            <a:off x="1588" y="1588"/>
            <a:ext cx="1588" cy="1588"/>
          </a:xfrm>
          <a:prstGeom prst="rect">
            <a:avLst/>
          </a:prstGeom>
          <a:noFill/>
          <a:ln>
            <a:noFill/>
          </a:ln>
        </p:spPr>
      </p:pic>
      <p:sp>
        <p:nvSpPr>
          <p:cNvPr id="543" name="Google Shape;543;p62"/>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Clr>
                <a:srgbClr val="385623"/>
              </a:buClr>
              <a:buSzPts val="4400"/>
              <a:buFont typeface="Arial"/>
              <a:buNone/>
            </a:pPr>
            <a:r>
              <a:rPr lang="en-US" smtClean="0"/>
              <a:t>Annexes</a:t>
            </a:r>
            <a:endParaRP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6388" y="1295400"/>
            <a:ext cx="4495800" cy="2397451"/>
          </a:xfrm>
          <a:prstGeom prst="rect">
            <a:avLst/>
          </a:prstGeom>
          <a:ln>
            <a:noFill/>
          </a:ln>
        </p:spPr>
        <p:txBody>
          <a:bodyPr>
            <a:spAutoFit/>
          </a:bodyPr>
          <a:lstStyle/>
          <a:p>
            <a:pPr marL="257175" indent="-257175" algn="just">
              <a:lnSpc>
                <a:spcPct val="107000"/>
              </a:lnSpc>
              <a:buClr>
                <a:srgbClr val="70AD47"/>
              </a:buClr>
              <a:buSzPct val="150000"/>
              <a:buFont typeface="Arial" panose="020B0604020202020204" pitchFamily="34" charset="0"/>
              <a:buChar char="•"/>
              <a:tabLst>
                <a:tab pos="342900" algn="l"/>
              </a:tabLst>
              <a:defRPr/>
            </a:pPr>
            <a:r>
              <a:rPr lang="en-US" sz="1400" dirty="0">
                <a:solidFill>
                  <a:schemeClr val="tx1">
                    <a:lumMod val="85000"/>
                    <a:lumOff val="15000"/>
                  </a:schemeClr>
                </a:solidFill>
                <a:latin typeface="Arial" panose="020B0604020202020204" pitchFamily="34" charset="0"/>
                <a:cs typeface="Arial" panose="020B0604020202020204" pitchFamily="34" charset="0"/>
              </a:rPr>
              <a:t>In 2017/2018 Tanzania produced 6.6M MTs of maize, against domestic demand of 5.4M MTs leading to a surplus of 1.2M MT.</a:t>
            </a:r>
          </a:p>
          <a:p>
            <a:pPr marL="257175" indent="-257175" algn="just">
              <a:lnSpc>
                <a:spcPct val="107000"/>
              </a:lnSpc>
              <a:buClr>
                <a:srgbClr val="70AD47"/>
              </a:buClr>
              <a:buSzPct val="150000"/>
              <a:buFont typeface="Arial" panose="020B0604020202020204" pitchFamily="34" charset="0"/>
              <a:buChar char="•"/>
              <a:tabLst>
                <a:tab pos="342900" algn="l"/>
              </a:tabLst>
              <a:defRPr/>
            </a:pPr>
            <a:r>
              <a:rPr lang="en-US" sz="1400" dirty="0">
                <a:solidFill>
                  <a:schemeClr val="tx1">
                    <a:lumMod val="85000"/>
                    <a:lumOff val="15000"/>
                  </a:schemeClr>
                </a:solidFill>
                <a:latin typeface="Arial" panose="020B0604020202020204" pitchFamily="34" charset="0"/>
                <a:cs typeface="Arial" panose="020B0604020202020204" pitchFamily="34" charset="0"/>
              </a:rPr>
              <a:t>In the same period, the government was implementing an export ban, limiting opportunity for cross-border market </a:t>
            </a:r>
          </a:p>
          <a:p>
            <a:pPr marL="257175" indent="-257175" algn="just">
              <a:lnSpc>
                <a:spcPct val="107000"/>
              </a:lnSpc>
              <a:buClr>
                <a:srgbClr val="70AD47"/>
              </a:buClr>
              <a:buSzPct val="150000"/>
              <a:buFont typeface="Arial" panose="020B0604020202020204" pitchFamily="34" charset="0"/>
              <a:buChar char="•"/>
              <a:tabLst>
                <a:tab pos="342900" algn="l"/>
              </a:tabLst>
              <a:defRPr/>
            </a:pPr>
            <a:r>
              <a:rPr lang="en-US" sz="1400" dirty="0">
                <a:solidFill>
                  <a:schemeClr val="tx1">
                    <a:lumMod val="85000"/>
                    <a:lumOff val="15000"/>
                  </a:schemeClr>
                </a:solidFill>
                <a:latin typeface="Arial" panose="020B0604020202020204" pitchFamily="34" charset="0"/>
                <a:cs typeface="Arial" panose="020B0604020202020204" pitchFamily="34" charset="0"/>
              </a:rPr>
              <a:t>In 2018 maize producer prices declined to $74/MT from an average of $150 (a 5-year low) due to excessive carryover stocks from the 2017 season following the export ban </a:t>
            </a:r>
          </a:p>
        </p:txBody>
      </p:sp>
      <p:sp>
        <p:nvSpPr>
          <p:cNvPr id="26627" name="TextBox 2"/>
          <p:cNvSpPr txBox="1">
            <a:spLocks noChangeArrowheads="1"/>
          </p:cNvSpPr>
          <p:nvPr/>
        </p:nvSpPr>
        <p:spPr bwMode="auto">
          <a:xfrm>
            <a:off x="609600" y="925513"/>
            <a:ext cx="4114800" cy="369887"/>
          </a:xfrm>
          <a:prstGeom prst="rect">
            <a:avLst/>
          </a:prstGeom>
          <a:solidFill>
            <a:srgbClr val="67103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smtClean="0">
                <a:solidFill>
                  <a:srgbClr val="FFFFFF"/>
                </a:solidFill>
              </a:rPr>
              <a:t>Background</a:t>
            </a:r>
            <a:endParaRPr lang="en-US" altLang="en-US" dirty="0">
              <a:solidFill>
                <a:srgbClr val="FFFFFF"/>
              </a:solidFill>
            </a:endParaRPr>
          </a:p>
        </p:txBody>
      </p:sp>
      <p:sp>
        <p:nvSpPr>
          <p:cNvPr id="26628" name="TextBox 5"/>
          <p:cNvSpPr txBox="1">
            <a:spLocks noChangeArrowheads="1"/>
          </p:cNvSpPr>
          <p:nvPr/>
        </p:nvSpPr>
        <p:spPr bwMode="auto">
          <a:xfrm>
            <a:off x="5027613" y="925513"/>
            <a:ext cx="4192587" cy="369887"/>
          </a:xfrm>
          <a:prstGeom prst="rect">
            <a:avLst/>
          </a:prstGeom>
          <a:solidFill>
            <a:srgbClr val="34587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r>
              <a:rPr lang="en-US" altLang="en-US" dirty="0" smtClean="0">
                <a:solidFill>
                  <a:srgbClr val="FFFFFF"/>
                </a:solidFill>
              </a:rPr>
              <a:t>The Resolution  </a:t>
            </a:r>
            <a:endParaRPr lang="en-US" altLang="en-US" dirty="0">
              <a:solidFill>
                <a:srgbClr val="FFFFFF"/>
              </a:solidFill>
            </a:endParaRPr>
          </a:p>
        </p:txBody>
      </p:sp>
      <p:sp>
        <p:nvSpPr>
          <p:cNvPr id="26629" name="Rectangle 4"/>
          <p:cNvSpPr>
            <a:spLocks noChangeArrowheads="1"/>
          </p:cNvSpPr>
          <p:nvPr/>
        </p:nvSpPr>
        <p:spPr bwMode="auto">
          <a:xfrm>
            <a:off x="4951413" y="1296988"/>
            <a:ext cx="4268787" cy="280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eaLnBrk="0" fontAlgn="base" hangingPunct="0">
              <a:spcBef>
                <a:spcPct val="0"/>
              </a:spcBef>
              <a:spcAft>
                <a:spcPct val="0"/>
              </a:spcAft>
              <a:defRPr>
                <a:solidFill>
                  <a:schemeClr val="tx1"/>
                </a:solidFill>
                <a:latin typeface="Calibri" panose="020F0502020204030204" pitchFamily="34" charset="0"/>
              </a:defRPr>
            </a:lvl6pPr>
            <a:lvl7pPr marL="2741613" indent="1588" eaLnBrk="0" fontAlgn="base" hangingPunct="0">
              <a:spcBef>
                <a:spcPct val="0"/>
              </a:spcBef>
              <a:spcAft>
                <a:spcPct val="0"/>
              </a:spcAft>
              <a:defRPr>
                <a:solidFill>
                  <a:schemeClr val="tx1"/>
                </a:solidFill>
                <a:latin typeface="Calibri" panose="020F0502020204030204" pitchFamily="34" charset="0"/>
              </a:defRPr>
            </a:lvl7pPr>
            <a:lvl8pPr marL="3198813" indent="1588" eaLnBrk="0" fontAlgn="base" hangingPunct="0">
              <a:spcBef>
                <a:spcPct val="0"/>
              </a:spcBef>
              <a:spcAft>
                <a:spcPct val="0"/>
              </a:spcAft>
              <a:defRPr>
                <a:solidFill>
                  <a:schemeClr val="tx1"/>
                </a:solidFill>
                <a:latin typeface="Calibri" panose="020F0502020204030204" pitchFamily="34" charset="0"/>
              </a:defRPr>
            </a:lvl8pPr>
            <a:lvl9pPr marL="3656013" indent="1588" eaLnBrk="0" fontAlgn="base" hangingPunct="0">
              <a:spcBef>
                <a:spcPct val="0"/>
              </a:spcBef>
              <a:spcAft>
                <a:spcPct val="0"/>
              </a:spcAft>
              <a:defRPr>
                <a:solidFill>
                  <a:schemeClr val="tx1"/>
                </a:solidFill>
                <a:latin typeface="Calibri" panose="020F0502020204030204" pitchFamily="34" charset="0"/>
              </a:defRPr>
            </a:lvl9pPr>
          </a:lstStyle>
          <a:p>
            <a:pPr marL="285750" indent="-285750" defTabSz="914400">
              <a:lnSpc>
                <a:spcPct val="90000"/>
              </a:lnSpc>
              <a:buFont typeface="Arial" panose="020B0604020202020204" pitchFamily="34" charset="0"/>
              <a:buChar char="•"/>
            </a:pPr>
            <a:r>
              <a:rPr lang="en-US" altLang="en-US" sz="1400" dirty="0" smtClean="0">
                <a:solidFill>
                  <a:srgbClr val="112053"/>
                </a:solidFill>
                <a:latin typeface="Arial" panose="020B0604020202020204" pitchFamily="34" charset="0"/>
              </a:rPr>
              <a:t>AGRA engaged with the government leading to the Minister of Agriculture forming a taskforce to provide recommendations on export ban</a:t>
            </a:r>
          </a:p>
          <a:p>
            <a:pPr marL="285750" indent="-285750" defTabSz="914400">
              <a:lnSpc>
                <a:spcPct val="90000"/>
              </a:lnSpc>
              <a:buFont typeface="Arial" panose="020B0604020202020204" pitchFamily="34" charset="0"/>
              <a:buChar char="•"/>
            </a:pPr>
            <a:r>
              <a:rPr lang="en-US" altLang="en-US" sz="1400" dirty="0" smtClean="0">
                <a:solidFill>
                  <a:srgbClr val="112053"/>
                </a:solidFill>
                <a:latin typeface="Arial" panose="020B0604020202020204" pitchFamily="34" charset="0"/>
              </a:rPr>
              <a:t>Taskforce which had two AGRA staff and selected government staff prepared a concept note that was submitted to AGRA</a:t>
            </a:r>
          </a:p>
          <a:p>
            <a:pPr marL="285750" indent="-285750" defTabSz="914400">
              <a:lnSpc>
                <a:spcPct val="90000"/>
              </a:lnSpc>
              <a:buFont typeface="Arial" panose="020B0604020202020204" pitchFamily="34" charset="0"/>
              <a:buChar char="•"/>
            </a:pPr>
            <a:r>
              <a:rPr lang="en-US" altLang="en-US" sz="1400" dirty="0" smtClean="0">
                <a:solidFill>
                  <a:srgbClr val="112053"/>
                </a:solidFill>
                <a:latin typeface="Arial" panose="020B0604020202020204" pitchFamily="34" charset="0"/>
              </a:rPr>
              <a:t>AGRA accepted Minister’s formal request for a project to address administrative and system triggers of export bans</a:t>
            </a:r>
          </a:p>
          <a:p>
            <a:pPr marL="285750" indent="-285750" defTabSz="914400">
              <a:lnSpc>
                <a:spcPct val="90000"/>
              </a:lnSpc>
              <a:buFont typeface="Arial" panose="020B0604020202020204" pitchFamily="34" charset="0"/>
              <a:buChar char="•"/>
            </a:pPr>
            <a:r>
              <a:rPr lang="en-US" altLang="en-US" sz="1400" dirty="0" smtClean="0">
                <a:solidFill>
                  <a:srgbClr val="112053"/>
                </a:solidFill>
                <a:latin typeface="Arial" panose="020B0604020202020204" pitchFamily="34" charset="0"/>
              </a:rPr>
              <a:t>Project proposal developed and approved for funding</a:t>
            </a:r>
          </a:p>
          <a:p>
            <a:pPr marL="285750" indent="-285750" defTabSz="914400">
              <a:lnSpc>
                <a:spcPct val="90000"/>
              </a:lnSpc>
              <a:buFont typeface="Arial" panose="020B0604020202020204" pitchFamily="34" charset="0"/>
              <a:buChar char="•"/>
            </a:pPr>
            <a:r>
              <a:rPr lang="en-US" altLang="en-US" sz="1400" dirty="0" smtClean="0">
                <a:solidFill>
                  <a:srgbClr val="112053"/>
                </a:solidFill>
                <a:latin typeface="Arial" panose="020B0604020202020204" pitchFamily="34" charset="0"/>
              </a:rPr>
              <a:t>The project is being implemented by a taskforce that has government and ESRF</a:t>
            </a:r>
          </a:p>
          <a:p>
            <a:pPr marL="285750" indent="-285750" defTabSz="914400">
              <a:lnSpc>
                <a:spcPct val="90000"/>
              </a:lnSpc>
              <a:buFont typeface="Arial" panose="020B0604020202020204" pitchFamily="34" charset="0"/>
              <a:buChar char="•"/>
            </a:pPr>
            <a:endParaRPr lang="en-US" altLang="en-US" sz="1400" dirty="0">
              <a:solidFill>
                <a:srgbClr val="112053"/>
              </a:solidFill>
              <a:latin typeface="Arial" panose="020B0604020202020204" pitchFamily="34" charset="0"/>
            </a:endParaRPr>
          </a:p>
        </p:txBody>
      </p:sp>
      <p:sp>
        <p:nvSpPr>
          <p:cNvPr id="26631" name="Rectangle 6"/>
          <p:cNvSpPr>
            <a:spLocks noChangeArrowheads="1"/>
          </p:cNvSpPr>
          <p:nvPr/>
        </p:nvSpPr>
        <p:spPr bwMode="auto">
          <a:xfrm>
            <a:off x="533400" y="224135"/>
            <a:ext cx="89154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2400" b="1" dirty="0" smtClean="0">
                <a:solidFill>
                  <a:srgbClr val="112053"/>
                </a:solidFill>
                <a:latin typeface="Arial" panose="020B0604020202020204" pitchFamily="34" charset="0"/>
              </a:rPr>
              <a:t>Tanzania Case Study</a:t>
            </a:r>
            <a:endParaRPr lang="en-US" altLang="en-US" sz="2400" b="1" dirty="0"/>
          </a:p>
        </p:txBody>
      </p:sp>
      <p:grpSp>
        <p:nvGrpSpPr>
          <p:cNvPr id="26632" name="Group 47"/>
          <p:cNvGrpSpPr>
            <a:grpSpLocks/>
          </p:cNvGrpSpPr>
          <p:nvPr/>
        </p:nvGrpSpPr>
        <p:grpSpPr bwMode="auto">
          <a:xfrm>
            <a:off x="2361406" y="3973523"/>
            <a:ext cx="4724400" cy="755650"/>
            <a:chOff x="4600" y="3285"/>
            <a:chExt cx="2320" cy="223"/>
          </a:xfrm>
        </p:grpSpPr>
        <p:sp>
          <p:nvSpPr>
            <p:cNvPr id="26634" name="AutoShape 228"/>
            <p:cNvSpPr>
              <a:spLocks noChangeArrowheads="1"/>
            </p:cNvSpPr>
            <p:nvPr>
              <p:custDataLst>
                <p:tags r:id="rId1"/>
              </p:custDataLst>
            </p:nvPr>
          </p:nvSpPr>
          <p:spPr bwMode="auto">
            <a:xfrm rot="10800000">
              <a:off x="4600" y="3285"/>
              <a:ext cx="2320" cy="223"/>
            </a:xfrm>
            <a:prstGeom prst="triangle">
              <a:avLst>
                <a:gd name="adj" fmla="val 50000"/>
              </a:avLst>
            </a:prstGeom>
            <a:solidFill>
              <a:srgbClr val="34587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endParaRPr lang="en-US" altLang="en-US">
                <a:solidFill>
                  <a:srgbClr val="FFFFFF"/>
                </a:solidFill>
              </a:endParaRPr>
            </a:p>
          </p:txBody>
        </p:sp>
        <p:sp>
          <p:nvSpPr>
            <p:cNvPr id="26635" name="Rectangle 88"/>
            <p:cNvSpPr>
              <a:spLocks noChangeArrowheads="1"/>
            </p:cNvSpPr>
            <p:nvPr>
              <p:custDataLst>
                <p:tags r:id="rId2"/>
              </p:custDataLst>
            </p:nvPr>
          </p:nvSpPr>
          <p:spPr bwMode="auto">
            <a:xfrm>
              <a:off x="5202" y="3297"/>
              <a:ext cx="1272" cy="41"/>
            </a:xfrm>
            <a:prstGeom prst="rect">
              <a:avLst/>
            </a:prstGeom>
            <a:solidFill>
              <a:srgbClr val="34587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r>
                <a:rPr lang="en-US" altLang="en-US" dirty="0" smtClean="0">
                  <a:solidFill>
                    <a:srgbClr val="FFFFFF"/>
                  </a:solidFill>
                </a:rPr>
                <a:t>Expected Outcomes</a:t>
              </a:r>
              <a:endParaRPr lang="en-US" altLang="en-US" dirty="0">
                <a:solidFill>
                  <a:srgbClr val="FFFFFF"/>
                </a:solidFill>
              </a:endParaRPr>
            </a:p>
          </p:txBody>
        </p:sp>
      </p:grpSp>
      <p:sp>
        <p:nvSpPr>
          <p:cNvPr id="26633" name="TextBox 2"/>
          <p:cNvSpPr txBox="1">
            <a:spLocks noChangeArrowheads="1"/>
          </p:cNvSpPr>
          <p:nvPr/>
        </p:nvSpPr>
        <p:spPr bwMode="auto">
          <a:xfrm>
            <a:off x="533400" y="4769837"/>
            <a:ext cx="8637587" cy="1268413"/>
          </a:xfrm>
          <a:prstGeom prst="rect">
            <a:avLst/>
          </a:prstGeom>
          <a:solidFill>
            <a:srgbClr val="67103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lvl="0" algn="just" eaLnBrk="1" hangingPunct="1">
              <a:buFont typeface="Arial" panose="020B0604020202020204" pitchFamily="34" charset="0"/>
              <a:buChar char="•"/>
            </a:pPr>
            <a:r>
              <a:rPr lang="en-US" sz="1600" dirty="0" smtClean="0">
                <a:solidFill>
                  <a:srgbClr val="FFFFFF"/>
                </a:solidFill>
              </a:rPr>
              <a:t>A </a:t>
            </a:r>
            <a:r>
              <a:rPr lang="en-US" sz="1600" dirty="0">
                <a:solidFill>
                  <a:srgbClr val="FFFFFF"/>
                </a:solidFill>
              </a:rPr>
              <a:t>system for monitoring and regulating food exports</a:t>
            </a:r>
          </a:p>
          <a:p>
            <a:pPr lvl="0" algn="just" eaLnBrk="1" hangingPunct="1">
              <a:buFont typeface="Arial" panose="020B0604020202020204" pitchFamily="34" charset="0"/>
              <a:buChar char="•"/>
            </a:pPr>
            <a:r>
              <a:rPr lang="en-US" sz="1600" dirty="0">
                <a:solidFill>
                  <a:srgbClr val="FFFFFF"/>
                </a:solidFill>
              </a:rPr>
              <a:t>A revised methodology for food crop production forecasting and assessment</a:t>
            </a:r>
          </a:p>
          <a:p>
            <a:pPr lvl="0" algn="just" eaLnBrk="1" hangingPunct="1">
              <a:buFont typeface="Arial" panose="020B0604020202020204" pitchFamily="34" charset="0"/>
              <a:buChar char="•"/>
            </a:pPr>
            <a:r>
              <a:rPr lang="en-US" sz="1600" dirty="0">
                <a:solidFill>
                  <a:srgbClr val="FFFFFF"/>
                </a:solidFill>
              </a:rPr>
              <a:t>Proposed operational linkage mechanism between TMX and the key players</a:t>
            </a:r>
          </a:p>
          <a:p>
            <a:pPr lvl="0" algn="just" eaLnBrk="1" hangingPunct="1">
              <a:buFont typeface="Arial" panose="020B0604020202020204" pitchFamily="34" charset="0"/>
              <a:buChar char="•"/>
            </a:pPr>
            <a:r>
              <a:rPr lang="en-US" sz="1600" dirty="0">
                <a:solidFill>
                  <a:srgbClr val="FFFFFF"/>
                </a:solidFill>
              </a:rPr>
              <a:t>Recommendations and a guide for development of the national food security </a:t>
            </a:r>
            <a:r>
              <a:rPr lang="en-US" sz="1600" dirty="0" smtClean="0">
                <a:solidFill>
                  <a:srgbClr val="FFFFFF"/>
                </a:solidFill>
              </a:rPr>
              <a:t>strategy</a:t>
            </a:r>
            <a:endParaRPr lang="en-US" altLang="en-US" sz="1600" dirty="0">
              <a:solidFill>
                <a:srgbClr val="FFFFFF"/>
              </a:solidFill>
            </a:endParaRPr>
          </a:p>
        </p:txBody>
      </p:sp>
    </p:spTree>
    <p:extLst>
      <p:ext uri="{BB962C8B-B14F-4D97-AF65-F5344CB8AC3E}">
        <p14:creationId xmlns:p14="http://schemas.microsoft.com/office/powerpoint/2010/main" val="146372869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34" name="think-cell Slide" r:id="rId4" imgW="360" imgH="360" progId="TCLayout.ActiveDocument.1">
                  <p:embed/>
                </p:oleObj>
              </mc:Choice>
              <mc:Fallback>
                <p:oleObj name="think-cell Slide" r:id="rId4" imgW="360" imgH="36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450741" y="134054"/>
            <a:ext cx="6788259" cy="582389"/>
          </a:xfrm>
          <a:prstGeom prst="rect">
            <a:avLst/>
          </a:prstGeom>
        </p:spPr>
        <p:txBody>
          <a:bodyPr/>
          <a:lstStyle/>
          <a:p>
            <a:r>
              <a:rPr lang="en-US" altLang="en-US" sz="2400" dirty="0" smtClean="0"/>
              <a:t>Country Case Study</a:t>
            </a:r>
            <a:endParaRPr lang="en-US" dirty="0"/>
          </a:p>
        </p:txBody>
      </p:sp>
      <p:sp>
        <p:nvSpPr>
          <p:cNvPr id="6" name="Rectangle 3"/>
          <p:cNvSpPr txBox="1">
            <a:spLocks noChangeArrowheads="1"/>
          </p:cNvSpPr>
          <p:nvPr/>
        </p:nvSpPr>
        <p:spPr>
          <a:xfrm>
            <a:off x="413802" y="990600"/>
            <a:ext cx="5605998" cy="2133600"/>
          </a:xfrm>
          <a:prstGeom prst="rect">
            <a:avLst/>
          </a:prstGeom>
        </p:spPr>
        <p:txBody>
          <a:bodyPr/>
          <a:lstStyle>
            <a:defPPr>
              <a:defRPr lang="en-US"/>
            </a:defPPr>
            <a:lvl1pPr marL="228599" indent="-228599" defTabSz="914395">
              <a:lnSpc>
                <a:spcPct val="90000"/>
              </a:lnSpc>
              <a:spcBef>
                <a:spcPts val="1000"/>
              </a:spcBef>
              <a:buFont typeface="Arial" panose="020B0604020202020204" pitchFamily="34" charset="0"/>
              <a:buChar char="•"/>
              <a:defRPr sz="1400">
                <a:latin typeface="Arial" panose="020B0604020202020204" pitchFamily="34" charset="0"/>
                <a:cs typeface="Arial" panose="020B0604020202020204" pitchFamily="34" charset="0"/>
              </a:defRPr>
            </a:lvl1pPr>
            <a:lvl2pPr marL="685796" indent="-228599" defTabSz="914395">
              <a:lnSpc>
                <a:spcPct val="90000"/>
              </a:lnSpc>
              <a:spcBef>
                <a:spcPts val="500"/>
              </a:spcBef>
              <a:buFont typeface="Arial" panose="020B0604020202020204" pitchFamily="34" charset="0"/>
              <a:buChar char="•"/>
              <a:defRPr sz="2400"/>
            </a:lvl2pPr>
            <a:lvl3pPr marL="1142993" indent="-228599" defTabSz="914395">
              <a:lnSpc>
                <a:spcPct val="90000"/>
              </a:lnSpc>
              <a:spcBef>
                <a:spcPts val="500"/>
              </a:spcBef>
              <a:buFont typeface="Arial" panose="020B0604020202020204" pitchFamily="34" charset="0"/>
              <a:buChar char="•"/>
              <a:defRPr sz="2000"/>
            </a:lvl3pPr>
            <a:lvl4pPr marL="1600191" indent="-228599" defTabSz="914395">
              <a:lnSpc>
                <a:spcPct val="90000"/>
              </a:lnSpc>
              <a:spcBef>
                <a:spcPts val="500"/>
              </a:spcBef>
              <a:buFont typeface="Arial" panose="020B0604020202020204" pitchFamily="34" charset="0"/>
              <a:buChar char="•"/>
            </a:lvl4pPr>
            <a:lvl5pPr marL="2057388" indent="-228599" defTabSz="914395">
              <a:lnSpc>
                <a:spcPct val="90000"/>
              </a:lnSpc>
              <a:spcBef>
                <a:spcPts val="500"/>
              </a:spcBef>
              <a:buFont typeface="Arial" panose="020B0604020202020204" pitchFamily="34" charset="0"/>
              <a:buChar char="•"/>
            </a:lvl5pPr>
            <a:lvl6pPr marL="2514585" indent="-228599" defTabSz="914395">
              <a:lnSpc>
                <a:spcPct val="90000"/>
              </a:lnSpc>
              <a:spcBef>
                <a:spcPts val="500"/>
              </a:spcBef>
              <a:buFont typeface="Arial" panose="020B0604020202020204" pitchFamily="34" charset="0"/>
              <a:buChar char="•"/>
            </a:lvl6pPr>
            <a:lvl7pPr marL="2971783" indent="-228599" defTabSz="914395">
              <a:lnSpc>
                <a:spcPct val="90000"/>
              </a:lnSpc>
              <a:spcBef>
                <a:spcPts val="500"/>
              </a:spcBef>
              <a:buFont typeface="Arial" panose="020B0604020202020204" pitchFamily="34" charset="0"/>
              <a:buChar char="•"/>
            </a:lvl7pPr>
            <a:lvl8pPr marL="3428980" indent="-228599" defTabSz="914395">
              <a:lnSpc>
                <a:spcPct val="90000"/>
              </a:lnSpc>
              <a:spcBef>
                <a:spcPts val="500"/>
              </a:spcBef>
              <a:buFont typeface="Arial" panose="020B0604020202020204" pitchFamily="34" charset="0"/>
              <a:buChar char="•"/>
            </a:lvl8pPr>
            <a:lvl9pPr marL="3886177" indent="-228599" defTabSz="914395">
              <a:lnSpc>
                <a:spcPct val="90000"/>
              </a:lnSpc>
              <a:spcBef>
                <a:spcPts val="500"/>
              </a:spcBef>
              <a:buFont typeface="Arial" panose="020B0604020202020204" pitchFamily="34" charset="0"/>
              <a:buChar char="•"/>
            </a:lvl9pPr>
          </a:lstStyle>
          <a:p>
            <a:pPr marL="0" indent="0">
              <a:buNone/>
            </a:pPr>
            <a:r>
              <a:rPr lang="en-US" altLang="en-US" b="1" dirty="0" smtClean="0">
                <a:solidFill>
                  <a:srgbClr val="00B050"/>
                </a:solidFill>
              </a:rPr>
              <a:t>Challenges </a:t>
            </a:r>
            <a:r>
              <a:rPr lang="en-US" altLang="en-US" b="1" dirty="0">
                <a:solidFill>
                  <a:srgbClr val="00B050"/>
                </a:solidFill>
              </a:rPr>
              <a:t>Encountered</a:t>
            </a:r>
          </a:p>
          <a:p>
            <a:r>
              <a:rPr lang="en-US" altLang="en-US" dirty="0" smtClean="0"/>
              <a:t>Frequent changes in political office holders e.g., Ministers, P.S. slows down implementation</a:t>
            </a:r>
          </a:p>
          <a:p>
            <a:r>
              <a:rPr lang="en-US" altLang="en-US" dirty="0" smtClean="0"/>
              <a:t>Policy and regulatory reforms are necessary slow and could take many years to complete</a:t>
            </a:r>
          </a:p>
          <a:p>
            <a:r>
              <a:rPr lang="en-US" altLang="en-US" dirty="0" smtClean="0"/>
              <a:t>Implementation of the project involve coalitions of partners in government and the civil society. Managing and satisfying competing priorities of different partners is a challenge</a:t>
            </a:r>
          </a:p>
          <a:p>
            <a:endParaRPr lang="en-US" altLang="en-US" dirty="0" smtClean="0"/>
          </a:p>
          <a:p>
            <a:endParaRPr lang="en-US" altLang="en-US" dirty="0" smtClean="0"/>
          </a:p>
        </p:txBody>
      </p:sp>
      <p:sp>
        <p:nvSpPr>
          <p:cNvPr id="9" name="Rectangle 3"/>
          <p:cNvSpPr txBox="1">
            <a:spLocks noChangeArrowheads="1"/>
          </p:cNvSpPr>
          <p:nvPr/>
        </p:nvSpPr>
        <p:spPr>
          <a:xfrm>
            <a:off x="4724401" y="3469902"/>
            <a:ext cx="4062548" cy="2367003"/>
          </a:xfrm>
          <a:prstGeom prst="rect">
            <a:avLst/>
          </a:prstGeom>
        </p:spPr>
        <p:txBody>
          <a:bodyPr/>
          <a:lstStyle>
            <a:defPPr>
              <a:defRPr lang="en-US"/>
            </a:defPPr>
            <a:lvl1pPr marL="228599" indent="-228599" defTabSz="914395">
              <a:lnSpc>
                <a:spcPct val="90000"/>
              </a:lnSpc>
              <a:spcBef>
                <a:spcPts val="1000"/>
              </a:spcBef>
              <a:buFont typeface="Arial" panose="020B0604020202020204" pitchFamily="34" charset="0"/>
              <a:buChar char="•"/>
              <a:defRPr sz="1400">
                <a:latin typeface="Arial" panose="020B0604020202020204" pitchFamily="34" charset="0"/>
                <a:cs typeface="Arial" panose="020B0604020202020204" pitchFamily="34" charset="0"/>
              </a:defRPr>
            </a:lvl1pPr>
            <a:lvl2pPr marL="685796" indent="-228599" defTabSz="914395">
              <a:lnSpc>
                <a:spcPct val="90000"/>
              </a:lnSpc>
              <a:spcBef>
                <a:spcPts val="500"/>
              </a:spcBef>
              <a:buFont typeface="Arial" panose="020B0604020202020204" pitchFamily="34" charset="0"/>
              <a:buChar char="•"/>
              <a:defRPr sz="2400"/>
            </a:lvl2pPr>
            <a:lvl3pPr marL="1142993" indent="-228599" defTabSz="914395">
              <a:lnSpc>
                <a:spcPct val="90000"/>
              </a:lnSpc>
              <a:spcBef>
                <a:spcPts val="500"/>
              </a:spcBef>
              <a:buFont typeface="Arial" panose="020B0604020202020204" pitchFamily="34" charset="0"/>
              <a:buChar char="•"/>
              <a:defRPr sz="2000"/>
            </a:lvl3pPr>
            <a:lvl4pPr marL="1600191" indent="-228599" defTabSz="914395">
              <a:lnSpc>
                <a:spcPct val="90000"/>
              </a:lnSpc>
              <a:spcBef>
                <a:spcPts val="500"/>
              </a:spcBef>
              <a:buFont typeface="Arial" panose="020B0604020202020204" pitchFamily="34" charset="0"/>
              <a:buChar char="•"/>
            </a:lvl4pPr>
            <a:lvl5pPr marL="2057388" indent="-228599" defTabSz="914395">
              <a:lnSpc>
                <a:spcPct val="90000"/>
              </a:lnSpc>
              <a:spcBef>
                <a:spcPts val="500"/>
              </a:spcBef>
              <a:buFont typeface="Arial" panose="020B0604020202020204" pitchFamily="34" charset="0"/>
              <a:buChar char="•"/>
            </a:lvl5pPr>
            <a:lvl6pPr marL="2514585" indent="-228599" defTabSz="914395">
              <a:lnSpc>
                <a:spcPct val="90000"/>
              </a:lnSpc>
              <a:spcBef>
                <a:spcPts val="500"/>
              </a:spcBef>
              <a:buFont typeface="Arial" panose="020B0604020202020204" pitchFamily="34" charset="0"/>
              <a:buChar char="•"/>
            </a:lvl6pPr>
            <a:lvl7pPr marL="2971783" indent="-228599" defTabSz="914395">
              <a:lnSpc>
                <a:spcPct val="90000"/>
              </a:lnSpc>
              <a:spcBef>
                <a:spcPts val="500"/>
              </a:spcBef>
              <a:buFont typeface="Arial" panose="020B0604020202020204" pitchFamily="34" charset="0"/>
              <a:buChar char="•"/>
            </a:lvl7pPr>
            <a:lvl8pPr marL="3428980" indent="-228599" defTabSz="914395">
              <a:lnSpc>
                <a:spcPct val="90000"/>
              </a:lnSpc>
              <a:spcBef>
                <a:spcPts val="500"/>
              </a:spcBef>
              <a:buFont typeface="Arial" panose="020B0604020202020204" pitchFamily="34" charset="0"/>
              <a:buChar char="•"/>
            </a:lvl8pPr>
            <a:lvl9pPr marL="3886177" indent="-228599" defTabSz="914395">
              <a:lnSpc>
                <a:spcPct val="90000"/>
              </a:lnSpc>
              <a:spcBef>
                <a:spcPts val="500"/>
              </a:spcBef>
              <a:buFont typeface="Arial" panose="020B0604020202020204" pitchFamily="34" charset="0"/>
              <a:buChar char="•"/>
            </a:lvl9pPr>
          </a:lstStyle>
          <a:p>
            <a:pPr marL="0" indent="0">
              <a:buNone/>
            </a:pPr>
            <a:r>
              <a:rPr lang="en-US" altLang="en-US" b="1" dirty="0">
                <a:solidFill>
                  <a:srgbClr val="00B050"/>
                </a:solidFill>
              </a:rPr>
              <a:t>Outcomes</a:t>
            </a:r>
          </a:p>
          <a:p>
            <a:r>
              <a:rPr lang="en-US" altLang="en-US" dirty="0" smtClean="0"/>
              <a:t>Minister formally lifted export ban vide budget speech. However, that decision needs to be anchored in law to make it permanent </a:t>
            </a:r>
          </a:p>
          <a:p>
            <a:r>
              <a:rPr lang="en-US" altLang="en-US" dirty="0" smtClean="0"/>
              <a:t>More work is needed to remove export trade barriers, especially the NTBs</a:t>
            </a:r>
          </a:p>
          <a:p>
            <a:r>
              <a:rPr lang="en-US" altLang="en-US" dirty="0" smtClean="0"/>
              <a:t>Government keen to remove export bans</a:t>
            </a:r>
          </a:p>
          <a:p>
            <a:r>
              <a:rPr lang="en-US" altLang="en-US" dirty="0" smtClean="0"/>
              <a:t>Dialogue with policy decision makers key to solving policy and regulatory bottlenecks </a:t>
            </a:r>
          </a:p>
        </p:txBody>
      </p:sp>
      <p:pic>
        <p:nvPicPr>
          <p:cNvPr id="11" name="Picture 10"/>
          <p:cNvPicPr/>
          <p:nvPr/>
        </p:nvPicPr>
        <p:blipFill>
          <a:blip r:embed="rId6"/>
          <a:srcRect/>
          <a:stretch>
            <a:fillRect/>
          </a:stretch>
        </p:blipFill>
        <p:spPr bwMode="auto">
          <a:xfrm>
            <a:off x="762000" y="3398357"/>
            <a:ext cx="3730049" cy="2374622"/>
          </a:xfrm>
          <a:prstGeom prst="rect">
            <a:avLst/>
          </a:prstGeom>
          <a:ln w="88900" cap="sq" cmpd="thickThin">
            <a:solidFill>
              <a:srgbClr val="000000"/>
            </a:solidFill>
            <a:prstDash val="solid"/>
            <a:miter lim="800000"/>
          </a:ln>
          <a:effectLst>
            <a:innerShdw blurRad="76200">
              <a:srgbClr val="000000"/>
            </a:innerShdw>
          </a:effectLst>
        </p:spPr>
      </p:pic>
      <p:pic>
        <p:nvPicPr>
          <p:cNvPr id="15" name="Picture 14"/>
          <p:cNvPicPr/>
          <p:nvPr/>
        </p:nvPicPr>
        <p:blipFill rotWithShape="1">
          <a:blip r:embed="rId7"/>
          <a:srcRect t="4652" b="31382"/>
          <a:stretch/>
        </p:blipFill>
        <p:spPr bwMode="auto">
          <a:xfrm>
            <a:off x="6096000" y="990600"/>
            <a:ext cx="2690949" cy="248908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266776223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541"/>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42" name="Google Shape;542;p62"/>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543" name="Google Shape;543;p62"/>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Clr>
                <a:srgbClr val="385623"/>
              </a:buClr>
              <a:buSzPts val="4400"/>
              <a:buFont typeface="Arial"/>
              <a:buNone/>
            </a:pPr>
            <a:r>
              <a:rPr lang="en-US" dirty="0" smtClean="0"/>
              <a:t>AGRA Institutional Results Framework and theory of change</a:t>
            </a:r>
            <a:endParaRPr dirty="0"/>
          </a:p>
        </p:txBody>
      </p:sp>
    </p:spTree>
    <p:extLst>
      <p:ext uri="{BB962C8B-B14F-4D97-AF65-F5344CB8AC3E}">
        <p14:creationId xmlns:p14="http://schemas.microsoft.com/office/powerpoint/2010/main" val="421850592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04801" y="103413"/>
            <a:ext cx="7356332" cy="505120"/>
          </a:xfrm>
        </p:spPr>
        <p:txBody>
          <a:bodyPr/>
          <a:lstStyle/>
          <a:p>
            <a:r>
              <a:rPr lang="en-US" dirty="0" smtClean="0"/>
              <a:t>AGRA Strategy Results Framework </a:t>
            </a:r>
            <a:endParaRPr lang="en-US" dirty="0"/>
          </a:p>
        </p:txBody>
      </p:sp>
      <p:graphicFrame>
        <p:nvGraphicFramePr>
          <p:cNvPr id="6" name="Table 5"/>
          <p:cNvGraphicFramePr>
            <a:graphicFrameLocks noGrp="1"/>
          </p:cNvGraphicFramePr>
          <p:nvPr>
            <p:extLst/>
          </p:nvPr>
        </p:nvGraphicFramePr>
        <p:xfrm>
          <a:off x="2668832" y="1069649"/>
          <a:ext cx="4366846" cy="190500"/>
        </p:xfrm>
        <a:graphic>
          <a:graphicData uri="http://schemas.openxmlformats.org/drawingml/2006/table">
            <a:tbl>
              <a:tblPr firstRow="1" firstCol="1" bandRow="1"/>
              <a:tblGrid>
                <a:gridCol w="2271451">
                  <a:extLst>
                    <a:ext uri="{9D8B030D-6E8A-4147-A177-3AD203B41FA5}">
                      <a16:colId xmlns:a16="http://schemas.microsoft.com/office/drawing/2014/main" xmlns="" val="20000"/>
                    </a:ext>
                  </a:extLst>
                </a:gridCol>
                <a:gridCol w="2095395">
                  <a:extLst>
                    <a:ext uri="{9D8B030D-6E8A-4147-A177-3AD203B41FA5}">
                      <a16:colId xmlns:a16="http://schemas.microsoft.com/office/drawing/2014/main" xmlns="" val="20001"/>
                    </a:ext>
                  </a:extLst>
                </a:gridCol>
              </a:tblGrid>
              <a:tr h="190500">
                <a:tc>
                  <a:txBody>
                    <a:bodyPr/>
                    <a:lstStyle>
                      <a:lvl1pPr marL="0" algn="l" defTabSz="932863" rtl="0" eaLnBrk="1" latinLnBrk="0" hangingPunct="1">
                        <a:defRPr sz="1800" kern="1200">
                          <a:solidFill>
                            <a:schemeClr val="tx1"/>
                          </a:solidFill>
                          <a:latin typeface="Calibri"/>
                        </a:defRPr>
                      </a:lvl1pPr>
                      <a:lvl2pPr marL="466431" algn="l" defTabSz="932863" rtl="0" eaLnBrk="1" latinLnBrk="0" hangingPunct="1">
                        <a:defRPr sz="1800" kern="1200">
                          <a:solidFill>
                            <a:schemeClr val="tx1"/>
                          </a:solidFill>
                          <a:latin typeface="Calibri"/>
                        </a:defRPr>
                      </a:lvl2pPr>
                      <a:lvl3pPr marL="932863" algn="l" defTabSz="932863" rtl="0" eaLnBrk="1" latinLnBrk="0" hangingPunct="1">
                        <a:defRPr sz="1800" kern="1200">
                          <a:solidFill>
                            <a:schemeClr val="tx1"/>
                          </a:solidFill>
                          <a:latin typeface="Calibri"/>
                        </a:defRPr>
                      </a:lvl3pPr>
                      <a:lvl4pPr marL="1399295" algn="l" defTabSz="932863" rtl="0" eaLnBrk="1" latinLnBrk="0" hangingPunct="1">
                        <a:defRPr sz="1800" kern="1200">
                          <a:solidFill>
                            <a:schemeClr val="tx1"/>
                          </a:solidFill>
                          <a:latin typeface="Calibri"/>
                        </a:defRPr>
                      </a:lvl4pPr>
                      <a:lvl5pPr marL="1865728" algn="l" defTabSz="932863" rtl="0" eaLnBrk="1" latinLnBrk="0" hangingPunct="1">
                        <a:defRPr sz="1800" kern="1200">
                          <a:solidFill>
                            <a:schemeClr val="tx1"/>
                          </a:solidFill>
                          <a:latin typeface="Calibri"/>
                        </a:defRPr>
                      </a:lvl5pPr>
                      <a:lvl6pPr marL="2332159" algn="l" defTabSz="932863" rtl="0" eaLnBrk="1" latinLnBrk="0" hangingPunct="1">
                        <a:defRPr sz="1800" kern="1200">
                          <a:solidFill>
                            <a:schemeClr val="tx1"/>
                          </a:solidFill>
                          <a:latin typeface="Calibri"/>
                        </a:defRPr>
                      </a:lvl6pPr>
                      <a:lvl7pPr marL="2798590" algn="l" defTabSz="932863" rtl="0" eaLnBrk="1" latinLnBrk="0" hangingPunct="1">
                        <a:defRPr sz="1800" kern="1200">
                          <a:solidFill>
                            <a:schemeClr val="tx1"/>
                          </a:solidFill>
                          <a:latin typeface="Calibri"/>
                        </a:defRPr>
                      </a:lvl7pPr>
                      <a:lvl8pPr marL="3265022" algn="l" defTabSz="932863" rtl="0" eaLnBrk="1" latinLnBrk="0" hangingPunct="1">
                        <a:defRPr sz="1800" kern="1200">
                          <a:solidFill>
                            <a:schemeClr val="tx1"/>
                          </a:solidFill>
                          <a:latin typeface="Calibri"/>
                        </a:defRPr>
                      </a:lvl8pPr>
                      <a:lvl9pPr marL="3731453" algn="l" defTabSz="932863" rtl="0" eaLnBrk="1" latinLnBrk="0" hangingPunct="1">
                        <a:defRPr sz="1800" kern="1200">
                          <a:solidFill>
                            <a:schemeClr val="tx1"/>
                          </a:solidFill>
                          <a:latin typeface="Calibri"/>
                        </a:defRPr>
                      </a:lvl9pPr>
                    </a:lstStyle>
                    <a:p>
                      <a:pPr marL="0" marR="0">
                        <a:lnSpc>
                          <a:spcPct val="115000"/>
                        </a:lnSpc>
                        <a:spcBef>
                          <a:spcPts val="0"/>
                        </a:spcBef>
                        <a:spcAft>
                          <a:spcPts val="0"/>
                        </a:spcAft>
                      </a:pPr>
                      <a:r>
                        <a:rPr lang="en-US" sz="1000" b="1" dirty="0" smtClean="0">
                          <a:effectLst/>
                          <a:latin typeface="Calibri"/>
                          <a:ea typeface="Calibri"/>
                          <a:cs typeface="Times New Roman"/>
                        </a:rPr>
                        <a:t>CAADP Framework</a:t>
                      </a:r>
                      <a:endParaRPr lang="en-US" sz="1000" dirty="0">
                        <a:effectLst/>
                        <a:latin typeface="Calibri"/>
                        <a:ea typeface="Calibri"/>
                        <a:cs typeface="Times New Roman"/>
                      </a:endParaRPr>
                    </a:p>
                  </a:txBody>
                  <a:tcPr marL="63302" marR="63302" marT="0" marB="0">
                    <a:lnL w="19050" cap="flat" cmpd="sng" algn="ctr">
                      <a:solidFill>
                        <a:srgbClr val="A6A6A6"/>
                      </a:solidFill>
                      <a:prstDash val="dot"/>
                      <a:round/>
                      <a:headEnd type="none" w="med" len="med"/>
                      <a:tailEnd type="none" w="med" len="med"/>
                    </a:lnL>
                    <a:lnR>
                      <a:noFill/>
                    </a:lnR>
                    <a:lnT w="19050" cap="flat" cmpd="sng" algn="ctr">
                      <a:solidFill>
                        <a:srgbClr val="A6A6A6"/>
                      </a:solidFill>
                      <a:prstDash val="dot"/>
                      <a:round/>
                      <a:headEnd type="none" w="med" len="med"/>
                      <a:tailEnd type="none" w="med" len="med"/>
                    </a:lnT>
                    <a:lnB w="19050" cap="flat" cmpd="sng" algn="ctr">
                      <a:solidFill>
                        <a:srgbClr val="A6A6A6"/>
                      </a:solidFill>
                      <a:prstDash val="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32863" rtl="0" eaLnBrk="1" latinLnBrk="0" hangingPunct="1">
                        <a:defRPr sz="1800" kern="1200">
                          <a:solidFill>
                            <a:schemeClr val="tx1"/>
                          </a:solidFill>
                          <a:latin typeface="Calibri"/>
                        </a:defRPr>
                      </a:lvl1pPr>
                      <a:lvl2pPr marL="466431" algn="l" defTabSz="932863" rtl="0" eaLnBrk="1" latinLnBrk="0" hangingPunct="1">
                        <a:defRPr sz="1800" kern="1200">
                          <a:solidFill>
                            <a:schemeClr val="tx1"/>
                          </a:solidFill>
                          <a:latin typeface="Calibri"/>
                        </a:defRPr>
                      </a:lvl2pPr>
                      <a:lvl3pPr marL="932863" algn="l" defTabSz="932863" rtl="0" eaLnBrk="1" latinLnBrk="0" hangingPunct="1">
                        <a:defRPr sz="1800" kern="1200">
                          <a:solidFill>
                            <a:schemeClr val="tx1"/>
                          </a:solidFill>
                          <a:latin typeface="Calibri"/>
                        </a:defRPr>
                      </a:lvl3pPr>
                      <a:lvl4pPr marL="1399295" algn="l" defTabSz="932863" rtl="0" eaLnBrk="1" latinLnBrk="0" hangingPunct="1">
                        <a:defRPr sz="1800" kern="1200">
                          <a:solidFill>
                            <a:schemeClr val="tx1"/>
                          </a:solidFill>
                          <a:latin typeface="Calibri"/>
                        </a:defRPr>
                      </a:lvl4pPr>
                      <a:lvl5pPr marL="1865728" algn="l" defTabSz="932863" rtl="0" eaLnBrk="1" latinLnBrk="0" hangingPunct="1">
                        <a:defRPr sz="1800" kern="1200">
                          <a:solidFill>
                            <a:schemeClr val="tx1"/>
                          </a:solidFill>
                          <a:latin typeface="Calibri"/>
                        </a:defRPr>
                      </a:lvl5pPr>
                      <a:lvl6pPr marL="2332159" algn="l" defTabSz="932863" rtl="0" eaLnBrk="1" latinLnBrk="0" hangingPunct="1">
                        <a:defRPr sz="1800" kern="1200">
                          <a:solidFill>
                            <a:schemeClr val="tx1"/>
                          </a:solidFill>
                          <a:latin typeface="Calibri"/>
                        </a:defRPr>
                      </a:lvl6pPr>
                      <a:lvl7pPr marL="2798590" algn="l" defTabSz="932863" rtl="0" eaLnBrk="1" latinLnBrk="0" hangingPunct="1">
                        <a:defRPr sz="1800" kern="1200">
                          <a:solidFill>
                            <a:schemeClr val="tx1"/>
                          </a:solidFill>
                          <a:latin typeface="Calibri"/>
                        </a:defRPr>
                      </a:lvl7pPr>
                      <a:lvl8pPr marL="3265022" algn="l" defTabSz="932863" rtl="0" eaLnBrk="1" latinLnBrk="0" hangingPunct="1">
                        <a:defRPr sz="1800" kern="1200">
                          <a:solidFill>
                            <a:schemeClr val="tx1"/>
                          </a:solidFill>
                          <a:latin typeface="Calibri"/>
                        </a:defRPr>
                      </a:lvl8pPr>
                      <a:lvl9pPr marL="3731453" algn="l" defTabSz="932863" rtl="0" eaLnBrk="1" latinLnBrk="0" hangingPunct="1">
                        <a:defRPr sz="1800" kern="1200">
                          <a:solidFill>
                            <a:schemeClr val="tx1"/>
                          </a:solidFill>
                          <a:latin typeface="Calibri"/>
                        </a:defRPr>
                      </a:lvl9pPr>
                    </a:lstStyle>
                    <a:p>
                      <a:pPr marL="0" marR="0" algn="ctr">
                        <a:lnSpc>
                          <a:spcPct val="115000"/>
                        </a:lnSpc>
                        <a:spcBef>
                          <a:spcPts val="0"/>
                        </a:spcBef>
                        <a:spcAft>
                          <a:spcPts val="0"/>
                        </a:spcAft>
                      </a:pPr>
                      <a:r>
                        <a:rPr lang="en-US" sz="1000" b="1" dirty="0">
                          <a:effectLst/>
                          <a:latin typeface="Calibri"/>
                          <a:ea typeface="Calibri"/>
                          <a:cs typeface="Times New Roman"/>
                        </a:rPr>
                        <a:t>Sustainable Development </a:t>
                      </a:r>
                      <a:r>
                        <a:rPr lang="en-US" sz="1000" b="1" dirty="0" smtClean="0">
                          <a:effectLst/>
                          <a:latin typeface="Calibri"/>
                          <a:ea typeface="Calibri"/>
                          <a:cs typeface="Times New Roman"/>
                        </a:rPr>
                        <a:t>Goals</a:t>
                      </a:r>
                      <a:endParaRPr lang="en-US" sz="1000" dirty="0">
                        <a:effectLst/>
                        <a:latin typeface="Calibri"/>
                        <a:ea typeface="Calibri"/>
                        <a:cs typeface="Times New Roman"/>
                      </a:endParaRPr>
                    </a:p>
                  </a:txBody>
                  <a:tcPr marL="63302" marR="63302" marT="0" marB="0">
                    <a:lnL>
                      <a:noFill/>
                    </a:lnL>
                    <a:lnR w="19050" cap="flat" cmpd="sng" algn="ctr">
                      <a:solidFill>
                        <a:srgbClr val="A6A6A6"/>
                      </a:solidFill>
                      <a:prstDash val="dot"/>
                      <a:round/>
                      <a:headEnd type="none" w="med" len="med"/>
                      <a:tailEnd type="none" w="med" len="med"/>
                    </a:lnR>
                    <a:lnT w="19050" cap="flat" cmpd="sng" algn="ctr">
                      <a:solidFill>
                        <a:srgbClr val="A6A6A6"/>
                      </a:solidFill>
                      <a:prstDash val="dot"/>
                      <a:round/>
                      <a:headEnd type="none" w="med" len="med"/>
                      <a:tailEnd type="none" w="med" len="med"/>
                    </a:lnT>
                    <a:lnB w="19050" cap="flat" cmpd="sng" algn="ctr">
                      <a:solidFill>
                        <a:srgbClr val="A6A6A6"/>
                      </a:solidFill>
                      <a:prstDash val="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0000"/>
                  </a:ext>
                </a:extLst>
              </a:tr>
            </a:tbl>
          </a:graphicData>
        </a:graphic>
      </p:graphicFrame>
      <p:sp>
        <p:nvSpPr>
          <p:cNvPr id="7" name="Striped Right Arrow 6"/>
          <p:cNvSpPr/>
          <p:nvPr/>
        </p:nvSpPr>
        <p:spPr>
          <a:xfrm rot="16200000">
            <a:off x="4987992" y="-2094868"/>
            <a:ext cx="99647" cy="7835446"/>
          </a:xfrm>
          <a:prstGeom prst="stripedRightArrow">
            <a:avLst/>
          </a:prstGeom>
          <a:solidFill>
            <a:srgbClr val="BBBBBF">
              <a:lumMod val="75000"/>
            </a:srgbClr>
          </a:solidFill>
          <a:ln w="9525"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defTabSz="843984">
              <a:defRPr/>
            </a:pPr>
            <a:endParaRPr lang="en-US" sz="1662" kern="0">
              <a:solidFill>
                <a:prstClr val="black"/>
              </a:solidFill>
              <a:latin typeface="Calibri"/>
            </a:endParaRPr>
          </a:p>
        </p:txBody>
      </p:sp>
      <p:sp>
        <p:nvSpPr>
          <p:cNvPr id="8" name="Rectangle 7"/>
          <p:cNvSpPr/>
          <p:nvPr/>
        </p:nvSpPr>
        <p:spPr>
          <a:xfrm>
            <a:off x="1519970" y="1396431"/>
            <a:ext cx="6986954" cy="301869"/>
          </a:xfrm>
          <a:prstGeom prst="rect">
            <a:avLst/>
          </a:prstGeom>
          <a:solidFill>
            <a:srgbClr val="FFFFFF"/>
          </a:solidFill>
          <a:ln w="25400" cap="flat" cmpd="sng" algn="ctr">
            <a:solidFill>
              <a:srgbClr val="BBBBBF">
                <a:lumMod val="75000"/>
              </a:srgbClr>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Goal: Catalyze and Sustain an Inclusive Agricultural Transformation in Africa to increase incomes and improve food security </a:t>
            </a:r>
            <a:endParaRPr lang="en-US" sz="1015" kern="0" dirty="0">
              <a:solidFill>
                <a:sysClr val="windowText" lastClr="000000"/>
              </a:solidFill>
              <a:latin typeface="Calibri"/>
              <a:ea typeface="Calibri"/>
              <a:cs typeface="Times New Roman"/>
            </a:endParaRPr>
          </a:p>
        </p:txBody>
      </p:sp>
      <p:sp>
        <p:nvSpPr>
          <p:cNvPr id="9" name="Rectangle 8"/>
          <p:cNvSpPr/>
          <p:nvPr/>
        </p:nvSpPr>
        <p:spPr>
          <a:xfrm>
            <a:off x="3074744" y="1800877"/>
            <a:ext cx="1843454" cy="1044894"/>
          </a:xfrm>
          <a:prstGeom prst="rect">
            <a:avLst/>
          </a:prstGeom>
          <a:solidFill>
            <a:srgbClr val="FFFFFF"/>
          </a:solidFill>
          <a:ln w="19050" cap="flat" cmpd="sng" algn="ctr">
            <a:solidFill>
              <a:srgbClr val="0C6A4B"/>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bjective 2:</a:t>
            </a:r>
            <a:endParaRPr lang="en-US" sz="923" kern="0" dirty="0">
              <a:solidFill>
                <a:sysClr val="windowText" lastClr="000000"/>
              </a:solidFill>
              <a:latin typeface="Calibri"/>
              <a:ea typeface="Calibri"/>
              <a:cs typeface="Times New Roman"/>
            </a:endParaRPr>
          </a:p>
          <a:p>
            <a:pPr algn="ctr" defTabSz="843984">
              <a:lnSpc>
                <a:spcPct val="115000"/>
              </a:lnSpc>
              <a:defRPr/>
            </a:pPr>
            <a:r>
              <a:rPr lang="en-US" sz="923" b="1" kern="0" dirty="0">
                <a:solidFill>
                  <a:sysClr val="windowText" lastClr="000000"/>
                </a:solidFill>
                <a:latin typeface="Calibri"/>
                <a:ea typeface="Calibri"/>
                <a:cs typeface="Times New Roman"/>
              </a:rPr>
              <a:t>Strengthened and expanded access to output markets</a:t>
            </a:r>
            <a:endParaRPr lang="en-US" sz="923" kern="0" dirty="0">
              <a:solidFill>
                <a:sysClr val="windowText" lastClr="000000"/>
              </a:solidFill>
              <a:latin typeface="Calibri"/>
              <a:ea typeface="Calibri"/>
              <a:cs typeface="Times New Roman"/>
            </a:endParaRPr>
          </a:p>
        </p:txBody>
      </p:sp>
      <p:sp>
        <p:nvSpPr>
          <p:cNvPr id="10" name="Rectangle 9"/>
          <p:cNvSpPr/>
          <p:nvPr/>
        </p:nvSpPr>
        <p:spPr>
          <a:xfrm>
            <a:off x="5020775" y="1800877"/>
            <a:ext cx="1992923" cy="1044894"/>
          </a:xfrm>
          <a:prstGeom prst="rect">
            <a:avLst/>
          </a:prstGeom>
          <a:solidFill>
            <a:srgbClr val="FFFFFF"/>
          </a:solidFill>
          <a:ln w="19050" cap="flat" cmpd="sng" algn="ctr">
            <a:solidFill>
              <a:srgbClr val="00B0F0"/>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bjective 3:</a:t>
            </a:r>
            <a:endParaRPr lang="en-US" sz="923" kern="0" dirty="0">
              <a:solidFill>
                <a:sysClr val="windowText" lastClr="000000"/>
              </a:solidFill>
              <a:latin typeface="Calibri"/>
              <a:ea typeface="Calibri"/>
              <a:cs typeface="Times New Roman"/>
            </a:endParaRPr>
          </a:p>
          <a:p>
            <a:pPr algn="ctr" defTabSz="843984">
              <a:lnSpc>
                <a:spcPct val="115000"/>
              </a:lnSpc>
              <a:defRPr/>
            </a:pPr>
            <a:r>
              <a:rPr lang="en-US" sz="923" b="1" kern="0" dirty="0">
                <a:solidFill>
                  <a:sysClr val="windowText" lastClr="000000"/>
                </a:solidFill>
                <a:latin typeface="Calibri"/>
                <a:ea typeface="Calibri"/>
                <a:cs typeface="Times New Roman"/>
              </a:rPr>
              <a:t>Increased capacity of small holder farming households and agricultural systems to better prepare for and adapt to shocks and stresses</a:t>
            </a:r>
            <a:endParaRPr lang="en-US" sz="923" kern="0" dirty="0">
              <a:solidFill>
                <a:sysClr val="windowText" lastClr="000000"/>
              </a:solidFill>
              <a:latin typeface="Calibri"/>
              <a:ea typeface="Calibri"/>
              <a:cs typeface="Times New Roman"/>
            </a:endParaRPr>
          </a:p>
        </p:txBody>
      </p:sp>
      <p:sp>
        <p:nvSpPr>
          <p:cNvPr id="11" name="Rectangle 10"/>
          <p:cNvSpPr/>
          <p:nvPr/>
        </p:nvSpPr>
        <p:spPr>
          <a:xfrm>
            <a:off x="7122136" y="1800877"/>
            <a:ext cx="1790700" cy="1044894"/>
          </a:xfrm>
          <a:prstGeom prst="rect">
            <a:avLst/>
          </a:prstGeom>
          <a:solidFill>
            <a:srgbClr val="FFFFFF"/>
          </a:solidFill>
          <a:ln w="19050" cap="flat" cmpd="sng" algn="ctr">
            <a:solidFill>
              <a:srgbClr val="88B6A7"/>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bjective 4:</a:t>
            </a:r>
            <a:endParaRPr lang="en-US" sz="923" kern="0" dirty="0">
              <a:solidFill>
                <a:sysClr val="windowText" lastClr="000000"/>
              </a:solidFill>
              <a:latin typeface="Calibri"/>
              <a:ea typeface="Calibri"/>
              <a:cs typeface="Times New Roman"/>
            </a:endParaRPr>
          </a:p>
          <a:p>
            <a:pPr algn="ctr" defTabSz="843984">
              <a:lnSpc>
                <a:spcPct val="115000"/>
              </a:lnSpc>
              <a:defRPr/>
            </a:pPr>
            <a:r>
              <a:rPr lang="en-US" sz="923" b="1" kern="0" dirty="0">
                <a:solidFill>
                  <a:sysClr val="windowText" lastClr="000000"/>
                </a:solidFill>
                <a:latin typeface="Calibri"/>
                <a:ea typeface="Calibri"/>
                <a:cs typeface="Times New Roman"/>
              </a:rPr>
              <a:t>Strengthened continental, regional and government multi-sectoral coordination, and mutual accountability in the agricultural sector</a:t>
            </a:r>
            <a:endParaRPr lang="en-US" sz="923" kern="0" dirty="0">
              <a:solidFill>
                <a:sysClr val="windowText" lastClr="000000"/>
              </a:solidFill>
              <a:latin typeface="Calibri"/>
              <a:ea typeface="Calibri"/>
              <a:cs typeface="Times New Roman"/>
            </a:endParaRPr>
          </a:p>
        </p:txBody>
      </p:sp>
      <p:sp>
        <p:nvSpPr>
          <p:cNvPr id="12" name="Rectangle 11"/>
          <p:cNvSpPr/>
          <p:nvPr/>
        </p:nvSpPr>
        <p:spPr>
          <a:xfrm>
            <a:off x="1210775" y="1801643"/>
            <a:ext cx="1735015" cy="1042662"/>
          </a:xfrm>
          <a:prstGeom prst="rect">
            <a:avLst/>
          </a:prstGeom>
          <a:solidFill>
            <a:srgbClr val="FFFFFF"/>
          </a:solidFill>
          <a:ln w="19050" cap="flat" cmpd="sng" algn="ctr">
            <a:solidFill>
              <a:srgbClr val="3A669C"/>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bjective 1: </a:t>
            </a:r>
            <a:endParaRPr lang="en-US" sz="923" kern="0" dirty="0">
              <a:solidFill>
                <a:sysClr val="windowText" lastClr="000000"/>
              </a:solidFill>
              <a:latin typeface="Calibri"/>
              <a:ea typeface="Calibri"/>
              <a:cs typeface="Times New Roman"/>
            </a:endParaRPr>
          </a:p>
          <a:p>
            <a:pPr algn="ctr" defTabSz="843984">
              <a:lnSpc>
                <a:spcPct val="115000"/>
              </a:lnSpc>
              <a:defRPr/>
            </a:pPr>
            <a:r>
              <a:rPr lang="en-US" sz="923" b="1" kern="0" dirty="0">
                <a:solidFill>
                  <a:sysClr val="windowText" lastClr="000000"/>
                </a:solidFill>
                <a:latin typeface="Calibri"/>
                <a:ea typeface="Calibri"/>
                <a:cs typeface="Times New Roman"/>
              </a:rPr>
              <a:t>Increased staple crop productivity for smallholder farmers</a:t>
            </a:r>
            <a:endParaRPr lang="en-US" sz="923" kern="0" dirty="0">
              <a:solidFill>
                <a:sysClr val="windowText" lastClr="000000"/>
              </a:solidFill>
              <a:latin typeface="Calibri"/>
              <a:ea typeface="Calibri"/>
              <a:cs typeface="Times New Roman"/>
            </a:endParaRPr>
          </a:p>
        </p:txBody>
      </p:sp>
      <p:sp>
        <p:nvSpPr>
          <p:cNvPr id="13" name="Rectangle 12"/>
          <p:cNvSpPr/>
          <p:nvPr/>
        </p:nvSpPr>
        <p:spPr>
          <a:xfrm>
            <a:off x="2078280" y="3091955"/>
            <a:ext cx="837897" cy="1885717"/>
          </a:xfrm>
          <a:prstGeom prst="rect">
            <a:avLst/>
          </a:prstGeom>
          <a:solidFill>
            <a:srgbClr val="FFFFFF"/>
          </a:solidFill>
          <a:ln w="19050" cap="flat" cmpd="sng" algn="ctr">
            <a:solidFill>
              <a:srgbClr val="3A669C"/>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utcome 2: Increased adoption of Agriculture productivity enhancing technologies</a:t>
            </a:r>
            <a:endParaRPr lang="en-US" sz="923" kern="0" dirty="0">
              <a:solidFill>
                <a:sysClr val="windowText" lastClr="000000"/>
              </a:solidFill>
              <a:latin typeface="Calibri"/>
              <a:ea typeface="Calibri"/>
              <a:cs typeface="Times New Roman"/>
            </a:endParaRPr>
          </a:p>
        </p:txBody>
      </p:sp>
      <p:sp>
        <p:nvSpPr>
          <p:cNvPr id="14" name="Rectangle 13"/>
          <p:cNvSpPr/>
          <p:nvPr/>
        </p:nvSpPr>
        <p:spPr>
          <a:xfrm>
            <a:off x="8125923" y="3084630"/>
            <a:ext cx="857252" cy="1931047"/>
          </a:xfrm>
          <a:prstGeom prst="rect">
            <a:avLst/>
          </a:prstGeom>
          <a:solidFill>
            <a:srgbClr val="FFFFFF"/>
          </a:solidFill>
          <a:ln w="19050" cap="flat" cmpd="sng" algn="ctr">
            <a:solidFill>
              <a:srgbClr val="88B6A7"/>
            </a:solidFill>
            <a:prstDash val="solid"/>
          </a:ln>
          <a:effectLst/>
        </p:spPr>
        <p:txBody>
          <a:bodyPr anchor="ctr"/>
          <a:lstStyle/>
          <a:p>
            <a:pPr algn="ctr" defTabSz="843984">
              <a:lnSpc>
                <a:spcPct val="115000"/>
              </a:lnSpc>
              <a:defRPr/>
            </a:pPr>
            <a:r>
              <a:rPr lang="en-US" sz="923" b="1" kern="0" dirty="0">
                <a:solidFill>
                  <a:prstClr val="black"/>
                </a:solidFill>
                <a:latin typeface="Calibri"/>
                <a:ea typeface="Calibri"/>
                <a:cs typeface="Times New Roman"/>
              </a:rPr>
              <a:t>Outcome 8: Strengthened national and regional level agriculture sector system functioning</a:t>
            </a:r>
            <a:endParaRPr lang="en-US" sz="923" kern="0" dirty="0">
              <a:solidFill>
                <a:prstClr val="black"/>
              </a:solidFill>
              <a:latin typeface="Calibri"/>
              <a:ea typeface="Calibri"/>
              <a:cs typeface="Times New Roman"/>
            </a:endParaRPr>
          </a:p>
        </p:txBody>
      </p:sp>
      <p:sp>
        <p:nvSpPr>
          <p:cNvPr id="15" name="Rectangle 18"/>
          <p:cNvSpPr>
            <a:spLocks noChangeArrowheads="1"/>
          </p:cNvSpPr>
          <p:nvPr/>
        </p:nvSpPr>
        <p:spPr bwMode="auto">
          <a:xfrm>
            <a:off x="6017235" y="3100747"/>
            <a:ext cx="996462" cy="1885717"/>
          </a:xfrm>
          <a:prstGeom prst="rect">
            <a:avLst/>
          </a:prstGeom>
          <a:solidFill>
            <a:srgbClr val="FFFFFF"/>
          </a:solidFill>
          <a:ln w="12700" algn="ctr">
            <a:solidFill>
              <a:srgbClr val="FFC000"/>
            </a:solidFill>
            <a:prstDash val="sysDot"/>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843984">
              <a:lnSpc>
                <a:spcPct val="115000"/>
              </a:lnSpc>
              <a:spcBef>
                <a:spcPct val="0"/>
              </a:spcBef>
              <a:buNone/>
              <a:defRPr/>
            </a:pPr>
            <a:r>
              <a:rPr lang="en-US" altLang="en-US" sz="923" b="1" kern="0" dirty="0">
                <a:solidFill>
                  <a:srgbClr val="000000"/>
                </a:solidFill>
                <a:ea typeface="Calibri" panose="020F0502020204030204" pitchFamily="34" charset="0"/>
                <a:cs typeface="Times New Roman" panose="02020603050405020304" pitchFamily="18" charset="0"/>
              </a:rPr>
              <a:t>Outcome 6: Strengthened and expanded business development, financial and risk management services in agriculture value chain</a:t>
            </a:r>
            <a:endParaRPr lang="en-US" altLang="en-US" sz="923" kern="0" dirty="0">
              <a:solidFill>
                <a:srgbClr val="000000"/>
              </a:solidFill>
              <a:ea typeface="Calibri" panose="020F0502020204030204" pitchFamily="34" charset="0"/>
              <a:cs typeface="Times New Roman" panose="02020603050405020304" pitchFamily="18" charset="0"/>
            </a:endParaRPr>
          </a:p>
        </p:txBody>
      </p:sp>
      <p:sp>
        <p:nvSpPr>
          <p:cNvPr id="16" name="Rectangle 15"/>
          <p:cNvSpPr/>
          <p:nvPr/>
        </p:nvSpPr>
        <p:spPr>
          <a:xfrm>
            <a:off x="4918198" y="3100747"/>
            <a:ext cx="1005254" cy="1885717"/>
          </a:xfrm>
          <a:prstGeom prst="rect">
            <a:avLst/>
          </a:prstGeom>
          <a:solidFill>
            <a:srgbClr val="FFFFFF"/>
          </a:solidFill>
          <a:ln w="19050" cap="flat" cmpd="sng" algn="ctr">
            <a:solidFill>
              <a:srgbClr val="0C6A4B"/>
            </a:solidFill>
            <a:prstDash val="solid"/>
          </a:ln>
          <a:effectLst/>
        </p:spPr>
        <p:txBody>
          <a:bodyPr anchor="ctr"/>
          <a:lstStyle/>
          <a:p>
            <a:pPr algn="ctr" defTabSz="843984">
              <a:lnSpc>
                <a:spcPct val="115000"/>
              </a:lnSpc>
              <a:defRPr/>
            </a:pPr>
            <a:r>
              <a:rPr lang="en-US" sz="923" b="1" kern="0" dirty="0">
                <a:solidFill>
                  <a:prstClr val="black"/>
                </a:solidFill>
                <a:latin typeface="Calibri"/>
                <a:ea typeface="Calibri"/>
                <a:cs typeface="Times New Roman"/>
              </a:rPr>
              <a:t>Outcome 5: </a:t>
            </a:r>
          </a:p>
          <a:p>
            <a:pPr algn="ctr" defTabSz="843984">
              <a:lnSpc>
                <a:spcPct val="115000"/>
              </a:lnSpc>
              <a:defRPr/>
            </a:pPr>
            <a:r>
              <a:rPr lang="en-US" sz="923" b="1" kern="0" dirty="0">
                <a:solidFill>
                  <a:prstClr val="black"/>
                </a:solidFill>
                <a:latin typeface="Calibri"/>
                <a:ea typeface="Calibri"/>
                <a:cs typeface="Times New Roman"/>
              </a:rPr>
              <a:t>Increased use of structured markets</a:t>
            </a:r>
            <a:endParaRPr lang="en-US" sz="923" kern="0" dirty="0">
              <a:solidFill>
                <a:prstClr val="black"/>
              </a:solidFill>
              <a:latin typeface="Calibri"/>
              <a:ea typeface="Calibri"/>
              <a:cs typeface="Times New Roman"/>
            </a:endParaRPr>
          </a:p>
        </p:txBody>
      </p:sp>
      <p:sp>
        <p:nvSpPr>
          <p:cNvPr id="17" name="Rectangle 24"/>
          <p:cNvSpPr>
            <a:spLocks noChangeArrowheads="1"/>
          </p:cNvSpPr>
          <p:nvPr/>
        </p:nvSpPr>
        <p:spPr bwMode="auto">
          <a:xfrm>
            <a:off x="2945789" y="3100748"/>
            <a:ext cx="867508" cy="1852474"/>
          </a:xfrm>
          <a:prstGeom prst="rect">
            <a:avLst/>
          </a:prstGeom>
          <a:solidFill>
            <a:srgbClr val="FFFFFF"/>
          </a:solidFill>
          <a:ln w="12700" algn="ctr">
            <a:solidFill>
              <a:srgbClr val="FFC000"/>
            </a:solidFill>
            <a:prstDash val="sysDot"/>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843984">
              <a:lnSpc>
                <a:spcPct val="115000"/>
              </a:lnSpc>
              <a:spcBef>
                <a:spcPct val="0"/>
              </a:spcBef>
              <a:buNone/>
              <a:defRPr/>
            </a:pPr>
            <a:r>
              <a:rPr lang="en-US" altLang="en-US" sz="923" b="1" kern="0">
                <a:solidFill>
                  <a:srgbClr val="000000"/>
                </a:solidFill>
                <a:ea typeface="Calibri" panose="020F0502020204030204" pitchFamily="34" charset="0"/>
                <a:cs typeface="Times New Roman" panose="02020603050405020304" pitchFamily="18" charset="0"/>
              </a:rPr>
              <a:t>Outcome 3: Reduced post-harvest losses</a:t>
            </a:r>
            <a:endParaRPr lang="en-US" altLang="en-US" sz="923" kern="0">
              <a:solidFill>
                <a:srgbClr val="000000"/>
              </a:solidFill>
              <a:ea typeface="Calibri" panose="020F0502020204030204" pitchFamily="34" charset="0"/>
              <a:cs typeface="Times New Roman" panose="02020603050405020304" pitchFamily="18" charset="0"/>
            </a:endParaRPr>
          </a:p>
        </p:txBody>
      </p:sp>
      <p:sp>
        <p:nvSpPr>
          <p:cNvPr id="18" name="Rectangle 17"/>
          <p:cNvSpPr/>
          <p:nvPr/>
        </p:nvSpPr>
        <p:spPr>
          <a:xfrm>
            <a:off x="1125782" y="3091957"/>
            <a:ext cx="851389" cy="1867585"/>
          </a:xfrm>
          <a:prstGeom prst="rect">
            <a:avLst/>
          </a:prstGeom>
          <a:solidFill>
            <a:srgbClr val="FFFFFF"/>
          </a:solidFill>
          <a:ln w="19050" cap="flat" cmpd="sng" algn="ctr">
            <a:solidFill>
              <a:srgbClr val="3A669C"/>
            </a:solidFill>
            <a:prstDash val="solid"/>
          </a:ln>
          <a:effectLst/>
        </p:spPr>
        <p:txBody>
          <a:bodyPr anchor="ctr"/>
          <a:lstStyle/>
          <a:p>
            <a:pPr algn="ctr" defTabSz="843984">
              <a:lnSpc>
                <a:spcPct val="115000"/>
              </a:lnSpc>
              <a:defRPr/>
            </a:pPr>
            <a:r>
              <a:rPr lang="en-US" sz="923" b="1" kern="0" dirty="0">
                <a:solidFill>
                  <a:prstClr val="black"/>
                </a:solidFill>
                <a:latin typeface="Calibri"/>
                <a:ea typeface="Calibri"/>
                <a:cs typeface="Times New Roman"/>
              </a:rPr>
              <a:t>Outcome 1: Strengthened agricultural input systems, technology development and supply chain</a:t>
            </a:r>
            <a:endParaRPr lang="en-US" sz="923" kern="0" dirty="0">
              <a:solidFill>
                <a:prstClr val="black"/>
              </a:solidFill>
              <a:latin typeface="Calibri"/>
              <a:ea typeface="Calibri"/>
              <a:cs typeface="Times New Roman"/>
            </a:endParaRPr>
          </a:p>
        </p:txBody>
      </p:sp>
      <p:sp>
        <p:nvSpPr>
          <p:cNvPr id="19" name="Rectangle 28"/>
          <p:cNvSpPr>
            <a:spLocks noChangeArrowheads="1"/>
          </p:cNvSpPr>
          <p:nvPr/>
        </p:nvSpPr>
        <p:spPr bwMode="auto">
          <a:xfrm>
            <a:off x="3858953" y="3091955"/>
            <a:ext cx="1056848" cy="1885717"/>
          </a:xfrm>
          <a:prstGeom prst="rect">
            <a:avLst/>
          </a:prstGeom>
          <a:solidFill>
            <a:srgbClr val="FFFFFF"/>
          </a:solidFill>
          <a:ln w="12700" algn="ctr">
            <a:solidFill>
              <a:srgbClr val="FFC000"/>
            </a:solidFill>
            <a:prstDash val="sysDot"/>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843984">
              <a:lnSpc>
                <a:spcPct val="115000"/>
              </a:lnSpc>
              <a:spcBef>
                <a:spcPct val="0"/>
              </a:spcBef>
              <a:buNone/>
              <a:defRPr/>
            </a:pPr>
            <a:r>
              <a:rPr lang="en-US" altLang="en-US" sz="923" b="1" kern="0" dirty="0">
                <a:solidFill>
                  <a:srgbClr val="000000"/>
                </a:solidFill>
                <a:ea typeface="Calibri" panose="020F0502020204030204" pitchFamily="34" charset="0"/>
                <a:cs typeface="Times New Roman" panose="02020603050405020304" pitchFamily="18" charset="0"/>
              </a:rPr>
              <a:t>Outcome 4: </a:t>
            </a:r>
          </a:p>
          <a:p>
            <a:pPr algn="ctr" defTabSz="843984">
              <a:lnSpc>
                <a:spcPct val="115000"/>
              </a:lnSpc>
              <a:spcBef>
                <a:spcPct val="0"/>
              </a:spcBef>
              <a:buNone/>
              <a:defRPr/>
            </a:pPr>
            <a:r>
              <a:rPr lang="en-US" altLang="en-US" sz="923" b="1" kern="0" dirty="0">
                <a:solidFill>
                  <a:srgbClr val="000000"/>
                </a:solidFill>
                <a:ea typeface="Calibri" panose="020F0502020204030204" pitchFamily="34" charset="0"/>
                <a:cs typeface="Times New Roman" panose="02020603050405020304" pitchFamily="18" charset="0"/>
              </a:rPr>
              <a:t>Increased agricultural employment and </a:t>
            </a:r>
            <a:r>
              <a:rPr lang="en-US" altLang="en-US" sz="923" b="1" kern="0" dirty="0" smtClean="0">
                <a:solidFill>
                  <a:srgbClr val="000000"/>
                </a:solidFill>
                <a:ea typeface="Calibri" panose="020F0502020204030204" pitchFamily="34" charset="0"/>
                <a:cs typeface="Times New Roman" panose="02020603050405020304" pitchFamily="18" charset="0"/>
              </a:rPr>
              <a:t>entrepreneur-ship</a:t>
            </a:r>
            <a:endParaRPr lang="en-US" altLang="en-US" sz="923" kern="0" dirty="0">
              <a:solidFill>
                <a:srgbClr val="000000"/>
              </a:solidFill>
              <a:ea typeface="Calibri" panose="020F0502020204030204" pitchFamily="34" charset="0"/>
              <a:cs typeface="Times New Roman" panose="02020603050405020304" pitchFamily="18" charset="0"/>
            </a:endParaRPr>
          </a:p>
        </p:txBody>
      </p:sp>
      <p:sp>
        <p:nvSpPr>
          <p:cNvPr id="20" name="Rectangle 19"/>
          <p:cNvSpPr/>
          <p:nvPr/>
        </p:nvSpPr>
        <p:spPr>
          <a:xfrm>
            <a:off x="1119920" y="5068869"/>
            <a:ext cx="1547446"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9. Strengthened regional and national agricultural enabling policy environment</a:t>
            </a:r>
            <a:endParaRPr lang="en-US" sz="1108" kern="0" dirty="0">
              <a:solidFill>
                <a:sysClr val="windowText" lastClr="000000"/>
              </a:solidFill>
              <a:latin typeface="Calibri"/>
              <a:ea typeface="Calibri"/>
              <a:cs typeface="Times New Roman"/>
            </a:endParaRPr>
          </a:p>
        </p:txBody>
      </p:sp>
      <p:sp>
        <p:nvSpPr>
          <p:cNvPr id="21" name="Rectangle 20"/>
          <p:cNvSpPr/>
          <p:nvPr/>
        </p:nvSpPr>
        <p:spPr>
          <a:xfrm>
            <a:off x="2667366" y="5068869"/>
            <a:ext cx="1547446"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10. Increased women empowerment and livelihoods in agriculture</a:t>
            </a:r>
            <a:endParaRPr lang="en-US" sz="1108" kern="0" dirty="0">
              <a:solidFill>
                <a:sysClr val="windowText" lastClr="000000"/>
              </a:solidFill>
              <a:latin typeface="Calibri"/>
              <a:ea typeface="Calibri"/>
              <a:cs typeface="Times New Roman"/>
            </a:endParaRPr>
          </a:p>
        </p:txBody>
      </p:sp>
      <p:sp>
        <p:nvSpPr>
          <p:cNvPr id="22" name="Rectangle 21"/>
          <p:cNvSpPr/>
          <p:nvPr/>
        </p:nvSpPr>
        <p:spPr>
          <a:xfrm>
            <a:off x="4214815" y="5068869"/>
            <a:ext cx="1545981"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11. Increased youth empowerment and livelihoods in agriculture</a:t>
            </a:r>
            <a:endParaRPr lang="en-US" sz="1108" kern="0" dirty="0">
              <a:solidFill>
                <a:sysClr val="windowText" lastClr="000000"/>
              </a:solidFill>
              <a:latin typeface="Calibri"/>
              <a:ea typeface="Calibri"/>
              <a:cs typeface="Times New Roman"/>
            </a:endParaRPr>
          </a:p>
        </p:txBody>
      </p:sp>
      <p:sp>
        <p:nvSpPr>
          <p:cNvPr id="23" name="Rectangle 22"/>
          <p:cNvSpPr/>
          <p:nvPr/>
        </p:nvSpPr>
        <p:spPr>
          <a:xfrm>
            <a:off x="5760793" y="5068869"/>
            <a:ext cx="1575288"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12. Strengthened capacity for farmers and other focus agricultural value chain actors</a:t>
            </a:r>
            <a:endParaRPr lang="en-US" sz="1108" kern="0" dirty="0">
              <a:solidFill>
                <a:sysClr val="windowText" lastClr="000000"/>
              </a:solidFill>
              <a:latin typeface="Calibri"/>
              <a:ea typeface="Calibri"/>
              <a:cs typeface="Times New Roman"/>
            </a:endParaRPr>
          </a:p>
        </p:txBody>
      </p:sp>
      <p:cxnSp>
        <p:nvCxnSpPr>
          <p:cNvPr id="24" name="Straight Connector 23"/>
          <p:cNvCxnSpPr/>
          <p:nvPr/>
        </p:nvCxnSpPr>
        <p:spPr>
          <a:xfrm>
            <a:off x="1519973" y="2945416"/>
            <a:ext cx="7060223" cy="4396"/>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5" name="Straight Connector 24"/>
          <p:cNvCxnSpPr/>
          <p:nvPr/>
        </p:nvCxnSpPr>
        <p:spPr>
          <a:xfrm>
            <a:off x="1531693" y="2946884"/>
            <a:ext cx="0" cy="271979"/>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6" name="Straight Connector 25"/>
          <p:cNvCxnSpPr/>
          <p:nvPr/>
        </p:nvCxnSpPr>
        <p:spPr>
          <a:xfrm>
            <a:off x="2465143" y="2961535"/>
            <a:ext cx="0" cy="256870"/>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7" name="Straight Connector 26"/>
          <p:cNvCxnSpPr>
            <a:endCxn id="17" idx="0"/>
          </p:cNvCxnSpPr>
          <p:nvPr/>
        </p:nvCxnSpPr>
        <p:spPr>
          <a:xfrm>
            <a:off x="3379543" y="2946881"/>
            <a:ext cx="0" cy="153866"/>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8" name="Straight Connector 27"/>
          <p:cNvCxnSpPr/>
          <p:nvPr/>
        </p:nvCxnSpPr>
        <p:spPr>
          <a:xfrm>
            <a:off x="4359886" y="2952745"/>
            <a:ext cx="0" cy="253847"/>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9" name="Straight Connector 28"/>
          <p:cNvCxnSpPr/>
          <p:nvPr/>
        </p:nvCxnSpPr>
        <p:spPr>
          <a:xfrm>
            <a:off x="7613039" y="2946883"/>
            <a:ext cx="0" cy="268957"/>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30" name="Straight Connector 29"/>
          <p:cNvCxnSpPr/>
          <p:nvPr/>
        </p:nvCxnSpPr>
        <p:spPr>
          <a:xfrm>
            <a:off x="5420824" y="2961537"/>
            <a:ext cx="0" cy="271979"/>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31" name="Straight Connector 30"/>
          <p:cNvCxnSpPr/>
          <p:nvPr/>
        </p:nvCxnSpPr>
        <p:spPr>
          <a:xfrm>
            <a:off x="6500812" y="2945419"/>
            <a:ext cx="0" cy="305219"/>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32" name="Straight Connector 31"/>
          <p:cNvCxnSpPr>
            <a:endCxn id="14" idx="0"/>
          </p:cNvCxnSpPr>
          <p:nvPr/>
        </p:nvCxnSpPr>
        <p:spPr>
          <a:xfrm flipH="1">
            <a:off x="8554549" y="2945417"/>
            <a:ext cx="16854" cy="139213"/>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sp>
        <p:nvSpPr>
          <p:cNvPr id="33" name="Up Arrow 32"/>
          <p:cNvSpPr/>
          <p:nvPr/>
        </p:nvSpPr>
        <p:spPr>
          <a:xfrm>
            <a:off x="1993290" y="2851634"/>
            <a:ext cx="93785" cy="101111"/>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a:solidFill>
                <a:sysClr val="window" lastClr="FFFFFF"/>
              </a:solidFill>
              <a:latin typeface="Calibri"/>
            </a:endParaRPr>
          </a:p>
        </p:txBody>
      </p:sp>
      <p:sp>
        <p:nvSpPr>
          <p:cNvPr id="34" name="Up Arrow 33"/>
          <p:cNvSpPr/>
          <p:nvPr/>
        </p:nvSpPr>
        <p:spPr>
          <a:xfrm>
            <a:off x="3907082" y="2848704"/>
            <a:ext cx="93785" cy="101111"/>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a:solidFill>
                <a:sysClr val="windowText" lastClr="000000"/>
              </a:solidFill>
              <a:latin typeface="Calibri"/>
            </a:endParaRPr>
          </a:p>
        </p:txBody>
      </p:sp>
      <p:sp>
        <p:nvSpPr>
          <p:cNvPr id="35" name="Up Arrow 34"/>
          <p:cNvSpPr/>
          <p:nvPr/>
        </p:nvSpPr>
        <p:spPr>
          <a:xfrm>
            <a:off x="5923451" y="2845773"/>
            <a:ext cx="93785" cy="101111"/>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a:solidFill>
                <a:sysClr val="windowText" lastClr="000000"/>
              </a:solidFill>
              <a:latin typeface="Calibri"/>
            </a:endParaRPr>
          </a:p>
        </p:txBody>
      </p:sp>
      <p:sp>
        <p:nvSpPr>
          <p:cNvPr id="36" name="Up Arrow 35"/>
          <p:cNvSpPr/>
          <p:nvPr/>
        </p:nvSpPr>
        <p:spPr>
          <a:xfrm>
            <a:off x="8103944" y="2853097"/>
            <a:ext cx="93785" cy="101112"/>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a:solidFill>
                <a:sysClr val="windowText" lastClr="000000"/>
              </a:solidFill>
              <a:latin typeface="Calibri"/>
            </a:endParaRPr>
          </a:p>
        </p:txBody>
      </p:sp>
      <p:sp>
        <p:nvSpPr>
          <p:cNvPr id="37" name="Rectangle 36"/>
          <p:cNvSpPr/>
          <p:nvPr/>
        </p:nvSpPr>
        <p:spPr>
          <a:xfrm>
            <a:off x="738292" y="5015676"/>
            <a:ext cx="331806" cy="1266092"/>
          </a:xfrm>
          <a:prstGeom prst="rect">
            <a:avLst/>
          </a:prstGeom>
          <a:solidFill>
            <a:sysClr val="window" lastClr="FFFFFF"/>
          </a:solidFill>
          <a:ln w="9525" cap="flat" cmpd="sng" algn="ctr">
            <a:solidFill>
              <a:sysClr val="window" lastClr="FFFFFF">
                <a:lumMod val="75000"/>
              </a:sysClr>
            </a:solidFill>
            <a:prstDash val="sysDot"/>
          </a:ln>
          <a:effectLst/>
        </p:spPr>
        <p:txBody>
          <a:bodyPr vert="vert270" anchor="ctr"/>
          <a:lstStyle/>
          <a:p>
            <a:pPr algn="ctr" defTabSz="843984">
              <a:lnSpc>
                <a:spcPct val="115000"/>
              </a:lnSpc>
              <a:defRPr/>
            </a:pPr>
            <a:r>
              <a:rPr lang="en-US" sz="1108" b="1" dirty="0">
                <a:solidFill>
                  <a:srgbClr val="404040"/>
                </a:solidFill>
                <a:latin typeface="Calibri"/>
                <a:ea typeface="Calibri"/>
                <a:cs typeface="Times New Roman"/>
              </a:rPr>
              <a:t>Cross-cutting outcomes</a:t>
            </a:r>
            <a:endParaRPr lang="en-US" sz="1108" dirty="0">
              <a:solidFill>
                <a:prstClr val="black"/>
              </a:solidFill>
              <a:latin typeface="Calibri"/>
              <a:ea typeface="Calibri"/>
              <a:cs typeface="Times New Roman"/>
            </a:endParaRPr>
          </a:p>
        </p:txBody>
      </p:sp>
      <p:sp>
        <p:nvSpPr>
          <p:cNvPr id="38" name="Rectangle 37"/>
          <p:cNvSpPr/>
          <p:nvPr/>
        </p:nvSpPr>
        <p:spPr>
          <a:xfrm>
            <a:off x="738292" y="2945068"/>
            <a:ext cx="331806" cy="2172201"/>
          </a:xfrm>
          <a:prstGeom prst="rect">
            <a:avLst/>
          </a:prstGeom>
          <a:solidFill>
            <a:sysClr val="window" lastClr="FFFFFF"/>
          </a:solidFill>
          <a:ln w="9525" cap="flat" cmpd="sng" algn="ctr">
            <a:solidFill>
              <a:sysClr val="window" lastClr="FFFFFF">
                <a:lumMod val="75000"/>
              </a:sysClr>
            </a:solidFill>
            <a:prstDash val="sysDot"/>
          </a:ln>
          <a:effectLst/>
        </p:spPr>
        <p:txBody>
          <a:bodyPr vert="vert270" anchor="ctr"/>
          <a:lstStyle/>
          <a:p>
            <a:pPr algn="ctr" defTabSz="843984">
              <a:lnSpc>
                <a:spcPct val="115000"/>
              </a:lnSpc>
              <a:defRPr/>
            </a:pPr>
            <a:r>
              <a:rPr lang="en-US" sz="1015" b="1" dirty="0">
                <a:solidFill>
                  <a:srgbClr val="404040"/>
                </a:solidFill>
                <a:latin typeface="Calibri"/>
                <a:ea typeface="Calibri"/>
                <a:cs typeface="Times New Roman"/>
              </a:rPr>
              <a:t>Primary Outcomes</a:t>
            </a:r>
            <a:endParaRPr lang="en-US" sz="1015" dirty="0">
              <a:solidFill>
                <a:prstClr val="black"/>
              </a:solidFill>
              <a:latin typeface="Calibri"/>
              <a:ea typeface="Calibri"/>
              <a:cs typeface="Times New Roman"/>
            </a:endParaRPr>
          </a:p>
        </p:txBody>
      </p:sp>
      <p:sp>
        <p:nvSpPr>
          <p:cNvPr id="39" name="Rectangle 38"/>
          <p:cNvSpPr/>
          <p:nvPr/>
        </p:nvSpPr>
        <p:spPr>
          <a:xfrm>
            <a:off x="738292" y="2020761"/>
            <a:ext cx="331806" cy="924306"/>
          </a:xfrm>
          <a:prstGeom prst="rect">
            <a:avLst/>
          </a:prstGeom>
          <a:solidFill>
            <a:sysClr val="window" lastClr="FFFFFF"/>
          </a:solidFill>
          <a:ln w="9525" cap="flat" cmpd="sng" algn="ctr">
            <a:solidFill>
              <a:sysClr val="window" lastClr="FFFFFF">
                <a:lumMod val="75000"/>
              </a:sysClr>
            </a:solidFill>
            <a:prstDash val="sysDot"/>
          </a:ln>
          <a:effectLst/>
        </p:spPr>
        <p:txBody>
          <a:bodyPr vert="vert270" anchor="ctr"/>
          <a:lstStyle/>
          <a:p>
            <a:pPr algn="ctr" defTabSz="843984">
              <a:lnSpc>
                <a:spcPct val="115000"/>
              </a:lnSpc>
              <a:defRPr/>
            </a:pPr>
            <a:r>
              <a:rPr lang="en-US" sz="1108" b="1" dirty="0">
                <a:solidFill>
                  <a:srgbClr val="404040"/>
                </a:solidFill>
                <a:latin typeface="Calibri"/>
                <a:ea typeface="Calibri"/>
                <a:cs typeface="Times New Roman"/>
              </a:rPr>
              <a:t>Objectives </a:t>
            </a:r>
            <a:endParaRPr lang="en-US" sz="1108" dirty="0">
              <a:solidFill>
                <a:prstClr val="black"/>
              </a:solidFill>
              <a:latin typeface="Calibri"/>
              <a:ea typeface="Calibri"/>
              <a:cs typeface="Times New Roman"/>
            </a:endParaRPr>
          </a:p>
        </p:txBody>
      </p:sp>
      <p:cxnSp>
        <p:nvCxnSpPr>
          <p:cNvPr id="40" name="Straight Connector 39"/>
          <p:cNvCxnSpPr/>
          <p:nvPr/>
        </p:nvCxnSpPr>
        <p:spPr>
          <a:xfrm>
            <a:off x="3312135" y="1293854"/>
            <a:ext cx="0" cy="102577"/>
          </a:xfrm>
          <a:prstGeom prst="line">
            <a:avLst/>
          </a:prstGeom>
          <a:noFill/>
          <a:ln w="19050" cap="flat" cmpd="sng" algn="ctr">
            <a:solidFill>
              <a:srgbClr val="000000">
                <a:lumMod val="65000"/>
                <a:lumOff val="35000"/>
              </a:srgbClr>
            </a:solidFill>
            <a:prstDash val="sysDot"/>
          </a:ln>
          <a:effectLst/>
        </p:spPr>
      </p:cxnSp>
      <p:cxnSp>
        <p:nvCxnSpPr>
          <p:cNvPr id="41" name="Straight Connector 40"/>
          <p:cNvCxnSpPr/>
          <p:nvPr/>
        </p:nvCxnSpPr>
        <p:spPr>
          <a:xfrm>
            <a:off x="6184289" y="1293854"/>
            <a:ext cx="0" cy="102577"/>
          </a:xfrm>
          <a:prstGeom prst="line">
            <a:avLst/>
          </a:prstGeom>
          <a:noFill/>
          <a:ln w="19050" cap="flat" cmpd="sng" algn="ctr">
            <a:solidFill>
              <a:srgbClr val="000000">
                <a:lumMod val="65000"/>
                <a:lumOff val="35000"/>
              </a:srgbClr>
            </a:solidFill>
            <a:prstDash val="sysDot"/>
          </a:ln>
          <a:effectLst/>
        </p:spPr>
      </p:cxnSp>
      <p:sp>
        <p:nvSpPr>
          <p:cNvPr id="42" name="Rectangle 41"/>
          <p:cNvSpPr/>
          <p:nvPr/>
        </p:nvSpPr>
        <p:spPr>
          <a:xfrm>
            <a:off x="7122136" y="3091957"/>
            <a:ext cx="981808" cy="1903849"/>
          </a:xfrm>
          <a:prstGeom prst="rect">
            <a:avLst/>
          </a:prstGeom>
          <a:solidFill>
            <a:srgbClr val="FFFFFF"/>
          </a:solidFill>
          <a:ln w="19050" cap="flat" cmpd="sng" algn="ctr">
            <a:solidFill>
              <a:srgbClr val="00B0F0"/>
            </a:solidFill>
            <a:prstDash val="solid"/>
          </a:ln>
          <a:effectLst/>
        </p:spPr>
        <p:txBody>
          <a:bodyPr anchor="ctr"/>
          <a:lstStyle/>
          <a:p>
            <a:pPr algn="ctr" defTabSz="843984">
              <a:lnSpc>
                <a:spcPct val="115000"/>
              </a:lnSpc>
              <a:defRPr/>
            </a:pPr>
            <a:r>
              <a:rPr lang="en-US" sz="923" b="1" kern="0" dirty="0">
                <a:solidFill>
                  <a:prstClr val="black"/>
                </a:solidFill>
                <a:latin typeface="Calibri"/>
                <a:ea typeface="Calibri"/>
                <a:cs typeface="Times New Roman"/>
              </a:rPr>
              <a:t>Outcome 7: </a:t>
            </a:r>
          </a:p>
          <a:p>
            <a:pPr algn="ctr" defTabSz="843984">
              <a:lnSpc>
                <a:spcPct val="115000"/>
              </a:lnSpc>
              <a:defRPr/>
            </a:pPr>
            <a:r>
              <a:rPr lang="en-US" sz="923" b="1" kern="0" dirty="0">
                <a:solidFill>
                  <a:prstClr val="black"/>
                </a:solidFill>
                <a:latin typeface="Calibri"/>
                <a:ea typeface="Calibri"/>
                <a:cs typeface="Times New Roman"/>
              </a:rPr>
              <a:t>Reduced impact of agricultural volatility</a:t>
            </a:r>
            <a:endParaRPr lang="en-US" sz="923" kern="0" dirty="0">
              <a:solidFill>
                <a:prstClr val="black"/>
              </a:solidFill>
              <a:latin typeface="Calibri"/>
              <a:ea typeface="Calibri"/>
              <a:cs typeface="Times New Roman"/>
            </a:endParaRPr>
          </a:p>
        </p:txBody>
      </p:sp>
      <p:cxnSp>
        <p:nvCxnSpPr>
          <p:cNvPr id="43" name="Straight Connector 42"/>
          <p:cNvCxnSpPr>
            <a:stCxn id="17" idx="0"/>
          </p:cNvCxnSpPr>
          <p:nvPr/>
        </p:nvCxnSpPr>
        <p:spPr>
          <a:xfrm flipH="1">
            <a:off x="2945789" y="3100749"/>
            <a:ext cx="433754" cy="1"/>
          </a:xfrm>
          <a:prstGeom prst="line">
            <a:avLst/>
          </a:prstGeom>
          <a:noFill/>
          <a:ln w="19050" cap="flat" cmpd="sng" algn="ctr">
            <a:solidFill>
              <a:srgbClr val="92D050"/>
            </a:solidFill>
            <a:prstDash val="solid"/>
          </a:ln>
          <a:effectLst/>
        </p:spPr>
      </p:cxnSp>
      <p:cxnSp>
        <p:nvCxnSpPr>
          <p:cNvPr id="44" name="Straight Connector 43"/>
          <p:cNvCxnSpPr/>
          <p:nvPr/>
        </p:nvCxnSpPr>
        <p:spPr>
          <a:xfrm>
            <a:off x="2945789" y="3083165"/>
            <a:ext cx="0" cy="1867585"/>
          </a:xfrm>
          <a:prstGeom prst="line">
            <a:avLst/>
          </a:prstGeom>
          <a:noFill/>
          <a:ln w="19050" cap="flat" cmpd="sng" algn="ctr">
            <a:solidFill>
              <a:srgbClr val="92D050"/>
            </a:solidFill>
            <a:prstDash val="solid"/>
          </a:ln>
          <a:effectLst/>
        </p:spPr>
      </p:cxnSp>
      <p:cxnSp>
        <p:nvCxnSpPr>
          <p:cNvPr id="45" name="Straight Connector 44"/>
          <p:cNvCxnSpPr>
            <a:stCxn id="17" idx="0"/>
          </p:cNvCxnSpPr>
          <p:nvPr/>
        </p:nvCxnSpPr>
        <p:spPr>
          <a:xfrm>
            <a:off x="3379543" y="3100749"/>
            <a:ext cx="433754" cy="1"/>
          </a:xfrm>
          <a:prstGeom prst="line">
            <a:avLst/>
          </a:prstGeom>
          <a:noFill/>
          <a:ln w="19050" cap="flat" cmpd="sng" algn="ctr">
            <a:solidFill>
              <a:srgbClr val="7030A0"/>
            </a:solidFill>
            <a:prstDash val="solid"/>
          </a:ln>
          <a:effectLst/>
        </p:spPr>
      </p:cxnSp>
      <p:cxnSp>
        <p:nvCxnSpPr>
          <p:cNvPr id="46" name="Straight Connector 45"/>
          <p:cNvCxnSpPr/>
          <p:nvPr/>
        </p:nvCxnSpPr>
        <p:spPr>
          <a:xfrm>
            <a:off x="3813297" y="3091956"/>
            <a:ext cx="0" cy="1885717"/>
          </a:xfrm>
          <a:prstGeom prst="line">
            <a:avLst/>
          </a:prstGeom>
          <a:noFill/>
          <a:ln w="19050" cap="flat" cmpd="sng" algn="ctr">
            <a:solidFill>
              <a:srgbClr val="7030A0"/>
            </a:solidFill>
            <a:prstDash val="solid"/>
          </a:ln>
          <a:effectLst/>
        </p:spPr>
      </p:cxnSp>
      <p:cxnSp>
        <p:nvCxnSpPr>
          <p:cNvPr id="47" name="Straight Connector 46"/>
          <p:cNvCxnSpPr/>
          <p:nvPr/>
        </p:nvCxnSpPr>
        <p:spPr>
          <a:xfrm flipH="1" flipV="1">
            <a:off x="3907081" y="3090489"/>
            <a:ext cx="463062" cy="1466"/>
          </a:xfrm>
          <a:prstGeom prst="line">
            <a:avLst/>
          </a:prstGeom>
          <a:noFill/>
          <a:ln w="19050" cap="flat" cmpd="sng" algn="ctr">
            <a:solidFill>
              <a:srgbClr val="92D050"/>
            </a:solidFill>
            <a:prstDash val="solid"/>
          </a:ln>
          <a:effectLst/>
        </p:spPr>
      </p:cxnSp>
      <p:cxnSp>
        <p:nvCxnSpPr>
          <p:cNvPr id="48" name="Straight Connector 47"/>
          <p:cNvCxnSpPr/>
          <p:nvPr/>
        </p:nvCxnSpPr>
        <p:spPr>
          <a:xfrm>
            <a:off x="3902687" y="3074371"/>
            <a:ext cx="10561" cy="1885717"/>
          </a:xfrm>
          <a:prstGeom prst="line">
            <a:avLst/>
          </a:prstGeom>
          <a:noFill/>
          <a:ln w="19050" cap="flat" cmpd="sng" algn="ctr">
            <a:solidFill>
              <a:srgbClr val="92D050"/>
            </a:solidFill>
            <a:prstDash val="solid"/>
          </a:ln>
          <a:effectLst/>
        </p:spPr>
      </p:cxnSp>
      <p:cxnSp>
        <p:nvCxnSpPr>
          <p:cNvPr id="49" name="Straight Connector 48"/>
          <p:cNvCxnSpPr>
            <a:stCxn id="19" idx="0"/>
          </p:cNvCxnSpPr>
          <p:nvPr/>
        </p:nvCxnSpPr>
        <p:spPr>
          <a:xfrm flipV="1">
            <a:off x="4387377" y="3090491"/>
            <a:ext cx="416751" cy="1464"/>
          </a:xfrm>
          <a:prstGeom prst="line">
            <a:avLst/>
          </a:prstGeom>
          <a:noFill/>
          <a:ln w="19050" cap="flat" cmpd="sng" algn="ctr">
            <a:solidFill>
              <a:srgbClr val="7030A0"/>
            </a:solidFill>
            <a:prstDash val="solid"/>
          </a:ln>
          <a:effectLst/>
        </p:spPr>
      </p:cxnSp>
      <p:cxnSp>
        <p:nvCxnSpPr>
          <p:cNvPr id="50" name="Straight Connector 49"/>
          <p:cNvCxnSpPr/>
          <p:nvPr/>
        </p:nvCxnSpPr>
        <p:spPr>
          <a:xfrm>
            <a:off x="4852255" y="3090492"/>
            <a:ext cx="0" cy="1906871"/>
          </a:xfrm>
          <a:prstGeom prst="line">
            <a:avLst/>
          </a:prstGeom>
          <a:noFill/>
          <a:ln w="19050" cap="flat" cmpd="sng" algn="ctr">
            <a:solidFill>
              <a:srgbClr val="7030A0"/>
            </a:solidFill>
            <a:prstDash val="solid"/>
          </a:ln>
          <a:effectLst/>
        </p:spPr>
      </p:cxnSp>
      <p:cxnSp>
        <p:nvCxnSpPr>
          <p:cNvPr id="51" name="Straight Connector 50"/>
          <p:cNvCxnSpPr>
            <a:stCxn id="15" idx="0"/>
          </p:cNvCxnSpPr>
          <p:nvPr/>
        </p:nvCxnSpPr>
        <p:spPr>
          <a:xfrm flipH="1">
            <a:off x="6017236" y="3100748"/>
            <a:ext cx="498231" cy="1"/>
          </a:xfrm>
          <a:prstGeom prst="line">
            <a:avLst/>
          </a:prstGeom>
          <a:noFill/>
          <a:ln w="19050" cap="flat" cmpd="sng" algn="ctr">
            <a:solidFill>
              <a:srgbClr val="7030A0"/>
            </a:solidFill>
            <a:prstDash val="solid"/>
          </a:ln>
          <a:effectLst/>
        </p:spPr>
      </p:cxnSp>
      <p:cxnSp>
        <p:nvCxnSpPr>
          <p:cNvPr id="52" name="Straight Connector 51"/>
          <p:cNvCxnSpPr/>
          <p:nvPr/>
        </p:nvCxnSpPr>
        <p:spPr>
          <a:xfrm>
            <a:off x="6017235" y="3090490"/>
            <a:ext cx="0" cy="1888740"/>
          </a:xfrm>
          <a:prstGeom prst="line">
            <a:avLst/>
          </a:prstGeom>
          <a:noFill/>
          <a:ln w="19050" cap="flat" cmpd="sng" algn="ctr">
            <a:solidFill>
              <a:srgbClr val="7030A0"/>
            </a:solidFill>
            <a:prstDash val="solid"/>
          </a:ln>
          <a:effectLst/>
        </p:spPr>
      </p:cxnSp>
      <p:cxnSp>
        <p:nvCxnSpPr>
          <p:cNvPr id="53" name="Straight Connector 52"/>
          <p:cNvCxnSpPr>
            <a:stCxn id="15" idx="0"/>
          </p:cNvCxnSpPr>
          <p:nvPr/>
        </p:nvCxnSpPr>
        <p:spPr>
          <a:xfrm>
            <a:off x="6515467" y="3100748"/>
            <a:ext cx="498231" cy="1"/>
          </a:xfrm>
          <a:prstGeom prst="line">
            <a:avLst/>
          </a:prstGeom>
          <a:noFill/>
          <a:ln w="19050" cap="flat" cmpd="sng" algn="ctr">
            <a:solidFill>
              <a:srgbClr val="00B0F0"/>
            </a:solidFill>
            <a:prstDash val="solid"/>
          </a:ln>
          <a:effectLst/>
        </p:spPr>
      </p:cxnSp>
      <p:cxnSp>
        <p:nvCxnSpPr>
          <p:cNvPr id="54" name="Straight Connector 53"/>
          <p:cNvCxnSpPr/>
          <p:nvPr/>
        </p:nvCxnSpPr>
        <p:spPr>
          <a:xfrm>
            <a:off x="7013697" y="3100748"/>
            <a:ext cx="0" cy="1885717"/>
          </a:xfrm>
          <a:prstGeom prst="line">
            <a:avLst/>
          </a:prstGeom>
          <a:noFill/>
          <a:ln w="19050" cap="flat" cmpd="sng" algn="ctr">
            <a:solidFill>
              <a:srgbClr val="00B0F0"/>
            </a:solidFill>
            <a:prstDash val="solid"/>
          </a:ln>
          <a:effectLst/>
        </p:spPr>
      </p:cxnSp>
      <p:sp>
        <p:nvSpPr>
          <p:cNvPr id="55" name="Rectangle 54"/>
          <p:cNvSpPr/>
          <p:nvPr/>
        </p:nvSpPr>
        <p:spPr>
          <a:xfrm>
            <a:off x="7336081" y="5068869"/>
            <a:ext cx="1647092"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13. </a:t>
            </a:r>
            <a:r>
              <a:rPr lang="en-US" sz="1108" b="1" kern="0" dirty="0">
                <a:solidFill>
                  <a:prstClr val="black"/>
                </a:solidFill>
                <a:latin typeface="Calibri"/>
                <a:ea typeface="Calibri"/>
                <a:cs typeface="Times New Roman"/>
              </a:rPr>
              <a:t>Strengthened Public and Private Partnerships in agriculture</a:t>
            </a:r>
            <a:endParaRPr lang="en-US" sz="1108" kern="0" dirty="0">
              <a:solidFill>
                <a:prstClr val="black"/>
              </a:solidFill>
              <a:latin typeface="Calibri"/>
              <a:ea typeface="Calibri"/>
              <a:cs typeface="Times New Roman"/>
            </a:endParaRPr>
          </a:p>
        </p:txBody>
      </p:sp>
    </p:spTree>
    <p:extLst>
      <p:ext uri="{BB962C8B-B14F-4D97-AF65-F5344CB8AC3E}">
        <p14:creationId xmlns:p14="http://schemas.microsoft.com/office/powerpoint/2010/main" val="2427023508"/>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27462"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279440" y="1710000"/>
            <a:ext cx="4118924" cy="148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975" b="1" dirty="0">
              <a:solidFill>
                <a:schemeClr val="accent6">
                  <a:lumMod val="50000"/>
                </a:schemeClr>
              </a:solidFill>
              <a:latin typeface="Arial" panose="020B0604020202020204" pitchFamily="34" charset="0"/>
              <a:cs typeface="Arial" panose="020B0604020202020204" pitchFamily="34" charset="0"/>
            </a:endParaRPr>
          </a:p>
        </p:txBody>
      </p:sp>
      <p:grpSp>
        <p:nvGrpSpPr>
          <p:cNvPr id="7" name="Group 6"/>
          <p:cNvGrpSpPr/>
          <p:nvPr/>
        </p:nvGrpSpPr>
        <p:grpSpPr>
          <a:xfrm>
            <a:off x="1134175" y="2253287"/>
            <a:ext cx="6264886" cy="2883889"/>
            <a:chOff x="314424" y="2562513"/>
            <a:chExt cx="6185754" cy="2569379"/>
          </a:xfrm>
        </p:grpSpPr>
        <p:sp>
          <p:nvSpPr>
            <p:cNvPr id="8" name="Rectangle 7"/>
            <p:cNvSpPr/>
            <p:nvPr/>
          </p:nvSpPr>
          <p:spPr>
            <a:xfrm>
              <a:off x="314424" y="2562513"/>
              <a:ext cx="6185754" cy="2569379"/>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r>
                <a:rPr lang="en-US" sz="853" b="1" dirty="0">
                  <a:solidFill>
                    <a:schemeClr val="tx1"/>
                  </a:solidFill>
                  <a:latin typeface="Arial" panose="020B0604020202020204" pitchFamily="34" charset="0"/>
                  <a:cs typeface="Arial" panose="020B0604020202020204" pitchFamily="34" charset="0"/>
                </a:rPr>
                <a:t>Outcomes </a:t>
              </a:r>
            </a:p>
          </p:txBody>
        </p:sp>
        <p:sp>
          <p:nvSpPr>
            <p:cNvPr id="9" name="Rectangle 8"/>
            <p:cNvSpPr/>
            <p:nvPr/>
          </p:nvSpPr>
          <p:spPr>
            <a:xfrm>
              <a:off x="379032" y="4179623"/>
              <a:ext cx="5856833" cy="78297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Arial" panose="020B06040202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Public Sector / governments have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Sector strategies defining priority areas for investment and policy reform</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Mobilized public sector, development partners and non-state actors to invest in /implement priority programs  that drive agricultural transformation and facilitate regional trade</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Better coordinated sector investment program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s championing the necessary policy reforms to drive agricultural transformation and facilitate  regional trade</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Accountability systems that sustain commitment, encourage results focus and ensure delivery</a:t>
              </a:r>
            </a:p>
            <a:p>
              <a:endParaRPr lang="en-US" sz="731" dirty="0">
                <a:solidFill>
                  <a:schemeClr val="tx1"/>
                </a:solidFill>
                <a:latin typeface="Arial" panose="020B0604020202020204" pitchFamily="34" charset="0"/>
                <a:cs typeface="Arial" panose="020B0604020202020204" pitchFamily="34" charset="0"/>
              </a:endParaRPr>
            </a:p>
          </p:txBody>
        </p:sp>
        <p:sp>
          <p:nvSpPr>
            <p:cNvPr id="11" name="Rectangle 10"/>
            <p:cNvSpPr/>
            <p:nvPr/>
          </p:nvSpPr>
          <p:spPr>
            <a:xfrm>
              <a:off x="376676" y="2722661"/>
              <a:ext cx="2226428" cy="135792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Arial" panose="020B0604020202020204" pitchFamily="34" charset="0"/>
                <a:cs typeface="Arial" panose="020B0604020202020204" pitchFamily="34" charset="0"/>
              </a:endParaRPr>
            </a:p>
            <a:p>
              <a:endParaRPr lang="en-US" sz="731" b="1" dirty="0">
                <a:solidFill>
                  <a:schemeClr val="tx1"/>
                </a:solidFill>
                <a:latin typeface="Arial" panose="020B0604020202020204" pitchFamily="34" charset="0"/>
                <a:cs typeface="Arial" panose="020B0604020202020204" pitchFamily="34" charset="0"/>
              </a:endParaRPr>
            </a:p>
            <a:p>
              <a:endParaRPr lang="en-US" sz="731" b="1" dirty="0">
                <a:solidFill>
                  <a:schemeClr val="tx1"/>
                </a:solidFill>
                <a:latin typeface="Arial" panose="020B06040202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The public sector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public sector investments in agriculture</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Public sector investments are generating priority and sufficient public goods that de-risk the sector</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Appropriate policies providing incentives for private sector investments including public private partnerships in place and operational</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Mutual accountability systems and platforms that are aligned to the continental scorecard in place and operational</a:t>
              </a:r>
            </a:p>
            <a:p>
              <a:endParaRPr lang="en-US" sz="731" dirty="0">
                <a:solidFill>
                  <a:schemeClr val="tx1"/>
                </a:solidFill>
                <a:latin typeface="Arial" panose="020B0604020202020204" pitchFamily="34" charset="0"/>
                <a:cs typeface="Arial" panose="020B0604020202020204" pitchFamily="34" charset="0"/>
              </a:endParaRPr>
            </a:p>
            <a:p>
              <a:endParaRPr lang="en-US" sz="731" dirty="0">
                <a:solidFill>
                  <a:schemeClr val="tx1"/>
                </a:solidFill>
                <a:latin typeface="Arial" panose="020B0604020202020204" pitchFamily="34" charset="0"/>
                <a:cs typeface="Arial" panose="020B0604020202020204" pitchFamily="34" charset="0"/>
              </a:endParaRPr>
            </a:p>
          </p:txBody>
        </p:sp>
      </p:grpSp>
      <p:grpSp>
        <p:nvGrpSpPr>
          <p:cNvPr id="19" name="Group 18"/>
          <p:cNvGrpSpPr/>
          <p:nvPr/>
        </p:nvGrpSpPr>
        <p:grpSpPr>
          <a:xfrm>
            <a:off x="1134175" y="1292602"/>
            <a:ext cx="6240997" cy="912879"/>
            <a:chOff x="314813" y="1316708"/>
            <a:chExt cx="5113471" cy="838389"/>
          </a:xfrm>
        </p:grpSpPr>
        <p:sp>
          <p:nvSpPr>
            <p:cNvPr id="21" name="Rectangle 20"/>
            <p:cNvSpPr/>
            <p:nvPr/>
          </p:nvSpPr>
          <p:spPr>
            <a:xfrm>
              <a:off x="314813" y="1316708"/>
              <a:ext cx="5113471" cy="838389"/>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975" dirty="0">
                <a:solidFill>
                  <a:schemeClr val="accent6">
                    <a:lumMod val="50000"/>
                  </a:schemeClr>
                </a:solidFill>
                <a:latin typeface="Arial" panose="020B0604020202020204" pitchFamily="34" charset="0"/>
                <a:cs typeface="Arial" panose="020B0604020202020204" pitchFamily="34" charset="0"/>
              </a:endParaRPr>
            </a:p>
          </p:txBody>
        </p:sp>
        <p:sp>
          <p:nvSpPr>
            <p:cNvPr id="22" name="Rectangle 21"/>
            <p:cNvSpPr/>
            <p:nvPr/>
          </p:nvSpPr>
          <p:spPr>
            <a:xfrm>
              <a:off x="388756" y="1657221"/>
              <a:ext cx="1505486" cy="4281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productivity </a:t>
              </a:r>
              <a:r>
                <a:rPr lang="en-US" sz="813" i="1" dirty="0">
                  <a:solidFill>
                    <a:schemeClr val="tx1"/>
                  </a:solidFill>
                  <a:latin typeface="Arial" panose="020B0604020202020204" pitchFamily="34" charset="0"/>
                  <a:cs typeface="Arial" panose="020B0604020202020204" pitchFamily="34" charset="0"/>
                </a:rPr>
                <a:t>(more productive small holder farming units and SMEs )</a:t>
              </a:r>
            </a:p>
          </p:txBody>
        </p:sp>
        <p:sp>
          <p:nvSpPr>
            <p:cNvPr id="24" name="Rectangle 23"/>
            <p:cNvSpPr/>
            <p:nvPr/>
          </p:nvSpPr>
          <p:spPr>
            <a:xfrm>
              <a:off x="368426" y="1335250"/>
              <a:ext cx="4246825"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94" b="1" dirty="0" smtClean="0">
                  <a:solidFill>
                    <a:schemeClr val="tx1"/>
                  </a:solidFill>
                  <a:latin typeface="Arial" panose="020B0604020202020204" pitchFamily="34" charset="0"/>
                  <a:cs typeface="Arial" panose="020B0604020202020204" pitchFamily="34" charset="0"/>
                </a:rPr>
                <a:t>Increased incomes and improved food security</a:t>
              </a:r>
              <a:endParaRPr lang="en-US" sz="894" b="1" dirty="0">
                <a:solidFill>
                  <a:schemeClr val="tx1"/>
                </a:solidFill>
                <a:latin typeface="Arial" panose="020B0604020202020204" pitchFamily="34" charset="0"/>
                <a:cs typeface="Arial" panose="020B0604020202020204" pitchFamily="34" charset="0"/>
              </a:endParaRPr>
            </a:p>
          </p:txBody>
        </p:sp>
      </p:grpSp>
      <p:sp>
        <p:nvSpPr>
          <p:cNvPr id="28" name="Rectangle 27"/>
          <p:cNvSpPr/>
          <p:nvPr/>
        </p:nvSpPr>
        <p:spPr>
          <a:xfrm>
            <a:off x="7636060" y="2461759"/>
            <a:ext cx="1694003" cy="2345818"/>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GB" sz="813" b="1" dirty="0">
                <a:solidFill>
                  <a:schemeClr val="tx1"/>
                </a:solidFill>
                <a:latin typeface="Arial" panose="020B0604020202020204" pitchFamily="34" charset="0"/>
                <a:cs typeface="Arial" panose="020B0604020202020204" pitchFamily="34" charset="0"/>
              </a:rPr>
              <a:t>Partnerships</a:t>
            </a:r>
          </a:p>
          <a:p>
            <a:r>
              <a:rPr lang="en-GB" sz="813" dirty="0">
                <a:solidFill>
                  <a:schemeClr val="tx1"/>
                </a:solidFill>
                <a:latin typeface="Arial" panose="020B0604020202020204" pitchFamily="34" charset="0"/>
                <a:cs typeface="Arial" panose="020B0604020202020204" pitchFamily="34" charset="0"/>
              </a:rPr>
              <a:t>Work with partners at all levels to:</a:t>
            </a:r>
          </a:p>
          <a:p>
            <a:pPr marL="232172" indent="-232172">
              <a:buFont typeface="Arial" panose="020B0604020202020204" pitchFamily="34" charset="0"/>
              <a:buChar char="•"/>
            </a:pPr>
            <a:r>
              <a:rPr lang="en-GB" sz="813" dirty="0">
                <a:solidFill>
                  <a:schemeClr val="tx1"/>
                </a:solidFill>
                <a:latin typeface="Arial" panose="020B0604020202020204" pitchFamily="34" charset="0"/>
                <a:cs typeface="Arial" panose="020B0604020202020204" pitchFamily="34" charset="0"/>
              </a:rPr>
              <a:t>Crowd in private capital in  support of small-holder agricultural development </a:t>
            </a:r>
          </a:p>
          <a:p>
            <a:pPr marL="232172" indent="-232172">
              <a:buFont typeface="Arial" panose="020B0604020202020204" pitchFamily="34" charset="0"/>
              <a:buChar char="•"/>
            </a:pPr>
            <a:r>
              <a:rPr lang="en-GB" sz="813" dirty="0">
                <a:solidFill>
                  <a:schemeClr val="tx1"/>
                </a:solidFill>
                <a:latin typeface="Arial" panose="020B0604020202020204" pitchFamily="34" charset="0"/>
                <a:cs typeface="Arial" panose="020B0604020202020204" pitchFamily="34" charset="0"/>
              </a:rPr>
              <a:t>Derive synergies and reduce duplication of effort likelihood of transformation within </a:t>
            </a:r>
          </a:p>
          <a:p>
            <a:pPr marL="232172" indent="-232172">
              <a:buFont typeface="Arial" panose="020B0604020202020204" pitchFamily="34" charset="0"/>
              <a:buChar char="•"/>
            </a:pPr>
            <a:r>
              <a:rPr lang="en-GB" sz="813" dirty="0">
                <a:solidFill>
                  <a:schemeClr val="tx1"/>
                </a:solidFill>
                <a:latin typeface="Arial" panose="020B0604020202020204" pitchFamily="34" charset="0"/>
                <a:cs typeface="Arial" panose="020B0604020202020204" pitchFamily="34" charset="0"/>
              </a:rPr>
              <a:t>Derive synergies in order to increase the reach of AGRA’s investments (impact at scale)</a:t>
            </a:r>
          </a:p>
        </p:txBody>
      </p:sp>
      <p:sp>
        <p:nvSpPr>
          <p:cNvPr id="34" name="Up Arrow 33"/>
          <p:cNvSpPr/>
          <p:nvPr/>
        </p:nvSpPr>
        <p:spPr>
          <a:xfrm>
            <a:off x="509033" y="1292602"/>
            <a:ext cx="207040" cy="4611392"/>
          </a:xfrm>
          <a:prstGeom prst="upArrow">
            <a:avLst/>
          </a:prstGeom>
          <a:solidFill>
            <a:schemeClr val="tx1">
              <a:lumMod val="65000"/>
              <a:lumOff val="3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grpSp>
        <p:nvGrpSpPr>
          <p:cNvPr id="36" name="Group 35"/>
          <p:cNvGrpSpPr/>
          <p:nvPr/>
        </p:nvGrpSpPr>
        <p:grpSpPr>
          <a:xfrm>
            <a:off x="670062" y="1143686"/>
            <a:ext cx="410331" cy="4919723"/>
            <a:chOff x="9026706" y="127976"/>
            <a:chExt cx="458874" cy="6055043"/>
          </a:xfrm>
        </p:grpSpPr>
        <p:sp>
          <p:nvSpPr>
            <p:cNvPr id="37" name="TextBox 36"/>
            <p:cNvSpPr txBox="1"/>
            <p:nvPr/>
          </p:nvSpPr>
          <p:spPr>
            <a:xfrm rot="16200000" flipH="1">
              <a:off x="8451695" y="5274676"/>
              <a:ext cx="1545639" cy="271047"/>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What AGRA </a:t>
              </a:r>
              <a:r>
                <a:rPr lang="en-US" sz="975" b="1" dirty="0">
                  <a:latin typeface="Arial" panose="020B0604020202020204" pitchFamily="34" charset="0"/>
                  <a:cs typeface="Arial" panose="020B0604020202020204" pitchFamily="34" charset="0"/>
                </a:rPr>
                <a:t>does</a:t>
              </a:r>
            </a:p>
          </p:txBody>
        </p:sp>
        <p:sp>
          <p:nvSpPr>
            <p:cNvPr id="38" name="TextBox 37"/>
            <p:cNvSpPr txBox="1"/>
            <p:nvPr/>
          </p:nvSpPr>
          <p:spPr>
            <a:xfrm rot="16200000" flipH="1">
              <a:off x="8471278" y="683404"/>
              <a:ext cx="1493908" cy="383052"/>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AGRA’s Strategic Goals</a:t>
              </a:r>
            </a:p>
          </p:txBody>
        </p:sp>
        <p:sp>
          <p:nvSpPr>
            <p:cNvPr id="39" name="TextBox 38"/>
            <p:cNvSpPr txBox="1"/>
            <p:nvPr/>
          </p:nvSpPr>
          <p:spPr>
            <a:xfrm rot="16200000" flipH="1">
              <a:off x="7751602" y="2844567"/>
              <a:ext cx="3084903" cy="383052"/>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So that the target population, institution or resource change </a:t>
              </a:r>
            </a:p>
          </p:txBody>
        </p:sp>
      </p:grpSp>
      <p:sp>
        <p:nvSpPr>
          <p:cNvPr id="40" name="Rectangle 39"/>
          <p:cNvSpPr/>
          <p:nvPr/>
        </p:nvSpPr>
        <p:spPr>
          <a:xfrm>
            <a:off x="1202851" y="5039682"/>
            <a:ext cx="6172321" cy="864312"/>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GB" sz="813" b="1" dirty="0">
                <a:solidFill>
                  <a:schemeClr val="tx1"/>
                </a:solidFill>
                <a:latin typeface="Arial" panose="020B0604020202020204" pitchFamily="34" charset="0"/>
                <a:cs typeface="Arial" panose="020B0604020202020204" pitchFamily="34" charset="0"/>
              </a:rPr>
              <a:t>Investment areas </a:t>
            </a:r>
          </a:p>
          <a:p>
            <a:pPr marL="232172" indent="-232172">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Develop appropriate sector strategies and investment plans for agricultural transformation</a:t>
            </a:r>
          </a:p>
          <a:p>
            <a:pPr marL="232172" indent="-232172">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Formulate appropriate policies that catalyze and sustain agricultural transformation and promote regional trade</a:t>
            </a:r>
          </a:p>
          <a:p>
            <a:pPr marL="232172" indent="-232172">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Implement sector plans and policies in order to  generate sufficient public goods that de-risk the sector, attract   private capital   investment and facilitate regional trade </a:t>
            </a:r>
          </a:p>
          <a:p>
            <a:pPr marL="139303" indent="-139303">
              <a:buFont typeface="Arial" panose="020B0604020202020204" pitchFamily="34" charset="0"/>
              <a:buChar char="•"/>
            </a:pPr>
            <a:endParaRPr lang="en-US" sz="813" dirty="0">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xmlns="" id="{DF0A37FE-9961-7446-A9D2-C6C2F70CDB9E}"/>
              </a:ext>
            </a:extLst>
          </p:cNvPr>
          <p:cNvSpPr/>
          <p:nvPr/>
        </p:nvSpPr>
        <p:spPr>
          <a:xfrm>
            <a:off x="5512512" y="1663370"/>
            <a:ext cx="1418683" cy="43092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resilience (more adaptive and  resilient households  to shocks)</a:t>
            </a:r>
          </a:p>
        </p:txBody>
      </p:sp>
      <p:sp>
        <p:nvSpPr>
          <p:cNvPr id="27" name="Rectangle 26">
            <a:extLst>
              <a:ext uri="{FF2B5EF4-FFF2-40B4-BE49-F238E27FC236}">
                <a16:creationId xmlns:a16="http://schemas.microsoft.com/office/drawing/2014/main" xmlns="" id="{A3D5872F-A552-8D4A-8F87-345FFF590BB9}"/>
              </a:ext>
            </a:extLst>
          </p:cNvPr>
          <p:cNvSpPr/>
          <p:nvPr/>
        </p:nvSpPr>
        <p:spPr>
          <a:xfrm>
            <a:off x="3539489" y="2433038"/>
            <a:ext cx="1801232" cy="154278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Franklin Gothic Medium" panose="020B06030201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Non-state actor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private sector investment along the value chain (input production and delivery, farm  production, distribution, processing  and retail)</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private sector participation in cross-border and domestic trade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Non-state actors actively engaged in the accountability processes</a:t>
            </a:r>
          </a:p>
          <a:p>
            <a:endParaRPr lang="en-US" sz="731" dirty="0">
              <a:solidFill>
                <a:schemeClr val="tx1"/>
              </a:solidFill>
              <a:latin typeface="Franklin Gothic Medium" panose="020B06030201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1D452AD5-4EF1-BA43-8931-4EE0B7926A9A}"/>
              </a:ext>
            </a:extLst>
          </p:cNvPr>
          <p:cNvSpPr/>
          <p:nvPr/>
        </p:nvSpPr>
        <p:spPr>
          <a:xfrm>
            <a:off x="5398364" y="2433037"/>
            <a:ext cx="1733002" cy="154278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731" b="1" dirty="0" smtClean="0">
                <a:solidFill>
                  <a:schemeClr val="tx1"/>
                </a:solidFill>
                <a:latin typeface="Arial" panose="020B0604020202020204" pitchFamily="34" charset="0"/>
                <a:cs typeface="Arial" panose="020B0604020202020204" pitchFamily="34" charset="0"/>
              </a:rPr>
              <a:t>Functioning </a:t>
            </a:r>
            <a:r>
              <a:rPr lang="en-US" sz="731" b="1" dirty="0">
                <a:solidFill>
                  <a:schemeClr val="tx1"/>
                </a:solidFill>
                <a:latin typeface="Arial" panose="020B0604020202020204" pitchFamily="34" charset="0"/>
                <a:cs typeface="Arial" panose="020B0604020202020204" pitchFamily="34" charset="0"/>
              </a:rPr>
              <a:t>system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private sector investment along the value chain (input production and delivery, farm  production, distribution, processing  and retail)</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Appropriate regulatory framework for the agricultural sector in place and operational</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Reduction and elimination of barriers to domestic and regional trade </a:t>
            </a:r>
            <a:endParaRPr lang="en-US" sz="731" dirty="0">
              <a:solidFill>
                <a:schemeClr val="tx1"/>
              </a:solidFill>
              <a:latin typeface="Franklin Gothic Medium" panose="020B06030201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xmlns="" id="{779CB063-1254-244C-8F4B-A7CC5C1362DC}"/>
              </a:ext>
            </a:extLst>
          </p:cNvPr>
          <p:cNvSpPr/>
          <p:nvPr/>
        </p:nvSpPr>
        <p:spPr>
          <a:xfrm>
            <a:off x="3414755" y="1671670"/>
            <a:ext cx="2029198" cy="457836"/>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regional trade </a:t>
            </a:r>
            <a:r>
              <a:rPr lang="en-US" sz="813" i="1" dirty="0">
                <a:solidFill>
                  <a:schemeClr val="tx1"/>
                </a:solidFill>
                <a:latin typeface="Arial" panose="020B0604020202020204" pitchFamily="34" charset="0"/>
                <a:cs typeface="Arial" panose="020B0604020202020204" pitchFamily="34" charset="0"/>
              </a:rPr>
              <a:t>(intra-Africa trade) in agricultural commodities and </a:t>
            </a:r>
            <a:r>
              <a:rPr lang="en-US" sz="813" i="1" dirty="0" smtClean="0">
                <a:solidFill>
                  <a:schemeClr val="tx1"/>
                </a:solidFill>
                <a:latin typeface="Arial" panose="020B0604020202020204" pitchFamily="34" charset="0"/>
                <a:cs typeface="Arial" panose="020B0604020202020204" pitchFamily="34" charset="0"/>
              </a:rPr>
              <a:t>inputs</a:t>
            </a:r>
            <a:endParaRPr lang="en-US" sz="813" i="1" dirty="0">
              <a:solidFill>
                <a:schemeClr val="tx1"/>
              </a:solidFill>
              <a:latin typeface="Arial" panose="020B0604020202020204" pitchFamily="34" charset="0"/>
              <a:cs typeface="Arial" panose="020B0604020202020204" pitchFamily="34" charset="0"/>
            </a:endParaRPr>
          </a:p>
        </p:txBody>
      </p:sp>
      <p:sp>
        <p:nvSpPr>
          <p:cNvPr id="32" name="Isosceles Triangle 32">
            <a:extLst>
              <a:ext uri="{FF2B5EF4-FFF2-40B4-BE49-F238E27FC236}">
                <a16:creationId xmlns:a16="http://schemas.microsoft.com/office/drawing/2014/main" xmlns="" id="{3515A01F-68F0-EB46-92DF-90FAD1177975}"/>
              </a:ext>
            </a:extLst>
          </p:cNvPr>
          <p:cNvSpPr/>
          <p:nvPr/>
        </p:nvSpPr>
        <p:spPr>
          <a:xfrm rot="16200000">
            <a:off x="6333755" y="3626015"/>
            <a:ext cx="2413173" cy="84660"/>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lstStyle/>
          <a:p>
            <a:r>
              <a:rPr lang="en-US" dirty="0" smtClean="0"/>
              <a:t>Policy and </a:t>
            </a:r>
            <a:r>
              <a:rPr lang="en-US" dirty="0"/>
              <a:t>State Capability </a:t>
            </a:r>
            <a:r>
              <a:rPr lang="en-US" dirty="0" smtClean="0"/>
              <a:t>Theory of Change</a:t>
            </a:r>
            <a:endParaRPr lang="en-US" dirty="0"/>
          </a:p>
        </p:txBody>
      </p:sp>
    </p:spTree>
    <p:extLst>
      <p:ext uri="{BB962C8B-B14F-4D97-AF65-F5344CB8AC3E}">
        <p14:creationId xmlns:p14="http://schemas.microsoft.com/office/powerpoint/2010/main" val="225201981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28485"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279440" y="1710000"/>
            <a:ext cx="4118924" cy="148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975" b="1" dirty="0">
              <a:solidFill>
                <a:schemeClr val="accent6">
                  <a:lumMod val="50000"/>
                </a:schemeClr>
              </a:solidFill>
              <a:latin typeface="Arial" panose="020B0604020202020204" pitchFamily="34" charset="0"/>
              <a:cs typeface="Arial" panose="020B0604020202020204" pitchFamily="34" charset="0"/>
            </a:endParaRPr>
          </a:p>
        </p:txBody>
      </p:sp>
      <p:grpSp>
        <p:nvGrpSpPr>
          <p:cNvPr id="7" name="Group 6"/>
          <p:cNvGrpSpPr/>
          <p:nvPr/>
        </p:nvGrpSpPr>
        <p:grpSpPr>
          <a:xfrm>
            <a:off x="1142369" y="2232732"/>
            <a:ext cx="5105719" cy="1788338"/>
            <a:chOff x="314812" y="2552146"/>
            <a:chExt cx="5680818" cy="2201031"/>
          </a:xfrm>
        </p:grpSpPr>
        <p:sp>
          <p:nvSpPr>
            <p:cNvPr id="8" name="Rectangle 7"/>
            <p:cNvSpPr/>
            <p:nvPr/>
          </p:nvSpPr>
          <p:spPr>
            <a:xfrm>
              <a:off x="314812" y="2552146"/>
              <a:ext cx="5680818" cy="2201031"/>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r>
                <a:rPr lang="en-US" sz="853" b="1" dirty="0">
                  <a:solidFill>
                    <a:schemeClr val="tx1"/>
                  </a:solidFill>
                  <a:latin typeface="Arial" panose="020B0604020202020204" pitchFamily="34" charset="0"/>
                  <a:cs typeface="Arial" panose="020B0604020202020204" pitchFamily="34" charset="0"/>
                </a:rPr>
                <a:t>Outcomes </a:t>
              </a:r>
            </a:p>
          </p:txBody>
        </p:sp>
        <p:sp>
          <p:nvSpPr>
            <p:cNvPr id="9" name="Rectangle 8"/>
            <p:cNvSpPr/>
            <p:nvPr/>
          </p:nvSpPr>
          <p:spPr>
            <a:xfrm>
              <a:off x="364928" y="2788667"/>
              <a:ext cx="2444852" cy="1223532"/>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Arial" panose="020B06040202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Farmers using</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 Improved production,  management  technologies and practices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Agricultural credit and financial services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mproved post harvest management technologies and practice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Early warning weather and market intelligence information</a:t>
              </a:r>
            </a:p>
            <a:p>
              <a:endParaRPr lang="en-US" sz="731" dirty="0">
                <a:solidFill>
                  <a:schemeClr val="tx1"/>
                </a:solidFill>
                <a:latin typeface="Arial" panose="020B0604020202020204" pitchFamily="34" charset="0"/>
                <a:cs typeface="Arial" panose="020B0604020202020204" pitchFamily="34" charset="0"/>
              </a:endParaRPr>
            </a:p>
          </p:txBody>
        </p:sp>
        <p:sp>
          <p:nvSpPr>
            <p:cNvPr id="11" name="Rectangle 10"/>
            <p:cNvSpPr/>
            <p:nvPr/>
          </p:nvSpPr>
          <p:spPr>
            <a:xfrm>
              <a:off x="3003467" y="2800072"/>
              <a:ext cx="2798476" cy="121212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Arial" panose="020B06040202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Non-state actor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Large, MSMEs  producing and  delivering inputs, extension, services to farmers in response to demand from farmer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  Bank and non-bank institutions providing financial and credit services to MSMEs and farmers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Large, MSMEs providing off-taking,  warehousing and processing services  </a:t>
              </a:r>
            </a:p>
            <a:p>
              <a:endParaRPr lang="en-US" sz="731" dirty="0">
                <a:solidFill>
                  <a:schemeClr val="tx1"/>
                </a:solidFill>
                <a:latin typeface="Arial" panose="020B0604020202020204" pitchFamily="34" charset="0"/>
                <a:cs typeface="Arial" panose="020B0604020202020204" pitchFamily="34" charset="0"/>
              </a:endParaRPr>
            </a:p>
          </p:txBody>
        </p:sp>
        <p:sp>
          <p:nvSpPr>
            <p:cNvPr id="17" name="Rectangle 16"/>
            <p:cNvSpPr/>
            <p:nvPr/>
          </p:nvSpPr>
          <p:spPr>
            <a:xfrm>
              <a:off x="364927" y="4129032"/>
              <a:ext cx="5571713" cy="51916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13" b="1" dirty="0">
                  <a:solidFill>
                    <a:schemeClr val="tx1"/>
                  </a:solidFill>
                  <a:latin typeface="Arial" panose="020B0604020202020204" pitchFamily="34" charset="0"/>
                  <a:cs typeface="Arial" panose="020B0604020202020204" pitchFamily="34" charset="0"/>
                </a:rPr>
                <a:t>Farmers and other value chain actors have improved access to </a:t>
              </a:r>
            </a:p>
            <a:p>
              <a:r>
                <a:rPr lang="en-US" sz="813" dirty="0">
                  <a:solidFill>
                    <a:schemeClr val="tx1"/>
                  </a:solidFill>
                  <a:latin typeface="Arial" panose="020B0604020202020204" pitchFamily="34" charset="0"/>
                  <a:cs typeface="Arial" panose="020B0604020202020204" pitchFamily="34" charset="0"/>
                </a:rPr>
                <a:t>Inputs (fertilizer, seeds); Extension services (knowledge and information); Credit and financial services, stable and remunerative markets, early warning and market intelligence information</a:t>
              </a:r>
            </a:p>
          </p:txBody>
        </p:sp>
      </p:grpSp>
      <p:grpSp>
        <p:nvGrpSpPr>
          <p:cNvPr id="19" name="Group 18"/>
          <p:cNvGrpSpPr/>
          <p:nvPr/>
        </p:nvGrpSpPr>
        <p:grpSpPr>
          <a:xfrm>
            <a:off x="1169841" y="1292602"/>
            <a:ext cx="5038538" cy="912879"/>
            <a:chOff x="314813" y="1316708"/>
            <a:chExt cx="5113471" cy="838389"/>
          </a:xfrm>
        </p:grpSpPr>
        <p:sp>
          <p:nvSpPr>
            <p:cNvPr id="21" name="Rectangle 20"/>
            <p:cNvSpPr/>
            <p:nvPr/>
          </p:nvSpPr>
          <p:spPr>
            <a:xfrm>
              <a:off x="314813" y="1316708"/>
              <a:ext cx="5113471" cy="838389"/>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975" dirty="0">
                <a:solidFill>
                  <a:schemeClr val="accent6">
                    <a:lumMod val="50000"/>
                  </a:schemeClr>
                </a:solidFill>
                <a:latin typeface="Arial" panose="020B0604020202020204" pitchFamily="34" charset="0"/>
                <a:cs typeface="Arial" panose="020B0604020202020204" pitchFamily="34" charset="0"/>
              </a:endParaRPr>
            </a:p>
          </p:txBody>
        </p:sp>
        <p:sp>
          <p:nvSpPr>
            <p:cNvPr id="22" name="Rectangle 21"/>
            <p:cNvSpPr/>
            <p:nvPr/>
          </p:nvSpPr>
          <p:spPr>
            <a:xfrm>
              <a:off x="1230201" y="1664844"/>
              <a:ext cx="1565862" cy="4281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productivity </a:t>
              </a:r>
              <a:r>
                <a:rPr lang="en-US" sz="813" i="1" dirty="0">
                  <a:solidFill>
                    <a:schemeClr val="tx1"/>
                  </a:solidFill>
                  <a:latin typeface="Arial" panose="020B0604020202020204" pitchFamily="34" charset="0"/>
                  <a:cs typeface="Arial" panose="020B0604020202020204" pitchFamily="34" charset="0"/>
                </a:rPr>
                <a:t>(More productive small holder farming units and SMEs)</a:t>
              </a:r>
            </a:p>
          </p:txBody>
        </p:sp>
        <p:sp>
          <p:nvSpPr>
            <p:cNvPr id="24" name="Rectangle 23"/>
            <p:cNvSpPr/>
            <p:nvPr/>
          </p:nvSpPr>
          <p:spPr>
            <a:xfrm>
              <a:off x="981671" y="1327177"/>
              <a:ext cx="4085069"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94" b="1" dirty="0">
                  <a:solidFill>
                    <a:schemeClr val="tx1"/>
                  </a:solidFill>
                  <a:latin typeface="Arial" panose="020B0604020202020204" pitchFamily="34" charset="0"/>
                  <a:cs typeface="Arial" panose="020B0604020202020204" pitchFamily="34" charset="0"/>
                </a:rPr>
                <a:t>Increased incomes and improved food security</a:t>
              </a:r>
            </a:p>
          </p:txBody>
        </p:sp>
      </p:grpSp>
      <p:grpSp>
        <p:nvGrpSpPr>
          <p:cNvPr id="26" name="Group 25"/>
          <p:cNvGrpSpPr/>
          <p:nvPr/>
        </p:nvGrpSpPr>
        <p:grpSpPr>
          <a:xfrm>
            <a:off x="6495613" y="2232731"/>
            <a:ext cx="2835543" cy="3598993"/>
            <a:chOff x="5493255" y="1537542"/>
            <a:chExt cx="3574546" cy="2389931"/>
          </a:xfrm>
        </p:grpSpPr>
        <p:sp>
          <p:nvSpPr>
            <p:cNvPr id="28" name="Rectangle 27"/>
            <p:cNvSpPr/>
            <p:nvPr/>
          </p:nvSpPr>
          <p:spPr>
            <a:xfrm>
              <a:off x="5493256" y="2788134"/>
              <a:ext cx="3566662" cy="1139339"/>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GB" sz="975" b="1" dirty="0">
                  <a:solidFill>
                    <a:schemeClr val="tx1"/>
                  </a:solidFill>
                  <a:latin typeface="Arial" panose="020B0604020202020204" pitchFamily="34" charset="0"/>
                  <a:cs typeface="Arial" panose="020B0604020202020204" pitchFamily="34" charset="0"/>
                </a:rPr>
                <a:t>Partnerships</a:t>
              </a:r>
            </a:p>
            <a:p>
              <a:r>
                <a:rPr lang="en-GB" sz="894" dirty="0">
                  <a:solidFill>
                    <a:schemeClr val="tx1"/>
                  </a:solidFill>
                  <a:latin typeface="Arial" panose="020B0604020202020204" pitchFamily="34" charset="0"/>
                  <a:cs typeface="Arial" panose="020B0604020202020204" pitchFamily="34" charset="0"/>
                </a:rPr>
                <a:t>Work with partners at all levels to:</a:t>
              </a:r>
            </a:p>
            <a:p>
              <a:pPr marL="232172" indent="-232172">
                <a:buFont typeface="Arial" panose="020B0604020202020204" pitchFamily="34" charset="0"/>
                <a:buChar char="•"/>
              </a:pPr>
              <a:r>
                <a:rPr lang="en-GB" sz="894" dirty="0">
                  <a:solidFill>
                    <a:schemeClr val="tx1"/>
                  </a:solidFill>
                  <a:latin typeface="Arial" panose="020B0604020202020204" pitchFamily="34" charset="0"/>
                  <a:cs typeface="Arial" panose="020B0604020202020204" pitchFamily="34" charset="0"/>
                </a:rPr>
                <a:t>Crowd in private capital in  support of small-holder agricultural development </a:t>
              </a:r>
            </a:p>
            <a:p>
              <a:pPr marL="232172" indent="-232172">
                <a:buFont typeface="Arial" panose="020B0604020202020204" pitchFamily="34" charset="0"/>
                <a:buChar char="•"/>
              </a:pPr>
              <a:r>
                <a:rPr lang="en-GB" sz="894" dirty="0">
                  <a:solidFill>
                    <a:schemeClr val="tx1"/>
                  </a:solidFill>
                  <a:latin typeface="Arial" panose="020B0604020202020204" pitchFamily="34" charset="0"/>
                  <a:cs typeface="Arial" panose="020B0604020202020204" pitchFamily="34" charset="0"/>
                </a:rPr>
                <a:t>Derive synergies and reduce duplication of effort likelihood of transformation within </a:t>
              </a:r>
            </a:p>
            <a:p>
              <a:pPr marL="232172" indent="-232172">
                <a:buFont typeface="Arial" panose="020B0604020202020204" pitchFamily="34" charset="0"/>
                <a:buChar char="•"/>
              </a:pPr>
              <a:r>
                <a:rPr lang="en-GB" sz="894" dirty="0">
                  <a:solidFill>
                    <a:schemeClr val="tx1"/>
                  </a:solidFill>
                  <a:latin typeface="Arial" panose="020B0604020202020204" pitchFamily="34" charset="0"/>
                  <a:cs typeface="Arial" panose="020B0604020202020204" pitchFamily="34" charset="0"/>
                </a:rPr>
                <a:t>Derive synergies in order to increase the reach of AGRA’s investments (impact at scale)</a:t>
              </a:r>
            </a:p>
          </p:txBody>
        </p:sp>
        <p:sp>
          <p:nvSpPr>
            <p:cNvPr id="29" name="Rectangle 28"/>
            <p:cNvSpPr/>
            <p:nvPr/>
          </p:nvSpPr>
          <p:spPr>
            <a:xfrm>
              <a:off x="5493255" y="1537542"/>
              <a:ext cx="3574546" cy="1187554"/>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975" b="1" dirty="0">
                  <a:solidFill>
                    <a:schemeClr val="tx1"/>
                  </a:solidFill>
                  <a:latin typeface="Arial" panose="020B0604020202020204" pitchFamily="34" charset="0"/>
                  <a:cs typeface="Arial" panose="020B0604020202020204" pitchFamily="34" charset="0"/>
                </a:rPr>
                <a:t>State capacity and policy </a:t>
              </a:r>
            </a:p>
            <a:p>
              <a:r>
                <a:rPr lang="en-US" sz="894" dirty="0">
                  <a:solidFill>
                    <a:schemeClr val="tx1"/>
                  </a:solidFill>
                  <a:latin typeface="Arial" panose="020B0604020202020204" pitchFamily="34" charset="0"/>
                  <a:cs typeface="Arial" panose="020B0604020202020204" pitchFamily="34" charset="0"/>
                </a:rPr>
                <a:t>Develop state capability to:</a:t>
              </a:r>
            </a:p>
            <a:p>
              <a:pPr marL="232172" indent="-232172">
                <a:buFont typeface="Arial" panose="020B0604020202020204" pitchFamily="34" charset="0"/>
                <a:buChar char="•"/>
              </a:pPr>
              <a:r>
                <a:rPr lang="en-US" sz="894" dirty="0">
                  <a:solidFill>
                    <a:schemeClr val="tx1"/>
                  </a:solidFill>
                  <a:latin typeface="Arial" panose="020B0604020202020204" pitchFamily="34" charset="0"/>
                  <a:cs typeface="Arial" panose="020B0604020202020204" pitchFamily="34" charset="0"/>
                </a:rPr>
                <a:t>Develop appropriate sector strategies and investment plans for agricultural transformation</a:t>
              </a:r>
            </a:p>
            <a:p>
              <a:pPr marL="232172" indent="-232172">
                <a:buFont typeface="Arial" panose="020B0604020202020204" pitchFamily="34" charset="0"/>
                <a:buChar char="•"/>
              </a:pPr>
              <a:r>
                <a:rPr lang="en-US" sz="894" dirty="0">
                  <a:solidFill>
                    <a:schemeClr val="tx1"/>
                  </a:solidFill>
                  <a:latin typeface="Arial" panose="020B0604020202020204" pitchFamily="34" charset="0"/>
                  <a:cs typeface="Arial" panose="020B0604020202020204" pitchFamily="34" charset="0"/>
                </a:rPr>
                <a:t>Formulate appropriate policies that catalyze and sustain agricultural transformation and promote regional trade</a:t>
              </a:r>
            </a:p>
            <a:p>
              <a:pPr marL="232172" indent="-232172">
                <a:buFont typeface="Arial" panose="020B0604020202020204" pitchFamily="34" charset="0"/>
                <a:buChar char="•"/>
              </a:pPr>
              <a:r>
                <a:rPr lang="en-US" sz="894" dirty="0">
                  <a:solidFill>
                    <a:schemeClr val="tx1"/>
                  </a:solidFill>
                  <a:latin typeface="Arial" panose="020B0604020202020204" pitchFamily="34" charset="0"/>
                  <a:cs typeface="Arial" panose="020B0604020202020204" pitchFamily="34" charset="0"/>
                </a:rPr>
                <a:t>Implement sector plans and policies in order to  generate sufficient public goods that de-risk the sector, attract   private capital   investment and facilitate regional trade </a:t>
              </a:r>
            </a:p>
          </p:txBody>
        </p:sp>
      </p:grpSp>
      <p:sp>
        <p:nvSpPr>
          <p:cNvPr id="33" name="Isosceles Triangle 32"/>
          <p:cNvSpPr/>
          <p:nvPr/>
        </p:nvSpPr>
        <p:spPr>
          <a:xfrm rot="16200000">
            <a:off x="4513784" y="3900403"/>
            <a:ext cx="3670981" cy="145784"/>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sp>
        <p:nvSpPr>
          <p:cNvPr id="34" name="Up Arrow 33"/>
          <p:cNvSpPr/>
          <p:nvPr/>
        </p:nvSpPr>
        <p:spPr>
          <a:xfrm>
            <a:off x="509033" y="1292602"/>
            <a:ext cx="207040" cy="4611392"/>
          </a:xfrm>
          <a:prstGeom prst="upArrow">
            <a:avLst/>
          </a:prstGeom>
          <a:solidFill>
            <a:schemeClr val="tx1">
              <a:lumMod val="65000"/>
              <a:lumOff val="3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grpSp>
        <p:nvGrpSpPr>
          <p:cNvPr id="36" name="Group 35"/>
          <p:cNvGrpSpPr/>
          <p:nvPr/>
        </p:nvGrpSpPr>
        <p:grpSpPr>
          <a:xfrm>
            <a:off x="670051" y="1143687"/>
            <a:ext cx="472880" cy="4291807"/>
            <a:chOff x="9026706" y="127976"/>
            <a:chExt cx="528823" cy="5282224"/>
          </a:xfrm>
        </p:grpSpPr>
        <p:sp>
          <p:nvSpPr>
            <p:cNvPr id="37" name="TextBox 36"/>
            <p:cNvSpPr txBox="1"/>
            <p:nvPr/>
          </p:nvSpPr>
          <p:spPr>
            <a:xfrm rot="16200000" flipH="1">
              <a:off x="8504357" y="4501857"/>
              <a:ext cx="1545639" cy="271047"/>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What AGRA </a:t>
              </a:r>
              <a:r>
                <a:rPr lang="en-US" sz="975" b="1" dirty="0">
                  <a:latin typeface="Arial" panose="020B0604020202020204" pitchFamily="34" charset="0"/>
                  <a:cs typeface="Arial" panose="020B0604020202020204" pitchFamily="34" charset="0"/>
                </a:rPr>
                <a:t>does</a:t>
              </a:r>
            </a:p>
          </p:txBody>
        </p:sp>
        <p:sp>
          <p:nvSpPr>
            <p:cNvPr id="38" name="TextBox 37"/>
            <p:cNvSpPr txBox="1"/>
            <p:nvPr/>
          </p:nvSpPr>
          <p:spPr>
            <a:xfrm rot="16200000" flipH="1">
              <a:off x="8471278" y="683404"/>
              <a:ext cx="1493908" cy="383052"/>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AGRA’s Strategic Goals</a:t>
              </a:r>
            </a:p>
          </p:txBody>
        </p:sp>
        <p:sp>
          <p:nvSpPr>
            <p:cNvPr id="39" name="TextBox 38"/>
            <p:cNvSpPr txBox="1"/>
            <p:nvPr/>
          </p:nvSpPr>
          <p:spPr>
            <a:xfrm rot="16200000" flipH="1">
              <a:off x="8296678" y="2410522"/>
              <a:ext cx="1994751" cy="522950"/>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So that the target population, institution or resource change </a:t>
              </a:r>
            </a:p>
          </p:txBody>
        </p:sp>
      </p:grpSp>
      <p:sp>
        <p:nvSpPr>
          <p:cNvPr id="40" name="Rectangle 39"/>
          <p:cNvSpPr/>
          <p:nvPr/>
        </p:nvSpPr>
        <p:spPr>
          <a:xfrm>
            <a:off x="1157052" y="4115997"/>
            <a:ext cx="5038018" cy="1819851"/>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GB" sz="813" b="1" dirty="0">
                <a:solidFill>
                  <a:schemeClr val="tx1"/>
                </a:solidFill>
                <a:latin typeface="Arial" panose="020B0604020202020204" pitchFamily="34" charset="0"/>
                <a:cs typeface="Arial" panose="020B0604020202020204" pitchFamily="34" charset="0"/>
              </a:rPr>
              <a:t>Investment areas </a:t>
            </a:r>
          </a:p>
          <a:p>
            <a:pPr marL="139303" indent="-139303">
              <a:buFont typeface="Arial" panose="020B0604020202020204" pitchFamily="34" charset="0"/>
              <a:buChar char="•"/>
            </a:pPr>
            <a:r>
              <a:rPr lang="en-US" sz="975" dirty="0">
                <a:latin typeface="Arial" panose="020B0604020202020204" pitchFamily="34" charset="0"/>
                <a:cs typeface="Arial" panose="020B0604020202020204" pitchFamily="34" charset="0"/>
              </a:rPr>
              <a:t>Strengthening agricultural input systems, technology development and supply chain</a:t>
            </a:r>
          </a:p>
          <a:p>
            <a:pPr marL="139303" indent="-139303">
              <a:buFont typeface="Arial" panose="020B0604020202020204" pitchFamily="34" charset="0"/>
              <a:buChar char="•"/>
            </a:pPr>
            <a:r>
              <a:rPr lang="en-US" sz="975" dirty="0">
                <a:solidFill>
                  <a:schemeClr val="tx1"/>
                </a:solidFill>
                <a:latin typeface="Arial" panose="020B0604020202020204" pitchFamily="34" charset="0"/>
                <a:cs typeface="Arial" panose="020B0604020202020204" pitchFamily="34" charset="0"/>
              </a:rPr>
              <a:t>Developing and strengthening extension and advisory  services </a:t>
            </a:r>
          </a:p>
          <a:p>
            <a:pPr marL="139303" indent="-139303">
              <a:buFont typeface="Arial" panose="020B0604020202020204" pitchFamily="34" charset="0"/>
              <a:buChar char="•"/>
            </a:pPr>
            <a:r>
              <a:rPr lang="en-US" sz="975" dirty="0">
                <a:solidFill>
                  <a:schemeClr val="tx1"/>
                </a:solidFill>
                <a:latin typeface="Arial" panose="020B0604020202020204" pitchFamily="34" charset="0"/>
                <a:cs typeface="Arial" panose="020B0604020202020204" pitchFamily="34" charset="0"/>
              </a:rPr>
              <a:t>Developing and strengthening early warning weather and market information systems</a:t>
            </a:r>
          </a:p>
          <a:p>
            <a:pPr marL="139303" indent="-139303">
              <a:buFont typeface="Arial" panose="020B0604020202020204" pitchFamily="34" charset="0"/>
              <a:buChar char="•"/>
            </a:pPr>
            <a:r>
              <a:rPr lang="en-US" sz="975" dirty="0">
                <a:solidFill>
                  <a:schemeClr val="tx1"/>
                </a:solidFill>
                <a:latin typeface="Arial" panose="020B0604020202020204" pitchFamily="34" charset="0"/>
                <a:cs typeface="Arial" panose="020B0604020202020204" pitchFamily="34" charset="0"/>
              </a:rPr>
              <a:t>Developing and strengthening  responsive agricultural finance and credit systems </a:t>
            </a:r>
          </a:p>
          <a:p>
            <a:pPr marL="139303" indent="-139303">
              <a:buFont typeface="Arial" panose="020B0604020202020204" pitchFamily="34" charset="0"/>
              <a:buChar char="•"/>
            </a:pPr>
            <a:r>
              <a:rPr lang="en-US" sz="975" dirty="0">
                <a:solidFill>
                  <a:schemeClr val="tx1"/>
                </a:solidFill>
                <a:latin typeface="Arial" panose="020B0604020202020204" pitchFamily="34" charset="0"/>
                <a:cs typeface="Arial" panose="020B0604020202020204" pitchFamily="34" charset="0"/>
              </a:rPr>
              <a:t>Developing and strengthening stable reliable and remunerative output markets</a:t>
            </a:r>
            <a:endParaRPr lang="en-US" sz="813" dirty="0">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xmlns="" id="{DF0A37FE-9961-7446-A9D2-C6C2F70CDB9E}"/>
              </a:ext>
            </a:extLst>
          </p:cNvPr>
          <p:cNvSpPr/>
          <p:nvPr/>
        </p:nvSpPr>
        <p:spPr>
          <a:xfrm>
            <a:off x="3909622" y="1656518"/>
            <a:ext cx="1654725" cy="45296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resilience (more adaptive and  resilient households  to shocks)</a:t>
            </a:r>
          </a:p>
        </p:txBody>
      </p:sp>
      <p:sp>
        <p:nvSpPr>
          <p:cNvPr id="2" name="Title 1"/>
          <p:cNvSpPr>
            <a:spLocks noGrp="1"/>
          </p:cNvSpPr>
          <p:nvPr>
            <p:ph type="title"/>
          </p:nvPr>
        </p:nvSpPr>
        <p:spPr/>
        <p:txBody>
          <a:bodyPr/>
          <a:lstStyle/>
          <a:p>
            <a:r>
              <a:rPr lang="en-US" dirty="0" smtClean="0"/>
              <a:t>Farmer and Systems development Theory of Change</a:t>
            </a:r>
            <a:endParaRPr lang="en-US" dirty="0"/>
          </a:p>
        </p:txBody>
      </p:sp>
    </p:spTree>
    <p:extLst>
      <p:ext uri="{BB962C8B-B14F-4D97-AF65-F5344CB8AC3E}">
        <p14:creationId xmlns:p14="http://schemas.microsoft.com/office/powerpoint/2010/main" val="19038975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288" name="think-cell Slide" r:id="rId6" imgW="360" imgH="360" progId="TCLayout.ActiveDocument.1">
                  <p:embed/>
                </p:oleObj>
              </mc:Choice>
              <mc:Fallback>
                <p:oleObj name="think-cell Slide" r:id="rId6" imgW="360" imgH="36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57421" y="261599"/>
            <a:ext cx="7245459" cy="582389"/>
          </a:xfrm>
        </p:spPr>
        <p:txBody>
          <a:bodyPr/>
          <a:lstStyle/>
          <a:p>
            <a:r>
              <a:rPr lang="en-US" dirty="0" smtClean="0"/>
              <a:t>AGRA’s Current Tanzania Portfolio Summary (2017 - 2019)</a:t>
            </a:r>
            <a:endParaRPr lang="en-US" dirty="0"/>
          </a:p>
        </p:txBody>
      </p:sp>
      <p:sp>
        <p:nvSpPr>
          <p:cNvPr id="46" name="Rectangle 45">
            <a:hlinkClick r:id="" action="ppaction://noaction"/>
          </p:cNvPr>
          <p:cNvSpPr/>
          <p:nvPr/>
        </p:nvSpPr>
        <p:spPr bwMode="gray">
          <a:xfrm>
            <a:off x="3449297" y="906112"/>
            <a:ext cx="3125822" cy="548640"/>
          </a:xfrm>
          <a:prstGeom prst="rect">
            <a:avLst/>
          </a:prstGeom>
          <a:solidFill>
            <a:srgbClr val="B5D474">
              <a:lumMod val="75000"/>
            </a:srgbClr>
          </a:solidFill>
          <a:ln w="19050" algn="ctr">
            <a:solidFill>
              <a:srgbClr val="FFFFFF"/>
            </a:solidFill>
            <a:miter lim="800000"/>
            <a:headEnd/>
            <a:tailEnd/>
          </a:ln>
        </p:spPr>
        <p:txBody>
          <a:bodyPr wrap="square" lIns="88900" tIns="88900" rIns="88900" bIns="88900" rtlCol="0" anchor="ctr"/>
          <a:lstStyle/>
          <a:p>
            <a:pPr marL="457200" marR="0" lvl="1"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smtClean="0">
                <a:ln>
                  <a:noFill/>
                </a:ln>
                <a:solidFill>
                  <a:srgbClr val="FFFFFF"/>
                </a:solidFill>
                <a:effectLst/>
                <a:uLnTx/>
                <a:uFillTx/>
                <a:ea typeface="+mn-ea"/>
                <a:cs typeface="+mn-cs"/>
              </a:rPr>
              <a:t>    Farmer and Systems</a:t>
            </a:r>
          </a:p>
        </p:txBody>
      </p:sp>
      <p:sp>
        <p:nvSpPr>
          <p:cNvPr id="47" name="Freeform 46"/>
          <p:cNvSpPr>
            <a:spLocks noChangeAspect="1" noEditPoints="1"/>
          </p:cNvSpPr>
          <p:nvPr/>
        </p:nvSpPr>
        <p:spPr bwMode="auto">
          <a:xfrm>
            <a:off x="7722233" y="1619648"/>
            <a:ext cx="534664" cy="365760"/>
          </a:xfrm>
          <a:custGeom>
            <a:avLst/>
            <a:gdLst>
              <a:gd name="T0" fmla="*/ 252 w 438"/>
              <a:gd name="T1" fmla="*/ 65 h 279"/>
              <a:gd name="T2" fmla="*/ 193 w 438"/>
              <a:gd name="T3" fmla="*/ 89 h 279"/>
              <a:gd name="T4" fmla="*/ 207 w 438"/>
              <a:gd name="T5" fmla="*/ 146 h 279"/>
              <a:gd name="T6" fmla="*/ 222 w 438"/>
              <a:gd name="T7" fmla="*/ 119 h 279"/>
              <a:gd name="T8" fmla="*/ 273 w 438"/>
              <a:gd name="T9" fmla="*/ 150 h 279"/>
              <a:gd name="T10" fmla="*/ 329 w 438"/>
              <a:gd name="T11" fmla="*/ 205 h 279"/>
              <a:gd name="T12" fmla="*/ 325 w 438"/>
              <a:gd name="T13" fmla="*/ 220 h 279"/>
              <a:gd name="T14" fmla="*/ 277 w 438"/>
              <a:gd name="T15" fmla="*/ 183 h 279"/>
              <a:gd name="T16" fmla="*/ 271 w 438"/>
              <a:gd name="T17" fmla="*/ 190 h 279"/>
              <a:gd name="T18" fmla="*/ 298 w 438"/>
              <a:gd name="T19" fmla="*/ 241 h 279"/>
              <a:gd name="T20" fmla="*/ 241 w 438"/>
              <a:gd name="T21" fmla="*/ 199 h 279"/>
              <a:gd name="T22" fmla="*/ 289 w 438"/>
              <a:gd name="T23" fmla="*/ 246 h 279"/>
              <a:gd name="T24" fmla="*/ 228 w 438"/>
              <a:gd name="T25" fmla="*/ 219 h 279"/>
              <a:gd name="T26" fmla="*/ 222 w 438"/>
              <a:gd name="T27" fmla="*/ 226 h 279"/>
              <a:gd name="T28" fmla="*/ 233 w 438"/>
              <a:gd name="T29" fmla="*/ 257 h 279"/>
              <a:gd name="T30" fmla="*/ 235 w 438"/>
              <a:gd name="T31" fmla="*/ 268 h 279"/>
              <a:gd name="T32" fmla="*/ 293 w 438"/>
              <a:gd name="T33" fmla="*/ 256 h 279"/>
              <a:gd name="T34" fmla="*/ 336 w 438"/>
              <a:gd name="T35" fmla="*/ 196 h 279"/>
              <a:gd name="T36" fmla="*/ 308 w 438"/>
              <a:gd name="T37" fmla="*/ 85 h 279"/>
              <a:gd name="T38" fmla="*/ 191 w 438"/>
              <a:gd name="T39" fmla="*/ 210 h 279"/>
              <a:gd name="T40" fmla="*/ 230 w 438"/>
              <a:gd name="T41" fmla="*/ 265 h 279"/>
              <a:gd name="T42" fmla="*/ 137 w 438"/>
              <a:gd name="T43" fmla="*/ 220 h 279"/>
              <a:gd name="T44" fmla="*/ 157 w 438"/>
              <a:gd name="T45" fmla="*/ 196 h 279"/>
              <a:gd name="T46" fmla="*/ 362 w 438"/>
              <a:gd name="T47" fmla="*/ 204 h 279"/>
              <a:gd name="T48" fmla="*/ 438 w 438"/>
              <a:gd name="T49" fmla="*/ 0 h 279"/>
              <a:gd name="T50" fmla="*/ 112 w 438"/>
              <a:gd name="T51" fmla="*/ 72 h 279"/>
              <a:gd name="T52" fmla="*/ 0 w 438"/>
              <a:gd name="T53" fmla="*/ 182 h 279"/>
              <a:gd name="T54" fmla="*/ 112 w 438"/>
              <a:gd name="T55" fmla="*/ 72 h 279"/>
              <a:gd name="T56" fmla="*/ 89 w 438"/>
              <a:gd name="T57" fmla="*/ 173 h 279"/>
              <a:gd name="T58" fmla="*/ 198 w 438"/>
              <a:gd name="T59" fmla="*/ 77 h 279"/>
              <a:gd name="T60" fmla="*/ 187 w 438"/>
              <a:gd name="T61" fmla="*/ 85 h 279"/>
              <a:gd name="T62" fmla="*/ 125 w 438"/>
              <a:gd name="T63" fmla="*/ 88 h 279"/>
              <a:gd name="T64" fmla="*/ 136 w 438"/>
              <a:gd name="T65" fmla="*/ 190 h 279"/>
              <a:gd name="T66" fmla="*/ 129 w 438"/>
              <a:gd name="T67" fmla="*/ 19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8" h="279">
                <a:moveTo>
                  <a:pt x="308" y="85"/>
                </a:moveTo>
                <a:cubicBezTo>
                  <a:pt x="308" y="85"/>
                  <a:pt x="270" y="70"/>
                  <a:pt x="252" y="65"/>
                </a:cubicBezTo>
                <a:cubicBezTo>
                  <a:pt x="239" y="62"/>
                  <a:pt x="237" y="64"/>
                  <a:pt x="226" y="70"/>
                </a:cubicBezTo>
                <a:cubicBezTo>
                  <a:pt x="217" y="75"/>
                  <a:pt x="201" y="82"/>
                  <a:pt x="193" y="89"/>
                </a:cubicBezTo>
                <a:cubicBezTo>
                  <a:pt x="188" y="94"/>
                  <a:pt x="181" y="142"/>
                  <a:pt x="181" y="143"/>
                </a:cubicBezTo>
                <a:cubicBezTo>
                  <a:pt x="180" y="156"/>
                  <a:pt x="198" y="156"/>
                  <a:pt x="207" y="146"/>
                </a:cubicBezTo>
                <a:cubicBezTo>
                  <a:pt x="212" y="139"/>
                  <a:pt x="217" y="129"/>
                  <a:pt x="220" y="122"/>
                </a:cubicBezTo>
                <a:cubicBezTo>
                  <a:pt x="223" y="117"/>
                  <a:pt x="222" y="119"/>
                  <a:pt x="222" y="119"/>
                </a:cubicBezTo>
                <a:cubicBezTo>
                  <a:pt x="236" y="115"/>
                  <a:pt x="236" y="115"/>
                  <a:pt x="236" y="115"/>
                </a:cubicBezTo>
                <a:cubicBezTo>
                  <a:pt x="246" y="125"/>
                  <a:pt x="259" y="137"/>
                  <a:pt x="273" y="150"/>
                </a:cubicBezTo>
                <a:cubicBezTo>
                  <a:pt x="294" y="171"/>
                  <a:pt x="315" y="191"/>
                  <a:pt x="324" y="199"/>
                </a:cubicBezTo>
                <a:cubicBezTo>
                  <a:pt x="327" y="201"/>
                  <a:pt x="328" y="203"/>
                  <a:pt x="329" y="205"/>
                </a:cubicBezTo>
                <a:cubicBezTo>
                  <a:pt x="330" y="207"/>
                  <a:pt x="330" y="209"/>
                  <a:pt x="329" y="212"/>
                </a:cubicBezTo>
                <a:cubicBezTo>
                  <a:pt x="328" y="214"/>
                  <a:pt x="327" y="217"/>
                  <a:pt x="325" y="220"/>
                </a:cubicBezTo>
                <a:cubicBezTo>
                  <a:pt x="324" y="221"/>
                  <a:pt x="323" y="222"/>
                  <a:pt x="323" y="222"/>
                </a:cubicBezTo>
                <a:cubicBezTo>
                  <a:pt x="277" y="183"/>
                  <a:pt x="277" y="183"/>
                  <a:pt x="277" y="183"/>
                </a:cubicBezTo>
                <a:cubicBezTo>
                  <a:pt x="275" y="182"/>
                  <a:pt x="272" y="182"/>
                  <a:pt x="271" y="184"/>
                </a:cubicBezTo>
                <a:cubicBezTo>
                  <a:pt x="269" y="186"/>
                  <a:pt x="269" y="188"/>
                  <a:pt x="271" y="190"/>
                </a:cubicBezTo>
                <a:cubicBezTo>
                  <a:pt x="316" y="228"/>
                  <a:pt x="316" y="228"/>
                  <a:pt x="316" y="228"/>
                </a:cubicBezTo>
                <a:cubicBezTo>
                  <a:pt x="310" y="233"/>
                  <a:pt x="304" y="238"/>
                  <a:pt x="298" y="241"/>
                </a:cubicBezTo>
                <a:cubicBezTo>
                  <a:pt x="248" y="198"/>
                  <a:pt x="248" y="198"/>
                  <a:pt x="248" y="198"/>
                </a:cubicBezTo>
                <a:cubicBezTo>
                  <a:pt x="246" y="197"/>
                  <a:pt x="243" y="197"/>
                  <a:pt x="241" y="199"/>
                </a:cubicBezTo>
                <a:cubicBezTo>
                  <a:pt x="240" y="201"/>
                  <a:pt x="240" y="204"/>
                  <a:pt x="242" y="205"/>
                </a:cubicBezTo>
                <a:cubicBezTo>
                  <a:pt x="289" y="246"/>
                  <a:pt x="289" y="246"/>
                  <a:pt x="289" y="246"/>
                </a:cubicBezTo>
                <a:cubicBezTo>
                  <a:pt x="282" y="249"/>
                  <a:pt x="273" y="250"/>
                  <a:pt x="265" y="252"/>
                </a:cubicBezTo>
                <a:cubicBezTo>
                  <a:pt x="228" y="219"/>
                  <a:pt x="228" y="219"/>
                  <a:pt x="228" y="219"/>
                </a:cubicBezTo>
                <a:cubicBezTo>
                  <a:pt x="226" y="217"/>
                  <a:pt x="223" y="217"/>
                  <a:pt x="222" y="219"/>
                </a:cubicBezTo>
                <a:cubicBezTo>
                  <a:pt x="220" y="221"/>
                  <a:pt x="220" y="224"/>
                  <a:pt x="222" y="226"/>
                </a:cubicBezTo>
                <a:cubicBezTo>
                  <a:pt x="254" y="254"/>
                  <a:pt x="254" y="254"/>
                  <a:pt x="254" y="254"/>
                </a:cubicBezTo>
                <a:cubicBezTo>
                  <a:pt x="248" y="255"/>
                  <a:pt x="240" y="257"/>
                  <a:pt x="233" y="257"/>
                </a:cubicBezTo>
                <a:cubicBezTo>
                  <a:pt x="234" y="260"/>
                  <a:pt x="235" y="263"/>
                  <a:pt x="235" y="266"/>
                </a:cubicBezTo>
                <a:cubicBezTo>
                  <a:pt x="235" y="267"/>
                  <a:pt x="236" y="267"/>
                  <a:pt x="235" y="268"/>
                </a:cubicBezTo>
                <a:cubicBezTo>
                  <a:pt x="243" y="267"/>
                  <a:pt x="257" y="265"/>
                  <a:pt x="270" y="262"/>
                </a:cubicBezTo>
                <a:cubicBezTo>
                  <a:pt x="280" y="260"/>
                  <a:pt x="288" y="258"/>
                  <a:pt x="293" y="256"/>
                </a:cubicBezTo>
                <a:cubicBezTo>
                  <a:pt x="303" y="251"/>
                  <a:pt x="322" y="240"/>
                  <a:pt x="333" y="227"/>
                </a:cubicBezTo>
                <a:cubicBezTo>
                  <a:pt x="340" y="218"/>
                  <a:pt x="343" y="207"/>
                  <a:pt x="336" y="196"/>
                </a:cubicBezTo>
                <a:cubicBezTo>
                  <a:pt x="360" y="183"/>
                  <a:pt x="360" y="183"/>
                  <a:pt x="360" y="183"/>
                </a:cubicBezTo>
                <a:cubicBezTo>
                  <a:pt x="356" y="138"/>
                  <a:pt x="323" y="90"/>
                  <a:pt x="308" y="85"/>
                </a:cubicBezTo>
                <a:close/>
                <a:moveTo>
                  <a:pt x="157" y="196"/>
                </a:moveTo>
                <a:cubicBezTo>
                  <a:pt x="167" y="198"/>
                  <a:pt x="180" y="202"/>
                  <a:pt x="191" y="210"/>
                </a:cubicBezTo>
                <a:cubicBezTo>
                  <a:pt x="213" y="226"/>
                  <a:pt x="222" y="242"/>
                  <a:pt x="226" y="252"/>
                </a:cubicBezTo>
                <a:cubicBezTo>
                  <a:pt x="228" y="256"/>
                  <a:pt x="230" y="261"/>
                  <a:pt x="230" y="265"/>
                </a:cubicBezTo>
                <a:cubicBezTo>
                  <a:pt x="230" y="268"/>
                  <a:pt x="231" y="268"/>
                  <a:pt x="229" y="269"/>
                </a:cubicBezTo>
                <a:cubicBezTo>
                  <a:pt x="205" y="279"/>
                  <a:pt x="154" y="247"/>
                  <a:pt x="137" y="220"/>
                </a:cubicBezTo>
                <a:cubicBezTo>
                  <a:pt x="134" y="215"/>
                  <a:pt x="128" y="202"/>
                  <a:pt x="133" y="197"/>
                </a:cubicBezTo>
                <a:cubicBezTo>
                  <a:pt x="139" y="193"/>
                  <a:pt x="155" y="196"/>
                  <a:pt x="157" y="196"/>
                </a:cubicBezTo>
                <a:close/>
                <a:moveTo>
                  <a:pt x="321" y="77"/>
                </a:moveTo>
                <a:cubicBezTo>
                  <a:pt x="341" y="91"/>
                  <a:pt x="399" y="185"/>
                  <a:pt x="362" y="204"/>
                </a:cubicBezTo>
                <a:cubicBezTo>
                  <a:pt x="356" y="219"/>
                  <a:pt x="434" y="187"/>
                  <a:pt x="438" y="186"/>
                </a:cubicBezTo>
                <a:cubicBezTo>
                  <a:pt x="438" y="0"/>
                  <a:pt x="438" y="0"/>
                  <a:pt x="438" y="0"/>
                </a:cubicBezTo>
                <a:cubicBezTo>
                  <a:pt x="321" y="77"/>
                  <a:pt x="321" y="77"/>
                  <a:pt x="321" y="77"/>
                </a:cubicBezTo>
                <a:close/>
                <a:moveTo>
                  <a:pt x="112" y="72"/>
                </a:moveTo>
                <a:cubicBezTo>
                  <a:pt x="91" y="97"/>
                  <a:pt x="59" y="188"/>
                  <a:pt x="97" y="208"/>
                </a:cubicBezTo>
                <a:cubicBezTo>
                  <a:pt x="106" y="226"/>
                  <a:pt x="2" y="183"/>
                  <a:pt x="0" y="182"/>
                </a:cubicBezTo>
                <a:cubicBezTo>
                  <a:pt x="0" y="3"/>
                  <a:pt x="0" y="3"/>
                  <a:pt x="0" y="3"/>
                </a:cubicBezTo>
                <a:cubicBezTo>
                  <a:pt x="112" y="72"/>
                  <a:pt x="112" y="72"/>
                  <a:pt x="112" y="72"/>
                </a:cubicBezTo>
                <a:close/>
                <a:moveTo>
                  <a:pt x="129" y="198"/>
                </a:moveTo>
                <a:cubicBezTo>
                  <a:pt x="89" y="173"/>
                  <a:pt x="89" y="173"/>
                  <a:pt x="89" y="173"/>
                </a:cubicBezTo>
                <a:cubicBezTo>
                  <a:pt x="90" y="136"/>
                  <a:pt x="100" y="108"/>
                  <a:pt x="119" y="76"/>
                </a:cubicBezTo>
                <a:cubicBezTo>
                  <a:pt x="198" y="77"/>
                  <a:pt x="198" y="77"/>
                  <a:pt x="198" y="77"/>
                </a:cubicBezTo>
                <a:cubicBezTo>
                  <a:pt x="199" y="77"/>
                  <a:pt x="200" y="77"/>
                  <a:pt x="201" y="77"/>
                </a:cubicBezTo>
                <a:cubicBezTo>
                  <a:pt x="194" y="81"/>
                  <a:pt x="189" y="84"/>
                  <a:pt x="187" y="85"/>
                </a:cubicBezTo>
                <a:cubicBezTo>
                  <a:pt x="187" y="86"/>
                  <a:pt x="186" y="87"/>
                  <a:pt x="186" y="88"/>
                </a:cubicBezTo>
                <a:cubicBezTo>
                  <a:pt x="165" y="88"/>
                  <a:pt x="145" y="88"/>
                  <a:pt x="125" y="88"/>
                </a:cubicBezTo>
                <a:cubicBezTo>
                  <a:pt x="110" y="112"/>
                  <a:pt x="101" y="139"/>
                  <a:pt x="100" y="167"/>
                </a:cubicBezTo>
                <a:cubicBezTo>
                  <a:pt x="136" y="190"/>
                  <a:pt x="136" y="190"/>
                  <a:pt x="136" y="190"/>
                </a:cubicBezTo>
                <a:cubicBezTo>
                  <a:pt x="137" y="191"/>
                  <a:pt x="138" y="191"/>
                  <a:pt x="139" y="192"/>
                </a:cubicBezTo>
                <a:cubicBezTo>
                  <a:pt x="135" y="192"/>
                  <a:pt x="130" y="193"/>
                  <a:pt x="129" y="198"/>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Rectangle 47"/>
          <p:cNvSpPr>
            <a:spLocks/>
          </p:cNvSpPr>
          <p:nvPr/>
        </p:nvSpPr>
        <p:spPr>
          <a:xfrm>
            <a:off x="3483085" y="1493944"/>
            <a:ext cx="3098192" cy="4927878"/>
          </a:xfrm>
          <a:prstGeom prst="rect">
            <a:avLst/>
          </a:prstGeom>
          <a:solidFill>
            <a:srgbClr val="F0F6E3">
              <a:alpha val="80000"/>
            </a:srgbClr>
          </a:solidFill>
          <a:ln w="19050" cap="flat" cmpd="sng" algn="ctr">
            <a:solidFill>
              <a:srgbClr val="01632F"/>
            </a:solidFill>
            <a:prstDash val="solid"/>
          </a:ln>
          <a:effectLst/>
        </p:spPr>
        <p:txBody>
          <a:bodyPr rtlCol="0" anchor="t"/>
          <a:lstStyle/>
          <a:p>
            <a:pPr lvl="0" fontAlgn="base">
              <a:spcBef>
                <a:spcPct val="0"/>
              </a:spcBef>
              <a:spcAft>
                <a:spcPct val="0"/>
              </a:spcAft>
              <a:buClrTx/>
              <a:defRPr/>
            </a:pPr>
            <a:r>
              <a:rPr lang="en-US" sz="1000" b="1" u="sng" kern="1200" dirty="0" smtClean="0">
                <a:solidFill>
                  <a:schemeClr val="tx1"/>
                </a:solidFill>
              </a:rPr>
              <a:t>Ihemi (Iringa and Njombe regions) Targeting 100K SHFs</a:t>
            </a:r>
          </a:p>
          <a:p>
            <a:pPr fontAlgn="base">
              <a:spcBef>
                <a:spcPct val="0"/>
              </a:spcBef>
              <a:spcAft>
                <a:spcPct val="0"/>
              </a:spcAft>
              <a:buClrTx/>
              <a:defRPr/>
            </a:pPr>
            <a:r>
              <a:rPr lang="en-US" sz="1000" kern="1200" dirty="0" smtClean="0">
                <a:solidFill>
                  <a:schemeClr val="tx1"/>
                </a:solidFill>
              </a:rPr>
              <a:t>SHFs </a:t>
            </a:r>
            <a:r>
              <a:rPr lang="en-US" sz="1000" kern="1200" dirty="0">
                <a:solidFill>
                  <a:schemeClr val="tx1"/>
                </a:solidFill>
              </a:rPr>
              <a:t>inclusive productivity &amp; market access for </a:t>
            </a:r>
            <a:r>
              <a:rPr lang="en-US" sz="1000" kern="1200" dirty="0" smtClean="0">
                <a:solidFill>
                  <a:schemeClr val="tx1"/>
                </a:solidFill>
              </a:rPr>
              <a:t>maize, beans and &amp; soybeans </a:t>
            </a:r>
            <a:r>
              <a:rPr lang="en-US" sz="1000" kern="1200" dirty="0">
                <a:solidFill>
                  <a:schemeClr val="tx1"/>
                </a:solidFill>
              </a:rPr>
              <a:t>value </a:t>
            </a:r>
            <a:r>
              <a:rPr lang="en-US" sz="1000" kern="1200" dirty="0" smtClean="0">
                <a:solidFill>
                  <a:schemeClr val="tx1"/>
                </a:solidFill>
              </a:rPr>
              <a:t>chains</a:t>
            </a:r>
          </a:p>
          <a:p>
            <a:pPr fontAlgn="base">
              <a:spcBef>
                <a:spcPct val="0"/>
              </a:spcBef>
              <a:spcAft>
                <a:spcPct val="0"/>
              </a:spcAft>
              <a:buClrTx/>
              <a:defRPr/>
            </a:pPr>
            <a:endParaRPr lang="en-US" sz="1000" kern="1200" dirty="0">
              <a:solidFill>
                <a:schemeClr val="tx1"/>
              </a:solidFill>
            </a:endParaRPr>
          </a:p>
          <a:p>
            <a:pPr fontAlgn="base">
              <a:spcBef>
                <a:spcPct val="0"/>
              </a:spcBef>
              <a:spcAft>
                <a:spcPct val="0"/>
              </a:spcAft>
              <a:buClrTx/>
              <a:defRPr/>
            </a:pPr>
            <a:r>
              <a:rPr lang="en-US" sz="1000" b="1" u="sng" kern="1200" dirty="0" smtClean="0">
                <a:solidFill>
                  <a:schemeClr val="tx1"/>
                </a:solidFill>
              </a:rPr>
              <a:t>SUKA (Rukwa and Katavi regions) Targeting 120K SHFs</a:t>
            </a:r>
            <a:endParaRPr lang="en-US" sz="1000" b="1" u="sng" kern="1200" dirty="0">
              <a:solidFill>
                <a:schemeClr val="tx1"/>
              </a:solidFill>
            </a:endParaRPr>
          </a:p>
          <a:p>
            <a:pPr fontAlgn="base">
              <a:spcBef>
                <a:spcPct val="0"/>
              </a:spcBef>
              <a:spcAft>
                <a:spcPct val="0"/>
              </a:spcAft>
              <a:buClrTx/>
              <a:defRPr/>
            </a:pPr>
            <a:r>
              <a:rPr lang="en-US" sz="1000" kern="1200" dirty="0" smtClean="0">
                <a:solidFill>
                  <a:schemeClr val="tx1"/>
                </a:solidFill>
              </a:rPr>
              <a:t>SHFs </a:t>
            </a:r>
            <a:r>
              <a:rPr lang="en-US" sz="1000" kern="1200" dirty="0">
                <a:solidFill>
                  <a:schemeClr val="tx1"/>
                </a:solidFill>
              </a:rPr>
              <a:t>inclusive productivity &amp; market access for </a:t>
            </a:r>
            <a:r>
              <a:rPr lang="en-US" sz="1000" kern="1200" dirty="0" smtClean="0">
                <a:solidFill>
                  <a:schemeClr val="tx1"/>
                </a:solidFill>
              </a:rPr>
              <a:t>maize, Rice and beans </a:t>
            </a:r>
            <a:r>
              <a:rPr lang="en-US" sz="1000" kern="1200" dirty="0">
                <a:solidFill>
                  <a:schemeClr val="tx1"/>
                </a:solidFill>
              </a:rPr>
              <a:t>value </a:t>
            </a:r>
            <a:r>
              <a:rPr lang="en-US" sz="1000" kern="1200" dirty="0" smtClean="0">
                <a:solidFill>
                  <a:schemeClr val="tx1"/>
                </a:solidFill>
              </a:rPr>
              <a:t>chains</a:t>
            </a:r>
          </a:p>
          <a:p>
            <a:pPr fontAlgn="base">
              <a:spcBef>
                <a:spcPct val="0"/>
              </a:spcBef>
              <a:spcAft>
                <a:spcPct val="0"/>
              </a:spcAft>
              <a:buClrTx/>
              <a:defRPr/>
            </a:pPr>
            <a:endParaRPr lang="en-US" sz="1000" kern="1200" dirty="0">
              <a:solidFill>
                <a:schemeClr val="tx1"/>
              </a:solidFill>
            </a:endParaRPr>
          </a:p>
          <a:p>
            <a:pPr fontAlgn="base">
              <a:spcBef>
                <a:spcPct val="0"/>
              </a:spcBef>
              <a:spcAft>
                <a:spcPct val="0"/>
              </a:spcAft>
              <a:buClrTx/>
              <a:defRPr/>
            </a:pPr>
            <a:r>
              <a:rPr lang="en-US" sz="1000" b="1" u="sng" kern="1200" dirty="0" smtClean="0">
                <a:solidFill>
                  <a:schemeClr val="tx1"/>
                </a:solidFill>
              </a:rPr>
              <a:t>Kagera region; Targeting 220K SHFs</a:t>
            </a:r>
          </a:p>
          <a:p>
            <a:pPr fontAlgn="base">
              <a:spcBef>
                <a:spcPct val="0"/>
              </a:spcBef>
              <a:spcAft>
                <a:spcPct val="0"/>
              </a:spcAft>
              <a:buClrTx/>
              <a:defRPr/>
            </a:pPr>
            <a:r>
              <a:rPr lang="en-US" sz="1000" kern="1200" dirty="0" smtClean="0">
                <a:solidFill>
                  <a:schemeClr val="tx1"/>
                </a:solidFill>
              </a:rPr>
              <a:t>SHFs </a:t>
            </a:r>
            <a:r>
              <a:rPr lang="en-US" sz="1000" kern="1200" dirty="0">
                <a:solidFill>
                  <a:schemeClr val="tx1"/>
                </a:solidFill>
              </a:rPr>
              <a:t>inclusive productivity &amp; market access for maize, </a:t>
            </a:r>
            <a:r>
              <a:rPr lang="en-US" sz="1000" kern="1200" dirty="0" smtClean="0">
                <a:solidFill>
                  <a:schemeClr val="tx1"/>
                </a:solidFill>
              </a:rPr>
              <a:t>Cassava and beans </a:t>
            </a:r>
            <a:r>
              <a:rPr lang="en-US" sz="1000" kern="1200" dirty="0">
                <a:solidFill>
                  <a:schemeClr val="tx1"/>
                </a:solidFill>
              </a:rPr>
              <a:t>value </a:t>
            </a:r>
            <a:r>
              <a:rPr lang="en-US" sz="1000" kern="1200" dirty="0" smtClean="0">
                <a:solidFill>
                  <a:schemeClr val="tx1"/>
                </a:solidFill>
              </a:rPr>
              <a:t>chains</a:t>
            </a:r>
          </a:p>
          <a:p>
            <a:pPr fontAlgn="base">
              <a:spcBef>
                <a:spcPct val="0"/>
              </a:spcBef>
              <a:spcAft>
                <a:spcPct val="0"/>
              </a:spcAft>
              <a:buClrTx/>
              <a:defRPr/>
            </a:pPr>
            <a:endParaRPr lang="en-US" sz="1000" kern="1200" dirty="0">
              <a:solidFill>
                <a:schemeClr val="tx1"/>
              </a:solidFill>
            </a:endParaRPr>
          </a:p>
          <a:p>
            <a:pPr fontAlgn="base">
              <a:spcBef>
                <a:spcPct val="0"/>
              </a:spcBef>
              <a:spcAft>
                <a:spcPct val="0"/>
              </a:spcAft>
              <a:buClrTx/>
              <a:defRPr/>
            </a:pPr>
            <a:r>
              <a:rPr lang="en-US" sz="1000" b="1" u="sng" kern="1200" dirty="0" smtClean="0">
                <a:solidFill>
                  <a:schemeClr val="tx1"/>
                </a:solidFill>
              </a:rPr>
              <a:t>Kigoma </a:t>
            </a:r>
            <a:r>
              <a:rPr lang="en-US" sz="1000" b="1" u="sng" kern="1200" dirty="0">
                <a:solidFill>
                  <a:schemeClr val="tx1"/>
                </a:solidFill>
              </a:rPr>
              <a:t>region; Targeting </a:t>
            </a:r>
            <a:r>
              <a:rPr lang="en-US" sz="1000" b="1" u="sng" kern="1200" dirty="0" smtClean="0">
                <a:solidFill>
                  <a:schemeClr val="tx1"/>
                </a:solidFill>
              </a:rPr>
              <a:t>170K </a:t>
            </a:r>
            <a:r>
              <a:rPr lang="en-US" sz="1000" b="1" u="sng" kern="1200" dirty="0">
                <a:solidFill>
                  <a:schemeClr val="tx1"/>
                </a:solidFill>
              </a:rPr>
              <a:t>SHFs</a:t>
            </a:r>
          </a:p>
          <a:p>
            <a:pPr fontAlgn="base">
              <a:spcBef>
                <a:spcPct val="0"/>
              </a:spcBef>
              <a:spcAft>
                <a:spcPct val="0"/>
              </a:spcAft>
              <a:buClrTx/>
              <a:defRPr/>
            </a:pPr>
            <a:r>
              <a:rPr lang="en-US" sz="1000" kern="1200" dirty="0">
                <a:solidFill>
                  <a:schemeClr val="tx1"/>
                </a:solidFill>
              </a:rPr>
              <a:t>SHs inclusive productivity &amp; market access for maize, Cassava and </a:t>
            </a:r>
            <a:r>
              <a:rPr lang="en-US" sz="1000" kern="1200" dirty="0" smtClean="0">
                <a:solidFill>
                  <a:schemeClr val="tx1"/>
                </a:solidFill>
              </a:rPr>
              <a:t>beans </a:t>
            </a:r>
            <a:r>
              <a:rPr lang="en-US" sz="1000" kern="1200" dirty="0">
                <a:solidFill>
                  <a:schemeClr val="tx1"/>
                </a:solidFill>
              </a:rPr>
              <a:t>value </a:t>
            </a:r>
            <a:r>
              <a:rPr lang="en-US" sz="1000" kern="1200" dirty="0" smtClean="0">
                <a:solidFill>
                  <a:schemeClr val="tx1"/>
                </a:solidFill>
              </a:rPr>
              <a:t>chains</a:t>
            </a:r>
          </a:p>
          <a:p>
            <a:pPr fontAlgn="base">
              <a:spcBef>
                <a:spcPct val="0"/>
              </a:spcBef>
              <a:spcAft>
                <a:spcPct val="0"/>
              </a:spcAft>
              <a:buClrTx/>
              <a:defRPr/>
            </a:pPr>
            <a:endParaRPr lang="en-US" sz="1000" kern="1200" dirty="0">
              <a:solidFill>
                <a:schemeClr val="tx1"/>
              </a:solidFill>
            </a:endParaRPr>
          </a:p>
          <a:p>
            <a:pPr fontAlgn="base">
              <a:spcBef>
                <a:spcPct val="0"/>
              </a:spcBef>
              <a:spcAft>
                <a:spcPct val="0"/>
              </a:spcAft>
              <a:buClrTx/>
              <a:defRPr/>
            </a:pPr>
            <a:r>
              <a:rPr lang="en-US" sz="1000" b="1" u="sng" kern="1200" dirty="0" smtClean="0">
                <a:solidFill>
                  <a:schemeClr val="tx1"/>
                </a:solidFill>
                <a:latin typeface="+mj-lt"/>
              </a:rPr>
              <a:t>Seed; </a:t>
            </a:r>
            <a:r>
              <a:rPr lang="en-US" sz="1000" kern="1200" dirty="0" smtClean="0">
                <a:solidFill>
                  <a:schemeClr val="tx1"/>
                </a:solidFill>
                <a:latin typeface="+mj-lt"/>
              </a:rPr>
              <a:t>Targeting </a:t>
            </a:r>
            <a:r>
              <a:rPr lang="en-US" sz="1000" kern="1200" dirty="0">
                <a:solidFill>
                  <a:prstClr val="black"/>
                </a:solidFill>
                <a:latin typeface="+mj-lt"/>
                <a:ea typeface="Calibri" panose="020F0502020204030204" pitchFamily="34" charset="0"/>
                <a:cs typeface="Times New Roman" panose="02020603050405020304" pitchFamily="18" charset="0"/>
              </a:rPr>
              <a:t>smallholder farmers engaged by AGRA under our PIATA program in </a:t>
            </a:r>
            <a:r>
              <a:rPr lang="en-US" sz="1000" kern="1200" dirty="0" smtClean="0">
                <a:solidFill>
                  <a:prstClr val="black"/>
                </a:solidFill>
                <a:latin typeface="+mj-lt"/>
                <a:ea typeface="Calibri" panose="020F0502020204030204" pitchFamily="34" charset="0"/>
                <a:cs typeface="Times New Roman" panose="02020603050405020304" pitchFamily="18" charset="0"/>
              </a:rPr>
              <a:t>Tanzania</a:t>
            </a:r>
          </a:p>
          <a:p>
            <a:pPr fontAlgn="base">
              <a:spcBef>
                <a:spcPct val="0"/>
              </a:spcBef>
              <a:spcAft>
                <a:spcPct val="0"/>
              </a:spcAft>
              <a:buClrTx/>
              <a:defRPr/>
            </a:pPr>
            <a:endParaRPr lang="en-US" sz="1000" kern="1200" dirty="0">
              <a:solidFill>
                <a:prstClr val="black"/>
              </a:solidFill>
              <a:latin typeface="+mj-lt"/>
              <a:cs typeface="Times New Roman" panose="02020603050405020304" pitchFamily="18" charset="0"/>
            </a:endParaRPr>
          </a:p>
          <a:p>
            <a:pPr fontAlgn="base">
              <a:spcBef>
                <a:spcPct val="0"/>
              </a:spcBef>
              <a:spcAft>
                <a:spcPct val="0"/>
              </a:spcAft>
              <a:buClrTx/>
              <a:defRPr/>
            </a:pPr>
            <a:r>
              <a:rPr lang="en-US" sz="1000" b="1" u="sng" kern="1200" dirty="0" smtClean="0">
                <a:solidFill>
                  <a:prstClr val="black"/>
                </a:solidFill>
                <a:latin typeface="+mj-lt"/>
                <a:cs typeface="Times New Roman" panose="02020603050405020304" pitchFamily="18" charset="0"/>
              </a:rPr>
              <a:t>Agro-dealers Dev; </a:t>
            </a:r>
            <a:r>
              <a:rPr lang="en-US" sz="1000" kern="1200" dirty="0" smtClean="0">
                <a:solidFill>
                  <a:prstClr val="black"/>
                </a:solidFill>
                <a:latin typeface="+mj-lt"/>
                <a:cs typeface="Times New Roman" panose="02020603050405020304" pitchFamily="18" charset="0"/>
              </a:rPr>
              <a:t>Targeting 590K farmers under consortium intervention</a:t>
            </a:r>
            <a:endParaRPr lang="en-US" sz="1000" kern="1200" dirty="0" smtClean="0">
              <a:solidFill>
                <a:schemeClr val="tx1"/>
              </a:solidFill>
              <a:latin typeface="+mj-lt"/>
            </a:endParaRPr>
          </a:p>
          <a:p>
            <a:pPr fontAlgn="base">
              <a:spcBef>
                <a:spcPct val="0"/>
              </a:spcBef>
              <a:spcAft>
                <a:spcPct val="0"/>
              </a:spcAft>
              <a:buClrTx/>
              <a:defRPr/>
            </a:pPr>
            <a:endParaRPr lang="en-US" sz="1000" kern="1200" dirty="0">
              <a:solidFill>
                <a:schemeClr val="tx1"/>
              </a:solidFill>
              <a:latin typeface="+mj-lt"/>
            </a:endParaRPr>
          </a:p>
          <a:p>
            <a:pPr lvl="0" fontAlgn="base">
              <a:spcBef>
                <a:spcPct val="0"/>
              </a:spcBef>
              <a:spcAft>
                <a:spcPct val="0"/>
              </a:spcAft>
              <a:buClrTx/>
              <a:defRPr/>
            </a:pPr>
            <a:r>
              <a:rPr lang="en-US" sz="900" b="1" u="sng" kern="1200" dirty="0">
                <a:solidFill>
                  <a:prstClr val="black"/>
                </a:solidFill>
                <a:latin typeface="+mj-lt"/>
                <a:ea typeface="Calibri" panose="020F0502020204030204" pitchFamily="34" charset="0"/>
                <a:cs typeface="Times New Roman" panose="02020603050405020304" pitchFamily="18" charset="0"/>
              </a:rPr>
              <a:t>YWS</a:t>
            </a:r>
            <a:r>
              <a:rPr lang="en-US" sz="900" kern="1200" dirty="0">
                <a:solidFill>
                  <a:prstClr val="black"/>
                </a:solidFill>
                <a:latin typeface="+mj-lt"/>
                <a:ea typeface="Calibri" panose="020F0502020204030204" pitchFamily="34" charset="0"/>
                <a:cs typeface="Times New Roman" panose="02020603050405020304" pitchFamily="18" charset="0"/>
              </a:rPr>
              <a:t> is a specialist intervention in the postharvest and loss reduction for the entire set of smallholder farmers engaged by AGRA under our PIATA program in Tanzania</a:t>
            </a:r>
            <a:r>
              <a:rPr lang="en-US" sz="900" kern="1200" dirty="0" smtClean="0">
                <a:solidFill>
                  <a:prstClr val="black"/>
                </a:solidFill>
                <a:latin typeface="+mj-lt"/>
                <a:ea typeface="Calibri" panose="020F0502020204030204" pitchFamily="34" charset="0"/>
                <a:cs typeface="Times New Roman" panose="02020603050405020304" pitchFamily="18" charset="0"/>
              </a:rPr>
              <a:t>.</a:t>
            </a:r>
          </a:p>
          <a:p>
            <a:pPr lvl="0" fontAlgn="base">
              <a:spcBef>
                <a:spcPct val="0"/>
              </a:spcBef>
              <a:spcAft>
                <a:spcPct val="0"/>
              </a:spcAft>
              <a:buClrTx/>
              <a:defRPr/>
            </a:pPr>
            <a:endParaRPr lang="en-US" sz="1000" kern="1200" dirty="0">
              <a:solidFill>
                <a:prstClr val="black"/>
              </a:solidFill>
              <a:latin typeface="+mj-lt"/>
              <a:ea typeface="Calibri" panose="020F0502020204030204" pitchFamily="34" charset="0"/>
              <a:cs typeface="Times New Roman" panose="02020603050405020304" pitchFamily="18" charset="0"/>
            </a:endParaRPr>
          </a:p>
          <a:p>
            <a:pPr lvl="0" fontAlgn="base">
              <a:spcBef>
                <a:spcPct val="0"/>
              </a:spcBef>
              <a:spcAft>
                <a:spcPct val="0"/>
              </a:spcAft>
              <a:buClrTx/>
              <a:defRPr/>
            </a:pPr>
            <a:r>
              <a:rPr lang="en-US" sz="900" b="1" u="sng" kern="1200" dirty="0" smtClean="0">
                <a:solidFill>
                  <a:prstClr val="black"/>
                </a:solidFill>
                <a:latin typeface="+mj-lt"/>
                <a:ea typeface="Calibri" panose="020F0502020204030204" pitchFamily="34" charset="0"/>
                <a:cs typeface="Times New Roman" panose="02020603050405020304" pitchFamily="18" charset="0"/>
              </a:rPr>
              <a:t>Inclusive Finance; </a:t>
            </a:r>
            <a:r>
              <a:rPr lang="en-US" sz="900" kern="1200" dirty="0" smtClean="0">
                <a:solidFill>
                  <a:prstClr val="black"/>
                </a:solidFill>
                <a:latin typeface="+mj-lt"/>
                <a:ea typeface="Calibri" panose="020F0502020204030204" pitchFamily="34" charset="0"/>
                <a:cs typeface="Times New Roman" panose="02020603050405020304" pitchFamily="18" charset="0"/>
              </a:rPr>
              <a:t>Financial inclusion for SHFs engaged </a:t>
            </a:r>
            <a:r>
              <a:rPr lang="en-US" sz="900" kern="1200" dirty="0">
                <a:solidFill>
                  <a:prstClr val="black"/>
                </a:solidFill>
                <a:latin typeface="+mj-lt"/>
                <a:ea typeface="Calibri" panose="020F0502020204030204" pitchFamily="34" charset="0"/>
                <a:cs typeface="Times New Roman" panose="02020603050405020304" pitchFamily="18" charset="0"/>
              </a:rPr>
              <a:t>by AGRA </a:t>
            </a:r>
            <a:r>
              <a:rPr lang="en-US" sz="900" kern="1200" dirty="0" smtClean="0">
                <a:solidFill>
                  <a:prstClr val="black"/>
                </a:solidFill>
                <a:latin typeface="+mj-lt"/>
                <a:ea typeface="Calibri" panose="020F0502020204030204" pitchFamily="34" charset="0"/>
                <a:cs typeface="Times New Roman" panose="02020603050405020304" pitchFamily="18" charset="0"/>
              </a:rPr>
              <a:t>under </a:t>
            </a:r>
            <a:r>
              <a:rPr lang="en-US" sz="900" kern="1200" dirty="0">
                <a:solidFill>
                  <a:prstClr val="black"/>
                </a:solidFill>
                <a:latin typeface="+mj-lt"/>
                <a:ea typeface="Calibri" panose="020F0502020204030204" pitchFamily="34" charset="0"/>
                <a:cs typeface="Times New Roman" panose="02020603050405020304" pitchFamily="18" charset="0"/>
              </a:rPr>
              <a:t>our PIATA program in Tanzania</a:t>
            </a:r>
            <a:r>
              <a:rPr lang="en-US" sz="900" kern="1200" dirty="0" smtClean="0">
                <a:solidFill>
                  <a:prstClr val="black"/>
                </a:solidFill>
                <a:latin typeface="+mj-lt"/>
                <a:ea typeface="Calibri" panose="020F0502020204030204" pitchFamily="34" charset="0"/>
                <a:cs typeface="Times New Roman" panose="02020603050405020304" pitchFamily="18" charset="0"/>
              </a:rPr>
              <a:t> and SME Financing through revolving funds and blended finance.</a:t>
            </a:r>
            <a:endParaRPr lang="en-US" sz="900" kern="1200" dirty="0">
              <a:solidFill>
                <a:prstClr val="black"/>
              </a:solidFill>
              <a:latin typeface="+mj-lt"/>
              <a:ea typeface="Calibri" panose="020F0502020204030204" pitchFamily="34" charset="0"/>
              <a:cs typeface="Times New Roman" panose="02020603050405020304" pitchFamily="18" charset="0"/>
            </a:endParaRPr>
          </a:p>
          <a:p>
            <a:pPr fontAlgn="base">
              <a:spcBef>
                <a:spcPct val="0"/>
              </a:spcBef>
              <a:spcAft>
                <a:spcPct val="0"/>
              </a:spcAft>
              <a:buClrTx/>
              <a:defRPr/>
            </a:pPr>
            <a:endParaRPr lang="en-US" sz="1000" kern="1200" dirty="0">
              <a:solidFill>
                <a:schemeClr val="tx1"/>
              </a:solidFill>
              <a:latin typeface="+mj-lt"/>
            </a:endParaRPr>
          </a:p>
          <a:p>
            <a:pPr fontAlgn="base">
              <a:spcBef>
                <a:spcPct val="0"/>
              </a:spcBef>
              <a:spcAft>
                <a:spcPct val="0"/>
              </a:spcAft>
              <a:buClrTx/>
              <a:defRPr/>
            </a:pPr>
            <a:endParaRPr lang="en-US" sz="1000" kern="1200" dirty="0">
              <a:solidFill>
                <a:schemeClr val="tx1"/>
              </a:solidFill>
              <a:latin typeface="+mj-lt"/>
            </a:endParaRPr>
          </a:p>
          <a:p>
            <a:pPr fontAlgn="base">
              <a:spcBef>
                <a:spcPct val="0"/>
              </a:spcBef>
              <a:spcAft>
                <a:spcPct val="0"/>
              </a:spcAft>
              <a:buClrTx/>
              <a:defRPr/>
            </a:pPr>
            <a:endParaRPr lang="en-US" sz="1000" kern="1200" dirty="0">
              <a:solidFill>
                <a:schemeClr val="tx1"/>
              </a:solidFill>
            </a:endParaRPr>
          </a:p>
          <a:p>
            <a:pPr lvl="0" fontAlgn="base">
              <a:spcBef>
                <a:spcPct val="0"/>
              </a:spcBef>
              <a:spcAft>
                <a:spcPct val="0"/>
              </a:spcAft>
              <a:buClrTx/>
              <a:defRPr/>
            </a:pPr>
            <a:endParaRPr lang="en-US" sz="1000" b="1" u="sng" kern="1200" dirty="0" smtClean="0">
              <a:solidFill>
                <a:schemeClr val="tx1"/>
              </a:solidFill>
            </a:endParaRPr>
          </a:p>
          <a:p>
            <a:pPr lvl="0" defTabSz="913429" fontAlgn="t">
              <a:defRPr/>
            </a:pPr>
            <a:endParaRPr lang="en-US" sz="1000" b="1" kern="1200" dirty="0" smtClean="0">
              <a:solidFill>
                <a:srgbClr val="01632F"/>
              </a:solidFill>
            </a:endParaRPr>
          </a:p>
          <a:p>
            <a:pPr lvl="0" fontAlgn="base">
              <a:spcBef>
                <a:spcPct val="0"/>
              </a:spcBef>
              <a:spcAft>
                <a:spcPct val="0"/>
              </a:spcAft>
              <a:buClrTx/>
              <a:defRPr/>
            </a:pPr>
            <a:endParaRPr lang="en-US" sz="1000" b="1" u="sng" kern="1200" dirty="0">
              <a:solidFill>
                <a:srgbClr val="FF0000"/>
              </a:solidFill>
            </a:endParaRPr>
          </a:p>
        </p:txBody>
      </p:sp>
      <p:sp>
        <p:nvSpPr>
          <p:cNvPr id="50" name="Rectangle 49"/>
          <p:cNvSpPr>
            <a:spLocks/>
          </p:cNvSpPr>
          <p:nvPr/>
        </p:nvSpPr>
        <p:spPr>
          <a:xfrm>
            <a:off x="6671918" y="1513561"/>
            <a:ext cx="3099023" cy="4934001"/>
          </a:xfrm>
          <a:prstGeom prst="rect">
            <a:avLst/>
          </a:prstGeom>
          <a:solidFill>
            <a:srgbClr val="F0F6E3">
              <a:alpha val="80000"/>
            </a:srgbClr>
          </a:solidFill>
          <a:ln w="19050" cap="flat" cmpd="sng" algn="ctr">
            <a:solidFill>
              <a:srgbClr val="01632F"/>
            </a:solid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53" name="Rectangle 52"/>
          <p:cNvSpPr/>
          <p:nvPr/>
        </p:nvSpPr>
        <p:spPr>
          <a:xfrm>
            <a:off x="6708849" y="3351417"/>
            <a:ext cx="1094031" cy="78483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ysClr val="windowText" lastClr="000000"/>
                </a:solidFill>
                <a:effectLst/>
                <a:uLnTx/>
                <a:uFillTx/>
                <a:ea typeface="+mn-ea"/>
                <a:cs typeface="+mn-cs"/>
              </a:rPr>
              <a:t>Expanding</a:t>
            </a:r>
            <a:r>
              <a:rPr kumimoji="0" lang="en-US" sz="900" b="1" i="0" u="none" strike="noStrike" kern="1200" cap="none" spc="0" normalizeH="0" noProof="0" dirty="0" smtClean="0">
                <a:ln>
                  <a:noFill/>
                </a:ln>
                <a:solidFill>
                  <a:sysClr val="windowText" lastClr="000000"/>
                </a:solidFill>
                <a:effectLst/>
                <a:uLnTx/>
                <a:uFillTx/>
                <a:ea typeface="+mn-ea"/>
                <a:cs typeface="+mn-cs"/>
              </a:rPr>
              <a:t> Maize Markets Through Agro processing</a:t>
            </a:r>
          </a:p>
          <a:p>
            <a:pPr marL="0" marR="0" lvl="0" indent="0" algn="ctr" defTabSz="914400" eaLnBrk="1" fontAlgn="auto" latinLnBrk="0" hangingPunct="1">
              <a:lnSpc>
                <a:spcPct val="100000"/>
              </a:lnSpc>
              <a:spcBef>
                <a:spcPts val="0"/>
              </a:spcBef>
              <a:spcAft>
                <a:spcPts val="0"/>
              </a:spcAft>
              <a:buClrTx/>
              <a:buSzTx/>
              <a:buFontTx/>
              <a:buNone/>
              <a:tabLst/>
              <a:defRPr/>
            </a:pPr>
            <a:r>
              <a:rPr lang="en-US" sz="900" b="1" kern="1200" baseline="0" dirty="0" smtClean="0">
                <a:solidFill>
                  <a:sysClr val="windowText" lastClr="000000"/>
                </a:solidFill>
                <a:ea typeface="+mn-ea"/>
                <a:cs typeface="+mn-cs"/>
              </a:rPr>
              <a:t>(EMMA)</a:t>
            </a:r>
            <a:endParaRPr kumimoji="0" lang="en-US" sz="900" b="1" i="0" u="none" strike="noStrike" kern="1200" cap="none" spc="0" normalizeH="0" baseline="0" noProof="0" dirty="0">
              <a:ln>
                <a:noFill/>
              </a:ln>
              <a:solidFill>
                <a:sysClr val="windowText" lastClr="000000"/>
              </a:solidFill>
              <a:effectLst/>
              <a:uLnTx/>
              <a:uFillTx/>
              <a:ea typeface="+mn-ea"/>
              <a:cs typeface="+mn-cs"/>
            </a:endParaRPr>
          </a:p>
        </p:txBody>
      </p:sp>
      <p:pic>
        <p:nvPicPr>
          <p:cNvPr id="54" name="Picture 53"/>
          <p:cNvPicPr/>
          <p:nvPr/>
        </p:nvPicPr>
        <p:blipFill>
          <a:blip r:embed="rId8" cstate="print">
            <a:extLst>
              <a:ext uri="{28A0092B-C50C-407E-A947-70E740481C1C}">
                <a14:useLocalDpi xmlns:a14="http://schemas.microsoft.com/office/drawing/2010/main" val="0"/>
              </a:ext>
            </a:extLst>
          </a:blip>
          <a:stretch>
            <a:fillRect/>
          </a:stretch>
        </p:blipFill>
        <p:spPr>
          <a:xfrm>
            <a:off x="6797341" y="5590577"/>
            <a:ext cx="849048" cy="443917"/>
          </a:xfrm>
          <a:prstGeom prst="rect">
            <a:avLst/>
          </a:prstGeom>
        </p:spPr>
      </p:pic>
      <p:sp>
        <p:nvSpPr>
          <p:cNvPr id="55" name="TextBox 54"/>
          <p:cNvSpPr txBox="1"/>
          <p:nvPr/>
        </p:nvSpPr>
        <p:spPr>
          <a:xfrm>
            <a:off x="7708384" y="2483275"/>
            <a:ext cx="1861438" cy="584775"/>
          </a:xfrm>
          <a:prstGeom prst="rect">
            <a:avLst/>
          </a:prstGeom>
          <a:noFill/>
        </p:spPr>
        <p:txBody>
          <a:bodyPr wrap="square" rtlCol="0">
            <a:spAutoFit/>
          </a:bodyPr>
          <a:lstStyle/>
          <a:p>
            <a:pPr marL="0" marR="0" lvl="0" indent="0" defTabSz="932863"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ysClr val="windowText" lastClr="000000"/>
                </a:solidFill>
                <a:effectLst/>
                <a:uLnTx/>
                <a:uFillTx/>
                <a:ea typeface="+mn-ea"/>
                <a:cs typeface="+mn-cs"/>
              </a:rPr>
              <a:t>Provide matching grants to SMEs along the rice value chain</a:t>
            </a:r>
            <a:r>
              <a:rPr kumimoji="0" lang="en-US" sz="800" b="0" i="0" u="none" strike="noStrike" kern="1200" cap="none" spc="0" normalizeH="0" noProof="0" dirty="0" smtClean="0">
                <a:ln>
                  <a:noFill/>
                </a:ln>
                <a:solidFill>
                  <a:sysClr val="windowText" lastClr="000000"/>
                </a:solidFill>
                <a:effectLst/>
                <a:uLnTx/>
                <a:uFillTx/>
                <a:ea typeface="+mn-ea"/>
                <a:cs typeface="+mn-cs"/>
              </a:rPr>
              <a:t> in order to increase their competitiveness of locally available rice within EA region</a:t>
            </a:r>
            <a:endParaRPr kumimoji="0" lang="en-US" sz="800" b="0" i="0" u="none" strike="noStrike" kern="1200" cap="none" spc="0" normalizeH="0" baseline="0" noProof="0" dirty="0" smtClean="0">
              <a:ln>
                <a:noFill/>
              </a:ln>
              <a:solidFill>
                <a:sysClr val="windowText" lastClr="000000"/>
              </a:solidFill>
              <a:effectLst/>
              <a:uLnTx/>
              <a:uFillTx/>
              <a:ea typeface="+mn-ea"/>
              <a:cs typeface="+mn-cs"/>
            </a:endParaRPr>
          </a:p>
        </p:txBody>
      </p:sp>
      <p:sp>
        <p:nvSpPr>
          <p:cNvPr id="56" name="TextBox 55"/>
          <p:cNvSpPr txBox="1"/>
          <p:nvPr/>
        </p:nvSpPr>
        <p:spPr>
          <a:xfrm>
            <a:off x="7702006" y="5559274"/>
            <a:ext cx="1861438"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ysClr val="windowText" lastClr="000000"/>
                </a:solidFill>
                <a:effectLst/>
                <a:uLnTx/>
                <a:uFillTx/>
                <a:ea typeface="+mn-ea"/>
                <a:cs typeface="+mn-cs"/>
              </a:rPr>
              <a:t>Mobilize multiple stakeholders along the maize value chain to increase production and structured</a:t>
            </a:r>
            <a:r>
              <a:rPr kumimoji="0" lang="en-US" sz="800" b="0" i="0" u="none" strike="noStrike" kern="1200" cap="none" spc="0" normalizeH="0" noProof="0" dirty="0" smtClean="0">
                <a:ln>
                  <a:noFill/>
                </a:ln>
                <a:solidFill>
                  <a:sysClr val="windowText" lastClr="000000"/>
                </a:solidFill>
                <a:effectLst/>
                <a:uLnTx/>
                <a:uFillTx/>
                <a:ea typeface="+mn-ea"/>
                <a:cs typeface="+mn-cs"/>
              </a:rPr>
              <a:t> trade. This is complementing the YWS initiative geared to reduction  of PHLs</a:t>
            </a:r>
            <a:endParaRPr kumimoji="0" lang="en-US" sz="800" b="0" i="0" u="none" strike="noStrike" kern="1200" cap="none" spc="0" normalizeH="0" baseline="0" noProof="0" dirty="0" smtClean="0">
              <a:ln>
                <a:noFill/>
              </a:ln>
              <a:solidFill>
                <a:sysClr val="windowText" lastClr="000000"/>
              </a:solidFill>
              <a:effectLst/>
              <a:uLnTx/>
              <a:uFillTx/>
              <a:ea typeface="+mn-ea"/>
              <a:cs typeface="+mn-cs"/>
            </a:endParaRPr>
          </a:p>
        </p:txBody>
      </p:sp>
      <p:sp>
        <p:nvSpPr>
          <p:cNvPr id="57" name="TextBox 56"/>
          <p:cNvSpPr txBox="1"/>
          <p:nvPr/>
        </p:nvSpPr>
        <p:spPr>
          <a:xfrm>
            <a:off x="7708384" y="4471820"/>
            <a:ext cx="1876043"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ysClr val="windowText" lastClr="000000"/>
                </a:solidFill>
                <a:effectLst/>
                <a:uLnTx/>
                <a:uFillTx/>
                <a:ea typeface="+mn-ea"/>
                <a:cs typeface="+mn-cs"/>
              </a:rPr>
              <a:t>Partnering with a wide range of large</a:t>
            </a:r>
            <a:r>
              <a:rPr kumimoji="0" lang="en-US" sz="800" b="0" i="0" u="none" strike="noStrike" kern="1200" cap="none" spc="0" normalizeH="0" noProof="0" dirty="0" smtClean="0">
                <a:ln>
                  <a:noFill/>
                </a:ln>
                <a:solidFill>
                  <a:sysClr val="windowText" lastClr="000000"/>
                </a:solidFill>
                <a:effectLst/>
                <a:uLnTx/>
                <a:uFillTx/>
                <a:ea typeface="+mn-ea"/>
                <a:cs typeface="+mn-cs"/>
              </a:rPr>
              <a:t> companies and SMEs for extending improved potato production and marketing technologie</a:t>
            </a:r>
            <a:r>
              <a:rPr lang="en-US" sz="800" kern="1200" noProof="0" dirty="0" smtClean="0">
                <a:solidFill>
                  <a:sysClr val="windowText" lastClr="000000"/>
                </a:solidFill>
                <a:ea typeface="+mn-ea"/>
                <a:cs typeface="+mn-cs"/>
              </a:rPr>
              <a:t>s to farmers and SMEs in Northern Tanzania</a:t>
            </a:r>
            <a:endParaRPr kumimoji="0" lang="en-US" sz="800" b="0" i="0" u="none" strike="noStrike" kern="1200" cap="none" spc="0" normalizeH="0" baseline="0" noProof="0" dirty="0">
              <a:ln>
                <a:noFill/>
              </a:ln>
              <a:solidFill>
                <a:sysClr val="windowText" lastClr="000000"/>
              </a:solidFill>
              <a:effectLst/>
              <a:uLnTx/>
              <a:uFillTx/>
              <a:ea typeface="+mn-ea"/>
              <a:cs typeface="+mn-cs"/>
            </a:endParaRPr>
          </a:p>
        </p:txBody>
      </p:sp>
      <p:sp>
        <p:nvSpPr>
          <p:cNvPr id="58" name="TextBox 57"/>
          <p:cNvSpPr txBox="1"/>
          <p:nvPr/>
        </p:nvSpPr>
        <p:spPr>
          <a:xfrm>
            <a:off x="7675467" y="1558776"/>
            <a:ext cx="1884061" cy="86177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ysClr val="windowText" lastClr="000000"/>
                </a:solidFill>
                <a:effectLst/>
                <a:uLnTx/>
                <a:uFillTx/>
                <a:ea typeface="+mn-ea"/>
                <a:cs typeface="+mn-cs"/>
              </a:rPr>
              <a:t>Coordinating with Enabel in Western Tanzania for input-output marketing systems </a:t>
            </a:r>
            <a:r>
              <a:rPr lang="en-US" sz="1000" kern="1200" dirty="0" smtClean="0">
                <a:solidFill>
                  <a:sysClr val="windowText" lastClr="000000"/>
                </a:solidFill>
                <a:ea typeface="+mn-ea"/>
                <a:cs typeface="+mn-cs"/>
              </a:rPr>
              <a:t>in </a:t>
            </a:r>
            <a:r>
              <a:rPr kumimoji="0" lang="en-US" sz="1000" b="0" i="0" u="none" strike="noStrike" kern="1200" cap="none" spc="0" normalizeH="0" baseline="0" noProof="0" dirty="0" smtClean="0">
                <a:ln>
                  <a:noFill/>
                </a:ln>
                <a:solidFill>
                  <a:sysClr val="windowText" lastClr="000000"/>
                </a:solidFill>
                <a:effectLst/>
                <a:uLnTx/>
                <a:uFillTx/>
                <a:ea typeface="+mn-ea"/>
                <a:cs typeface="+mn-cs"/>
              </a:rPr>
              <a:t>beans and cassava value chains</a:t>
            </a:r>
            <a:endParaRPr kumimoji="0" lang="en-US" sz="1000" b="0" i="0" u="none" strike="noStrike" kern="1200" cap="none" spc="0" normalizeH="0" baseline="0" noProof="0" dirty="0">
              <a:ln>
                <a:noFill/>
              </a:ln>
              <a:solidFill>
                <a:sysClr val="windowText" lastClr="000000"/>
              </a:solidFill>
              <a:effectLst/>
              <a:uLnTx/>
              <a:uFillTx/>
              <a:ea typeface="+mn-ea"/>
              <a:cs typeface="+mn-cs"/>
            </a:endParaRPr>
          </a:p>
        </p:txBody>
      </p:sp>
      <p:cxnSp>
        <p:nvCxnSpPr>
          <p:cNvPr id="59" name="Straight Connector 58"/>
          <p:cNvCxnSpPr/>
          <p:nvPr/>
        </p:nvCxnSpPr>
        <p:spPr>
          <a:xfrm>
            <a:off x="6841226" y="2408664"/>
            <a:ext cx="2743200" cy="10605"/>
          </a:xfrm>
          <a:prstGeom prst="line">
            <a:avLst/>
          </a:prstGeom>
          <a:noFill/>
          <a:ln w="19050" cap="flat" cmpd="sng" algn="ctr">
            <a:solidFill>
              <a:srgbClr val="808080"/>
            </a:solidFill>
            <a:prstDash val="dash"/>
          </a:ln>
          <a:effectLst/>
        </p:spPr>
      </p:cxnSp>
      <p:cxnSp>
        <p:nvCxnSpPr>
          <p:cNvPr id="60" name="Straight Connector 59"/>
          <p:cNvCxnSpPr/>
          <p:nvPr/>
        </p:nvCxnSpPr>
        <p:spPr>
          <a:xfrm>
            <a:off x="6841226" y="3233422"/>
            <a:ext cx="2743200" cy="15908"/>
          </a:xfrm>
          <a:prstGeom prst="line">
            <a:avLst/>
          </a:prstGeom>
          <a:noFill/>
          <a:ln w="19050" cap="flat" cmpd="sng" algn="ctr">
            <a:solidFill>
              <a:srgbClr val="808080"/>
            </a:solidFill>
            <a:prstDash val="dash"/>
          </a:ln>
          <a:effectLst/>
        </p:spPr>
      </p:cxnSp>
      <p:cxnSp>
        <p:nvCxnSpPr>
          <p:cNvPr id="61" name="Straight Connector 60"/>
          <p:cNvCxnSpPr/>
          <p:nvPr/>
        </p:nvCxnSpPr>
        <p:spPr>
          <a:xfrm flipV="1">
            <a:off x="6841226" y="4298725"/>
            <a:ext cx="2781590" cy="20798"/>
          </a:xfrm>
          <a:prstGeom prst="line">
            <a:avLst/>
          </a:prstGeom>
          <a:noFill/>
          <a:ln w="19050" cap="flat" cmpd="sng" algn="ctr">
            <a:solidFill>
              <a:srgbClr val="808080"/>
            </a:solidFill>
            <a:prstDash val="dash"/>
          </a:ln>
          <a:effectLst/>
        </p:spPr>
      </p:cxnSp>
      <p:sp>
        <p:nvSpPr>
          <p:cNvPr id="66" name="Rectangle 65"/>
          <p:cNvSpPr>
            <a:spLocks/>
          </p:cNvSpPr>
          <p:nvPr/>
        </p:nvSpPr>
        <p:spPr>
          <a:xfrm>
            <a:off x="201451" y="1505882"/>
            <a:ext cx="3099816" cy="4927878"/>
          </a:xfrm>
          <a:prstGeom prst="rect">
            <a:avLst/>
          </a:prstGeom>
          <a:solidFill>
            <a:srgbClr val="F0F6E3">
              <a:alpha val="80000"/>
            </a:srgbClr>
          </a:solidFill>
          <a:ln w="19050" cap="flat" cmpd="sng" algn="ctr">
            <a:solidFill>
              <a:srgbClr val="01632F"/>
            </a:solidFill>
            <a:prstDash val="solid"/>
          </a:ln>
          <a:effectLst/>
        </p:spPr>
        <p:txBody>
          <a:bodyPr rtlCol="0" anchor="t"/>
          <a:lstStyle/>
          <a:p>
            <a:pPr marL="171450" indent="-109538" fontAlgn="t">
              <a:buFont typeface="Arial" panose="020B0604020202020204" pitchFamily="34" charset="0"/>
              <a:buChar char="•"/>
            </a:pPr>
            <a:r>
              <a:rPr lang="en-US" sz="1100" b="1" dirty="0" smtClean="0">
                <a:latin typeface="Arial" panose="020B0604020202020204" pitchFamily="34" charset="0"/>
              </a:rPr>
              <a:t>Supported; </a:t>
            </a:r>
            <a:r>
              <a:rPr lang="en-US" sz="1100" dirty="0" smtClean="0">
                <a:latin typeface="Arial" panose="020B0604020202020204" pitchFamily="34" charset="0"/>
              </a:rPr>
              <a:t>Successful roll out of ASDP II socialization among the LGAs</a:t>
            </a:r>
            <a:endParaRPr lang="en-US" sz="1100" b="1" dirty="0" smtClean="0">
              <a:latin typeface="Arial" panose="020B0604020202020204" pitchFamily="34" charset="0"/>
            </a:endParaRPr>
          </a:p>
          <a:p>
            <a:pPr marL="171450" indent="-109538" fontAlgn="t">
              <a:buFont typeface="Arial" panose="020B0604020202020204" pitchFamily="34" charset="0"/>
              <a:buChar char="•"/>
            </a:pPr>
            <a:r>
              <a:rPr lang="en-US" sz="1100" b="1" dirty="0" smtClean="0">
                <a:latin typeface="Arial" panose="020B0604020202020204" pitchFamily="34" charset="0"/>
              </a:rPr>
              <a:t>Supported</a:t>
            </a:r>
            <a:r>
              <a:rPr lang="en-US" sz="1100" b="1" dirty="0">
                <a:latin typeface="Arial" panose="020B0604020202020204" pitchFamily="34" charset="0"/>
              </a:rPr>
              <a:t>; </a:t>
            </a:r>
            <a:r>
              <a:rPr lang="en-US" sz="1100" dirty="0">
                <a:latin typeface="Arial" panose="020B0604020202020204" pitchFamily="34" charset="0"/>
              </a:rPr>
              <a:t>MoA and ESRF to develop a project to strengthen export trade and food security. </a:t>
            </a:r>
          </a:p>
          <a:p>
            <a:pPr marL="171450" indent="-109538" fontAlgn="t">
              <a:buFont typeface="Arial" panose="020B0604020202020204" pitchFamily="34" charset="0"/>
              <a:buChar char="•"/>
            </a:pPr>
            <a:r>
              <a:rPr lang="en-US" sz="1100" b="1" dirty="0">
                <a:latin typeface="Arial" panose="020B0604020202020204" pitchFamily="34" charset="0"/>
              </a:rPr>
              <a:t>Obtained; </a:t>
            </a:r>
            <a:r>
              <a:rPr lang="en-US" sz="1100" dirty="0">
                <a:latin typeface="Arial" panose="020B0604020202020204" pitchFamily="34" charset="0"/>
              </a:rPr>
              <a:t>Minister’s approval of the Contract Farming Bill </a:t>
            </a:r>
          </a:p>
          <a:p>
            <a:pPr marL="171450" indent="-109538" fontAlgn="t">
              <a:buFont typeface="Arial" panose="020B0604020202020204" pitchFamily="34" charset="0"/>
              <a:buChar char="•"/>
            </a:pPr>
            <a:r>
              <a:rPr lang="en-US" sz="1100" b="1" dirty="0">
                <a:latin typeface="Arial" panose="020B0604020202020204" pitchFamily="34" charset="0"/>
              </a:rPr>
              <a:t>Supported; </a:t>
            </a:r>
            <a:r>
              <a:rPr lang="en-US" sz="1100" dirty="0">
                <a:latin typeface="Arial" panose="020B0604020202020204" pitchFamily="34" charset="0"/>
              </a:rPr>
              <a:t>MoA to successful develop and execute a communication strategy during ASDP II launch</a:t>
            </a:r>
          </a:p>
          <a:p>
            <a:pPr marL="171450" indent="-109538" fontAlgn="t">
              <a:buFont typeface="Arial" panose="020B0604020202020204" pitchFamily="34" charset="0"/>
              <a:buChar char="•"/>
            </a:pPr>
            <a:r>
              <a:rPr lang="en-US" sz="1100" b="1" dirty="0">
                <a:latin typeface="Arial" panose="020B0604020202020204" pitchFamily="34" charset="0"/>
              </a:rPr>
              <a:t>Collaborated; </a:t>
            </a:r>
            <a:r>
              <a:rPr lang="en-US" sz="1100" dirty="0">
                <a:latin typeface="Arial" panose="020B0604020202020204" pitchFamily="34" charset="0"/>
              </a:rPr>
              <a:t>with PO-RALG to develop a project to strengthen coordination of ASDPII implementation at the LGA level</a:t>
            </a:r>
          </a:p>
          <a:p>
            <a:pPr marL="171450" indent="-109538" fontAlgn="t">
              <a:buFont typeface="Arial" panose="020B0604020202020204" pitchFamily="34" charset="0"/>
              <a:buChar char="•"/>
            </a:pPr>
            <a:r>
              <a:rPr lang="en-US" sz="1100" b="1" dirty="0">
                <a:latin typeface="Arial" panose="020B0604020202020204" pitchFamily="34" charset="0"/>
              </a:rPr>
              <a:t>Supported</a:t>
            </a:r>
            <a:r>
              <a:rPr lang="en-US" sz="1100" dirty="0">
                <a:latin typeface="Arial" panose="020B0604020202020204" pitchFamily="34" charset="0"/>
              </a:rPr>
              <a:t>; MoA’s stakeholders meetings for mechanization and contract farming bills</a:t>
            </a:r>
          </a:p>
          <a:p>
            <a:pPr marL="171450" indent="-109538" fontAlgn="t">
              <a:buFont typeface="Arial" panose="020B0604020202020204" pitchFamily="34" charset="0"/>
              <a:buChar char="•"/>
            </a:pPr>
            <a:r>
              <a:rPr lang="en-US" sz="1100" b="1" dirty="0">
                <a:latin typeface="Arial" panose="020B0604020202020204" pitchFamily="34" charset="0"/>
              </a:rPr>
              <a:t>Currently; </a:t>
            </a:r>
            <a:r>
              <a:rPr lang="en-US" sz="1100" dirty="0">
                <a:latin typeface="Arial" panose="020B0604020202020204" pitchFamily="34" charset="0"/>
              </a:rPr>
              <a:t>Supporting ASLMs to develop agro-industrialization flagship </a:t>
            </a:r>
            <a:r>
              <a:rPr lang="en-US" sz="1100" dirty="0" smtClean="0">
                <a:latin typeface="Arial" panose="020B0604020202020204" pitchFamily="34" charset="0"/>
              </a:rPr>
              <a:t>program</a:t>
            </a:r>
          </a:p>
          <a:p>
            <a:pPr marL="171450" indent="-109538" fontAlgn="t">
              <a:buFont typeface="Arial" panose="020B0604020202020204" pitchFamily="34" charset="0"/>
              <a:buChar char="•"/>
            </a:pPr>
            <a:r>
              <a:rPr lang="en-US" sz="1100" b="1" dirty="0">
                <a:latin typeface="Arial" panose="020B0604020202020204" pitchFamily="34" charset="0"/>
              </a:rPr>
              <a:t>Currently; </a:t>
            </a:r>
            <a:r>
              <a:rPr lang="en-US" sz="1100" dirty="0">
                <a:latin typeface="Arial" panose="020B0604020202020204" pitchFamily="34" charset="0"/>
              </a:rPr>
              <a:t>Supporting </a:t>
            </a:r>
            <a:r>
              <a:rPr lang="en-US" sz="1100" dirty="0" smtClean="0">
                <a:latin typeface="Arial" panose="020B0604020202020204" pitchFamily="34" charset="0"/>
              </a:rPr>
              <a:t>MoA to review the relevance and updates to the agric policy of 2013, ultimately leading to the Agric Act.</a:t>
            </a:r>
          </a:p>
          <a:p>
            <a:pPr marL="171450" indent="-109538" fontAlgn="t">
              <a:buFont typeface="Arial" panose="020B0604020202020204" pitchFamily="34" charset="0"/>
              <a:buChar char="•"/>
            </a:pPr>
            <a:r>
              <a:rPr lang="en-US" sz="1100" b="1" dirty="0">
                <a:latin typeface="Arial" panose="020B0604020202020204" pitchFamily="34" charset="0"/>
              </a:rPr>
              <a:t>Supported</a:t>
            </a:r>
            <a:r>
              <a:rPr lang="en-US" sz="1100" dirty="0">
                <a:latin typeface="Arial" panose="020B0604020202020204" pitchFamily="34" charset="0"/>
              </a:rPr>
              <a:t>; </a:t>
            </a:r>
            <a:r>
              <a:rPr lang="en-US" sz="1100" dirty="0" smtClean="0">
                <a:latin typeface="Arial" panose="020B0604020202020204" pitchFamily="34" charset="0"/>
              </a:rPr>
              <a:t>Execution of Lake Tanganganyika Business Summit, meant to improve cross-border food trade across the Great </a:t>
            </a:r>
            <a:r>
              <a:rPr lang="en-US" sz="1100" dirty="0">
                <a:latin typeface="Arial" panose="020B0604020202020204" pitchFamily="34" charset="0"/>
              </a:rPr>
              <a:t>L</a:t>
            </a:r>
            <a:r>
              <a:rPr lang="en-US" sz="1100" dirty="0" smtClean="0">
                <a:latin typeface="Arial" panose="020B0604020202020204" pitchFamily="34" charset="0"/>
              </a:rPr>
              <a:t>akes regions</a:t>
            </a:r>
            <a:endParaRPr lang="en-US" sz="1100" dirty="0">
              <a:latin typeface="Arial" panose="020B0604020202020204" pitchFamily="34" charset="0"/>
            </a:endParaRPr>
          </a:p>
        </p:txBody>
      </p:sp>
      <p:sp>
        <p:nvSpPr>
          <p:cNvPr id="67" name="Rectangle 66">
            <a:hlinkClick r:id="" action="ppaction://noaction"/>
          </p:cNvPr>
          <p:cNvSpPr/>
          <p:nvPr/>
        </p:nvSpPr>
        <p:spPr bwMode="gray">
          <a:xfrm>
            <a:off x="201451" y="906112"/>
            <a:ext cx="3099816" cy="548640"/>
          </a:xfrm>
          <a:prstGeom prst="rect">
            <a:avLst/>
          </a:prstGeom>
          <a:solidFill>
            <a:srgbClr val="B5D474">
              <a:lumMod val="75000"/>
            </a:srgbClr>
          </a:solidFill>
          <a:ln w="19050" algn="ctr">
            <a:solidFill>
              <a:srgbClr val="FFFFFF"/>
            </a:solidFill>
            <a:miter lim="800000"/>
            <a:headEnd/>
            <a:tailEnd/>
          </a:ln>
        </p:spPr>
        <p:txBody>
          <a:bodyPr wrap="square" lIns="88900" tIns="88900" rIns="88900" bIns="88900" rtlCol="0" anchor="ctr"/>
          <a:lstStyle/>
          <a:p>
            <a:pPr marL="457200" marR="0" lvl="1" indent="0" defTabSz="91440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FFFFFF"/>
                </a:solidFill>
                <a:effectLst/>
                <a:uLnTx/>
                <a:uFillTx/>
                <a:ea typeface="+mn-ea"/>
                <a:cs typeface="+mn-cs"/>
              </a:rPr>
              <a:t>  Policy and</a:t>
            </a:r>
            <a:r>
              <a:rPr kumimoji="0" lang="en-US" sz="1200" b="1" i="0" u="none" strike="noStrike" kern="1200" cap="none" spc="0" normalizeH="0" noProof="0" dirty="0" smtClean="0">
                <a:ln>
                  <a:noFill/>
                </a:ln>
                <a:solidFill>
                  <a:srgbClr val="FFFFFF"/>
                </a:solidFill>
                <a:effectLst/>
                <a:uLnTx/>
                <a:uFillTx/>
                <a:ea typeface="+mn-ea"/>
                <a:cs typeface="+mn-cs"/>
              </a:rPr>
              <a:t> State Capability</a:t>
            </a:r>
            <a:endParaRPr kumimoji="0" lang="en-US" sz="1200" b="1" i="0" u="none" strike="noStrike" kern="1200" cap="none" spc="0" normalizeH="0" baseline="0" noProof="0" dirty="0" smtClean="0">
              <a:ln>
                <a:noFill/>
              </a:ln>
              <a:solidFill>
                <a:srgbClr val="FFFFFF"/>
              </a:solidFill>
              <a:effectLst/>
              <a:uLnTx/>
              <a:uFillTx/>
              <a:ea typeface="+mn-ea"/>
              <a:cs typeface="+mn-cs"/>
            </a:endParaRPr>
          </a:p>
        </p:txBody>
      </p:sp>
      <p:sp>
        <p:nvSpPr>
          <p:cNvPr id="68" name="Rectangle 67">
            <a:hlinkClick r:id="" action="ppaction://noaction"/>
          </p:cNvPr>
          <p:cNvSpPr/>
          <p:nvPr/>
        </p:nvSpPr>
        <p:spPr bwMode="gray">
          <a:xfrm>
            <a:off x="6660225" y="906112"/>
            <a:ext cx="3122411" cy="548640"/>
          </a:xfrm>
          <a:prstGeom prst="rect">
            <a:avLst/>
          </a:prstGeom>
          <a:solidFill>
            <a:srgbClr val="B5D474">
              <a:lumMod val="75000"/>
            </a:srgbClr>
          </a:solidFill>
          <a:ln w="19050" algn="ctr">
            <a:solidFill>
              <a:srgbClr val="FFFFFF"/>
            </a:solidFill>
            <a:miter lim="800000"/>
            <a:headEnd/>
            <a:tailEnd/>
          </a:ln>
        </p:spPr>
        <p:txBody>
          <a:bodyPr wrap="square" lIns="88900" tIns="88900" rIns="88900" bIns="88900" rtlCol="0" anchor="ctr"/>
          <a:lstStyle/>
          <a:p>
            <a:pPr marL="457200" marR="0" lvl="1"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smtClean="0">
                <a:ln>
                  <a:noFill/>
                </a:ln>
                <a:solidFill>
                  <a:srgbClr val="FFFFFF"/>
                </a:solidFill>
                <a:effectLst/>
                <a:uLnTx/>
                <a:uFillTx/>
                <a:ea typeface="+mn-ea"/>
                <a:cs typeface="+mn-cs"/>
              </a:rPr>
              <a:t>  Strategic Partnerships</a:t>
            </a:r>
          </a:p>
        </p:txBody>
      </p:sp>
      <p:sp>
        <p:nvSpPr>
          <p:cNvPr id="69" name="Freeform 68"/>
          <p:cNvSpPr>
            <a:spLocks noChangeAspect="1" noEditPoints="1"/>
          </p:cNvSpPr>
          <p:nvPr/>
        </p:nvSpPr>
        <p:spPr bwMode="auto">
          <a:xfrm>
            <a:off x="6687201" y="1046609"/>
            <a:ext cx="534664" cy="365760"/>
          </a:xfrm>
          <a:custGeom>
            <a:avLst/>
            <a:gdLst>
              <a:gd name="T0" fmla="*/ 252 w 438"/>
              <a:gd name="T1" fmla="*/ 65 h 279"/>
              <a:gd name="T2" fmla="*/ 193 w 438"/>
              <a:gd name="T3" fmla="*/ 89 h 279"/>
              <a:gd name="T4" fmla="*/ 207 w 438"/>
              <a:gd name="T5" fmla="*/ 146 h 279"/>
              <a:gd name="T6" fmla="*/ 222 w 438"/>
              <a:gd name="T7" fmla="*/ 119 h 279"/>
              <a:gd name="T8" fmla="*/ 273 w 438"/>
              <a:gd name="T9" fmla="*/ 150 h 279"/>
              <a:gd name="T10" fmla="*/ 329 w 438"/>
              <a:gd name="T11" fmla="*/ 205 h 279"/>
              <a:gd name="T12" fmla="*/ 325 w 438"/>
              <a:gd name="T13" fmla="*/ 220 h 279"/>
              <a:gd name="T14" fmla="*/ 277 w 438"/>
              <a:gd name="T15" fmla="*/ 183 h 279"/>
              <a:gd name="T16" fmla="*/ 271 w 438"/>
              <a:gd name="T17" fmla="*/ 190 h 279"/>
              <a:gd name="T18" fmla="*/ 298 w 438"/>
              <a:gd name="T19" fmla="*/ 241 h 279"/>
              <a:gd name="T20" fmla="*/ 241 w 438"/>
              <a:gd name="T21" fmla="*/ 199 h 279"/>
              <a:gd name="T22" fmla="*/ 289 w 438"/>
              <a:gd name="T23" fmla="*/ 246 h 279"/>
              <a:gd name="T24" fmla="*/ 228 w 438"/>
              <a:gd name="T25" fmla="*/ 219 h 279"/>
              <a:gd name="T26" fmla="*/ 222 w 438"/>
              <a:gd name="T27" fmla="*/ 226 h 279"/>
              <a:gd name="T28" fmla="*/ 233 w 438"/>
              <a:gd name="T29" fmla="*/ 257 h 279"/>
              <a:gd name="T30" fmla="*/ 235 w 438"/>
              <a:gd name="T31" fmla="*/ 268 h 279"/>
              <a:gd name="T32" fmla="*/ 293 w 438"/>
              <a:gd name="T33" fmla="*/ 256 h 279"/>
              <a:gd name="T34" fmla="*/ 336 w 438"/>
              <a:gd name="T35" fmla="*/ 196 h 279"/>
              <a:gd name="T36" fmla="*/ 308 w 438"/>
              <a:gd name="T37" fmla="*/ 85 h 279"/>
              <a:gd name="T38" fmla="*/ 191 w 438"/>
              <a:gd name="T39" fmla="*/ 210 h 279"/>
              <a:gd name="T40" fmla="*/ 230 w 438"/>
              <a:gd name="T41" fmla="*/ 265 h 279"/>
              <a:gd name="T42" fmla="*/ 137 w 438"/>
              <a:gd name="T43" fmla="*/ 220 h 279"/>
              <a:gd name="T44" fmla="*/ 157 w 438"/>
              <a:gd name="T45" fmla="*/ 196 h 279"/>
              <a:gd name="T46" fmla="*/ 362 w 438"/>
              <a:gd name="T47" fmla="*/ 204 h 279"/>
              <a:gd name="T48" fmla="*/ 438 w 438"/>
              <a:gd name="T49" fmla="*/ 0 h 279"/>
              <a:gd name="T50" fmla="*/ 112 w 438"/>
              <a:gd name="T51" fmla="*/ 72 h 279"/>
              <a:gd name="T52" fmla="*/ 0 w 438"/>
              <a:gd name="T53" fmla="*/ 182 h 279"/>
              <a:gd name="T54" fmla="*/ 112 w 438"/>
              <a:gd name="T55" fmla="*/ 72 h 279"/>
              <a:gd name="T56" fmla="*/ 89 w 438"/>
              <a:gd name="T57" fmla="*/ 173 h 279"/>
              <a:gd name="T58" fmla="*/ 198 w 438"/>
              <a:gd name="T59" fmla="*/ 77 h 279"/>
              <a:gd name="T60" fmla="*/ 187 w 438"/>
              <a:gd name="T61" fmla="*/ 85 h 279"/>
              <a:gd name="T62" fmla="*/ 125 w 438"/>
              <a:gd name="T63" fmla="*/ 88 h 279"/>
              <a:gd name="T64" fmla="*/ 136 w 438"/>
              <a:gd name="T65" fmla="*/ 190 h 279"/>
              <a:gd name="T66" fmla="*/ 129 w 438"/>
              <a:gd name="T67" fmla="*/ 19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8" h="279">
                <a:moveTo>
                  <a:pt x="308" y="85"/>
                </a:moveTo>
                <a:cubicBezTo>
                  <a:pt x="308" y="85"/>
                  <a:pt x="270" y="70"/>
                  <a:pt x="252" y="65"/>
                </a:cubicBezTo>
                <a:cubicBezTo>
                  <a:pt x="239" y="62"/>
                  <a:pt x="237" y="64"/>
                  <a:pt x="226" y="70"/>
                </a:cubicBezTo>
                <a:cubicBezTo>
                  <a:pt x="217" y="75"/>
                  <a:pt x="201" y="82"/>
                  <a:pt x="193" y="89"/>
                </a:cubicBezTo>
                <a:cubicBezTo>
                  <a:pt x="188" y="94"/>
                  <a:pt x="181" y="142"/>
                  <a:pt x="181" y="143"/>
                </a:cubicBezTo>
                <a:cubicBezTo>
                  <a:pt x="180" y="156"/>
                  <a:pt x="198" y="156"/>
                  <a:pt x="207" y="146"/>
                </a:cubicBezTo>
                <a:cubicBezTo>
                  <a:pt x="212" y="139"/>
                  <a:pt x="217" y="129"/>
                  <a:pt x="220" y="122"/>
                </a:cubicBezTo>
                <a:cubicBezTo>
                  <a:pt x="223" y="117"/>
                  <a:pt x="222" y="119"/>
                  <a:pt x="222" y="119"/>
                </a:cubicBezTo>
                <a:cubicBezTo>
                  <a:pt x="236" y="115"/>
                  <a:pt x="236" y="115"/>
                  <a:pt x="236" y="115"/>
                </a:cubicBezTo>
                <a:cubicBezTo>
                  <a:pt x="246" y="125"/>
                  <a:pt x="259" y="137"/>
                  <a:pt x="273" y="150"/>
                </a:cubicBezTo>
                <a:cubicBezTo>
                  <a:pt x="294" y="171"/>
                  <a:pt x="315" y="191"/>
                  <a:pt x="324" y="199"/>
                </a:cubicBezTo>
                <a:cubicBezTo>
                  <a:pt x="327" y="201"/>
                  <a:pt x="328" y="203"/>
                  <a:pt x="329" y="205"/>
                </a:cubicBezTo>
                <a:cubicBezTo>
                  <a:pt x="330" y="207"/>
                  <a:pt x="330" y="209"/>
                  <a:pt x="329" y="212"/>
                </a:cubicBezTo>
                <a:cubicBezTo>
                  <a:pt x="328" y="214"/>
                  <a:pt x="327" y="217"/>
                  <a:pt x="325" y="220"/>
                </a:cubicBezTo>
                <a:cubicBezTo>
                  <a:pt x="324" y="221"/>
                  <a:pt x="323" y="222"/>
                  <a:pt x="323" y="222"/>
                </a:cubicBezTo>
                <a:cubicBezTo>
                  <a:pt x="277" y="183"/>
                  <a:pt x="277" y="183"/>
                  <a:pt x="277" y="183"/>
                </a:cubicBezTo>
                <a:cubicBezTo>
                  <a:pt x="275" y="182"/>
                  <a:pt x="272" y="182"/>
                  <a:pt x="271" y="184"/>
                </a:cubicBezTo>
                <a:cubicBezTo>
                  <a:pt x="269" y="186"/>
                  <a:pt x="269" y="188"/>
                  <a:pt x="271" y="190"/>
                </a:cubicBezTo>
                <a:cubicBezTo>
                  <a:pt x="316" y="228"/>
                  <a:pt x="316" y="228"/>
                  <a:pt x="316" y="228"/>
                </a:cubicBezTo>
                <a:cubicBezTo>
                  <a:pt x="310" y="233"/>
                  <a:pt x="304" y="238"/>
                  <a:pt x="298" y="241"/>
                </a:cubicBezTo>
                <a:cubicBezTo>
                  <a:pt x="248" y="198"/>
                  <a:pt x="248" y="198"/>
                  <a:pt x="248" y="198"/>
                </a:cubicBezTo>
                <a:cubicBezTo>
                  <a:pt x="246" y="197"/>
                  <a:pt x="243" y="197"/>
                  <a:pt x="241" y="199"/>
                </a:cubicBezTo>
                <a:cubicBezTo>
                  <a:pt x="240" y="201"/>
                  <a:pt x="240" y="204"/>
                  <a:pt x="242" y="205"/>
                </a:cubicBezTo>
                <a:cubicBezTo>
                  <a:pt x="289" y="246"/>
                  <a:pt x="289" y="246"/>
                  <a:pt x="289" y="246"/>
                </a:cubicBezTo>
                <a:cubicBezTo>
                  <a:pt x="282" y="249"/>
                  <a:pt x="273" y="250"/>
                  <a:pt x="265" y="252"/>
                </a:cubicBezTo>
                <a:cubicBezTo>
                  <a:pt x="228" y="219"/>
                  <a:pt x="228" y="219"/>
                  <a:pt x="228" y="219"/>
                </a:cubicBezTo>
                <a:cubicBezTo>
                  <a:pt x="226" y="217"/>
                  <a:pt x="223" y="217"/>
                  <a:pt x="222" y="219"/>
                </a:cubicBezTo>
                <a:cubicBezTo>
                  <a:pt x="220" y="221"/>
                  <a:pt x="220" y="224"/>
                  <a:pt x="222" y="226"/>
                </a:cubicBezTo>
                <a:cubicBezTo>
                  <a:pt x="254" y="254"/>
                  <a:pt x="254" y="254"/>
                  <a:pt x="254" y="254"/>
                </a:cubicBezTo>
                <a:cubicBezTo>
                  <a:pt x="248" y="255"/>
                  <a:pt x="240" y="257"/>
                  <a:pt x="233" y="257"/>
                </a:cubicBezTo>
                <a:cubicBezTo>
                  <a:pt x="234" y="260"/>
                  <a:pt x="235" y="263"/>
                  <a:pt x="235" y="266"/>
                </a:cubicBezTo>
                <a:cubicBezTo>
                  <a:pt x="235" y="267"/>
                  <a:pt x="236" y="267"/>
                  <a:pt x="235" y="268"/>
                </a:cubicBezTo>
                <a:cubicBezTo>
                  <a:pt x="243" y="267"/>
                  <a:pt x="257" y="265"/>
                  <a:pt x="270" y="262"/>
                </a:cubicBezTo>
                <a:cubicBezTo>
                  <a:pt x="280" y="260"/>
                  <a:pt x="288" y="258"/>
                  <a:pt x="293" y="256"/>
                </a:cubicBezTo>
                <a:cubicBezTo>
                  <a:pt x="303" y="251"/>
                  <a:pt x="322" y="240"/>
                  <a:pt x="333" y="227"/>
                </a:cubicBezTo>
                <a:cubicBezTo>
                  <a:pt x="340" y="218"/>
                  <a:pt x="343" y="207"/>
                  <a:pt x="336" y="196"/>
                </a:cubicBezTo>
                <a:cubicBezTo>
                  <a:pt x="360" y="183"/>
                  <a:pt x="360" y="183"/>
                  <a:pt x="360" y="183"/>
                </a:cubicBezTo>
                <a:cubicBezTo>
                  <a:pt x="356" y="138"/>
                  <a:pt x="323" y="90"/>
                  <a:pt x="308" y="85"/>
                </a:cubicBezTo>
                <a:close/>
                <a:moveTo>
                  <a:pt x="157" y="196"/>
                </a:moveTo>
                <a:cubicBezTo>
                  <a:pt x="167" y="198"/>
                  <a:pt x="180" y="202"/>
                  <a:pt x="191" y="210"/>
                </a:cubicBezTo>
                <a:cubicBezTo>
                  <a:pt x="213" y="226"/>
                  <a:pt x="222" y="242"/>
                  <a:pt x="226" y="252"/>
                </a:cubicBezTo>
                <a:cubicBezTo>
                  <a:pt x="228" y="256"/>
                  <a:pt x="230" y="261"/>
                  <a:pt x="230" y="265"/>
                </a:cubicBezTo>
                <a:cubicBezTo>
                  <a:pt x="230" y="268"/>
                  <a:pt x="231" y="268"/>
                  <a:pt x="229" y="269"/>
                </a:cubicBezTo>
                <a:cubicBezTo>
                  <a:pt x="205" y="279"/>
                  <a:pt x="154" y="247"/>
                  <a:pt x="137" y="220"/>
                </a:cubicBezTo>
                <a:cubicBezTo>
                  <a:pt x="134" y="215"/>
                  <a:pt x="128" y="202"/>
                  <a:pt x="133" y="197"/>
                </a:cubicBezTo>
                <a:cubicBezTo>
                  <a:pt x="139" y="193"/>
                  <a:pt x="155" y="196"/>
                  <a:pt x="157" y="196"/>
                </a:cubicBezTo>
                <a:close/>
                <a:moveTo>
                  <a:pt x="321" y="77"/>
                </a:moveTo>
                <a:cubicBezTo>
                  <a:pt x="341" y="91"/>
                  <a:pt x="399" y="185"/>
                  <a:pt x="362" y="204"/>
                </a:cubicBezTo>
                <a:cubicBezTo>
                  <a:pt x="356" y="219"/>
                  <a:pt x="434" y="187"/>
                  <a:pt x="438" y="186"/>
                </a:cubicBezTo>
                <a:cubicBezTo>
                  <a:pt x="438" y="0"/>
                  <a:pt x="438" y="0"/>
                  <a:pt x="438" y="0"/>
                </a:cubicBezTo>
                <a:cubicBezTo>
                  <a:pt x="321" y="77"/>
                  <a:pt x="321" y="77"/>
                  <a:pt x="321" y="77"/>
                </a:cubicBezTo>
                <a:close/>
                <a:moveTo>
                  <a:pt x="112" y="72"/>
                </a:moveTo>
                <a:cubicBezTo>
                  <a:pt x="91" y="97"/>
                  <a:pt x="59" y="188"/>
                  <a:pt x="97" y="208"/>
                </a:cubicBezTo>
                <a:cubicBezTo>
                  <a:pt x="106" y="226"/>
                  <a:pt x="2" y="183"/>
                  <a:pt x="0" y="182"/>
                </a:cubicBezTo>
                <a:cubicBezTo>
                  <a:pt x="0" y="3"/>
                  <a:pt x="0" y="3"/>
                  <a:pt x="0" y="3"/>
                </a:cubicBezTo>
                <a:cubicBezTo>
                  <a:pt x="112" y="72"/>
                  <a:pt x="112" y="72"/>
                  <a:pt x="112" y="72"/>
                </a:cubicBezTo>
                <a:close/>
                <a:moveTo>
                  <a:pt x="129" y="198"/>
                </a:moveTo>
                <a:cubicBezTo>
                  <a:pt x="89" y="173"/>
                  <a:pt x="89" y="173"/>
                  <a:pt x="89" y="173"/>
                </a:cubicBezTo>
                <a:cubicBezTo>
                  <a:pt x="90" y="136"/>
                  <a:pt x="100" y="108"/>
                  <a:pt x="119" y="76"/>
                </a:cubicBezTo>
                <a:cubicBezTo>
                  <a:pt x="198" y="77"/>
                  <a:pt x="198" y="77"/>
                  <a:pt x="198" y="77"/>
                </a:cubicBezTo>
                <a:cubicBezTo>
                  <a:pt x="199" y="77"/>
                  <a:pt x="200" y="77"/>
                  <a:pt x="201" y="77"/>
                </a:cubicBezTo>
                <a:cubicBezTo>
                  <a:pt x="194" y="81"/>
                  <a:pt x="189" y="84"/>
                  <a:pt x="187" y="85"/>
                </a:cubicBezTo>
                <a:cubicBezTo>
                  <a:pt x="187" y="86"/>
                  <a:pt x="186" y="87"/>
                  <a:pt x="186" y="88"/>
                </a:cubicBezTo>
                <a:cubicBezTo>
                  <a:pt x="165" y="88"/>
                  <a:pt x="145" y="88"/>
                  <a:pt x="125" y="88"/>
                </a:cubicBezTo>
                <a:cubicBezTo>
                  <a:pt x="110" y="112"/>
                  <a:pt x="101" y="139"/>
                  <a:pt x="100" y="167"/>
                </a:cubicBezTo>
                <a:cubicBezTo>
                  <a:pt x="136" y="190"/>
                  <a:pt x="136" y="190"/>
                  <a:pt x="136" y="190"/>
                </a:cubicBezTo>
                <a:cubicBezTo>
                  <a:pt x="137" y="191"/>
                  <a:pt x="138" y="191"/>
                  <a:pt x="139" y="192"/>
                </a:cubicBezTo>
                <a:cubicBezTo>
                  <a:pt x="135" y="192"/>
                  <a:pt x="130" y="193"/>
                  <a:pt x="129" y="198"/>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271"/>
          <p:cNvSpPr>
            <a:spLocks noEditPoints="1"/>
          </p:cNvSpPr>
          <p:nvPr/>
        </p:nvSpPr>
        <p:spPr bwMode="auto">
          <a:xfrm>
            <a:off x="201451" y="963578"/>
            <a:ext cx="593904" cy="433707"/>
          </a:xfrm>
          <a:custGeom>
            <a:avLst/>
            <a:gdLst>
              <a:gd name="T0" fmla="*/ 666 w 803"/>
              <a:gd name="T1" fmla="*/ 521 h 691"/>
              <a:gd name="T2" fmla="*/ 703 w 803"/>
              <a:gd name="T3" fmla="*/ 521 h 691"/>
              <a:gd name="T4" fmla="*/ 666 w 803"/>
              <a:gd name="T5" fmla="*/ 622 h 691"/>
              <a:gd name="T6" fmla="*/ 703 w 803"/>
              <a:gd name="T7" fmla="*/ 622 h 691"/>
              <a:gd name="T8" fmla="*/ 591 w 803"/>
              <a:gd name="T9" fmla="*/ 521 h 691"/>
              <a:gd name="T10" fmla="*/ 628 w 803"/>
              <a:gd name="T11" fmla="*/ 521 h 691"/>
              <a:gd name="T12" fmla="*/ 591 w 803"/>
              <a:gd name="T13" fmla="*/ 622 h 691"/>
              <a:gd name="T14" fmla="*/ 628 w 803"/>
              <a:gd name="T15" fmla="*/ 622 h 691"/>
              <a:gd name="T16" fmla="*/ 526 w 803"/>
              <a:gd name="T17" fmla="*/ 490 h 691"/>
              <a:gd name="T18" fmla="*/ 491 w 803"/>
              <a:gd name="T19" fmla="*/ 490 h 691"/>
              <a:gd name="T20" fmla="*/ 420 w 803"/>
              <a:gd name="T21" fmla="*/ 648 h 691"/>
              <a:gd name="T22" fmla="*/ 383 w 803"/>
              <a:gd name="T23" fmla="*/ 648 h 691"/>
              <a:gd name="T24" fmla="*/ 311 w 803"/>
              <a:gd name="T25" fmla="*/ 490 h 691"/>
              <a:gd name="T26" fmla="*/ 276 w 803"/>
              <a:gd name="T27" fmla="*/ 490 h 691"/>
              <a:gd name="T28" fmla="*/ 401 w 803"/>
              <a:gd name="T29" fmla="*/ 408 h 691"/>
              <a:gd name="T30" fmla="*/ 212 w 803"/>
              <a:gd name="T31" fmla="*/ 521 h 691"/>
              <a:gd name="T32" fmla="*/ 174 w 803"/>
              <a:gd name="T33" fmla="*/ 468 h 691"/>
              <a:gd name="T34" fmla="*/ 212 w 803"/>
              <a:gd name="T35" fmla="*/ 622 h 691"/>
              <a:gd name="T36" fmla="*/ 174 w 803"/>
              <a:gd name="T37" fmla="*/ 569 h 691"/>
              <a:gd name="T38" fmla="*/ 137 w 803"/>
              <a:gd name="T39" fmla="*/ 521 h 691"/>
              <a:gd name="T40" fmla="*/ 100 w 803"/>
              <a:gd name="T41" fmla="*/ 468 h 691"/>
              <a:gd name="T42" fmla="*/ 137 w 803"/>
              <a:gd name="T43" fmla="*/ 622 h 691"/>
              <a:gd name="T44" fmla="*/ 100 w 803"/>
              <a:gd name="T45" fmla="*/ 569 h 691"/>
              <a:gd name="T46" fmla="*/ 308 w 803"/>
              <a:gd name="T47" fmla="*/ 309 h 691"/>
              <a:gd name="T48" fmla="*/ 345 w 803"/>
              <a:gd name="T49" fmla="*/ 362 h 691"/>
              <a:gd name="T50" fmla="*/ 385 w 803"/>
              <a:gd name="T51" fmla="*/ 309 h 691"/>
              <a:gd name="T52" fmla="*/ 422 w 803"/>
              <a:gd name="T53" fmla="*/ 362 h 691"/>
              <a:gd name="T54" fmla="*/ 458 w 803"/>
              <a:gd name="T55" fmla="*/ 309 h 691"/>
              <a:gd name="T56" fmla="*/ 495 w 803"/>
              <a:gd name="T57" fmla="*/ 362 h 691"/>
              <a:gd name="T58" fmla="*/ 781 w 803"/>
              <a:gd name="T59" fmla="*/ 648 h 691"/>
              <a:gd name="T60" fmla="*/ 756 w 803"/>
              <a:gd name="T61" fmla="*/ 610 h 691"/>
              <a:gd name="T62" fmla="*/ 767 w 803"/>
              <a:gd name="T63" fmla="*/ 413 h 691"/>
              <a:gd name="T64" fmla="*/ 553 w 803"/>
              <a:gd name="T65" fmla="*/ 375 h 691"/>
              <a:gd name="T66" fmla="*/ 563 w 803"/>
              <a:gd name="T67" fmla="*/ 269 h 691"/>
              <a:gd name="T68" fmla="*/ 425 w 803"/>
              <a:gd name="T69" fmla="*/ 134 h 691"/>
              <a:gd name="T70" fmla="*/ 391 w 803"/>
              <a:gd name="T71" fmla="*/ 113 h 691"/>
              <a:gd name="T72" fmla="*/ 258 w 803"/>
              <a:gd name="T73" fmla="*/ 255 h 691"/>
              <a:gd name="T74" fmla="*/ 355 w 803"/>
              <a:gd name="T75" fmla="*/ 269 h 691"/>
              <a:gd name="T76" fmla="*/ 250 w 803"/>
              <a:gd name="T77" fmla="*/ 301 h 691"/>
              <a:gd name="T78" fmla="*/ 36 w 803"/>
              <a:gd name="T79" fmla="*/ 413 h 691"/>
              <a:gd name="T80" fmla="*/ 46 w 803"/>
              <a:gd name="T81" fmla="*/ 610 h 691"/>
              <a:gd name="T82" fmla="*/ 0 w 803"/>
              <a:gd name="T83" fmla="*/ 648 h 691"/>
              <a:gd name="T84" fmla="*/ 803 w 803"/>
              <a:gd name="T85" fmla="*/ 64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3" h="691">
                <a:moveTo>
                  <a:pt x="703" y="521"/>
                </a:moveTo>
                <a:lnTo>
                  <a:pt x="703" y="521"/>
                </a:lnTo>
                <a:lnTo>
                  <a:pt x="666" y="521"/>
                </a:lnTo>
                <a:lnTo>
                  <a:pt x="666" y="468"/>
                </a:lnTo>
                <a:lnTo>
                  <a:pt x="703" y="468"/>
                </a:lnTo>
                <a:lnTo>
                  <a:pt x="703" y="521"/>
                </a:lnTo>
                <a:close/>
                <a:moveTo>
                  <a:pt x="703" y="622"/>
                </a:moveTo>
                <a:lnTo>
                  <a:pt x="703" y="622"/>
                </a:lnTo>
                <a:lnTo>
                  <a:pt x="666" y="622"/>
                </a:lnTo>
                <a:lnTo>
                  <a:pt x="666" y="569"/>
                </a:lnTo>
                <a:lnTo>
                  <a:pt x="703" y="569"/>
                </a:lnTo>
                <a:lnTo>
                  <a:pt x="703" y="622"/>
                </a:lnTo>
                <a:close/>
                <a:moveTo>
                  <a:pt x="628" y="521"/>
                </a:moveTo>
                <a:lnTo>
                  <a:pt x="628" y="521"/>
                </a:lnTo>
                <a:lnTo>
                  <a:pt x="591" y="521"/>
                </a:lnTo>
                <a:lnTo>
                  <a:pt x="591" y="468"/>
                </a:lnTo>
                <a:lnTo>
                  <a:pt x="628" y="468"/>
                </a:lnTo>
                <a:lnTo>
                  <a:pt x="628" y="521"/>
                </a:lnTo>
                <a:close/>
                <a:moveTo>
                  <a:pt x="628" y="622"/>
                </a:moveTo>
                <a:lnTo>
                  <a:pt x="628" y="622"/>
                </a:lnTo>
                <a:lnTo>
                  <a:pt x="591" y="622"/>
                </a:lnTo>
                <a:lnTo>
                  <a:pt x="591" y="569"/>
                </a:lnTo>
                <a:lnTo>
                  <a:pt x="628" y="569"/>
                </a:lnTo>
                <a:lnTo>
                  <a:pt x="628" y="622"/>
                </a:lnTo>
                <a:close/>
                <a:moveTo>
                  <a:pt x="553" y="490"/>
                </a:moveTo>
                <a:lnTo>
                  <a:pt x="553" y="490"/>
                </a:lnTo>
                <a:lnTo>
                  <a:pt x="526" y="490"/>
                </a:lnTo>
                <a:lnTo>
                  <a:pt x="526" y="648"/>
                </a:lnTo>
                <a:lnTo>
                  <a:pt x="491" y="648"/>
                </a:lnTo>
                <a:lnTo>
                  <a:pt x="491" y="490"/>
                </a:lnTo>
                <a:lnTo>
                  <a:pt x="454" y="490"/>
                </a:lnTo>
                <a:lnTo>
                  <a:pt x="454" y="648"/>
                </a:lnTo>
                <a:lnTo>
                  <a:pt x="420" y="648"/>
                </a:lnTo>
                <a:lnTo>
                  <a:pt x="420" y="490"/>
                </a:lnTo>
                <a:lnTo>
                  <a:pt x="383" y="490"/>
                </a:lnTo>
                <a:lnTo>
                  <a:pt x="383" y="648"/>
                </a:lnTo>
                <a:lnTo>
                  <a:pt x="349" y="648"/>
                </a:lnTo>
                <a:lnTo>
                  <a:pt x="349" y="490"/>
                </a:lnTo>
                <a:lnTo>
                  <a:pt x="311" y="490"/>
                </a:lnTo>
                <a:lnTo>
                  <a:pt x="311" y="648"/>
                </a:lnTo>
                <a:lnTo>
                  <a:pt x="276" y="648"/>
                </a:lnTo>
                <a:lnTo>
                  <a:pt x="276" y="490"/>
                </a:lnTo>
                <a:lnTo>
                  <a:pt x="250" y="490"/>
                </a:lnTo>
                <a:lnTo>
                  <a:pt x="250" y="459"/>
                </a:lnTo>
                <a:lnTo>
                  <a:pt x="401" y="408"/>
                </a:lnTo>
                <a:lnTo>
                  <a:pt x="553" y="459"/>
                </a:lnTo>
                <a:lnTo>
                  <a:pt x="553" y="490"/>
                </a:lnTo>
                <a:close/>
                <a:moveTo>
                  <a:pt x="212" y="521"/>
                </a:moveTo>
                <a:lnTo>
                  <a:pt x="212" y="521"/>
                </a:lnTo>
                <a:lnTo>
                  <a:pt x="174" y="521"/>
                </a:lnTo>
                <a:lnTo>
                  <a:pt x="174" y="468"/>
                </a:lnTo>
                <a:lnTo>
                  <a:pt x="212" y="468"/>
                </a:lnTo>
                <a:lnTo>
                  <a:pt x="212" y="521"/>
                </a:lnTo>
                <a:close/>
                <a:moveTo>
                  <a:pt x="212" y="622"/>
                </a:moveTo>
                <a:lnTo>
                  <a:pt x="212" y="622"/>
                </a:lnTo>
                <a:lnTo>
                  <a:pt x="174" y="622"/>
                </a:lnTo>
                <a:lnTo>
                  <a:pt x="174" y="569"/>
                </a:lnTo>
                <a:lnTo>
                  <a:pt x="212" y="569"/>
                </a:lnTo>
                <a:lnTo>
                  <a:pt x="212" y="622"/>
                </a:lnTo>
                <a:close/>
                <a:moveTo>
                  <a:pt x="137" y="521"/>
                </a:moveTo>
                <a:lnTo>
                  <a:pt x="137" y="521"/>
                </a:lnTo>
                <a:lnTo>
                  <a:pt x="100" y="521"/>
                </a:lnTo>
                <a:lnTo>
                  <a:pt x="100" y="468"/>
                </a:lnTo>
                <a:lnTo>
                  <a:pt x="137" y="468"/>
                </a:lnTo>
                <a:lnTo>
                  <a:pt x="137" y="521"/>
                </a:lnTo>
                <a:close/>
                <a:moveTo>
                  <a:pt x="137" y="622"/>
                </a:moveTo>
                <a:lnTo>
                  <a:pt x="137" y="622"/>
                </a:lnTo>
                <a:lnTo>
                  <a:pt x="100" y="622"/>
                </a:lnTo>
                <a:lnTo>
                  <a:pt x="100" y="569"/>
                </a:lnTo>
                <a:lnTo>
                  <a:pt x="137" y="569"/>
                </a:lnTo>
                <a:lnTo>
                  <a:pt x="137" y="622"/>
                </a:lnTo>
                <a:close/>
                <a:moveTo>
                  <a:pt x="308" y="309"/>
                </a:moveTo>
                <a:lnTo>
                  <a:pt x="308" y="309"/>
                </a:lnTo>
                <a:lnTo>
                  <a:pt x="345" y="309"/>
                </a:lnTo>
                <a:lnTo>
                  <a:pt x="345" y="362"/>
                </a:lnTo>
                <a:lnTo>
                  <a:pt x="308" y="362"/>
                </a:lnTo>
                <a:lnTo>
                  <a:pt x="308" y="309"/>
                </a:lnTo>
                <a:close/>
                <a:moveTo>
                  <a:pt x="385" y="309"/>
                </a:moveTo>
                <a:lnTo>
                  <a:pt x="385" y="309"/>
                </a:lnTo>
                <a:lnTo>
                  <a:pt x="422" y="309"/>
                </a:lnTo>
                <a:lnTo>
                  <a:pt x="422" y="362"/>
                </a:lnTo>
                <a:lnTo>
                  <a:pt x="385" y="362"/>
                </a:lnTo>
                <a:lnTo>
                  <a:pt x="385" y="309"/>
                </a:lnTo>
                <a:close/>
                <a:moveTo>
                  <a:pt x="458" y="309"/>
                </a:moveTo>
                <a:lnTo>
                  <a:pt x="458" y="309"/>
                </a:lnTo>
                <a:lnTo>
                  <a:pt x="495" y="309"/>
                </a:lnTo>
                <a:lnTo>
                  <a:pt x="495" y="362"/>
                </a:lnTo>
                <a:lnTo>
                  <a:pt x="458" y="362"/>
                </a:lnTo>
                <a:lnTo>
                  <a:pt x="458" y="309"/>
                </a:lnTo>
                <a:close/>
                <a:moveTo>
                  <a:pt x="781" y="648"/>
                </a:moveTo>
                <a:lnTo>
                  <a:pt x="781" y="648"/>
                </a:lnTo>
                <a:lnTo>
                  <a:pt x="781" y="610"/>
                </a:lnTo>
                <a:lnTo>
                  <a:pt x="756" y="610"/>
                </a:lnTo>
                <a:lnTo>
                  <a:pt x="756" y="445"/>
                </a:lnTo>
                <a:lnTo>
                  <a:pt x="767" y="445"/>
                </a:lnTo>
                <a:lnTo>
                  <a:pt x="767" y="413"/>
                </a:lnTo>
                <a:lnTo>
                  <a:pt x="756" y="413"/>
                </a:lnTo>
                <a:lnTo>
                  <a:pt x="756" y="413"/>
                </a:lnTo>
                <a:lnTo>
                  <a:pt x="553" y="375"/>
                </a:lnTo>
                <a:lnTo>
                  <a:pt x="553" y="301"/>
                </a:lnTo>
                <a:lnTo>
                  <a:pt x="563" y="301"/>
                </a:lnTo>
                <a:lnTo>
                  <a:pt x="563" y="269"/>
                </a:lnTo>
                <a:lnTo>
                  <a:pt x="546" y="269"/>
                </a:lnTo>
                <a:cubicBezTo>
                  <a:pt x="541" y="202"/>
                  <a:pt x="491" y="147"/>
                  <a:pt x="425" y="136"/>
                </a:cubicBezTo>
                <a:cubicBezTo>
                  <a:pt x="425" y="136"/>
                  <a:pt x="425" y="135"/>
                  <a:pt x="425" y="134"/>
                </a:cubicBezTo>
                <a:cubicBezTo>
                  <a:pt x="425" y="125"/>
                  <a:pt x="420" y="117"/>
                  <a:pt x="412" y="113"/>
                </a:cubicBezTo>
                <a:cubicBezTo>
                  <a:pt x="410" y="88"/>
                  <a:pt x="401" y="0"/>
                  <a:pt x="401" y="0"/>
                </a:cubicBezTo>
                <a:cubicBezTo>
                  <a:pt x="401" y="0"/>
                  <a:pt x="392" y="88"/>
                  <a:pt x="391" y="113"/>
                </a:cubicBezTo>
                <a:cubicBezTo>
                  <a:pt x="383" y="117"/>
                  <a:pt x="377" y="125"/>
                  <a:pt x="377" y="134"/>
                </a:cubicBezTo>
                <a:cubicBezTo>
                  <a:pt x="377" y="135"/>
                  <a:pt x="377" y="136"/>
                  <a:pt x="377" y="136"/>
                </a:cubicBezTo>
                <a:cubicBezTo>
                  <a:pt x="317" y="146"/>
                  <a:pt x="269" y="194"/>
                  <a:pt x="258" y="255"/>
                </a:cubicBezTo>
                <a:lnTo>
                  <a:pt x="355" y="255"/>
                </a:lnTo>
                <a:cubicBezTo>
                  <a:pt x="359" y="255"/>
                  <a:pt x="362" y="258"/>
                  <a:pt x="362" y="262"/>
                </a:cubicBezTo>
                <a:cubicBezTo>
                  <a:pt x="362" y="266"/>
                  <a:pt x="359" y="269"/>
                  <a:pt x="355" y="269"/>
                </a:cubicBezTo>
                <a:lnTo>
                  <a:pt x="239" y="269"/>
                </a:lnTo>
                <a:lnTo>
                  <a:pt x="239" y="301"/>
                </a:lnTo>
                <a:lnTo>
                  <a:pt x="250" y="301"/>
                </a:lnTo>
                <a:lnTo>
                  <a:pt x="250" y="375"/>
                </a:lnTo>
                <a:lnTo>
                  <a:pt x="48" y="413"/>
                </a:lnTo>
                <a:lnTo>
                  <a:pt x="36" y="413"/>
                </a:lnTo>
                <a:lnTo>
                  <a:pt x="36" y="445"/>
                </a:lnTo>
                <a:lnTo>
                  <a:pt x="46" y="445"/>
                </a:lnTo>
                <a:lnTo>
                  <a:pt x="46" y="610"/>
                </a:lnTo>
                <a:lnTo>
                  <a:pt x="22" y="610"/>
                </a:lnTo>
                <a:lnTo>
                  <a:pt x="22" y="648"/>
                </a:lnTo>
                <a:lnTo>
                  <a:pt x="0" y="648"/>
                </a:lnTo>
                <a:lnTo>
                  <a:pt x="0" y="691"/>
                </a:lnTo>
                <a:lnTo>
                  <a:pt x="803" y="691"/>
                </a:lnTo>
                <a:lnTo>
                  <a:pt x="803" y="648"/>
                </a:lnTo>
                <a:lnTo>
                  <a:pt x="781" y="64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53079"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smtClean="0">
              <a:ln>
                <a:noFill/>
              </a:ln>
              <a:solidFill>
                <a:sysClr val="windowText" lastClr="000000"/>
              </a:solidFill>
              <a:effectLst/>
              <a:uLnTx/>
              <a:uFillTx/>
              <a:ea typeface="+mn-ea"/>
              <a:cs typeface="+mn-cs"/>
            </a:endParaRPr>
          </a:p>
        </p:txBody>
      </p:sp>
      <p:sp>
        <p:nvSpPr>
          <p:cNvPr id="71" name="Freeform 85"/>
          <p:cNvSpPr>
            <a:spLocks noChangeAspect="1" noEditPoints="1"/>
          </p:cNvSpPr>
          <p:nvPr/>
        </p:nvSpPr>
        <p:spPr bwMode="auto">
          <a:xfrm>
            <a:off x="3615436" y="1012424"/>
            <a:ext cx="392202" cy="336014"/>
          </a:xfrm>
          <a:custGeom>
            <a:avLst/>
            <a:gdLst>
              <a:gd name="T0" fmla="*/ 0 w 523"/>
              <a:gd name="T1" fmla="*/ 75 h 524"/>
              <a:gd name="T2" fmla="*/ 34 w 523"/>
              <a:gd name="T3" fmla="*/ 524 h 524"/>
              <a:gd name="T4" fmla="*/ 523 w 523"/>
              <a:gd name="T5" fmla="*/ 491 h 524"/>
              <a:gd name="T6" fmla="*/ 490 w 523"/>
              <a:gd name="T7" fmla="*/ 42 h 524"/>
              <a:gd name="T8" fmla="*/ 401 w 523"/>
              <a:gd name="T9" fmla="*/ 14 h 524"/>
              <a:gd name="T10" fmla="*/ 374 w 523"/>
              <a:gd name="T11" fmla="*/ 14 h 524"/>
              <a:gd name="T12" fmla="*/ 148 w 523"/>
              <a:gd name="T13" fmla="*/ 42 h 524"/>
              <a:gd name="T14" fmla="*/ 135 w 523"/>
              <a:gd name="T15" fmla="*/ 0 h 524"/>
              <a:gd name="T16" fmla="*/ 121 w 523"/>
              <a:gd name="T17" fmla="*/ 42 h 524"/>
              <a:gd name="T18" fmla="*/ 401 w 523"/>
              <a:gd name="T19" fmla="*/ 69 h 524"/>
              <a:gd name="T20" fmla="*/ 495 w 523"/>
              <a:gd name="T21" fmla="*/ 497 h 524"/>
              <a:gd name="T22" fmla="*/ 27 w 523"/>
              <a:gd name="T23" fmla="*/ 69 h 524"/>
              <a:gd name="T24" fmla="*/ 121 w 523"/>
              <a:gd name="T25" fmla="*/ 91 h 524"/>
              <a:gd name="T26" fmla="*/ 112 w 523"/>
              <a:gd name="T27" fmla="*/ 110 h 524"/>
              <a:gd name="T28" fmla="*/ 158 w 523"/>
              <a:gd name="T29" fmla="*/ 110 h 524"/>
              <a:gd name="T30" fmla="*/ 148 w 523"/>
              <a:gd name="T31" fmla="*/ 91 h 524"/>
              <a:gd name="T32" fmla="*/ 374 w 523"/>
              <a:gd name="T33" fmla="*/ 69 h 524"/>
              <a:gd name="T34" fmla="*/ 372 w 523"/>
              <a:gd name="T35" fmla="*/ 93 h 524"/>
              <a:gd name="T36" fmla="*/ 387 w 523"/>
              <a:gd name="T37" fmla="*/ 133 h 524"/>
              <a:gd name="T38" fmla="*/ 402 w 523"/>
              <a:gd name="T39" fmla="*/ 93 h 524"/>
              <a:gd name="T40" fmla="*/ 401 w 523"/>
              <a:gd name="T41" fmla="*/ 69 h 524"/>
              <a:gd name="T42" fmla="*/ 446 w 523"/>
              <a:gd name="T43" fmla="*/ 315 h 524"/>
              <a:gd name="T44" fmla="*/ 450 w 523"/>
              <a:gd name="T45" fmla="*/ 423 h 524"/>
              <a:gd name="T46" fmla="*/ 444 w 523"/>
              <a:gd name="T47" fmla="*/ 426 h 524"/>
              <a:gd name="T48" fmla="*/ 412 w 523"/>
              <a:gd name="T49" fmla="*/ 399 h 524"/>
              <a:gd name="T50" fmla="*/ 215 w 523"/>
              <a:gd name="T51" fmla="*/ 459 h 524"/>
              <a:gd name="T52" fmla="*/ 367 w 523"/>
              <a:gd name="T53" fmla="*/ 355 h 524"/>
              <a:gd name="T54" fmla="*/ 334 w 523"/>
              <a:gd name="T55" fmla="*/ 315 h 524"/>
              <a:gd name="T56" fmla="*/ 63 w 523"/>
              <a:gd name="T57" fmla="*/ 422 h 524"/>
              <a:gd name="T58" fmla="*/ 146 w 523"/>
              <a:gd name="T59" fmla="*/ 257 h 524"/>
              <a:gd name="T60" fmla="*/ 211 w 523"/>
              <a:gd name="T61" fmla="*/ 251 h 524"/>
              <a:gd name="T62" fmla="*/ 220 w 523"/>
              <a:gd name="T63" fmla="*/ 257 h 524"/>
              <a:gd name="T64" fmla="*/ 321 w 523"/>
              <a:gd name="T65" fmla="*/ 229 h 524"/>
              <a:gd name="T66" fmla="*/ 398 w 523"/>
              <a:gd name="T67" fmla="*/ 224 h 524"/>
              <a:gd name="T68" fmla="*/ 460 w 523"/>
              <a:gd name="T69" fmla="*/ 137 h 524"/>
              <a:gd name="T70" fmla="*/ 413 w 523"/>
              <a:gd name="T71" fmla="*/ 238 h 524"/>
              <a:gd name="T72" fmla="*/ 404 w 523"/>
              <a:gd name="T73" fmla="*/ 245 h 524"/>
              <a:gd name="T74" fmla="*/ 272 w 523"/>
              <a:gd name="T75" fmla="*/ 356 h 524"/>
              <a:gd name="T76" fmla="*/ 254 w 523"/>
              <a:gd name="T77" fmla="*/ 357 h 524"/>
              <a:gd name="T78" fmla="*/ 161 w 523"/>
              <a:gd name="T79" fmla="*/ 272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3" h="524">
                <a:moveTo>
                  <a:pt x="34" y="42"/>
                </a:moveTo>
                <a:cubicBezTo>
                  <a:pt x="14" y="42"/>
                  <a:pt x="0" y="56"/>
                  <a:pt x="0" y="75"/>
                </a:cubicBezTo>
                <a:cubicBezTo>
                  <a:pt x="0" y="492"/>
                  <a:pt x="0" y="492"/>
                  <a:pt x="0" y="492"/>
                </a:cubicBezTo>
                <a:cubicBezTo>
                  <a:pt x="0" y="511"/>
                  <a:pt x="15" y="524"/>
                  <a:pt x="34" y="524"/>
                </a:cubicBezTo>
                <a:cubicBezTo>
                  <a:pt x="490" y="524"/>
                  <a:pt x="490" y="524"/>
                  <a:pt x="490" y="524"/>
                </a:cubicBezTo>
                <a:cubicBezTo>
                  <a:pt x="509" y="524"/>
                  <a:pt x="523" y="510"/>
                  <a:pt x="523" y="491"/>
                </a:cubicBezTo>
                <a:cubicBezTo>
                  <a:pt x="523" y="74"/>
                  <a:pt x="523" y="74"/>
                  <a:pt x="523" y="74"/>
                </a:cubicBezTo>
                <a:cubicBezTo>
                  <a:pt x="523" y="56"/>
                  <a:pt x="508" y="42"/>
                  <a:pt x="490" y="42"/>
                </a:cubicBezTo>
                <a:cubicBezTo>
                  <a:pt x="401" y="42"/>
                  <a:pt x="401" y="42"/>
                  <a:pt x="401" y="42"/>
                </a:cubicBezTo>
                <a:cubicBezTo>
                  <a:pt x="401" y="14"/>
                  <a:pt x="401" y="14"/>
                  <a:pt x="401" y="14"/>
                </a:cubicBezTo>
                <a:cubicBezTo>
                  <a:pt x="401" y="6"/>
                  <a:pt x="395" y="0"/>
                  <a:pt x="387" y="0"/>
                </a:cubicBezTo>
                <a:cubicBezTo>
                  <a:pt x="380" y="0"/>
                  <a:pt x="374" y="6"/>
                  <a:pt x="374" y="14"/>
                </a:cubicBezTo>
                <a:cubicBezTo>
                  <a:pt x="374" y="42"/>
                  <a:pt x="374" y="42"/>
                  <a:pt x="374" y="42"/>
                </a:cubicBezTo>
                <a:cubicBezTo>
                  <a:pt x="148" y="42"/>
                  <a:pt x="148" y="42"/>
                  <a:pt x="148" y="42"/>
                </a:cubicBezTo>
                <a:cubicBezTo>
                  <a:pt x="148" y="14"/>
                  <a:pt x="148" y="14"/>
                  <a:pt x="148" y="14"/>
                </a:cubicBezTo>
                <a:cubicBezTo>
                  <a:pt x="148" y="6"/>
                  <a:pt x="142" y="0"/>
                  <a:pt x="135" y="0"/>
                </a:cubicBezTo>
                <a:cubicBezTo>
                  <a:pt x="127" y="0"/>
                  <a:pt x="121" y="6"/>
                  <a:pt x="121" y="14"/>
                </a:cubicBezTo>
                <a:cubicBezTo>
                  <a:pt x="121" y="42"/>
                  <a:pt x="121" y="42"/>
                  <a:pt x="121" y="42"/>
                </a:cubicBezTo>
                <a:cubicBezTo>
                  <a:pt x="34" y="42"/>
                  <a:pt x="34" y="42"/>
                  <a:pt x="34" y="42"/>
                </a:cubicBezTo>
                <a:close/>
                <a:moveTo>
                  <a:pt x="401" y="69"/>
                </a:moveTo>
                <a:cubicBezTo>
                  <a:pt x="495" y="69"/>
                  <a:pt x="495" y="69"/>
                  <a:pt x="495" y="69"/>
                </a:cubicBezTo>
                <a:cubicBezTo>
                  <a:pt x="495" y="497"/>
                  <a:pt x="495" y="497"/>
                  <a:pt x="495" y="497"/>
                </a:cubicBezTo>
                <a:cubicBezTo>
                  <a:pt x="27" y="497"/>
                  <a:pt x="27" y="497"/>
                  <a:pt x="27" y="497"/>
                </a:cubicBezTo>
                <a:cubicBezTo>
                  <a:pt x="27" y="69"/>
                  <a:pt x="27" y="69"/>
                  <a:pt x="27" y="69"/>
                </a:cubicBezTo>
                <a:cubicBezTo>
                  <a:pt x="121" y="69"/>
                  <a:pt x="121" y="69"/>
                  <a:pt x="121" y="69"/>
                </a:cubicBezTo>
                <a:cubicBezTo>
                  <a:pt x="121" y="91"/>
                  <a:pt x="121" y="91"/>
                  <a:pt x="121" y="91"/>
                </a:cubicBezTo>
                <a:cubicBezTo>
                  <a:pt x="120" y="93"/>
                  <a:pt x="120" y="93"/>
                  <a:pt x="120" y="93"/>
                </a:cubicBezTo>
                <a:cubicBezTo>
                  <a:pt x="115" y="97"/>
                  <a:pt x="112" y="103"/>
                  <a:pt x="112" y="110"/>
                </a:cubicBezTo>
                <a:cubicBezTo>
                  <a:pt x="112" y="123"/>
                  <a:pt x="122" y="133"/>
                  <a:pt x="135" y="133"/>
                </a:cubicBezTo>
                <a:cubicBezTo>
                  <a:pt x="148" y="133"/>
                  <a:pt x="158" y="123"/>
                  <a:pt x="158" y="110"/>
                </a:cubicBezTo>
                <a:cubicBezTo>
                  <a:pt x="158" y="103"/>
                  <a:pt x="155" y="97"/>
                  <a:pt x="150" y="93"/>
                </a:cubicBezTo>
                <a:cubicBezTo>
                  <a:pt x="148" y="91"/>
                  <a:pt x="148" y="91"/>
                  <a:pt x="148" y="91"/>
                </a:cubicBezTo>
                <a:cubicBezTo>
                  <a:pt x="148" y="69"/>
                  <a:pt x="148" y="69"/>
                  <a:pt x="148" y="69"/>
                </a:cubicBezTo>
                <a:cubicBezTo>
                  <a:pt x="374" y="69"/>
                  <a:pt x="374" y="69"/>
                  <a:pt x="374" y="69"/>
                </a:cubicBezTo>
                <a:cubicBezTo>
                  <a:pt x="374" y="91"/>
                  <a:pt x="374" y="91"/>
                  <a:pt x="374" y="91"/>
                </a:cubicBezTo>
                <a:cubicBezTo>
                  <a:pt x="372" y="93"/>
                  <a:pt x="372" y="93"/>
                  <a:pt x="372" y="93"/>
                </a:cubicBezTo>
                <a:cubicBezTo>
                  <a:pt x="367" y="97"/>
                  <a:pt x="364" y="103"/>
                  <a:pt x="364" y="110"/>
                </a:cubicBezTo>
                <a:cubicBezTo>
                  <a:pt x="364" y="123"/>
                  <a:pt x="375" y="133"/>
                  <a:pt x="387" y="133"/>
                </a:cubicBezTo>
                <a:cubicBezTo>
                  <a:pt x="400" y="133"/>
                  <a:pt x="410" y="123"/>
                  <a:pt x="410" y="110"/>
                </a:cubicBezTo>
                <a:cubicBezTo>
                  <a:pt x="410" y="103"/>
                  <a:pt x="407" y="97"/>
                  <a:pt x="402" y="93"/>
                </a:cubicBezTo>
                <a:cubicBezTo>
                  <a:pt x="401" y="91"/>
                  <a:pt x="401" y="91"/>
                  <a:pt x="401" y="91"/>
                </a:cubicBezTo>
                <a:cubicBezTo>
                  <a:pt x="401" y="69"/>
                  <a:pt x="401" y="69"/>
                  <a:pt x="401" y="69"/>
                </a:cubicBezTo>
                <a:close/>
                <a:moveTo>
                  <a:pt x="334" y="315"/>
                </a:moveTo>
                <a:cubicBezTo>
                  <a:pt x="446" y="315"/>
                  <a:pt x="446" y="315"/>
                  <a:pt x="446" y="315"/>
                </a:cubicBezTo>
                <a:cubicBezTo>
                  <a:pt x="449" y="315"/>
                  <a:pt x="450" y="315"/>
                  <a:pt x="450" y="318"/>
                </a:cubicBezTo>
                <a:cubicBezTo>
                  <a:pt x="450" y="353"/>
                  <a:pt x="450" y="388"/>
                  <a:pt x="450" y="423"/>
                </a:cubicBezTo>
                <a:cubicBezTo>
                  <a:pt x="450" y="424"/>
                  <a:pt x="450" y="428"/>
                  <a:pt x="450" y="431"/>
                </a:cubicBezTo>
                <a:cubicBezTo>
                  <a:pt x="447" y="429"/>
                  <a:pt x="445" y="427"/>
                  <a:pt x="444" y="426"/>
                </a:cubicBezTo>
                <a:cubicBezTo>
                  <a:pt x="415" y="396"/>
                  <a:pt x="415" y="396"/>
                  <a:pt x="415" y="396"/>
                </a:cubicBezTo>
                <a:cubicBezTo>
                  <a:pt x="412" y="399"/>
                  <a:pt x="412" y="399"/>
                  <a:pt x="412" y="399"/>
                </a:cubicBezTo>
                <a:cubicBezTo>
                  <a:pt x="358" y="453"/>
                  <a:pt x="292" y="464"/>
                  <a:pt x="220" y="460"/>
                </a:cubicBezTo>
                <a:cubicBezTo>
                  <a:pt x="219" y="459"/>
                  <a:pt x="217" y="459"/>
                  <a:pt x="215" y="459"/>
                </a:cubicBezTo>
                <a:cubicBezTo>
                  <a:pt x="218" y="457"/>
                  <a:pt x="222" y="456"/>
                  <a:pt x="223" y="455"/>
                </a:cubicBezTo>
                <a:cubicBezTo>
                  <a:pt x="278" y="440"/>
                  <a:pt x="331" y="398"/>
                  <a:pt x="367" y="355"/>
                </a:cubicBezTo>
                <a:cubicBezTo>
                  <a:pt x="370" y="351"/>
                  <a:pt x="370" y="351"/>
                  <a:pt x="370" y="351"/>
                </a:cubicBezTo>
                <a:cubicBezTo>
                  <a:pt x="334" y="315"/>
                  <a:pt x="334" y="315"/>
                  <a:pt x="334" y="315"/>
                </a:cubicBezTo>
                <a:close/>
                <a:moveTo>
                  <a:pt x="77" y="418"/>
                </a:moveTo>
                <a:cubicBezTo>
                  <a:pt x="74" y="423"/>
                  <a:pt x="68" y="425"/>
                  <a:pt x="63" y="422"/>
                </a:cubicBezTo>
                <a:cubicBezTo>
                  <a:pt x="58" y="419"/>
                  <a:pt x="56" y="413"/>
                  <a:pt x="59" y="408"/>
                </a:cubicBezTo>
                <a:cubicBezTo>
                  <a:pt x="146" y="257"/>
                  <a:pt x="146" y="257"/>
                  <a:pt x="146" y="257"/>
                </a:cubicBezTo>
                <a:cubicBezTo>
                  <a:pt x="148" y="253"/>
                  <a:pt x="152" y="251"/>
                  <a:pt x="155" y="251"/>
                </a:cubicBezTo>
                <a:cubicBezTo>
                  <a:pt x="211" y="251"/>
                  <a:pt x="211" y="251"/>
                  <a:pt x="211" y="251"/>
                </a:cubicBezTo>
                <a:cubicBezTo>
                  <a:pt x="215" y="251"/>
                  <a:pt x="219" y="254"/>
                  <a:pt x="220" y="257"/>
                </a:cubicBezTo>
                <a:cubicBezTo>
                  <a:pt x="220" y="257"/>
                  <a:pt x="220" y="257"/>
                  <a:pt x="220" y="257"/>
                </a:cubicBezTo>
                <a:cubicBezTo>
                  <a:pt x="263" y="331"/>
                  <a:pt x="263" y="331"/>
                  <a:pt x="263" y="331"/>
                </a:cubicBezTo>
                <a:cubicBezTo>
                  <a:pt x="321" y="229"/>
                  <a:pt x="321" y="229"/>
                  <a:pt x="321" y="229"/>
                </a:cubicBezTo>
                <a:cubicBezTo>
                  <a:pt x="324" y="225"/>
                  <a:pt x="327" y="224"/>
                  <a:pt x="331" y="224"/>
                </a:cubicBezTo>
                <a:cubicBezTo>
                  <a:pt x="398" y="224"/>
                  <a:pt x="398" y="224"/>
                  <a:pt x="398" y="224"/>
                </a:cubicBezTo>
                <a:cubicBezTo>
                  <a:pt x="446" y="141"/>
                  <a:pt x="446" y="141"/>
                  <a:pt x="446" y="141"/>
                </a:cubicBezTo>
                <a:cubicBezTo>
                  <a:pt x="448" y="136"/>
                  <a:pt x="455" y="134"/>
                  <a:pt x="460" y="137"/>
                </a:cubicBezTo>
                <a:cubicBezTo>
                  <a:pt x="465" y="140"/>
                  <a:pt x="467" y="146"/>
                  <a:pt x="464" y="151"/>
                </a:cubicBezTo>
                <a:cubicBezTo>
                  <a:pt x="413" y="238"/>
                  <a:pt x="413" y="238"/>
                  <a:pt x="413" y="238"/>
                </a:cubicBezTo>
                <a:cubicBezTo>
                  <a:pt x="413" y="238"/>
                  <a:pt x="413" y="238"/>
                  <a:pt x="413" y="238"/>
                </a:cubicBezTo>
                <a:cubicBezTo>
                  <a:pt x="412" y="242"/>
                  <a:pt x="408" y="245"/>
                  <a:pt x="404" y="245"/>
                </a:cubicBezTo>
                <a:cubicBezTo>
                  <a:pt x="337" y="245"/>
                  <a:pt x="337" y="245"/>
                  <a:pt x="337" y="245"/>
                </a:cubicBezTo>
                <a:cubicBezTo>
                  <a:pt x="272" y="356"/>
                  <a:pt x="272" y="356"/>
                  <a:pt x="272" y="356"/>
                </a:cubicBezTo>
                <a:cubicBezTo>
                  <a:pt x="272" y="356"/>
                  <a:pt x="272" y="356"/>
                  <a:pt x="272" y="356"/>
                </a:cubicBezTo>
                <a:cubicBezTo>
                  <a:pt x="269" y="364"/>
                  <a:pt x="258" y="364"/>
                  <a:pt x="254" y="357"/>
                </a:cubicBezTo>
                <a:cubicBezTo>
                  <a:pt x="205" y="272"/>
                  <a:pt x="205" y="272"/>
                  <a:pt x="205" y="272"/>
                </a:cubicBezTo>
                <a:cubicBezTo>
                  <a:pt x="161" y="272"/>
                  <a:pt x="161" y="272"/>
                  <a:pt x="161" y="272"/>
                </a:cubicBezTo>
                <a:lnTo>
                  <a:pt x="77" y="418"/>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smtClean="0">
              <a:ln>
                <a:noFill/>
              </a:ln>
              <a:solidFill>
                <a:sysClr val="windowText" lastClr="000000"/>
              </a:solidFill>
              <a:effectLst/>
              <a:uLnTx/>
              <a:uFillTx/>
              <a:ea typeface="+mn-ea"/>
              <a:cs typeface="+mn-cs"/>
            </a:endParaRPr>
          </a:p>
        </p:txBody>
      </p:sp>
      <p:pic>
        <p:nvPicPr>
          <p:cNvPr id="27" name="Picture 2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76186" y="1533806"/>
            <a:ext cx="823389" cy="463232"/>
          </a:xfrm>
          <a:prstGeom prst="rect">
            <a:avLst/>
          </a:prstGeom>
        </p:spPr>
      </p:pic>
      <p:sp>
        <p:nvSpPr>
          <p:cNvPr id="6" name="TextBox 5"/>
          <p:cNvSpPr txBox="1"/>
          <p:nvPr/>
        </p:nvSpPr>
        <p:spPr>
          <a:xfrm>
            <a:off x="6776186" y="2553135"/>
            <a:ext cx="773156" cy="261610"/>
          </a:xfrm>
          <a:prstGeom prst="rect">
            <a:avLst/>
          </a:prstGeom>
          <a:noFill/>
        </p:spPr>
        <p:txBody>
          <a:bodyPr wrap="square" rtlCol="0">
            <a:spAutoFit/>
          </a:bodyPr>
          <a:lstStyle/>
          <a:p>
            <a:pPr algn="ctr">
              <a:buClrTx/>
              <a:defRPr/>
            </a:pPr>
            <a:r>
              <a:rPr lang="en-US" sz="1100" b="1" kern="1200" dirty="0">
                <a:solidFill>
                  <a:sysClr val="windowText" lastClr="000000"/>
                </a:solidFill>
                <a:ea typeface="+mn-ea"/>
                <a:cs typeface="+mn-cs"/>
              </a:rPr>
              <a:t>CARI-EA</a:t>
            </a:r>
          </a:p>
        </p:txBody>
      </p:sp>
      <p:cxnSp>
        <p:nvCxnSpPr>
          <p:cNvPr id="26" name="Straight Connector 25"/>
          <p:cNvCxnSpPr/>
          <p:nvPr/>
        </p:nvCxnSpPr>
        <p:spPr>
          <a:xfrm>
            <a:off x="6708849" y="5441370"/>
            <a:ext cx="3073787" cy="13711"/>
          </a:xfrm>
          <a:prstGeom prst="line">
            <a:avLst/>
          </a:prstGeom>
          <a:noFill/>
          <a:ln w="19050" cap="flat" cmpd="sng" algn="ctr">
            <a:solidFill>
              <a:srgbClr val="808080"/>
            </a:solidFill>
            <a:prstDash val="dash"/>
          </a:ln>
          <a:effectLst/>
        </p:spPr>
      </p:cxnSp>
      <p:sp>
        <p:nvSpPr>
          <p:cNvPr id="28" name="Rectangle 27"/>
          <p:cNvSpPr/>
          <p:nvPr/>
        </p:nvSpPr>
        <p:spPr>
          <a:xfrm>
            <a:off x="6708849" y="4448889"/>
            <a:ext cx="1094031" cy="78483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ysClr val="windowText" lastClr="000000"/>
                </a:solidFill>
                <a:effectLst/>
                <a:uLnTx/>
                <a:uFillTx/>
                <a:ea typeface="+mn-ea"/>
                <a:cs typeface="+mn-cs"/>
              </a:rPr>
              <a:t>Northern Tanzania</a:t>
            </a:r>
            <a:r>
              <a:rPr kumimoji="0" lang="en-US" sz="900" b="1" i="0" u="none" strike="noStrike" kern="1200" cap="none" spc="0" normalizeH="0" noProof="0" dirty="0" smtClean="0">
                <a:ln>
                  <a:noFill/>
                </a:ln>
                <a:solidFill>
                  <a:sysClr val="windowText" lastClr="000000"/>
                </a:solidFill>
                <a:effectLst/>
                <a:uLnTx/>
                <a:uFillTx/>
                <a:ea typeface="+mn-ea"/>
                <a:cs typeface="+mn-cs"/>
              </a:rPr>
              <a:t> Potato Systems Improvements (NTPSI)</a:t>
            </a:r>
            <a:endParaRPr kumimoji="0" lang="en-US" sz="900" b="1" i="0" u="none" strike="noStrike" kern="1200" cap="none" spc="0" normalizeH="0" baseline="0" noProof="0" dirty="0">
              <a:ln>
                <a:noFill/>
              </a:ln>
              <a:solidFill>
                <a:sysClr val="windowText" lastClr="000000"/>
              </a:solidFill>
              <a:effectLst/>
              <a:uLnTx/>
              <a:uFillTx/>
              <a:ea typeface="+mn-ea"/>
              <a:cs typeface="+mn-cs"/>
            </a:endParaRPr>
          </a:p>
        </p:txBody>
      </p:sp>
      <p:sp>
        <p:nvSpPr>
          <p:cNvPr id="29" name="TextBox 28"/>
          <p:cNvSpPr txBox="1"/>
          <p:nvPr/>
        </p:nvSpPr>
        <p:spPr>
          <a:xfrm>
            <a:off x="7702006" y="3357086"/>
            <a:ext cx="1876043"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ysClr val="windowText" lastClr="000000"/>
                </a:solidFill>
                <a:effectLst/>
                <a:uLnTx/>
                <a:uFillTx/>
                <a:ea typeface="+mn-ea"/>
                <a:cs typeface="+mn-cs"/>
              </a:rPr>
              <a:t>Partnering with a wide range of large</a:t>
            </a:r>
            <a:r>
              <a:rPr kumimoji="0" lang="en-US" sz="800" b="0" i="0" u="none" strike="noStrike" kern="1200" cap="none" spc="0" normalizeH="0" noProof="0" dirty="0" smtClean="0">
                <a:ln>
                  <a:noFill/>
                </a:ln>
                <a:solidFill>
                  <a:sysClr val="windowText" lastClr="000000"/>
                </a:solidFill>
                <a:effectLst/>
                <a:uLnTx/>
                <a:uFillTx/>
                <a:ea typeface="+mn-ea"/>
                <a:cs typeface="+mn-cs"/>
              </a:rPr>
              <a:t> companies and SMEs for expanding maize markets options through transitional markets which goes along with complementary inputs like soybeans</a:t>
            </a:r>
            <a:endParaRPr kumimoji="0" lang="en-US" sz="800" b="0" i="0" u="none" strike="noStrike" kern="1200" cap="none" spc="0" normalizeH="0" baseline="0" noProof="0" dirty="0">
              <a:ln>
                <a:noFill/>
              </a:ln>
              <a:solidFill>
                <a:sysClr val="windowText" lastClr="000000"/>
              </a:solidFill>
              <a:effectLst/>
              <a:uLnTx/>
              <a:uFillTx/>
              <a:ea typeface="+mn-ea"/>
              <a:cs typeface="+mn-cs"/>
            </a:endParaRPr>
          </a:p>
        </p:txBody>
      </p:sp>
    </p:spTree>
    <p:extLst>
      <p:ext uri="{BB962C8B-B14F-4D97-AF65-F5344CB8AC3E}">
        <p14:creationId xmlns:p14="http://schemas.microsoft.com/office/powerpoint/2010/main" val="429177296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29509"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279440" y="1710000"/>
            <a:ext cx="4118924" cy="148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975" b="1" dirty="0">
              <a:solidFill>
                <a:schemeClr val="accent6">
                  <a:lumMod val="50000"/>
                </a:schemeClr>
              </a:solidFill>
              <a:latin typeface="Arial" panose="020B0604020202020204" pitchFamily="34" charset="0"/>
              <a:cs typeface="Arial" panose="020B0604020202020204" pitchFamily="34" charset="0"/>
            </a:endParaRPr>
          </a:p>
        </p:txBody>
      </p:sp>
      <p:grpSp>
        <p:nvGrpSpPr>
          <p:cNvPr id="7" name="Group 6"/>
          <p:cNvGrpSpPr/>
          <p:nvPr/>
        </p:nvGrpSpPr>
        <p:grpSpPr>
          <a:xfrm>
            <a:off x="1142368" y="2189504"/>
            <a:ext cx="5818534" cy="2429528"/>
            <a:chOff x="314812" y="2552146"/>
            <a:chExt cx="5680818" cy="2201031"/>
          </a:xfrm>
        </p:grpSpPr>
        <p:sp>
          <p:nvSpPr>
            <p:cNvPr id="8" name="Rectangle 7"/>
            <p:cNvSpPr/>
            <p:nvPr/>
          </p:nvSpPr>
          <p:spPr>
            <a:xfrm>
              <a:off x="314812" y="2552146"/>
              <a:ext cx="5680818" cy="2201031"/>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r>
                <a:rPr lang="en-US" sz="853" b="1" dirty="0">
                  <a:solidFill>
                    <a:schemeClr val="tx1"/>
                  </a:solidFill>
                  <a:latin typeface="Arial" panose="020B0604020202020204" pitchFamily="34" charset="0"/>
                  <a:cs typeface="Arial" panose="020B0604020202020204" pitchFamily="34" charset="0"/>
                </a:rPr>
                <a:t>Outcomes </a:t>
              </a:r>
            </a:p>
          </p:txBody>
        </p:sp>
        <p:sp>
          <p:nvSpPr>
            <p:cNvPr id="9" name="Rectangle 8"/>
            <p:cNvSpPr/>
            <p:nvPr/>
          </p:nvSpPr>
          <p:spPr>
            <a:xfrm>
              <a:off x="387518" y="2725761"/>
              <a:ext cx="2628874" cy="905139"/>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Arial" panose="020B06040202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Partnerships for implementation</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reach of AGRA systems grant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Reduced /elimination of duplication of efforts and wastage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Faster progress towards and achievement of intended outcomes and impact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likelihood of achieving the desired outcomes and impacts</a:t>
              </a:r>
            </a:p>
          </p:txBody>
        </p:sp>
        <p:sp>
          <p:nvSpPr>
            <p:cNvPr id="11" name="Rectangle 10"/>
            <p:cNvSpPr/>
            <p:nvPr/>
          </p:nvSpPr>
          <p:spPr>
            <a:xfrm>
              <a:off x="3248575" y="2731463"/>
              <a:ext cx="2514872" cy="893734"/>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731" b="1" dirty="0">
                  <a:solidFill>
                    <a:schemeClr val="tx1"/>
                  </a:solidFill>
                  <a:latin typeface="Arial" panose="020B0604020202020204" pitchFamily="34" charset="0"/>
                  <a:cs typeface="Arial" panose="020B0604020202020204" pitchFamily="34" charset="0"/>
                </a:rPr>
                <a:t>Partnerships  for scaling up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public private partnership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access to technologies knowledge and information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private sector investments at scale</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transboundary trade</a:t>
              </a:r>
            </a:p>
          </p:txBody>
        </p:sp>
        <p:sp>
          <p:nvSpPr>
            <p:cNvPr id="17" name="Rectangle 16"/>
            <p:cNvSpPr/>
            <p:nvPr/>
          </p:nvSpPr>
          <p:spPr>
            <a:xfrm>
              <a:off x="357641" y="3686580"/>
              <a:ext cx="5571713" cy="834182"/>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13" b="1" dirty="0">
                  <a:solidFill>
                    <a:schemeClr val="tx1"/>
                  </a:solidFill>
                  <a:latin typeface="Arial" panose="020B0604020202020204" pitchFamily="34" charset="0"/>
                  <a:cs typeface="Arial" panose="020B0604020202020204" pitchFamily="34" charset="0"/>
                </a:rPr>
                <a:t>Partnerships have then following catalytic effect</a:t>
              </a:r>
            </a:p>
            <a:p>
              <a:pPr marL="139303" indent="-139303">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Systems grants consortia addressing priority bottlenecks in specific geographies</a:t>
              </a:r>
            </a:p>
            <a:p>
              <a:pPr marL="139303" indent="-139303">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Partnerships for policy advocacy influencing policy formulation and implementation</a:t>
              </a:r>
            </a:p>
            <a:p>
              <a:pPr marL="139303" indent="-139303">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Development partners investment programs and projects are aligned to derive synergies and avoid duplication</a:t>
              </a:r>
            </a:p>
            <a:p>
              <a:pPr marL="139303" indent="-139303">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Mutual accountability platforms and processes are defined by partnership objectives</a:t>
              </a:r>
            </a:p>
            <a:p>
              <a:pPr marL="139303" indent="-139303">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AGRF serving as the premier partnership platform for shaping agricultural development agenda in Africa </a:t>
              </a:r>
            </a:p>
          </p:txBody>
        </p:sp>
      </p:grpSp>
      <p:grpSp>
        <p:nvGrpSpPr>
          <p:cNvPr id="19" name="Group 18"/>
          <p:cNvGrpSpPr/>
          <p:nvPr/>
        </p:nvGrpSpPr>
        <p:grpSpPr>
          <a:xfrm>
            <a:off x="1186234" y="1211443"/>
            <a:ext cx="5799255" cy="916603"/>
            <a:chOff x="314813" y="1407191"/>
            <a:chExt cx="5113471" cy="817408"/>
          </a:xfrm>
        </p:grpSpPr>
        <p:sp>
          <p:nvSpPr>
            <p:cNvPr id="21" name="Rectangle 20"/>
            <p:cNvSpPr/>
            <p:nvPr/>
          </p:nvSpPr>
          <p:spPr>
            <a:xfrm>
              <a:off x="314813" y="1407191"/>
              <a:ext cx="5113471" cy="817408"/>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975" dirty="0">
                <a:solidFill>
                  <a:schemeClr val="accent6">
                    <a:lumMod val="50000"/>
                  </a:schemeClr>
                </a:solidFill>
                <a:latin typeface="Arial" panose="020B0604020202020204" pitchFamily="34" charset="0"/>
                <a:cs typeface="Arial" panose="020B0604020202020204" pitchFamily="34" charset="0"/>
              </a:endParaRPr>
            </a:p>
          </p:txBody>
        </p:sp>
        <p:sp>
          <p:nvSpPr>
            <p:cNvPr id="22" name="Rectangle 21"/>
            <p:cNvSpPr/>
            <p:nvPr/>
          </p:nvSpPr>
          <p:spPr>
            <a:xfrm>
              <a:off x="1054209" y="1765856"/>
              <a:ext cx="1565862" cy="4281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productivity </a:t>
              </a:r>
              <a:r>
                <a:rPr lang="en-US" sz="813" i="1" dirty="0">
                  <a:solidFill>
                    <a:schemeClr val="tx1"/>
                  </a:solidFill>
                  <a:latin typeface="Arial" panose="020B0604020202020204" pitchFamily="34" charset="0"/>
                  <a:cs typeface="Arial" panose="020B0604020202020204" pitchFamily="34" charset="0"/>
                </a:rPr>
                <a:t>(More productive small holder farming units and SMEs)</a:t>
              </a:r>
            </a:p>
          </p:txBody>
        </p:sp>
        <p:sp>
          <p:nvSpPr>
            <p:cNvPr id="24" name="Rectangle 23"/>
            <p:cNvSpPr/>
            <p:nvPr/>
          </p:nvSpPr>
          <p:spPr>
            <a:xfrm>
              <a:off x="1054209" y="1435373"/>
              <a:ext cx="4085069"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94" b="1" dirty="0">
                  <a:solidFill>
                    <a:schemeClr val="tx1"/>
                  </a:solidFill>
                  <a:latin typeface="Arial" panose="020B0604020202020204" pitchFamily="34" charset="0"/>
                  <a:cs typeface="Arial" panose="020B0604020202020204" pitchFamily="34" charset="0"/>
                </a:rPr>
                <a:t> Increased incomes and improved food security</a:t>
              </a:r>
            </a:p>
          </p:txBody>
        </p:sp>
      </p:grpSp>
      <p:sp>
        <p:nvSpPr>
          <p:cNvPr id="29" name="Rectangle 28"/>
          <p:cNvSpPr/>
          <p:nvPr/>
        </p:nvSpPr>
        <p:spPr>
          <a:xfrm>
            <a:off x="7163738" y="2381143"/>
            <a:ext cx="2067856" cy="2218696"/>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975" b="1" dirty="0">
                <a:solidFill>
                  <a:schemeClr val="tx1"/>
                </a:solidFill>
                <a:latin typeface="Arial" panose="020B0604020202020204" pitchFamily="34" charset="0"/>
                <a:cs typeface="Arial" panose="020B0604020202020204" pitchFamily="34" charset="0"/>
              </a:rPr>
              <a:t>State capacity and policy </a:t>
            </a:r>
          </a:p>
          <a:p>
            <a:r>
              <a:rPr lang="en-US" sz="894" dirty="0">
                <a:solidFill>
                  <a:schemeClr val="tx1"/>
                </a:solidFill>
                <a:latin typeface="Arial" panose="020B0604020202020204" pitchFamily="34" charset="0"/>
                <a:cs typeface="Arial" panose="020B0604020202020204" pitchFamily="34" charset="0"/>
              </a:rPr>
              <a:t>Develop state capability to:</a:t>
            </a:r>
          </a:p>
          <a:p>
            <a:pPr marL="232172" indent="-232172">
              <a:buFont typeface="Arial" panose="020B0604020202020204" pitchFamily="34" charset="0"/>
              <a:buChar char="•"/>
            </a:pPr>
            <a:r>
              <a:rPr lang="en-US" sz="894" dirty="0">
                <a:solidFill>
                  <a:schemeClr val="tx1"/>
                </a:solidFill>
                <a:latin typeface="Arial" panose="020B0604020202020204" pitchFamily="34" charset="0"/>
                <a:cs typeface="Arial" panose="020B0604020202020204" pitchFamily="34" charset="0"/>
              </a:rPr>
              <a:t>Develop appropriate sector strategies and investment plans for agricultural transformation</a:t>
            </a:r>
          </a:p>
          <a:p>
            <a:pPr marL="232172" indent="-232172">
              <a:buFont typeface="Arial" panose="020B0604020202020204" pitchFamily="34" charset="0"/>
              <a:buChar char="•"/>
            </a:pPr>
            <a:r>
              <a:rPr lang="en-US" sz="894" dirty="0">
                <a:solidFill>
                  <a:schemeClr val="tx1"/>
                </a:solidFill>
                <a:latin typeface="Arial" panose="020B0604020202020204" pitchFamily="34" charset="0"/>
                <a:cs typeface="Arial" panose="020B0604020202020204" pitchFamily="34" charset="0"/>
              </a:rPr>
              <a:t>Formulate appropriate policies that catalyze and sustain agricultural transformation and promote regional trade</a:t>
            </a:r>
          </a:p>
          <a:p>
            <a:pPr marL="232172" indent="-232172">
              <a:buFont typeface="Arial" panose="020B0604020202020204" pitchFamily="34" charset="0"/>
              <a:buChar char="•"/>
            </a:pPr>
            <a:r>
              <a:rPr lang="en-US" sz="894" dirty="0">
                <a:solidFill>
                  <a:schemeClr val="tx1"/>
                </a:solidFill>
                <a:latin typeface="Arial" panose="020B0604020202020204" pitchFamily="34" charset="0"/>
                <a:cs typeface="Arial" panose="020B0604020202020204" pitchFamily="34" charset="0"/>
              </a:rPr>
              <a:t>Implement sector plans and policies in order to  generate sufficient public goods that de-risk the sector, attract   private capital   investment and facilitate regional trade </a:t>
            </a:r>
          </a:p>
        </p:txBody>
      </p:sp>
      <p:sp>
        <p:nvSpPr>
          <p:cNvPr id="33" name="Isosceles Triangle 32"/>
          <p:cNvSpPr/>
          <p:nvPr/>
        </p:nvSpPr>
        <p:spPr>
          <a:xfrm rot="16200000">
            <a:off x="5930776" y="3460067"/>
            <a:ext cx="2261545" cy="56384"/>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sp>
        <p:nvSpPr>
          <p:cNvPr id="34" name="Up Arrow 33"/>
          <p:cNvSpPr/>
          <p:nvPr/>
        </p:nvSpPr>
        <p:spPr>
          <a:xfrm>
            <a:off x="509033" y="1292602"/>
            <a:ext cx="207040" cy="4611392"/>
          </a:xfrm>
          <a:prstGeom prst="upArrow">
            <a:avLst/>
          </a:prstGeom>
          <a:solidFill>
            <a:schemeClr val="bg2">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grpSp>
        <p:nvGrpSpPr>
          <p:cNvPr id="36" name="Group 35"/>
          <p:cNvGrpSpPr/>
          <p:nvPr/>
        </p:nvGrpSpPr>
        <p:grpSpPr>
          <a:xfrm>
            <a:off x="670041" y="1143687"/>
            <a:ext cx="410330" cy="4792163"/>
            <a:chOff x="9026707" y="127977"/>
            <a:chExt cx="458873" cy="5282224"/>
          </a:xfrm>
        </p:grpSpPr>
        <p:sp>
          <p:nvSpPr>
            <p:cNvPr id="37" name="TextBox 36"/>
            <p:cNvSpPr txBox="1"/>
            <p:nvPr/>
          </p:nvSpPr>
          <p:spPr>
            <a:xfrm rot="16200000" flipH="1">
              <a:off x="8504357" y="4501857"/>
              <a:ext cx="1545640" cy="271047"/>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What AGRA </a:t>
              </a:r>
              <a:r>
                <a:rPr lang="en-US" sz="975" b="1" dirty="0">
                  <a:latin typeface="Arial" panose="020B0604020202020204" pitchFamily="34" charset="0"/>
                  <a:cs typeface="Arial" panose="020B0604020202020204" pitchFamily="34" charset="0"/>
                </a:rPr>
                <a:t>does</a:t>
              </a:r>
            </a:p>
          </p:txBody>
        </p:sp>
        <p:sp>
          <p:nvSpPr>
            <p:cNvPr id="38" name="TextBox 37"/>
            <p:cNvSpPr txBox="1"/>
            <p:nvPr/>
          </p:nvSpPr>
          <p:spPr>
            <a:xfrm rot="16200000" flipH="1">
              <a:off x="8685471" y="469213"/>
              <a:ext cx="1065523" cy="383052"/>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AGRA’s Strategic Goals</a:t>
              </a:r>
            </a:p>
          </p:txBody>
        </p:sp>
        <p:sp>
          <p:nvSpPr>
            <p:cNvPr id="39" name="TextBox 38"/>
            <p:cNvSpPr txBox="1"/>
            <p:nvPr/>
          </p:nvSpPr>
          <p:spPr>
            <a:xfrm rot="16200000" flipH="1">
              <a:off x="8152004" y="2625146"/>
              <a:ext cx="2284099" cy="383052"/>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So that the target population, institution or resource change </a:t>
              </a:r>
            </a:p>
          </p:txBody>
        </p:sp>
      </p:grpSp>
      <p:sp>
        <p:nvSpPr>
          <p:cNvPr id="40" name="Rectangle 39"/>
          <p:cNvSpPr/>
          <p:nvPr/>
        </p:nvSpPr>
        <p:spPr>
          <a:xfrm>
            <a:off x="1157052" y="4773736"/>
            <a:ext cx="5038018" cy="1162112"/>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GB" sz="813" b="1" dirty="0">
                <a:solidFill>
                  <a:schemeClr val="tx1"/>
                </a:solidFill>
                <a:latin typeface="Arial" panose="020B0604020202020204" pitchFamily="34" charset="0"/>
                <a:cs typeface="Arial" panose="020B0604020202020204" pitchFamily="34" charset="0"/>
              </a:rPr>
              <a:t>Investment areas</a:t>
            </a:r>
          </a:p>
          <a:p>
            <a:pPr marL="139303" indent="-139303">
              <a:lnSpc>
                <a:spcPts val="975"/>
              </a:lnSpc>
              <a:spcAft>
                <a:spcPts val="244"/>
              </a:spcAft>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Mobilizing inclusive investments in Agriculture</a:t>
            </a:r>
          </a:p>
          <a:p>
            <a:pPr marL="139303" indent="-139303">
              <a:lnSpc>
                <a:spcPts val="975"/>
              </a:lnSpc>
              <a:spcAft>
                <a:spcPts val="244"/>
              </a:spcAft>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Creating a private-sector led leadership agenda</a:t>
            </a:r>
          </a:p>
          <a:p>
            <a:pPr marL="139303" indent="-139303">
              <a:lnSpc>
                <a:spcPts val="975"/>
              </a:lnSpc>
              <a:spcAft>
                <a:spcPts val="244"/>
              </a:spcAft>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Build partnerships with leading private sector champions to leverage entire ecosystem and build partnerships around knowledge and intelligence sharing</a:t>
            </a:r>
          </a:p>
          <a:p>
            <a:pPr algn="ctr"/>
            <a:r>
              <a:rPr lang="en-GB" sz="813" b="1" dirty="0">
                <a:solidFill>
                  <a:schemeClr val="tx1"/>
                </a:solidFill>
                <a:latin typeface="Arial" panose="020B0604020202020204" pitchFamily="34" charset="0"/>
                <a:cs typeface="Arial" panose="020B0604020202020204" pitchFamily="34" charset="0"/>
              </a:rPr>
              <a:t> </a:t>
            </a:r>
          </a:p>
        </p:txBody>
      </p:sp>
      <p:sp>
        <p:nvSpPr>
          <p:cNvPr id="50" name="Rectangle 49">
            <a:extLst>
              <a:ext uri="{FF2B5EF4-FFF2-40B4-BE49-F238E27FC236}">
                <a16:creationId xmlns:a16="http://schemas.microsoft.com/office/drawing/2014/main" xmlns="" id="{DF0A37FE-9961-7446-A9D2-C6C2F70CDB9E}"/>
              </a:ext>
            </a:extLst>
          </p:cNvPr>
          <p:cNvSpPr/>
          <p:nvPr/>
        </p:nvSpPr>
        <p:spPr>
          <a:xfrm>
            <a:off x="4488992" y="1632454"/>
            <a:ext cx="1654725" cy="45296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resilience (more adaptive and  resilient households  to shocks)</a:t>
            </a:r>
          </a:p>
        </p:txBody>
      </p:sp>
      <p:sp>
        <p:nvSpPr>
          <p:cNvPr id="2" name="Title 1"/>
          <p:cNvSpPr>
            <a:spLocks noGrp="1"/>
          </p:cNvSpPr>
          <p:nvPr>
            <p:ph type="title"/>
          </p:nvPr>
        </p:nvSpPr>
        <p:spPr/>
        <p:txBody>
          <a:bodyPr/>
          <a:lstStyle/>
          <a:p>
            <a:r>
              <a:rPr lang="en-US" dirty="0" smtClean="0"/>
              <a:t>Partnerships development Theory of Change</a:t>
            </a:r>
            <a:endParaRPr lang="en-US" dirty="0"/>
          </a:p>
        </p:txBody>
      </p:sp>
    </p:spTree>
    <p:extLst>
      <p:ext uri="{BB962C8B-B14F-4D97-AF65-F5344CB8AC3E}">
        <p14:creationId xmlns:p14="http://schemas.microsoft.com/office/powerpoint/2010/main" val="4198601959"/>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547"/>
        <p:cNvGrpSpPr/>
        <p:nvPr/>
      </p:nvGrpSpPr>
      <p:grpSpPr>
        <a:xfrm>
          <a:off x="0" y="0"/>
          <a:ext cx="0" cy="0"/>
          <a:chOff x="0" y="0"/>
          <a:chExt cx="0" cy="0"/>
        </a:xfrm>
      </p:grpSpPr>
      <p:pic>
        <p:nvPicPr>
          <p:cNvPr id="548" name="Google Shape;548;p63"/>
          <p:cNvPicPr preferRelativeResize="0"/>
          <p:nvPr/>
        </p:nvPicPr>
        <p:blipFill rotWithShape="1">
          <a:blip r:embed="rId3">
            <a:alphaModFix/>
          </a:blip>
          <a:srcRect/>
          <a:stretch/>
        </p:blipFill>
        <p:spPr>
          <a:xfrm>
            <a:off x="1588" y="1588"/>
            <a:ext cx="1588" cy="1588"/>
          </a:xfrm>
          <a:prstGeom prst="rect">
            <a:avLst/>
          </a:prstGeom>
          <a:noFill/>
          <a:ln>
            <a:noFill/>
          </a:ln>
        </p:spPr>
      </p:pic>
      <p:sp>
        <p:nvSpPr>
          <p:cNvPr id="549" name="Google Shape;549;p63"/>
          <p:cNvSpPr txBox="1">
            <a:spLocks noGrp="1"/>
          </p:cNvSpPr>
          <p:nvPr>
            <p:ph type="title"/>
          </p:nvPr>
        </p:nvSpPr>
        <p:spPr>
          <a:xfrm>
            <a:off x="450741" y="134054"/>
            <a:ext cx="7245459" cy="582389"/>
          </a:xfrm>
          <a:prstGeom prst="rect">
            <a:avLst/>
          </a:prstGeom>
        </p:spPr>
        <p:txBody>
          <a:bodyPr lIns="0" tIns="0" rIns="0" bIns="0" anchor="b"/>
          <a:lstStyle/>
          <a:p>
            <a:pPr defTabSz="914395">
              <a:spcBef>
                <a:spcPct val="0"/>
              </a:spcBef>
              <a:buClrTx/>
              <a:buSzTx/>
              <a:buFontTx/>
            </a:pPr>
            <a:r>
              <a:rPr lang="en-US">
                <a:solidFill>
                  <a:schemeClr val="tx1"/>
                </a:solidFill>
                <a:latin typeface="Arial" panose="020B0604020202020204" pitchFamily="34" charset="0"/>
                <a:cs typeface="Arial" panose="020B0604020202020204" pitchFamily="34" charset="0"/>
              </a:rPr>
              <a:t>References</a:t>
            </a:r>
          </a:p>
        </p:txBody>
      </p:sp>
      <p:sp>
        <p:nvSpPr>
          <p:cNvPr id="550" name="Google Shape;550;p63"/>
          <p:cNvSpPr txBox="1">
            <a:spLocks noGrp="1"/>
          </p:cNvSpPr>
          <p:nvPr>
            <p:ph type="body" idx="1"/>
          </p:nvPr>
        </p:nvSpPr>
        <p:spPr>
          <a:xfrm>
            <a:off x="450276" y="1066801"/>
            <a:ext cx="9005453" cy="5181599"/>
          </a:xfrm>
          <a:prstGeom prst="rect">
            <a:avLst/>
          </a:prstGeom>
          <a:noFill/>
          <a:ln>
            <a:noFill/>
          </a:ln>
        </p:spPr>
        <p:txBody>
          <a:bodyPr spcFirstLastPara="1" wrap="square" lIns="0" tIns="0" rIns="0" bIns="0" anchor="t" anchorCtr="0">
            <a:noAutofit/>
          </a:bodyPr>
          <a:lstStyle/>
          <a:p>
            <a:r>
              <a:rPr lang="fr-FR" sz="1200" dirty="0"/>
              <a:t>Agriculture </a:t>
            </a:r>
            <a:r>
              <a:rPr lang="fr-FR" sz="1200" dirty="0" err="1"/>
              <a:t>Climate</a:t>
            </a:r>
            <a:r>
              <a:rPr lang="fr-FR" sz="1200" dirty="0"/>
              <a:t> </a:t>
            </a:r>
            <a:r>
              <a:rPr lang="fr-FR" sz="1200" dirty="0" err="1"/>
              <a:t>Resilience</a:t>
            </a:r>
            <a:r>
              <a:rPr lang="fr-FR" sz="1200" dirty="0"/>
              <a:t> Plan 2014-2019</a:t>
            </a:r>
            <a:endParaRPr lang="en-US" sz="1200" dirty="0"/>
          </a:p>
          <a:p>
            <a:r>
              <a:rPr lang="en-US" sz="1200" u="sng" dirty="0">
                <a:hlinkClick r:id="rId4"/>
              </a:rPr>
              <a:t>http://www.tzdpg.or.tz/fileadmin/documents/external/national_development_frameworks/ASDP2_Final_Document_20_May._2016__after_edit__1_.pdf</a:t>
            </a:r>
            <a:endParaRPr lang="en-US" sz="1200" dirty="0"/>
          </a:p>
          <a:p>
            <a:r>
              <a:rPr lang="en-US" sz="1200" dirty="0"/>
              <a:t>http://www.tzdpg.or.tz/fileadmin/documents/external/national_development_frameworks/ASDP2_Final_Document_20_May._2016__after_edit__1_.pdf  </a:t>
            </a:r>
          </a:p>
          <a:p>
            <a:r>
              <a:rPr lang="en-US" sz="1200" u="sng" dirty="0">
                <a:hlinkClick r:id="rId5"/>
              </a:rPr>
              <a:t>https://datacatalog.worldbank.org</a:t>
            </a:r>
            <a:endParaRPr lang="en-US" sz="1200" dirty="0"/>
          </a:p>
          <a:p>
            <a:r>
              <a:rPr lang="en-US" sz="1200" dirty="0"/>
              <a:t>https://datacatalog.worldbank.org |  2. www.fao.org/faostat |  3. http://www.fao.org/tanzania/fao-in-tanzania/tanzania-at-a-glance/en</a:t>
            </a:r>
          </a:p>
          <a:p>
            <a:r>
              <a:rPr lang="en-US" sz="1200" u="sng" dirty="0">
                <a:hlinkClick r:id="rId6"/>
              </a:rPr>
              <a:t>https://www.swedenabroad.se/en/about-sweden-non-swedish-citizens/tanzania/development-cooperation-with-Tanzania/private-sector-development-and-agricultural-markets/</a:t>
            </a:r>
            <a:endParaRPr lang="en-US" sz="1200" dirty="0"/>
          </a:p>
          <a:p>
            <a:r>
              <a:rPr lang="en-US" sz="1200" dirty="0"/>
              <a:t>National Survey and Segmentation of Smallholder Households in </a:t>
            </a:r>
            <a:r>
              <a:rPr lang="en-US" sz="1200" dirty="0" err="1"/>
              <a:t>Tanzania:https</a:t>
            </a:r>
            <a:r>
              <a:rPr lang="en-US" sz="1200" dirty="0"/>
              <a:t>://www.cgap.org/sites/default/files/Working-Paper-Smallholder-Survey-Tanzania-May-2016.pdf</a:t>
            </a:r>
          </a:p>
          <a:p>
            <a:r>
              <a:rPr lang="en-US" sz="1200" dirty="0"/>
              <a:t>Tanzania Ministry of Industry and Trade. Small and Medium Enterprise Policy. 2003.</a:t>
            </a:r>
          </a:p>
          <a:p>
            <a:r>
              <a:rPr lang="en-US" sz="1200" u="sng" dirty="0">
                <a:hlinkClick r:id="rId7"/>
              </a:rPr>
              <a:t>The economic lives of smallholder farmers: http://www.fao.org/3/a-i5251e.pdf</a:t>
            </a:r>
            <a:endParaRPr lang="en-US" sz="1200" dirty="0"/>
          </a:p>
          <a:p>
            <a:r>
              <a:rPr lang="en-US" sz="1200" dirty="0"/>
              <a:t>World Bank Enterprise Surveys. Tanzania Country Profile 2013</a:t>
            </a:r>
          </a:p>
          <a:p>
            <a:r>
              <a:rPr lang="en-US" sz="1200" u="sng" dirty="0">
                <a:hlinkClick r:id="rId8"/>
              </a:rPr>
              <a:t>www.fao.org/faostat</a:t>
            </a:r>
            <a:endParaRPr lang="en-US" sz="1100" dirty="0">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030" name="think-cell Slide" r:id="rId6" imgW="360" imgH="360" progId="TCLayout.ActiveDocument.1">
                  <p:embed/>
                </p:oleObj>
              </mc:Choice>
              <mc:Fallback>
                <p:oleObj name="think-cell Slide" r:id="rId6" imgW="360" imgH="36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AGRA’s Strategy continues to build on past work done in Tanzania to drive for scale and sustainability</a:t>
            </a:r>
            <a:endParaRPr lang="en-US" dirty="0"/>
          </a:p>
        </p:txBody>
      </p:sp>
      <p:sp>
        <p:nvSpPr>
          <p:cNvPr id="7" name="TextBox 6"/>
          <p:cNvSpPr txBox="1"/>
          <p:nvPr/>
        </p:nvSpPr>
        <p:spPr>
          <a:xfrm>
            <a:off x="196998" y="899042"/>
            <a:ext cx="9564222" cy="738664"/>
          </a:xfrm>
          <a:prstGeom prst="rect">
            <a:avLst/>
          </a:prstGeom>
          <a:noFill/>
        </p:spPr>
        <p:txBody>
          <a:bodyPr wrap="square" rtlCol="0">
            <a:spAutoFit/>
          </a:bodyPr>
          <a:lstStyle/>
          <a:p>
            <a:pPr>
              <a:spcAft>
                <a:spcPts val="600"/>
              </a:spcAft>
            </a:pPr>
            <a:r>
              <a:rPr lang="en-US" dirty="0" smtClean="0"/>
              <a:t>In the first ten years (2006 – 2016), AGRA’s work in Tanzania was in the following programs: Seed systems, Soil Health, Policy, Market access and inclusive finance. Through these investments, AGRA made progress that we continue to build on in the new strategy:</a:t>
            </a:r>
          </a:p>
        </p:txBody>
      </p:sp>
      <p:sp>
        <p:nvSpPr>
          <p:cNvPr id="17" name="Rectangle 16"/>
          <p:cNvSpPr/>
          <p:nvPr/>
        </p:nvSpPr>
        <p:spPr>
          <a:xfrm>
            <a:off x="645040" y="1582828"/>
            <a:ext cx="8944729" cy="461665"/>
          </a:xfrm>
          <a:prstGeom prst="rect">
            <a:avLst/>
          </a:prstGeom>
        </p:spPr>
        <p:txBody>
          <a:bodyPr wrap="square">
            <a:spAutoFit/>
          </a:bodyPr>
          <a:lstStyle/>
          <a:p>
            <a:pPr>
              <a:spcAft>
                <a:spcPts val="600"/>
              </a:spcAft>
            </a:pPr>
            <a:r>
              <a:rPr lang="en-US" sz="1200" dirty="0"/>
              <a:t>11 PhDs funded in Plant </a:t>
            </a:r>
            <a:r>
              <a:rPr lang="en-US" sz="1200" dirty="0" smtClean="0"/>
              <a:t>Breeding, 3 </a:t>
            </a:r>
            <a:r>
              <a:rPr lang="en-US" sz="1200" dirty="0"/>
              <a:t>PhDs funded in </a:t>
            </a:r>
            <a:r>
              <a:rPr lang="en-US" sz="1200" dirty="0" smtClean="0"/>
              <a:t>Agronomy, 16 MScs </a:t>
            </a:r>
            <a:r>
              <a:rPr lang="en-US" sz="1200" dirty="0"/>
              <a:t>funded in crop </a:t>
            </a:r>
            <a:r>
              <a:rPr lang="en-US" sz="1200" dirty="0" smtClean="0"/>
              <a:t>science and 11 </a:t>
            </a:r>
            <a:r>
              <a:rPr lang="en-US" sz="1200" dirty="0"/>
              <a:t>MScs funded in soil science</a:t>
            </a:r>
          </a:p>
        </p:txBody>
      </p:sp>
      <p:grpSp>
        <p:nvGrpSpPr>
          <p:cNvPr id="18" name="Group 17"/>
          <p:cNvGrpSpPr>
            <a:grpSpLocks noChangeAspect="1"/>
          </p:cNvGrpSpPr>
          <p:nvPr/>
        </p:nvGrpSpPr>
        <p:grpSpPr>
          <a:xfrm>
            <a:off x="218631" y="1502517"/>
            <a:ext cx="411480" cy="409379"/>
            <a:chOff x="4179888" y="2610485"/>
            <a:chExt cx="311151" cy="309563"/>
          </a:xfrm>
          <a:solidFill>
            <a:schemeClr val="accent6">
              <a:lumMod val="75000"/>
            </a:schemeClr>
          </a:solidFill>
        </p:grpSpPr>
        <p:sp>
          <p:nvSpPr>
            <p:cNvPr id="19" name="Freeform 142"/>
            <p:cNvSpPr>
              <a:spLocks/>
            </p:cNvSpPr>
            <p:nvPr/>
          </p:nvSpPr>
          <p:spPr bwMode="auto">
            <a:xfrm>
              <a:off x="4179888" y="2661285"/>
              <a:ext cx="90488" cy="88900"/>
            </a:xfrm>
            <a:custGeom>
              <a:avLst/>
              <a:gdLst>
                <a:gd name="T0" fmla="*/ 45 w 114"/>
                <a:gd name="T1" fmla="*/ 87 h 113"/>
                <a:gd name="T2" fmla="*/ 45 w 114"/>
                <a:gd name="T3" fmla="*/ 87 h 113"/>
                <a:gd name="T4" fmla="*/ 53 w 114"/>
                <a:gd name="T5" fmla="*/ 87 h 113"/>
                <a:gd name="T6" fmla="*/ 59 w 114"/>
                <a:gd name="T7" fmla="*/ 85 h 113"/>
                <a:gd name="T8" fmla="*/ 66 w 114"/>
                <a:gd name="T9" fmla="*/ 82 h 113"/>
                <a:gd name="T10" fmla="*/ 71 w 114"/>
                <a:gd name="T11" fmla="*/ 79 h 113"/>
                <a:gd name="T12" fmla="*/ 104 w 114"/>
                <a:gd name="T13" fmla="*/ 111 h 113"/>
                <a:gd name="T14" fmla="*/ 104 w 114"/>
                <a:gd name="T15" fmla="*/ 111 h 113"/>
                <a:gd name="T16" fmla="*/ 105 w 114"/>
                <a:gd name="T17" fmla="*/ 113 h 113"/>
                <a:gd name="T18" fmla="*/ 108 w 114"/>
                <a:gd name="T19" fmla="*/ 113 h 113"/>
                <a:gd name="T20" fmla="*/ 108 w 114"/>
                <a:gd name="T21" fmla="*/ 113 h 113"/>
                <a:gd name="T22" fmla="*/ 110 w 114"/>
                <a:gd name="T23" fmla="*/ 113 h 113"/>
                <a:gd name="T24" fmla="*/ 112 w 114"/>
                <a:gd name="T25" fmla="*/ 111 h 113"/>
                <a:gd name="T26" fmla="*/ 112 w 114"/>
                <a:gd name="T27" fmla="*/ 111 h 113"/>
                <a:gd name="T28" fmla="*/ 113 w 114"/>
                <a:gd name="T29" fmla="*/ 109 h 113"/>
                <a:gd name="T30" fmla="*/ 114 w 114"/>
                <a:gd name="T31" fmla="*/ 106 h 113"/>
                <a:gd name="T32" fmla="*/ 113 w 114"/>
                <a:gd name="T33" fmla="*/ 103 h 113"/>
                <a:gd name="T34" fmla="*/ 112 w 114"/>
                <a:gd name="T35" fmla="*/ 102 h 113"/>
                <a:gd name="T36" fmla="*/ 79 w 114"/>
                <a:gd name="T37" fmla="*/ 70 h 113"/>
                <a:gd name="T38" fmla="*/ 79 w 114"/>
                <a:gd name="T39" fmla="*/ 70 h 113"/>
                <a:gd name="T40" fmla="*/ 84 w 114"/>
                <a:gd name="T41" fmla="*/ 64 h 113"/>
                <a:gd name="T42" fmla="*/ 86 w 114"/>
                <a:gd name="T43" fmla="*/ 58 h 113"/>
                <a:gd name="T44" fmla="*/ 89 w 114"/>
                <a:gd name="T45" fmla="*/ 51 h 113"/>
                <a:gd name="T46" fmla="*/ 89 w 114"/>
                <a:gd name="T47" fmla="*/ 43 h 113"/>
                <a:gd name="T48" fmla="*/ 89 w 114"/>
                <a:gd name="T49" fmla="*/ 43 h 113"/>
                <a:gd name="T50" fmla="*/ 88 w 114"/>
                <a:gd name="T51" fmla="*/ 35 h 113"/>
                <a:gd name="T52" fmla="*/ 85 w 114"/>
                <a:gd name="T53" fmla="*/ 27 h 113"/>
                <a:gd name="T54" fmla="*/ 81 w 114"/>
                <a:gd name="T55" fmla="*/ 19 h 113"/>
                <a:gd name="T56" fmla="*/ 75 w 114"/>
                <a:gd name="T57" fmla="*/ 12 h 113"/>
                <a:gd name="T58" fmla="*/ 70 w 114"/>
                <a:gd name="T59" fmla="*/ 7 h 113"/>
                <a:gd name="T60" fmla="*/ 62 w 114"/>
                <a:gd name="T61" fmla="*/ 3 h 113"/>
                <a:gd name="T62" fmla="*/ 54 w 114"/>
                <a:gd name="T63" fmla="*/ 0 h 113"/>
                <a:gd name="T64" fmla="*/ 45 w 114"/>
                <a:gd name="T65" fmla="*/ 0 h 113"/>
                <a:gd name="T66" fmla="*/ 45 w 114"/>
                <a:gd name="T67" fmla="*/ 0 h 113"/>
                <a:gd name="T68" fmla="*/ 36 w 114"/>
                <a:gd name="T69" fmla="*/ 0 h 113"/>
                <a:gd name="T70" fmla="*/ 27 w 114"/>
                <a:gd name="T71" fmla="*/ 3 h 113"/>
                <a:gd name="T72" fmla="*/ 20 w 114"/>
                <a:gd name="T73" fmla="*/ 7 h 113"/>
                <a:gd name="T74" fmla="*/ 14 w 114"/>
                <a:gd name="T75" fmla="*/ 12 h 113"/>
                <a:gd name="T76" fmla="*/ 8 w 114"/>
                <a:gd name="T77" fmla="*/ 19 h 113"/>
                <a:gd name="T78" fmla="*/ 4 w 114"/>
                <a:gd name="T79" fmla="*/ 27 h 113"/>
                <a:gd name="T80" fmla="*/ 2 w 114"/>
                <a:gd name="T81" fmla="*/ 35 h 113"/>
                <a:gd name="T82" fmla="*/ 0 w 114"/>
                <a:gd name="T83" fmla="*/ 43 h 113"/>
                <a:gd name="T84" fmla="*/ 0 w 114"/>
                <a:gd name="T85" fmla="*/ 43 h 113"/>
                <a:gd name="T86" fmla="*/ 2 w 114"/>
                <a:gd name="T87" fmla="*/ 52 h 113"/>
                <a:gd name="T88" fmla="*/ 4 w 114"/>
                <a:gd name="T89" fmla="*/ 60 h 113"/>
                <a:gd name="T90" fmla="*/ 8 w 114"/>
                <a:gd name="T91" fmla="*/ 68 h 113"/>
                <a:gd name="T92" fmla="*/ 14 w 114"/>
                <a:gd name="T93" fmla="*/ 75 h 113"/>
                <a:gd name="T94" fmla="*/ 20 w 114"/>
                <a:gd name="T95" fmla="*/ 80 h 113"/>
                <a:gd name="T96" fmla="*/ 27 w 114"/>
                <a:gd name="T97" fmla="*/ 85 h 113"/>
                <a:gd name="T98" fmla="*/ 36 w 114"/>
                <a:gd name="T99" fmla="*/ 86 h 113"/>
                <a:gd name="T100" fmla="*/ 45 w 114"/>
                <a:gd name="T101" fmla="*/ 87 h 113"/>
                <a:gd name="T102" fmla="*/ 45 w 114"/>
                <a:gd name="T103" fmla="*/ 8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113">
                  <a:moveTo>
                    <a:pt x="45" y="87"/>
                  </a:moveTo>
                  <a:lnTo>
                    <a:pt x="45" y="87"/>
                  </a:lnTo>
                  <a:lnTo>
                    <a:pt x="53" y="87"/>
                  </a:lnTo>
                  <a:lnTo>
                    <a:pt x="59" y="85"/>
                  </a:lnTo>
                  <a:lnTo>
                    <a:pt x="66" y="82"/>
                  </a:lnTo>
                  <a:lnTo>
                    <a:pt x="71" y="79"/>
                  </a:lnTo>
                  <a:lnTo>
                    <a:pt x="104" y="111"/>
                  </a:lnTo>
                  <a:lnTo>
                    <a:pt x="104" y="111"/>
                  </a:lnTo>
                  <a:lnTo>
                    <a:pt x="105" y="113"/>
                  </a:lnTo>
                  <a:lnTo>
                    <a:pt x="108" y="113"/>
                  </a:lnTo>
                  <a:lnTo>
                    <a:pt x="108" y="113"/>
                  </a:lnTo>
                  <a:lnTo>
                    <a:pt x="110" y="113"/>
                  </a:lnTo>
                  <a:lnTo>
                    <a:pt x="112" y="111"/>
                  </a:lnTo>
                  <a:lnTo>
                    <a:pt x="112" y="111"/>
                  </a:lnTo>
                  <a:lnTo>
                    <a:pt x="113" y="109"/>
                  </a:lnTo>
                  <a:lnTo>
                    <a:pt x="114" y="106"/>
                  </a:lnTo>
                  <a:lnTo>
                    <a:pt x="113" y="103"/>
                  </a:lnTo>
                  <a:lnTo>
                    <a:pt x="112" y="102"/>
                  </a:lnTo>
                  <a:lnTo>
                    <a:pt x="79" y="70"/>
                  </a:lnTo>
                  <a:lnTo>
                    <a:pt x="79" y="70"/>
                  </a:lnTo>
                  <a:lnTo>
                    <a:pt x="84" y="64"/>
                  </a:lnTo>
                  <a:lnTo>
                    <a:pt x="86" y="58"/>
                  </a:lnTo>
                  <a:lnTo>
                    <a:pt x="89" y="51"/>
                  </a:lnTo>
                  <a:lnTo>
                    <a:pt x="89" y="43"/>
                  </a:lnTo>
                  <a:lnTo>
                    <a:pt x="89" y="43"/>
                  </a:lnTo>
                  <a:lnTo>
                    <a:pt x="88" y="35"/>
                  </a:lnTo>
                  <a:lnTo>
                    <a:pt x="85" y="27"/>
                  </a:lnTo>
                  <a:lnTo>
                    <a:pt x="81" y="19"/>
                  </a:lnTo>
                  <a:lnTo>
                    <a:pt x="75" y="12"/>
                  </a:lnTo>
                  <a:lnTo>
                    <a:pt x="70" y="7"/>
                  </a:lnTo>
                  <a:lnTo>
                    <a:pt x="62" y="3"/>
                  </a:lnTo>
                  <a:lnTo>
                    <a:pt x="54" y="0"/>
                  </a:lnTo>
                  <a:lnTo>
                    <a:pt x="45" y="0"/>
                  </a:lnTo>
                  <a:lnTo>
                    <a:pt x="45" y="0"/>
                  </a:lnTo>
                  <a:lnTo>
                    <a:pt x="36" y="0"/>
                  </a:lnTo>
                  <a:lnTo>
                    <a:pt x="27" y="3"/>
                  </a:lnTo>
                  <a:lnTo>
                    <a:pt x="20" y="7"/>
                  </a:lnTo>
                  <a:lnTo>
                    <a:pt x="14" y="12"/>
                  </a:lnTo>
                  <a:lnTo>
                    <a:pt x="8" y="19"/>
                  </a:lnTo>
                  <a:lnTo>
                    <a:pt x="4" y="27"/>
                  </a:lnTo>
                  <a:lnTo>
                    <a:pt x="2" y="35"/>
                  </a:lnTo>
                  <a:lnTo>
                    <a:pt x="0" y="43"/>
                  </a:lnTo>
                  <a:lnTo>
                    <a:pt x="0" y="43"/>
                  </a:lnTo>
                  <a:lnTo>
                    <a:pt x="2" y="52"/>
                  </a:lnTo>
                  <a:lnTo>
                    <a:pt x="4" y="60"/>
                  </a:lnTo>
                  <a:lnTo>
                    <a:pt x="8" y="68"/>
                  </a:lnTo>
                  <a:lnTo>
                    <a:pt x="14" y="75"/>
                  </a:lnTo>
                  <a:lnTo>
                    <a:pt x="20" y="80"/>
                  </a:lnTo>
                  <a:lnTo>
                    <a:pt x="27" y="85"/>
                  </a:lnTo>
                  <a:lnTo>
                    <a:pt x="36" y="86"/>
                  </a:lnTo>
                  <a:lnTo>
                    <a:pt x="45" y="87"/>
                  </a:lnTo>
                  <a:lnTo>
                    <a:pt x="45"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143"/>
            <p:cNvSpPr>
              <a:spLocks/>
            </p:cNvSpPr>
            <p:nvPr/>
          </p:nvSpPr>
          <p:spPr bwMode="auto">
            <a:xfrm>
              <a:off x="4300538" y="2610485"/>
              <a:ext cx="69850" cy="111125"/>
            </a:xfrm>
            <a:custGeom>
              <a:avLst/>
              <a:gdLst>
                <a:gd name="T0" fmla="*/ 44 w 89"/>
                <a:gd name="T1" fmla="*/ 138 h 138"/>
                <a:gd name="T2" fmla="*/ 44 w 89"/>
                <a:gd name="T3" fmla="*/ 138 h 138"/>
                <a:gd name="T4" fmla="*/ 47 w 89"/>
                <a:gd name="T5" fmla="*/ 137 h 138"/>
                <a:gd name="T6" fmla="*/ 48 w 89"/>
                <a:gd name="T7" fmla="*/ 135 h 138"/>
                <a:gd name="T8" fmla="*/ 50 w 89"/>
                <a:gd name="T9" fmla="*/ 134 h 138"/>
                <a:gd name="T10" fmla="*/ 50 w 89"/>
                <a:gd name="T11" fmla="*/ 131 h 138"/>
                <a:gd name="T12" fmla="*/ 50 w 89"/>
                <a:gd name="T13" fmla="*/ 87 h 138"/>
                <a:gd name="T14" fmla="*/ 50 w 89"/>
                <a:gd name="T15" fmla="*/ 87 h 138"/>
                <a:gd name="T16" fmla="*/ 58 w 89"/>
                <a:gd name="T17" fmla="*/ 86 h 138"/>
                <a:gd name="T18" fmla="*/ 66 w 89"/>
                <a:gd name="T19" fmla="*/ 82 h 138"/>
                <a:gd name="T20" fmla="*/ 71 w 89"/>
                <a:gd name="T21" fmla="*/ 78 h 138"/>
                <a:gd name="T22" fmla="*/ 77 w 89"/>
                <a:gd name="T23" fmla="*/ 72 h 138"/>
                <a:gd name="T24" fmla="*/ 82 w 89"/>
                <a:gd name="T25" fmla="*/ 66 h 138"/>
                <a:gd name="T26" fmla="*/ 85 w 89"/>
                <a:gd name="T27" fmla="*/ 59 h 138"/>
                <a:gd name="T28" fmla="*/ 87 w 89"/>
                <a:gd name="T29" fmla="*/ 51 h 138"/>
                <a:gd name="T30" fmla="*/ 89 w 89"/>
                <a:gd name="T31" fmla="*/ 43 h 138"/>
                <a:gd name="T32" fmla="*/ 89 w 89"/>
                <a:gd name="T33" fmla="*/ 43 h 138"/>
                <a:gd name="T34" fmla="*/ 87 w 89"/>
                <a:gd name="T35" fmla="*/ 35 h 138"/>
                <a:gd name="T36" fmla="*/ 85 w 89"/>
                <a:gd name="T37" fmla="*/ 27 h 138"/>
                <a:gd name="T38" fmla="*/ 81 w 89"/>
                <a:gd name="T39" fmla="*/ 18 h 138"/>
                <a:gd name="T40" fmla="*/ 75 w 89"/>
                <a:gd name="T41" fmla="*/ 12 h 138"/>
                <a:gd name="T42" fmla="*/ 69 w 89"/>
                <a:gd name="T43" fmla="*/ 6 h 138"/>
                <a:gd name="T44" fmla="*/ 62 w 89"/>
                <a:gd name="T45" fmla="*/ 2 h 138"/>
                <a:gd name="T46" fmla="*/ 52 w 89"/>
                <a:gd name="T47" fmla="*/ 0 h 138"/>
                <a:gd name="T48" fmla="*/ 44 w 89"/>
                <a:gd name="T49" fmla="*/ 0 h 138"/>
                <a:gd name="T50" fmla="*/ 44 w 89"/>
                <a:gd name="T51" fmla="*/ 0 h 138"/>
                <a:gd name="T52" fmla="*/ 35 w 89"/>
                <a:gd name="T53" fmla="*/ 0 h 138"/>
                <a:gd name="T54" fmla="*/ 27 w 89"/>
                <a:gd name="T55" fmla="*/ 2 h 138"/>
                <a:gd name="T56" fmla="*/ 19 w 89"/>
                <a:gd name="T57" fmla="*/ 6 h 138"/>
                <a:gd name="T58" fmla="*/ 14 w 89"/>
                <a:gd name="T59" fmla="*/ 12 h 138"/>
                <a:gd name="T60" fmla="*/ 8 w 89"/>
                <a:gd name="T61" fmla="*/ 18 h 138"/>
                <a:gd name="T62" fmla="*/ 4 w 89"/>
                <a:gd name="T63" fmla="*/ 27 h 138"/>
                <a:gd name="T64" fmla="*/ 1 w 89"/>
                <a:gd name="T65" fmla="*/ 35 h 138"/>
                <a:gd name="T66" fmla="*/ 0 w 89"/>
                <a:gd name="T67" fmla="*/ 43 h 138"/>
                <a:gd name="T68" fmla="*/ 0 w 89"/>
                <a:gd name="T69" fmla="*/ 43 h 138"/>
                <a:gd name="T70" fmla="*/ 0 w 89"/>
                <a:gd name="T71" fmla="*/ 51 h 138"/>
                <a:gd name="T72" fmla="*/ 3 w 89"/>
                <a:gd name="T73" fmla="*/ 59 h 138"/>
                <a:gd name="T74" fmla="*/ 7 w 89"/>
                <a:gd name="T75" fmla="*/ 66 h 138"/>
                <a:gd name="T76" fmla="*/ 11 w 89"/>
                <a:gd name="T77" fmla="*/ 72 h 138"/>
                <a:gd name="T78" fmla="*/ 16 w 89"/>
                <a:gd name="T79" fmla="*/ 78 h 138"/>
                <a:gd name="T80" fmla="*/ 23 w 89"/>
                <a:gd name="T81" fmla="*/ 82 h 138"/>
                <a:gd name="T82" fmla="*/ 30 w 89"/>
                <a:gd name="T83" fmla="*/ 86 h 138"/>
                <a:gd name="T84" fmla="*/ 38 w 89"/>
                <a:gd name="T85" fmla="*/ 87 h 138"/>
                <a:gd name="T86" fmla="*/ 38 w 89"/>
                <a:gd name="T87" fmla="*/ 131 h 138"/>
                <a:gd name="T88" fmla="*/ 38 w 89"/>
                <a:gd name="T89" fmla="*/ 131 h 138"/>
                <a:gd name="T90" fmla="*/ 38 w 89"/>
                <a:gd name="T91" fmla="*/ 134 h 138"/>
                <a:gd name="T92" fmla="*/ 39 w 89"/>
                <a:gd name="T93" fmla="*/ 135 h 138"/>
                <a:gd name="T94" fmla="*/ 42 w 89"/>
                <a:gd name="T95" fmla="*/ 137 h 138"/>
                <a:gd name="T96" fmla="*/ 44 w 89"/>
                <a:gd name="T97" fmla="*/ 138 h 138"/>
                <a:gd name="T98" fmla="*/ 44 w 89"/>
                <a:gd name="T9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138">
                  <a:moveTo>
                    <a:pt x="44" y="138"/>
                  </a:moveTo>
                  <a:lnTo>
                    <a:pt x="44" y="138"/>
                  </a:lnTo>
                  <a:lnTo>
                    <a:pt x="47" y="137"/>
                  </a:lnTo>
                  <a:lnTo>
                    <a:pt x="48" y="135"/>
                  </a:lnTo>
                  <a:lnTo>
                    <a:pt x="50" y="134"/>
                  </a:lnTo>
                  <a:lnTo>
                    <a:pt x="50" y="131"/>
                  </a:lnTo>
                  <a:lnTo>
                    <a:pt x="50" y="87"/>
                  </a:lnTo>
                  <a:lnTo>
                    <a:pt x="50" y="87"/>
                  </a:lnTo>
                  <a:lnTo>
                    <a:pt x="58" y="86"/>
                  </a:lnTo>
                  <a:lnTo>
                    <a:pt x="66" y="82"/>
                  </a:lnTo>
                  <a:lnTo>
                    <a:pt x="71" y="78"/>
                  </a:lnTo>
                  <a:lnTo>
                    <a:pt x="77" y="72"/>
                  </a:lnTo>
                  <a:lnTo>
                    <a:pt x="82" y="66"/>
                  </a:lnTo>
                  <a:lnTo>
                    <a:pt x="85" y="59"/>
                  </a:lnTo>
                  <a:lnTo>
                    <a:pt x="87" y="51"/>
                  </a:lnTo>
                  <a:lnTo>
                    <a:pt x="89" y="43"/>
                  </a:lnTo>
                  <a:lnTo>
                    <a:pt x="89" y="43"/>
                  </a:lnTo>
                  <a:lnTo>
                    <a:pt x="87" y="35"/>
                  </a:lnTo>
                  <a:lnTo>
                    <a:pt x="85" y="27"/>
                  </a:lnTo>
                  <a:lnTo>
                    <a:pt x="81" y="18"/>
                  </a:lnTo>
                  <a:lnTo>
                    <a:pt x="75" y="12"/>
                  </a:lnTo>
                  <a:lnTo>
                    <a:pt x="69" y="6"/>
                  </a:lnTo>
                  <a:lnTo>
                    <a:pt x="62" y="2"/>
                  </a:lnTo>
                  <a:lnTo>
                    <a:pt x="52" y="0"/>
                  </a:lnTo>
                  <a:lnTo>
                    <a:pt x="44" y="0"/>
                  </a:lnTo>
                  <a:lnTo>
                    <a:pt x="44" y="0"/>
                  </a:lnTo>
                  <a:lnTo>
                    <a:pt x="35" y="0"/>
                  </a:lnTo>
                  <a:lnTo>
                    <a:pt x="27" y="2"/>
                  </a:lnTo>
                  <a:lnTo>
                    <a:pt x="19" y="6"/>
                  </a:lnTo>
                  <a:lnTo>
                    <a:pt x="14" y="12"/>
                  </a:lnTo>
                  <a:lnTo>
                    <a:pt x="8" y="18"/>
                  </a:lnTo>
                  <a:lnTo>
                    <a:pt x="4" y="27"/>
                  </a:lnTo>
                  <a:lnTo>
                    <a:pt x="1" y="35"/>
                  </a:lnTo>
                  <a:lnTo>
                    <a:pt x="0" y="43"/>
                  </a:lnTo>
                  <a:lnTo>
                    <a:pt x="0" y="43"/>
                  </a:lnTo>
                  <a:lnTo>
                    <a:pt x="0" y="51"/>
                  </a:lnTo>
                  <a:lnTo>
                    <a:pt x="3" y="59"/>
                  </a:lnTo>
                  <a:lnTo>
                    <a:pt x="7" y="66"/>
                  </a:lnTo>
                  <a:lnTo>
                    <a:pt x="11" y="72"/>
                  </a:lnTo>
                  <a:lnTo>
                    <a:pt x="16" y="78"/>
                  </a:lnTo>
                  <a:lnTo>
                    <a:pt x="23" y="82"/>
                  </a:lnTo>
                  <a:lnTo>
                    <a:pt x="30" y="86"/>
                  </a:lnTo>
                  <a:lnTo>
                    <a:pt x="38" y="87"/>
                  </a:lnTo>
                  <a:lnTo>
                    <a:pt x="38" y="131"/>
                  </a:lnTo>
                  <a:lnTo>
                    <a:pt x="38" y="131"/>
                  </a:lnTo>
                  <a:lnTo>
                    <a:pt x="38" y="134"/>
                  </a:lnTo>
                  <a:lnTo>
                    <a:pt x="39" y="135"/>
                  </a:lnTo>
                  <a:lnTo>
                    <a:pt x="42" y="137"/>
                  </a:lnTo>
                  <a:lnTo>
                    <a:pt x="44" y="138"/>
                  </a:lnTo>
                  <a:lnTo>
                    <a:pt x="44"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144"/>
            <p:cNvSpPr>
              <a:spLocks/>
            </p:cNvSpPr>
            <p:nvPr/>
          </p:nvSpPr>
          <p:spPr bwMode="auto">
            <a:xfrm>
              <a:off x="4400551" y="2661285"/>
              <a:ext cx="90488" cy="88900"/>
            </a:xfrm>
            <a:custGeom>
              <a:avLst/>
              <a:gdLst>
                <a:gd name="T0" fmla="*/ 69 w 113"/>
                <a:gd name="T1" fmla="*/ 0 h 113"/>
                <a:gd name="T2" fmla="*/ 69 w 113"/>
                <a:gd name="T3" fmla="*/ 0 h 113"/>
                <a:gd name="T4" fmla="*/ 61 w 113"/>
                <a:gd name="T5" fmla="*/ 0 h 113"/>
                <a:gd name="T6" fmla="*/ 53 w 113"/>
                <a:gd name="T7" fmla="*/ 3 h 113"/>
                <a:gd name="T8" fmla="*/ 45 w 113"/>
                <a:gd name="T9" fmla="*/ 7 h 113"/>
                <a:gd name="T10" fmla="*/ 38 w 113"/>
                <a:gd name="T11" fmla="*/ 12 h 113"/>
                <a:gd name="T12" fmla="*/ 33 w 113"/>
                <a:gd name="T13" fmla="*/ 19 h 113"/>
                <a:gd name="T14" fmla="*/ 29 w 113"/>
                <a:gd name="T15" fmla="*/ 27 h 113"/>
                <a:gd name="T16" fmla="*/ 26 w 113"/>
                <a:gd name="T17" fmla="*/ 35 h 113"/>
                <a:gd name="T18" fmla="*/ 25 w 113"/>
                <a:gd name="T19" fmla="*/ 43 h 113"/>
                <a:gd name="T20" fmla="*/ 25 w 113"/>
                <a:gd name="T21" fmla="*/ 43 h 113"/>
                <a:gd name="T22" fmla="*/ 26 w 113"/>
                <a:gd name="T23" fmla="*/ 51 h 113"/>
                <a:gd name="T24" fmla="*/ 27 w 113"/>
                <a:gd name="T25" fmla="*/ 58 h 113"/>
                <a:gd name="T26" fmla="*/ 30 w 113"/>
                <a:gd name="T27" fmla="*/ 64 h 113"/>
                <a:gd name="T28" fmla="*/ 34 w 113"/>
                <a:gd name="T29" fmla="*/ 70 h 113"/>
                <a:gd name="T30" fmla="*/ 2 w 113"/>
                <a:gd name="T31" fmla="*/ 102 h 113"/>
                <a:gd name="T32" fmla="*/ 2 w 113"/>
                <a:gd name="T33" fmla="*/ 102 h 113"/>
                <a:gd name="T34" fmla="*/ 0 w 113"/>
                <a:gd name="T35" fmla="*/ 103 h 113"/>
                <a:gd name="T36" fmla="*/ 0 w 113"/>
                <a:gd name="T37" fmla="*/ 106 h 113"/>
                <a:gd name="T38" fmla="*/ 0 w 113"/>
                <a:gd name="T39" fmla="*/ 109 h 113"/>
                <a:gd name="T40" fmla="*/ 2 w 113"/>
                <a:gd name="T41" fmla="*/ 111 h 113"/>
                <a:gd name="T42" fmla="*/ 2 w 113"/>
                <a:gd name="T43" fmla="*/ 111 h 113"/>
                <a:gd name="T44" fmla="*/ 4 w 113"/>
                <a:gd name="T45" fmla="*/ 113 h 113"/>
                <a:gd name="T46" fmla="*/ 6 w 113"/>
                <a:gd name="T47" fmla="*/ 113 h 113"/>
                <a:gd name="T48" fmla="*/ 6 w 113"/>
                <a:gd name="T49" fmla="*/ 113 h 113"/>
                <a:gd name="T50" fmla="*/ 8 w 113"/>
                <a:gd name="T51" fmla="*/ 113 h 113"/>
                <a:gd name="T52" fmla="*/ 11 w 113"/>
                <a:gd name="T53" fmla="*/ 111 h 113"/>
                <a:gd name="T54" fmla="*/ 43 w 113"/>
                <a:gd name="T55" fmla="*/ 79 h 113"/>
                <a:gd name="T56" fmla="*/ 43 w 113"/>
                <a:gd name="T57" fmla="*/ 79 h 113"/>
                <a:gd name="T58" fmla="*/ 49 w 113"/>
                <a:gd name="T59" fmla="*/ 82 h 113"/>
                <a:gd name="T60" fmla="*/ 56 w 113"/>
                <a:gd name="T61" fmla="*/ 85 h 113"/>
                <a:gd name="T62" fmla="*/ 62 w 113"/>
                <a:gd name="T63" fmla="*/ 87 h 113"/>
                <a:gd name="T64" fmla="*/ 69 w 113"/>
                <a:gd name="T65" fmla="*/ 87 h 113"/>
                <a:gd name="T66" fmla="*/ 69 w 113"/>
                <a:gd name="T67" fmla="*/ 87 h 113"/>
                <a:gd name="T68" fmla="*/ 78 w 113"/>
                <a:gd name="T69" fmla="*/ 86 h 113"/>
                <a:gd name="T70" fmla="*/ 86 w 113"/>
                <a:gd name="T71" fmla="*/ 85 h 113"/>
                <a:gd name="T72" fmla="*/ 94 w 113"/>
                <a:gd name="T73" fmla="*/ 80 h 113"/>
                <a:gd name="T74" fmla="*/ 100 w 113"/>
                <a:gd name="T75" fmla="*/ 75 h 113"/>
                <a:gd name="T76" fmla="*/ 107 w 113"/>
                <a:gd name="T77" fmla="*/ 68 h 113"/>
                <a:gd name="T78" fmla="*/ 111 w 113"/>
                <a:gd name="T79" fmla="*/ 60 h 113"/>
                <a:gd name="T80" fmla="*/ 112 w 113"/>
                <a:gd name="T81" fmla="*/ 52 h 113"/>
                <a:gd name="T82" fmla="*/ 113 w 113"/>
                <a:gd name="T83" fmla="*/ 43 h 113"/>
                <a:gd name="T84" fmla="*/ 113 w 113"/>
                <a:gd name="T85" fmla="*/ 43 h 113"/>
                <a:gd name="T86" fmla="*/ 112 w 113"/>
                <a:gd name="T87" fmla="*/ 35 h 113"/>
                <a:gd name="T88" fmla="*/ 111 w 113"/>
                <a:gd name="T89" fmla="*/ 27 h 113"/>
                <a:gd name="T90" fmla="*/ 107 w 113"/>
                <a:gd name="T91" fmla="*/ 19 h 113"/>
                <a:gd name="T92" fmla="*/ 100 w 113"/>
                <a:gd name="T93" fmla="*/ 12 h 113"/>
                <a:gd name="T94" fmla="*/ 94 w 113"/>
                <a:gd name="T95" fmla="*/ 7 h 113"/>
                <a:gd name="T96" fmla="*/ 86 w 113"/>
                <a:gd name="T97" fmla="*/ 3 h 113"/>
                <a:gd name="T98" fmla="*/ 78 w 113"/>
                <a:gd name="T99" fmla="*/ 0 h 113"/>
                <a:gd name="T100" fmla="*/ 69 w 113"/>
                <a:gd name="T101" fmla="*/ 0 h 113"/>
                <a:gd name="T102" fmla="*/ 69 w 113"/>
                <a:gd name="T103"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 h="113">
                  <a:moveTo>
                    <a:pt x="69" y="0"/>
                  </a:moveTo>
                  <a:lnTo>
                    <a:pt x="69" y="0"/>
                  </a:lnTo>
                  <a:lnTo>
                    <a:pt x="61" y="0"/>
                  </a:lnTo>
                  <a:lnTo>
                    <a:pt x="53" y="3"/>
                  </a:lnTo>
                  <a:lnTo>
                    <a:pt x="45" y="7"/>
                  </a:lnTo>
                  <a:lnTo>
                    <a:pt x="38" y="12"/>
                  </a:lnTo>
                  <a:lnTo>
                    <a:pt x="33" y="19"/>
                  </a:lnTo>
                  <a:lnTo>
                    <a:pt x="29" y="27"/>
                  </a:lnTo>
                  <a:lnTo>
                    <a:pt x="26" y="35"/>
                  </a:lnTo>
                  <a:lnTo>
                    <a:pt x="25" y="43"/>
                  </a:lnTo>
                  <a:lnTo>
                    <a:pt x="25" y="43"/>
                  </a:lnTo>
                  <a:lnTo>
                    <a:pt x="26" y="51"/>
                  </a:lnTo>
                  <a:lnTo>
                    <a:pt x="27" y="58"/>
                  </a:lnTo>
                  <a:lnTo>
                    <a:pt x="30" y="64"/>
                  </a:lnTo>
                  <a:lnTo>
                    <a:pt x="34" y="70"/>
                  </a:lnTo>
                  <a:lnTo>
                    <a:pt x="2" y="102"/>
                  </a:lnTo>
                  <a:lnTo>
                    <a:pt x="2" y="102"/>
                  </a:lnTo>
                  <a:lnTo>
                    <a:pt x="0" y="103"/>
                  </a:lnTo>
                  <a:lnTo>
                    <a:pt x="0" y="106"/>
                  </a:lnTo>
                  <a:lnTo>
                    <a:pt x="0" y="109"/>
                  </a:lnTo>
                  <a:lnTo>
                    <a:pt x="2" y="111"/>
                  </a:lnTo>
                  <a:lnTo>
                    <a:pt x="2" y="111"/>
                  </a:lnTo>
                  <a:lnTo>
                    <a:pt x="4" y="113"/>
                  </a:lnTo>
                  <a:lnTo>
                    <a:pt x="6" y="113"/>
                  </a:lnTo>
                  <a:lnTo>
                    <a:pt x="6" y="113"/>
                  </a:lnTo>
                  <a:lnTo>
                    <a:pt x="8" y="113"/>
                  </a:lnTo>
                  <a:lnTo>
                    <a:pt x="11" y="111"/>
                  </a:lnTo>
                  <a:lnTo>
                    <a:pt x="43" y="79"/>
                  </a:lnTo>
                  <a:lnTo>
                    <a:pt x="43" y="79"/>
                  </a:lnTo>
                  <a:lnTo>
                    <a:pt x="49" y="82"/>
                  </a:lnTo>
                  <a:lnTo>
                    <a:pt x="56" y="85"/>
                  </a:lnTo>
                  <a:lnTo>
                    <a:pt x="62" y="87"/>
                  </a:lnTo>
                  <a:lnTo>
                    <a:pt x="69" y="87"/>
                  </a:lnTo>
                  <a:lnTo>
                    <a:pt x="69" y="87"/>
                  </a:lnTo>
                  <a:lnTo>
                    <a:pt x="78" y="86"/>
                  </a:lnTo>
                  <a:lnTo>
                    <a:pt x="86" y="85"/>
                  </a:lnTo>
                  <a:lnTo>
                    <a:pt x="94" y="80"/>
                  </a:lnTo>
                  <a:lnTo>
                    <a:pt x="100" y="75"/>
                  </a:lnTo>
                  <a:lnTo>
                    <a:pt x="107" y="68"/>
                  </a:lnTo>
                  <a:lnTo>
                    <a:pt x="111" y="60"/>
                  </a:lnTo>
                  <a:lnTo>
                    <a:pt x="112" y="52"/>
                  </a:lnTo>
                  <a:lnTo>
                    <a:pt x="113" y="43"/>
                  </a:lnTo>
                  <a:lnTo>
                    <a:pt x="113" y="43"/>
                  </a:lnTo>
                  <a:lnTo>
                    <a:pt x="112" y="35"/>
                  </a:lnTo>
                  <a:lnTo>
                    <a:pt x="111" y="27"/>
                  </a:lnTo>
                  <a:lnTo>
                    <a:pt x="107" y="19"/>
                  </a:lnTo>
                  <a:lnTo>
                    <a:pt x="100" y="12"/>
                  </a:lnTo>
                  <a:lnTo>
                    <a:pt x="94" y="7"/>
                  </a:lnTo>
                  <a:lnTo>
                    <a:pt x="86" y="3"/>
                  </a:lnTo>
                  <a:lnTo>
                    <a:pt x="78" y="0"/>
                  </a:lnTo>
                  <a:lnTo>
                    <a:pt x="69" y="0"/>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145"/>
            <p:cNvSpPr>
              <a:spLocks/>
            </p:cNvSpPr>
            <p:nvPr/>
          </p:nvSpPr>
          <p:spPr bwMode="auto">
            <a:xfrm>
              <a:off x="4279901" y="2750185"/>
              <a:ext cx="109538" cy="120650"/>
            </a:xfrm>
            <a:custGeom>
              <a:avLst/>
              <a:gdLst>
                <a:gd name="T0" fmla="*/ 69 w 138"/>
                <a:gd name="T1" fmla="*/ 0 h 150"/>
                <a:gd name="T2" fmla="*/ 69 w 138"/>
                <a:gd name="T3" fmla="*/ 0 h 150"/>
                <a:gd name="T4" fmla="*/ 55 w 138"/>
                <a:gd name="T5" fmla="*/ 1 h 150"/>
                <a:gd name="T6" fmla="*/ 43 w 138"/>
                <a:gd name="T7" fmla="*/ 5 h 150"/>
                <a:gd name="T8" fmla="*/ 30 w 138"/>
                <a:gd name="T9" fmla="*/ 12 h 150"/>
                <a:gd name="T10" fmla="*/ 20 w 138"/>
                <a:gd name="T11" fmla="*/ 20 h 150"/>
                <a:gd name="T12" fmla="*/ 12 w 138"/>
                <a:gd name="T13" fmla="*/ 31 h 150"/>
                <a:gd name="T14" fmla="*/ 5 w 138"/>
                <a:gd name="T15" fmla="*/ 41 h 150"/>
                <a:gd name="T16" fmla="*/ 1 w 138"/>
                <a:gd name="T17" fmla="*/ 55 h 150"/>
                <a:gd name="T18" fmla="*/ 0 w 138"/>
                <a:gd name="T19" fmla="*/ 68 h 150"/>
                <a:gd name="T20" fmla="*/ 0 w 138"/>
                <a:gd name="T21" fmla="*/ 82 h 150"/>
                <a:gd name="T22" fmla="*/ 0 w 138"/>
                <a:gd name="T23" fmla="*/ 82 h 150"/>
                <a:gd name="T24" fmla="*/ 1 w 138"/>
                <a:gd name="T25" fmla="*/ 95 h 150"/>
                <a:gd name="T26" fmla="*/ 5 w 138"/>
                <a:gd name="T27" fmla="*/ 109 h 150"/>
                <a:gd name="T28" fmla="*/ 12 w 138"/>
                <a:gd name="T29" fmla="*/ 121 h 150"/>
                <a:gd name="T30" fmla="*/ 20 w 138"/>
                <a:gd name="T31" fmla="*/ 130 h 150"/>
                <a:gd name="T32" fmla="*/ 30 w 138"/>
                <a:gd name="T33" fmla="*/ 140 h 150"/>
                <a:gd name="T34" fmla="*/ 43 w 138"/>
                <a:gd name="T35" fmla="*/ 145 h 150"/>
                <a:gd name="T36" fmla="*/ 55 w 138"/>
                <a:gd name="T37" fmla="*/ 149 h 150"/>
                <a:gd name="T38" fmla="*/ 69 w 138"/>
                <a:gd name="T39" fmla="*/ 150 h 150"/>
                <a:gd name="T40" fmla="*/ 69 w 138"/>
                <a:gd name="T41" fmla="*/ 150 h 150"/>
                <a:gd name="T42" fmla="*/ 83 w 138"/>
                <a:gd name="T43" fmla="*/ 149 h 150"/>
                <a:gd name="T44" fmla="*/ 96 w 138"/>
                <a:gd name="T45" fmla="*/ 145 h 150"/>
                <a:gd name="T46" fmla="*/ 108 w 138"/>
                <a:gd name="T47" fmla="*/ 140 h 150"/>
                <a:gd name="T48" fmla="*/ 118 w 138"/>
                <a:gd name="T49" fmla="*/ 130 h 150"/>
                <a:gd name="T50" fmla="*/ 127 w 138"/>
                <a:gd name="T51" fmla="*/ 121 h 150"/>
                <a:gd name="T52" fmla="*/ 133 w 138"/>
                <a:gd name="T53" fmla="*/ 109 h 150"/>
                <a:gd name="T54" fmla="*/ 137 w 138"/>
                <a:gd name="T55" fmla="*/ 95 h 150"/>
                <a:gd name="T56" fmla="*/ 138 w 138"/>
                <a:gd name="T57" fmla="*/ 82 h 150"/>
                <a:gd name="T58" fmla="*/ 138 w 138"/>
                <a:gd name="T59" fmla="*/ 68 h 150"/>
                <a:gd name="T60" fmla="*/ 138 w 138"/>
                <a:gd name="T61" fmla="*/ 68 h 150"/>
                <a:gd name="T62" fmla="*/ 137 w 138"/>
                <a:gd name="T63" fmla="*/ 55 h 150"/>
                <a:gd name="T64" fmla="*/ 133 w 138"/>
                <a:gd name="T65" fmla="*/ 41 h 150"/>
                <a:gd name="T66" fmla="*/ 127 w 138"/>
                <a:gd name="T67" fmla="*/ 31 h 150"/>
                <a:gd name="T68" fmla="*/ 118 w 138"/>
                <a:gd name="T69" fmla="*/ 20 h 150"/>
                <a:gd name="T70" fmla="*/ 108 w 138"/>
                <a:gd name="T71" fmla="*/ 12 h 150"/>
                <a:gd name="T72" fmla="*/ 96 w 138"/>
                <a:gd name="T73" fmla="*/ 5 h 150"/>
                <a:gd name="T74" fmla="*/ 83 w 138"/>
                <a:gd name="T75" fmla="*/ 1 h 150"/>
                <a:gd name="T76" fmla="*/ 69 w 138"/>
                <a:gd name="T77" fmla="*/ 0 h 150"/>
                <a:gd name="T78" fmla="*/ 69 w 138"/>
                <a:gd name="T7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 h="150">
                  <a:moveTo>
                    <a:pt x="69" y="0"/>
                  </a:moveTo>
                  <a:lnTo>
                    <a:pt x="69" y="0"/>
                  </a:lnTo>
                  <a:lnTo>
                    <a:pt x="55" y="1"/>
                  </a:lnTo>
                  <a:lnTo>
                    <a:pt x="43" y="5"/>
                  </a:lnTo>
                  <a:lnTo>
                    <a:pt x="30" y="12"/>
                  </a:lnTo>
                  <a:lnTo>
                    <a:pt x="20" y="20"/>
                  </a:lnTo>
                  <a:lnTo>
                    <a:pt x="12" y="31"/>
                  </a:lnTo>
                  <a:lnTo>
                    <a:pt x="5" y="41"/>
                  </a:lnTo>
                  <a:lnTo>
                    <a:pt x="1" y="55"/>
                  </a:lnTo>
                  <a:lnTo>
                    <a:pt x="0" y="68"/>
                  </a:lnTo>
                  <a:lnTo>
                    <a:pt x="0" y="82"/>
                  </a:lnTo>
                  <a:lnTo>
                    <a:pt x="0" y="82"/>
                  </a:lnTo>
                  <a:lnTo>
                    <a:pt x="1" y="95"/>
                  </a:lnTo>
                  <a:lnTo>
                    <a:pt x="5" y="109"/>
                  </a:lnTo>
                  <a:lnTo>
                    <a:pt x="12" y="121"/>
                  </a:lnTo>
                  <a:lnTo>
                    <a:pt x="20" y="130"/>
                  </a:lnTo>
                  <a:lnTo>
                    <a:pt x="30" y="140"/>
                  </a:lnTo>
                  <a:lnTo>
                    <a:pt x="43" y="145"/>
                  </a:lnTo>
                  <a:lnTo>
                    <a:pt x="55" y="149"/>
                  </a:lnTo>
                  <a:lnTo>
                    <a:pt x="69" y="150"/>
                  </a:lnTo>
                  <a:lnTo>
                    <a:pt x="69" y="150"/>
                  </a:lnTo>
                  <a:lnTo>
                    <a:pt x="83" y="149"/>
                  </a:lnTo>
                  <a:lnTo>
                    <a:pt x="96" y="145"/>
                  </a:lnTo>
                  <a:lnTo>
                    <a:pt x="108" y="140"/>
                  </a:lnTo>
                  <a:lnTo>
                    <a:pt x="118" y="130"/>
                  </a:lnTo>
                  <a:lnTo>
                    <a:pt x="127" y="121"/>
                  </a:lnTo>
                  <a:lnTo>
                    <a:pt x="133" y="109"/>
                  </a:lnTo>
                  <a:lnTo>
                    <a:pt x="137" y="95"/>
                  </a:lnTo>
                  <a:lnTo>
                    <a:pt x="138" y="82"/>
                  </a:lnTo>
                  <a:lnTo>
                    <a:pt x="138" y="68"/>
                  </a:lnTo>
                  <a:lnTo>
                    <a:pt x="138" y="68"/>
                  </a:lnTo>
                  <a:lnTo>
                    <a:pt x="137" y="55"/>
                  </a:lnTo>
                  <a:lnTo>
                    <a:pt x="133" y="41"/>
                  </a:lnTo>
                  <a:lnTo>
                    <a:pt x="127" y="31"/>
                  </a:lnTo>
                  <a:lnTo>
                    <a:pt x="118" y="20"/>
                  </a:lnTo>
                  <a:lnTo>
                    <a:pt x="108" y="12"/>
                  </a:lnTo>
                  <a:lnTo>
                    <a:pt x="96" y="5"/>
                  </a:lnTo>
                  <a:lnTo>
                    <a:pt x="83" y="1"/>
                  </a:lnTo>
                  <a:lnTo>
                    <a:pt x="69" y="0"/>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146"/>
            <p:cNvSpPr>
              <a:spLocks/>
            </p:cNvSpPr>
            <p:nvPr/>
          </p:nvSpPr>
          <p:spPr bwMode="auto">
            <a:xfrm>
              <a:off x="4240213" y="2858135"/>
              <a:ext cx="190500" cy="61913"/>
            </a:xfrm>
            <a:custGeom>
              <a:avLst/>
              <a:gdLst>
                <a:gd name="T0" fmla="*/ 119 w 239"/>
                <a:gd name="T1" fmla="*/ 28 h 77"/>
                <a:gd name="T2" fmla="*/ 119 w 239"/>
                <a:gd name="T3" fmla="*/ 28 h 77"/>
                <a:gd name="T4" fmla="*/ 110 w 239"/>
                <a:gd name="T5" fmla="*/ 26 h 77"/>
                <a:gd name="T6" fmla="*/ 101 w 239"/>
                <a:gd name="T7" fmla="*/ 25 h 77"/>
                <a:gd name="T8" fmla="*/ 93 w 239"/>
                <a:gd name="T9" fmla="*/ 24 h 77"/>
                <a:gd name="T10" fmla="*/ 84 w 239"/>
                <a:gd name="T11" fmla="*/ 20 h 77"/>
                <a:gd name="T12" fmla="*/ 76 w 239"/>
                <a:gd name="T13" fmla="*/ 16 h 77"/>
                <a:gd name="T14" fmla="*/ 70 w 239"/>
                <a:gd name="T15" fmla="*/ 10 h 77"/>
                <a:gd name="T16" fmla="*/ 63 w 239"/>
                <a:gd name="T17" fmla="*/ 5 h 77"/>
                <a:gd name="T18" fmla="*/ 58 w 239"/>
                <a:gd name="T19" fmla="*/ 0 h 77"/>
                <a:gd name="T20" fmla="*/ 2 w 239"/>
                <a:gd name="T21" fmla="*/ 28 h 77"/>
                <a:gd name="T22" fmla="*/ 2 w 239"/>
                <a:gd name="T23" fmla="*/ 28 h 77"/>
                <a:gd name="T24" fmla="*/ 0 w 239"/>
                <a:gd name="T25" fmla="*/ 30 h 77"/>
                <a:gd name="T26" fmla="*/ 0 w 239"/>
                <a:gd name="T27" fmla="*/ 34 h 77"/>
                <a:gd name="T28" fmla="*/ 0 w 239"/>
                <a:gd name="T29" fmla="*/ 72 h 77"/>
                <a:gd name="T30" fmla="*/ 0 w 239"/>
                <a:gd name="T31" fmla="*/ 72 h 77"/>
                <a:gd name="T32" fmla="*/ 0 w 239"/>
                <a:gd name="T33" fmla="*/ 73 h 77"/>
                <a:gd name="T34" fmla="*/ 1 w 239"/>
                <a:gd name="T35" fmla="*/ 76 h 77"/>
                <a:gd name="T36" fmla="*/ 4 w 239"/>
                <a:gd name="T37" fmla="*/ 77 h 77"/>
                <a:gd name="T38" fmla="*/ 5 w 239"/>
                <a:gd name="T39" fmla="*/ 77 h 77"/>
                <a:gd name="T40" fmla="*/ 232 w 239"/>
                <a:gd name="T41" fmla="*/ 77 h 77"/>
                <a:gd name="T42" fmla="*/ 232 w 239"/>
                <a:gd name="T43" fmla="*/ 77 h 77"/>
                <a:gd name="T44" fmla="*/ 235 w 239"/>
                <a:gd name="T45" fmla="*/ 77 h 77"/>
                <a:gd name="T46" fmla="*/ 236 w 239"/>
                <a:gd name="T47" fmla="*/ 76 h 77"/>
                <a:gd name="T48" fmla="*/ 238 w 239"/>
                <a:gd name="T49" fmla="*/ 73 h 77"/>
                <a:gd name="T50" fmla="*/ 239 w 239"/>
                <a:gd name="T51" fmla="*/ 72 h 77"/>
                <a:gd name="T52" fmla="*/ 239 w 239"/>
                <a:gd name="T53" fmla="*/ 34 h 77"/>
                <a:gd name="T54" fmla="*/ 239 w 239"/>
                <a:gd name="T55" fmla="*/ 34 h 77"/>
                <a:gd name="T56" fmla="*/ 238 w 239"/>
                <a:gd name="T57" fmla="*/ 30 h 77"/>
                <a:gd name="T58" fmla="*/ 235 w 239"/>
                <a:gd name="T59" fmla="*/ 28 h 77"/>
                <a:gd name="T60" fmla="*/ 181 w 239"/>
                <a:gd name="T61" fmla="*/ 0 h 77"/>
                <a:gd name="T62" fmla="*/ 181 w 239"/>
                <a:gd name="T63" fmla="*/ 0 h 77"/>
                <a:gd name="T64" fmla="*/ 175 w 239"/>
                <a:gd name="T65" fmla="*/ 5 h 77"/>
                <a:gd name="T66" fmla="*/ 168 w 239"/>
                <a:gd name="T67" fmla="*/ 10 h 77"/>
                <a:gd name="T68" fmla="*/ 161 w 239"/>
                <a:gd name="T69" fmla="*/ 16 h 77"/>
                <a:gd name="T70" fmla="*/ 153 w 239"/>
                <a:gd name="T71" fmla="*/ 20 h 77"/>
                <a:gd name="T72" fmla="*/ 145 w 239"/>
                <a:gd name="T73" fmla="*/ 24 h 77"/>
                <a:gd name="T74" fmla="*/ 137 w 239"/>
                <a:gd name="T75" fmla="*/ 25 h 77"/>
                <a:gd name="T76" fmla="*/ 129 w 239"/>
                <a:gd name="T77" fmla="*/ 26 h 77"/>
                <a:gd name="T78" fmla="*/ 119 w 239"/>
                <a:gd name="T79" fmla="*/ 28 h 77"/>
                <a:gd name="T80" fmla="*/ 119 w 239"/>
                <a:gd name="T81"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9" h="77">
                  <a:moveTo>
                    <a:pt x="119" y="28"/>
                  </a:moveTo>
                  <a:lnTo>
                    <a:pt x="119" y="28"/>
                  </a:lnTo>
                  <a:lnTo>
                    <a:pt x="110" y="26"/>
                  </a:lnTo>
                  <a:lnTo>
                    <a:pt x="101" y="25"/>
                  </a:lnTo>
                  <a:lnTo>
                    <a:pt x="93" y="24"/>
                  </a:lnTo>
                  <a:lnTo>
                    <a:pt x="84" y="20"/>
                  </a:lnTo>
                  <a:lnTo>
                    <a:pt x="76" y="16"/>
                  </a:lnTo>
                  <a:lnTo>
                    <a:pt x="70" y="10"/>
                  </a:lnTo>
                  <a:lnTo>
                    <a:pt x="63" y="5"/>
                  </a:lnTo>
                  <a:lnTo>
                    <a:pt x="58" y="0"/>
                  </a:lnTo>
                  <a:lnTo>
                    <a:pt x="2" y="28"/>
                  </a:lnTo>
                  <a:lnTo>
                    <a:pt x="2" y="28"/>
                  </a:lnTo>
                  <a:lnTo>
                    <a:pt x="0" y="30"/>
                  </a:lnTo>
                  <a:lnTo>
                    <a:pt x="0" y="34"/>
                  </a:lnTo>
                  <a:lnTo>
                    <a:pt x="0" y="72"/>
                  </a:lnTo>
                  <a:lnTo>
                    <a:pt x="0" y="72"/>
                  </a:lnTo>
                  <a:lnTo>
                    <a:pt x="0" y="73"/>
                  </a:lnTo>
                  <a:lnTo>
                    <a:pt x="1" y="76"/>
                  </a:lnTo>
                  <a:lnTo>
                    <a:pt x="4" y="77"/>
                  </a:lnTo>
                  <a:lnTo>
                    <a:pt x="5" y="77"/>
                  </a:lnTo>
                  <a:lnTo>
                    <a:pt x="232" y="77"/>
                  </a:lnTo>
                  <a:lnTo>
                    <a:pt x="232" y="77"/>
                  </a:lnTo>
                  <a:lnTo>
                    <a:pt x="235" y="77"/>
                  </a:lnTo>
                  <a:lnTo>
                    <a:pt x="236" y="76"/>
                  </a:lnTo>
                  <a:lnTo>
                    <a:pt x="238" y="73"/>
                  </a:lnTo>
                  <a:lnTo>
                    <a:pt x="239" y="72"/>
                  </a:lnTo>
                  <a:lnTo>
                    <a:pt x="239" y="34"/>
                  </a:lnTo>
                  <a:lnTo>
                    <a:pt x="239" y="34"/>
                  </a:lnTo>
                  <a:lnTo>
                    <a:pt x="238" y="30"/>
                  </a:lnTo>
                  <a:lnTo>
                    <a:pt x="235" y="28"/>
                  </a:lnTo>
                  <a:lnTo>
                    <a:pt x="181" y="0"/>
                  </a:lnTo>
                  <a:lnTo>
                    <a:pt x="181" y="0"/>
                  </a:lnTo>
                  <a:lnTo>
                    <a:pt x="175" y="5"/>
                  </a:lnTo>
                  <a:lnTo>
                    <a:pt x="168" y="10"/>
                  </a:lnTo>
                  <a:lnTo>
                    <a:pt x="161" y="16"/>
                  </a:lnTo>
                  <a:lnTo>
                    <a:pt x="153" y="20"/>
                  </a:lnTo>
                  <a:lnTo>
                    <a:pt x="145" y="24"/>
                  </a:lnTo>
                  <a:lnTo>
                    <a:pt x="137" y="25"/>
                  </a:lnTo>
                  <a:lnTo>
                    <a:pt x="129" y="26"/>
                  </a:lnTo>
                  <a:lnTo>
                    <a:pt x="119" y="28"/>
                  </a:lnTo>
                  <a:lnTo>
                    <a:pt x="11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26" name="Rectangle 25"/>
          <p:cNvSpPr/>
          <p:nvPr/>
        </p:nvSpPr>
        <p:spPr>
          <a:xfrm>
            <a:off x="654721" y="2943854"/>
            <a:ext cx="8850773" cy="523220"/>
          </a:xfrm>
          <a:prstGeom prst="rect">
            <a:avLst/>
          </a:prstGeom>
        </p:spPr>
        <p:txBody>
          <a:bodyPr wrap="square">
            <a:spAutoFit/>
          </a:bodyPr>
          <a:lstStyle/>
          <a:p>
            <a:pPr>
              <a:spcAft>
                <a:spcPts val="600"/>
              </a:spcAft>
            </a:pPr>
            <a:r>
              <a:rPr lang="en-US" dirty="0">
                <a:solidFill>
                  <a:schemeClr val="tx1"/>
                </a:solidFill>
              </a:rPr>
              <a:t>AGRA supported </a:t>
            </a:r>
            <a:r>
              <a:rPr lang="en-US" dirty="0" smtClean="0">
                <a:solidFill>
                  <a:schemeClr val="tx1"/>
                </a:solidFill>
              </a:rPr>
              <a:t>training of 6,748 agro-dealers; distances </a:t>
            </a:r>
            <a:r>
              <a:rPr lang="en-US" dirty="0">
                <a:solidFill>
                  <a:schemeClr val="tx1"/>
                </a:solidFill>
              </a:rPr>
              <a:t>the farmer </a:t>
            </a:r>
            <a:r>
              <a:rPr lang="en-US" dirty="0" smtClean="0">
                <a:solidFill>
                  <a:schemeClr val="tx1"/>
                </a:solidFill>
              </a:rPr>
              <a:t>has </a:t>
            </a:r>
            <a:r>
              <a:rPr lang="en-US" dirty="0">
                <a:solidFill>
                  <a:schemeClr val="tx1"/>
                </a:solidFill>
              </a:rPr>
              <a:t>to travel to access inputs </a:t>
            </a:r>
            <a:r>
              <a:rPr lang="en-US" dirty="0" smtClean="0">
                <a:solidFill>
                  <a:schemeClr val="tx1"/>
                </a:solidFill>
              </a:rPr>
              <a:t>has reduced </a:t>
            </a:r>
            <a:r>
              <a:rPr lang="en-US" dirty="0">
                <a:solidFill>
                  <a:schemeClr val="tx1"/>
                </a:solidFill>
              </a:rPr>
              <a:t>from </a:t>
            </a:r>
            <a:r>
              <a:rPr lang="en-US" b="1" dirty="0" smtClean="0">
                <a:solidFill>
                  <a:schemeClr val="tx1"/>
                </a:solidFill>
              </a:rPr>
              <a:t>above 20 km </a:t>
            </a:r>
            <a:r>
              <a:rPr lang="en-US" b="1" dirty="0">
                <a:solidFill>
                  <a:schemeClr val="tx1"/>
                </a:solidFill>
              </a:rPr>
              <a:t>to </a:t>
            </a:r>
            <a:r>
              <a:rPr lang="en-US" b="1" dirty="0" smtClean="0">
                <a:solidFill>
                  <a:schemeClr val="tx1"/>
                </a:solidFill>
              </a:rPr>
              <a:t>less than 10 km</a:t>
            </a:r>
            <a:endParaRPr lang="en-US" b="1" dirty="0">
              <a:solidFill>
                <a:schemeClr val="tx1"/>
              </a:solidFill>
            </a:endParaRPr>
          </a:p>
        </p:txBody>
      </p:sp>
      <p:sp>
        <p:nvSpPr>
          <p:cNvPr id="28" name="Rectangle 27"/>
          <p:cNvSpPr/>
          <p:nvPr/>
        </p:nvSpPr>
        <p:spPr>
          <a:xfrm>
            <a:off x="654722" y="5581007"/>
            <a:ext cx="8850772" cy="523220"/>
          </a:xfrm>
          <a:prstGeom prst="rect">
            <a:avLst/>
          </a:prstGeom>
        </p:spPr>
        <p:txBody>
          <a:bodyPr wrap="square">
            <a:spAutoFit/>
          </a:bodyPr>
          <a:lstStyle/>
          <a:p>
            <a:pPr>
              <a:spcAft>
                <a:spcPts val="600"/>
              </a:spcAft>
            </a:pPr>
            <a:r>
              <a:rPr lang="en-US" dirty="0" smtClean="0"/>
              <a:t>Supported various evidence generation and advocacy for various agribusiness related reforms which creates conducive environment for the private sector investments and full participation in the agric value chain</a:t>
            </a:r>
            <a:endParaRPr lang="en-US" dirty="0"/>
          </a:p>
        </p:txBody>
      </p:sp>
      <p:grpSp>
        <p:nvGrpSpPr>
          <p:cNvPr id="29" name="Group 28"/>
          <p:cNvGrpSpPr>
            <a:grpSpLocks noChangeAspect="1"/>
          </p:cNvGrpSpPr>
          <p:nvPr/>
        </p:nvGrpSpPr>
        <p:grpSpPr>
          <a:xfrm>
            <a:off x="279591" y="3578635"/>
            <a:ext cx="411480" cy="413805"/>
            <a:chOff x="2436813" y="3460750"/>
            <a:chExt cx="280988" cy="282576"/>
          </a:xfrm>
          <a:solidFill>
            <a:schemeClr val="accent6">
              <a:lumMod val="75000"/>
            </a:schemeClr>
          </a:solidFill>
        </p:grpSpPr>
        <p:sp>
          <p:nvSpPr>
            <p:cNvPr id="30" name="Freeform 275"/>
            <p:cNvSpPr>
              <a:spLocks/>
            </p:cNvSpPr>
            <p:nvPr/>
          </p:nvSpPr>
          <p:spPr bwMode="auto">
            <a:xfrm>
              <a:off x="2501901" y="3492500"/>
              <a:ext cx="215900" cy="215900"/>
            </a:xfrm>
            <a:custGeom>
              <a:avLst/>
              <a:gdLst>
                <a:gd name="T0" fmla="*/ 263 w 273"/>
                <a:gd name="T1" fmla="*/ 254 h 273"/>
                <a:gd name="T2" fmla="*/ 263 w 273"/>
                <a:gd name="T3" fmla="*/ 254 h 273"/>
                <a:gd name="T4" fmla="*/ 238 w 273"/>
                <a:gd name="T5" fmla="*/ 253 h 273"/>
                <a:gd name="T6" fmla="*/ 214 w 273"/>
                <a:gd name="T7" fmla="*/ 248 h 273"/>
                <a:gd name="T8" fmla="*/ 191 w 273"/>
                <a:gd name="T9" fmla="*/ 243 h 273"/>
                <a:gd name="T10" fmla="*/ 168 w 273"/>
                <a:gd name="T11" fmla="*/ 235 h 273"/>
                <a:gd name="T12" fmla="*/ 146 w 273"/>
                <a:gd name="T13" fmla="*/ 224 h 273"/>
                <a:gd name="T14" fmla="*/ 126 w 273"/>
                <a:gd name="T15" fmla="*/ 212 h 273"/>
                <a:gd name="T16" fmla="*/ 108 w 273"/>
                <a:gd name="T17" fmla="*/ 197 h 273"/>
                <a:gd name="T18" fmla="*/ 90 w 273"/>
                <a:gd name="T19" fmla="*/ 183 h 273"/>
                <a:gd name="T20" fmla="*/ 74 w 273"/>
                <a:gd name="T21" fmla="*/ 165 h 273"/>
                <a:gd name="T22" fmla="*/ 61 w 273"/>
                <a:gd name="T23" fmla="*/ 145 h 273"/>
                <a:gd name="T24" fmla="*/ 47 w 273"/>
                <a:gd name="T25" fmla="*/ 125 h 273"/>
                <a:gd name="T26" fmla="*/ 38 w 273"/>
                <a:gd name="T27" fmla="*/ 103 h 273"/>
                <a:gd name="T28" fmla="*/ 30 w 273"/>
                <a:gd name="T29" fmla="*/ 82 h 273"/>
                <a:gd name="T30" fmla="*/ 23 w 273"/>
                <a:gd name="T31" fmla="*/ 58 h 273"/>
                <a:gd name="T32" fmla="*/ 19 w 273"/>
                <a:gd name="T33" fmla="*/ 34 h 273"/>
                <a:gd name="T34" fmla="*/ 18 w 273"/>
                <a:gd name="T35" fmla="*/ 8 h 273"/>
                <a:gd name="T36" fmla="*/ 18 w 273"/>
                <a:gd name="T37" fmla="*/ 8 h 273"/>
                <a:gd name="T38" fmla="*/ 18 w 273"/>
                <a:gd name="T39" fmla="*/ 5 h 273"/>
                <a:gd name="T40" fmla="*/ 15 w 273"/>
                <a:gd name="T41" fmla="*/ 3 h 273"/>
                <a:gd name="T42" fmla="*/ 12 w 273"/>
                <a:gd name="T43" fmla="*/ 0 h 273"/>
                <a:gd name="T44" fmla="*/ 9 w 273"/>
                <a:gd name="T45" fmla="*/ 0 h 273"/>
                <a:gd name="T46" fmla="*/ 9 w 273"/>
                <a:gd name="T47" fmla="*/ 0 h 273"/>
                <a:gd name="T48" fmla="*/ 5 w 273"/>
                <a:gd name="T49" fmla="*/ 0 h 273"/>
                <a:gd name="T50" fmla="*/ 3 w 273"/>
                <a:gd name="T51" fmla="*/ 3 h 273"/>
                <a:gd name="T52" fmla="*/ 0 w 273"/>
                <a:gd name="T53" fmla="*/ 5 h 273"/>
                <a:gd name="T54" fmla="*/ 0 w 273"/>
                <a:gd name="T55" fmla="*/ 8 h 273"/>
                <a:gd name="T56" fmla="*/ 0 w 273"/>
                <a:gd name="T57" fmla="*/ 8 h 273"/>
                <a:gd name="T58" fmla="*/ 1 w 273"/>
                <a:gd name="T59" fmla="*/ 35 h 273"/>
                <a:gd name="T60" fmla="*/ 5 w 273"/>
                <a:gd name="T61" fmla="*/ 62 h 273"/>
                <a:gd name="T62" fmla="*/ 12 w 273"/>
                <a:gd name="T63" fmla="*/ 87 h 273"/>
                <a:gd name="T64" fmla="*/ 20 w 273"/>
                <a:gd name="T65" fmla="*/ 112 h 273"/>
                <a:gd name="T66" fmla="*/ 32 w 273"/>
                <a:gd name="T67" fmla="*/ 134 h 273"/>
                <a:gd name="T68" fmla="*/ 44 w 273"/>
                <a:gd name="T69" fmla="*/ 156 h 273"/>
                <a:gd name="T70" fmla="*/ 61 w 273"/>
                <a:gd name="T71" fmla="*/ 176 h 273"/>
                <a:gd name="T72" fmla="*/ 77 w 273"/>
                <a:gd name="T73" fmla="*/ 195 h 273"/>
                <a:gd name="T74" fmla="*/ 95 w 273"/>
                <a:gd name="T75" fmla="*/ 212 h 273"/>
                <a:gd name="T76" fmla="*/ 116 w 273"/>
                <a:gd name="T77" fmla="*/ 227 h 273"/>
                <a:gd name="T78" fmla="*/ 138 w 273"/>
                <a:gd name="T79" fmla="*/ 240 h 273"/>
                <a:gd name="T80" fmla="*/ 161 w 273"/>
                <a:gd name="T81" fmla="*/ 251 h 273"/>
                <a:gd name="T82" fmla="*/ 185 w 273"/>
                <a:gd name="T83" fmla="*/ 261 h 273"/>
                <a:gd name="T84" fmla="*/ 211 w 273"/>
                <a:gd name="T85" fmla="*/ 267 h 273"/>
                <a:gd name="T86" fmla="*/ 236 w 273"/>
                <a:gd name="T87" fmla="*/ 270 h 273"/>
                <a:gd name="T88" fmla="*/ 263 w 273"/>
                <a:gd name="T89" fmla="*/ 273 h 273"/>
                <a:gd name="T90" fmla="*/ 263 w 273"/>
                <a:gd name="T91" fmla="*/ 273 h 273"/>
                <a:gd name="T92" fmla="*/ 267 w 273"/>
                <a:gd name="T93" fmla="*/ 271 h 273"/>
                <a:gd name="T94" fmla="*/ 270 w 273"/>
                <a:gd name="T95" fmla="*/ 270 h 273"/>
                <a:gd name="T96" fmla="*/ 271 w 273"/>
                <a:gd name="T97" fmla="*/ 266 h 273"/>
                <a:gd name="T98" fmla="*/ 273 w 273"/>
                <a:gd name="T99" fmla="*/ 263 h 273"/>
                <a:gd name="T100" fmla="*/ 273 w 273"/>
                <a:gd name="T101" fmla="*/ 263 h 273"/>
                <a:gd name="T102" fmla="*/ 271 w 273"/>
                <a:gd name="T103" fmla="*/ 259 h 273"/>
                <a:gd name="T104" fmla="*/ 270 w 273"/>
                <a:gd name="T105" fmla="*/ 257 h 273"/>
                <a:gd name="T106" fmla="*/ 267 w 273"/>
                <a:gd name="T107" fmla="*/ 255 h 273"/>
                <a:gd name="T108" fmla="*/ 263 w 273"/>
                <a:gd name="T109" fmla="*/ 254 h 273"/>
                <a:gd name="T110" fmla="*/ 263 w 273"/>
                <a:gd name="T111" fmla="*/ 25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273">
                  <a:moveTo>
                    <a:pt x="263" y="254"/>
                  </a:moveTo>
                  <a:lnTo>
                    <a:pt x="263" y="254"/>
                  </a:lnTo>
                  <a:lnTo>
                    <a:pt x="238" y="253"/>
                  </a:lnTo>
                  <a:lnTo>
                    <a:pt x="214" y="248"/>
                  </a:lnTo>
                  <a:lnTo>
                    <a:pt x="191" y="243"/>
                  </a:lnTo>
                  <a:lnTo>
                    <a:pt x="168" y="235"/>
                  </a:lnTo>
                  <a:lnTo>
                    <a:pt x="146" y="224"/>
                  </a:lnTo>
                  <a:lnTo>
                    <a:pt x="126" y="212"/>
                  </a:lnTo>
                  <a:lnTo>
                    <a:pt x="108" y="197"/>
                  </a:lnTo>
                  <a:lnTo>
                    <a:pt x="90" y="183"/>
                  </a:lnTo>
                  <a:lnTo>
                    <a:pt x="74" y="165"/>
                  </a:lnTo>
                  <a:lnTo>
                    <a:pt x="61" y="145"/>
                  </a:lnTo>
                  <a:lnTo>
                    <a:pt x="47" y="125"/>
                  </a:lnTo>
                  <a:lnTo>
                    <a:pt x="38" y="103"/>
                  </a:lnTo>
                  <a:lnTo>
                    <a:pt x="30" y="82"/>
                  </a:lnTo>
                  <a:lnTo>
                    <a:pt x="23" y="58"/>
                  </a:lnTo>
                  <a:lnTo>
                    <a:pt x="19" y="34"/>
                  </a:lnTo>
                  <a:lnTo>
                    <a:pt x="18" y="8"/>
                  </a:lnTo>
                  <a:lnTo>
                    <a:pt x="18" y="8"/>
                  </a:lnTo>
                  <a:lnTo>
                    <a:pt x="18" y="5"/>
                  </a:lnTo>
                  <a:lnTo>
                    <a:pt x="15" y="3"/>
                  </a:lnTo>
                  <a:lnTo>
                    <a:pt x="12" y="0"/>
                  </a:lnTo>
                  <a:lnTo>
                    <a:pt x="9" y="0"/>
                  </a:lnTo>
                  <a:lnTo>
                    <a:pt x="9" y="0"/>
                  </a:lnTo>
                  <a:lnTo>
                    <a:pt x="5" y="0"/>
                  </a:lnTo>
                  <a:lnTo>
                    <a:pt x="3" y="3"/>
                  </a:lnTo>
                  <a:lnTo>
                    <a:pt x="0" y="5"/>
                  </a:lnTo>
                  <a:lnTo>
                    <a:pt x="0" y="8"/>
                  </a:lnTo>
                  <a:lnTo>
                    <a:pt x="0" y="8"/>
                  </a:lnTo>
                  <a:lnTo>
                    <a:pt x="1" y="35"/>
                  </a:lnTo>
                  <a:lnTo>
                    <a:pt x="5" y="62"/>
                  </a:lnTo>
                  <a:lnTo>
                    <a:pt x="12" y="87"/>
                  </a:lnTo>
                  <a:lnTo>
                    <a:pt x="20" y="112"/>
                  </a:lnTo>
                  <a:lnTo>
                    <a:pt x="32" y="134"/>
                  </a:lnTo>
                  <a:lnTo>
                    <a:pt x="44" y="156"/>
                  </a:lnTo>
                  <a:lnTo>
                    <a:pt x="61" y="176"/>
                  </a:lnTo>
                  <a:lnTo>
                    <a:pt x="77" y="195"/>
                  </a:lnTo>
                  <a:lnTo>
                    <a:pt x="95" y="212"/>
                  </a:lnTo>
                  <a:lnTo>
                    <a:pt x="116" y="227"/>
                  </a:lnTo>
                  <a:lnTo>
                    <a:pt x="138" y="240"/>
                  </a:lnTo>
                  <a:lnTo>
                    <a:pt x="161" y="251"/>
                  </a:lnTo>
                  <a:lnTo>
                    <a:pt x="185" y="261"/>
                  </a:lnTo>
                  <a:lnTo>
                    <a:pt x="211" y="267"/>
                  </a:lnTo>
                  <a:lnTo>
                    <a:pt x="236" y="270"/>
                  </a:lnTo>
                  <a:lnTo>
                    <a:pt x="263" y="273"/>
                  </a:lnTo>
                  <a:lnTo>
                    <a:pt x="263" y="273"/>
                  </a:lnTo>
                  <a:lnTo>
                    <a:pt x="267" y="271"/>
                  </a:lnTo>
                  <a:lnTo>
                    <a:pt x="270" y="270"/>
                  </a:lnTo>
                  <a:lnTo>
                    <a:pt x="271" y="266"/>
                  </a:lnTo>
                  <a:lnTo>
                    <a:pt x="273" y="263"/>
                  </a:lnTo>
                  <a:lnTo>
                    <a:pt x="273" y="263"/>
                  </a:lnTo>
                  <a:lnTo>
                    <a:pt x="271" y="259"/>
                  </a:lnTo>
                  <a:lnTo>
                    <a:pt x="270" y="257"/>
                  </a:lnTo>
                  <a:lnTo>
                    <a:pt x="267" y="255"/>
                  </a:lnTo>
                  <a:lnTo>
                    <a:pt x="263" y="254"/>
                  </a:lnTo>
                  <a:lnTo>
                    <a:pt x="263"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1" name="Freeform 276"/>
            <p:cNvSpPr>
              <a:spLocks/>
            </p:cNvSpPr>
            <p:nvPr/>
          </p:nvSpPr>
          <p:spPr bwMode="auto">
            <a:xfrm>
              <a:off x="2516188" y="3687763"/>
              <a:ext cx="101600" cy="55563"/>
            </a:xfrm>
            <a:custGeom>
              <a:avLst/>
              <a:gdLst>
                <a:gd name="T0" fmla="*/ 125 w 127"/>
                <a:gd name="T1" fmla="*/ 21 h 71"/>
                <a:gd name="T2" fmla="*/ 125 w 127"/>
                <a:gd name="T3" fmla="*/ 21 h 71"/>
                <a:gd name="T4" fmla="*/ 119 w 127"/>
                <a:gd name="T5" fmla="*/ 17 h 71"/>
                <a:gd name="T6" fmla="*/ 106 w 127"/>
                <a:gd name="T7" fmla="*/ 9 h 71"/>
                <a:gd name="T8" fmla="*/ 97 w 127"/>
                <a:gd name="T9" fmla="*/ 5 h 71"/>
                <a:gd name="T10" fmla="*/ 87 w 127"/>
                <a:gd name="T11" fmla="*/ 2 h 71"/>
                <a:gd name="T12" fmla="*/ 76 w 127"/>
                <a:gd name="T13" fmla="*/ 0 h 71"/>
                <a:gd name="T14" fmla="*/ 64 w 127"/>
                <a:gd name="T15" fmla="*/ 0 h 71"/>
                <a:gd name="T16" fmla="*/ 64 w 127"/>
                <a:gd name="T17" fmla="*/ 0 h 71"/>
                <a:gd name="T18" fmla="*/ 54 w 127"/>
                <a:gd name="T19" fmla="*/ 1 h 71"/>
                <a:gd name="T20" fmla="*/ 54 w 127"/>
                <a:gd name="T21" fmla="*/ 1 h 71"/>
                <a:gd name="T22" fmla="*/ 43 w 127"/>
                <a:gd name="T23" fmla="*/ 4 h 71"/>
                <a:gd name="T24" fmla="*/ 33 w 127"/>
                <a:gd name="T25" fmla="*/ 8 h 71"/>
                <a:gd name="T26" fmla="*/ 24 w 127"/>
                <a:gd name="T27" fmla="*/ 12 h 71"/>
                <a:gd name="T28" fmla="*/ 17 w 127"/>
                <a:gd name="T29" fmla="*/ 17 h 71"/>
                <a:gd name="T30" fmla="*/ 7 w 127"/>
                <a:gd name="T31" fmla="*/ 27 h 71"/>
                <a:gd name="T32" fmla="*/ 1 w 127"/>
                <a:gd name="T33" fmla="*/ 31 h 71"/>
                <a:gd name="T34" fmla="*/ 1 w 127"/>
                <a:gd name="T35" fmla="*/ 31 h 71"/>
                <a:gd name="T36" fmla="*/ 0 w 127"/>
                <a:gd name="T37" fmla="*/ 35 h 71"/>
                <a:gd name="T38" fmla="*/ 1 w 127"/>
                <a:gd name="T39" fmla="*/ 39 h 71"/>
                <a:gd name="T40" fmla="*/ 1 w 127"/>
                <a:gd name="T41" fmla="*/ 39 h 71"/>
                <a:gd name="T42" fmla="*/ 7 w 127"/>
                <a:gd name="T43" fmla="*/ 44 h 71"/>
                <a:gd name="T44" fmla="*/ 20 w 127"/>
                <a:gd name="T45" fmla="*/ 55 h 71"/>
                <a:gd name="T46" fmla="*/ 29 w 127"/>
                <a:gd name="T47" fmla="*/ 62 h 71"/>
                <a:gd name="T48" fmla="*/ 39 w 127"/>
                <a:gd name="T49" fmla="*/ 67 h 71"/>
                <a:gd name="T50" fmla="*/ 50 w 127"/>
                <a:gd name="T51" fmla="*/ 70 h 71"/>
                <a:gd name="T52" fmla="*/ 59 w 127"/>
                <a:gd name="T53" fmla="*/ 71 h 71"/>
                <a:gd name="T54" fmla="*/ 59 w 127"/>
                <a:gd name="T55" fmla="*/ 71 h 71"/>
                <a:gd name="T56" fmla="*/ 66 w 127"/>
                <a:gd name="T57" fmla="*/ 71 h 71"/>
                <a:gd name="T58" fmla="*/ 66 w 127"/>
                <a:gd name="T59" fmla="*/ 71 h 71"/>
                <a:gd name="T60" fmla="*/ 79 w 127"/>
                <a:gd name="T61" fmla="*/ 67 h 71"/>
                <a:gd name="T62" fmla="*/ 91 w 127"/>
                <a:gd name="T63" fmla="*/ 62 h 71"/>
                <a:gd name="T64" fmla="*/ 101 w 127"/>
                <a:gd name="T65" fmla="*/ 55 h 71"/>
                <a:gd name="T66" fmla="*/ 110 w 127"/>
                <a:gd name="T67" fmla="*/ 48 h 71"/>
                <a:gd name="T68" fmla="*/ 122 w 127"/>
                <a:gd name="T69" fmla="*/ 35 h 71"/>
                <a:gd name="T70" fmla="*/ 127 w 127"/>
                <a:gd name="T71" fmla="*/ 28 h 71"/>
                <a:gd name="T72" fmla="*/ 127 w 127"/>
                <a:gd name="T73" fmla="*/ 28 h 71"/>
                <a:gd name="T74" fmla="*/ 127 w 127"/>
                <a:gd name="T75" fmla="*/ 27 h 71"/>
                <a:gd name="T76" fmla="*/ 127 w 127"/>
                <a:gd name="T77" fmla="*/ 24 h 71"/>
                <a:gd name="T78" fmla="*/ 127 w 127"/>
                <a:gd name="T79" fmla="*/ 23 h 71"/>
                <a:gd name="T80" fmla="*/ 125 w 127"/>
                <a:gd name="T81" fmla="*/ 21 h 71"/>
                <a:gd name="T82" fmla="*/ 125 w 127"/>
                <a:gd name="T83"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71">
                  <a:moveTo>
                    <a:pt x="125" y="21"/>
                  </a:moveTo>
                  <a:lnTo>
                    <a:pt x="125" y="21"/>
                  </a:lnTo>
                  <a:lnTo>
                    <a:pt x="119" y="17"/>
                  </a:lnTo>
                  <a:lnTo>
                    <a:pt x="106" y="9"/>
                  </a:lnTo>
                  <a:lnTo>
                    <a:pt x="97" y="5"/>
                  </a:lnTo>
                  <a:lnTo>
                    <a:pt x="87" y="2"/>
                  </a:lnTo>
                  <a:lnTo>
                    <a:pt x="76" y="0"/>
                  </a:lnTo>
                  <a:lnTo>
                    <a:pt x="64" y="0"/>
                  </a:lnTo>
                  <a:lnTo>
                    <a:pt x="64" y="0"/>
                  </a:lnTo>
                  <a:lnTo>
                    <a:pt x="54" y="1"/>
                  </a:lnTo>
                  <a:lnTo>
                    <a:pt x="54" y="1"/>
                  </a:lnTo>
                  <a:lnTo>
                    <a:pt x="43" y="4"/>
                  </a:lnTo>
                  <a:lnTo>
                    <a:pt x="33" y="8"/>
                  </a:lnTo>
                  <a:lnTo>
                    <a:pt x="24" y="12"/>
                  </a:lnTo>
                  <a:lnTo>
                    <a:pt x="17" y="17"/>
                  </a:lnTo>
                  <a:lnTo>
                    <a:pt x="7" y="27"/>
                  </a:lnTo>
                  <a:lnTo>
                    <a:pt x="1" y="31"/>
                  </a:lnTo>
                  <a:lnTo>
                    <a:pt x="1" y="31"/>
                  </a:lnTo>
                  <a:lnTo>
                    <a:pt x="0" y="35"/>
                  </a:lnTo>
                  <a:lnTo>
                    <a:pt x="1" y="39"/>
                  </a:lnTo>
                  <a:lnTo>
                    <a:pt x="1" y="39"/>
                  </a:lnTo>
                  <a:lnTo>
                    <a:pt x="7" y="44"/>
                  </a:lnTo>
                  <a:lnTo>
                    <a:pt x="20" y="55"/>
                  </a:lnTo>
                  <a:lnTo>
                    <a:pt x="29" y="62"/>
                  </a:lnTo>
                  <a:lnTo>
                    <a:pt x="39" y="67"/>
                  </a:lnTo>
                  <a:lnTo>
                    <a:pt x="50" y="70"/>
                  </a:lnTo>
                  <a:lnTo>
                    <a:pt x="59" y="71"/>
                  </a:lnTo>
                  <a:lnTo>
                    <a:pt x="59" y="71"/>
                  </a:lnTo>
                  <a:lnTo>
                    <a:pt x="66" y="71"/>
                  </a:lnTo>
                  <a:lnTo>
                    <a:pt x="66" y="71"/>
                  </a:lnTo>
                  <a:lnTo>
                    <a:pt x="79" y="67"/>
                  </a:lnTo>
                  <a:lnTo>
                    <a:pt x="91" y="62"/>
                  </a:lnTo>
                  <a:lnTo>
                    <a:pt x="101" y="55"/>
                  </a:lnTo>
                  <a:lnTo>
                    <a:pt x="110" y="48"/>
                  </a:lnTo>
                  <a:lnTo>
                    <a:pt x="122" y="35"/>
                  </a:lnTo>
                  <a:lnTo>
                    <a:pt x="127" y="28"/>
                  </a:lnTo>
                  <a:lnTo>
                    <a:pt x="127" y="28"/>
                  </a:lnTo>
                  <a:lnTo>
                    <a:pt x="127" y="27"/>
                  </a:lnTo>
                  <a:lnTo>
                    <a:pt x="127" y="24"/>
                  </a:lnTo>
                  <a:lnTo>
                    <a:pt x="127" y="23"/>
                  </a:lnTo>
                  <a:lnTo>
                    <a:pt x="125" y="21"/>
                  </a:lnTo>
                  <a:lnTo>
                    <a:pt x="12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2" name="Freeform 277"/>
            <p:cNvSpPr>
              <a:spLocks/>
            </p:cNvSpPr>
            <p:nvPr/>
          </p:nvSpPr>
          <p:spPr bwMode="auto">
            <a:xfrm>
              <a:off x="2462213" y="3611563"/>
              <a:ext cx="79375" cy="46038"/>
            </a:xfrm>
            <a:custGeom>
              <a:avLst/>
              <a:gdLst>
                <a:gd name="T0" fmla="*/ 100 w 101"/>
                <a:gd name="T1" fmla="*/ 40 h 59"/>
                <a:gd name="T2" fmla="*/ 100 w 101"/>
                <a:gd name="T3" fmla="*/ 40 h 59"/>
                <a:gd name="T4" fmla="*/ 97 w 101"/>
                <a:gd name="T5" fmla="*/ 34 h 59"/>
                <a:gd name="T6" fmla="*/ 89 w 101"/>
                <a:gd name="T7" fmla="*/ 22 h 59"/>
                <a:gd name="T8" fmla="*/ 82 w 101"/>
                <a:gd name="T9" fmla="*/ 14 h 59"/>
                <a:gd name="T10" fmla="*/ 76 w 101"/>
                <a:gd name="T11" fmla="*/ 8 h 59"/>
                <a:gd name="T12" fmla="*/ 68 w 101"/>
                <a:gd name="T13" fmla="*/ 3 h 59"/>
                <a:gd name="T14" fmla="*/ 59 w 101"/>
                <a:gd name="T15" fmla="*/ 0 h 59"/>
                <a:gd name="T16" fmla="*/ 59 w 101"/>
                <a:gd name="T17" fmla="*/ 0 h 59"/>
                <a:gd name="T18" fmla="*/ 51 w 101"/>
                <a:gd name="T19" fmla="*/ 0 h 59"/>
                <a:gd name="T20" fmla="*/ 51 w 101"/>
                <a:gd name="T21" fmla="*/ 0 h 59"/>
                <a:gd name="T22" fmla="*/ 42 w 101"/>
                <a:gd name="T23" fmla="*/ 1 h 59"/>
                <a:gd name="T24" fmla="*/ 33 w 101"/>
                <a:gd name="T25" fmla="*/ 3 h 59"/>
                <a:gd name="T26" fmla="*/ 25 w 101"/>
                <a:gd name="T27" fmla="*/ 5 h 59"/>
                <a:gd name="T28" fmla="*/ 18 w 101"/>
                <a:gd name="T29" fmla="*/ 10 h 59"/>
                <a:gd name="T30" fmla="*/ 7 w 101"/>
                <a:gd name="T31" fmla="*/ 15 h 59"/>
                <a:gd name="T32" fmla="*/ 2 w 101"/>
                <a:gd name="T33" fmla="*/ 19 h 59"/>
                <a:gd name="T34" fmla="*/ 2 w 101"/>
                <a:gd name="T35" fmla="*/ 19 h 59"/>
                <a:gd name="T36" fmla="*/ 0 w 101"/>
                <a:gd name="T37" fmla="*/ 20 h 59"/>
                <a:gd name="T38" fmla="*/ 0 w 101"/>
                <a:gd name="T39" fmla="*/ 22 h 59"/>
                <a:gd name="T40" fmla="*/ 0 w 101"/>
                <a:gd name="T41" fmla="*/ 24 h 59"/>
                <a:gd name="T42" fmla="*/ 2 w 101"/>
                <a:gd name="T43" fmla="*/ 26 h 59"/>
                <a:gd name="T44" fmla="*/ 2 w 101"/>
                <a:gd name="T45" fmla="*/ 26 h 59"/>
                <a:gd name="T46" fmla="*/ 6 w 101"/>
                <a:gd name="T47" fmla="*/ 31 h 59"/>
                <a:gd name="T48" fmla="*/ 17 w 101"/>
                <a:gd name="T49" fmla="*/ 42 h 59"/>
                <a:gd name="T50" fmla="*/ 25 w 101"/>
                <a:gd name="T51" fmla="*/ 47 h 59"/>
                <a:gd name="T52" fmla="*/ 33 w 101"/>
                <a:gd name="T53" fmla="*/ 52 h 59"/>
                <a:gd name="T54" fmla="*/ 42 w 101"/>
                <a:gd name="T55" fmla="*/ 57 h 59"/>
                <a:gd name="T56" fmla="*/ 51 w 101"/>
                <a:gd name="T57" fmla="*/ 59 h 59"/>
                <a:gd name="T58" fmla="*/ 51 w 101"/>
                <a:gd name="T59" fmla="*/ 59 h 59"/>
                <a:gd name="T60" fmla="*/ 59 w 101"/>
                <a:gd name="T61" fmla="*/ 59 h 59"/>
                <a:gd name="T62" fmla="*/ 59 w 101"/>
                <a:gd name="T63" fmla="*/ 59 h 59"/>
                <a:gd name="T64" fmla="*/ 66 w 101"/>
                <a:gd name="T65" fmla="*/ 59 h 59"/>
                <a:gd name="T66" fmla="*/ 74 w 101"/>
                <a:gd name="T67" fmla="*/ 58 h 59"/>
                <a:gd name="T68" fmla="*/ 86 w 101"/>
                <a:gd name="T69" fmla="*/ 54 h 59"/>
                <a:gd name="T70" fmla="*/ 96 w 101"/>
                <a:gd name="T71" fmla="*/ 50 h 59"/>
                <a:gd name="T72" fmla="*/ 98 w 101"/>
                <a:gd name="T73" fmla="*/ 48 h 59"/>
                <a:gd name="T74" fmla="*/ 98 w 101"/>
                <a:gd name="T75" fmla="*/ 48 h 59"/>
                <a:gd name="T76" fmla="*/ 101 w 101"/>
                <a:gd name="T77" fmla="*/ 44 h 59"/>
                <a:gd name="T78" fmla="*/ 100 w 101"/>
                <a:gd name="T79" fmla="*/ 40 h 59"/>
                <a:gd name="T80" fmla="*/ 100 w 101"/>
                <a:gd name="T8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59">
                  <a:moveTo>
                    <a:pt x="100" y="40"/>
                  </a:moveTo>
                  <a:lnTo>
                    <a:pt x="100" y="40"/>
                  </a:lnTo>
                  <a:lnTo>
                    <a:pt x="97" y="34"/>
                  </a:lnTo>
                  <a:lnTo>
                    <a:pt x="89" y="22"/>
                  </a:lnTo>
                  <a:lnTo>
                    <a:pt x="82" y="14"/>
                  </a:lnTo>
                  <a:lnTo>
                    <a:pt x="76" y="8"/>
                  </a:lnTo>
                  <a:lnTo>
                    <a:pt x="68" y="3"/>
                  </a:lnTo>
                  <a:lnTo>
                    <a:pt x="59" y="0"/>
                  </a:lnTo>
                  <a:lnTo>
                    <a:pt x="59" y="0"/>
                  </a:lnTo>
                  <a:lnTo>
                    <a:pt x="51" y="0"/>
                  </a:lnTo>
                  <a:lnTo>
                    <a:pt x="51" y="0"/>
                  </a:lnTo>
                  <a:lnTo>
                    <a:pt x="42" y="1"/>
                  </a:lnTo>
                  <a:lnTo>
                    <a:pt x="33" y="3"/>
                  </a:lnTo>
                  <a:lnTo>
                    <a:pt x="25" y="5"/>
                  </a:lnTo>
                  <a:lnTo>
                    <a:pt x="18" y="10"/>
                  </a:lnTo>
                  <a:lnTo>
                    <a:pt x="7" y="15"/>
                  </a:lnTo>
                  <a:lnTo>
                    <a:pt x="2" y="19"/>
                  </a:lnTo>
                  <a:lnTo>
                    <a:pt x="2" y="19"/>
                  </a:lnTo>
                  <a:lnTo>
                    <a:pt x="0" y="20"/>
                  </a:lnTo>
                  <a:lnTo>
                    <a:pt x="0" y="22"/>
                  </a:lnTo>
                  <a:lnTo>
                    <a:pt x="0" y="24"/>
                  </a:lnTo>
                  <a:lnTo>
                    <a:pt x="2" y="26"/>
                  </a:lnTo>
                  <a:lnTo>
                    <a:pt x="2" y="26"/>
                  </a:lnTo>
                  <a:lnTo>
                    <a:pt x="6" y="31"/>
                  </a:lnTo>
                  <a:lnTo>
                    <a:pt x="17" y="42"/>
                  </a:lnTo>
                  <a:lnTo>
                    <a:pt x="25" y="47"/>
                  </a:lnTo>
                  <a:lnTo>
                    <a:pt x="33" y="52"/>
                  </a:lnTo>
                  <a:lnTo>
                    <a:pt x="42" y="57"/>
                  </a:lnTo>
                  <a:lnTo>
                    <a:pt x="51" y="59"/>
                  </a:lnTo>
                  <a:lnTo>
                    <a:pt x="51" y="59"/>
                  </a:lnTo>
                  <a:lnTo>
                    <a:pt x="59" y="59"/>
                  </a:lnTo>
                  <a:lnTo>
                    <a:pt x="59" y="59"/>
                  </a:lnTo>
                  <a:lnTo>
                    <a:pt x="66" y="59"/>
                  </a:lnTo>
                  <a:lnTo>
                    <a:pt x="74" y="58"/>
                  </a:lnTo>
                  <a:lnTo>
                    <a:pt x="86" y="54"/>
                  </a:lnTo>
                  <a:lnTo>
                    <a:pt x="96" y="50"/>
                  </a:lnTo>
                  <a:lnTo>
                    <a:pt x="98" y="48"/>
                  </a:lnTo>
                  <a:lnTo>
                    <a:pt x="98" y="48"/>
                  </a:lnTo>
                  <a:lnTo>
                    <a:pt x="101" y="44"/>
                  </a:lnTo>
                  <a:lnTo>
                    <a:pt x="100" y="40"/>
                  </a:lnTo>
                  <a:lnTo>
                    <a:pt x="10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278"/>
            <p:cNvSpPr>
              <a:spLocks/>
            </p:cNvSpPr>
            <p:nvPr/>
          </p:nvSpPr>
          <p:spPr bwMode="auto">
            <a:xfrm>
              <a:off x="2554288" y="3538538"/>
              <a:ext cx="47625" cy="79375"/>
            </a:xfrm>
            <a:custGeom>
              <a:avLst/>
              <a:gdLst>
                <a:gd name="T0" fmla="*/ 0 w 59"/>
                <a:gd name="T1" fmla="*/ 44 h 101"/>
                <a:gd name="T2" fmla="*/ 0 w 59"/>
                <a:gd name="T3" fmla="*/ 44 h 101"/>
                <a:gd name="T4" fmla="*/ 2 w 59"/>
                <a:gd name="T5" fmla="*/ 55 h 101"/>
                <a:gd name="T6" fmla="*/ 3 w 59"/>
                <a:gd name="T7" fmla="*/ 64 h 101"/>
                <a:gd name="T8" fmla="*/ 6 w 59"/>
                <a:gd name="T9" fmla="*/ 74 h 101"/>
                <a:gd name="T10" fmla="*/ 10 w 59"/>
                <a:gd name="T11" fmla="*/ 82 h 101"/>
                <a:gd name="T12" fmla="*/ 18 w 59"/>
                <a:gd name="T13" fmla="*/ 94 h 101"/>
                <a:gd name="T14" fmla="*/ 22 w 59"/>
                <a:gd name="T15" fmla="*/ 99 h 101"/>
                <a:gd name="T16" fmla="*/ 22 w 59"/>
                <a:gd name="T17" fmla="*/ 99 h 101"/>
                <a:gd name="T18" fmla="*/ 23 w 59"/>
                <a:gd name="T19" fmla="*/ 101 h 101"/>
                <a:gd name="T20" fmla="*/ 26 w 59"/>
                <a:gd name="T21" fmla="*/ 101 h 101"/>
                <a:gd name="T22" fmla="*/ 26 w 59"/>
                <a:gd name="T23" fmla="*/ 101 h 101"/>
                <a:gd name="T24" fmla="*/ 30 w 59"/>
                <a:gd name="T25" fmla="*/ 99 h 101"/>
                <a:gd name="T26" fmla="*/ 30 w 59"/>
                <a:gd name="T27" fmla="*/ 99 h 101"/>
                <a:gd name="T28" fmla="*/ 34 w 59"/>
                <a:gd name="T29" fmla="*/ 95 h 101"/>
                <a:gd name="T30" fmla="*/ 43 w 59"/>
                <a:gd name="T31" fmla="*/ 84 h 101"/>
                <a:gd name="T32" fmla="*/ 49 w 59"/>
                <a:gd name="T33" fmla="*/ 76 h 101"/>
                <a:gd name="T34" fmla="*/ 54 w 59"/>
                <a:gd name="T35" fmla="*/ 68 h 101"/>
                <a:gd name="T36" fmla="*/ 57 w 59"/>
                <a:gd name="T37" fmla="*/ 59 h 101"/>
                <a:gd name="T38" fmla="*/ 59 w 59"/>
                <a:gd name="T39" fmla="*/ 48 h 101"/>
                <a:gd name="T40" fmla="*/ 59 w 59"/>
                <a:gd name="T41" fmla="*/ 48 h 101"/>
                <a:gd name="T42" fmla="*/ 59 w 59"/>
                <a:gd name="T43" fmla="*/ 40 h 101"/>
                <a:gd name="T44" fmla="*/ 58 w 59"/>
                <a:gd name="T45" fmla="*/ 32 h 101"/>
                <a:gd name="T46" fmla="*/ 53 w 59"/>
                <a:gd name="T47" fmla="*/ 17 h 101"/>
                <a:gd name="T48" fmla="*/ 49 w 59"/>
                <a:gd name="T49" fmla="*/ 7 h 101"/>
                <a:gd name="T50" fmla="*/ 46 w 59"/>
                <a:gd name="T51" fmla="*/ 2 h 101"/>
                <a:gd name="T52" fmla="*/ 46 w 59"/>
                <a:gd name="T53" fmla="*/ 2 h 101"/>
                <a:gd name="T54" fmla="*/ 42 w 59"/>
                <a:gd name="T55" fmla="*/ 0 h 101"/>
                <a:gd name="T56" fmla="*/ 41 w 59"/>
                <a:gd name="T57" fmla="*/ 0 h 101"/>
                <a:gd name="T58" fmla="*/ 38 w 59"/>
                <a:gd name="T59" fmla="*/ 1 h 101"/>
                <a:gd name="T60" fmla="*/ 38 w 59"/>
                <a:gd name="T61" fmla="*/ 1 h 101"/>
                <a:gd name="T62" fmla="*/ 32 w 59"/>
                <a:gd name="T63" fmla="*/ 4 h 101"/>
                <a:gd name="T64" fmla="*/ 20 w 59"/>
                <a:gd name="T65" fmla="*/ 13 h 101"/>
                <a:gd name="T66" fmla="*/ 14 w 59"/>
                <a:gd name="T67" fmla="*/ 20 h 101"/>
                <a:gd name="T68" fmla="*/ 7 w 59"/>
                <a:gd name="T69" fmla="*/ 27 h 101"/>
                <a:gd name="T70" fmla="*/ 3 w 59"/>
                <a:gd name="T71" fmla="*/ 35 h 101"/>
                <a:gd name="T72" fmla="*/ 0 w 59"/>
                <a:gd name="T73" fmla="*/ 44 h 101"/>
                <a:gd name="T74" fmla="*/ 0 w 59"/>
                <a:gd name="T75" fmla="*/ 4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 h="101">
                  <a:moveTo>
                    <a:pt x="0" y="44"/>
                  </a:moveTo>
                  <a:lnTo>
                    <a:pt x="0" y="44"/>
                  </a:lnTo>
                  <a:lnTo>
                    <a:pt x="2" y="55"/>
                  </a:lnTo>
                  <a:lnTo>
                    <a:pt x="3" y="64"/>
                  </a:lnTo>
                  <a:lnTo>
                    <a:pt x="6" y="74"/>
                  </a:lnTo>
                  <a:lnTo>
                    <a:pt x="10" y="82"/>
                  </a:lnTo>
                  <a:lnTo>
                    <a:pt x="18" y="94"/>
                  </a:lnTo>
                  <a:lnTo>
                    <a:pt x="22" y="99"/>
                  </a:lnTo>
                  <a:lnTo>
                    <a:pt x="22" y="99"/>
                  </a:lnTo>
                  <a:lnTo>
                    <a:pt x="23" y="101"/>
                  </a:lnTo>
                  <a:lnTo>
                    <a:pt x="26" y="101"/>
                  </a:lnTo>
                  <a:lnTo>
                    <a:pt x="26" y="101"/>
                  </a:lnTo>
                  <a:lnTo>
                    <a:pt x="30" y="99"/>
                  </a:lnTo>
                  <a:lnTo>
                    <a:pt x="30" y="99"/>
                  </a:lnTo>
                  <a:lnTo>
                    <a:pt x="34" y="95"/>
                  </a:lnTo>
                  <a:lnTo>
                    <a:pt x="43" y="84"/>
                  </a:lnTo>
                  <a:lnTo>
                    <a:pt x="49" y="76"/>
                  </a:lnTo>
                  <a:lnTo>
                    <a:pt x="54" y="68"/>
                  </a:lnTo>
                  <a:lnTo>
                    <a:pt x="57" y="59"/>
                  </a:lnTo>
                  <a:lnTo>
                    <a:pt x="59" y="48"/>
                  </a:lnTo>
                  <a:lnTo>
                    <a:pt x="59" y="48"/>
                  </a:lnTo>
                  <a:lnTo>
                    <a:pt x="59" y="40"/>
                  </a:lnTo>
                  <a:lnTo>
                    <a:pt x="58" y="32"/>
                  </a:lnTo>
                  <a:lnTo>
                    <a:pt x="53" y="17"/>
                  </a:lnTo>
                  <a:lnTo>
                    <a:pt x="49" y="7"/>
                  </a:lnTo>
                  <a:lnTo>
                    <a:pt x="46" y="2"/>
                  </a:lnTo>
                  <a:lnTo>
                    <a:pt x="46" y="2"/>
                  </a:lnTo>
                  <a:lnTo>
                    <a:pt x="42" y="0"/>
                  </a:lnTo>
                  <a:lnTo>
                    <a:pt x="41" y="0"/>
                  </a:lnTo>
                  <a:lnTo>
                    <a:pt x="38" y="1"/>
                  </a:lnTo>
                  <a:lnTo>
                    <a:pt x="38" y="1"/>
                  </a:lnTo>
                  <a:lnTo>
                    <a:pt x="32" y="4"/>
                  </a:lnTo>
                  <a:lnTo>
                    <a:pt x="20" y="13"/>
                  </a:lnTo>
                  <a:lnTo>
                    <a:pt x="14" y="20"/>
                  </a:lnTo>
                  <a:lnTo>
                    <a:pt x="7" y="27"/>
                  </a:lnTo>
                  <a:lnTo>
                    <a:pt x="3" y="35"/>
                  </a:lnTo>
                  <a:lnTo>
                    <a:pt x="0" y="44"/>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4" name="Freeform 279"/>
            <p:cNvSpPr>
              <a:spLocks/>
            </p:cNvSpPr>
            <p:nvPr/>
          </p:nvSpPr>
          <p:spPr bwMode="auto">
            <a:xfrm>
              <a:off x="2436813" y="3521075"/>
              <a:ext cx="60325" cy="49213"/>
            </a:xfrm>
            <a:custGeom>
              <a:avLst/>
              <a:gdLst>
                <a:gd name="T0" fmla="*/ 74 w 77"/>
                <a:gd name="T1" fmla="*/ 58 h 62"/>
                <a:gd name="T2" fmla="*/ 74 w 77"/>
                <a:gd name="T3" fmla="*/ 58 h 62"/>
                <a:gd name="T4" fmla="*/ 77 w 77"/>
                <a:gd name="T5" fmla="*/ 55 h 62"/>
                <a:gd name="T6" fmla="*/ 77 w 77"/>
                <a:gd name="T7" fmla="*/ 51 h 62"/>
                <a:gd name="T8" fmla="*/ 77 w 77"/>
                <a:gd name="T9" fmla="*/ 51 h 62"/>
                <a:gd name="T10" fmla="*/ 77 w 77"/>
                <a:gd name="T11" fmla="*/ 47 h 62"/>
                <a:gd name="T12" fmla="*/ 73 w 77"/>
                <a:gd name="T13" fmla="*/ 38 h 62"/>
                <a:gd name="T14" fmla="*/ 66 w 77"/>
                <a:gd name="T15" fmla="*/ 26 h 62"/>
                <a:gd name="T16" fmla="*/ 62 w 77"/>
                <a:gd name="T17" fmla="*/ 19 h 62"/>
                <a:gd name="T18" fmla="*/ 57 w 77"/>
                <a:gd name="T19" fmla="*/ 14 h 62"/>
                <a:gd name="T20" fmla="*/ 57 w 77"/>
                <a:gd name="T21" fmla="*/ 14 h 62"/>
                <a:gd name="T22" fmla="*/ 50 w 77"/>
                <a:gd name="T23" fmla="*/ 10 h 62"/>
                <a:gd name="T24" fmla="*/ 43 w 77"/>
                <a:gd name="T25" fmla="*/ 7 h 62"/>
                <a:gd name="T26" fmla="*/ 30 w 77"/>
                <a:gd name="T27" fmla="*/ 3 h 62"/>
                <a:gd name="T28" fmla="*/ 18 w 77"/>
                <a:gd name="T29" fmla="*/ 0 h 62"/>
                <a:gd name="T30" fmla="*/ 10 w 77"/>
                <a:gd name="T31" fmla="*/ 0 h 62"/>
                <a:gd name="T32" fmla="*/ 10 w 77"/>
                <a:gd name="T33" fmla="*/ 0 h 62"/>
                <a:gd name="T34" fmla="*/ 4 w 77"/>
                <a:gd name="T35" fmla="*/ 0 h 62"/>
                <a:gd name="T36" fmla="*/ 4 w 77"/>
                <a:gd name="T37" fmla="*/ 0 h 62"/>
                <a:gd name="T38" fmla="*/ 3 w 77"/>
                <a:gd name="T39" fmla="*/ 0 h 62"/>
                <a:gd name="T40" fmla="*/ 2 w 77"/>
                <a:gd name="T41" fmla="*/ 2 h 62"/>
                <a:gd name="T42" fmla="*/ 0 w 77"/>
                <a:gd name="T43" fmla="*/ 4 h 62"/>
                <a:gd name="T44" fmla="*/ 0 w 77"/>
                <a:gd name="T45" fmla="*/ 6 h 62"/>
                <a:gd name="T46" fmla="*/ 0 w 77"/>
                <a:gd name="T47" fmla="*/ 6 h 62"/>
                <a:gd name="T48" fmla="*/ 0 w 77"/>
                <a:gd name="T49" fmla="*/ 11 h 62"/>
                <a:gd name="T50" fmla="*/ 3 w 77"/>
                <a:gd name="T51" fmla="*/ 23 h 62"/>
                <a:gd name="T52" fmla="*/ 6 w 77"/>
                <a:gd name="T53" fmla="*/ 31 h 62"/>
                <a:gd name="T54" fmla="*/ 10 w 77"/>
                <a:gd name="T55" fmla="*/ 39 h 62"/>
                <a:gd name="T56" fmla="*/ 15 w 77"/>
                <a:gd name="T57" fmla="*/ 47 h 62"/>
                <a:gd name="T58" fmla="*/ 22 w 77"/>
                <a:gd name="T59" fmla="*/ 54 h 62"/>
                <a:gd name="T60" fmla="*/ 22 w 77"/>
                <a:gd name="T61" fmla="*/ 54 h 62"/>
                <a:gd name="T62" fmla="*/ 27 w 77"/>
                <a:gd name="T63" fmla="*/ 58 h 62"/>
                <a:gd name="T64" fmla="*/ 32 w 77"/>
                <a:gd name="T65" fmla="*/ 61 h 62"/>
                <a:gd name="T66" fmla="*/ 40 w 77"/>
                <a:gd name="T67" fmla="*/ 62 h 62"/>
                <a:gd name="T68" fmla="*/ 47 w 77"/>
                <a:gd name="T69" fmla="*/ 62 h 62"/>
                <a:gd name="T70" fmla="*/ 47 w 77"/>
                <a:gd name="T71" fmla="*/ 62 h 62"/>
                <a:gd name="T72" fmla="*/ 58 w 77"/>
                <a:gd name="T73" fmla="*/ 61 h 62"/>
                <a:gd name="T74" fmla="*/ 66 w 77"/>
                <a:gd name="T75" fmla="*/ 59 h 62"/>
                <a:gd name="T76" fmla="*/ 74 w 77"/>
                <a:gd name="T77" fmla="*/ 58 h 62"/>
                <a:gd name="T78" fmla="*/ 74 w 77"/>
                <a:gd name="T79"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62">
                  <a:moveTo>
                    <a:pt x="74" y="58"/>
                  </a:moveTo>
                  <a:lnTo>
                    <a:pt x="74" y="58"/>
                  </a:lnTo>
                  <a:lnTo>
                    <a:pt x="77" y="55"/>
                  </a:lnTo>
                  <a:lnTo>
                    <a:pt x="77" y="51"/>
                  </a:lnTo>
                  <a:lnTo>
                    <a:pt x="77" y="51"/>
                  </a:lnTo>
                  <a:lnTo>
                    <a:pt x="77" y="47"/>
                  </a:lnTo>
                  <a:lnTo>
                    <a:pt x="73" y="38"/>
                  </a:lnTo>
                  <a:lnTo>
                    <a:pt x="66" y="26"/>
                  </a:lnTo>
                  <a:lnTo>
                    <a:pt x="62" y="19"/>
                  </a:lnTo>
                  <a:lnTo>
                    <a:pt x="57" y="14"/>
                  </a:lnTo>
                  <a:lnTo>
                    <a:pt x="57" y="14"/>
                  </a:lnTo>
                  <a:lnTo>
                    <a:pt x="50" y="10"/>
                  </a:lnTo>
                  <a:lnTo>
                    <a:pt x="43" y="7"/>
                  </a:lnTo>
                  <a:lnTo>
                    <a:pt x="30" y="3"/>
                  </a:lnTo>
                  <a:lnTo>
                    <a:pt x="18" y="0"/>
                  </a:lnTo>
                  <a:lnTo>
                    <a:pt x="10" y="0"/>
                  </a:lnTo>
                  <a:lnTo>
                    <a:pt x="10" y="0"/>
                  </a:lnTo>
                  <a:lnTo>
                    <a:pt x="4" y="0"/>
                  </a:lnTo>
                  <a:lnTo>
                    <a:pt x="4" y="0"/>
                  </a:lnTo>
                  <a:lnTo>
                    <a:pt x="3" y="0"/>
                  </a:lnTo>
                  <a:lnTo>
                    <a:pt x="2" y="2"/>
                  </a:lnTo>
                  <a:lnTo>
                    <a:pt x="0" y="4"/>
                  </a:lnTo>
                  <a:lnTo>
                    <a:pt x="0" y="6"/>
                  </a:lnTo>
                  <a:lnTo>
                    <a:pt x="0" y="6"/>
                  </a:lnTo>
                  <a:lnTo>
                    <a:pt x="0" y="11"/>
                  </a:lnTo>
                  <a:lnTo>
                    <a:pt x="3" y="23"/>
                  </a:lnTo>
                  <a:lnTo>
                    <a:pt x="6" y="31"/>
                  </a:lnTo>
                  <a:lnTo>
                    <a:pt x="10" y="39"/>
                  </a:lnTo>
                  <a:lnTo>
                    <a:pt x="15" y="47"/>
                  </a:lnTo>
                  <a:lnTo>
                    <a:pt x="22" y="54"/>
                  </a:lnTo>
                  <a:lnTo>
                    <a:pt x="22" y="54"/>
                  </a:lnTo>
                  <a:lnTo>
                    <a:pt x="27" y="58"/>
                  </a:lnTo>
                  <a:lnTo>
                    <a:pt x="32" y="61"/>
                  </a:lnTo>
                  <a:lnTo>
                    <a:pt x="40" y="62"/>
                  </a:lnTo>
                  <a:lnTo>
                    <a:pt x="47" y="62"/>
                  </a:lnTo>
                  <a:lnTo>
                    <a:pt x="47" y="62"/>
                  </a:lnTo>
                  <a:lnTo>
                    <a:pt x="58" y="61"/>
                  </a:lnTo>
                  <a:lnTo>
                    <a:pt x="66" y="59"/>
                  </a:lnTo>
                  <a:lnTo>
                    <a:pt x="74" y="58"/>
                  </a:lnTo>
                  <a:lnTo>
                    <a:pt x="74"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5" name="Freeform 280"/>
            <p:cNvSpPr>
              <a:spLocks/>
            </p:cNvSpPr>
            <p:nvPr/>
          </p:nvSpPr>
          <p:spPr bwMode="auto">
            <a:xfrm>
              <a:off x="2530476" y="3460750"/>
              <a:ext cx="44450" cy="66675"/>
            </a:xfrm>
            <a:custGeom>
              <a:avLst/>
              <a:gdLst>
                <a:gd name="T0" fmla="*/ 7 w 57"/>
                <a:gd name="T1" fmla="*/ 83 h 83"/>
                <a:gd name="T2" fmla="*/ 7 w 57"/>
                <a:gd name="T3" fmla="*/ 83 h 83"/>
                <a:gd name="T4" fmla="*/ 8 w 57"/>
                <a:gd name="T5" fmla="*/ 83 h 83"/>
                <a:gd name="T6" fmla="*/ 8 w 57"/>
                <a:gd name="T7" fmla="*/ 83 h 83"/>
                <a:gd name="T8" fmla="*/ 14 w 57"/>
                <a:gd name="T9" fmla="*/ 82 h 83"/>
                <a:gd name="T10" fmla="*/ 25 w 57"/>
                <a:gd name="T11" fmla="*/ 78 h 83"/>
                <a:gd name="T12" fmla="*/ 33 w 57"/>
                <a:gd name="T13" fmla="*/ 74 h 83"/>
                <a:gd name="T14" fmla="*/ 39 w 57"/>
                <a:gd name="T15" fmla="*/ 68 h 83"/>
                <a:gd name="T16" fmla="*/ 46 w 57"/>
                <a:gd name="T17" fmla="*/ 63 h 83"/>
                <a:gd name="T18" fmla="*/ 53 w 57"/>
                <a:gd name="T19" fmla="*/ 55 h 83"/>
                <a:gd name="T20" fmla="*/ 53 w 57"/>
                <a:gd name="T21" fmla="*/ 55 h 83"/>
                <a:gd name="T22" fmla="*/ 55 w 57"/>
                <a:gd name="T23" fmla="*/ 47 h 83"/>
                <a:gd name="T24" fmla="*/ 57 w 57"/>
                <a:gd name="T25" fmla="*/ 39 h 83"/>
                <a:gd name="T26" fmla="*/ 57 w 57"/>
                <a:gd name="T27" fmla="*/ 31 h 83"/>
                <a:gd name="T28" fmla="*/ 55 w 57"/>
                <a:gd name="T29" fmla="*/ 23 h 83"/>
                <a:gd name="T30" fmla="*/ 51 w 57"/>
                <a:gd name="T31" fmla="*/ 9 h 83"/>
                <a:gd name="T32" fmla="*/ 49 w 57"/>
                <a:gd name="T33" fmla="*/ 2 h 83"/>
                <a:gd name="T34" fmla="*/ 49 w 57"/>
                <a:gd name="T35" fmla="*/ 2 h 83"/>
                <a:gd name="T36" fmla="*/ 47 w 57"/>
                <a:gd name="T37" fmla="*/ 1 h 83"/>
                <a:gd name="T38" fmla="*/ 46 w 57"/>
                <a:gd name="T39" fmla="*/ 0 h 83"/>
                <a:gd name="T40" fmla="*/ 45 w 57"/>
                <a:gd name="T41" fmla="*/ 0 h 83"/>
                <a:gd name="T42" fmla="*/ 42 w 57"/>
                <a:gd name="T43" fmla="*/ 0 h 83"/>
                <a:gd name="T44" fmla="*/ 42 w 57"/>
                <a:gd name="T45" fmla="*/ 0 h 83"/>
                <a:gd name="T46" fmla="*/ 38 w 57"/>
                <a:gd name="T47" fmla="*/ 2 h 83"/>
                <a:gd name="T48" fmla="*/ 29 w 57"/>
                <a:gd name="T49" fmla="*/ 6 h 83"/>
                <a:gd name="T50" fmla="*/ 18 w 57"/>
                <a:gd name="T51" fmla="*/ 15 h 83"/>
                <a:gd name="T52" fmla="*/ 12 w 57"/>
                <a:gd name="T53" fmla="*/ 20 h 83"/>
                <a:gd name="T54" fmla="*/ 8 w 57"/>
                <a:gd name="T55" fmla="*/ 27 h 83"/>
                <a:gd name="T56" fmla="*/ 8 w 57"/>
                <a:gd name="T57" fmla="*/ 27 h 83"/>
                <a:gd name="T58" fmla="*/ 4 w 57"/>
                <a:gd name="T59" fmla="*/ 35 h 83"/>
                <a:gd name="T60" fmla="*/ 2 w 57"/>
                <a:gd name="T61" fmla="*/ 43 h 83"/>
                <a:gd name="T62" fmla="*/ 0 w 57"/>
                <a:gd name="T63" fmla="*/ 52 h 83"/>
                <a:gd name="T64" fmla="*/ 0 w 57"/>
                <a:gd name="T65" fmla="*/ 60 h 83"/>
                <a:gd name="T66" fmla="*/ 0 w 57"/>
                <a:gd name="T67" fmla="*/ 74 h 83"/>
                <a:gd name="T68" fmla="*/ 2 w 57"/>
                <a:gd name="T69" fmla="*/ 79 h 83"/>
                <a:gd name="T70" fmla="*/ 2 w 57"/>
                <a:gd name="T71" fmla="*/ 79 h 83"/>
                <a:gd name="T72" fmla="*/ 3 w 57"/>
                <a:gd name="T73" fmla="*/ 82 h 83"/>
                <a:gd name="T74" fmla="*/ 7 w 57"/>
                <a:gd name="T75" fmla="*/ 83 h 83"/>
                <a:gd name="T76" fmla="*/ 7 w 57"/>
                <a:gd name="T7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83">
                  <a:moveTo>
                    <a:pt x="7" y="83"/>
                  </a:moveTo>
                  <a:lnTo>
                    <a:pt x="7" y="83"/>
                  </a:lnTo>
                  <a:lnTo>
                    <a:pt x="8" y="83"/>
                  </a:lnTo>
                  <a:lnTo>
                    <a:pt x="8" y="83"/>
                  </a:lnTo>
                  <a:lnTo>
                    <a:pt x="14" y="82"/>
                  </a:lnTo>
                  <a:lnTo>
                    <a:pt x="25" y="78"/>
                  </a:lnTo>
                  <a:lnTo>
                    <a:pt x="33" y="74"/>
                  </a:lnTo>
                  <a:lnTo>
                    <a:pt x="39" y="68"/>
                  </a:lnTo>
                  <a:lnTo>
                    <a:pt x="46" y="63"/>
                  </a:lnTo>
                  <a:lnTo>
                    <a:pt x="53" y="55"/>
                  </a:lnTo>
                  <a:lnTo>
                    <a:pt x="53" y="55"/>
                  </a:lnTo>
                  <a:lnTo>
                    <a:pt x="55" y="47"/>
                  </a:lnTo>
                  <a:lnTo>
                    <a:pt x="57" y="39"/>
                  </a:lnTo>
                  <a:lnTo>
                    <a:pt x="57" y="31"/>
                  </a:lnTo>
                  <a:lnTo>
                    <a:pt x="55" y="23"/>
                  </a:lnTo>
                  <a:lnTo>
                    <a:pt x="51" y="9"/>
                  </a:lnTo>
                  <a:lnTo>
                    <a:pt x="49" y="2"/>
                  </a:lnTo>
                  <a:lnTo>
                    <a:pt x="49" y="2"/>
                  </a:lnTo>
                  <a:lnTo>
                    <a:pt x="47" y="1"/>
                  </a:lnTo>
                  <a:lnTo>
                    <a:pt x="46" y="0"/>
                  </a:lnTo>
                  <a:lnTo>
                    <a:pt x="45" y="0"/>
                  </a:lnTo>
                  <a:lnTo>
                    <a:pt x="42" y="0"/>
                  </a:lnTo>
                  <a:lnTo>
                    <a:pt x="42" y="0"/>
                  </a:lnTo>
                  <a:lnTo>
                    <a:pt x="38" y="2"/>
                  </a:lnTo>
                  <a:lnTo>
                    <a:pt x="29" y="6"/>
                  </a:lnTo>
                  <a:lnTo>
                    <a:pt x="18" y="15"/>
                  </a:lnTo>
                  <a:lnTo>
                    <a:pt x="12" y="20"/>
                  </a:lnTo>
                  <a:lnTo>
                    <a:pt x="8" y="27"/>
                  </a:lnTo>
                  <a:lnTo>
                    <a:pt x="8" y="27"/>
                  </a:lnTo>
                  <a:lnTo>
                    <a:pt x="4" y="35"/>
                  </a:lnTo>
                  <a:lnTo>
                    <a:pt x="2" y="43"/>
                  </a:lnTo>
                  <a:lnTo>
                    <a:pt x="0" y="52"/>
                  </a:lnTo>
                  <a:lnTo>
                    <a:pt x="0" y="60"/>
                  </a:lnTo>
                  <a:lnTo>
                    <a:pt x="0" y="74"/>
                  </a:lnTo>
                  <a:lnTo>
                    <a:pt x="2" y="79"/>
                  </a:lnTo>
                  <a:lnTo>
                    <a:pt x="2" y="79"/>
                  </a:lnTo>
                  <a:lnTo>
                    <a:pt x="3" y="82"/>
                  </a:lnTo>
                  <a:lnTo>
                    <a:pt x="7" y="83"/>
                  </a:lnTo>
                  <a:lnTo>
                    <a:pt x="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281"/>
            <p:cNvSpPr>
              <a:spLocks/>
            </p:cNvSpPr>
            <p:nvPr/>
          </p:nvSpPr>
          <p:spPr bwMode="auto">
            <a:xfrm>
              <a:off x="2627313" y="3589338"/>
              <a:ext cx="61913" cy="90488"/>
            </a:xfrm>
            <a:custGeom>
              <a:avLst/>
              <a:gdLst>
                <a:gd name="T0" fmla="*/ 67 w 77"/>
                <a:gd name="T1" fmla="*/ 113 h 113"/>
                <a:gd name="T2" fmla="*/ 67 w 77"/>
                <a:gd name="T3" fmla="*/ 113 h 113"/>
                <a:gd name="T4" fmla="*/ 68 w 77"/>
                <a:gd name="T5" fmla="*/ 113 h 113"/>
                <a:gd name="T6" fmla="*/ 68 w 77"/>
                <a:gd name="T7" fmla="*/ 113 h 113"/>
                <a:gd name="T8" fmla="*/ 71 w 77"/>
                <a:gd name="T9" fmla="*/ 113 h 113"/>
                <a:gd name="T10" fmla="*/ 73 w 77"/>
                <a:gd name="T11" fmla="*/ 109 h 113"/>
                <a:gd name="T12" fmla="*/ 73 w 77"/>
                <a:gd name="T13" fmla="*/ 109 h 113"/>
                <a:gd name="T14" fmla="*/ 75 w 77"/>
                <a:gd name="T15" fmla="*/ 104 h 113"/>
                <a:gd name="T16" fmla="*/ 77 w 77"/>
                <a:gd name="T17" fmla="*/ 89 h 113"/>
                <a:gd name="T18" fmla="*/ 77 w 77"/>
                <a:gd name="T19" fmla="*/ 79 h 113"/>
                <a:gd name="T20" fmla="*/ 76 w 77"/>
                <a:gd name="T21" fmla="*/ 70 h 113"/>
                <a:gd name="T22" fmla="*/ 75 w 77"/>
                <a:gd name="T23" fmla="*/ 59 h 113"/>
                <a:gd name="T24" fmla="*/ 71 w 77"/>
                <a:gd name="T25" fmla="*/ 50 h 113"/>
                <a:gd name="T26" fmla="*/ 71 w 77"/>
                <a:gd name="T27" fmla="*/ 50 h 113"/>
                <a:gd name="T28" fmla="*/ 65 w 77"/>
                <a:gd name="T29" fmla="*/ 38 h 113"/>
                <a:gd name="T30" fmla="*/ 57 w 77"/>
                <a:gd name="T31" fmla="*/ 28 h 113"/>
                <a:gd name="T32" fmla="*/ 48 w 77"/>
                <a:gd name="T33" fmla="*/ 20 h 113"/>
                <a:gd name="T34" fmla="*/ 38 w 77"/>
                <a:gd name="T35" fmla="*/ 14 h 113"/>
                <a:gd name="T36" fmla="*/ 22 w 77"/>
                <a:gd name="T37" fmla="*/ 4 h 113"/>
                <a:gd name="T38" fmla="*/ 16 w 77"/>
                <a:gd name="T39" fmla="*/ 0 h 113"/>
                <a:gd name="T40" fmla="*/ 16 w 77"/>
                <a:gd name="T41" fmla="*/ 0 h 113"/>
                <a:gd name="T42" fmla="*/ 10 w 77"/>
                <a:gd name="T43" fmla="*/ 0 h 113"/>
                <a:gd name="T44" fmla="*/ 9 w 77"/>
                <a:gd name="T45" fmla="*/ 2 h 113"/>
                <a:gd name="T46" fmla="*/ 8 w 77"/>
                <a:gd name="T47" fmla="*/ 3 h 113"/>
                <a:gd name="T48" fmla="*/ 8 w 77"/>
                <a:gd name="T49" fmla="*/ 3 h 113"/>
                <a:gd name="T50" fmla="*/ 5 w 77"/>
                <a:gd name="T51" fmla="*/ 11 h 113"/>
                <a:gd name="T52" fmla="*/ 1 w 77"/>
                <a:gd name="T53" fmla="*/ 28 h 113"/>
                <a:gd name="T54" fmla="*/ 0 w 77"/>
                <a:gd name="T55" fmla="*/ 39 h 113"/>
                <a:gd name="T56" fmla="*/ 0 w 77"/>
                <a:gd name="T57" fmla="*/ 51 h 113"/>
                <a:gd name="T58" fmla="*/ 1 w 77"/>
                <a:gd name="T59" fmla="*/ 65 h 113"/>
                <a:gd name="T60" fmla="*/ 6 w 77"/>
                <a:gd name="T61" fmla="*/ 78 h 113"/>
                <a:gd name="T62" fmla="*/ 6 w 77"/>
                <a:gd name="T63" fmla="*/ 78 h 113"/>
                <a:gd name="T64" fmla="*/ 8 w 77"/>
                <a:gd name="T65" fmla="*/ 82 h 113"/>
                <a:gd name="T66" fmla="*/ 12 w 77"/>
                <a:gd name="T67" fmla="*/ 88 h 113"/>
                <a:gd name="T68" fmla="*/ 20 w 77"/>
                <a:gd name="T69" fmla="*/ 94 h 113"/>
                <a:gd name="T70" fmla="*/ 29 w 77"/>
                <a:gd name="T71" fmla="*/ 101 h 113"/>
                <a:gd name="T72" fmla="*/ 40 w 77"/>
                <a:gd name="T73" fmla="*/ 106 h 113"/>
                <a:gd name="T74" fmla="*/ 59 w 77"/>
                <a:gd name="T75" fmla="*/ 112 h 113"/>
                <a:gd name="T76" fmla="*/ 67 w 77"/>
                <a:gd name="T77" fmla="*/ 113 h 113"/>
                <a:gd name="T78" fmla="*/ 67 w 77"/>
                <a:gd name="T7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13">
                  <a:moveTo>
                    <a:pt x="67" y="113"/>
                  </a:moveTo>
                  <a:lnTo>
                    <a:pt x="67" y="113"/>
                  </a:lnTo>
                  <a:lnTo>
                    <a:pt x="68" y="113"/>
                  </a:lnTo>
                  <a:lnTo>
                    <a:pt x="68" y="113"/>
                  </a:lnTo>
                  <a:lnTo>
                    <a:pt x="71" y="113"/>
                  </a:lnTo>
                  <a:lnTo>
                    <a:pt x="73" y="109"/>
                  </a:lnTo>
                  <a:lnTo>
                    <a:pt x="73" y="109"/>
                  </a:lnTo>
                  <a:lnTo>
                    <a:pt x="75" y="104"/>
                  </a:lnTo>
                  <a:lnTo>
                    <a:pt x="77" y="89"/>
                  </a:lnTo>
                  <a:lnTo>
                    <a:pt x="77" y="79"/>
                  </a:lnTo>
                  <a:lnTo>
                    <a:pt x="76" y="70"/>
                  </a:lnTo>
                  <a:lnTo>
                    <a:pt x="75" y="59"/>
                  </a:lnTo>
                  <a:lnTo>
                    <a:pt x="71" y="50"/>
                  </a:lnTo>
                  <a:lnTo>
                    <a:pt x="71" y="50"/>
                  </a:lnTo>
                  <a:lnTo>
                    <a:pt x="65" y="38"/>
                  </a:lnTo>
                  <a:lnTo>
                    <a:pt x="57" y="28"/>
                  </a:lnTo>
                  <a:lnTo>
                    <a:pt x="48" y="20"/>
                  </a:lnTo>
                  <a:lnTo>
                    <a:pt x="38" y="14"/>
                  </a:lnTo>
                  <a:lnTo>
                    <a:pt x="22" y="4"/>
                  </a:lnTo>
                  <a:lnTo>
                    <a:pt x="16" y="0"/>
                  </a:lnTo>
                  <a:lnTo>
                    <a:pt x="16" y="0"/>
                  </a:lnTo>
                  <a:lnTo>
                    <a:pt x="10" y="0"/>
                  </a:lnTo>
                  <a:lnTo>
                    <a:pt x="9" y="2"/>
                  </a:lnTo>
                  <a:lnTo>
                    <a:pt x="8" y="3"/>
                  </a:lnTo>
                  <a:lnTo>
                    <a:pt x="8" y="3"/>
                  </a:lnTo>
                  <a:lnTo>
                    <a:pt x="5" y="11"/>
                  </a:lnTo>
                  <a:lnTo>
                    <a:pt x="1" y="28"/>
                  </a:lnTo>
                  <a:lnTo>
                    <a:pt x="0" y="39"/>
                  </a:lnTo>
                  <a:lnTo>
                    <a:pt x="0" y="51"/>
                  </a:lnTo>
                  <a:lnTo>
                    <a:pt x="1" y="65"/>
                  </a:lnTo>
                  <a:lnTo>
                    <a:pt x="6" y="78"/>
                  </a:lnTo>
                  <a:lnTo>
                    <a:pt x="6" y="78"/>
                  </a:lnTo>
                  <a:lnTo>
                    <a:pt x="8" y="82"/>
                  </a:lnTo>
                  <a:lnTo>
                    <a:pt x="12" y="88"/>
                  </a:lnTo>
                  <a:lnTo>
                    <a:pt x="20" y="94"/>
                  </a:lnTo>
                  <a:lnTo>
                    <a:pt x="29" y="101"/>
                  </a:lnTo>
                  <a:lnTo>
                    <a:pt x="40" y="106"/>
                  </a:lnTo>
                  <a:lnTo>
                    <a:pt x="59" y="112"/>
                  </a:lnTo>
                  <a:lnTo>
                    <a:pt x="67" y="113"/>
                  </a:lnTo>
                  <a:lnTo>
                    <a:pt x="67"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4" name="Group 43"/>
          <p:cNvGrpSpPr>
            <a:grpSpLocks noChangeAspect="1"/>
          </p:cNvGrpSpPr>
          <p:nvPr/>
        </p:nvGrpSpPr>
        <p:grpSpPr>
          <a:xfrm>
            <a:off x="172276" y="2128545"/>
            <a:ext cx="412750" cy="433388"/>
            <a:chOff x="4222751" y="1792288"/>
            <a:chExt cx="222250" cy="233363"/>
          </a:xfrm>
          <a:solidFill>
            <a:schemeClr val="accent6">
              <a:lumMod val="75000"/>
            </a:schemeClr>
          </a:solidFill>
        </p:grpSpPr>
        <p:sp>
          <p:nvSpPr>
            <p:cNvPr id="45" name="Freeform 182"/>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6" name="Freeform 183"/>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7" name="Freeform 184"/>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185"/>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9" name="Group 48"/>
          <p:cNvGrpSpPr>
            <a:grpSpLocks noChangeAspect="1"/>
          </p:cNvGrpSpPr>
          <p:nvPr/>
        </p:nvGrpSpPr>
        <p:grpSpPr>
          <a:xfrm>
            <a:off x="195771" y="5847993"/>
            <a:ext cx="411480" cy="398781"/>
            <a:chOff x="5103813" y="2625725"/>
            <a:chExt cx="257175" cy="249238"/>
          </a:xfrm>
          <a:solidFill>
            <a:schemeClr val="accent6">
              <a:lumMod val="75000"/>
            </a:schemeClr>
          </a:solidFill>
        </p:grpSpPr>
        <p:sp>
          <p:nvSpPr>
            <p:cNvPr id="50" name="Freeform 355"/>
            <p:cNvSpPr>
              <a:spLocks/>
            </p:cNvSpPr>
            <p:nvPr/>
          </p:nvSpPr>
          <p:spPr bwMode="auto">
            <a:xfrm>
              <a:off x="5284788" y="2833688"/>
              <a:ext cx="60325" cy="41275"/>
            </a:xfrm>
            <a:custGeom>
              <a:avLst/>
              <a:gdLst>
                <a:gd name="T0" fmla="*/ 0 w 75"/>
                <a:gd name="T1" fmla="*/ 0 h 54"/>
                <a:gd name="T2" fmla="*/ 0 w 75"/>
                <a:gd name="T3" fmla="*/ 49 h 54"/>
                <a:gd name="T4" fmla="*/ 0 w 75"/>
                <a:gd name="T5" fmla="*/ 49 h 54"/>
                <a:gd name="T6" fmla="*/ 0 w 75"/>
                <a:gd name="T7" fmla="*/ 51 h 54"/>
                <a:gd name="T8" fmla="*/ 3 w 75"/>
                <a:gd name="T9" fmla="*/ 54 h 54"/>
                <a:gd name="T10" fmla="*/ 3 w 75"/>
                <a:gd name="T11" fmla="*/ 54 h 54"/>
                <a:gd name="T12" fmla="*/ 5 w 75"/>
                <a:gd name="T13" fmla="*/ 54 h 54"/>
                <a:gd name="T14" fmla="*/ 8 w 75"/>
                <a:gd name="T15" fmla="*/ 54 h 54"/>
                <a:gd name="T16" fmla="*/ 37 w 75"/>
                <a:gd name="T17" fmla="*/ 34 h 54"/>
                <a:gd name="T18" fmla="*/ 67 w 75"/>
                <a:gd name="T19" fmla="*/ 54 h 54"/>
                <a:gd name="T20" fmla="*/ 67 w 75"/>
                <a:gd name="T21" fmla="*/ 54 h 54"/>
                <a:gd name="T22" fmla="*/ 70 w 75"/>
                <a:gd name="T23" fmla="*/ 54 h 54"/>
                <a:gd name="T24" fmla="*/ 70 w 75"/>
                <a:gd name="T25" fmla="*/ 54 h 54"/>
                <a:gd name="T26" fmla="*/ 72 w 75"/>
                <a:gd name="T27" fmla="*/ 54 h 54"/>
                <a:gd name="T28" fmla="*/ 72 w 75"/>
                <a:gd name="T29" fmla="*/ 54 h 54"/>
                <a:gd name="T30" fmla="*/ 74 w 75"/>
                <a:gd name="T31" fmla="*/ 51 h 54"/>
                <a:gd name="T32" fmla="*/ 75 w 75"/>
                <a:gd name="T33" fmla="*/ 49 h 54"/>
                <a:gd name="T34" fmla="*/ 75 w 75"/>
                <a:gd name="T35" fmla="*/ 0 h 54"/>
                <a:gd name="T36" fmla="*/ 75 w 75"/>
                <a:gd name="T37" fmla="*/ 0 h 54"/>
                <a:gd name="T38" fmla="*/ 67 w 75"/>
                <a:gd name="T39" fmla="*/ 4 h 54"/>
                <a:gd name="T40" fmla="*/ 58 w 75"/>
                <a:gd name="T41" fmla="*/ 8 h 54"/>
                <a:gd name="T42" fmla="*/ 47 w 75"/>
                <a:gd name="T43" fmla="*/ 10 h 54"/>
                <a:gd name="T44" fmla="*/ 37 w 75"/>
                <a:gd name="T45" fmla="*/ 11 h 54"/>
                <a:gd name="T46" fmla="*/ 37 w 75"/>
                <a:gd name="T47" fmla="*/ 11 h 54"/>
                <a:gd name="T48" fmla="*/ 27 w 75"/>
                <a:gd name="T49" fmla="*/ 10 h 54"/>
                <a:gd name="T50" fmla="*/ 17 w 75"/>
                <a:gd name="T51" fmla="*/ 8 h 54"/>
                <a:gd name="T52" fmla="*/ 8 w 75"/>
                <a:gd name="T53" fmla="*/ 4 h 54"/>
                <a:gd name="T54" fmla="*/ 0 w 75"/>
                <a:gd name="T55" fmla="*/ 0 h 54"/>
                <a:gd name="T56" fmla="*/ 0 w 75"/>
                <a:gd name="T5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54">
                  <a:moveTo>
                    <a:pt x="0" y="0"/>
                  </a:moveTo>
                  <a:lnTo>
                    <a:pt x="0" y="49"/>
                  </a:lnTo>
                  <a:lnTo>
                    <a:pt x="0" y="49"/>
                  </a:lnTo>
                  <a:lnTo>
                    <a:pt x="0" y="51"/>
                  </a:lnTo>
                  <a:lnTo>
                    <a:pt x="3" y="54"/>
                  </a:lnTo>
                  <a:lnTo>
                    <a:pt x="3" y="54"/>
                  </a:lnTo>
                  <a:lnTo>
                    <a:pt x="5" y="54"/>
                  </a:lnTo>
                  <a:lnTo>
                    <a:pt x="8" y="54"/>
                  </a:lnTo>
                  <a:lnTo>
                    <a:pt x="37" y="34"/>
                  </a:lnTo>
                  <a:lnTo>
                    <a:pt x="67" y="54"/>
                  </a:lnTo>
                  <a:lnTo>
                    <a:pt x="67" y="54"/>
                  </a:lnTo>
                  <a:lnTo>
                    <a:pt x="70" y="54"/>
                  </a:lnTo>
                  <a:lnTo>
                    <a:pt x="70" y="54"/>
                  </a:lnTo>
                  <a:lnTo>
                    <a:pt x="72" y="54"/>
                  </a:lnTo>
                  <a:lnTo>
                    <a:pt x="72" y="54"/>
                  </a:lnTo>
                  <a:lnTo>
                    <a:pt x="74" y="51"/>
                  </a:lnTo>
                  <a:lnTo>
                    <a:pt x="75" y="49"/>
                  </a:lnTo>
                  <a:lnTo>
                    <a:pt x="75" y="0"/>
                  </a:lnTo>
                  <a:lnTo>
                    <a:pt x="75" y="0"/>
                  </a:lnTo>
                  <a:lnTo>
                    <a:pt x="67" y="4"/>
                  </a:lnTo>
                  <a:lnTo>
                    <a:pt x="58" y="8"/>
                  </a:lnTo>
                  <a:lnTo>
                    <a:pt x="47" y="10"/>
                  </a:lnTo>
                  <a:lnTo>
                    <a:pt x="37" y="11"/>
                  </a:lnTo>
                  <a:lnTo>
                    <a:pt x="37" y="11"/>
                  </a:lnTo>
                  <a:lnTo>
                    <a:pt x="27" y="10"/>
                  </a:lnTo>
                  <a:lnTo>
                    <a:pt x="17" y="8"/>
                  </a:lnTo>
                  <a:lnTo>
                    <a:pt x="8"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356"/>
            <p:cNvSpPr>
              <a:spLocks/>
            </p:cNvSpPr>
            <p:nvPr/>
          </p:nvSpPr>
          <p:spPr bwMode="auto">
            <a:xfrm>
              <a:off x="5265738" y="2738438"/>
              <a:ext cx="95250" cy="95250"/>
            </a:xfrm>
            <a:custGeom>
              <a:avLst/>
              <a:gdLst>
                <a:gd name="T0" fmla="*/ 60 w 120"/>
                <a:gd name="T1" fmla="*/ 0 h 119"/>
                <a:gd name="T2" fmla="*/ 60 w 120"/>
                <a:gd name="T3" fmla="*/ 0 h 119"/>
                <a:gd name="T4" fmla="*/ 48 w 120"/>
                <a:gd name="T5" fmla="*/ 1 h 119"/>
                <a:gd name="T6" fmla="*/ 38 w 120"/>
                <a:gd name="T7" fmla="*/ 5 h 119"/>
                <a:gd name="T8" fmla="*/ 27 w 120"/>
                <a:gd name="T9" fmla="*/ 10 h 119"/>
                <a:gd name="T10" fmla="*/ 17 w 120"/>
                <a:gd name="T11" fmla="*/ 17 h 119"/>
                <a:gd name="T12" fmla="*/ 11 w 120"/>
                <a:gd name="T13" fmla="*/ 27 h 119"/>
                <a:gd name="T14" fmla="*/ 5 w 120"/>
                <a:gd name="T15" fmla="*/ 36 h 119"/>
                <a:gd name="T16" fmla="*/ 1 w 120"/>
                <a:gd name="T17" fmla="*/ 48 h 119"/>
                <a:gd name="T18" fmla="*/ 0 w 120"/>
                <a:gd name="T19" fmla="*/ 60 h 119"/>
                <a:gd name="T20" fmla="*/ 0 w 120"/>
                <a:gd name="T21" fmla="*/ 60 h 119"/>
                <a:gd name="T22" fmla="*/ 1 w 120"/>
                <a:gd name="T23" fmla="*/ 72 h 119"/>
                <a:gd name="T24" fmla="*/ 5 w 120"/>
                <a:gd name="T25" fmla="*/ 83 h 119"/>
                <a:gd name="T26" fmla="*/ 11 w 120"/>
                <a:gd name="T27" fmla="*/ 92 h 119"/>
                <a:gd name="T28" fmla="*/ 17 w 120"/>
                <a:gd name="T29" fmla="*/ 102 h 119"/>
                <a:gd name="T30" fmla="*/ 27 w 120"/>
                <a:gd name="T31" fmla="*/ 108 h 119"/>
                <a:gd name="T32" fmla="*/ 38 w 120"/>
                <a:gd name="T33" fmla="*/ 114 h 119"/>
                <a:gd name="T34" fmla="*/ 48 w 120"/>
                <a:gd name="T35" fmla="*/ 118 h 119"/>
                <a:gd name="T36" fmla="*/ 60 w 120"/>
                <a:gd name="T37" fmla="*/ 119 h 119"/>
                <a:gd name="T38" fmla="*/ 60 w 120"/>
                <a:gd name="T39" fmla="*/ 119 h 119"/>
                <a:gd name="T40" fmla="*/ 73 w 120"/>
                <a:gd name="T41" fmla="*/ 118 h 119"/>
                <a:gd name="T42" fmla="*/ 83 w 120"/>
                <a:gd name="T43" fmla="*/ 114 h 119"/>
                <a:gd name="T44" fmla="*/ 94 w 120"/>
                <a:gd name="T45" fmla="*/ 108 h 119"/>
                <a:gd name="T46" fmla="*/ 102 w 120"/>
                <a:gd name="T47" fmla="*/ 102 h 119"/>
                <a:gd name="T48" fmla="*/ 110 w 120"/>
                <a:gd name="T49" fmla="*/ 92 h 119"/>
                <a:gd name="T50" fmla="*/ 115 w 120"/>
                <a:gd name="T51" fmla="*/ 83 h 119"/>
                <a:gd name="T52" fmla="*/ 118 w 120"/>
                <a:gd name="T53" fmla="*/ 72 h 119"/>
                <a:gd name="T54" fmla="*/ 120 w 120"/>
                <a:gd name="T55" fmla="*/ 60 h 119"/>
                <a:gd name="T56" fmla="*/ 120 w 120"/>
                <a:gd name="T57" fmla="*/ 60 h 119"/>
                <a:gd name="T58" fmla="*/ 118 w 120"/>
                <a:gd name="T59" fmla="*/ 48 h 119"/>
                <a:gd name="T60" fmla="*/ 115 w 120"/>
                <a:gd name="T61" fmla="*/ 36 h 119"/>
                <a:gd name="T62" fmla="*/ 110 w 120"/>
                <a:gd name="T63" fmla="*/ 27 h 119"/>
                <a:gd name="T64" fmla="*/ 102 w 120"/>
                <a:gd name="T65" fmla="*/ 17 h 119"/>
                <a:gd name="T66" fmla="*/ 94 w 120"/>
                <a:gd name="T67" fmla="*/ 10 h 119"/>
                <a:gd name="T68" fmla="*/ 83 w 120"/>
                <a:gd name="T69" fmla="*/ 5 h 119"/>
                <a:gd name="T70" fmla="*/ 73 w 120"/>
                <a:gd name="T71" fmla="*/ 1 h 119"/>
                <a:gd name="T72" fmla="*/ 60 w 120"/>
                <a:gd name="T73" fmla="*/ 0 h 119"/>
                <a:gd name="T74" fmla="*/ 60 w 120"/>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60" y="0"/>
                  </a:moveTo>
                  <a:lnTo>
                    <a:pt x="60" y="0"/>
                  </a:lnTo>
                  <a:lnTo>
                    <a:pt x="48" y="1"/>
                  </a:lnTo>
                  <a:lnTo>
                    <a:pt x="38" y="5"/>
                  </a:lnTo>
                  <a:lnTo>
                    <a:pt x="27" y="10"/>
                  </a:lnTo>
                  <a:lnTo>
                    <a:pt x="17" y="17"/>
                  </a:lnTo>
                  <a:lnTo>
                    <a:pt x="11" y="27"/>
                  </a:lnTo>
                  <a:lnTo>
                    <a:pt x="5" y="36"/>
                  </a:lnTo>
                  <a:lnTo>
                    <a:pt x="1" y="48"/>
                  </a:lnTo>
                  <a:lnTo>
                    <a:pt x="0" y="60"/>
                  </a:lnTo>
                  <a:lnTo>
                    <a:pt x="0" y="60"/>
                  </a:lnTo>
                  <a:lnTo>
                    <a:pt x="1" y="72"/>
                  </a:lnTo>
                  <a:lnTo>
                    <a:pt x="5" y="83"/>
                  </a:lnTo>
                  <a:lnTo>
                    <a:pt x="11" y="92"/>
                  </a:lnTo>
                  <a:lnTo>
                    <a:pt x="17" y="102"/>
                  </a:lnTo>
                  <a:lnTo>
                    <a:pt x="27" y="108"/>
                  </a:lnTo>
                  <a:lnTo>
                    <a:pt x="38" y="114"/>
                  </a:lnTo>
                  <a:lnTo>
                    <a:pt x="48" y="118"/>
                  </a:lnTo>
                  <a:lnTo>
                    <a:pt x="60" y="119"/>
                  </a:lnTo>
                  <a:lnTo>
                    <a:pt x="60" y="119"/>
                  </a:lnTo>
                  <a:lnTo>
                    <a:pt x="73" y="118"/>
                  </a:lnTo>
                  <a:lnTo>
                    <a:pt x="83" y="114"/>
                  </a:lnTo>
                  <a:lnTo>
                    <a:pt x="94" y="108"/>
                  </a:lnTo>
                  <a:lnTo>
                    <a:pt x="102" y="102"/>
                  </a:lnTo>
                  <a:lnTo>
                    <a:pt x="110" y="92"/>
                  </a:lnTo>
                  <a:lnTo>
                    <a:pt x="115" y="83"/>
                  </a:lnTo>
                  <a:lnTo>
                    <a:pt x="118" y="72"/>
                  </a:lnTo>
                  <a:lnTo>
                    <a:pt x="120" y="60"/>
                  </a:lnTo>
                  <a:lnTo>
                    <a:pt x="120" y="60"/>
                  </a:lnTo>
                  <a:lnTo>
                    <a:pt x="118" y="48"/>
                  </a:lnTo>
                  <a:lnTo>
                    <a:pt x="115" y="36"/>
                  </a:lnTo>
                  <a:lnTo>
                    <a:pt x="110" y="27"/>
                  </a:lnTo>
                  <a:lnTo>
                    <a:pt x="102" y="17"/>
                  </a:lnTo>
                  <a:lnTo>
                    <a:pt x="94" y="10"/>
                  </a:lnTo>
                  <a:lnTo>
                    <a:pt x="83" y="5"/>
                  </a:lnTo>
                  <a:lnTo>
                    <a:pt x="73" y="1"/>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2" name="Freeform 357"/>
            <p:cNvSpPr>
              <a:spLocks noEditPoints="1"/>
            </p:cNvSpPr>
            <p:nvPr/>
          </p:nvSpPr>
          <p:spPr bwMode="auto">
            <a:xfrm>
              <a:off x="5103813" y="2625725"/>
              <a:ext cx="241300" cy="233363"/>
            </a:xfrm>
            <a:custGeom>
              <a:avLst/>
              <a:gdLst>
                <a:gd name="T0" fmla="*/ 33 w 304"/>
                <a:gd name="T1" fmla="*/ 103 h 292"/>
                <a:gd name="T2" fmla="*/ 34 w 304"/>
                <a:gd name="T3" fmla="*/ 100 h 292"/>
                <a:gd name="T4" fmla="*/ 37 w 304"/>
                <a:gd name="T5" fmla="*/ 98 h 292"/>
                <a:gd name="T6" fmla="*/ 266 w 304"/>
                <a:gd name="T7" fmla="*/ 98 h 292"/>
                <a:gd name="T8" fmla="*/ 268 w 304"/>
                <a:gd name="T9" fmla="*/ 98 h 292"/>
                <a:gd name="T10" fmla="*/ 272 w 304"/>
                <a:gd name="T11" fmla="*/ 100 h 292"/>
                <a:gd name="T12" fmla="*/ 272 w 304"/>
                <a:gd name="T13" fmla="*/ 130 h 292"/>
                <a:gd name="T14" fmla="*/ 280 w 304"/>
                <a:gd name="T15" fmla="*/ 131 h 292"/>
                <a:gd name="T16" fmla="*/ 297 w 304"/>
                <a:gd name="T17" fmla="*/ 137 h 292"/>
                <a:gd name="T18" fmla="*/ 304 w 304"/>
                <a:gd name="T19" fmla="*/ 71 h 292"/>
                <a:gd name="T20" fmla="*/ 304 w 304"/>
                <a:gd name="T21" fmla="*/ 68 h 292"/>
                <a:gd name="T22" fmla="*/ 301 w 304"/>
                <a:gd name="T23" fmla="*/ 65 h 292"/>
                <a:gd name="T24" fmla="*/ 246 w 304"/>
                <a:gd name="T25" fmla="*/ 65 h 292"/>
                <a:gd name="T26" fmla="*/ 168 w 304"/>
                <a:gd name="T27" fmla="*/ 16 h 292"/>
                <a:gd name="T28" fmla="*/ 164 w 304"/>
                <a:gd name="T29" fmla="*/ 5 h 292"/>
                <a:gd name="T30" fmla="*/ 152 w 304"/>
                <a:gd name="T31" fmla="*/ 0 h 292"/>
                <a:gd name="T32" fmla="*/ 146 w 304"/>
                <a:gd name="T33" fmla="*/ 1 h 292"/>
                <a:gd name="T34" fmla="*/ 137 w 304"/>
                <a:gd name="T35" fmla="*/ 10 h 292"/>
                <a:gd name="T36" fmla="*/ 58 w 304"/>
                <a:gd name="T37" fmla="*/ 65 h 292"/>
                <a:gd name="T38" fmla="*/ 6 w 304"/>
                <a:gd name="T39" fmla="*/ 65 h 292"/>
                <a:gd name="T40" fmla="*/ 2 w 304"/>
                <a:gd name="T41" fmla="*/ 67 h 292"/>
                <a:gd name="T42" fmla="*/ 0 w 304"/>
                <a:gd name="T43" fmla="*/ 71 h 292"/>
                <a:gd name="T44" fmla="*/ 0 w 304"/>
                <a:gd name="T45" fmla="*/ 287 h 292"/>
                <a:gd name="T46" fmla="*/ 2 w 304"/>
                <a:gd name="T47" fmla="*/ 291 h 292"/>
                <a:gd name="T48" fmla="*/ 6 w 304"/>
                <a:gd name="T49" fmla="*/ 292 h 292"/>
                <a:gd name="T50" fmla="*/ 218 w 304"/>
                <a:gd name="T51" fmla="*/ 260 h 292"/>
                <a:gd name="T52" fmla="*/ 38 w 304"/>
                <a:gd name="T53" fmla="*/ 260 h 292"/>
                <a:gd name="T54" fmla="*/ 35 w 304"/>
                <a:gd name="T55" fmla="*/ 259 h 292"/>
                <a:gd name="T56" fmla="*/ 33 w 304"/>
                <a:gd name="T57" fmla="*/ 255 h 292"/>
                <a:gd name="T58" fmla="*/ 140 w 304"/>
                <a:gd name="T59" fmla="*/ 27 h 292"/>
                <a:gd name="T60" fmla="*/ 146 w 304"/>
                <a:gd name="T61" fmla="*/ 31 h 292"/>
                <a:gd name="T62" fmla="*/ 152 w 304"/>
                <a:gd name="T63" fmla="*/ 33 h 292"/>
                <a:gd name="T64" fmla="*/ 156 w 304"/>
                <a:gd name="T65" fmla="*/ 32 h 292"/>
                <a:gd name="T66" fmla="*/ 166 w 304"/>
                <a:gd name="T67" fmla="*/ 27 h 292"/>
                <a:gd name="T68" fmla="*/ 80 w 304"/>
                <a:gd name="T69" fmla="*/ 6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4" h="292">
                  <a:moveTo>
                    <a:pt x="33" y="255"/>
                  </a:moveTo>
                  <a:lnTo>
                    <a:pt x="33" y="103"/>
                  </a:lnTo>
                  <a:lnTo>
                    <a:pt x="33" y="103"/>
                  </a:lnTo>
                  <a:lnTo>
                    <a:pt x="34" y="100"/>
                  </a:lnTo>
                  <a:lnTo>
                    <a:pt x="35" y="99"/>
                  </a:lnTo>
                  <a:lnTo>
                    <a:pt x="37" y="98"/>
                  </a:lnTo>
                  <a:lnTo>
                    <a:pt x="38" y="98"/>
                  </a:lnTo>
                  <a:lnTo>
                    <a:pt x="266" y="98"/>
                  </a:lnTo>
                  <a:lnTo>
                    <a:pt x="266" y="98"/>
                  </a:lnTo>
                  <a:lnTo>
                    <a:pt x="268" y="98"/>
                  </a:lnTo>
                  <a:lnTo>
                    <a:pt x="270" y="99"/>
                  </a:lnTo>
                  <a:lnTo>
                    <a:pt x="272" y="100"/>
                  </a:lnTo>
                  <a:lnTo>
                    <a:pt x="272" y="103"/>
                  </a:lnTo>
                  <a:lnTo>
                    <a:pt x="272" y="130"/>
                  </a:lnTo>
                  <a:lnTo>
                    <a:pt x="272" y="130"/>
                  </a:lnTo>
                  <a:lnTo>
                    <a:pt x="280" y="131"/>
                  </a:lnTo>
                  <a:lnTo>
                    <a:pt x="289" y="134"/>
                  </a:lnTo>
                  <a:lnTo>
                    <a:pt x="297" y="137"/>
                  </a:lnTo>
                  <a:lnTo>
                    <a:pt x="304" y="141"/>
                  </a:lnTo>
                  <a:lnTo>
                    <a:pt x="304" y="71"/>
                  </a:lnTo>
                  <a:lnTo>
                    <a:pt x="304" y="71"/>
                  </a:lnTo>
                  <a:lnTo>
                    <a:pt x="304" y="68"/>
                  </a:lnTo>
                  <a:lnTo>
                    <a:pt x="303" y="67"/>
                  </a:lnTo>
                  <a:lnTo>
                    <a:pt x="301" y="65"/>
                  </a:lnTo>
                  <a:lnTo>
                    <a:pt x="299" y="65"/>
                  </a:lnTo>
                  <a:lnTo>
                    <a:pt x="246" y="65"/>
                  </a:lnTo>
                  <a:lnTo>
                    <a:pt x="168" y="16"/>
                  </a:lnTo>
                  <a:lnTo>
                    <a:pt x="168" y="16"/>
                  </a:lnTo>
                  <a:lnTo>
                    <a:pt x="167" y="10"/>
                  </a:lnTo>
                  <a:lnTo>
                    <a:pt x="164" y="5"/>
                  </a:lnTo>
                  <a:lnTo>
                    <a:pt x="159" y="1"/>
                  </a:lnTo>
                  <a:lnTo>
                    <a:pt x="152" y="0"/>
                  </a:lnTo>
                  <a:lnTo>
                    <a:pt x="152" y="0"/>
                  </a:lnTo>
                  <a:lnTo>
                    <a:pt x="146" y="1"/>
                  </a:lnTo>
                  <a:lnTo>
                    <a:pt x="142" y="5"/>
                  </a:lnTo>
                  <a:lnTo>
                    <a:pt x="137" y="10"/>
                  </a:lnTo>
                  <a:lnTo>
                    <a:pt x="136" y="16"/>
                  </a:lnTo>
                  <a:lnTo>
                    <a:pt x="58" y="65"/>
                  </a:lnTo>
                  <a:lnTo>
                    <a:pt x="6" y="65"/>
                  </a:lnTo>
                  <a:lnTo>
                    <a:pt x="6" y="65"/>
                  </a:lnTo>
                  <a:lnTo>
                    <a:pt x="5" y="65"/>
                  </a:lnTo>
                  <a:lnTo>
                    <a:pt x="2" y="67"/>
                  </a:lnTo>
                  <a:lnTo>
                    <a:pt x="2" y="68"/>
                  </a:lnTo>
                  <a:lnTo>
                    <a:pt x="0" y="71"/>
                  </a:lnTo>
                  <a:lnTo>
                    <a:pt x="0" y="287"/>
                  </a:lnTo>
                  <a:lnTo>
                    <a:pt x="0" y="287"/>
                  </a:lnTo>
                  <a:lnTo>
                    <a:pt x="2" y="290"/>
                  </a:lnTo>
                  <a:lnTo>
                    <a:pt x="2" y="291"/>
                  </a:lnTo>
                  <a:lnTo>
                    <a:pt x="5" y="292"/>
                  </a:lnTo>
                  <a:lnTo>
                    <a:pt x="6" y="292"/>
                  </a:lnTo>
                  <a:lnTo>
                    <a:pt x="218" y="292"/>
                  </a:lnTo>
                  <a:lnTo>
                    <a:pt x="218" y="260"/>
                  </a:lnTo>
                  <a:lnTo>
                    <a:pt x="38" y="260"/>
                  </a:lnTo>
                  <a:lnTo>
                    <a:pt x="38" y="260"/>
                  </a:lnTo>
                  <a:lnTo>
                    <a:pt x="37" y="260"/>
                  </a:lnTo>
                  <a:lnTo>
                    <a:pt x="35" y="259"/>
                  </a:lnTo>
                  <a:lnTo>
                    <a:pt x="34" y="256"/>
                  </a:lnTo>
                  <a:lnTo>
                    <a:pt x="33" y="255"/>
                  </a:lnTo>
                  <a:lnTo>
                    <a:pt x="33" y="255"/>
                  </a:lnTo>
                  <a:close/>
                  <a:moveTo>
                    <a:pt x="140" y="27"/>
                  </a:moveTo>
                  <a:lnTo>
                    <a:pt x="140" y="27"/>
                  </a:lnTo>
                  <a:lnTo>
                    <a:pt x="146" y="31"/>
                  </a:lnTo>
                  <a:lnTo>
                    <a:pt x="148" y="32"/>
                  </a:lnTo>
                  <a:lnTo>
                    <a:pt x="152" y="33"/>
                  </a:lnTo>
                  <a:lnTo>
                    <a:pt x="152" y="33"/>
                  </a:lnTo>
                  <a:lnTo>
                    <a:pt x="156" y="32"/>
                  </a:lnTo>
                  <a:lnTo>
                    <a:pt x="159" y="31"/>
                  </a:lnTo>
                  <a:lnTo>
                    <a:pt x="166" y="27"/>
                  </a:lnTo>
                  <a:lnTo>
                    <a:pt x="226" y="65"/>
                  </a:lnTo>
                  <a:lnTo>
                    <a:pt x="80" y="65"/>
                  </a:lnTo>
                  <a:lnTo>
                    <a:pt x="14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358"/>
            <p:cNvSpPr>
              <a:spLocks/>
            </p:cNvSpPr>
            <p:nvPr/>
          </p:nvSpPr>
          <p:spPr bwMode="auto">
            <a:xfrm>
              <a:off x="5156201" y="2728913"/>
              <a:ext cx="119063" cy="12700"/>
            </a:xfrm>
            <a:custGeom>
              <a:avLst/>
              <a:gdLst>
                <a:gd name="T0" fmla="*/ 151 w 151"/>
                <a:gd name="T1" fmla="*/ 8 h 16"/>
                <a:gd name="T2" fmla="*/ 151 w 151"/>
                <a:gd name="T3" fmla="*/ 8 h 16"/>
                <a:gd name="T4" fmla="*/ 149 w 151"/>
                <a:gd name="T5" fmla="*/ 5 h 16"/>
                <a:gd name="T6" fmla="*/ 148 w 151"/>
                <a:gd name="T7" fmla="*/ 2 h 16"/>
                <a:gd name="T8" fmla="*/ 145 w 151"/>
                <a:gd name="T9" fmla="*/ 1 h 16"/>
                <a:gd name="T10" fmla="*/ 143 w 151"/>
                <a:gd name="T11" fmla="*/ 0 h 16"/>
                <a:gd name="T12" fmla="*/ 8 w 151"/>
                <a:gd name="T13" fmla="*/ 0 h 16"/>
                <a:gd name="T14" fmla="*/ 8 w 151"/>
                <a:gd name="T15" fmla="*/ 0 h 16"/>
                <a:gd name="T16" fmla="*/ 6 w 151"/>
                <a:gd name="T17" fmla="*/ 1 h 16"/>
                <a:gd name="T18" fmla="*/ 3 w 151"/>
                <a:gd name="T19" fmla="*/ 2 h 16"/>
                <a:gd name="T20" fmla="*/ 2 w 151"/>
                <a:gd name="T21" fmla="*/ 5 h 16"/>
                <a:gd name="T22" fmla="*/ 0 w 151"/>
                <a:gd name="T23" fmla="*/ 8 h 16"/>
                <a:gd name="T24" fmla="*/ 0 w 151"/>
                <a:gd name="T25" fmla="*/ 8 h 16"/>
                <a:gd name="T26" fmla="*/ 2 w 151"/>
                <a:gd name="T27" fmla="*/ 12 h 16"/>
                <a:gd name="T28" fmla="*/ 3 w 151"/>
                <a:gd name="T29" fmla="*/ 14 h 16"/>
                <a:gd name="T30" fmla="*/ 6 w 151"/>
                <a:gd name="T31" fmla="*/ 16 h 16"/>
                <a:gd name="T32" fmla="*/ 8 w 151"/>
                <a:gd name="T33" fmla="*/ 16 h 16"/>
                <a:gd name="T34" fmla="*/ 143 w 151"/>
                <a:gd name="T35" fmla="*/ 16 h 16"/>
                <a:gd name="T36" fmla="*/ 143 w 151"/>
                <a:gd name="T37" fmla="*/ 16 h 16"/>
                <a:gd name="T38" fmla="*/ 145 w 151"/>
                <a:gd name="T39" fmla="*/ 16 h 16"/>
                <a:gd name="T40" fmla="*/ 148 w 151"/>
                <a:gd name="T41" fmla="*/ 14 h 16"/>
                <a:gd name="T42" fmla="*/ 149 w 151"/>
                <a:gd name="T43" fmla="*/ 12 h 16"/>
                <a:gd name="T44" fmla="*/ 151 w 151"/>
                <a:gd name="T45" fmla="*/ 8 h 16"/>
                <a:gd name="T46" fmla="*/ 151 w 151"/>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1" h="16">
                  <a:moveTo>
                    <a:pt x="151" y="8"/>
                  </a:moveTo>
                  <a:lnTo>
                    <a:pt x="151" y="8"/>
                  </a:lnTo>
                  <a:lnTo>
                    <a:pt x="149" y="5"/>
                  </a:lnTo>
                  <a:lnTo>
                    <a:pt x="148" y="2"/>
                  </a:lnTo>
                  <a:lnTo>
                    <a:pt x="145" y="1"/>
                  </a:lnTo>
                  <a:lnTo>
                    <a:pt x="143" y="0"/>
                  </a:lnTo>
                  <a:lnTo>
                    <a:pt x="8" y="0"/>
                  </a:lnTo>
                  <a:lnTo>
                    <a:pt x="8" y="0"/>
                  </a:lnTo>
                  <a:lnTo>
                    <a:pt x="6" y="1"/>
                  </a:lnTo>
                  <a:lnTo>
                    <a:pt x="3" y="2"/>
                  </a:lnTo>
                  <a:lnTo>
                    <a:pt x="2" y="5"/>
                  </a:lnTo>
                  <a:lnTo>
                    <a:pt x="0" y="8"/>
                  </a:lnTo>
                  <a:lnTo>
                    <a:pt x="0" y="8"/>
                  </a:lnTo>
                  <a:lnTo>
                    <a:pt x="2" y="12"/>
                  </a:lnTo>
                  <a:lnTo>
                    <a:pt x="3" y="14"/>
                  </a:lnTo>
                  <a:lnTo>
                    <a:pt x="6" y="16"/>
                  </a:lnTo>
                  <a:lnTo>
                    <a:pt x="8" y="16"/>
                  </a:lnTo>
                  <a:lnTo>
                    <a:pt x="143" y="16"/>
                  </a:lnTo>
                  <a:lnTo>
                    <a:pt x="143" y="16"/>
                  </a:lnTo>
                  <a:lnTo>
                    <a:pt x="145" y="16"/>
                  </a:lnTo>
                  <a:lnTo>
                    <a:pt x="148" y="14"/>
                  </a:lnTo>
                  <a:lnTo>
                    <a:pt x="149" y="12"/>
                  </a:lnTo>
                  <a:lnTo>
                    <a:pt x="151" y="8"/>
                  </a:lnTo>
                  <a:lnTo>
                    <a:pt x="15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359"/>
            <p:cNvSpPr>
              <a:spLocks/>
            </p:cNvSpPr>
            <p:nvPr/>
          </p:nvSpPr>
          <p:spPr bwMode="auto">
            <a:xfrm>
              <a:off x="5156201" y="2762250"/>
              <a:ext cx="93663" cy="12700"/>
            </a:xfrm>
            <a:custGeom>
              <a:avLst/>
              <a:gdLst>
                <a:gd name="T0" fmla="*/ 120 w 120"/>
                <a:gd name="T1" fmla="*/ 8 h 16"/>
                <a:gd name="T2" fmla="*/ 120 w 120"/>
                <a:gd name="T3" fmla="*/ 8 h 16"/>
                <a:gd name="T4" fmla="*/ 120 w 120"/>
                <a:gd name="T5" fmla="*/ 5 h 16"/>
                <a:gd name="T6" fmla="*/ 117 w 120"/>
                <a:gd name="T7" fmla="*/ 2 h 16"/>
                <a:gd name="T8" fmla="*/ 116 w 120"/>
                <a:gd name="T9" fmla="*/ 0 h 16"/>
                <a:gd name="T10" fmla="*/ 112 w 120"/>
                <a:gd name="T11" fmla="*/ 0 h 16"/>
                <a:gd name="T12" fmla="*/ 8 w 120"/>
                <a:gd name="T13" fmla="*/ 0 h 16"/>
                <a:gd name="T14" fmla="*/ 8 w 120"/>
                <a:gd name="T15" fmla="*/ 0 h 16"/>
                <a:gd name="T16" fmla="*/ 6 w 120"/>
                <a:gd name="T17" fmla="*/ 0 h 16"/>
                <a:gd name="T18" fmla="*/ 3 w 120"/>
                <a:gd name="T19" fmla="*/ 2 h 16"/>
                <a:gd name="T20" fmla="*/ 2 w 120"/>
                <a:gd name="T21" fmla="*/ 5 h 16"/>
                <a:gd name="T22" fmla="*/ 0 w 120"/>
                <a:gd name="T23" fmla="*/ 8 h 16"/>
                <a:gd name="T24" fmla="*/ 0 w 120"/>
                <a:gd name="T25" fmla="*/ 8 h 16"/>
                <a:gd name="T26" fmla="*/ 2 w 120"/>
                <a:gd name="T27" fmla="*/ 10 h 16"/>
                <a:gd name="T28" fmla="*/ 3 w 120"/>
                <a:gd name="T29" fmla="*/ 13 h 16"/>
                <a:gd name="T30" fmla="*/ 6 w 120"/>
                <a:gd name="T31" fmla="*/ 16 h 16"/>
                <a:gd name="T32" fmla="*/ 8 w 120"/>
                <a:gd name="T33" fmla="*/ 16 h 16"/>
                <a:gd name="T34" fmla="*/ 112 w 120"/>
                <a:gd name="T35" fmla="*/ 16 h 16"/>
                <a:gd name="T36" fmla="*/ 112 w 120"/>
                <a:gd name="T37" fmla="*/ 16 h 16"/>
                <a:gd name="T38" fmla="*/ 116 w 120"/>
                <a:gd name="T39" fmla="*/ 16 h 16"/>
                <a:gd name="T40" fmla="*/ 117 w 120"/>
                <a:gd name="T41" fmla="*/ 13 h 16"/>
                <a:gd name="T42" fmla="*/ 120 w 120"/>
                <a:gd name="T43" fmla="*/ 10 h 16"/>
                <a:gd name="T44" fmla="*/ 120 w 120"/>
                <a:gd name="T45" fmla="*/ 8 h 16"/>
                <a:gd name="T46" fmla="*/ 120 w 120"/>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16">
                  <a:moveTo>
                    <a:pt x="120" y="8"/>
                  </a:moveTo>
                  <a:lnTo>
                    <a:pt x="120" y="8"/>
                  </a:lnTo>
                  <a:lnTo>
                    <a:pt x="120" y="5"/>
                  </a:lnTo>
                  <a:lnTo>
                    <a:pt x="117" y="2"/>
                  </a:lnTo>
                  <a:lnTo>
                    <a:pt x="116" y="0"/>
                  </a:lnTo>
                  <a:lnTo>
                    <a:pt x="112" y="0"/>
                  </a:lnTo>
                  <a:lnTo>
                    <a:pt x="8" y="0"/>
                  </a:lnTo>
                  <a:lnTo>
                    <a:pt x="8" y="0"/>
                  </a:lnTo>
                  <a:lnTo>
                    <a:pt x="6" y="0"/>
                  </a:lnTo>
                  <a:lnTo>
                    <a:pt x="3" y="2"/>
                  </a:lnTo>
                  <a:lnTo>
                    <a:pt x="2" y="5"/>
                  </a:lnTo>
                  <a:lnTo>
                    <a:pt x="0" y="8"/>
                  </a:lnTo>
                  <a:lnTo>
                    <a:pt x="0" y="8"/>
                  </a:lnTo>
                  <a:lnTo>
                    <a:pt x="2" y="10"/>
                  </a:lnTo>
                  <a:lnTo>
                    <a:pt x="3" y="13"/>
                  </a:lnTo>
                  <a:lnTo>
                    <a:pt x="6" y="16"/>
                  </a:lnTo>
                  <a:lnTo>
                    <a:pt x="8" y="16"/>
                  </a:lnTo>
                  <a:lnTo>
                    <a:pt x="112" y="16"/>
                  </a:lnTo>
                  <a:lnTo>
                    <a:pt x="112" y="16"/>
                  </a:lnTo>
                  <a:lnTo>
                    <a:pt x="116" y="16"/>
                  </a:lnTo>
                  <a:lnTo>
                    <a:pt x="117" y="13"/>
                  </a:lnTo>
                  <a:lnTo>
                    <a:pt x="120" y="10"/>
                  </a:lnTo>
                  <a:lnTo>
                    <a:pt x="120" y="8"/>
                  </a:lnTo>
                  <a:lnTo>
                    <a:pt x="12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360"/>
            <p:cNvSpPr>
              <a:spLocks/>
            </p:cNvSpPr>
            <p:nvPr/>
          </p:nvSpPr>
          <p:spPr bwMode="auto">
            <a:xfrm>
              <a:off x="5156201" y="2797175"/>
              <a:ext cx="66675" cy="12700"/>
            </a:xfrm>
            <a:custGeom>
              <a:avLst/>
              <a:gdLst>
                <a:gd name="T0" fmla="*/ 8 w 85"/>
                <a:gd name="T1" fmla="*/ 0 h 16"/>
                <a:gd name="T2" fmla="*/ 8 w 85"/>
                <a:gd name="T3" fmla="*/ 0 h 16"/>
                <a:gd name="T4" fmla="*/ 6 w 85"/>
                <a:gd name="T5" fmla="*/ 0 h 16"/>
                <a:gd name="T6" fmla="*/ 3 w 85"/>
                <a:gd name="T7" fmla="*/ 1 h 16"/>
                <a:gd name="T8" fmla="*/ 2 w 85"/>
                <a:gd name="T9" fmla="*/ 4 h 16"/>
                <a:gd name="T10" fmla="*/ 0 w 85"/>
                <a:gd name="T11" fmla="*/ 8 h 16"/>
                <a:gd name="T12" fmla="*/ 0 w 85"/>
                <a:gd name="T13" fmla="*/ 8 h 16"/>
                <a:gd name="T14" fmla="*/ 2 w 85"/>
                <a:gd name="T15" fmla="*/ 10 h 16"/>
                <a:gd name="T16" fmla="*/ 3 w 85"/>
                <a:gd name="T17" fmla="*/ 13 h 16"/>
                <a:gd name="T18" fmla="*/ 6 w 85"/>
                <a:gd name="T19" fmla="*/ 14 h 16"/>
                <a:gd name="T20" fmla="*/ 8 w 85"/>
                <a:gd name="T21" fmla="*/ 16 h 16"/>
                <a:gd name="T22" fmla="*/ 77 w 85"/>
                <a:gd name="T23" fmla="*/ 16 h 16"/>
                <a:gd name="T24" fmla="*/ 77 w 85"/>
                <a:gd name="T25" fmla="*/ 16 h 16"/>
                <a:gd name="T26" fmla="*/ 81 w 85"/>
                <a:gd name="T27" fmla="*/ 14 h 16"/>
                <a:gd name="T28" fmla="*/ 82 w 85"/>
                <a:gd name="T29" fmla="*/ 13 h 16"/>
                <a:gd name="T30" fmla="*/ 85 w 85"/>
                <a:gd name="T31" fmla="*/ 10 h 16"/>
                <a:gd name="T32" fmla="*/ 85 w 85"/>
                <a:gd name="T33" fmla="*/ 8 h 16"/>
                <a:gd name="T34" fmla="*/ 85 w 85"/>
                <a:gd name="T35" fmla="*/ 8 h 16"/>
                <a:gd name="T36" fmla="*/ 85 w 85"/>
                <a:gd name="T37" fmla="*/ 4 h 16"/>
                <a:gd name="T38" fmla="*/ 82 w 85"/>
                <a:gd name="T39" fmla="*/ 1 h 16"/>
                <a:gd name="T40" fmla="*/ 81 w 85"/>
                <a:gd name="T41" fmla="*/ 0 h 16"/>
                <a:gd name="T42" fmla="*/ 77 w 85"/>
                <a:gd name="T43" fmla="*/ 0 h 16"/>
                <a:gd name="T44" fmla="*/ 8 w 85"/>
                <a:gd name="T4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16">
                  <a:moveTo>
                    <a:pt x="8" y="0"/>
                  </a:moveTo>
                  <a:lnTo>
                    <a:pt x="8" y="0"/>
                  </a:lnTo>
                  <a:lnTo>
                    <a:pt x="6" y="0"/>
                  </a:lnTo>
                  <a:lnTo>
                    <a:pt x="3" y="1"/>
                  </a:lnTo>
                  <a:lnTo>
                    <a:pt x="2" y="4"/>
                  </a:lnTo>
                  <a:lnTo>
                    <a:pt x="0" y="8"/>
                  </a:lnTo>
                  <a:lnTo>
                    <a:pt x="0" y="8"/>
                  </a:lnTo>
                  <a:lnTo>
                    <a:pt x="2" y="10"/>
                  </a:lnTo>
                  <a:lnTo>
                    <a:pt x="3" y="13"/>
                  </a:lnTo>
                  <a:lnTo>
                    <a:pt x="6" y="14"/>
                  </a:lnTo>
                  <a:lnTo>
                    <a:pt x="8" y="16"/>
                  </a:lnTo>
                  <a:lnTo>
                    <a:pt x="77" y="16"/>
                  </a:lnTo>
                  <a:lnTo>
                    <a:pt x="77" y="16"/>
                  </a:lnTo>
                  <a:lnTo>
                    <a:pt x="81" y="14"/>
                  </a:lnTo>
                  <a:lnTo>
                    <a:pt x="82" y="13"/>
                  </a:lnTo>
                  <a:lnTo>
                    <a:pt x="85" y="10"/>
                  </a:lnTo>
                  <a:lnTo>
                    <a:pt x="85" y="8"/>
                  </a:lnTo>
                  <a:lnTo>
                    <a:pt x="85" y="8"/>
                  </a:lnTo>
                  <a:lnTo>
                    <a:pt x="85" y="4"/>
                  </a:lnTo>
                  <a:lnTo>
                    <a:pt x="82" y="1"/>
                  </a:lnTo>
                  <a:lnTo>
                    <a:pt x="81" y="0"/>
                  </a:lnTo>
                  <a:lnTo>
                    <a:pt x="77"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6" name="Group 55"/>
          <p:cNvGrpSpPr>
            <a:grpSpLocks noChangeAspect="1"/>
          </p:cNvGrpSpPr>
          <p:nvPr/>
        </p:nvGrpSpPr>
        <p:grpSpPr>
          <a:xfrm>
            <a:off x="218631" y="3013504"/>
            <a:ext cx="365760" cy="373655"/>
            <a:chOff x="2451101" y="5997575"/>
            <a:chExt cx="220663" cy="225426"/>
          </a:xfrm>
          <a:solidFill>
            <a:schemeClr val="accent6">
              <a:lumMod val="75000"/>
            </a:schemeClr>
          </a:solidFill>
        </p:grpSpPr>
        <p:sp>
          <p:nvSpPr>
            <p:cNvPr id="57" name="Freeform 365"/>
            <p:cNvSpPr>
              <a:spLocks/>
            </p:cNvSpPr>
            <p:nvPr/>
          </p:nvSpPr>
          <p:spPr bwMode="auto">
            <a:xfrm>
              <a:off x="2451101" y="5997575"/>
              <a:ext cx="220663" cy="104775"/>
            </a:xfrm>
            <a:custGeom>
              <a:avLst/>
              <a:gdLst>
                <a:gd name="T0" fmla="*/ 271 w 277"/>
                <a:gd name="T1" fmla="*/ 88 h 133"/>
                <a:gd name="T2" fmla="*/ 240 w 277"/>
                <a:gd name="T3" fmla="*/ 88 h 133"/>
                <a:gd name="T4" fmla="*/ 176 w 277"/>
                <a:gd name="T5" fmla="*/ 2 h 133"/>
                <a:gd name="T6" fmla="*/ 176 w 277"/>
                <a:gd name="T7" fmla="*/ 2 h 133"/>
                <a:gd name="T8" fmla="*/ 173 w 277"/>
                <a:gd name="T9" fmla="*/ 0 h 133"/>
                <a:gd name="T10" fmla="*/ 170 w 277"/>
                <a:gd name="T11" fmla="*/ 0 h 133"/>
                <a:gd name="T12" fmla="*/ 166 w 277"/>
                <a:gd name="T13" fmla="*/ 0 h 133"/>
                <a:gd name="T14" fmla="*/ 164 w 277"/>
                <a:gd name="T15" fmla="*/ 1 h 133"/>
                <a:gd name="T16" fmla="*/ 164 w 277"/>
                <a:gd name="T17" fmla="*/ 1 h 133"/>
                <a:gd name="T18" fmla="*/ 161 w 277"/>
                <a:gd name="T19" fmla="*/ 4 h 133"/>
                <a:gd name="T20" fmla="*/ 160 w 277"/>
                <a:gd name="T21" fmla="*/ 8 h 133"/>
                <a:gd name="T22" fmla="*/ 160 w 277"/>
                <a:gd name="T23" fmla="*/ 11 h 133"/>
                <a:gd name="T24" fmla="*/ 161 w 277"/>
                <a:gd name="T25" fmla="*/ 15 h 133"/>
                <a:gd name="T26" fmla="*/ 216 w 277"/>
                <a:gd name="T27" fmla="*/ 88 h 133"/>
                <a:gd name="T28" fmla="*/ 211 w 277"/>
                <a:gd name="T29" fmla="*/ 88 h 133"/>
                <a:gd name="T30" fmla="*/ 64 w 277"/>
                <a:gd name="T31" fmla="*/ 88 h 133"/>
                <a:gd name="T32" fmla="*/ 60 w 277"/>
                <a:gd name="T33" fmla="*/ 88 h 133"/>
                <a:gd name="T34" fmla="*/ 115 w 277"/>
                <a:gd name="T35" fmla="*/ 15 h 133"/>
                <a:gd name="T36" fmla="*/ 115 w 277"/>
                <a:gd name="T37" fmla="*/ 15 h 133"/>
                <a:gd name="T38" fmla="*/ 117 w 277"/>
                <a:gd name="T39" fmla="*/ 11 h 133"/>
                <a:gd name="T40" fmla="*/ 117 w 277"/>
                <a:gd name="T41" fmla="*/ 8 h 133"/>
                <a:gd name="T42" fmla="*/ 115 w 277"/>
                <a:gd name="T43" fmla="*/ 4 h 133"/>
                <a:gd name="T44" fmla="*/ 113 w 277"/>
                <a:gd name="T45" fmla="*/ 1 h 133"/>
                <a:gd name="T46" fmla="*/ 113 w 277"/>
                <a:gd name="T47" fmla="*/ 1 h 133"/>
                <a:gd name="T48" fmla="*/ 110 w 277"/>
                <a:gd name="T49" fmla="*/ 0 h 133"/>
                <a:gd name="T50" fmla="*/ 106 w 277"/>
                <a:gd name="T51" fmla="*/ 0 h 133"/>
                <a:gd name="T52" fmla="*/ 103 w 277"/>
                <a:gd name="T53" fmla="*/ 0 h 133"/>
                <a:gd name="T54" fmla="*/ 99 w 277"/>
                <a:gd name="T55" fmla="*/ 2 h 133"/>
                <a:gd name="T56" fmla="*/ 36 w 277"/>
                <a:gd name="T57" fmla="*/ 88 h 133"/>
                <a:gd name="T58" fmla="*/ 4 w 277"/>
                <a:gd name="T59" fmla="*/ 88 h 133"/>
                <a:gd name="T60" fmla="*/ 4 w 277"/>
                <a:gd name="T61" fmla="*/ 88 h 133"/>
                <a:gd name="T62" fmla="*/ 1 w 277"/>
                <a:gd name="T63" fmla="*/ 90 h 133"/>
                <a:gd name="T64" fmla="*/ 0 w 277"/>
                <a:gd name="T65" fmla="*/ 92 h 133"/>
                <a:gd name="T66" fmla="*/ 0 w 277"/>
                <a:gd name="T67" fmla="*/ 129 h 133"/>
                <a:gd name="T68" fmla="*/ 0 w 277"/>
                <a:gd name="T69" fmla="*/ 129 h 133"/>
                <a:gd name="T70" fmla="*/ 1 w 277"/>
                <a:gd name="T71" fmla="*/ 131 h 133"/>
                <a:gd name="T72" fmla="*/ 4 w 277"/>
                <a:gd name="T73" fmla="*/ 133 h 133"/>
                <a:gd name="T74" fmla="*/ 271 w 277"/>
                <a:gd name="T75" fmla="*/ 133 h 133"/>
                <a:gd name="T76" fmla="*/ 271 w 277"/>
                <a:gd name="T77" fmla="*/ 133 h 133"/>
                <a:gd name="T78" fmla="*/ 275 w 277"/>
                <a:gd name="T79" fmla="*/ 131 h 133"/>
                <a:gd name="T80" fmla="*/ 277 w 277"/>
                <a:gd name="T81" fmla="*/ 129 h 133"/>
                <a:gd name="T82" fmla="*/ 277 w 277"/>
                <a:gd name="T83" fmla="*/ 92 h 133"/>
                <a:gd name="T84" fmla="*/ 277 w 277"/>
                <a:gd name="T85" fmla="*/ 92 h 133"/>
                <a:gd name="T86" fmla="*/ 275 w 277"/>
                <a:gd name="T87" fmla="*/ 90 h 133"/>
                <a:gd name="T88" fmla="*/ 271 w 277"/>
                <a:gd name="T89" fmla="*/ 88 h 133"/>
                <a:gd name="T90" fmla="*/ 271 w 277"/>
                <a:gd name="T91" fmla="*/ 8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7" h="133">
                  <a:moveTo>
                    <a:pt x="271" y="88"/>
                  </a:moveTo>
                  <a:lnTo>
                    <a:pt x="240" y="88"/>
                  </a:lnTo>
                  <a:lnTo>
                    <a:pt x="176" y="2"/>
                  </a:lnTo>
                  <a:lnTo>
                    <a:pt x="176" y="2"/>
                  </a:lnTo>
                  <a:lnTo>
                    <a:pt x="173" y="0"/>
                  </a:lnTo>
                  <a:lnTo>
                    <a:pt x="170" y="0"/>
                  </a:lnTo>
                  <a:lnTo>
                    <a:pt x="166" y="0"/>
                  </a:lnTo>
                  <a:lnTo>
                    <a:pt x="164" y="1"/>
                  </a:lnTo>
                  <a:lnTo>
                    <a:pt x="164" y="1"/>
                  </a:lnTo>
                  <a:lnTo>
                    <a:pt x="161" y="4"/>
                  </a:lnTo>
                  <a:lnTo>
                    <a:pt x="160" y="8"/>
                  </a:lnTo>
                  <a:lnTo>
                    <a:pt x="160" y="11"/>
                  </a:lnTo>
                  <a:lnTo>
                    <a:pt x="161" y="15"/>
                  </a:lnTo>
                  <a:lnTo>
                    <a:pt x="216" y="88"/>
                  </a:lnTo>
                  <a:lnTo>
                    <a:pt x="211" y="88"/>
                  </a:lnTo>
                  <a:lnTo>
                    <a:pt x="64" y="88"/>
                  </a:lnTo>
                  <a:lnTo>
                    <a:pt x="60" y="88"/>
                  </a:lnTo>
                  <a:lnTo>
                    <a:pt x="115" y="15"/>
                  </a:lnTo>
                  <a:lnTo>
                    <a:pt x="115" y="15"/>
                  </a:lnTo>
                  <a:lnTo>
                    <a:pt x="117" y="11"/>
                  </a:lnTo>
                  <a:lnTo>
                    <a:pt x="117" y="8"/>
                  </a:lnTo>
                  <a:lnTo>
                    <a:pt x="115" y="4"/>
                  </a:lnTo>
                  <a:lnTo>
                    <a:pt x="113" y="1"/>
                  </a:lnTo>
                  <a:lnTo>
                    <a:pt x="113" y="1"/>
                  </a:lnTo>
                  <a:lnTo>
                    <a:pt x="110" y="0"/>
                  </a:lnTo>
                  <a:lnTo>
                    <a:pt x="106" y="0"/>
                  </a:lnTo>
                  <a:lnTo>
                    <a:pt x="103" y="0"/>
                  </a:lnTo>
                  <a:lnTo>
                    <a:pt x="99" y="2"/>
                  </a:lnTo>
                  <a:lnTo>
                    <a:pt x="36" y="88"/>
                  </a:lnTo>
                  <a:lnTo>
                    <a:pt x="4" y="88"/>
                  </a:lnTo>
                  <a:lnTo>
                    <a:pt x="4" y="88"/>
                  </a:lnTo>
                  <a:lnTo>
                    <a:pt x="1" y="90"/>
                  </a:lnTo>
                  <a:lnTo>
                    <a:pt x="0" y="92"/>
                  </a:lnTo>
                  <a:lnTo>
                    <a:pt x="0" y="129"/>
                  </a:lnTo>
                  <a:lnTo>
                    <a:pt x="0" y="129"/>
                  </a:lnTo>
                  <a:lnTo>
                    <a:pt x="1" y="131"/>
                  </a:lnTo>
                  <a:lnTo>
                    <a:pt x="4" y="133"/>
                  </a:lnTo>
                  <a:lnTo>
                    <a:pt x="271" y="133"/>
                  </a:lnTo>
                  <a:lnTo>
                    <a:pt x="271" y="133"/>
                  </a:lnTo>
                  <a:lnTo>
                    <a:pt x="275" y="131"/>
                  </a:lnTo>
                  <a:lnTo>
                    <a:pt x="277" y="129"/>
                  </a:lnTo>
                  <a:lnTo>
                    <a:pt x="277" y="92"/>
                  </a:lnTo>
                  <a:lnTo>
                    <a:pt x="277" y="92"/>
                  </a:lnTo>
                  <a:lnTo>
                    <a:pt x="275" y="90"/>
                  </a:lnTo>
                  <a:lnTo>
                    <a:pt x="271" y="88"/>
                  </a:lnTo>
                  <a:lnTo>
                    <a:pt x="271"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366"/>
            <p:cNvSpPr>
              <a:spLocks noEditPoints="1"/>
            </p:cNvSpPr>
            <p:nvPr/>
          </p:nvSpPr>
          <p:spPr bwMode="auto">
            <a:xfrm>
              <a:off x="2473326" y="6110288"/>
              <a:ext cx="176213" cy="112713"/>
            </a:xfrm>
            <a:custGeom>
              <a:avLst/>
              <a:gdLst>
                <a:gd name="T0" fmla="*/ 217 w 223"/>
                <a:gd name="T1" fmla="*/ 0 h 143"/>
                <a:gd name="T2" fmla="*/ 4 w 223"/>
                <a:gd name="T3" fmla="*/ 0 h 143"/>
                <a:gd name="T4" fmla="*/ 4 w 223"/>
                <a:gd name="T5" fmla="*/ 0 h 143"/>
                <a:gd name="T6" fmla="*/ 0 w 223"/>
                <a:gd name="T7" fmla="*/ 2 h 143"/>
                <a:gd name="T8" fmla="*/ 0 w 223"/>
                <a:gd name="T9" fmla="*/ 4 h 143"/>
                <a:gd name="T10" fmla="*/ 0 w 223"/>
                <a:gd name="T11" fmla="*/ 139 h 143"/>
                <a:gd name="T12" fmla="*/ 0 w 223"/>
                <a:gd name="T13" fmla="*/ 139 h 143"/>
                <a:gd name="T14" fmla="*/ 0 w 223"/>
                <a:gd name="T15" fmla="*/ 141 h 143"/>
                <a:gd name="T16" fmla="*/ 4 w 223"/>
                <a:gd name="T17" fmla="*/ 143 h 143"/>
                <a:gd name="T18" fmla="*/ 217 w 223"/>
                <a:gd name="T19" fmla="*/ 143 h 143"/>
                <a:gd name="T20" fmla="*/ 217 w 223"/>
                <a:gd name="T21" fmla="*/ 143 h 143"/>
                <a:gd name="T22" fmla="*/ 221 w 223"/>
                <a:gd name="T23" fmla="*/ 141 h 143"/>
                <a:gd name="T24" fmla="*/ 223 w 223"/>
                <a:gd name="T25" fmla="*/ 139 h 143"/>
                <a:gd name="T26" fmla="*/ 223 w 223"/>
                <a:gd name="T27" fmla="*/ 4 h 143"/>
                <a:gd name="T28" fmla="*/ 223 w 223"/>
                <a:gd name="T29" fmla="*/ 4 h 143"/>
                <a:gd name="T30" fmla="*/ 221 w 223"/>
                <a:gd name="T31" fmla="*/ 2 h 143"/>
                <a:gd name="T32" fmla="*/ 217 w 223"/>
                <a:gd name="T33" fmla="*/ 0 h 143"/>
                <a:gd name="T34" fmla="*/ 217 w 223"/>
                <a:gd name="T35" fmla="*/ 0 h 143"/>
                <a:gd name="T36" fmla="*/ 71 w 223"/>
                <a:gd name="T37" fmla="*/ 108 h 143"/>
                <a:gd name="T38" fmla="*/ 71 w 223"/>
                <a:gd name="T39" fmla="*/ 108 h 143"/>
                <a:gd name="T40" fmla="*/ 70 w 223"/>
                <a:gd name="T41" fmla="*/ 110 h 143"/>
                <a:gd name="T42" fmla="*/ 66 w 223"/>
                <a:gd name="T43" fmla="*/ 112 h 143"/>
                <a:gd name="T44" fmla="*/ 66 w 223"/>
                <a:gd name="T45" fmla="*/ 112 h 143"/>
                <a:gd name="T46" fmla="*/ 63 w 223"/>
                <a:gd name="T47" fmla="*/ 110 h 143"/>
                <a:gd name="T48" fmla="*/ 62 w 223"/>
                <a:gd name="T49" fmla="*/ 108 h 143"/>
                <a:gd name="T50" fmla="*/ 62 w 223"/>
                <a:gd name="T51" fmla="*/ 35 h 143"/>
                <a:gd name="T52" fmla="*/ 62 w 223"/>
                <a:gd name="T53" fmla="*/ 35 h 143"/>
                <a:gd name="T54" fmla="*/ 63 w 223"/>
                <a:gd name="T55" fmla="*/ 32 h 143"/>
                <a:gd name="T56" fmla="*/ 66 w 223"/>
                <a:gd name="T57" fmla="*/ 31 h 143"/>
                <a:gd name="T58" fmla="*/ 66 w 223"/>
                <a:gd name="T59" fmla="*/ 31 h 143"/>
                <a:gd name="T60" fmla="*/ 70 w 223"/>
                <a:gd name="T61" fmla="*/ 32 h 143"/>
                <a:gd name="T62" fmla="*/ 71 w 223"/>
                <a:gd name="T63" fmla="*/ 35 h 143"/>
                <a:gd name="T64" fmla="*/ 71 w 223"/>
                <a:gd name="T65" fmla="*/ 108 h 143"/>
                <a:gd name="T66" fmla="*/ 115 w 223"/>
                <a:gd name="T67" fmla="*/ 108 h 143"/>
                <a:gd name="T68" fmla="*/ 115 w 223"/>
                <a:gd name="T69" fmla="*/ 108 h 143"/>
                <a:gd name="T70" fmla="*/ 114 w 223"/>
                <a:gd name="T71" fmla="*/ 110 h 143"/>
                <a:gd name="T72" fmla="*/ 111 w 223"/>
                <a:gd name="T73" fmla="*/ 112 h 143"/>
                <a:gd name="T74" fmla="*/ 111 w 223"/>
                <a:gd name="T75" fmla="*/ 112 h 143"/>
                <a:gd name="T76" fmla="*/ 107 w 223"/>
                <a:gd name="T77" fmla="*/ 110 h 143"/>
                <a:gd name="T78" fmla="*/ 106 w 223"/>
                <a:gd name="T79" fmla="*/ 108 h 143"/>
                <a:gd name="T80" fmla="*/ 106 w 223"/>
                <a:gd name="T81" fmla="*/ 35 h 143"/>
                <a:gd name="T82" fmla="*/ 106 w 223"/>
                <a:gd name="T83" fmla="*/ 35 h 143"/>
                <a:gd name="T84" fmla="*/ 107 w 223"/>
                <a:gd name="T85" fmla="*/ 32 h 143"/>
                <a:gd name="T86" fmla="*/ 111 w 223"/>
                <a:gd name="T87" fmla="*/ 31 h 143"/>
                <a:gd name="T88" fmla="*/ 111 w 223"/>
                <a:gd name="T89" fmla="*/ 31 h 143"/>
                <a:gd name="T90" fmla="*/ 114 w 223"/>
                <a:gd name="T91" fmla="*/ 32 h 143"/>
                <a:gd name="T92" fmla="*/ 115 w 223"/>
                <a:gd name="T93" fmla="*/ 35 h 143"/>
                <a:gd name="T94" fmla="*/ 115 w 223"/>
                <a:gd name="T95" fmla="*/ 108 h 143"/>
                <a:gd name="T96" fmla="*/ 160 w 223"/>
                <a:gd name="T97" fmla="*/ 108 h 143"/>
                <a:gd name="T98" fmla="*/ 160 w 223"/>
                <a:gd name="T99" fmla="*/ 108 h 143"/>
                <a:gd name="T100" fmla="*/ 158 w 223"/>
                <a:gd name="T101" fmla="*/ 110 h 143"/>
                <a:gd name="T102" fmla="*/ 156 w 223"/>
                <a:gd name="T103" fmla="*/ 112 h 143"/>
                <a:gd name="T104" fmla="*/ 156 w 223"/>
                <a:gd name="T105" fmla="*/ 112 h 143"/>
                <a:gd name="T106" fmla="*/ 152 w 223"/>
                <a:gd name="T107" fmla="*/ 110 h 143"/>
                <a:gd name="T108" fmla="*/ 152 w 223"/>
                <a:gd name="T109" fmla="*/ 108 h 143"/>
                <a:gd name="T110" fmla="*/ 152 w 223"/>
                <a:gd name="T111" fmla="*/ 35 h 143"/>
                <a:gd name="T112" fmla="*/ 152 w 223"/>
                <a:gd name="T113" fmla="*/ 35 h 143"/>
                <a:gd name="T114" fmla="*/ 152 w 223"/>
                <a:gd name="T115" fmla="*/ 32 h 143"/>
                <a:gd name="T116" fmla="*/ 156 w 223"/>
                <a:gd name="T117" fmla="*/ 31 h 143"/>
                <a:gd name="T118" fmla="*/ 156 w 223"/>
                <a:gd name="T119" fmla="*/ 31 h 143"/>
                <a:gd name="T120" fmla="*/ 158 w 223"/>
                <a:gd name="T121" fmla="*/ 32 h 143"/>
                <a:gd name="T122" fmla="*/ 160 w 223"/>
                <a:gd name="T123" fmla="*/ 35 h 143"/>
                <a:gd name="T124" fmla="*/ 160 w 223"/>
                <a:gd name="T125" fmla="*/ 10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 h="143">
                  <a:moveTo>
                    <a:pt x="217" y="0"/>
                  </a:moveTo>
                  <a:lnTo>
                    <a:pt x="4" y="0"/>
                  </a:lnTo>
                  <a:lnTo>
                    <a:pt x="4" y="0"/>
                  </a:lnTo>
                  <a:lnTo>
                    <a:pt x="0" y="2"/>
                  </a:lnTo>
                  <a:lnTo>
                    <a:pt x="0" y="4"/>
                  </a:lnTo>
                  <a:lnTo>
                    <a:pt x="0" y="139"/>
                  </a:lnTo>
                  <a:lnTo>
                    <a:pt x="0" y="139"/>
                  </a:lnTo>
                  <a:lnTo>
                    <a:pt x="0" y="141"/>
                  </a:lnTo>
                  <a:lnTo>
                    <a:pt x="4" y="143"/>
                  </a:lnTo>
                  <a:lnTo>
                    <a:pt x="217" y="143"/>
                  </a:lnTo>
                  <a:lnTo>
                    <a:pt x="217" y="143"/>
                  </a:lnTo>
                  <a:lnTo>
                    <a:pt x="221" y="141"/>
                  </a:lnTo>
                  <a:lnTo>
                    <a:pt x="223" y="139"/>
                  </a:lnTo>
                  <a:lnTo>
                    <a:pt x="223" y="4"/>
                  </a:lnTo>
                  <a:lnTo>
                    <a:pt x="223" y="4"/>
                  </a:lnTo>
                  <a:lnTo>
                    <a:pt x="221" y="2"/>
                  </a:lnTo>
                  <a:lnTo>
                    <a:pt x="217" y="0"/>
                  </a:lnTo>
                  <a:lnTo>
                    <a:pt x="217" y="0"/>
                  </a:lnTo>
                  <a:close/>
                  <a:moveTo>
                    <a:pt x="71" y="108"/>
                  </a:moveTo>
                  <a:lnTo>
                    <a:pt x="71" y="108"/>
                  </a:lnTo>
                  <a:lnTo>
                    <a:pt x="70" y="110"/>
                  </a:lnTo>
                  <a:lnTo>
                    <a:pt x="66" y="112"/>
                  </a:lnTo>
                  <a:lnTo>
                    <a:pt x="66" y="112"/>
                  </a:lnTo>
                  <a:lnTo>
                    <a:pt x="63" y="110"/>
                  </a:lnTo>
                  <a:lnTo>
                    <a:pt x="62" y="108"/>
                  </a:lnTo>
                  <a:lnTo>
                    <a:pt x="62" y="35"/>
                  </a:lnTo>
                  <a:lnTo>
                    <a:pt x="62" y="35"/>
                  </a:lnTo>
                  <a:lnTo>
                    <a:pt x="63" y="32"/>
                  </a:lnTo>
                  <a:lnTo>
                    <a:pt x="66" y="31"/>
                  </a:lnTo>
                  <a:lnTo>
                    <a:pt x="66" y="31"/>
                  </a:lnTo>
                  <a:lnTo>
                    <a:pt x="70" y="32"/>
                  </a:lnTo>
                  <a:lnTo>
                    <a:pt x="71" y="35"/>
                  </a:lnTo>
                  <a:lnTo>
                    <a:pt x="71" y="108"/>
                  </a:lnTo>
                  <a:close/>
                  <a:moveTo>
                    <a:pt x="115" y="108"/>
                  </a:moveTo>
                  <a:lnTo>
                    <a:pt x="115" y="108"/>
                  </a:lnTo>
                  <a:lnTo>
                    <a:pt x="114" y="110"/>
                  </a:lnTo>
                  <a:lnTo>
                    <a:pt x="111" y="112"/>
                  </a:lnTo>
                  <a:lnTo>
                    <a:pt x="111" y="112"/>
                  </a:lnTo>
                  <a:lnTo>
                    <a:pt x="107" y="110"/>
                  </a:lnTo>
                  <a:lnTo>
                    <a:pt x="106" y="108"/>
                  </a:lnTo>
                  <a:lnTo>
                    <a:pt x="106" y="35"/>
                  </a:lnTo>
                  <a:lnTo>
                    <a:pt x="106" y="35"/>
                  </a:lnTo>
                  <a:lnTo>
                    <a:pt x="107" y="32"/>
                  </a:lnTo>
                  <a:lnTo>
                    <a:pt x="111" y="31"/>
                  </a:lnTo>
                  <a:lnTo>
                    <a:pt x="111" y="31"/>
                  </a:lnTo>
                  <a:lnTo>
                    <a:pt x="114" y="32"/>
                  </a:lnTo>
                  <a:lnTo>
                    <a:pt x="115" y="35"/>
                  </a:lnTo>
                  <a:lnTo>
                    <a:pt x="115" y="108"/>
                  </a:lnTo>
                  <a:close/>
                  <a:moveTo>
                    <a:pt x="160" y="108"/>
                  </a:moveTo>
                  <a:lnTo>
                    <a:pt x="160" y="108"/>
                  </a:lnTo>
                  <a:lnTo>
                    <a:pt x="158" y="110"/>
                  </a:lnTo>
                  <a:lnTo>
                    <a:pt x="156" y="112"/>
                  </a:lnTo>
                  <a:lnTo>
                    <a:pt x="156" y="112"/>
                  </a:lnTo>
                  <a:lnTo>
                    <a:pt x="152" y="110"/>
                  </a:lnTo>
                  <a:lnTo>
                    <a:pt x="152" y="108"/>
                  </a:lnTo>
                  <a:lnTo>
                    <a:pt x="152" y="35"/>
                  </a:lnTo>
                  <a:lnTo>
                    <a:pt x="152" y="35"/>
                  </a:lnTo>
                  <a:lnTo>
                    <a:pt x="152" y="32"/>
                  </a:lnTo>
                  <a:lnTo>
                    <a:pt x="156" y="31"/>
                  </a:lnTo>
                  <a:lnTo>
                    <a:pt x="156" y="31"/>
                  </a:lnTo>
                  <a:lnTo>
                    <a:pt x="158" y="32"/>
                  </a:lnTo>
                  <a:lnTo>
                    <a:pt x="160" y="35"/>
                  </a:lnTo>
                  <a:lnTo>
                    <a:pt x="160"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60" name="Straight Connector 59"/>
          <p:cNvCxnSpPr/>
          <p:nvPr/>
        </p:nvCxnSpPr>
        <p:spPr>
          <a:xfrm>
            <a:off x="112247" y="2009544"/>
            <a:ext cx="9733724" cy="2647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172276" y="2925102"/>
            <a:ext cx="9733724" cy="1875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338296" y="3866904"/>
            <a:ext cx="9708674" cy="12553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V="1">
            <a:off x="195771" y="5581007"/>
            <a:ext cx="9565449" cy="371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6" name="Picture 2" descr="buyer, care, client, customer care, dollar, hand, money icon"/>
          <p:cNvPicPr>
            <a:picLocks noChangeAspect="1" noChangeArrowheads="1"/>
          </p:cNvPicPr>
          <p:nvPr/>
        </p:nvPicPr>
        <p:blipFill>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57994" y="4410910"/>
            <a:ext cx="500758" cy="500758"/>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p:cNvSpPr txBox="1"/>
          <p:nvPr/>
        </p:nvSpPr>
        <p:spPr>
          <a:xfrm>
            <a:off x="603893" y="2219800"/>
            <a:ext cx="8901602" cy="523220"/>
          </a:xfrm>
          <a:prstGeom prst="rect">
            <a:avLst/>
          </a:prstGeom>
          <a:noFill/>
          <a:ln>
            <a:solidFill>
              <a:schemeClr val="accent1">
                <a:shade val="50000"/>
              </a:schemeClr>
            </a:solidFill>
            <a:prstDash val="sysDash"/>
          </a:ln>
        </p:spPr>
        <p:txBody>
          <a:bodyPr wrap="square" rtlCol="0">
            <a:spAutoFit/>
          </a:bodyPr>
          <a:lstStyle/>
          <a:p>
            <a:pPr>
              <a:spcAft>
                <a:spcPts val="600"/>
              </a:spcAft>
            </a:pPr>
            <a:r>
              <a:rPr lang="en-US" dirty="0" smtClean="0">
                <a:solidFill>
                  <a:srgbClr val="000000"/>
                </a:solidFill>
              </a:rPr>
              <a:t>15 seed companies supported, 35,046 MT of seed produced, and 762,761 MT inorganic fertilizer sold by agro dealers</a:t>
            </a:r>
            <a:endParaRPr lang="en-US" dirty="0">
              <a:solidFill>
                <a:srgbClr val="000000"/>
              </a:solidFill>
            </a:endParaRPr>
          </a:p>
        </p:txBody>
      </p:sp>
      <p:sp>
        <p:nvSpPr>
          <p:cNvPr id="64" name="TextBox 63"/>
          <p:cNvSpPr txBox="1"/>
          <p:nvPr/>
        </p:nvSpPr>
        <p:spPr>
          <a:xfrm>
            <a:off x="832881" y="3485826"/>
            <a:ext cx="8672614" cy="307777"/>
          </a:xfrm>
          <a:prstGeom prst="rect">
            <a:avLst/>
          </a:prstGeom>
          <a:noFill/>
          <a:ln>
            <a:solidFill>
              <a:schemeClr val="accent1">
                <a:shade val="50000"/>
              </a:schemeClr>
            </a:solidFill>
            <a:prstDash val="sysDash"/>
          </a:ln>
        </p:spPr>
        <p:txBody>
          <a:bodyPr wrap="square" rtlCol="0">
            <a:spAutoFit/>
          </a:bodyPr>
          <a:lstStyle/>
          <a:p>
            <a:pPr>
              <a:spcAft>
                <a:spcPts val="600"/>
              </a:spcAft>
            </a:pPr>
            <a:r>
              <a:rPr lang="en-US" dirty="0" smtClean="0">
                <a:solidFill>
                  <a:srgbClr val="000000"/>
                </a:solidFill>
              </a:rPr>
              <a:t>227,752 farmers using ISFM technologies and 149,895 ha cropped with ISFM technologies</a:t>
            </a:r>
            <a:endParaRPr lang="en-US" dirty="0">
              <a:solidFill>
                <a:srgbClr val="000000"/>
              </a:solidFill>
            </a:endParaRPr>
          </a:p>
        </p:txBody>
      </p:sp>
      <p:sp>
        <p:nvSpPr>
          <p:cNvPr id="65" name="TextBox 64"/>
          <p:cNvSpPr txBox="1"/>
          <p:nvPr/>
        </p:nvSpPr>
        <p:spPr>
          <a:xfrm>
            <a:off x="630111" y="4088600"/>
            <a:ext cx="8791562" cy="1246495"/>
          </a:xfrm>
          <a:prstGeom prst="rect">
            <a:avLst/>
          </a:prstGeom>
          <a:noFill/>
          <a:ln>
            <a:solidFill>
              <a:schemeClr val="accent1">
                <a:shade val="50000"/>
              </a:schemeClr>
            </a:solidFill>
            <a:prstDash val="sysDash"/>
          </a:ln>
        </p:spPr>
        <p:txBody>
          <a:bodyPr wrap="square" rtlCol="0">
            <a:spAutoFit/>
          </a:bodyPr>
          <a:lstStyle/>
          <a:p>
            <a:pPr>
              <a:spcAft>
                <a:spcPts val="600"/>
              </a:spcAft>
            </a:pPr>
            <a:r>
              <a:rPr lang="en-US" sz="1200" b="1" dirty="0" smtClean="0">
                <a:solidFill>
                  <a:srgbClr val="000000"/>
                </a:solidFill>
              </a:rPr>
              <a:t>Innovative finance</a:t>
            </a:r>
          </a:p>
          <a:p>
            <a:pPr>
              <a:spcAft>
                <a:spcPts val="600"/>
              </a:spcAft>
            </a:pPr>
            <a:r>
              <a:rPr lang="en-US" sz="1200" dirty="0" smtClean="0">
                <a:solidFill>
                  <a:srgbClr val="000000"/>
                </a:solidFill>
              </a:rPr>
              <a:t>AGRA/Kilimo Trust/Stabic Tanzania Lending Scheme worth US$2.5 million that leveraged US$25 million benefiting 52,465 smallholder farmers and 20 agribusinesses.</a:t>
            </a:r>
          </a:p>
          <a:p>
            <a:pPr>
              <a:spcAft>
                <a:spcPts val="600"/>
              </a:spcAft>
            </a:pPr>
            <a:r>
              <a:rPr lang="en-US" sz="1200" dirty="0" smtClean="0">
                <a:solidFill>
                  <a:srgbClr val="000000"/>
                </a:solidFill>
              </a:rPr>
              <a:t>AGRA/FSDT/NMB Bank Lending Scheme worth US$2.1 million that leveraged US$10 million benefiting 1,055 agro-dealers.</a:t>
            </a:r>
          </a:p>
          <a:p>
            <a:pPr>
              <a:spcAft>
                <a:spcPts val="600"/>
              </a:spcAft>
            </a:pPr>
            <a:r>
              <a:rPr lang="en-US" sz="1200" dirty="0" smtClean="0"/>
              <a:t>ARI-Uyole ISFM project Revolving Fund worth USD50,000 that leveraged US$100,000 benefiting 2,000 farmers</a:t>
            </a:r>
            <a:endParaRPr lang="en-US" sz="1200" dirty="0"/>
          </a:p>
        </p:txBody>
      </p:sp>
    </p:spTree>
    <p:extLst>
      <p:ext uri="{BB962C8B-B14F-4D97-AF65-F5344CB8AC3E}">
        <p14:creationId xmlns:p14="http://schemas.microsoft.com/office/powerpoint/2010/main" val="33416333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AGRA Strategy Overview</a:t>
            </a:r>
            <a:endParaRPr lang="en-US"/>
          </a:p>
        </p:txBody>
      </p:sp>
    </p:spTree>
    <p:extLst>
      <p:ext uri="{BB962C8B-B14F-4D97-AF65-F5344CB8AC3E}">
        <p14:creationId xmlns:p14="http://schemas.microsoft.com/office/powerpoint/2010/main" val="40279535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MM_SLIDE_TYPE" val="6"/>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MM_SLIDE_TYPE" val="6"/>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NAME" val="Moon"/>
</p:tagLst>
</file>

<file path=ppt/tags/tag157.xml><?xml version="1.0" encoding="utf-8"?>
<p:tagLst xmlns:a="http://schemas.openxmlformats.org/drawingml/2006/main" xmlns:r="http://schemas.openxmlformats.org/officeDocument/2006/relationships" xmlns:p="http://schemas.openxmlformats.org/presentationml/2006/main">
  <p:tag name="NAME" val="Moon"/>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17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MM_SLIDE_TYPE" val="6"/>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NAME" val="Moon"/>
</p:tagLst>
</file>

<file path=ppt/tags/tag176.xml><?xml version="1.0" encoding="utf-8"?>
<p:tagLst xmlns:a="http://schemas.openxmlformats.org/drawingml/2006/main" xmlns:r="http://schemas.openxmlformats.org/officeDocument/2006/relationships" xmlns:p="http://schemas.openxmlformats.org/presentationml/2006/main">
  <p:tag name="NAME" val="Moon"/>
</p:tagLst>
</file>

<file path=ppt/tags/tag177.xml><?xml version="1.0" encoding="utf-8"?>
<p:tagLst xmlns:a="http://schemas.openxmlformats.org/drawingml/2006/main" xmlns:r="http://schemas.openxmlformats.org/officeDocument/2006/relationships" xmlns:p="http://schemas.openxmlformats.org/presentationml/2006/main">
  <p:tag name="NAME" val="Moon"/>
</p:tagLst>
</file>

<file path=ppt/tags/tag178.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MM_SLIDE_TYPE" val="6"/>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
</p:tagLst>
</file>

<file path=ppt/tags/tag196.xml><?xml version="1.0" encoding="utf-8"?>
<p:tagLst xmlns:a="http://schemas.openxmlformats.org/drawingml/2006/main" xmlns:r="http://schemas.openxmlformats.org/officeDocument/2006/relationships" xmlns:p="http://schemas.openxmlformats.org/presentationml/2006/main">
  <p:tag name="NAME" val="Moon"/>
</p:tagLst>
</file>

<file path=ppt/tags/tag197.xml><?xml version="1.0" encoding="utf-8"?>
<p:tagLst xmlns:a="http://schemas.openxmlformats.org/drawingml/2006/main" xmlns:r="http://schemas.openxmlformats.org/officeDocument/2006/relationships" xmlns:p="http://schemas.openxmlformats.org/presentationml/2006/main">
  <p:tag name="NAME" val="Moon"/>
</p:tagLst>
</file>

<file path=ppt/tags/tag198.xml><?xml version="1.0" encoding="utf-8"?>
<p:tagLst xmlns:a="http://schemas.openxmlformats.org/drawingml/2006/main" xmlns:r="http://schemas.openxmlformats.org/officeDocument/2006/relationships" xmlns:p="http://schemas.openxmlformats.org/presentationml/2006/main">
  <p:tag name="NAME" val="Moon"/>
</p:tagLst>
</file>

<file path=ppt/tags/tag19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0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0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0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MM_SLIDE_TYPE" val="6"/>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GeDPLIQ5Sj.Rs7eUWCMiDw"/>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AME" val="Moon"/>
</p:tagLst>
</file>

<file path=ppt/tags/tag22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2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23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MM_SLIDE_TYPE" val="6"/>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NAME" val="Moon"/>
</p:tagLst>
</file>

<file path=ppt/tags/tag238.xml><?xml version="1.0" encoding="utf-8"?>
<p:tagLst xmlns:a="http://schemas.openxmlformats.org/drawingml/2006/main" xmlns:r="http://schemas.openxmlformats.org/officeDocument/2006/relationships" xmlns:p="http://schemas.openxmlformats.org/presentationml/2006/main">
  <p:tag name="NAME" val="Moon"/>
</p:tagLst>
</file>

<file path=ppt/tags/tag239.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NAME" val="Moon"/>
</p:tagLst>
</file>

<file path=ppt/tags/tag241.xml><?xml version="1.0" encoding="utf-8"?>
<p:tagLst xmlns:a="http://schemas.openxmlformats.org/drawingml/2006/main" xmlns:r="http://schemas.openxmlformats.org/officeDocument/2006/relationships" xmlns:p="http://schemas.openxmlformats.org/presentationml/2006/main">
  <p:tag name="NAME" val="Moon"/>
</p:tagLst>
</file>

<file path=ppt/tags/tag24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25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MM_SLIDE_TYPE" val="6"/>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NAME" val="Moon"/>
</p:tagLst>
</file>

<file path=ppt/tags/tag259.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NAME" val="Moon"/>
</p:tagLst>
</file>

<file path=ppt/tags/tag261.xml><?xml version="1.0" encoding="utf-8"?>
<p:tagLst xmlns:a="http://schemas.openxmlformats.org/drawingml/2006/main" xmlns:r="http://schemas.openxmlformats.org/officeDocument/2006/relationships" xmlns:p="http://schemas.openxmlformats.org/presentationml/2006/main">
  <p:tag name="NAME" val="Moon"/>
</p:tagLst>
</file>

<file path=ppt/tags/tag262.xml><?xml version="1.0" encoding="utf-8"?>
<p:tagLst xmlns:a="http://schemas.openxmlformats.org/drawingml/2006/main" xmlns:r="http://schemas.openxmlformats.org/officeDocument/2006/relationships" xmlns:p="http://schemas.openxmlformats.org/presentationml/2006/main">
  <p:tag name="NAME" val="Moon"/>
</p:tagLst>
</file>

<file path=ppt/tags/tag26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27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MM_SLIDE_TYPE" val="6"/>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NAME" val="Moon"/>
</p:tagLst>
</file>

<file path=ppt/tags/tag279.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NAME" val="Moon"/>
</p:tagLst>
</file>

<file path=ppt/tags/tag281.xml><?xml version="1.0" encoding="utf-8"?>
<p:tagLst xmlns:a="http://schemas.openxmlformats.org/drawingml/2006/main" xmlns:r="http://schemas.openxmlformats.org/officeDocument/2006/relationships" xmlns:p="http://schemas.openxmlformats.org/presentationml/2006/main">
  <p:tag name="NAME" val="Moon"/>
</p:tagLst>
</file>

<file path=ppt/tags/tag282.xml><?xml version="1.0" encoding="utf-8"?>
<p:tagLst xmlns:a="http://schemas.openxmlformats.org/drawingml/2006/main" xmlns:r="http://schemas.openxmlformats.org/officeDocument/2006/relationships" xmlns:p="http://schemas.openxmlformats.org/presentationml/2006/main">
  <p:tag name="NAME" val="Moon"/>
</p:tagLst>
</file>

<file path=ppt/tags/tag28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xml><?xml version="1.0" encoding="utf-8"?>
<p:tagLst xmlns:a="http://schemas.openxmlformats.org/drawingml/2006/main" xmlns:r="http://schemas.openxmlformats.org/officeDocument/2006/relationships" xmlns:p="http://schemas.openxmlformats.org/presentationml/2006/main">
  <p:tag name="MM_SLIDE_TYPE" val="6"/>
</p:tagLst>
</file>

<file path=ppt/tags/tag29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MM_SLIDE_TYPE" val="6"/>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NAME" val="Moon"/>
</p:tagLst>
</file>

<file path=ppt/tags/tag29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NAME" val="Moon"/>
</p:tagLst>
</file>

<file path=ppt/tags/tag301.xml><?xml version="1.0" encoding="utf-8"?>
<p:tagLst xmlns:a="http://schemas.openxmlformats.org/drawingml/2006/main" xmlns:r="http://schemas.openxmlformats.org/officeDocument/2006/relationships" xmlns:p="http://schemas.openxmlformats.org/presentationml/2006/main">
  <p:tag name="NAME" val="Moon"/>
</p:tagLst>
</file>

<file path=ppt/tags/tag302.xml><?xml version="1.0" encoding="utf-8"?>
<p:tagLst xmlns:a="http://schemas.openxmlformats.org/drawingml/2006/main" xmlns:r="http://schemas.openxmlformats.org/officeDocument/2006/relationships" xmlns:p="http://schemas.openxmlformats.org/presentationml/2006/main">
  <p:tag name="NAME" val="Moon"/>
</p:tagLst>
</file>

<file path=ppt/tags/tag30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0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0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1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MM_SLIDE_TYPE" val="6"/>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MM_SLIDE_TYPE" val="6"/>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34aGG9BeRv.YvWoR8ppBLA"/>
</p:tagLst>
</file>

<file path=ppt/tags/tag321.xml><?xml version="1.0" encoding="utf-8"?>
<p:tagLst xmlns:a="http://schemas.openxmlformats.org/drawingml/2006/main" xmlns:r="http://schemas.openxmlformats.org/officeDocument/2006/relationships" xmlns:p="http://schemas.openxmlformats.org/presentationml/2006/main">
  <p:tag name="NAME" val="Moon"/>
</p:tagLst>
</file>

<file path=ppt/tags/tag322.xml><?xml version="1.0" encoding="utf-8"?>
<p:tagLst xmlns:a="http://schemas.openxmlformats.org/drawingml/2006/main" xmlns:r="http://schemas.openxmlformats.org/officeDocument/2006/relationships" xmlns:p="http://schemas.openxmlformats.org/presentationml/2006/main">
  <p:tag name="NAME" val="Moon"/>
</p:tagLst>
</file>

<file path=ppt/tags/tag323.xml><?xml version="1.0" encoding="utf-8"?>
<p:tagLst xmlns:a="http://schemas.openxmlformats.org/drawingml/2006/main" xmlns:r="http://schemas.openxmlformats.org/officeDocument/2006/relationships" xmlns:p="http://schemas.openxmlformats.org/presentationml/2006/main">
  <p:tag name="NAME" val="Moon"/>
</p:tagLst>
</file>

<file path=ppt/tags/tag324.xml><?xml version="1.0" encoding="utf-8"?>
<p:tagLst xmlns:a="http://schemas.openxmlformats.org/drawingml/2006/main" xmlns:r="http://schemas.openxmlformats.org/officeDocument/2006/relationships" xmlns:p="http://schemas.openxmlformats.org/presentationml/2006/main">
  <p:tag name="NAME" val="Moon"/>
</p:tagLst>
</file>

<file path=ppt/tags/tag325.xml><?xml version="1.0" encoding="utf-8"?>
<p:tagLst xmlns:a="http://schemas.openxmlformats.org/drawingml/2006/main" xmlns:r="http://schemas.openxmlformats.org/officeDocument/2006/relationships" xmlns:p="http://schemas.openxmlformats.org/presentationml/2006/main">
  <p:tag name="NAME" val="Moon"/>
</p:tagLst>
</file>

<file path=ppt/tags/tag32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MM_SLIDE_TYPE" val="6"/>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kNSAejOVTsyYuPn54wf4Bg"/>
</p:tagLst>
</file>

<file path=ppt/tags/tag343.xml><?xml version="1.0" encoding="utf-8"?>
<p:tagLst xmlns:a="http://schemas.openxmlformats.org/drawingml/2006/main" xmlns:r="http://schemas.openxmlformats.org/officeDocument/2006/relationships" xmlns:p="http://schemas.openxmlformats.org/presentationml/2006/main">
  <p:tag name="NAME" val="Moon"/>
</p:tagLst>
</file>

<file path=ppt/tags/tag344.xml><?xml version="1.0" encoding="utf-8"?>
<p:tagLst xmlns:a="http://schemas.openxmlformats.org/drawingml/2006/main" xmlns:r="http://schemas.openxmlformats.org/officeDocument/2006/relationships" xmlns:p="http://schemas.openxmlformats.org/presentationml/2006/main">
  <p:tag name="NAME" val="Moon"/>
</p:tagLst>
</file>

<file path=ppt/tags/tag345.xml><?xml version="1.0" encoding="utf-8"?>
<p:tagLst xmlns:a="http://schemas.openxmlformats.org/drawingml/2006/main" xmlns:r="http://schemas.openxmlformats.org/officeDocument/2006/relationships" xmlns:p="http://schemas.openxmlformats.org/presentationml/2006/main">
  <p:tag name="NAME" val="Moon"/>
</p:tagLst>
</file>

<file path=ppt/tags/tag346.xml><?xml version="1.0" encoding="utf-8"?>
<p:tagLst xmlns:a="http://schemas.openxmlformats.org/drawingml/2006/main" xmlns:r="http://schemas.openxmlformats.org/officeDocument/2006/relationships" xmlns:p="http://schemas.openxmlformats.org/presentationml/2006/main">
  <p:tag name="NAME" val="Moon"/>
</p:tagLst>
</file>

<file path=ppt/tags/tag347.xml><?xml version="1.0" encoding="utf-8"?>
<p:tagLst xmlns:a="http://schemas.openxmlformats.org/drawingml/2006/main" xmlns:r="http://schemas.openxmlformats.org/officeDocument/2006/relationships" xmlns:p="http://schemas.openxmlformats.org/presentationml/2006/main">
  <p:tag name="NAME" val="Moon"/>
</p:tagLst>
</file>

<file path=ppt/tags/tag3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360.xml><?xml version="1.0" encoding="utf-8"?>
<p:tagLst xmlns:a="http://schemas.openxmlformats.org/drawingml/2006/main" xmlns:r="http://schemas.openxmlformats.org/officeDocument/2006/relationships" xmlns:p="http://schemas.openxmlformats.org/presentationml/2006/main">
  <p:tag name="MM_SLIDE_TYPE" val="6"/>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MM_SLIDE_TYPE" val="6"/>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sh826G3gSpC7JtmaCloBSw"/>
</p:tagLst>
</file>

<file path=ppt/tags/tag366.xml><?xml version="1.0" encoding="utf-8"?>
<p:tagLst xmlns:a="http://schemas.openxmlformats.org/drawingml/2006/main" xmlns:r="http://schemas.openxmlformats.org/officeDocument/2006/relationships" xmlns:p="http://schemas.openxmlformats.org/presentationml/2006/main">
  <p:tag name="NAME" val="Moon"/>
</p:tagLst>
</file>

<file path=ppt/tags/tag367.xml><?xml version="1.0" encoding="utf-8"?>
<p:tagLst xmlns:a="http://schemas.openxmlformats.org/drawingml/2006/main" xmlns:r="http://schemas.openxmlformats.org/officeDocument/2006/relationships" xmlns:p="http://schemas.openxmlformats.org/presentationml/2006/main">
  <p:tag name="NAME" val="Moon"/>
</p:tagLst>
</file>

<file path=ppt/tags/tag368.xml><?xml version="1.0" encoding="utf-8"?>
<p:tagLst xmlns:a="http://schemas.openxmlformats.org/drawingml/2006/main" xmlns:r="http://schemas.openxmlformats.org/officeDocument/2006/relationships" xmlns:p="http://schemas.openxmlformats.org/presentationml/2006/main">
  <p:tag name="NAME" val="Moon"/>
</p:tagLst>
</file>

<file path=ppt/tags/tag369.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NAME" val="Moon"/>
</p:tagLst>
</file>

<file path=ppt/tags/tag37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7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7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7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38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MM_SLIDE_TYPE" val="6"/>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MM_SLIDE_TYPE" val="6"/>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AgAZfDCUT7y5yHzkN4M8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AgAZfDCUT7y5yHzkN4M8G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YrVXeEXRSz6uZNZRbQmzW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15y.Z523RHuigx2IYy_X3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il2UDstESFeM3NhXKvRUN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FzNSRDymT6iMIooXq8m2J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T_WHxBeHRYK_usLjz3yHQg"/>
</p:tagLst>
</file>

<file path=ppt/tags/tag406.xml><?xml version="1.0" encoding="utf-8"?>
<p:tagLst xmlns:a="http://schemas.openxmlformats.org/drawingml/2006/main" xmlns:r="http://schemas.openxmlformats.org/officeDocument/2006/relationships" xmlns:p="http://schemas.openxmlformats.org/presentationml/2006/main">
  <p:tag name="NAME" val="SingleBoat"/>
</p:tagLst>
</file>

<file path=ppt/tags/tag407.xml><?xml version="1.0" encoding="utf-8"?>
<p:tagLst xmlns:a="http://schemas.openxmlformats.org/drawingml/2006/main" xmlns:r="http://schemas.openxmlformats.org/officeDocument/2006/relationships" xmlns:p="http://schemas.openxmlformats.org/presentationml/2006/main">
  <p:tag name="NAME" val="SingleBoat"/>
</p:tagLst>
</file>

<file path=ppt/tags/tag408.xml><?xml version="1.0" encoding="utf-8"?>
<p:tagLst xmlns:a="http://schemas.openxmlformats.org/drawingml/2006/main" xmlns:r="http://schemas.openxmlformats.org/officeDocument/2006/relationships" xmlns:p="http://schemas.openxmlformats.org/presentationml/2006/main">
  <p:tag name="NAME" val="SingleBoat"/>
</p:tagLst>
</file>

<file path=ppt/tags/tag409.xml><?xml version="1.0" encoding="utf-8"?>
<p:tagLst xmlns:a="http://schemas.openxmlformats.org/drawingml/2006/main" xmlns:r="http://schemas.openxmlformats.org/officeDocument/2006/relationships" xmlns:p="http://schemas.openxmlformats.org/presentationml/2006/main">
  <p:tag name="NAME" val="SingleBoa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NAME" val="SingleBoat"/>
</p:tagLst>
</file>

<file path=ppt/tags/tag411.xml><?xml version="1.0" encoding="utf-8"?>
<p:tagLst xmlns:a="http://schemas.openxmlformats.org/drawingml/2006/main" xmlns:r="http://schemas.openxmlformats.org/officeDocument/2006/relationships" xmlns:p="http://schemas.openxmlformats.org/presentationml/2006/main">
  <p:tag name="NAME" val="SingleBoat"/>
</p:tagLst>
</file>

<file path=ppt/tags/tag412.xml><?xml version="1.0" encoding="utf-8"?>
<p:tagLst xmlns:a="http://schemas.openxmlformats.org/drawingml/2006/main" xmlns:r="http://schemas.openxmlformats.org/officeDocument/2006/relationships" xmlns:p="http://schemas.openxmlformats.org/presentationml/2006/main">
  <p:tag name="NAME" val="SingleBoat"/>
</p:tagLst>
</file>

<file path=ppt/tags/tag413.xml><?xml version="1.0" encoding="utf-8"?>
<p:tagLst xmlns:a="http://schemas.openxmlformats.org/drawingml/2006/main" xmlns:r="http://schemas.openxmlformats.org/officeDocument/2006/relationships" xmlns:p="http://schemas.openxmlformats.org/presentationml/2006/main">
  <p:tag name="NAME" val="SingleBoat"/>
</p:tagLst>
</file>

<file path=ppt/tags/tag414.xml><?xml version="1.0" encoding="utf-8"?>
<p:tagLst xmlns:a="http://schemas.openxmlformats.org/drawingml/2006/main" xmlns:r="http://schemas.openxmlformats.org/officeDocument/2006/relationships" xmlns:p="http://schemas.openxmlformats.org/presentationml/2006/main">
  <p:tag name="NAME" val="SingleBoat"/>
</p:tagLst>
</file>

<file path=ppt/tags/tag415.xml><?xml version="1.0" encoding="utf-8"?>
<p:tagLst xmlns:a="http://schemas.openxmlformats.org/drawingml/2006/main" xmlns:r="http://schemas.openxmlformats.org/officeDocument/2006/relationships" xmlns:p="http://schemas.openxmlformats.org/presentationml/2006/main">
  <p:tag name="NAME" val="SingleBoatShape"/>
</p:tagLst>
</file>

<file path=ppt/tags/tag416.xml><?xml version="1.0" encoding="utf-8"?>
<p:tagLst xmlns:a="http://schemas.openxmlformats.org/drawingml/2006/main" xmlns:r="http://schemas.openxmlformats.org/officeDocument/2006/relationships" xmlns:p="http://schemas.openxmlformats.org/presentationml/2006/main">
  <p:tag name="NAME" val="SingleBoatText"/>
</p:tagLst>
</file>

<file path=ppt/tags/tag417.xml><?xml version="1.0" encoding="utf-8"?>
<p:tagLst xmlns:a="http://schemas.openxmlformats.org/drawingml/2006/main" xmlns:r="http://schemas.openxmlformats.org/officeDocument/2006/relationships" xmlns:p="http://schemas.openxmlformats.org/presentationml/2006/main">
  <p:tag name="NAME" val="SingleBoatShape"/>
</p:tagLst>
</file>

<file path=ppt/tags/tag418.xml><?xml version="1.0" encoding="utf-8"?>
<p:tagLst xmlns:a="http://schemas.openxmlformats.org/drawingml/2006/main" xmlns:r="http://schemas.openxmlformats.org/officeDocument/2006/relationships" xmlns:p="http://schemas.openxmlformats.org/presentationml/2006/main">
  <p:tag name="NAME" val="SingleBoatText"/>
</p:tagLst>
</file>

<file path=ppt/tags/tag41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420.xml><?xml version="1.0" encoding="utf-8"?>
<p:tagLst xmlns:a="http://schemas.openxmlformats.org/drawingml/2006/main" xmlns:r="http://schemas.openxmlformats.org/officeDocument/2006/relationships" xmlns:p="http://schemas.openxmlformats.org/presentationml/2006/main">
  <p:tag name="NAME" val="SingleBoatText"/>
</p:tagLst>
</file>

<file path=ppt/tags/tag421.xml><?xml version="1.0" encoding="utf-8"?>
<p:tagLst xmlns:a="http://schemas.openxmlformats.org/drawingml/2006/main" xmlns:r="http://schemas.openxmlformats.org/officeDocument/2006/relationships" xmlns:p="http://schemas.openxmlformats.org/presentationml/2006/main">
  <p:tag name="NAME" val="SingleBoatShape"/>
</p:tagLst>
</file>

<file path=ppt/tags/tag422.xml><?xml version="1.0" encoding="utf-8"?>
<p:tagLst xmlns:a="http://schemas.openxmlformats.org/drawingml/2006/main" xmlns:r="http://schemas.openxmlformats.org/officeDocument/2006/relationships" xmlns:p="http://schemas.openxmlformats.org/presentationml/2006/main">
  <p:tag name="NAME" val="SingleBoatText"/>
</p:tagLst>
</file>

<file path=ppt/tags/tag42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24.xml><?xml version="1.0" encoding="utf-8"?>
<p:tagLst xmlns:a="http://schemas.openxmlformats.org/drawingml/2006/main" xmlns:r="http://schemas.openxmlformats.org/officeDocument/2006/relationships" xmlns:p="http://schemas.openxmlformats.org/presentationml/2006/main">
  <p:tag name="NAME" val="SingleBoatText"/>
</p:tagLst>
</file>

<file path=ppt/tags/tag425.xml><?xml version="1.0" encoding="utf-8"?>
<p:tagLst xmlns:a="http://schemas.openxmlformats.org/drawingml/2006/main" xmlns:r="http://schemas.openxmlformats.org/officeDocument/2006/relationships" xmlns:p="http://schemas.openxmlformats.org/presentationml/2006/main">
  <p:tag name="NAME" val="SingleBoatShape"/>
</p:tagLst>
</file>

<file path=ppt/tags/tag426.xml><?xml version="1.0" encoding="utf-8"?>
<p:tagLst xmlns:a="http://schemas.openxmlformats.org/drawingml/2006/main" xmlns:r="http://schemas.openxmlformats.org/officeDocument/2006/relationships" xmlns:p="http://schemas.openxmlformats.org/presentationml/2006/main">
  <p:tag name="NAME" val="SingleBoatText"/>
</p:tagLst>
</file>

<file path=ppt/tags/tag427.xml><?xml version="1.0" encoding="utf-8"?>
<p:tagLst xmlns:a="http://schemas.openxmlformats.org/drawingml/2006/main" xmlns:r="http://schemas.openxmlformats.org/officeDocument/2006/relationships" xmlns:p="http://schemas.openxmlformats.org/presentationml/2006/main">
  <p:tag name="NAME" val="SingleBoatShape"/>
</p:tagLst>
</file>

<file path=ppt/tags/tag428.xml><?xml version="1.0" encoding="utf-8"?>
<p:tagLst xmlns:a="http://schemas.openxmlformats.org/drawingml/2006/main" xmlns:r="http://schemas.openxmlformats.org/officeDocument/2006/relationships" xmlns:p="http://schemas.openxmlformats.org/presentationml/2006/main">
  <p:tag name="NAME" val="SingleBoatText"/>
</p:tagLst>
</file>

<file path=ppt/tags/tag42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NAME" val="SingleBoatText"/>
</p:tagLst>
</file>

<file path=ppt/tags/tag431.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2.xml><?xml version="1.0" encoding="utf-8"?>
<p:tagLst xmlns:a="http://schemas.openxmlformats.org/drawingml/2006/main" xmlns:r="http://schemas.openxmlformats.org/officeDocument/2006/relationships" xmlns:p="http://schemas.openxmlformats.org/presentationml/2006/main">
  <p:tag name="NAME" val="SingleBoatText"/>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7XEBkPY2T4u8sLrcuB3I7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7XEBkPY2T4u8sLrcuB3I7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7XEBkPY2T4u8sLrcuB3I7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7XEBkPY2T4u8sLrcuB3I7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T_WHxBeHRYK_usLjz3yHQ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iMvmtsvfTI6TGmL_3Oijo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5UblD8AmQHGYWgi4AkFGs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5UblD8AmQHGYWgi4AkFGs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0CQlz355QSmvx5dRVouQ2g"/>
</p:tagLst>
</file>

<file path=ppt/tags/tag451.xml><?xml version="1.0" encoding="utf-8"?>
<p:tagLst xmlns:a="http://schemas.openxmlformats.org/drawingml/2006/main" xmlns:r="http://schemas.openxmlformats.org/officeDocument/2006/relationships" xmlns:p="http://schemas.openxmlformats.org/presentationml/2006/main">
  <p:tag name="MTTABLE" val="Cell"/>
  <p:tag name="MTNUMBER" val="0.707510644433792"/>
  <p:tag name="LEFT" val="9.375039"/>
  <p:tag name="WIDTH" val="693"/>
  <p:tag name="HEIGHT" val="19.38748"/>
  <p:tag name="TOP" val="80"/>
</p:tagLst>
</file>

<file path=ppt/tags/tag452.xml><?xml version="1.0" encoding="utf-8"?>
<p:tagLst xmlns:a="http://schemas.openxmlformats.org/drawingml/2006/main" xmlns:r="http://schemas.openxmlformats.org/officeDocument/2006/relationships" xmlns:p="http://schemas.openxmlformats.org/presentationml/2006/main">
  <p:tag name="MTTABLE" val="HTitleDiv"/>
  <p:tag name="MTNUMBER" val="0.707510644433792"/>
</p:tagLst>
</file>

<file path=ppt/tags/tag453.xml><?xml version="1.0" encoding="utf-8"?>
<p:tagLst xmlns:a="http://schemas.openxmlformats.org/drawingml/2006/main" xmlns:r="http://schemas.openxmlformats.org/officeDocument/2006/relationships" xmlns:p="http://schemas.openxmlformats.org/presentationml/2006/main">
  <p:tag name="MTTABLE" val="Cell"/>
  <p:tag name="MTNUMBER" val="0.707510644433792"/>
  <p:tag name="LEFT" val="9.375039"/>
  <p:tag name="WIDTH" val="693"/>
  <p:tag name="HEIGHT" val="19.38748"/>
  <p:tag name="TOP" val="80"/>
</p:tagLst>
</file>

<file path=ppt/tags/tag454.xml><?xml version="1.0" encoding="utf-8"?>
<p:tagLst xmlns:a="http://schemas.openxmlformats.org/drawingml/2006/main" xmlns:r="http://schemas.openxmlformats.org/officeDocument/2006/relationships" xmlns:p="http://schemas.openxmlformats.org/presentationml/2006/main">
  <p:tag name="MTTABLE" val="HTitleDiv"/>
  <p:tag name="MTNUMBER" val="0.707510644433792"/>
</p:tagLst>
</file>

<file path=ppt/tags/tag455.xml><?xml version="1.0" encoding="utf-8"?>
<p:tagLst xmlns:a="http://schemas.openxmlformats.org/drawingml/2006/main" xmlns:r="http://schemas.openxmlformats.org/officeDocument/2006/relationships" xmlns:p="http://schemas.openxmlformats.org/presentationml/2006/main">
  <p:tag name="MTTABLE" val="Cell"/>
  <p:tag name="MTNUMBER" val="0.707510644433792"/>
  <p:tag name="LEFT" val="9.375039"/>
  <p:tag name="WIDTH" val="693"/>
  <p:tag name="HEIGHT" val="19.38748"/>
  <p:tag name="TOP" val="80"/>
</p:tagLst>
</file>

<file path=ppt/tags/tag456.xml><?xml version="1.0" encoding="utf-8"?>
<p:tagLst xmlns:a="http://schemas.openxmlformats.org/drawingml/2006/main" xmlns:r="http://schemas.openxmlformats.org/officeDocument/2006/relationships" xmlns:p="http://schemas.openxmlformats.org/presentationml/2006/main">
  <p:tag name="MTTABLE" val="HTitleDiv"/>
  <p:tag name="MTNUMBER" val="0.707510644433792"/>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4QYwodk85UqCZp6N8ym0s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41m8SqIwRsqY3u2VL66FdA"/>
</p:tagLst>
</file>

<file path=ppt/tags/tag46.xml><?xml version="1.0" encoding="utf-8"?>
<p:tagLst xmlns:a="http://schemas.openxmlformats.org/drawingml/2006/main" xmlns:r="http://schemas.openxmlformats.org/officeDocument/2006/relationships" xmlns:p="http://schemas.openxmlformats.org/presentationml/2006/main">
  <p:tag name="MM_SLIDE_TYPE" val="6"/>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5plDAo3jk0WQ8x166kxUn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ROWZEG53hE6kiGAflwq5r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eqVQ.apqKk6w7v6f1.dc9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un3zbiBWfUm8Zxic7VluF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pMXFUkfx1Eu4fA05BFRCY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wXX0H3jpZk.I_85UBmCpz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GL8Ua7VDkUWyw.9LfOiCy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iH1ALbc3akOPdG9e6oDhO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v8QEfuo97UiHNwp9.uo3.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nGuVmXf8ak6PIWeCyaS0c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UHvEIhW6k6oYrp8UGOl3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s8Y7oOhtU0Ct67LDSh1O6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XnX4AQP4EkquwPFcgOfte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7cdBfcCuTNaWsxu5VK2G6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BqirNwUhR3yqglfpSjaEv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K3hSP7StSriWvAqVjr5h7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zgCuRhO8RFKpwSc_Myf7N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zgCuRhO8RFKpwSc_Myf7N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0j5v8u9UQDeuoeVVdiW9y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sLn4a5KwSpqEUSzI.Wk_K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NM24wktaSZqYqsjSTOpDR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EpwasiURQhuHwQfay6huSA"/>
</p:tagLst>
</file>

<file path=ppt/tags/tag507.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08.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09.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510.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11.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12.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13.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14.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15.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16.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17.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18.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19.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21.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22.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23.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24.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25.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26.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527.xml><?xml version="1.0" encoding="utf-8"?>
<p:tagLst xmlns:a="http://schemas.openxmlformats.org/drawingml/2006/main" xmlns:r="http://schemas.openxmlformats.org/officeDocument/2006/relationships" xmlns:p="http://schemas.openxmlformats.org/presentationml/2006/main">
  <p:tag name="NAME" val="DirArrow"/>
  <p:tag name="THINKCELLSHAPEDONOTDELETE" val="peGGIU3Xsc0uw3WxpNV01o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VMpb2QrCjkKy45Xw5fNFw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97ZFwHZnSayUL0xn4cV_n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iMvmtsvfTI6TGmL_3Oijo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BqojXPaNTCSsY9rQmUwa3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MM_SLIDE_TYPE" val="6"/>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MM_SLIDE_TYPE" val="6"/>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Cover slides">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3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1.xml><?xml version="1.0" encoding="utf-8"?>
<a:theme xmlns:a="http://schemas.openxmlformats.org/drawingml/2006/main" name="9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2.xml><?xml version="1.0" encoding="utf-8"?>
<a:theme xmlns:a="http://schemas.openxmlformats.org/drawingml/2006/main" name="10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3.xml><?xml version="1.0" encoding="utf-8"?>
<a:theme xmlns:a="http://schemas.openxmlformats.org/drawingml/2006/main" name="4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4.xml><?xml version="1.0" encoding="utf-8"?>
<a:theme xmlns:a="http://schemas.openxmlformats.org/drawingml/2006/main" name="5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5.xml><?xml version="1.0" encoding="utf-8"?>
<a:theme xmlns:a="http://schemas.openxmlformats.org/drawingml/2006/main" name="6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6.xml><?xml version="1.0" encoding="utf-8"?>
<a:theme xmlns:a="http://schemas.openxmlformats.org/drawingml/2006/main" name="7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7.xml><?xml version="1.0" encoding="utf-8"?>
<a:theme xmlns:a="http://schemas.openxmlformats.org/drawingml/2006/main" name="8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8.xml><?xml version="1.0" encoding="utf-8"?>
<a:theme xmlns:a="http://schemas.openxmlformats.org/drawingml/2006/main" name="11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9.xml><?xml version="1.0" encoding="utf-8"?>
<a:theme xmlns:a="http://schemas.openxmlformats.org/drawingml/2006/main" name="12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2.xml><?xml version="1.0" encoding="utf-8"?>
<a:theme xmlns:a="http://schemas.openxmlformats.org/drawingml/2006/main" name="Slide Report">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3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21.xml><?xml version="1.0" encoding="utf-8"?>
<a:theme xmlns:a="http://schemas.openxmlformats.org/drawingml/2006/main" name="14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2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4.xml><?xml version="1.0" encoding="utf-8"?>
<a:theme xmlns:a="http://schemas.openxmlformats.org/drawingml/2006/main" name="2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5.xml><?xml version="1.0" encoding="utf-8"?>
<a:theme xmlns:a="http://schemas.openxmlformats.org/drawingml/2006/main" name="3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6.xml><?xml version="1.0" encoding="utf-8"?>
<a:theme xmlns:a="http://schemas.openxmlformats.org/drawingml/2006/main" name="5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7.xml><?xml version="1.0" encoding="utf-8"?>
<a:theme xmlns:a="http://schemas.openxmlformats.org/drawingml/2006/main" name="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8.xml><?xml version="1.0" encoding="utf-8"?>
<a:theme xmlns:a="http://schemas.openxmlformats.org/drawingml/2006/main" name="1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9.xml><?xml version="1.0" encoding="utf-8"?>
<a:theme xmlns:a="http://schemas.openxmlformats.org/drawingml/2006/main" name="2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docProps/app.xml><?xml version="1.0" encoding="utf-8"?>
<Properties xmlns="http://schemas.openxmlformats.org/officeDocument/2006/extended-properties" xmlns:vt="http://schemas.openxmlformats.org/officeDocument/2006/docPropsVTypes">
  <TotalTime>71875</TotalTime>
  <Words>16150</Words>
  <Application>Microsoft Office PowerPoint</Application>
  <PresentationFormat>A4 Paper (210x297 mm)</PresentationFormat>
  <Paragraphs>2035</Paragraphs>
  <Slides>71</Slides>
  <Notes>30</Notes>
  <HiddenSlides>0</HiddenSlides>
  <MMClips>0</MMClips>
  <ScaleCrop>false</ScaleCrop>
  <HeadingPairs>
    <vt:vector size="8" baseType="variant">
      <vt:variant>
        <vt:lpstr>Fonts Used</vt:lpstr>
      </vt:variant>
      <vt:variant>
        <vt:i4>14</vt:i4>
      </vt:variant>
      <vt:variant>
        <vt:lpstr>Theme</vt:lpstr>
      </vt:variant>
      <vt:variant>
        <vt:i4>21</vt:i4>
      </vt:variant>
      <vt:variant>
        <vt:lpstr>Embedded OLE Servers</vt:lpstr>
      </vt:variant>
      <vt:variant>
        <vt:i4>1</vt:i4>
      </vt:variant>
      <vt:variant>
        <vt:lpstr>Slide Titles</vt:lpstr>
      </vt:variant>
      <vt:variant>
        <vt:i4>71</vt:i4>
      </vt:variant>
    </vt:vector>
  </HeadingPairs>
  <TitlesOfParts>
    <vt:vector size="107" baseType="lpstr">
      <vt:lpstr>ＭＳ Ｐゴシック</vt:lpstr>
      <vt:lpstr>Arial</vt:lpstr>
      <vt:lpstr>Calibri</vt:lpstr>
      <vt:lpstr>Calibri Light</vt:lpstr>
      <vt:lpstr>Courier New</vt:lpstr>
      <vt:lpstr>Franklin Gothic Medium</vt:lpstr>
      <vt:lpstr>Gill Sans</vt:lpstr>
      <vt:lpstr>MS Mincho</vt:lpstr>
      <vt:lpstr>Noto Sans Symbols</vt:lpstr>
      <vt:lpstr>Symbol</vt:lpstr>
      <vt:lpstr>Times New Roman</vt:lpstr>
      <vt:lpstr>Wingdings</vt:lpstr>
      <vt:lpstr>Wingdings 2</vt:lpstr>
      <vt:lpstr>ヒラギノ角ゴ ProN W3</vt:lpstr>
      <vt:lpstr>Cover slides</vt:lpstr>
      <vt:lpstr>Slide Report</vt:lpstr>
      <vt:lpstr>1_Slide Report</vt:lpstr>
      <vt:lpstr>2_Slide Report</vt:lpstr>
      <vt:lpstr>3_Slide Report</vt:lpstr>
      <vt:lpstr>5_Slide Report</vt:lpstr>
      <vt:lpstr>AGRA_CF_GAE416</vt:lpstr>
      <vt:lpstr>1_AGRA_CF_GAE416</vt:lpstr>
      <vt:lpstr>2_AGRA_CF_GAE416</vt:lpstr>
      <vt:lpstr>3_AGRA_CF_GAE416</vt:lpstr>
      <vt:lpstr>9_AGRA_CF_GAE416</vt:lpstr>
      <vt:lpstr>10_AGRA_CF_GAE416</vt:lpstr>
      <vt:lpstr>4_AGRA_CF_GAE416</vt:lpstr>
      <vt:lpstr>5_AGRA_CF_GAE416</vt:lpstr>
      <vt:lpstr>6_AGRA_CF_GAE416</vt:lpstr>
      <vt:lpstr>7_AGRA_CF_GAE416</vt:lpstr>
      <vt:lpstr>8_AGRA_CF_GAE416</vt:lpstr>
      <vt:lpstr>11_AGRA_CF_GAE416</vt:lpstr>
      <vt:lpstr>12_AGRA_CF_GAE416</vt:lpstr>
      <vt:lpstr>13_AGRA_CF_GAE416</vt:lpstr>
      <vt:lpstr>14_AGRA_CF_GAE416</vt:lpstr>
      <vt:lpstr>think-cell Slide</vt:lpstr>
      <vt:lpstr>AGRA Tanzania Operational Plan</vt:lpstr>
      <vt:lpstr>Table of contents</vt:lpstr>
      <vt:lpstr>ACRONYMS</vt:lpstr>
      <vt:lpstr>Executive Summary</vt:lpstr>
      <vt:lpstr>Executive Summary</vt:lpstr>
      <vt:lpstr>Executive Summary</vt:lpstr>
      <vt:lpstr>AGRA’s Current Tanzania Portfolio Summary (2017 - 2019)</vt:lpstr>
      <vt:lpstr>AGRA’s Strategy continues to build on past work done in Tanzania to drive for scale and sustainability</vt:lpstr>
      <vt:lpstr>AGRA Strategy Overview</vt:lpstr>
      <vt:lpstr>AGRA’s Vision and Headline Goals 2017 - 2021</vt:lpstr>
      <vt:lpstr>AGRA’s 2017 – 2021 Strategy </vt:lpstr>
      <vt:lpstr>Summary of AGRA’s Strategic Approach</vt:lpstr>
      <vt:lpstr>Tanzania Agricultural Context</vt:lpstr>
      <vt:lpstr>Tanzania’s Agricultural Agenda is Shaped by a Few Macroeconomic Trends and Contextual Factors (1/3)</vt:lpstr>
      <vt:lpstr>Tanzania’s Agricultural Agenda is Shaped by a Few Macroeconomic Trends and Contextual Factors (1/3)</vt:lpstr>
      <vt:lpstr>CAADP biennial review shows that the country is not on-track and should emphasize ending hunger and boosting trade</vt:lpstr>
      <vt:lpstr>Tanzania’s Agricultural Agenda is Shaped by a Few Macroeconomic Trends and Contextual Factors (3/4) </vt:lpstr>
      <vt:lpstr>Tanzania’s Agricultural Agenda is Shaped by a Few Macroeconomic Trends and Contextual Factors (4/4) </vt:lpstr>
      <vt:lpstr>Changes in assumptions/ New developments</vt:lpstr>
      <vt:lpstr>A number of major donors and private sector companies are focused on Southern and Northern Highlands</vt:lpstr>
      <vt:lpstr>In addition to Macro-economic analysis, AGRA also carried out analysis of specific systems to inform the strategy</vt:lpstr>
      <vt:lpstr>In addition to Macro-economic analysis, AGRA also carried out analysis of  specific systems to inform the strategy</vt:lpstr>
      <vt:lpstr>In addition to Macro-economic analysis, AGRA also carried out analysis of  specific systems to inform the strategy</vt:lpstr>
      <vt:lpstr>In addition to Macro-economic analysis, AGRA also carried out analysis of  specific systems to inform the strategy</vt:lpstr>
      <vt:lpstr>Partnerships Mapping</vt:lpstr>
      <vt:lpstr>AGRA Tanzania Strategy</vt:lpstr>
      <vt:lpstr>Tanzania  Theory of Change</vt:lpstr>
      <vt:lpstr>AGRA’s Strategy for Tanzania </vt:lpstr>
      <vt:lpstr>State Capability Support and Policy Engagement</vt:lpstr>
      <vt:lpstr>To deliver system and farmer level interventions, AGRA prioritized regions with high potential for impact</vt:lpstr>
      <vt:lpstr>Within these regions, AGRA is focused on three primary crops and two secondary crops</vt:lpstr>
      <vt:lpstr>AGRA’s 2019 Priorities for Tanzania </vt:lpstr>
      <vt:lpstr>Mapping the Strategy to outcomes in the theory of change</vt:lpstr>
      <vt:lpstr>Mapping the Strategy to outcomes in the theory of change</vt:lpstr>
      <vt:lpstr>Mapping the Strategy to outcomes in the theory of change</vt:lpstr>
      <vt:lpstr>Mapping the Strategy to outcomes in the theory of change</vt:lpstr>
      <vt:lpstr>Mapping the Strategy to outcomes in the theory of change</vt:lpstr>
      <vt:lpstr>Mapping the Strategy to outcomes in the theory of change</vt:lpstr>
      <vt:lpstr>Mapping the Strategy to outcomes in the theory of change</vt:lpstr>
      <vt:lpstr>Mapping the Strategy to outcomes in the theory of change</vt:lpstr>
      <vt:lpstr>AGRA’s Approach in Tanzania is Aligned to the National Agriculture Strategy</vt:lpstr>
      <vt:lpstr>AGRA’s funds alone are insufficient to drive transformation in Tanzania</vt:lpstr>
      <vt:lpstr>       AGRA’s Main Partners in Tanzania</vt:lpstr>
      <vt:lpstr>Results Framework and Targets</vt:lpstr>
      <vt:lpstr>Tanzania Country Results Framework </vt:lpstr>
      <vt:lpstr>Tanzania Country Results Framework </vt:lpstr>
      <vt:lpstr>Key Country Indicators and Targets</vt:lpstr>
      <vt:lpstr>Key Country Indicators and Targets</vt:lpstr>
      <vt:lpstr>Key Country Indicators and Targets</vt:lpstr>
      <vt:lpstr>Our delivery – Portfolio to date, emerging context, lessons learned, emerging priorities</vt:lpstr>
      <vt:lpstr>Approved Grants, Tanzania</vt:lpstr>
      <vt:lpstr>Tanzania Cropping Seasons </vt:lpstr>
      <vt:lpstr>PowerPoint Presentation</vt:lpstr>
      <vt:lpstr>PowerPoint Presentation</vt:lpstr>
      <vt:lpstr>PowerPoint Presentation</vt:lpstr>
      <vt:lpstr>Results from Investments in Tanzania To Date</vt:lpstr>
      <vt:lpstr>PowerPoint Presentation</vt:lpstr>
      <vt:lpstr>Emerging issues/Lessons Learned Leading to Opportunities</vt:lpstr>
      <vt:lpstr>Emerging Opportunities for Tanzania</vt:lpstr>
      <vt:lpstr>The Team</vt:lpstr>
      <vt:lpstr>The Team</vt:lpstr>
      <vt:lpstr>Tanzania and East Africa Organogram </vt:lpstr>
      <vt:lpstr>Annexes</vt:lpstr>
      <vt:lpstr>PowerPoint Presentation</vt:lpstr>
      <vt:lpstr>Country Case Study</vt:lpstr>
      <vt:lpstr>AGRA Institutional Results Framework and theory of change</vt:lpstr>
      <vt:lpstr>AGRA Strategy Results Framework </vt:lpstr>
      <vt:lpstr>Policy and State Capability Theory of Change</vt:lpstr>
      <vt:lpstr>Farmer and Systems development Theory of Change</vt:lpstr>
      <vt:lpstr>Partnerships development Theory of Change</vt:lpstr>
      <vt:lpstr>Referenc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RA  COUNTRY X  Operational Plan</dc:title>
  <dc:creator>Kamau Pauline</dc:creator>
  <cp:lastModifiedBy>Kamau, Pauline</cp:lastModifiedBy>
  <cp:revision>918</cp:revision>
  <cp:lastPrinted>2019-06-24T12:28:10Z</cp:lastPrinted>
  <dcterms:modified xsi:type="dcterms:W3CDTF">2019-10-04T13:26:51Z</dcterms:modified>
</cp:coreProperties>
</file>